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ink/ink1.xml" ContentType="application/inkml+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6" r:id="rId6"/>
    <p:sldMasterId id="2147483785" r:id="rId7"/>
    <p:sldMasterId id="2147483809" r:id="rId8"/>
  </p:sldMasterIdLst>
  <p:notesMasterIdLst>
    <p:notesMasterId r:id="rId61"/>
  </p:notesMasterIdLst>
  <p:handoutMasterIdLst>
    <p:handoutMasterId r:id="rId62"/>
  </p:handoutMasterIdLst>
  <p:sldIdLst>
    <p:sldId id="502" r:id="rId9"/>
    <p:sldId id="543" r:id="rId10"/>
    <p:sldId id="583" r:id="rId11"/>
    <p:sldId id="544" r:id="rId12"/>
    <p:sldId id="607" r:id="rId13"/>
    <p:sldId id="602" r:id="rId14"/>
    <p:sldId id="549" r:id="rId15"/>
    <p:sldId id="599" r:id="rId16"/>
    <p:sldId id="598" r:id="rId17"/>
    <p:sldId id="558" r:id="rId18"/>
    <p:sldId id="604" r:id="rId19"/>
    <p:sldId id="584" r:id="rId20"/>
    <p:sldId id="585" r:id="rId21"/>
    <p:sldId id="597" r:id="rId22"/>
    <p:sldId id="614" r:id="rId23"/>
    <p:sldId id="615" r:id="rId24"/>
    <p:sldId id="609" r:id="rId25"/>
    <p:sldId id="608" r:id="rId26"/>
    <p:sldId id="610" r:id="rId27"/>
    <p:sldId id="611" r:id="rId28"/>
    <p:sldId id="612" r:id="rId29"/>
    <p:sldId id="613" r:id="rId30"/>
    <p:sldId id="616" r:id="rId31"/>
    <p:sldId id="603" r:id="rId32"/>
    <p:sldId id="605" r:id="rId33"/>
    <p:sldId id="617" r:id="rId34"/>
    <p:sldId id="606" r:id="rId35"/>
    <p:sldId id="601" r:id="rId36"/>
    <p:sldId id="561" r:id="rId37"/>
    <p:sldId id="588" r:id="rId38"/>
    <p:sldId id="600" r:id="rId39"/>
    <p:sldId id="564" r:id="rId40"/>
    <p:sldId id="565" r:id="rId41"/>
    <p:sldId id="589" r:id="rId42"/>
    <p:sldId id="567" r:id="rId43"/>
    <p:sldId id="568" r:id="rId44"/>
    <p:sldId id="569" r:id="rId45"/>
    <p:sldId id="570" r:id="rId46"/>
    <p:sldId id="572" r:id="rId47"/>
    <p:sldId id="573" r:id="rId48"/>
    <p:sldId id="590" r:id="rId49"/>
    <p:sldId id="574" r:id="rId50"/>
    <p:sldId id="575" r:id="rId51"/>
    <p:sldId id="576" r:id="rId52"/>
    <p:sldId id="577" r:id="rId53"/>
    <p:sldId id="578" r:id="rId54"/>
    <p:sldId id="491" r:id="rId55"/>
    <p:sldId id="530" r:id="rId56"/>
    <p:sldId id="581" r:id="rId57"/>
    <p:sldId id="582" r:id="rId58"/>
    <p:sldId id="579" r:id="rId59"/>
    <p:sldId id="522"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ig Data from Microsoft" id="{E9B8C77F-0501-4D05-B7B8-320FD98858C4}">
          <p14:sldIdLst>
            <p14:sldId id="502"/>
            <p14:sldId id="543"/>
            <p14:sldId id="583"/>
            <p14:sldId id="544"/>
            <p14:sldId id="607"/>
            <p14:sldId id="602"/>
            <p14:sldId id="549"/>
            <p14:sldId id="599"/>
            <p14:sldId id="598"/>
            <p14:sldId id="558"/>
            <p14:sldId id="604"/>
            <p14:sldId id="584"/>
            <p14:sldId id="585"/>
            <p14:sldId id="597"/>
          </p14:sldIdLst>
        </p14:section>
        <p14:section name="Options" id="{EBC5D021-CA46-45B3-AC95-DE6A7F761CA7}">
          <p14:sldIdLst>
            <p14:sldId id="614"/>
            <p14:sldId id="615"/>
            <p14:sldId id="609"/>
            <p14:sldId id="608"/>
            <p14:sldId id="610"/>
            <p14:sldId id="611"/>
            <p14:sldId id="612"/>
            <p14:sldId id="613"/>
            <p14:sldId id="616"/>
            <p14:sldId id="603"/>
            <p14:sldId id="605"/>
            <p14:sldId id="617"/>
            <p14:sldId id="606"/>
            <p14:sldId id="601"/>
          </p14:sldIdLst>
        </p14:section>
        <p14:section name="Benefit pillars" id="{EF24D7F6-CDF2-4E3E-8AD2-9C4A0FD512DD}">
          <p14:sldIdLst>
            <p14:sldId id="561"/>
            <p14:sldId id="588"/>
            <p14:sldId id="600"/>
            <p14:sldId id="564"/>
            <p14:sldId id="565"/>
            <p14:sldId id="589"/>
            <p14:sldId id="567"/>
            <p14:sldId id="568"/>
            <p14:sldId id="569"/>
            <p14:sldId id="570"/>
            <p14:sldId id="572"/>
            <p14:sldId id="573"/>
            <p14:sldId id="590"/>
            <p14:sldId id="574"/>
            <p14:sldId id="575"/>
            <p14:sldId id="576"/>
            <p14:sldId id="577"/>
            <p14:sldId id="578"/>
            <p14:sldId id="491"/>
            <p14:sldId id="530"/>
            <p14:sldId id="581"/>
            <p14:sldId id="582"/>
            <p14:sldId id="579"/>
            <p14:sldId id="522"/>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bby" initials="A" lastIdx="15" clrIdx="0">
    <p:extLst>
      <p:ext uri="{19B8F6BF-5375-455C-9EA6-DF929625EA0E}">
        <p15:presenceInfo xmlns:p15="http://schemas.microsoft.com/office/powerpoint/2012/main" userId="Abby" providerId="None"/>
      </p:ext>
    </p:extLst>
  </p:cmAuthor>
  <p:cmAuthor id="2" name="Daniel Schmeichler" initials="DS" lastIdx="18" clrIdx="1">
    <p:extLst>
      <p:ext uri="{19B8F6BF-5375-455C-9EA6-DF929625EA0E}">
        <p15:presenceInfo xmlns:p15="http://schemas.microsoft.com/office/powerpoint/2012/main" userId="7d11c20d4601b386" providerId="Windows Live"/>
      </p:ext>
    </p:extLst>
  </p:cmAuthor>
  <p:cmAuthor id="3" name="Daniel Schmeichler" initials="DS [2]" lastIdx="4" clrIdx="2">
    <p:extLst>
      <p:ext uri="{19B8F6BF-5375-455C-9EA6-DF929625EA0E}">
        <p15:presenceInfo xmlns:p15="http://schemas.microsoft.com/office/powerpoint/2012/main" userId="Daniel Schmeich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BCF2"/>
    <a:srgbClr val="66AEE7"/>
    <a:srgbClr val="002050"/>
    <a:srgbClr val="80BCEB"/>
    <a:srgbClr val="2E90DE"/>
    <a:srgbClr val="FFFFFF"/>
    <a:srgbClr val="2A8EDD"/>
    <a:srgbClr val="4EB1FF"/>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85" autoAdjust="0"/>
    <p:restoredTop sz="59587" autoAdjust="0"/>
  </p:normalViewPr>
  <p:slideViewPr>
    <p:cSldViewPr snapToGrid="0">
      <p:cViewPr varScale="1">
        <p:scale>
          <a:sx n="35" d="100"/>
          <a:sy n="35" d="100"/>
        </p:scale>
        <p:origin x="1707" y="12"/>
      </p:cViewPr>
      <p:guideLst>
        <p:guide orient="horz" pos="2160"/>
        <p:guide pos="3840"/>
      </p:guideLst>
    </p:cSldViewPr>
  </p:slideViewPr>
  <p:outlineViewPr>
    <p:cViewPr>
      <p:scale>
        <a:sx n="33" d="100"/>
        <a:sy n="33" d="100"/>
      </p:scale>
      <p:origin x="0" y="-12036"/>
    </p:cViewPr>
  </p:outlineViewPr>
  <p:notesTextViewPr>
    <p:cViewPr>
      <p:scale>
        <a:sx n="100" d="100"/>
        <a:sy n="100" d="100"/>
      </p:scale>
      <p:origin x="0" y="0"/>
    </p:cViewPr>
  </p:notesTextViewPr>
  <p:sorterViewPr>
    <p:cViewPr>
      <p:scale>
        <a:sx n="120" d="100"/>
        <a:sy n="120" d="100"/>
      </p:scale>
      <p:origin x="0" y="-144"/>
    </p:cViewPr>
  </p:sorterViewPr>
  <p:notesViewPr>
    <p:cSldViewPr snapToGrid="0">
      <p:cViewPr varScale="1">
        <p:scale>
          <a:sx n="80" d="100"/>
          <a:sy n="80" d="100"/>
        </p:scale>
        <p:origin x="2838"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commentAuthors" Target="commentAuthor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presProps" Target="presProps.xml"/><Relationship Id="rId8" Type="http://schemas.openxmlformats.org/officeDocument/2006/relationships/slideMaster" Target="slideMasters/slideMaster3.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rgbClr val="2A8EDD"/>
                </a:solidFill>
                <a:latin typeface="+mj-lt"/>
                <a:ea typeface="+mn-ea"/>
                <a:cs typeface="+mn-cs"/>
              </a:defRPr>
            </a:pPr>
            <a:r>
              <a:rPr lang="en-US" sz="2400" dirty="0">
                <a:solidFill>
                  <a:srgbClr val="2A8EDD"/>
                </a:solidFill>
              </a:rPr>
              <a:t>Growth of data @ Microsoft</a:t>
            </a:r>
          </a:p>
        </c:rich>
      </c:tx>
      <c:layout>
        <c:manualLayout>
          <c:xMode val="edge"/>
          <c:yMode val="edge"/>
          <c:x val="0.1531447849156008"/>
          <c:y val="1.8051265484932886E-2"/>
        </c:manualLayout>
      </c:layout>
      <c:overlay val="0"/>
      <c:spPr>
        <a:noFill/>
        <a:ln>
          <a:noFill/>
        </a:ln>
        <a:effectLst/>
      </c:spPr>
      <c:txPr>
        <a:bodyPr rot="0" spcFirstLastPara="1" vertOverflow="ellipsis" vert="horz" wrap="square" anchor="ctr" anchorCtr="1"/>
        <a:lstStyle/>
        <a:p>
          <a:pPr>
            <a:defRPr sz="2400" b="0" i="0" u="none" strike="noStrike" kern="1200" spc="0" baseline="0">
              <a:solidFill>
                <a:srgbClr val="2A8EDD"/>
              </a:solidFill>
              <a:latin typeface="+mj-lt"/>
              <a:ea typeface="+mn-ea"/>
              <a:cs typeface="+mn-cs"/>
            </a:defRPr>
          </a:pPr>
          <a:endParaRPr lang="en-US"/>
        </a:p>
      </c:txPr>
    </c:title>
    <c:autoTitleDeleted val="0"/>
    <c:plotArea>
      <c:layout>
        <c:manualLayout>
          <c:layoutTarget val="inner"/>
          <c:xMode val="edge"/>
          <c:yMode val="edge"/>
          <c:x val="8.6722393396477609E-2"/>
          <c:y val="0.12980775794009355"/>
          <c:w val="0.88305715961974296"/>
          <c:h val="0.76053131791556405"/>
        </c:manualLayout>
      </c:layout>
      <c:areaChart>
        <c:grouping val="standard"/>
        <c:varyColors val="0"/>
        <c:ser>
          <c:idx val="0"/>
          <c:order val="0"/>
          <c:spPr>
            <a:solidFill>
              <a:srgbClr val="0078D7"/>
            </a:solidFill>
            <a:ln>
              <a:noFill/>
            </a:ln>
            <a:effectLst/>
          </c:spPr>
          <c:cat>
            <c:numRef>
              <c:f>Sheet1!$A$2:$A$7</c:f>
              <c:numCache>
                <c:formatCode>General</c:formatCode>
                <c:ptCount val="6"/>
                <c:pt idx="0">
                  <c:v>2010</c:v>
                </c:pt>
                <c:pt idx="1">
                  <c:v>2011</c:v>
                </c:pt>
                <c:pt idx="2">
                  <c:v>2012</c:v>
                </c:pt>
                <c:pt idx="3">
                  <c:v>2013</c:v>
                </c:pt>
                <c:pt idx="4">
                  <c:v>2014</c:v>
                </c:pt>
                <c:pt idx="5">
                  <c:v>2015</c:v>
                </c:pt>
              </c:numCache>
            </c:numRef>
          </c:cat>
          <c:val>
            <c:numRef>
              <c:f>Sheet1!$B$2:$B$7</c:f>
              <c:numCache>
                <c:formatCode>General</c:formatCode>
                <c:ptCount val="6"/>
                <c:pt idx="0">
                  <c:v>64</c:v>
                </c:pt>
                <c:pt idx="1">
                  <c:v>283</c:v>
                </c:pt>
                <c:pt idx="2">
                  <c:v>530</c:v>
                </c:pt>
                <c:pt idx="3">
                  <c:v>1015</c:v>
                </c:pt>
                <c:pt idx="4">
                  <c:v>2300</c:v>
                </c:pt>
                <c:pt idx="5">
                  <c:v>2800</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Value</c:v>
                      </c:pt>
                    </c:strCache>
                  </c:strRef>
                </c15:tx>
              </c15:filteredSeriesTitle>
            </c:ext>
            <c:ext xmlns:c16="http://schemas.microsoft.com/office/drawing/2014/chart" uri="{C3380CC4-5D6E-409C-BE32-E72D297353CC}">
              <c16:uniqueId val="{00000000-59D2-4AF2-80F1-936CB5BF24F8}"/>
            </c:ext>
          </c:extLst>
        </c:ser>
        <c:dLbls>
          <c:showLegendKey val="0"/>
          <c:showVal val="0"/>
          <c:showCatName val="0"/>
          <c:showSerName val="0"/>
          <c:showPercent val="0"/>
          <c:showBubbleSize val="0"/>
        </c:dLbls>
        <c:axId val="652883632"/>
        <c:axId val="652889904"/>
      </c:areaChart>
      <c:catAx>
        <c:axId val="652883632"/>
        <c:scaling>
          <c:orientation val="minMax"/>
        </c:scaling>
        <c:delete val="0"/>
        <c:axPos val="b"/>
        <c:numFmt formatCode="@"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rgbClr val="2A8EDD"/>
                </a:solidFill>
                <a:latin typeface="+mj-lt"/>
                <a:ea typeface="+mn-ea"/>
                <a:cs typeface="+mn-cs"/>
              </a:defRPr>
            </a:pPr>
            <a:endParaRPr lang="en-US"/>
          </a:p>
        </c:txPr>
        <c:crossAx val="652889904"/>
        <c:crosses val="autoZero"/>
        <c:auto val="1"/>
        <c:lblAlgn val="ctr"/>
        <c:lblOffset val="100"/>
        <c:noMultiLvlLbl val="0"/>
      </c:catAx>
      <c:valAx>
        <c:axId val="652889904"/>
        <c:scaling>
          <c:orientation val="minMax"/>
          <c:min val="0"/>
        </c:scaling>
        <c:delete val="1"/>
        <c:axPos val="l"/>
        <c:majorGridlines>
          <c:spPr>
            <a:ln w="9525" cap="flat" cmpd="sng" algn="ctr">
              <a:solidFill>
                <a:srgbClr val="00BCF2"/>
              </a:solidFill>
              <a:round/>
            </a:ln>
            <a:effectLst/>
          </c:spPr>
        </c:majorGridlines>
        <c:numFmt formatCode="General" sourceLinked="1"/>
        <c:majorTickMark val="out"/>
        <c:minorTickMark val="none"/>
        <c:tickLblPos val="nextTo"/>
        <c:crossAx val="652883632"/>
        <c:crosses val="autoZero"/>
        <c:crossBetween val="midCat"/>
        <c:majorUnit val="500"/>
      </c:valAx>
      <c:spPr>
        <a:noFill/>
        <a:ln>
          <a:solidFill>
            <a:srgbClr val="00BCF2"/>
          </a:solidFill>
        </a:ln>
        <a:effectLst/>
      </c:spPr>
    </c:plotArea>
    <c:plotVisOnly val="1"/>
    <c:dispBlanksAs val="zero"/>
    <c:showDLblsOverMax val="0"/>
  </c:chart>
  <c:spPr>
    <a:noFill/>
    <a:ln>
      <a:noFill/>
    </a:ln>
    <a:effectLst/>
  </c:spPr>
  <c:txPr>
    <a:bodyPr/>
    <a:lstStyle/>
    <a:p>
      <a:pPr>
        <a:defRPr sz="2800">
          <a:solidFill>
            <a:schemeClr val="bg1"/>
          </a:solidFill>
          <a:latin typeface="+mj-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0CD038-4F02-460A-8502-F2FF4E692CD2}" type="datetimeFigureOut">
              <a:rPr lang="en-US" smtClean="0"/>
              <a:t>7/12/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3AFDAA8-3E05-4B25-8F62-C7C1C4D18060}" type="slidenum">
              <a:rPr lang="en-US" smtClean="0"/>
              <a:t>‹#›</a:t>
            </a:fld>
            <a:endParaRPr lang="en-US"/>
          </a:p>
        </p:txBody>
      </p:sp>
    </p:spTree>
    <p:extLst>
      <p:ext uri="{BB962C8B-B14F-4D97-AF65-F5344CB8AC3E}">
        <p14:creationId xmlns:p14="http://schemas.microsoft.com/office/powerpoint/2010/main" val="121830607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09-07T08:35:00.540"/>
    </inkml:context>
    <inkml:brush xml:id="br0">
      <inkml:brushProperty name="width" value="0.06667" units="cm"/>
      <inkml:brushProperty name="height" value="0.06667" units="cm"/>
      <inkml:brushProperty name="color" value="#ED1C24"/>
      <inkml:brushProperty name="ignorePressure" value="1"/>
    </inkml:brush>
  </inkml:definitions>
  <inkml:traceGroup>
    <inkml:annotationXML>
      <emma:emma xmlns:emma="http://www.w3.org/2003/04/emma" version="1.0">
        <emma:interpretation id="{B3F1E2AC-9424-4370-B26B-7F4C5DB959D0}" emma:medium="tactile" emma:mode="ink">
          <msink:context xmlns:msink="http://schemas.microsoft.com/ink/2010/main" type="inkDrawing" rotatedBoundingBox="650,12847 1668,11993 1925,12299 907,13154" shapeName="None"/>
        </emma:interpretation>
      </emma:emma>
    </inkml:annotationXML>
    <inkml:trace contextRef="#ctx0" brushRef="#br0">1928 3645 16384,'0'0'0,"0"0"0,0 0 0,0 0 0,0 0 0,0 0 0,0 0 0,0 0 0,0 0 0,0 0 0,0 0 0,0 0 0,0 0 0,0 0 0,0 0 0,0 0 0,1 3 0,2 3 0,3 4 0,4 6 0,4 6 0,0 5 0,3 4 0,1-1 0,0-1 0,0-1 0,2-4 0,0-4 0,0-5 0,2-5 0,4-8 0,9-8 0,14-16 0,17-19 0,14-24 0,7-22 0,0-9 0,-7-5 0,-6-1 0,-7-1 0,-8 6 0,-8 11 0,-12 18 0,-7 16 0,-9 17 0,-9 14 0,-7 11 0,-5 7 0</inkml:trace>
  </inkml:traceGroup>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F36E18-E37B-4B1E-B1D3-23B3773636F4}" type="datetimeFigureOut">
              <a:rPr lang="en-US" smtClean="0"/>
              <a:t>7/12/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CD5F8F-46C9-46A5-9E1B-00B0A72B40BF}" type="slidenum">
              <a:rPr lang="en-US" smtClean="0"/>
              <a:t>‹#›</a:t>
            </a:fld>
            <a:endParaRPr lang="en-US"/>
          </a:p>
        </p:txBody>
      </p:sp>
    </p:spTree>
    <p:extLst>
      <p:ext uri="{BB962C8B-B14F-4D97-AF65-F5344CB8AC3E}">
        <p14:creationId xmlns:p14="http://schemas.microsoft.com/office/powerpoint/2010/main" val="1577873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visual-studio-tools-get-started/" TargetMode="External"/><Relationship Id="rId7" Type="http://schemas.openxmlformats.org/officeDocument/2006/relationships/hyperlink" Target="https://azure.microsoft.com/en-us/documentation/articles/hdinsight-apache-spark-zeppelin-notebook/"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azure.microsoft.com/en-us/documentation/articles/hdinsight-apache-spark-jupyter-notebook-kernels/" TargetMode="External"/><Relationship Id="rId5" Type="http://schemas.openxmlformats.org/officeDocument/2006/relationships/hyperlink" Target="https://azure.microsoft.com/en-us/documentation/articles/hdinsight-apache-spark-intellij-tool-plugin-debug-jobs-remotely/" TargetMode="External"/><Relationship Id="rId4" Type="http://schemas.openxmlformats.org/officeDocument/2006/relationships/hyperlink" Target="https://azure.microsoft.com/en-us/documentation/articles/hdinsight-apache-spark-eclipse-tool-plugin/"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1</a:t>
            </a:fld>
            <a:endParaRPr lang="en-US"/>
          </a:p>
        </p:txBody>
      </p:sp>
    </p:spTree>
    <p:extLst>
      <p:ext uri="{BB962C8B-B14F-4D97-AF65-F5344CB8AC3E}">
        <p14:creationId xmlns:p14="http://schemas.microsoft.com/office/powerpoint/2010/main" val="3877128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rPr>
              <a:t>Supports search, graph, and other advanced capabilities to uncover new information models </a:t>
            </a:r>
          </a:p>
          <a:p>
            <a:r>
              <a:rPr lang="en-US" sz="1200" dirty="0">
                <a:solidFill>
                  <a:schemeClr val="bg1"/>
                </a:solidFill>
              </a:rPr>
              <a:t>Declares new data values, variant data forms, and intuitive insights for predictive modeling and forecasting </a:t>
            </a:r>
          </a:p>
          <a:p>
            <a:r>
              <a:rPr lang="en-US" sz="1200" dirty="0">
                <a:solidFill>
                  <a:schemeClr val="bg1"/>
                </a:solidFill>
              </a:rPr>
              <a:t>No operational requirements, enabling free-form querying across all data types </a:t>
            </a:r>
          </a:p>
          <a:p>
            <a:endParaRPr lang="en-US" dirty="0"/>
          </a:p>
          <a:p>
            <a:r>
              <a:rPr lang="en-US" dirty="0"/>
              <a:t>Archiving</a:t>
            </a:r>
            <a:r>
              <a:rPr lang="en-US" baseline="0" dirty="0"/>
              <a:t> data will be cheapest data in the cloud – dirt cheap commodity prices</a:t>
            </a:r>
          </a:p>
          <a:p>
            <a:r>
              <a:rPr lang="en-US" baseline="0" dirty="0"/>
              <a:t>We are not making any margins on storing dat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9847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Reliable Open Source analytics with an Industry leading SLA</a:t>
            </a:r>
          </a:p>
          <a:p>
            <a:r>
              <a:rPr lang="en-US" sz="1200" kern="1200" dirty="0">
                <a:solidFill>
                  <a:schemeClr val="tx1"/>
                </a:solidFill>
                <a:effectLst/>
                <a:latin typeface="+mn-lt"/>
                <a:ea typeface="+mn-ea"/>
                <a:cs typeface="+mn-cs"/>
              </a:rPr>
              <a:t>HDInsight allows you to easily spin up </a:t>
            </a:r>
            <a:r>
              <a:rPr lang="en-US" sz="1200" b="1" kern="1200" dirty="0">
                <a:solidFill>
                  <a:schemeClr val="tx1"/>
                </a:solidFill>
                <a:effectLst/>
                <a:latin typeface="+mn-lt"/>
                <a:ea typeface="+mn-ea"/>
                <a:cs typeface="+mn-cs"/>
              </a:rPr>
              <a:t>enterprise-grade </a:t>
            </a:r>
            <a:r>
              <a:rPr lang="en-US" sz="1200" kern="1200" dirty="0">
                <a:solidFill>
                  <a:schemeClr val="tx1"/>
                </a:solidFill>
                <a:effectLst/>
                <a:latin typeface="+mn-lt"/>
                <a:ea typeface="+mn-ea"/>
                <a:cs typeface="+mn-cs"/>
              </a:rPr>
              <a:t>open source cluster types guaranteed with the industry’s best </a:t>
            </a:r>
            <a:r>
              <a:rPr lang="en-US" sz="1200" b="1" kern="1200" dirty="0">
                <a:solidFill>
                  <a:schemeClr val="tx1"/>
                </a:solidFill>
                <a:effectLst/>
                <a:latin typeface="+mn-lt"/>
                <a:ea typeface="+mn-ea"/>
                <a:cs typeface="+mn-cs"/>
              </a:rPr>
              <a:t>99.9%</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SLA and 24/7 support</a:t>
            </a:r>
            <a:r>
              <a:rPr lang="en-US" sz="1200" kern="1200" dirty="0">
                <a:solidFill>
                  <a:schemeClr val="tx1"/>
                </a:solidFill>
                <a:effectLst/>
                <a:latin typeface="+mn-lt"/>
                <a:ea typeface="+mn-ea"/>
                <a:cs typeface="+mn-cs"/>
              </a:rPr>
              <a:t>. We guarantee this SLA for the entire big data solution, not just the VM instances. HDInsight is architected for </a:t>
            </a:r>
            <a:r>
              <a:rPr lang="en-US" sz="1200" b="1" kern="1200" dirty="0">
                <a:solidFill>
                  <a:schemeClr val="tx1"/>
                </a:solidFill>
                <a:effectLst/>
                <a:latin typeface="+mn-lt"/>
                <a:ea typeface="+mn-ea"/>
                <a:cs typeface="+mn-cs"/>
              </a:rPr>
              <a:t>full redundanc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high availability</a:t>
            </a:r>
            <a:r>
              <a:rPr lang="en-US" sz="1200" kern="1200" dirty="0">
                <a:solidFill>
                  <a:schemeClr val="tx1"/>
                </a:solidFill>
                <a:effectLst/>
                <a:latin typeface="+mn-lt"/>
                <a:ea typeface="+mn-ea"/>
                <a:cs typeface="+mn-cs"/>
              </a:rPr>
              <a:t> including </a:t>
            </a:r>
            <a:r>
              <a:rPr lang="en-US" sz="1200" b="1" kern="1200" dirty="0">
                <a:solidFill>
                  <a:schemeClr val="tx1"/>
                </a:solidFill>
                <a:effectLst/>
                <a:latin typeface="+mn-lt"/>
                <a:ea typeface="+mn-ea"/>
                <a:cs typeface="+mn-cs"/>
              </a:rPr>
              <a:t>head node replication</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data geo-replication</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built-in standby </a:t>
            </a:r>
            <a:r>
              <a:rPr lang="en-US" sz="1200" b="1" kern="1200" dirty="0" err="1">
                <a:solidFill>
                  <a:schemeClr val="tx1"/>
                </a:solidFill>
                <a:effectLst/>
                <a:latin typeface="+mn-lt"/>
                <a:ea typeface="+mn-ea"/>
                <a:cs typeface="+mn-cs"/>
              </a:rPr>
              <a:t>NameNode</a:t>
            </a:r>
            <a:r>
              <a:rPr lang="en-US" sz="1200" kern="1200" dirty="0">
                <a:solidFill>
                  <a:schemeClr val="tx1"/>
                </a:solidFill>
                <a:effectLst/>
                <a:latin typeface="+mn-lt"/>
                <a:ea typeface="+mn-ea"/>
                <a:cs typeface="+mn-cs"/>
              </a:rPr>
              <a:t> making HDInsight resilient to critical failures not addressed in standard Hadoop implementations. Azure also offers cluster monitoring and </a:t>
            </a:r>
            <a:r>
              <a:rPr lang="en-US" sz="1200" b="1" kern="1200" dirty="0">
                <a:solidFill>
                  <a:schemeClr val="tx1"/>
                </a:solidFill>
                <a:effectLst/>
                <a:latin typeface="+mn-lt"/>
                <a:ea typeface="+mn-ea"/>
                <a:cs typeface="+mn-cs"/>
              </a:rPr>
              <a:t>24x7</a:t>
            </a:r>
            <a:r>
              <a:rPr lang="en-US" sz="1200" kern="1200" dirty="0">
                <a:solidFill>
                  <a:schemeClr val="tx1"/>
                </a:solidFill>
                <a:effectLst/>
                <a:latin typeface="+mn-lt"/>
                <a:ea typeface="+mn-ea"/>
                <a:cs typeface="+mn-cs"/>
              </a:rPr>
              <a:t> enterprise support backed by Microsoft and Hortonworks with </a:t>
            </a:r>
            <a:r>
              <a:rPr lang="en-US" sz="1200" b="1" kern="1200" dirty="0">
                <a:solidFill>
                  <a:schemeClr val="tx1"/>
                </a:solidFill>
                <a:effectLst/>
                <a:latin typeface="+mn-lt"/>
                <a:ea typeface="+mn-ea"/>
                <a:cs typeface="+mn-cs"/>
              </a:rPr>
              <a:t>37 combined committers</a:t>
            </a:r>
            <a:r>
              <a:rPr lang="en-US" sz="1200" kern="1200" dirty="0">
                <a:solidFill>
                  <a:schemeClr val="tx1"/>
                </a:solidFill>
                <a:effectLst/>
                <a:latin typeface="+mn-lt"/>
                <a:ea typeface="+mn-ea"/>
                <a:cs typeface="+mn-cs"/>
              </a:rPr>
              <a:t> for Hadoop core, more than </a:t>
            </a:r>
            <a:r>
              <a:rPr lang="en-US" sz="1200" b="1" kern="1200" dirty="0">
                <a:solidFill>
                  <a:schemeClr val="tx1"/>
                </a:solidFill>
                <a:effectLst/>
                <a:latin typeface="+mn-lt"/>
                <a:ea typeface="+mn-ea"/>
                <a:cs typeface="+mn-cs"/>
              </a:rPr>
              <a:t>all other managed cloud providers combined</a:t>
            </a:r>
            <a:r>
              <a:rPr lang="en-US" sz="1200" kern="1200" dirty="0">
                <a:solidFill>
                  <a:schemeClr val="tx1"/>
                </a:solidFill>
                <a:effectLst/>
                <a:latin typeface="+mn-lt"/>
                <a:ea typeface="+mn-ea"/>
                <a:cs typeface="+mn-cs"/>
              </a:rPr>
              <a:t> to support your deployment and the ability to </a:t>
            </a:r>
            <a:r>
              <a:rPr lang="en-US" sz="1200" b="1" kern="1200" dirty="0">
                <a:solidFill>
                  <a:schemeClr val="tx1"/>
                </a:solidFill>
                <a:effectLst/>
                <a:latin typeface="+mn-lt"/>
                <a:ea typeface="+mn-ea"/>
                <a:cs typeface="+mn-cs"/>
              </a:rPr>
              <a:t>fix</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commit code</a:t>
            </a:r>
            <a:r>
              <a:rPr lang="en-US" sz="1200" kern="1200" dirty="0">
                <a:solidFill>
                  <a:schemeClr val="tx1"/>
                </a:solidFill>
                <a:effectLst/>
                <a:latin typeface="+mn-lt"/>
                <a:ea typeface="+mn-ea"/>
                <a:cs typeface="+mn-cs"/>
              </a:rPr>
              <a:t> back to Hadoop.</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nterprise Grade Security &amp; Monitoring</a:t>
            </a:r>
          </a:p>
          <a:p>
            <a:r>
              <a:rPr lang="en-US" sz="1200" kern="1200" dirty="0">
                <a:solidFill>
                  <a:schemeClr val="tx1"/>
                </a:solidFill>
                <a:effectLst/>
                <a:latin typeface="+mn-lt"/>
                <a:ea typeface="+mn-ea"/>
                <a:cs typeface="+mn-cs"/>
              </a:rPr>
              <a:t>HDInsight protects your data assets and easily extends your </a:t>
            </a:r>
            <a:r>
              <a:rPr lang="en-US" sz="1200" kern="1200" dirty="0" err="1">
                <a:solidFill>
                  <a:schemeClr val="tx1"/>
                </a:solidFill>
                <a:effectLst/>
                <a:latin typeface="+mn-lt"/>
                <a:ea typeface="+mn-ea"/>
                <a:cs typeface="+mn-cs"/>
              </a:rPr>
              <a:t>on-premise</a:t>
            </a:r>
            <a:r>
              <a:rPr lang="en-US" sz="1200" kern="1200" dirty="0">
                <a:solidFill>
                  <a:schemeClr val="tx1"/>
                </a:solidFill>
                <a:effectLst/>
                <a:latin typeface="+mn-lt"/>
                <a:ea typeface="+mn-ea"/>
                <a:cs typeface="+mn-cs"/>
              </a:rPr>
              <a:t> security and governance controls to the cloud. We feature </a:t>
            </a:r>
            <a:r>
              <a:rPr lang="en-US" sz="1200" b="1" kern="1200" dirty="0">
                <a:solidFill>
                  <a:schemeClr val="tx1"/>
                </a:solidFill>
                <a:effectLst/>
                <a:latin typeface="+mn-lt"/>
                <a:ea typeface="+mn-ea"/>
                <a:cs typeface="+mn-cs"/>
              </a:rPr>
              <a:t>single sign-on (SSO), multi-factor authentication</a:t>
            </a:r>
            <a:r>
              <a:rPr lang="en-US" sz="1200" kern="1200" dirty="0">
                <a:solidFill>
                  <a:schemeClr val="tx1"/>
                </a:solidFill>
                <a:effectLst/>
                <a:latin typeface="+mn-lt"/>
                <a:ea typeface="+mn-ea"/>
                <a:cs typeface="+mn-cs"/>
              </a:rPr>
              <a:t> and seamless management of millions of identities through </a:t>
            </a:r>
            <a:r>
              <a:rPr lang="en-US" sz="1200" b="1" kern="1200" dirty="0">
                <a:solidFill>
                  <a:schemeClr val="tx1"/>
                </a:solidFill>
                <a:effectLst/>
                <a:latin typeface="+mn-lt"/>
                <a:ea typeface="+mn-ea"/>
                <a:cs typeface="+mn-cs"/>
              </a:rPr>
              <a:t>Azure Active Directory</a:t>
            </a:r>
            <a:r>
              <a:rPr lang="en-US" sz="1200" kern="1200" dirty="0">
                <a:solidFill>
                  <a:schemeClr val="tx1"/>
                </a:solidFill>
                <a:effectLst/>
                <a:latin typeface="+mn-lt"/>
                <a:ea typeface="+mn-ea"/>
                <a:cs typeface="+mn-cs"/>
              </a:rPr>
              <a:t>. You can authorize users and groups with </a:t>
            </a:r>
            <a:r>
              <a:rPr lang="en-US" sz="1200" b="1" kern="1200" dirty="0">
                <a:solidFill>
                  <a:schemeClr val="tx1"/>
                </a:solidFill>
                <a:effectLst/>
                <a:latin typeface="+mn-lt"/>
                <a:ea typeface="+mn-ea"/>
                <a:cs typeface="+mn-cs"/>
              </a:rPr>
              <a:t>fine-grained access control policies </a:t>
            </a:r>
            <a:r>
              <a:rPr lang="en-US" sz="1200" kern="1200" dirty="0">
                <a:solidFill>
                  <a:schemeClr val="tx1"/>
                </a:solidFill>
                <a:effectLst/>
                <a:latin typeface="+mn-lt"/>
                <a:ea typeface="+mn-ea"/>
                <a:cs typeface="+mn-cs"/>
              </a:rPr>
              <a:t>over all your enterprise data </a:t>
            </a:r>
            <a:r>
              <a:rPr lang="en-US" sz="1200" b="1" kern="1200" dirty="0">
                <a:solidFill>
                  <a:schemeClr val="tx1"/>
                </a:solidFill>
                <a:effectLst/>
                <a:latin typeface="+mn-lt"/>
                <a:ea typeface="+mn-ea"/>
                <a:cs typeface="+mn-cs"/>
              </a:rPr>
              <a:t>with Apache Ranger</a:t>
            </a:r>
            <a:r>
              <a:rPr lang="en-US" sz="1200" kern="1200" dirty="0">
                <a:solidFill>
                  <a:schemeClr val="tx1"/>
                </a:solidFill>
                <a:effectLst/>
                <a:latin typeface="+mn-lt"/>
                <a:ea typeface="+mn-ea"/>
                <a:cs typeface="+mn-cs"/>
              </a:rPr>
              <a:t>. HDInsight meets </a:t>
            </a:r>
            <a:r>
              <a:rPr lang="en-US" sz="1200" b="1" kern="1200" dirty="0">
                <a:solidFill>
                  <a:schemeClr val="tx1"/>
                </a:solidFill>
                <a:effectLst/>
                <a:latin typeface="+mn-lt"/>
                <a:ea typeface="+mn-ea"/>
                <a:cs typeface="+mn-cs"/>
              </a:rPr>
              <a:t>HIPAA, PCI, SOC </a:t>
            </a:r>
            <a:r>
              <a:rPr lang="en-US" sz="1200" kern="1200" dirty="0">
                <a:solidFill>
                  <a:schemeClr val="tx1"/>
                </a:solidFill>
                <a:effectLst/>
                <a:latin typeface="+mn-lt"/>
                <a:ea typeface="+mn-ea"/>
                <a:cs typeface="+mn-cs"/>
              </a:rPr>
              <a:t>compliance, ensuring your enterprise data assets are always protected with the highest </a:t>
            </a:r>
            <a:r>
              <a:rPr lang="en-US" sz="1200" b="1" kern="1200" dirty="0">
                <a:solidFill>
                  <a:schemeClr val="tx1"/>
                </a:solidFill>
                <a:effectLst/>
                <a:latin typeface="+mn-lt"/>
                <a:ea typeface="+mn-ea"/>
                <a:cs typeface="+mn-cs"/>
              </a:rPr>
              <a:t>security and regulatory compliance</a:t>
            </a:r>
            <a:r>
              <a:rPr lang="en-US" sz="1200" kern="1200" dirty="0">
                <a:solidFill>
                  <a:schemeClr val="tx1"/>
                </a:solidFill>
                <a:effectLst/>
                <a:latin typeface="+mn-lt"/>
                <a:ea typeface="+mn-ea"/>
                <a:cs typeface="+mn-cs"/>
              </a:rPr>
              <a:t>.</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o ensure the highest level of business continuity, HDInsight extends capabilities for alerting, monitoring, defining pre-emptive actions, and enhanced workload protection through native integration with </a:t>
            </a:r>
            <a:r>
              <a:rPr lang="en-US" sz="1200" b="1" kern="1200" dirty="0">
                <a:solidFill>
                  <a:schemeClr val="tx1"/>
                </a:solidFill>
                <a:effectLst/>
                <a:latin typeface="+mn-lt"/>
                <a:ea typeface="+mn-ea"/>
                <a:cs typeface="+mn-cs"/>
              </a:rPr>
              <a:t>Azure Operations Management Suite (OMS)</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ost Productive platform for developers and scientists </a:t>
            </a:r>
          </a:p>
          <a:p>
            <a:r>
              <a:rPr lang="en-NZ" sz="1200" kern="1200" dirty="0">
                <a:solidFill>
                  <a:schemeClr val="tx1"/>
                </a:solidFill>
                <a:effectLst/>
                <a:latin typeface="+mn-lt"/>
                <a:ea typeface="+mn-ea"/>
                <a:cs typeface="+mn-cs"/>
              </a:rPr>
              <a:t>HDInsight offers </a:t>
            </a:r>
            <a:r>
              <a:rPr lang="en-NZ" sz="1200" b="1" kern="1200" dirty="0">
                <a:solidFill>
                  <a:schemeClr val="tx1"/>
                </a:solidFill>
                <a:effectLst/>
                <a:latin typeface="+mn-lt"/>
                <a:ea typeface="+mn-ea"/>
                <a:cs typeface="+mn-cs"/>
              </a:rPr>
              <a:t>developers</a:t>
            </a:r>
            <a:r>
              <a:rPr lang="en-NZ" sz="1200" kern="1200" dirty="0">
                <a:solidFill>
                  <a:schemeClr val="tx1"/>
                </a:solidFill>
                <a:effectLst/>
                <a:latin typeface="+mn-lt"/>
                <a:ea typeface="+mn-ea"/>
                <a:cs typeface="+mn-cs"/>
              </a:rPr>
              <a:t> tailored experiences through </a:t>
            </a:r>
            <a:r>
              <a:rPr lang="en-NZ" sz="1200" b="1" kern="1200" dirty="0">
                <a:solidFill>
                  <a:schemeClr val="tx1"/>
                </a:solidFill>
                <a:effectLst/>
                <a:latin typeface="+mn-lt"/>
                <a:ea typeface="+mn-ea"/>
                <a:cs typeface="+mn-cs"/>
              </a:rPr>
              <a:t>rich productivity suites</a:t>
            </a:r>
            <a:r>
              <a:rPr lang="en-NZ" sz="1200" kern="1200" dirty="0">
                <a:solidFill>
                  <a:schemeClr val="tx1"/>
                </a:solidFill>
                <a:effectLst/>
                <a:latin typeface="+mn-lt"/>
                <a:ea typeface="+mn-ea"/>
                <a:cs typeface="+mn-cs"/>
              </a:rPr>
              <a:t> for Hadoop &amp; Spark with </a:t>
            </a:r>
            <a:r>
              <a:rPr lang="en-NZ" sz="1200" b="1" kern="1200" dirty="0">
                <a:solidFill>
                  <a:schemeClr val="tx1"/>
                </a:solidFill>
                <a:effectLst/>
                <a:latin typeface="+mn-lt"/>
                <a:ea typeface="+mn-ea"/>
                <a:cs typeface="+mn-cs"/>
              </a:rPr>
              <a:t>integrated development environments</a:t>
            </a:r>
            <a:r>
              <a:rPr lang="en-NZ" sz="1200" kern="1200" dirty="0">
                <a:solidFill>
                  <a:schemeClr val="tx1"/>
                </a:solidFill>
                <a:effectLst/>
                <a:latin typeface="+mn-lt"/>
                <a:ea typeface="+mn-ea"/>
                <a:cs typeface="+mn-cs"/>
              </a:rPr>
              <a:t> using </a:t>
            </a:r>
            <a:r>
              <a:rPr lang="en-US" sz="1200" b="1" u="sng" kern="1200" dirty="0">
                <a:solidFill>
                  <a:schemeClr val="tx1"/>
                </a:solidFill>
                <a:effectLst/>
                <a:latin typeface="+mn-lt"/>
                <a:ea typeface="+mn-ea"/>
                <a:cs typeface="+mn-cs"/>
                <a:hlinkClick r:id="rId3"/>
              </a:rPr>
              <a:t>Visual Studio</a:t>
            </a:r>
            <a:r>
              <a:rPr lang="en-NZ" sz="1200" b="1" kern="1200" dirty="0">
                <a:solidFill>
                  <a:schemeClr val="tx1"/>
                </a:solidFill>
                <a:effectLst/>
                <a:latin typeface="+mn-lt"/>
                <a:ea typeface="+mn-ea"/>
                <a:cs typeface="+mn-cs"/>
              </a:rPr>
              <a:t>, </a:t>
            </a:r>
            <a:r>
              <a:rPr lang="en-US" sz="1200" b="1" u="sng" kern="1200" dirty="0">
                <a:solidFill>
                  <a:schemeClr val="tx1"/>
                </a:solidFill>
                <a:effectLst/>
                <a:latin typeface="+mn-lt"/>
                <a:ea typeface="+mn-ea"/>
                <a:cs typeface="+mn-cs"/>
                <a:hlinkClick r:id="rId4"/>
              </a:rPr>
              <a:t>Eclipse</a:t>
            </a:r>
            <a:r>
              <a:rPr lang="en-NZ" sz="1200" kern="1200" dirty="0">
                <a:solidFill>
                  <a:schemeClr val="tx1"/>
                </a:solidFill>
                <a:effectLst/>
                <a:latin typeface="+mn-lt"/>
                <a:ea typeface="+mn-ea"/>
                <a:cs typeface="+mn-cs"/>
              </a:rPr>
              <a:t>, and </a:t>
            </a:r>
            <a:r>
              <a:rPr lang="en-US" sz="1200" b="1" u="sng" kern="1200" dirty="0">
                <a:solidFill>
                  <a:schemeClr val="tx1"/>
                </a:solidFill>
                <a:effectLst/>
                <a:latin typeface="+mn-lt"/>
                <a:ea typeface="+mn-ea"/>
                <a:cs typeface="+mn-cs"/>
                <a:hlinkClick r:id="rId5"/>
              </a:rPr>
              <a:t>IntelliJ</a:t>
            </a:r>
            <a:r>
              <a:rPr lang="en-NZ" sz="1200" kern="1200" dirty="0">
                <a:solidFill>
                  <a:schemeClr val="tx1"/>
                </a:solidFill>
                <a:effectLst/>
                <a:latin typeface="+mn-lt"/>
                <a:ea typeface="+mn-ea"/>
                <a:cs typeface="+mn-cs"/>
              </a:rPr>
              <a:t> supporting </a:t>
            </a:r>
            <a:r>
              <a:rPr lang="en-NZ" sz="1200" b="1" kern="1200" dirty="0">
                <a:solidFill>
                  <a:schemeClr val="tx1"/>
                </a:solidFill>
                <a:effectLst/>
                <a:latin typeface="+mn-lt"/>
                <a:ea typeface="+mn-ea"/>
                <a:cs typeface="+mn-cs"/>
              </a:rPr>
              <a:t>Scala, Python, R, Java</a:t>
            </a:r>
            <a:r>
              <a:rPr lang="en-NZ" sz="1200" kern="1200" dirty="0">
                <a:solidFill>
                  <a:schemeClr val="tx1"/>
                </a:solidFill>
                <a:effectLst/>
                <a:latin typeface="+mn-lt"/>
                <a:ea typeface="+mn-ea"/>
                <a:cs typeface="+mn-cs"/>
              </a:rPr>
              <a:t>, and </a:t>
            </a:r>
            <a:r>
              <a:rPr lang="en-NZ" sz="1200" kern="1200" dirty="0" err="1">
                <a:solidFill>
                  <a:schemeClr val="tx1"/>
                </a:solidFill>
                <a:effectLst/>
                <a:latin typeface="+mn-lt"/>
                <a:ea typeface="+mn-ea"/>
                <a:cs typeface="+mn-cs"/>
              </a:rPr>
              <a:t>.</a:t>
            </a:r>
            <a:r>
              <a:rPr lang="en-NZ" sz="1200" b="1" kern="1200" dirty="0" err="1">
                <a:solidFill>
                  <a:schemeClr val="tx1"/>
                </a:solidFill>
                <a:effectLst/>
                <a:latin typeface="+mn-lt"/>
                <a:ea typeface="+mn-ea"/>
                <a:cs typeface="+mn-cs"/>
              </a:rPr>
              <a:t>Net</a:t>
            </a:r>
            <a:r>
              <a:rPr lang="en-NZ" sz="1200" kern="1200" dirty="0">
                <a:solidFill>
                  <a:schemeClr val="tx1"/>
                </a:solidFill>
                <a:effectLst/>
                <a:latin typeface="+mn-lt"/>
                <a:ea typeface="+mn-ea"/>
                <a:cs typeface="+mn-cs"/>
              </a:rPr>
              <a:t>. HDInsight gives data scientists the ability to </a:t>
            </a:r>
            <a:r>
              <a:rPr lang="en-NZ" sz="1200" b="1" kern="1200" dirty="0">
                <a:solidFill>
                  <a:schemeClr val="tx1"/>
                </a:solidFill>
                <a:effectLst/>
                <a:latin typeface="+mn-lt"/>
                <a:ea typeface="+mn-ea"/>
                <a:cs typeface="+mn-cs"/>
              </a:rPr>
              <a:t>create narratives that combine code, statistical equations, and visualizations</a:t>
            </a:r>
            <a:r>
              <a:rPr lang="en-NZ" sz="1200" kern="1200" dirty="0">
                <a:solidFill>
                  <a:schemeClr val="tx1"/>
                </a:solidFill>
                <a:effectLst/>
                <a:latin typeface="+mn-lt"/>
                <a:ea typeface="+mn-ea"/>
                <a:cs typeface="+mn-cs"/>
              </a:rPr>
              <a:t> that tell a story about the data through integration to the two most popular notebooks: </a:t>
            </a:r>
            <a:r>
              <a:rPr lang="en-US" sz="1200" b="1" u="sng" kern="1200" dirty="0" err="1">
                <a:solidFill>
                  <a:schemeClr val="tx1"/>
                </a:solidFill>
                <a:effectLst/>
                <a:latin typeface="+mn-lt"/>
                <a:ea typeface="+mn-ea"/>
                <a:cs typeface="+mn-cs"/>
                <a:hlinkClick r:id="rId6"/>
              </a:rPr>
              <a:t>Jupyter</a:t>
            </a:r>
            <a:r>
              <a:rPr lang="en-NZ" sz="1200" kern="1200" dirty="0">
                <a:solidFill>
                  <a:schemeClr val="tx1"/>
                </a:solidFill>
                <a:effectLst/>
                <a:latin typeface="+mn-lt"/>
                <a:ea typeface="+mn-ea"/>
                <a:cs typeface="+mn-cs"/>
              </a:rPr>
              <a:t> and </a:t>
            </a:r>
            <a:r>
              <a:rPr lang="en-US" sz="1200" b="1" u="sng" kern="1200" dirty="0">
                <a:solidFill>
                  <a:schemeClr val="tx1"/>
                </a:solidFill>
                <a:effectLst/>
                <a:latin typeface="+mn-lt"/>
                <a:ea typeface="+mn-ea"/>
                <a:cs typeface="+mn-cs"/>
                <a:hlinkClick r:id="rId7"/>
              </a:rPr>
              <a:t>Zeppelin</a:t>
            </a:r>
            <a:r>
              <a:rPr lang="en-NZ" sz="1200" kern="1200" dirty="0">
                <a:solidFill>
                  <a:schemeClr val="tx1"/>
                </a:solidFill>
                <a:effectLst/>
                <a:latin typeface="+mn-lt"/>
                <a:ea typeface="+mn-ea"/>
                <a:cs typeface="+mn-cs"/>
              </a:rPr>
              <a:t>. HDInsight is also the only managed cloud Hadoop solution with integration to </a:t>
            </a:r>
            <a:r>
              <a:rPr lang="en-NZ" sz="1200" b="1" kern="1200" dirty="0">
                <a:solidFill>
                  <a:schemeClr val="tx1"/>
                </a:solidFill>
                <a:effectLst/>
                <a:latin typeface="+mn-lt"/>
                <a:ea typeface="+mn-ea"/>
                <a:cs typeface="+mn-cs"/>
              </a:rPr>
              <a:t>Microsoft R Server</a:t>
            </a:r>
            <a:r>
              <a:rPr lang="en-NZ" sz="1200" kern="1200" dirty="0">
                <a:solidFill>
                  <a:schemeClr val="tx1"/>
                </a:solidFill>
                <a:effectLst/>
                <a:latin typeface="+mn-lt"/>
                <a:ea typeface="+mn-ea"/>
                <a:cs typeface="+mn-cs"/>
              </a:rPr>
              <a:t>.  </a:t>
            </a:r>
            <a:r>
              <a:rPr lang="en-NZ" sz="1200" b="1" kern="1200" dirty="0">
                <a:solidFill>
                  <a:schemeClr val="tx1"/>
                </a:solidFill>
                <a:effectLst/>
                <a:latin typeface="+mn-lt"/>
                <a:ea typeface="+mn-ea"/>
                <a:cs typeface="+mn-cs"/>
              </a:rPr>
              <a:t>Multi-threaded math libraries</a:t>
            </a:r>
            <a:r>
              <a:rPr lang="en-NZ" sz="1200" kern="1200" dirty="0">
                <a:solidFill>
                  <a:schemeClr val="tx1"/>
                </a:solidFill>
                <a:effectLst/>
                <a:latin typeface="+mn-lt"/>
                <a:ea typeface="+mn-ea"/>
                <a:cs typeface="+mn-cs"/>
              </a:rPr>
              <a:t> and </a:t>
            </a:r>
            <a:r>
              <a:rPr lang="en-NZ" sz="1200" b="1" kern="1200" dirty="0">
                <a:solidFill>
                  <a:schemeClr val="tx1"/>
                </a:solidFill>
                <a:effectLst/>
                <a:latin typeface="+mn-lt"/>
                <a:ea typeface="+mn-ea"/>
                <a:cs typeface="+mn-cs"/>
              </a:rPr>
              <a:t>transparent parallelization</a:t>
            </a:r>
            <a:r>
              <a:rPr lang="en-NZ" sz="1200" kern="1200" dirty="0">
                <a:solidFill>
                  <a:schemeClr val="tx1"/>
                </a:solidFill>
                <a:effectLst/>
                <a:latin typeface="+mn-lt"/>
                <a:ea typeface="+mn-ea"/>
                <a:cs typeface="+mn-cs"/>
              </a:rPr>
              <a:t> in R Server means handling up to </a:t>
            </a:r>
            <a:r>
              <a:rPr lang="en-NZ" sz="1200" b="1" kern="1200" dirty="0">
                <a:solidFill>
                  <a:schemeClr val="tx1"/>
                </a:solidFill>
                <a:effectLst/>
                <a:latin typeface="+mn-lt"/>
                <a:ea typeface="+mn-ea"/>
                <a:cs typeface="+mn-cs"/>
              </a:rPr>
              <a:t>1000x more data</a:t>
            </a:r>
            <a:r>
              <a:rPr lang="en-NZ" sz="1200" kern="1200" dirty="0">
                <a:solidFill>
                  <a:schemeClr val="tx1"/>
                </a:solidFill>
                <a:effectLst/>
                <a:latin typeface="+mn-lt"/>
                <a:ea typeface="+mn-ea"/>
                <a:cs typeface="+mn-cs"/>
              </a:rPr>
              <a:t> and up to </a:t>
            </a:r>
            <a:r>
              <a:rPr lang="en-NZ" sz="1200" b="1" kern="1200" dirty="0">
                <a:solidFill>
                  <a:schemeClr val="tx1"/>
                </a:solidFill>
                <a:effectLst/>
                <a:latin typeface="+mn-lt"/>
                <a:ea typeface="+mn-ea"/>
                <a:cs typeface="+mn-cs"/>
              </a:rPr>
              <a:t>50x faster speeds</a:t>
            </a:r>
            <a:r>
              <a:rPr lang="en-NZ" sz="1200" kern="1200" dirty="0">
                <a:solidFill>
                  <a:schemeClr val="tx1"/>
                </a:solidFill>
                <a:effectLst/>
                <a:latin typeface="+mn-lt"/>
                <a:ea typeface="+mn-ea"/>
                <a:cs typeface="+mn-cs"/>
              </a:rPr>
              <a:t> than open source R</a:t>
            </a:r>
            <a:r>
              <a:rPr lang="en-US" sz="1200" kern="1200" dirty="0">
                <a:solidFill>
                  <a:schemeClr val="tx1"/>
                </a:solidFill>
                <a:effectLst/>
                <a:latin typeface="+mn-lt"/>
                <a:ea typeface="+mn-ea"/>
                <a:cs typeface="+mn-cs"/>
              </a:rPr>
              <a:t>—</a:t>
            </a:r>
            <a:r>
              <a:rPr lang="en-NZ" sz="1200" kern="1200" dirty="0">
                <a:solidFill>
                  <a:schemeClr val="tx1"/>
                </a:solidFill>
                <a:effectLst/>
                <a:latin typeface="+mn-lt"/>
                <a:ea typeface="+mn-ea"/>
                <a:cs typeface="+mn-cs"/>
              </a:rPr>
              <a:t>helping you train more accurate models for better predictions than previously possible.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st effective cloud scale</a:t>
            </a:r>
          </a:p>
          <a:p>
            <a:r>
              <a:rPr lang="en-US" sz="1200" kern="1200" dirty="0">
                <a:solidFill>
                  <a:schemeClr val="tx1"/>
                </a:solidFill>
                <a:effectLst/>
                <a:latin typeface="+mn-lt"/>
                <a:ea typeface="+mn-ea"/>
                <a:cs typeface="+mn-cs"/>
              </a:rPr>
              <a:t>HDInsight has </a:t>
            </a:r>
            <a:r>
              <a:rPr lang="en-NZ" sz="1200" b="1" kern="1200" dirty="0">
                <a:solidFill>
                  <a:schemeClr val="tx1"/>
                </a:solidFill>
                <a:effectLst/>
                <a:latin typeface="+mn-lt"/>
                <a:ea typeface="+mn-ea"/>
                <a:cs typeface="+mn-cs"/>
              </a:rPr>
              <a:t>decoupled compute and storage</a:t>
            </a:r>
            <a:r>
              <a:rPr lang="en-NZ" sz="1200" kern="1200" dirty="0">
                <a:solidFill>
                  <a:schemeClr val="tx1"/>
                </a:solidFill>
                <a:effectLst/>
                <a:latin typeface="+mn-lt"/>
                <a:ea typeface="+mn-ea"/>
                <a:cs typeface="+mn-cs"/>
              </a:rPr>
              <a:t>, enabling you to </a:t>
            </a:r>
            <a:r>
              <a:rPr lang="en-NZ" sz="1200" b="1" kern="1200" dirty="0">
                <a:solidFill>
                  <a:schemeClr val="tx1"/>
                </a:solidFill>
                <a:effectLst/>
                <a:latin typeface="+mn-lt"/>
                <a:ea typeface="+mn-ea"/>
                <a:cs typeface="+mn-cs"/>
              </a:rPr>
              <a:t>cost-effectively scale workloads up or down</a:t>
            </a:r>
            <a:r>
              <a:rPr lang="en-NZ" sz="1200" kern="1200" dirty="0">
                <a:solidFill>
                  <a:schemeClr val="tx1"/>
                </a:solidFill>
                <a:effectLst/>
                <a:latin typeface="+mn-lt"/>
                <a:ea typeface="+mn-ea"/>
                <a:cs typeface="+mn-cs"/>
              </a:rPr>
              <a:t>, independent of storage. Local storage can still be used for caching and fast I/O. Spark and interactive Hive users can choose SSD memory for interactive performance; while Kafka users can retain all streaming data in premium managed disks. You </a:t>
            </a:r>
            <a:r>
              <a:rPr lang="en-NZ" sz="1200" b="1" kern="1200" dirty="0">
                <a:solidFill>
                  <a:schemeClr val="tx1"/>
                </a:solidFill>
                <a:effectLst/>
                <a:latin typeface="+mn-lt"/>
                <a:ea typeface="+mn-ea"/>
                <a:cs typeface="+mn-cs"/>
              </a:rPr>
              <a:t>only pay for </a:t>
            </a:r>
            <a:r>
              <a:rPr lang="en-NZ" sz="1200" kern="1200" dirty="0">
                <a:solidFill>
                  <a:schemeClr val="tx1"/>
                </a:solidFill>
                <a:effectLst/>
                <a:latin typeface="+mn-lt"/>
                <a:ea typeface="+mn-ea"/>
                <a:cs typeface="+mn-cs"/>
              </a:rPr>
              <a:t>the compute and storage </a:t>
            </a:r>
            <a:r>
              <a:rPr lang="en-NZ" sz="1200" b="1" kern="1200" dirty="0">
                <a:solidFill>
                  <a:schemeClr val="tx1"/>
                </a:solidFill>
                <a:effectLst/>
                <a:latin typeface="+mn-lt"/>
                <a:ea typeface="+mn-ea"/>
                <a:cs typeface="+mn-cs"/>
              </a:rPr>
              <a:t>you use</a:t>
            </a:r>
            <a:r>
              <a:rPr lang="en-NZ" sz="1200" kern="1200" dirty="0">
                <a:solidFill>
                  <a:schemeClr val="tx1"/>
                </a:solidFill>
                <a:effectLst/>
                <a:latin typeface="+mn-lt"/>
                <a:ea typeface="+mn-ea"/>
                <a:cs typeface="+mn-cs"/>
              </a:rPr>
              <a:t> and are given the ability to choose any Azure VM types that enables the best utilization of resources.  A recent </a:t>
            </a:r>
            <a:r>
              <a:rPr lang="en-NZ" sz="1200" u="sng" kern="1200" dirty="0">
                <a:solidFill>
                  <a:schemeClr val="tx1"/>
                </a:solidFill>
                <a:effectLst/>
                <a:latin typeface="+mn-lt"/>
                <a:ea typeface="+mn-ea"/>
                <a:cs typeface="+mn-cs"/>
              </a:rPr>
              <a:t>study</a:t>
            </a:r>
            <a:r>
              <a:rPr lang="en-NZ" sz="1200" kern="1200" dirty="0">
                <a:solidFill>
                  <a:schemeClr val="tx1"/>
                </a:solidFill>
                <a:effectLst/>
                <a:latin typeface="+mn-lt"/>
                <a:ea typeface="+mn-ea"/>
                <a:cs typeface="+mn-cs"/>
              </a:rPr>
              <a:t> showed HDInsight delivering </a:t>
            </a:r>
            <a:r>
              <a:rPr lang="en-NZ" sz="1200" b="1" kern="1200" dirty="0">
                <a:solidFill>
                  <a:schemeClr val="tx1"/>
                </a:solidFill>
                <a:effectLst/>
                <a:latin typeface="+mn-lt"/>
                <a:ea typeface="+mn-ea"/>
                <a:cs typeface="+mn-cs"/>
              </a:rPr>
              <a:t>63% lower TCO</a:t>
            </a:r>
            <a:r>
              <a:rPr lang="en-NZ" sz="1200" kern="1200" dirty="0">
                <a:solidFill>
                  <a:schemeClr val="tx1"/>
                </a:solidFill>
                <a:effectLst/>
                <a:latin typeface="+mn-lt"/>
                <a:ea typeface="+mn-ea"/>
                <a:cs typeface="+mn-cs"/>
              </a:rPr>
              <a:t> than deploying Hadoop on premises over 5 years.*</a:t>
            </a:r>
          </a:p>
          <a:p>
            <a:br>
              <a:rPr lang="en-NZ"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Integration with leading Productivity Applications</a:t>
            </a:r>
          </a:p>
          <a:p>
            <a:r>
              <a:rPr lang="en-US" sz="1200" kern="1200" dirty="0">
                <a:solidFill>
                  <a:schemeClr val="tx1"/>
                </a:solidFill>
                <a:effectLst/>
                <a:latin typeface="+mn-lt"/>
                <a:ea typeface="+mn-ea"/>
                <a:cs typeface="+mn-cs"/>
              </a:rPr>
              <a:t>In the broader ecosystem for Hadoop, there is a thriving market of independent software vendors (ISVs) who provide value added solutions. Through a unique design where </a:t>
            </a:r>
            <a:r>
              <a:rPr lang="en-US" sz="1200" b="1" kern="1200" dirty="0">
                <a:solidFill>
                  <a:schemeClr val="tx1"/>
                </a:solidFill>
                <a:effectLst/>
                <a:latin typeface="+mn-lt"/>
                <a:ea typeface="+mn-ea"/>
                <a:cs typeface="+mn-cs"/>
              </a:rPr>
              <a:t>every cluster is extended</a:t>
            </a:r>
            <a:r>
              <a:rPr lang="en-US" sz="1200" kern="1200" dirty="0">
                <a:solidFill>
                  <a:schemeClr val="tx1"/>
                </a:solidFill>
                <a:effectLst/>
                <a:latin typeface="+mn-lt"/>
                <a:ea typeface="+mn-ea"/>
                <a:cs typeface="+mn-cs"/>
              </a:rPr>
              <a:t> with edge nodes and script action, HDInsight lets customers spin up Hadoop and Spark clusters pre-integrated and pre-tuned </a:t>
            </a:r>
            <a:r>
              <a:rPr lang="en-US" sz="1200" b="1" kern="1200" dirty="0">
                <a:solidFill>
                  <a:schemeClr val="tx1"/>
                </a:solidFill>
                <a:effectLst/>
                <a:latin typeface="+mn-lt"/>
                <a:ea typeface="+mn-ea"/>
                <a:cs typeface="+mn-cs"/>
              </a:rPr>
              <a:t>with any ISV application out-of-the-box</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atameer</a:t>
            </a:r>
            <a:r>
              <a:rPr lang="en-US" sz="1200" kern="1200" dirty="0">
                <a:solidFill>
                  <a:schemeClr val="tx1"/>
                </a:solidFill>
                <a:effectLst/>
                <a:latin typeface="+mn-lt"/>
                <a:ea typeface="+mn-ea"/>
                <a:cs typeface="+mn-cs"/>
              </a:rPr>
              <a:t>, Cask, </a:t>
            </a:r>
            <a:r>
              <a:rPr lang="en-US" sz="1200" kern="1200" dirty="0" err="1">
                <a:solidFill>
                  <a:schemeClr val="tx1"/>
                </a:solidFill>
                <a:effectLst/>
                <a:latin typeface="+mn-lt"/>
                <a:ea typeface="+mn-ea"/>
                <a:cs typeface="+mn-cs"/>
              </a:rPr>
              <a:t>AtScal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treamSets</a:t>
            </a:r>
            <a:r>
              <a:rPr lang="en-US" sz="1200" kern="1200" dirty="0">
                <a:solidFill>
                  <a:schemeClr val="tx1"/>
                </a:solidFill>
                <a:effectLst/>
                <a:latin typeface="+mn-lt"/>
                <a:ea typeface="+mn-ea"/>
                <a:cs typeface="+mn-cs"/>
              </a:rPr>
              <a:t> are few such applications, which are very popular on the HDInsight platform today.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asy for administrators to manage</a:t>
            </a:r>
          </a:p>
          <a:p>
            <a:r>
              <a:rPr lang="en-NZ" sz="1200" kern="1200" dirty="0">
                <a:solidFill>
                  <a:schemeClr val="tx1"/>
                </a:solidFill>
                <a:effectLst/>
                <a:latin typeface="+mn-lt"/>
                <a:ea typeface="+mn-ea"/>
                <a:cs typeface="+mn-cs"/>
              </a:rPr>
              <a:t>With HDInsight, administrators can deploy Hadoop in the cloud </a:t>
            </a:r>
            <a:r>
              <a:rPr lang="en-NZ" sz="1200" b="1" kern="1200" dirty="0">
                <a:solidFill>
                  <a:schemeClr val="tx1"/>
                </a:solidFill>
                <a:effectLst/>
                <a:latin typeface="+mn-lt"/>
                <a:ea typeface="+mn-ea"/>
                <a:cs typeface="+mn-cs"/>
              </a:rPr>
              <a:t>without buying new hardware</a:t>
            </a:r>
            <a:r>
              <a:rPr lang="en-NZ" sz="1200" kern="1200" dirty="0">
                <a:solidFill>
                  <a:schemeClr val="tx1"/>
                </a:solidFill>
                <a:effectLst/>
                <a:latin typeface="+mn-lt"/>
                <a:ea typeface="+mn-ea"/>
                <a:cs typeface="+mn-cs"/>
              </a:rPr>
              <a:t> or incurring other up-front costs. There</a:t>
            </a:r>
            <a:r>
              <a:rPr lang="en-US" sz="1200" kern="1200" dirty="0">
                <a:solidFill>
                  <a:schemeClr val="tx1"/>
                </a:solidFill>
                <a:effectLst/>
                <a:latin typeface="+mn-lt"/>
                <a:ea typeface="+mn-ea"/>
                <a:cs typeface="+mn-cs"/>
              </a:rPr>
              <a:t>’</a:t>
            </a:r>
            <a:r>
              <a:rPr lang="en-NZ" sz="1200" kern="1200" dirty="0">
                <a:solidFill>
                  <a:schemeClr val="tx1"/>
                </a:solidFill>
                <a:effectLst/>
                <a:latin typeface="+mn-lt"/>
                <a:ea typeface="+mn-ea"/>
                <a:cs typeface="+mn-cs"/>
              </a:rPr>
              <a:t>s also </a:t>
            </a:r>
            <a:r>
              <a:rPr lang="en-NZ" sz="1200" b="1" kern="1200" dirty="0">
                <a:solidFill>
                  <a:schemeClr val="tx1"/>
                </a:solidFill>
                <a:effectLst/>
                <a:latin typeface="+mn-lt"/>
                <a:ea typeface="+mn-ea"/>
                <a:cs typeface="+mn-cs"/>
              </a:rPr>
              <a:t>no time-consuming installation or set up</a:t>
            </a:r>
            <a:r>
              <a:rPr lang="en-NZ" sz="1200" kern="1200" dirty="0">
                <a:solidFill>
                  <a:schemeClr val="tx1"/>
                </a:solidFill>
                <a:effectLst/>
                <a:latin typeface="+mn-lt"/>
                <a:ea typeface="+mn-ea"/>
                <a:cs typeface="+mn-cs"/>
              </a:rPr>
              <a:t>. There is also no need to patch the operating system or upgrade the Hadoop versions. Azure does it for you. Launch your first cluster in minutes.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8668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0303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rPr>
              <a:t>Gartner</a:t>
            </a:r>
            <a:r>
              <a:rPr lang="en-US" sz="1200" baseline="0" dirty="0">
                <a:solidFill>
                  <a:schemeClr val="bg1"/>
                </a:solidFill>
              </a:rPr>
              <a:t> has come up with these different types of data warehouses:</a:t>
            </a:r>
          </a:p>
          <a:p>
            <a:pPr marL="228600" indent="-228600">
              <a:buAutoNum type="arabicParenR"/>
            </a:pPr>
            <a:r>
              <a:rPr lang="en-US" sz="1200" baseline="0" dirty="0">
                <a:solidFill>
                  <a:schemeClr val="bg1"/>
                </a:solidFill>
              </a:rPr>
              <a:t>Traditional, </a:t>
            </a:r>
          </a:p>
          <a:p>
            <a:pPr marL="228600" indent="-228600">
              <a:buAutoNum type="arabicParenR"/>
            </a:pPr>
            <a:r>
              <a:rPr lang="en-US" sz="1200" baseline="0" dirty="0">
                <a:solidFill>
                  <a:schemeClr val="bg1"/>
                </a:solidFill>
              </a:rPr>
              <a:t>Operational,</a:t>
            </a:r>
          </a:p>
          <a:p>
            <a:pPr marL="228600" indent="-228600">
              <a:buAutoNum type="arabicParenR"/>
            </a:pPr>
            <a:r>
              <a:rPr lang="en-US" sz="1200" baseline="0" dirty="0">
                <a:solidFill>
                  <a:schemeClr val="bg1"/>
                </a:solidFill>
              </a:rPr>
              <a:t>Logical</a:t>
            </a:r>
          </a:p>
          <a:p>
            <a:pPr marL="228600" indent="-228600">
              <a:buAutoNum type="arabicParenR"/>
            </a:pPr>
            <a:r>
              <a:rPr lang="en-US" sz="1200" baseline="0" dirty="0">
                <a:solidFill>
                  <a:schemeClr val="bg1"/>
                </a:solidFill>
              </a:rPr>
              <a:t>Free-form</a:t>
            </a:r>
            <a:endParaRPr lang="en-US" sz="1200" dirty="0">
              <a:solidFill>
                <a:schemeClr val="bg1"/>
              </a:solidFill>
            </a:endParaRPr>
          </a:p>
          <a:p>
            <a:endParaRPr lang="en-US" sz="12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154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rPr>
              <a:t>We</a:t>
            </a:r>
            <a:r>
              <a:rPr lang="en-US" sz="1200" baseline="0" dirty="0">
                <a:solidFill>
                  <a:schemeClr val="bg1"/>
                </a:solidFill>
              </a:rPr>
              <a:t> are talking about being able to encapsulate multiple different data sources like:</a:t>
            </a:r>
          </a:p>
          <a:p>
            <a:r>
              <a:rPr lang="en-US" sz="1200" dirty="0">
                <a:solidFill>
                  <a:schemeClr val="bg1"/>
                </a:solidFill>
              </a:rPr>
              <a:t>OLTP, ERP</a:t>
            </a:r>
            <a:r>
              <a:rPr lang="en-US" sz="1200" baseline="0" dirty="0">
                <a:solidFill>
                  <a:schemeClr val="bg1"/>
                </a:solidFill>
              </a:rPr>
              <a:t> &amp; CRM systems moved to 1 single place to get a “</a:t>
            </a:r>
            <a:r>
              <a:rPr lang="en-US" sz="1200" dirty="0">
                <a:solidFill>
                  <a:schemeClr val="bg1"/>
                </a:solidFill>
              </a:rPr>
              <a:t>Single source of Truth” = DW</a:t>
            </a:r>
          </a:p>
          <a:p>
            <a:endParaRPr lang="en-US" sz="1200" dirty="0">
              <a:solidFill>
                <a:schemeClr val="bg1"/>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Questions:</a:t>
            </a:r>
          </a:p>
          <a:p>
            <a:pPr marL="228600" marR="0" lvl="0" indent="-228600" algn="l" defTabSz="914400" rtl="0" eaLnBrk="1" fontAlgn="auto" latinLnBrk="0" hangingPunct="1">
              <a:lnSpc>
                <a:spcPct val="90000"/>
              </a:lnSpc>
              <a:spcBef>
                <a:spcPts val="1800"/>
              </a:spcBef>
              <a:spcAft>
                <a:spcPts val="300"/>
              </a:spcAft>
              <a:buClrTx/>
              <a:buSzTx/>
              <a:buFont typeface="+mj-lt"/>
              <a:buAutoNum type="arabicPeriod"/>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How could you use data to out perform your competitors? </a:t>
            </a:r>
          </a:p>
          <a:p>
            <a:pPr marL="228600" marR="0" lvl="0" indent="-228600" algn="l" defTabSz="914400" rtl="0" eaLnBrk="1" fontAlgn="auto" latinLnBrk="0" hangingPunct="1">
              <a:lnSpc>
                <a:spcPct val="90000"/>
              </a:lnSpc>
              <a:spcBef>
                <a:spcPts val="1800"/>
              </a:spcBef>
              <a:spcAft>
                <a:spcPts val="300"/>
              </a:spcAft>
              <a:buClrTx/>
              <a:buSzTx/>
              <a:buFont typeface="+mj-lt"/>
              <a:buAutoNum type="arabicPeriod"/>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How is your older data warehouse deployment working for you in terms of performance? </a:t>
            </a:r>
          </a:p>
          <a:p>
            <a:pPr marL="228600" marR="0" lvl="0" indent="-228600" algn="l" defTabSz="914400" rtl="0" eaLnBrk="1" fontAlgn="auto" latinLnBrk="0" hangingPunct="1">
              <a:lnSpc>
                <a:spcPct val="90000"/>
              </a:lnSpc>
              <a:spcBef>
                <a:spcPts val="1800"/>
              </a:spcBef>
              <a:spcAft>
                <a:spcPts val="300"/>
              </a:spcAft>
              <a:buClrTx/>
              <a:buSzTx/>
              <a:buFont typeface="+mj-lt"/>
              <a:buAutoNum type="arabicPeriod"/>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How is your older data warehouse deployment handling scale?  Did you know Azure SQL DW can scale up to PBs?</a:t>
            </a:r>
          </a:p>
          <a:p>
            <a:pPr marL="228600" lvl="0" indent="-228600">
              <a:spcBef>
                <a:spcPts val="1800"/>
              </a:spcBef>
              <a:spcAft>
                <a:spcPts val="300"/>
              </a:spcAft>
              <a:buFont typeface="+mj-lt"/>
              <a:buAutoNum type="arabicPeriod"/>
              <a:defRPr/>
            </a:pPr>
            <a:r>
              <a:rPr lang="en-US" sz="1200" kern="1200" dirty="0">
                <a:solidFill>
                  <a:schemeClr val="bg1"/>
                </a:solidFill>
                <a:latin typeface="+mn-lt"/>
                <a:ea typeface="+mn-ea"/>
                <a:cs typeface="+mn-cs"/>
              </a:rPr>
              <a:t>How much do you currently pay in software maintenance costs, hardware costs, etc. for your data warehouse?</a:t>
            </a:r>
          </a:p>
          <a:p>
            <a:pPr marL="228600" lvl="0" indent="-228600">
              <a:spcBef>
                <a:spcPts val="1800"/>
              </a:spcBef>
              <a:spcAft>
                <a:spcPts val="300"/>
              </a:spcAft>
              <a:buFont typeface="+mj-lt"/>
              <a:buAutoNum type="arabicPeriod"/>
              <a:defRPr/>
            </a:pPr>
            <a:r>
              <a:rPr lang="en-US" sz="1200" kern="1200" dirty="0">
                <a:solidFill>
                  <a:schemeClr val="bg1"/>
                </a:solidFill>
                <a:latin typeface="+mn-lt"/>
                <a:ea typeface="+mn-ea"/>
                <a:cs typeface="+mn-cs"/>
              </a:rPr>
              <a:t>Are you able to extend your current data warehouse on-premises to the cloud?  Can you do hybrid deployments? </a:t>
            </a:r>
          </a:p>
          <a:p>
            <a:endParaRPr lang="en-US" sz="12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58190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a:t>
            </a:r>
            <a:r>
              <a:rPr lang="en-US" dirty="0" err="1"/>
              <a:t>prem</a:t>
            </a:r>
            <a:r>
              <a:rPr lang="en-US" dirty="0"/>
              <a:t> we have HTAP –</a:t>
            </a:r>
            <a:r>
              <a:rPr lang="en-US" baseline="0" dirty="0"/>
              <a:t> which is the capability of in memory real time analytics</a:t>
            </a:r>
          </a:p>
          <a:p>
            <a:r>
              <a:rPr lang="en-US" baseline="0" dirty="0"/>
              <a:t>In the cloud we have different technologies to stream data </a:t>
            </a:r>
          </a:p>
          <a:p>
            <a:r>
              <a:rPr lang="en-US" baseline="0" dirty="0"/>
              <a:t>– like adding Stream analytics to your SQL DW or using the IoT suite to do that.</a:t>
            </a:r>
          </a:p>
          <a:p>
            <a:endParaRPr lang="en-US" baseline="0" dirty="0"/>
          </a:p>
          <a:p>
            <a:r>
              <a:rPr lang="en-US" dirty="0"/>
              <a:t>Time to insights</a:t>
            </a:r>
            <a:r>
              <a:rPr lang="en-US" baseline="0" dirty="0"/>
              <a:t> </a:t>
            </a:r>
          </a:p>
          <a:p>
            <a:endParaRPr lang="en-US" baseline="0" dirty="0"/>
          </a:p>
          <a:p>
            <a:r>
              <a:rPr lang="en-US" baseline="0" dirty="0"/>
              <a:t>Azure Stream analytics has built in integration with Power BI. </a:t>
            </a:r>
          </a:p>
          <a:p>
            <a:endParaRPr lang="en-US" b="1" baseline="0" dirty="0"/>
          </a:p>
          <a:p>
            <a:r>
              <a:rPr lang="en-US" b="1" baseline="0" dirty="0"/>
              <a:t>Questions:</a:t>
            </a:r>
          </a:p>
          <a:p>
            <a:pPr marL="0" marR="0" lvl="0" indent="0" algn="l" defTabSz="914400" rtl="0" eaLnBrk="1" fontAlgn="auto" latinLnBrk="0" hangingPunct="1">
              <a:lnSpc>
                <a:spcPct val="90000"/>
              </a:lnSpc>
              <a:spcBef>
                <a:spcPts val="18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How quickly can you do</a:t>
            </a:r>
            <a:r>
              <a:rPr kumimoji="0" lang="en-US" sz="1200" b="0" i="0" u="none" strike="noStrike" kern="1200" cap="none" spc="0" normalizeH="0" noProof="0" dirty="0">
                <a:ln>
                  <a:noFill/>
                </a:ln>
                <a:solidFill>
                  <a:schemeClr val="bg1"/>
                </a:solidFill>
                <a:effectLst/>
                <a:uLnTx/>
                <a:uFillTx/>
                <a:latin typeface="+mn-lt"/>
                <a:ea typeface="+mn-ea"/>
                <a:cs typeface="Segoe UI" panose="020B0502040204020203" pitchFamily="34" charset="0"/>
              </a:rPr>
              <a:t> your BI and analytics on your data?  Can you do (near) real-time analytics?</a:t>
            </a:r>
            <a:endPar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endParaRPr>
          </a:p>
          <a:p>
            <a:pPr marL="0" marR="0" lvl="0" indent="0" algn="l" defTabSz="914400" rtl="0" eaLnBrk="1" fontAlgn="auto" latinLnBrk="0" hangingPunct="1">
              <a:lnSpc>
                <a:spcPct val="90000"/>
              </a:lnSpc>
              <a:spcBef>
                <a:spcPts val="18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How long does it take your data warehouse to replicate the data in your</a:t>
            </a:r>
            <a:r>
              <a:rPr kumimoji="0" lang="en-US" sz="1200" b="0" i="0" u="none" strike="noStrike" kern="1200" cap="none" spc="0" normalizeH="0" noProof="0" dirty="0">
                <a:ln>
                  <a:noFill/>
                </a:ln>
                <a:solidFill>
                  <a:schemeClr val="bg1"/>
                </a:solidFill>
                <a:effectLst/>
                <a:uLnTx/>
                <a:uFillTx/>
                <a:latin typeface="+mn-lt"/>
                <a:ea typeface="+mn-ea"/>
                <a:cs typeface="Segoe UI" panose="020B0502040204020203" pitchFamily="34" charset="0"/>
              </a:rPr>
              <a:t> transactional systems?</a:t>
            </a:r>
          </a:p>
          <a:p>
            <a:pPr marL="0" marR="0" lvl="0" indent="0" algn="l" defTabSz="914400" rtl="0" eaLnBrk="1" fontAlgn="auto" latinLnBrk="0" hangingPunct="1">
              <a:lnSpc>
                <a:spcPct val="90000"/>
              </a:lnSpc>
              <a:spcBef>
                <a:spcPts val="1800"/>
              </a:spcBef>
              <a:spcAft>
                <a:spcPts val="300"/>
              </a:spcAft>
              <a:buClrTx/>
              <a:buSzTx/>
              <a:buFont typeface="Arial" panose="020B0604020202020204" pitchFamily="34" charset="0"/>
              <a:buNone/>
              <a:tabLst/>
              <a:defRPr/>
            </a:pPr>
            <a:r>
              <a:rPr lang="en-US" sz="1200" kern="1200" dirty="0">
                <a:solidFill>
                  <a:schemeClr val="bg1"/>
                </a:solidFill>
                <a:latin typeface="+mn-lt"/>
                <a:ea typeface="+mn-ea"/>
                <a:cs typeface="+mn-cs"/>
              </a:rPr>
              <a:t>Can you capture real-time data in your data warehouse from IOT devices, sensors, or other streaming data?</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93091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bination</a:t>
            </a:r>
            <a:r>
              <a:rPr lang="en-US" baseline="0" dirty="0"/>
              <a:t> of DW and Big data plus the ability to do data virtualization.</a:t>
            </a:r>
          </a:p>
          <a:p>
            <a:r>
              <a:rPr lang="en-US" baseline="0" dirty="0"/>
              <a:t>Data Virtualization – abstracting the complexities of where the data lives.</a:t>
            </a:r>
          </a:p>
          <a:p>
            <a:r>
              <a:rPr lang="en-US" dirty="0"/>
              <a:t>The end user shouldn’t need to know where</a:t>
            </a:r>
            <a:r>
              <a:rPr lang="en-US" baseline="0" dirty="0"/>
              <a:t> the data lives (DW, or Hadoop Cluster)</a:t>
            </a:r>
          </a:p>
          <a:p>
            <a:r>
              <a:rPr lang="en-US" baseline="0" dirty="0"/>
              <a:t>They should just be able to drag and drop the data wherever it is. </a:t>
            </a:r>
          </a:p>
          <a:p>
            <a:r>
              <a:rPr lang="en-US" baseline="0" dirty="0"/>
              <a:t>And let the underlying system be able to virtualize that data.</a:t>
            </a:r>
          </a:p>
          <a:p>
            <a:r>
              <a:rPr lang="en-US" baseline="0" dirty="0"/>
              <a:t>And bring the data back from where ever it is.</a:t>
            </a:r>
          </a:p>
          <a:p>
            <a:endParaRPr lang="en-US" baseline="0" dirty="0"/>
          </a:p>
          <a:p>
            <a:r>
              <a:rPr lang="en-US" baseline="0" dirty="0"/>
              <a:t>We solved this 5 years ago with </a:t>
            </a:r>
            <a:r>
              <a:rPr lang="en-US" baseline="0" dirty="0" err="1"/>
              <a:t>polybase</a:t>
            </a:r>
            <a:r>
              <a:rPr lang="en-US" baseline="0" dirty="0"/>
              <a:t> in the APS solution and it’s a part of SQL server core and its part of Azure SQL DW proper in the cloud. </a:t>
            </a:r>
          </a:p>
          <a:p>
            <a:r>
              <a:rPr lang="en-US" baseline="0" dirty="0"/>
              <a:t>There is no vendor out there today that has </a:t>
            </a:r>
            <a:r>
              <a:rPr lang="en-US" baseline="0" dirty="0" err="1"/>
              <a:t>polybase</a:t>
            </a:r>
            <a:r>
              <a:rPr lang="en-US" baseline="0" dirty="0"/>
              <a:t> on </a:t>
            </a:r>
            <a:r>
              <a:rPr lang="en-US" baseline="0" dirty="0" err="1"/>
              <a:t>prem</a:t>
            </a:r>
            <a:r>
              <a:rPr lang="en-US" baseline="0" dirty="0"/>
              <a:t> and in the cloud – together/both. </a:t>
            </a:r>
          </a:p>
          <a:p>
            <a:r>
              <a:rPr lang="en-US" baseline="0" dirty="0"/>
              <a:t>Microsoft is the only one that has the capabilities to federate and join DW data with big data with a single query. </a:t>
            </a:r>
          </a:p>
          <a:p>
            <a:endParaRPr lang="en-US" b="1" baseline="0" dirty="0"/>
          </a:p>
          <a:p>
            <a:r>
              <a:rPr lang="en-US" b="1" baseline="0" dirty="0"/>
              <a:t>Question </a:t>
            </a:r>
            <a:r>
              <a:rPr lang="en-US" baseline="0" dirty="0"/>
              <a:t>: </a:t>
            </a:r>
          </a:p>
          <a:p>
            <a:r>
              <a:rPr lang="en-US" baseline="0" dirty="0"/>
              <a:t>Can you join EMR Big data Hadoop queries with your redshift queries, in the same query, without having to move the data prior to querying to one or the other?</a:t>
            </a:r>
          </a:p>
          <a:p>
            <a:r>
              <a:rPr lang="en-US" baseline="0" dirty="0"/>
              <a:t>Nope can’t be done. Because they don’t have that capability.</a:t>
            </a:r>
          </a:p>
          <a:p>
            <a:endParaRPr lang="en-US" baseline="0"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Questions</a:t>
            </a:r>
          </a:p>
          <a:p>
            <a:pPr marL="228600" marR="0" lvl="0" indent="-228600" algn="l" defTabSz="914400" rtl="0" eaLnBrk="1" fontAlgn="auto" latinLnBrk="0" hangingPunct="1">
              <a:lnSpc>
                <a:spcPct val="90000"/>
              </a:lnSpc>
              <a:spcBef>
                <a:spcPts val="18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Can your data management solution for analytics incorporate both relational and non-relational data? </a:t>
            </a:r>
          </a:p>
          <a:p>
            <a:pPr marL="228600" marR="0" lvl="0" indent="-228600" algn="l" defTabSz="914400" rtl="0" eaLnBrk="1" fontAlgn="auto" latinLnBrk="0" hangingPunct="1">
              <a:lnSpc>
                <a:spcPct val="90000"/>
              </a:lnSpc>
              <a:spcBef>
                <a:spcPts val="18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Or be able to use a BI tool that can join both without showing the complexities of how to do that join to the end users?</a:t>
            </a:r>
          </a:p>
          <a:p>
            <a:pPr marL="228600" marR="0" lvl="0" indent="-228600" algn="l" defTabSz="914400" rtl="0" eaLnBrk="1" fontAlgn="auto" latinLnBrk="0" hangingPunct="1">
              <a:lnSpc>
                <a:spcPct val="90000"/>
              </a:lnSpc>
              <a:spcBef>
                <a:spcPts val="18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Do you need to capture new types of data that is </a:t>
            </a:r>
            <a:r>
              <a:rPr kumimoji="0" lang="en-US" sz="1200" b="1"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non-relational</a:t>
            </a: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 in your data warehouse (</a:t>
            </a:r>
            <a:r>
              <a:rPr kumimoji="0" lang="en-US" sz="1200" b="0" i="0" u="none" strike="noStrike" kern="1200" cap="none" spc="0" normalizeH="0" baseline="0" noProof="0" dirty="0" err="1">
                <a:ln>
                  <a:noFill/>
                </a:ln>
                <a:solidFill>
                  <a:schemeClr val="bg1"/>
                </a:solidFill>
                <a:effectLst/>
                <a:uLnTx/>
                <a:uFillTx/>
                <a:latin typeface="+mn-lt"/>
                <a:ea typeface="+mn-ea"/>
                <a:cs typeface="Segoe UI" panose="020B0502040204020203" pitchFamily="34" charset="0"/>
              </a:rPr>
              <a:t>eg</a:t>
            </a: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 sentiment and web, clickstream, machine/sensor, geographic, server logs, </a:t>
            </a:r>
            <a:r>
              <a:rPr kumimoji="0" lang="en-US" sz="1200" b="0" i="0" u="none" strike="noStrike" kern="1200" cap="none" spc="0" normalizeH="0" baseline="0" noProof="0" dirty="0" err="1">
                <a:ln>
                  <a:noFill/>
                </a:ln>
                <a:solidFill>
                  <a:schemeClr val="bg1"/>
                </a:solidFill>
                <a:effectLst/>
                <a:uLnTx/>
                <a:uFillTx/>
                <a:latin typeface="+mn-lt"/>
                <a:ea typeface="+mn-ea"/>
                <a:cs typeface="Segoe UI" panose="020B0502040204020203" pitchFamily="34" charset="0"/>
              </a:rPr>
              <a:t>etc</a:t>
            </a: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a:t>
            </a:r>
          </a:p>
          <a:p>
            <a:pPr marL="228600" marR="0" lvl="0" indent="-228600" algn="l" defTabSz="914400" rtl="0" eaLnBrk="1" fontAlgn="auto" latinLnBrk="0" hangingPunct="1">
              <a:lnSpc>
                <a:spcPct val="90000"/>
              </a:lnSpc>
              <a:spcBef>
                <a:spcPts val="18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Do you want to </a:t>
            </a:r>
            <a:r>
              <a:rPr kumimoji="0" lang="en-US" sz="1200" b="1"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store all data </a:t>
            </a: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regardless if it fits in your current warehouse? Or is the amount of data you are capturing </a:t>
            </a:r>
            <a:r>
              <a:rPr kumimoji="0" lang="en-US" sz="1200" b="1"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exceeding</a:t>
            </a: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 your current data warehouse limits? </a:t>
            </a:r>
          </a:p>
          <a:p>
            <a:pPr marL="228600" marR="0" lvl="0" indent="-228600" algn="l" defTabSz="914400" rtl="0" eaLnBrk="1" fontAlgn="auto" latinLnBrk="0" hangingPunct="1">
              <a:lnSpc>
                <a:spcPct val="90000"/>
              </a:lnSpc>
              <a:spcBef>
                <a:spcPts val="18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Is your current </a:t>
            </a:r>
            <a:r>
              <a:rPr kumimoji="0" lang="en-US" sz="1200" b="1"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ETL processes expensive </a:t>
            </a: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to manage (ongoing maintenance, hardware costs, personnel </a:t>
            </a:r>
            <a:r>
              <a:rPr kumimoji="0" lang="en-US" sz="1200" b="0" i="0" u="none" strike="noStrike" kern="1200" cap="none" spc="0" normalizeH="0" baseline="0" noProof="0" dirty="0" err="1">
                <a:ln>
                  <a:noFill/>
                </a:ln>
                <a:solidFill>
                  <a:schemeClr val="bg1"/>
                </a:solidFill>
                <a:effectLst/>
                <a:uLnTx/>
                <a:uFillTx/>
                <a:latin typeface="+mn-lt"/>
                <a:ea typeface="+mn-ea"/>
                <a:cs typeface="Segoe UI" panose="020B0502040204020203" pitchFamily="34" charset="0"/>
              </a:rPr>
              <a:t>etc</a:t>
            </a: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a:t>
            </a:r>
          </a:p>
          <a:p>
            <a:pPr marL="228600" marR="0" lvl="0" indent="-228600" algn="l" defTabSz="914400" rtl="0" eaLnBrk="1" fontAlgn="auto" latinLnBrk="0" hangingPunct="1">
              <a:lnSpc>
                <a:spcPct val="90000"/>
              </a:lnSpc>
              <a:spcBef>
                <a:spcPts val="18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Do you want to run a big data solution </a:t>
            </a:r>
            <a:r>
              <a:rPr kumimoji="0" lang="en-US" sz="1200" b="1"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side-by-side</a:t>
            </a: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 with your data warehouse and have them integrated?</a:t>
            </a:r>
          </a:p>
          <a:p>
            <a:pPr marL="228600" marR="0" lvl="0" indent="-228600" algn="l" defTabSz="914400" rtl="0" eaLnBrk="1" fontAlgn="auto" latinLnBrk="0" hangingPunct="1">
              <a:lnSpc>
                <a:spcPct val="90000"/>
              </a:lnSpc>
              <a:spcBef>
                <a:spcPts val="18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Do you want to experiments / data science on </a:t>
            </a:r>
            <a:r>
              <a:rPr kumimoji="0" lang="en-US" sz="1200" b="1"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all of your data </a:t>
            </a: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curated or not) before it’s in the data warehous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7461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rPr>
              <a:t>Gartner</a:t>
            </a:r>
            <a:r>
              <a:rPr lang="en-US" sz="1200" baseline="0" dirty="0">
                <a:solidFill>
                  <a:schemeClr val="bg1"/>
                </a:solidFill>
              </a:rPr>
              <a:t> calls this a context independent DW – focus on advanced analytics in Big Data, the new capabilities available in the CIS.</a:t>
            </a:r>
            <a:endParaRPr lang="en-US" sz="1200" dirty="0">
              <a:solidFill>
                <a:schemeClr val="bg1"/>
              </a:solidFill>
            </a:endParaRPr>
          </a:p>
          <a:p>
            <a:endParaRPr lang="en-US" sz="1200" dirty="0">
              <a:solidFill>
                <a:schemeClr val="bg1"/>
              </a:solidFill>
            </a:endParaRPr>
          </a:p>
          <a:p>
            <a:r>
              <a:rPr lang="en-US" sz="1200" b="1" i="1" dirty="0">
                <a:solidFill>
                  <a:schemeClr val="bg1"/>
                </a:solidFill>
              </a:rPr>
              <a:t>It’s No longer just</a:t>
            </a:r>
            <a:r>
              <a:rPr lang="en-US" sz="1200" b="1" i="1" baseline="0" dirty="0">
                <a:solidFill>
                  <a:schemeClr val="bg1"/>
                </a:solidFill>
              </a:rPr>
              <a:t> the business analysts (already know what they are looking for – products, sales, time)</a:t>
            </a:r>
          </a:p>
          <a:p>
            <a:r>
              <a:rPr lang="en-US" sz="1200" b="1" i="1" baseline="0" dirty="0">
                <a:solidFill>
                  <a:schemeClr val="bg1"/>
                </a:solidFill>
              </a:rPr>
              <a:t>i.e. Give me the # of Tier 1 products that’s sold in 2016, what are my top selling products? </a:t>
            </a:r>
          </a:p>
          <a:p>
            <a:r>
              <a:rPr lang="en-US" sz="1200" b="1" i="1" dirty="0">
                <a:solidFill>
                  <a:schemeClr val="bg1"/>
                </a:solidFill>
              </a:rPr>
              <a:t>No more just the rear-view historical</a:t>
            </a:r>
            <a:r>
              <a:rPr lang="en-US" sz="1200" b="1" i="1" baseline="0" dirty="0">
                <a:solidFill>
                  <a:schemeClr val="bg1"/>
                </a:solidFill>
              </a:rPr>
              <a:t> operational reporting, no… </a:t>
            </a:r>
          </a:p>
          <a:p>
            <a:r>
              <a:rPr lang="en-US" sz="1200" b="1" i="1" baseline="0" dirty="0">
                <a:solidFill>
                  <a:schemeClr val="bg1"/>
                </a:solidFill>
              </a:rPr>
              <a:t>businesses have to enable the data scientists to run experimentation</a:t>
            </a:r>
          </a:p>
          <a:p>
            <a:r>
              <a:rPr lang="en-US" sz="1200" b="1" i="1" baseline="0" dirty="0">
                <a:solidFill>
                  <a:schemeClr val="bg1"/>
                </a:solidFill>
              </a:rPr>
              <a:t>Or they have no clue what kind of data they need to get to run a certain kind of data analysis</a:t>
            </a:r>
          </a:p>
          <a:p>
            <a:r>
              <a:rPr lang="en-US" sz="1200" b="1" i="1" baseline="0" dirty="0">
                <a:solidFill>
                  <a:schemeClr val="bg1"/>
                </a:solidFill>
              </a:rPr>
              <a:t>The types of questions that a data scientist is asking are very different.</a:t>
            </a:r>
          </a:p>
          <a:p>
            <a:r>
              <a:rPr lang="en-US" sz="1200" b="1" i="1" baseline="0" dirty="0">
                <a:solidFill>
                  <a:schemeClr val="bg1"/>
                </a:solidFill>
              </a:rPr>
              <a:t>i.e. Based on this demographic of customers that are buying my products, what is the propensity for them to buy other products?</a:t>
            </a:r>
          </a:p>
          <a:p>
            <a:r>
              <a:rPr lang="en-US" sz="1200" b="1" i="1" baseline="0" dirty="0">
                <a:solidFill>
                  <a:schemeClr val="bg1"/>
                </a:solidFill>
              </a:rPr>
              <a:t>The type of data they are using is data that is not already in your data warehouse. It is unstructured. </a:t>
            </a:r>
          </a:p>
          <a:p>
            <a:r>
              <a:rPr lang="en-US" sz="1200" b="1" i="1" baseline="0" dirty="0">
                <a:solidFill>
                  <a:schemeClr val="bg1"/>
                </a:solidFill>
              </a:rPr>
              <a:t>Data comes from weblogs, social media, clickstream (people clicking on products on the ecommerce website)</a:t>
            </a:r>
          </a:p>
          <a:p>
            <a:endParaRPr lang="en-US" sz="1200" baseline="0" dirty="0">
              <a:solidFill>
                <a:schemeClr val="bg1"/>
              </a:solidFill>
            </a:endParaRPr>
          </a:p>
          <a:p>
            <a:endParaRPr lang="en-US" sz="1200" dirty="0">
              <a:solidFill>
                <a:schemeClr val="bg1"/>
              </a:solidFill>
            </a:endParaRPr>
          </a:p>
          <a:p>
            <a:r>
              <a:rPr lang="en-US" sz="1200" b="1" dirty="0">
                <a:solidFill>
                  <a:schemeClr val="bg1"/>
                </a:solidFill>
              </a:rPr>
              <a:t>Questions:</a:t>
            </a:r>
          </a:p>
          <a:p>
            <a:pPr marL="228600" lvl="0" indent="-228600">
              <a:spcBef>
                <a:spcPts val="1800"/>
              </a:spcBef>
              <a:spcAft>
                <a:spcPts val="600"/>
              </a:spcAft>
              <a:buFont typeface="+mj-lt"/>
              <a:buAutoNum type="arabicPeriod"/>
              <a:defRPr/>
            </a:pPr>
            <a:r>
              <a:rPr lang="en-US" sz="1200" kern="1200" dirty="0">
                <a:solidFill>
                  <a:schemeClr val="bg1"/>
                </a:solidFill>
                <a:latin typeface="+mn-lt"/>
                <a:ea typeface="+mn-ea"/>
                <a:cs typeface="+mn-cs"/>
              </a:rPr>
              <a:t>How do you improve visibility of your supply chain to ensure that your inventory is in the right places at the right time?</a:t>
            </a:r>
          </a:p>
          <a:p>
            <a:pPr marL="228600" lvl="0" indent="-228600">
              <a:spcBef>
                <a:spcPts val="1800"/>
              </a:spcBef>
              <a:spcAft>
                <a:spcPts val="600"/>
              </a:spcAft>
              <a:buFont typeface="+mj-lt"/>
              <a:buAutoNum type="arabicPeriod"/>
              <a:defRPr/>
            </a:pPr>
            <a:r>
              <a:rPr lang="en-US" sz="1200" kern="1200" dirty="0">
                <a:solidFill>
                  <a:schemeClr val="bg1"/>
                </a:solidFill>
                <a:latin typeface="+mn-lt"/>
                <a:ea typeface="+mn-ea"/>
                <a:cs typeface="+mn-cs"/>
              </a:rPr>
              <a:t>What do you need to offer customers exactly what they want, when they want it by personalizing their offers/experiences?</a:t>
            </a:r>
          </a:p>
          <a:p>
            <a:pPr marL="228600" lvl="0" indent="-228600">
              <a:spcBef>
                <a:spcPts val="1800"/>
              </a:spcBef>
              <a:spcAft>
                <a:spcPts val="600"/>
              </a:spcAft>
              <a:buFont typeface="+mj-lt"/>
              <a:buAutoNum type="arabicPeriod"/>
              <a:defRPr/>
            </a:pPr>
            <a:r>
              <a:rPr lang="en-US" sz="1200" kern="1200" dirty="0">
                <a:solidFill>
                  <a:schemeClr val="bg1"/>
                </a:solidFill>
                <a:latin typeface="+mn-lt"/>
                <a:ea typeface="+mn-ea"/>
                <a:cs typeface="+mn-cs"/>
              </a:rPr>
              <a:t>What do you need to fix problems proactively before they start using predictive maintenance?</a:t>
            </a:r>
          </a:p>
          <a:p>
            <a:pPr marL="228600" lvl="0" indent="-228600">
              <a:spcBef>
                <a:spcPts val="1800"/>
              </a:spcBef>
              <a:spcAft>
                <a:spcPts val="600"/>
              </a:spcAft>
              <a:buFont typeface="+mj-lt"/>
              <a:buAutoNum type="arabicPeriod"/>
              <a:defRPr/>
            </a:pPr>
            <a:r>
              <a:rPr lang="en-US" sz="1200" kern="1200" dirty="0">
                <a:solidFill>
                  <a:schemeClr val="bg1"/>
                </a:solidFill>
                <a:latin typeface="+mn-lt"/>
                <a:ea typeface="+mn-ea"/>
                <a:cs typeface="+mn-cs"/>
              </a:rPr>
              <a:t>How would you like to uncover customer trends to drive new business opportunities? </a:t>
            </a:r>
          </a:p>
          <a:p>
            <a:pPr marL="228600" lvl="0" indent="-228600">
              <a:spcBef>
                <a:spcPts val="1800"/>
              </a:spcBef>
              <a:spcAft>
                <a:spcPts val="600"/>
              </a:spcAft>
              <a:buFont typeface="+mj-lt"/>
              <a:buAutoNum type="arabicPeriod"/>
              <a:defRPr/>
            </a:pPr>
            <a:r>
              <a:rPr lang="en-US" sz="1200" kern="1200" dirty="0">
                <a:solidFill>
                  <a:schemeClr val="bg1"/>
                </a:solidFill>
                <a:latin typeface="+mn-lt"/>
                <a:ea typeface="+mn-ea"/>
                <a:cs typeface="+mn-cs"/>
              </a:rPr>
              <a:t>How would you like to use remote monitoring to make more accurate predictions in real-time?</a:t>
            </a:r>
          </a:p>
          <a:p>
            <a:pPr marL="228600" marR="0" lvl="0" indent="-228600" algn="l" defTabSz="914400" rtl="0" eaLnBrk="1" fontAlgn="auto" latinLnBrk="0" hangingPunct="1">
              <a:lnSpc>
                <a:spcPct val="90000"/>
              </a:lnSpc>
              <a:spcBef>
                <a:spcPts val="1800"/>
              </a:spcBef>
              <a:spcAft>
                <a:spcPts val="600"/>
              </a:spcAft>
              <a:buClrTx/>
              <a:buSzTx/>
              <a:buFont typeface="+mj-lt"/>
              <a:buAutoNum type="arabicPeriod"/>
              <a:tabLst/>
              <a:defRPr/>
            </a:pP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Do you want to experiments / data science on </a:t>
            </a:r>
            <a:r>
              <a:rPr kumimoji="0" lang="en-US" sz="1200" b="1"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all of your data (curated or not)</a:t>
            </a:r>
            <a:r>
              <a:rPr kumimoji="0" lang="en-US" sz="1200" b="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a:t>
            </a:r>
          </a:p>
          <a:p>
            <a:endParaRPr lang="en-US" sz="1200" dirty="0">
              <a:solidFill>
                <a:schemeClr val="bg1"/>
              </a:solidFill>
            </a:endParaRPr>
          </a:p>
          <a:p>
            <a:endParaRPr lang="en-US" sz="1200" dirty="0">
              <a:solidFill>
                <a:schemeClr val="bg1"/>
              </a:solidFill>
            </a:endParaRPr>
          </a:p>
          <a:p>
            <a:endParaRPr lang="en-US" sz="1200" dirty="0">
              <a:solidFill>
                <a:schemeClr val="bg1"/>
              </a:solidFill>
            </a:endParaRPr>
          </a:p>
          <a:p>
            <a:r>
              <a:rPr lang="en-US" sz="1200" dirty="0">
                <a:solidFill>
                  <a:schemeClr val="bg1"/>
                </a:solidFill>
              </a:rPr>
              <a:t>Supports search, graph, and other advanced capabilities to uncover new information models </a:t>
            </a:r>
          </a:p>
          <a:p>
            <a:r>
              <a:rPr lang="en-US" sz="1200" dirty="0">
                <a:solidFill>
                  <a:schemeClr val="bg1"/>
                </a:solidFill>
              </a:rPr>
              <a:t>Declares new data values, variant data forms, and intuitive insights for predictive modeling and forecasting  </a:t>
            </a:r>
          </a:p>
          <a:p>
            <a:r>
              <a:rPr lang="en-US" sz="1200" dirty="0">
                <a:solidFill>
                  <a:schemeClr val="bg1"/>
                </a:solidFill>
              </a:rPr>
              <a:t>No operational requirements, enabling free-form querying across all data type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0792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28</a:t>
            </a:fld>
            <a:endParaRPr lang="en-US"/>
          </a:p>
        </p:txBody>
      </p:sp>
    </p:spTree>
    <p:extLst>
      <p:ext uri="{BB962C8B-B14F-4D97-AF65-F5344CB8AC3E}">
        <p14:creationId xmlns:p14="http://schemas.microsoft.com/office/powerpoint/2010/main" val="79361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29</a:t>
            </a:fld>
            <a:endParaRPr lang="en-US"/>
          </a:p>
        </p:txBody>
      </p:sp>
    </p:spTree>
    <p:extLst>
      <p:ext uri="{BB962C8B-B14F-4D97-AF65-F5344CB8AC3E}">
        <p14:creationId xmlns:p14="http://schemas.microsoft.com/office/powerpoint/2010/main" val="3559215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603">
              <a:spcAft>
                <a:spcPts val="343"/>
              </a:spcAft>
              <a:defRPr/>
            </a:pP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2</a:t>
            </a:fld>
            <a:endParaRPr lang="en-US"/>
          </a:p>
        </p:txBody>
      </p:sp>
    </p:spTree>
    <p:extLst>
      <p:ext uri="{BB962C8B-B14F-4D97-AF65-F5344CB8AC3E}">
        <p14:creationId xmlns:p14="http://schemas.microsoft.com/office/powerpoint/2010/main" val="26103654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30</a:t>
            </a:fld>
            <a:endParaRPr lang="en-US"/>
          </a:p>
        </p:txBody>
      </p:sp>
    </p:spTree>
    <p:extLst>
      <p:ext uri="{BB962C8B-B14F-4D97-AF65-F5344CB8AC3E}">
        <p14:creationId xmlns:p14="http://schemas.microsoft.com/office/powerpoint/2010/main" val="3779153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C6C"/>
                </a:solidFill>
              </a:rPr>
              <a:t>No code rewrite as you increase size of stored data</a:t>
            </a:r>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31</a:t>
            </a:fld>
            <a:endParaRPr lang="en-US"/>
          </a:p>
        </p:txBody>
      </p:sp>
    </p:spTree>
    <p:extLst>
      <p:ext uri="{BB962C8B-B14F-4D97-AF65-F5344CB8AC3E}">
        <p14:creationId xmlns:p14="http://schemas.microsoft.com/office/powerpoint/2010/main" val="13262543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34</a:t>
            </a:fld>
            <a:endParaRPr lang="en-US"/>
          </a:p>
        </p:txBody>
      </p:sp>
    </p:spTree>
    <p:extLst>
      <p:ext uri="{BB962C8B-B14F-4D97-AF65-F5344CB8AC3E}">
        <p14:creationId xmlns:p14="http://schemas.microsoft.com/office/powerpoint/2010/main" val="20170336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39</a:t>
            </a:fld>
            <a:endParaRPr lang="en-US"/>
          </a:p>
        </p:txBody>
      </p:sp>
    </p:spTree>
    <p:extLst>
      <p:ext uri="{BB962C8B-B14F-4D97-AF65-F5344CB8AC3E}">
        <p14:creationId xmlns:p14="http://schemas.microsoft.com/office/powerpoint/2010/main" val="9206394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41</a:t>
            </a:fld>
            <a:endParaRPr lang="en-US"/>
          </a:p>
        </p:txBody>
      </p:sp>
    </p:spTree>
    <p:extLst>
      <p:ext uri="{BB962C8B-B14F-4D97-AF65-F5344CB8AC3E}">
        <p14:creationId xmlns:p14="http://schemas.microsoft.com/office/powerpoint/2010/main" val="1425651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71973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B0F0"/>
                </a:solidFill>
              </a:rPr>
              <a:t>Get it at //aka.ms/</a:t>
            </a:r>
            <a:r>
              <a:rPr lang="en-US" dirty="0" err="1">
                <a:solidFill>
                  <a:srgbClr val="00B0F0"/>
                </a:solidFill>
              </a:rPr>
              <a:t>forresterwave</a:t>
            </a:r>
            <a:endParaRPr lang="en-US" dirty="0">
              <a:solidFill>
                <a:srgbClr val="00B0F0"/>
              </a:solidFill>
            </a:endParaRPr>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46</a:t>
            </a:fld>
            <a:endParaRPr lang="en-US"/>
          </a:p>
        </p:txBody>
      </p:sp>
    </p:spTree>
    <p:extLst>
      <p:ext uri="{BB962C8B-B14F-4D97-AF65-F5344CB8AC3E}">
        <p14:creationId xmlns:p14="http://schemas.microsoft.com/office/powerpoint/2010/main" val="32892208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47</a:t>
            </a:fld>
            <a:endParaRPr lang="en-US"/>
          </a:p>
        </p:txBody>
      </p:sp>
    </p:spTree>
    <p:extLst>
      <p:ext uri="{BB962C8B-B14F-4D97-AF65-F5344CB8AC3E}">
        <p14:creationId xmlns:p14="http://schemas.microsoft.com/office/powerpoint/2010/main" val="18283494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48</a:t>
            </a:fld>
            <a:endParaRPr lang="en-US"/>
          </a:p>
        </p:txBody>
      </p:sp>
    </p:spTree>
    <p:extLst>
      <p:ext uri="{BB962C8B-B14F-4D97-AF65-F5344CB8AC3E}">
        <p14:creationId xmlns:p14="http://schemas.microsoft.com/office/powerpoint/2010/main" val="9016762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chnological advances</a:t>
            </a:r>
            <a:r>
              <a:rPr lang="en-US" baseline="0" dirty="0"/>
              <a:t> include: </a:t>
            </a:r>
          </a:p>
          <a:p>
            <a:r>
              <a:rPr lang="en-US" baseline="0" dirty="0"/>
              <a:t>Memory doubled</a:t>
            </a:r>
          </a:p>
          <a:p>
            <a:r>
              <a:rPr lang="en-US" baseline="0" dirty="0"/>
              <a:t>High speed networking and high capacity technology pricing coming down to standard usage</a:t>
            </a:r>
          </a:p>
          <a:p>
            <a:r>
              <a:rPr lang="en-US" baseline="0" dirty="0"/>
              <a:t>Storage technology begin migration from high performance disk to solid state and flash</a:t>
            </a:r>
          </a:p>
          <a:p>
            <a:r>
              <a:rPr lang="en-US" baseline="0" dirty="0"/>
              <a:t>Regular cycle of CPU performance occurring (Moore’s law doubled processor capacity and the cores to chip socket ratio changed)</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49</a:t>
            </a:fld>
            <a:endParaRPr lang="en-US"/>
          </a:p>
        </p:txBody>
      </p:sp>
    </p:spTree>
    <p:extLst>
      <p:ext uri="{BB962C8B-B14F-4D97-AF65-F5344CB8AC3E}">
        <p14:creationId xmlns:p14="http://schemas.microsoft.com/office/powerpoint/2010/main" val="422810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4</a:t>
            </a:fld>
            <a:endParaRPr lang="en-US"/>
          </a:p>
        </p:txBody>
      </p:sp>
    </p:spTree>
    <p:extLst>
      <p:ext uri="{BB962C8B-B14F-4D97-AF65-F5344CB8AC3E}">
        <p14:creationId xmlns:p14="http://schemas.microsoft.com/office/powerpoint/2010/main" val="36411718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idx="10"/>
          </p:nvPr>
        </p:nvSpPr>
        <p:spPr/>
        <p:txBody>
          <a:bodyPr/>
          <a:lstStyle/>
          <a:p>
            <a:r>
              <a:rPr lang="en-US"/>
              <a:t>Build 2015</a:t>
            </a:r>
          </a:p>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7/12/2017 4: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1618467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Light" pitchFamily="34" charset="0"/>
              </a:rPr>
              <a:t>Case study: https://customers.microsoft.com/Pages/CustomerStory.aspx?recid=18356</a:t>
            </a:r>
          </a:p>
          <a:p>
            <a:endParaRPr lang="en-US" b="1" dirty="0">
              <a:latin typeface="Segoe UI Light" pitchFamily="34" charset="0"/>
            </a:endParaRPr>
          </a:p>
          <a:p>
            <a:r>
              <a:rPr lang="en-US" b="1" dirty="0">
                <a:latin typeface="Segoe UI Light" pitchFamily="34" charset="0"/>
              </a:rPr>
              <a:t>Rockwell</a:t>
            </a:r>
            <a:r>
              <a:rPr lang="en-US" b="1" baseline="0" dirty="0">
                <a:latin typeface="Segoe UI Light" pitchFamily="34" charset="0"/>
              </a:rPr>
              <a:t> wanted to predict when their </a:t>
            </a:r>
            <a:r>
              <a:rPr lang="en-US" sz="1200" kern="0" baseline="0" dirty="0">
                <a:solidFill>
                  <a:schemeClr val="bg1"/>
                </a:solidFill>
                <a:latin typeface="+mn-lt"/>
                <a:ea typeface="+mn-ea"/>
                <a:cs typeface="+mn-cs"/>
              </a:rPr>
              <a:t>liquefied gas dispensers (IoT scenario) would need proactive  maintenance</a:t>
            </a:r>
          </a:p>
          <a:p>
            <a:endParaRPr lang="en-US" b="1" dirty="0">
              <a:latin typeface="Segoe UI Light" pitchFamily="34" charset="0"/>
            </a:endParaRPr>
          </a:p>
          <a:p>
            <a:r>
              <a:rPr lang="en-US" b="1" dirty="0">
                <a:effectLst/>
              </a:rPr>
              <a:t>Solution:</a:t>
            </a:r>
          </a:p>
          <a:p>
            <a:r>
              <a:rPr lang="en-US" b="1" dirty="0">
                <a:effectLst/>
              </a:rPr>
              <a:t>Manage and analyze massive amounts of data</a:t>
            </a:r>
            <a:r>
              <a:rPr lang="en-US" dirty="0">
                <a:effectLst/>
              </a:rPr>
              <a:t>, the company uses Azure HDInsight, the cloud-based managed Hadoop service.</a:t>
            </a:r>
          </a:p>
          <a:p>
            <a:r>
              <a:rPr lang="en-US" b="1" dirty="0">
                <a:effectLst/>
              </a:rPr>
              <a:t>Advance its data insights into the realm of predictive analytics</a:t>
            </a:r>
            <a:r>
              <a:rPr lang="en-US" dirty="0">
                <a:effectLst/>
              </a:rPr>
              <a:t>, it is building Capacity Planning and Predictive Maintenance capabilities using Azure Machine Learning.</a:t>
            </a:r>
          </a:p>
          <a:p>
            <a:r>
              <a:rPr lang="en-US" b="1" dirty="0">
                <a:effectLst/>
              </a:rPr>
              <a:t>Manage the complex interactions of data </a:t>
            </a:r>
            <a:r>
              <a:rPr lang="en-US" dirty="0">
                <a:effectLst/>
              </a:rPr>
              <a:t>across multiple systems, it is using the Azure Data Factory service.</a:t>
            </a:r>
          </a:p>
          <a:p>
            <a:r>
              <a:rPr lang="en-US" b="1" dirty="0">
                <a:effectLst/>
              </a:rPr>
              <a:t>Put actionable analysis in the hands of field workers</a:t>
            </a:r>
            <a:r>
              <a:rPr lang="en-US" dirty="0">
                <a:effectLst/>
              </a:rPr>
              <a:t>—both its own support technicians and its customers’—it is developing highly intuitive interactive dashboards including Microsoft Power BI.</a:t>
            </a:r>
          </a:p>
          <a:p>
            <a:r>
              <a:rPr lang="en-US" b="1" dirty="0">
                <a:effectLst/>
              </a:rPr>
              <a:t>Manage large data workloads, </a:t>
            </a:r>
            <a:r>
              <a:rPr lang="en-US" dirty="0">
                <a:effectLst/>
              </a:rPr>
              <a:t>it uses several Azure SQL Database databases and applies different Service Tiers to meet the various data processing requirements of its customers. It also takes advantage of Geo-Redundancy and Point-in-Time restore to provide needed levels of reliability and manageability.</a:t>
            </a:r>
          </a:p>
          <a:p>
            <a:endParaRPr lang="en-US" dirty="0"/>
          </a:p>
          <a:p>
            <a:endParaRPr lang="en-US" dirty="0"/>
          </a:p>
          <a:p>
            <a:r>
              <a:rPr lang="en-US" b="1" dirty="0">
                <a:effectLst/>
              </a:rPr>
              <a:t>Benefits:</a:t>
            </a:r>
            <a:r>
              <a:rPr lang="en-US" b="1" baseline="0" dirty="0">
                <a:effectLst/>
              </a:rPr>
              <a:t> </a:t>
            </a:r>
            <a:r>
              <a:rPr lang="en-US" dirty="0">
                <a:effectLst/>
              </a:rPr>
              <a:t>faster time to market, full data pipeline visibility, reduced costs, and innovative ways to serve its customers.</a:t>
            </a:r>
          </a:p>
          <a:p>
            <a:r>
              <a:rPr lang="en-US" b="1" dirty="0">
                <a:effectLst/>
              </a:rPr>
              <a:t>Cuts Development Time by 80 Percent</a:t>
            </a:r>
            <a:endParaRPr lang="en-US" dirty="0">
              <a:effectLst/>
            </a:endParaRPr>
          </a:p>
          <a:p>
            <a:pPr marL="171450" indent="-171450">
              <a:buFont typeface="Arial" panose="020B0604020202020204" pitchFamily="34" charset="0"/>
              <a:buChar char="•"/>
            </a:pPr>
            <a:r>
              <a:rPr lang="en-US" dirty="0">
                <a:effectLst/>
              </a:rPr>
              <a:t>Rockwell</a:t>
            </a:r>
            <a:r>
              <a:rPr lang="en-US" baseline="0" dirty="0">
                <a:effectLst/>
              </a:rPr>
              <a:t>  </a:t>
            </a:r>
            <a:r>
              <a:rPr lang="en-US" dirty="0">
                <a:effectLst/>
              </a:rPr>
              <a:t>developed and deployed their Hadoop integration solution in </a:t>
            </a:r>
            <a:r>
              <a:rPr lang="en-US" b="1" dirty="0">
                <a:effectLst/>
              </a:rPr>
              <a:t>two weeks</a:t>
            </a:r>
            <a:r>
              <a:rPr lang="en-US" dirty="0">
                <a:effectLst/>
              </a:rPr>
              <a:t>, </a:t>
            </a:r>
          </a:p>
          <a:p>
            <a:pPr marL="171450" indent="-171450">
              <a:buFont typeface="Arial" panose="020B0604020202020204" pitchFamily="34" charset="0"/>
              <a:buChar char="•"/>
            </a:pPr>
            <a:r>
              <a:rPr lang="en-US" dirty="0">
                <a:effectLst/>
              </a:rPr>
              <a:t>as opposed to the 10 weeks it would have taken without Azure Data Factory. </a:t>
            </a:r>
          </a:p>
          <a:p>
            <a:pPr marL="171450" indent="-171450">
              <a:buFont typeface="Arial" panose="020B0604020202020204" pitchFamily="34" charset="0"/>
              <a:buChar char="•"/>
            </a:pPr>
            <a:r>
              <a:rPr lang="en-US" dirty="0">
                <a:effectLst/>
              </a:rPr>
              <a:t>They achieved this 80 percent savings of time and cost </a:t>
            </a:r>
          </a:p>
          <a:p>
            <a:pPr marL="628650" lvl="1" indent="-171450">
              <a:buFont typeface="Arial" panose="020B0604020202020204" pitchFamily="34" charset="0"/>
              <a:buChar char="•"/>
            </a:pPr>
            <a:r>
              <a:rPr lang="en-US" dirty="0">
                <a:effectLst/>
              </a:rPr>
              <a:t>because they did not need to:</a:t>
            </a:r>
          </a:p>
          <a:p>
            <a:pPr marL="1085850" lvl="2" indent="-171450">
              <a:buFont typeface="Arial" panose="020B0604020202020204" pitchFamily="34" charset="0"/>
              <a:buChar char="•"/>
            </a:pPr>
            <a:r>
              <a:rPr lang="en-US" dirty="0">
                <a:effectLst/>
              </a:rPr>
              <a:t>install and configure a scheduler system, </a:t>
            </a:r>
          </a:p>
          <a:p>
            <a:pPr marL="1085850" lvl="2" indent="-171450">
              <a:buFont typeface="Arial" panose="020B0604020202020204" pitchFamily="34" charset="0"/>
              <a:buChar char="•"/>
            </a:pPr>
            <a:r>
              <a:rPr lang="en-US" dirty="0">
                <a:effectLst/>
              </a:rPr>
              <a:t>build generic templates to orchestrate data transformations, </a:t>
            </a:r>
          </a:p>
          <a:p>
            <a:pPr marL="1085850" lvl="2" indent="-171450">
              <a:buFont typeface="Arial" panose="020B0604020202020204" pitchFamily="34" charset="0"/>
              <a:buChar char="•"/>
            </a:pPr>
            <a:r>
              <a:rPr lang="en-US" dirty="0">
                <a:effectLst/>
              </a:rPr>
              <a:t>or create the Pig and Hive scripts manually.</a:t>
            </a:r>
          </a:p>
          <a:p>
            <a:r>
              <a:rPr lang="en-US" b="1" dirty="0">
                <a:effectLst/>
              </a:rPr>
              <a:t>Enables Broader, Faster Business Solutions Using Big Data</a:t>
            </a:r>
            <a:endParaRPr lang="en-US" dirty="0">
              <a:effectLs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effectLst/>
              </a:rPr>
              <a:t>Rockwell Automation can help its customers meet reporting requirements of the US EPA, which generally require manufacturers to maintain 5 years’ of data.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effectLst/>
              </a:rPr>
              <a:t>Can maintain quality management data for as long as its customers wish—which can be up to 10 years.</a:t>
            </a:r>
          </a:p>
          <a:p>
            <a:pPr marL="171450" indent="-171450">
              <a:buFont typeface="Arial" panose="020B0604020202020204" pitchFamily="34" charset="0"/>
              <a:buChar char="•"/>
            </a:pPr>
            <a:r>
              <a:rPr lang="en-US" dirty="0">
                <a:effectLst/>
              </a:rPr>
              <a:t>Rockwell can work faster,</a:t>
            </a:r>
            <a:r>
              <a:rPr lang="en-US" baseline="0" dirty="0">
                <a:effectLst/>
              </a:rPr>
              <a:t> more easily and with larger amounts of data because we can scale out data in Hadoop.</a:t>
            </a:r>
          </a:p>
          <a:p>
            <a:pPr marL="171450" indent="-171450">
              <a:buFont typeface="Arial" panose="020B0604020202020204" pitchFamily="34" charset="0"/>
              <a:buChar char="•"/>
            </a:pPr>
            <a:r>
              <a:rPr lang="en-US" dirty="0">
                <a:effectLst/>
              </a:rPr>
              <a:t>Instead of processing data sets only on demand, the company can have data interpolated and waiting for users to request it. </a:t>
            </a:r>
          </a:p>
          <a:p>
            <a:pPr marL="171450" indent="-171450">
              <a:buFont typeface="Arial" panose="020B0604020202020204" pitchFamily="34" charset="0"/>
              <a:buChar char="•"/>
            </a:pPr>
            <a:r>
              <a:rPr lang="en-US" dirty="0">
                <a:effectLst/>
              </a:rPr>
              <a:t>That will reduce the processing time for reports from minutes to seconds.</a:t>
            </a:r>
          </a:p>
          <a:p>
            <a:endParaRPr lang="en-US" dirty="0">
              <a:effectLst/>
            </a:endParaRPr>
          </a:p>
          <a:p>
            <a:r>
              <a:rPr lang="en-US" b="1" i="1" strike="noStrike" dirty="0">
                <a:effectLst/>
              </a:rPr>
              <a:t>Solving the Integration Challenge</a:t>
            </a:r>
            <a:endParaRPr lang="en-US" i="1" strike="noStrike" dirty="0">
              <a:effectLst/>
            </a:endParaRPr>
          </a:p>
          <a:p>
            <a:r>
              <a:rPr lang="en-US" i="1" strike="noStrike" dirty="0">
                <a:effectLst/>
              </a:rPr>
              <a:t>In a different example, Rockwell Automation uses several Azure technologies to solve the challenge of integrating complex data systems. It uses the cloud-based Azure Data Factory service to compose, orchestrate, and manage highly available and reliable data pipelines, which consist of sets of data and the services orchestrated to process them.</a:t>
            </a:r>
          </a:p>
          <a:p>
            <a:r>
              <a:rPr lang="en-US" i="1" strike="noStrike" dirty="0">
                <a:effectLst/>
              </a:rPr>
              <a:t>With Azure Data Factory, Rockwell Automation developers can build data-driven workflows that join, aggregate, and transform data sourced from on-premises, cloud, Hadoop, and Internet services. They can also set up complex data processing orchestration with little programming. Azure Data Factory includes tools for easy end-to-end monitoring and management of those pipelines, which reduce the traditional time and cost required to operate them.</a:t>
            </a:r>
          </a:p>
          <a:p>
            <a:r>
              <a:rPr lang="en-US" i="1" strike="noStrike" dirty="0">
                <a:effectLst/>
              </a:rPr>
              <a:t>This was exactly what Rockwell Automation wanted to support its use of Hadoop to monitor and analyze the performance of customers’ manufacturing and processing systems. When Microsoft offered it the chance to test Azure Data Factory in a pre-release version, </a:t>
            </a:r>
            <a:r>
              <a:rPr lang="en-US" i="1" strike="noStrike" dirty="0" err="1">
                <a:effectLst/>
              </a:rPr>
              <a:t>Asenjo</a:t>
            </a:r>
            <a:r>
              <a:rPr lang="en-US" i="1" strike="noStrike" dirty="0">
                <a:effectLst/>
              </a:rPr>
              <a:t> and his colleagues accepted.</a:t>
            </a:r>
          </a:p>
          <a:p>
            <a:r>
              <a:rPr lang="en-US" i="1" strike="noStrike" dirty="0">
                <a:effectLst/>
              </a:rPr>
              <a:t>They decided to use the Azure Data Factory service in a POC designed to address their pressing need for a fast, reliable way to interpolate time-series sensor data prior to analysis. The company had already been performing data interpolation on a relatively limited and on-demand basis using relational databases and time-consuming handwritten code.</a:t>
            </a:r>
          </a:p>
          <a:p>
            <a:r>
              <a:rPr lang="en-US" i="1" strike="noStrike" dirty="0" err="1">
                <a:effectLst/>
              </a:rPr>
              <a:t>Asenjo</a:t>
            </a:r>
            <a:r>
              <a:rPr lang="en-US" i="1" strike="noStrike" dirty="0">
                <a:effectLst/>
              </a:rPr>
              <a:t> and his colleagues hoped that by using Azure Data Factory, they could interpolate more data in Azure more quickly, reducing the amount of raw data that they had to collect from sensors and convey to the cloud, speeding the process and reducing its cost.</a:t>
            </a:r>
          </a:p>
          <a:p>
            <a:r>
              <a:rPr lang="en-US" b="1" i="1" strike="noStrike" dirty="0">
                <a:effectLst/>
              </a:rPr>
              <a:t>The developers used Azure Data Factory to create a data pipeline with a few clicks and then linked it to Azure SQL Database, Blob Storage, and HDInsight. They also were able to automate the orchestration and execution of Pig and Hive scripts on Hadoop/HDInsight instead of running these scripts manually or having to worry about managing the cluster themselves.</a:t>
            </a:r>
          </a:p>
          <a:p>
            <a:r>
              <a:rPr lang="en-US" b="1" i="1" strike="noStrike" dirty="0">
                <a:effectLst/>
              </a:rPr>
              <a:t>In the test, raw sensor data was stored in Blob Storage and processed with HDInsight. A complete set of interpolated data was returned to Blob Storage, with fresh or recent data moved to Azure SQL Database, where the BI layer will present the data to the users. The result was the transformation of raw data into information assets that can be consumed by Azure Machine Learning, and Power BI to produce trusted insights.</a:t>
            </a:r>
          </a:p>
          <a:p>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2700255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7</a:t>
            </a:fld>
            <a:endParaRPr lang="en-US"/>
          </a:p>
        </p:txBody>
      </p:sp>
    </p:spTree>
    <p:extLst>
      <p:ext uri="{BB962C8B-B14F-4D97-AF65-F5344CB8AC3E}">
        <p14:creationId xmlns:p14="http://schemas.microsoft.com/office/powerpoint/2010/main" val="4063868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600"/>
              </a:spcBef>
              <a:spcAft>
                <a:spcPts val="1200"/>
              </a:spcAft>
              <a:buClr>
                <a:srgbClr val="0078D7"/>
              </a:buClr>
              <a:buNone/>
            </a:pP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8</a:t>
            </a:fld>
            <a:endParaRPr lang="en-US"/>
          </a:p>
        </p:txBody>
      </p:sp>
    </p:spTree>
    <p:extLst>
      <p:ext uri="{BB962C8B-B14F-4D97-AF65-F5344CB8AC3E}">
        <p14:creationId xmlns:p14="http://schemas.microsoft.com/office/powerpoint/2010/main" val="2319103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9</a:t>
            </a:fld>
            <a:endParaRPr lang="en-US"/>
          </a:p>
        </p:txBody>
      </p:sp>
    </p:spTree>
    <p:extLst>
      <p:ext uri="{BB962C8B-B14F-4D97-AF65-F5344CB8AC3E}">
        <p14:creationId xmlns:p14="http://schemas.microsoft.com/office/powerpoint/2010/main" val="1171620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spcAft>
                <a:spcPts val="1800"/>
              </a:spcAft>
              <a:defRPr/>
            </a:pPr>
            <a:r>
              <a:rPr lang="en-US" sz="1200" kern="1200" dirty="0">
                <a:solidFill>
                  <a:schemeClr val="bg1"/>
                </a:solidFill>
                <a:latin typeface="+mn-lt"/>
                <a:ea typeface="+mn-ea"/>
                <a:cs typeface="Segoe UI" panose="020B0502040204020203" pitchFamily="34" charset="0"/>
              </a:rPr>
              <a:t>Hadoop File System (HDFS) for the cloud</a:t>
            </a:r>
          </a:p>
          <a:p>
            <a:pPr defTabSz="914367">
              <a:spcAft>
                <a:spcPts val="1800"/>
              </a:spcAft>
              <a:defRPr/>
            </a:pPr>
            <a:r>
              <a:rPr lang="en-US" sz="1200" dirty="0">
                <a:solidFill>
                  <a:srgbClr val="0078D7"/>
                </a:solidFill>
                <a:latin typeface="Segoe UI Semibold" panose="020B0702040204020203" pitchFamily="34" charset="0"/>
                <a:cs typeface="Segoe UI Semibold" panose="020B0702040204020203" pitchFamily="34" charset="0"/>
              </a:rPr>
              <a:t>No limits </a:t>
            </a:r>
            <a:r>
              <a:rPr lang="en-US" sz="1200" kern="1200" dirty="0">
                <a:solidFill>
                  <a:schemeClr val="bg1"/>
                </a:solidFill>
                <a:latin typeface="+mn-lt"/>
                <a:ea typeface="+mn-ea"/>
                <a:cs typeface="Segoe UI" panose="020B0502040204020203" pitchFamily="34" charset="0"/>
              </a:rPr>
              <a:t>to scale</a:t>
            </a:r>
          </a:p>
          <a:p>
            <a:pPr defTabSz="914367">
              <a:spcAft>
                <a:spcPts val="1800"/>
              </a:spcAft>
              <a:defRPr/>
            </a:pPr>
            <a:r>
              <a:rPr lang="en-US" sz="1200" kern="1200" dirty="0">
                <a:solidFill>
                  <a:schemeClr val="bg1"/>
                </a:solidFill>
                <a:latin typeface="+mn-lt"/>
                <a:ea typeface="+mn-ea"/>
                <a:cs typeface="Segoe UI" panose="020B0502040204020203" pitchFamily="34" charset="0"/>
              </a:rPr>
              <a:t>Store </a:t>
            </a:r>
            <a:r>
              <a:rPr lang="en-US" sz="1200" dirty="0">
                <a:solidFill>
                  <a:srgbClr val="0078D7"/>
                </a:solidFill>
                <a:latin typeface="Segoe UI Semibold" panose="020B0702040204020203" pitchFamily="34" charset="0"/>
                <a:cs typeface="Segoe UI Semibold" panose="020B0702040204020203" pitchFamily="34" charset="0"/>
              </a:rPr>
              <a:t>any data </a:t>
            </a:r>
            <a:r>
              <a:rPr lang="en-US" sz="1200" kern="1200" dirty="0">
                <a:solidFill>
                  <a:schemeClr val="bg1"/>
                </a:solidFill>
                <a:latin typeface="+mn-lt"/>
                <a:ea typeface="+mn-ea"/>
                <a:cs typeface="Segoe UI" panose="020B0502040204020203" pitchFamily="34" charset="0"/>
              </a:rPr>
              <a:t>in its native format</a:t>
            </a:r>
          </a:p>
          <a:p>
            <a:pPr defTabSz="914367">
              <a:spcAft>
                <a:spcPts val="1800"/>
              </a:spcAft>
              <a:defRPr/>
            </a:pPr>
            <a:r>
              <a:rPr lang="en-US" sz="1200" dirty="0">
                <a:solidFill>
                  <a:srgbClr val="0078D7"/>
                </a:solidFill>
                <a:latin typeface="Segoe UI Semibold" panose="020B0702040204020203" pitchFamily="34" charset="0"/>
                <a:cs typeface="Segoe UI Semibold" panose="020B0702040204020203" pitchFamily="34" charset="0"/>
              </a:rPr>
              <a:t>Enterprise-grade </a:t>
            </a:r>
            <a:r>
              <a:rPr lang="en-US" sz="1200" kern="1200" dirty="0">
                <a:solidFill>
                  <a:schemeClr val="bg1"/>
                </a:solidFill>
                <a:latin typeface="+mn-lt"/>
                <a:ea typeface="+mn-ea"/>
                <a:cs typeface="Segoe UI" panose="020B0502040204020203" pitchFamily="34" charset="0"/>
              </a:rPr>
              <a:t>access control, </a:t>
            </a:r>
            <a:br>
              <a:rPr lang="en-US" sz="1200" kern="1200" dirty="0">
                <a:solidFill>
                  <a:schemeClr val="bg1"/>
                </a:solidFill>
                <a:latin typeface="+mn-lt"/>
                <a:ea typeface="+mn-ea"/>
                <a:cs typeface="Segoe UI" panose="020B0502040204020203" pitchFamily="34" charset="0"/>
              </a:rPr>
            </a:br>
            <a:r>
              <a:rPr lang="en-US" sz="1200" kern="1200" dirty="0">
                <a:solidFill>
                  <a:schemeClr val="bg1"/>
                </a:solidFill>
                <a:latin typeface="+mn-lt"/>
                <a:ea typeface="+mn-ea"/>
                <a:cs typeface="Segoe UI" panose="020B0502040204020203" pitchFamily="34" charset="0"/>
              </a:rPr>
              <a:t>encryption at rest</a:t>
            </a:r>
          </a:p>
          <a:p>
            <a:pPr defTabSz="914367">
              <a:spcAft>
                <a:spcPts val="1800"/>
              </a:spcAft>
              <a:defRPr/>
            </a:pPr>
            <a:r>
              <a:rPr lang="en-US" sz="1200" kern="1200" dirty="0">
                <a:solidFill>
                  <a:schemeClr val="bg1"/>
                </a:solidFill>
                <a:latin typeface="+mn-lt"/>
                <a:ea typeface="+mn-ea"/>
                <a:cs typeface="Segoe UI" panose="020B0502040204020203" pitchFamily="34" charset="0"/>
              </a:rPr>
              <a:t>Optimized for analytic workload </a:t>
            </a:r>
            <a:r>
              <a:rPr lang="en-US" sz="1200" dirty="0">
                <a:solidFill>
                  <a:srgbClr val="0078D7"/>
                </a:solidFill>
                <a:latin typeface="Segoe UI Semibold" panose="020B0702040204020203" pitchFamily="34" charset="0"/>
                <a:cs typeface="Segoe UI Semibold" panose="020B0702040204020203" pitchFamily="34" charset="0"/>
              </a:rPr>
              <a:t>performance</a:t>
            </a:r>
          </a:p>
          <a:p>
            <a:endParaRPr lang="en-US" dirty="0"/>
          </a:p>
          <a:p>
            <a:pPr marL="0" indent="0">
              <a:buNone/>
            </a:pPr>
            <a:r>
              <a:rPr lang="en-US" sz="2000" b="1" dirty="0"/>
              <a:t>The only cloud offering in the industry, that can</a:t>
            </a:r>
            <a:r>
              <a:rPr lang="en-US" sz="2000" b="1" baseline="0" dirty="0"/>
              <a:t> store a 1Petabyte file in storage. </a:t>
            </a:r>
            <a:r>
              <a:rPr lang="en-US" sz="2000" b="1" dirty="0"/>
              <a:t> </a:t>
            </a:r>
          </a:p>
          <a:p>
            <a:pPr marL="0" indent="0">
              <a:buNone/>
            </a:pPr>
            <a:endParaRPr lang="en-US" sz="2000" b="1" dirty="0"/>
          </a:p>
          <a:p>
            <a:pPr marL="0" indent="0">
              <a:buNone/>
            </a:pPr>
            <a:r>
              <a:rPr lang="en-US" sz="2000" b="1" dirty="0"/>
              <a:t>Petabyte size files and Trillions of objects:</a:t>
            </a:r>
            <a:br>
              <a:rPr lang="en-US" sz="1800" b="1" dirty="0"/>
            </a:br>
            <a:r>
              <a:rPr lang="en-US" sz="1200" dirty="0"/>
              <a:t>With Azure Data Lake Store your organization can </a:t>
            </a:r>
            <a:r>
              <a:rPr lang="en-US" sz="1200" b="1" dirty="0"/>
              <a:t>analyze all of its data in a single place</a:t>
            </a:r>
            <a:r>
              <a:rPr lang="en-US" sz="1200" dirty="0"/>
              <a:t> with no artificial constraints. Your Data Lake Store can store </a:t>
            </a:r>
            <a:r>
              <a:rPr lang="en-US" sz="1200" b="1" dirty="0"/>
              <a:t>trillions of files </a:t>
            </a:r>
            <a:r>
              <a:rPr lang="en-US" sz="1200" dirty="0"/>
              <a:t>where a single file</a:t>
            </a:r>
            <a:r>
              <a:rPr lang="en-US" sz="1200" b="1" dirty="0"/>
              <a:t> </a:t>
            </a:r>
            <a:r>
              <a:rPr lang="en-US" sz="1200" dirty="0"/>
              <a:t>can be greater than a </a:t>
            </a:r>
            <a:r>
              <a:rPr lang="en-US" sz="1200" b="1" dirty="0"/>
              <a:t>petabyte in size</a:t>
            </a:r>
            <a:r>
              <a:rPr lang="en-US" sz="1200" dirty="0"/>
              <a:t> which is </a:t>
            </a:r>
            <a:r>
              <a:rPr lang="en-US" sz="1200" b="1" dirty="0"/>
              <a:t>200x larger</a:t>
            </a:r>
            <a:r>
              <a:rPr lang="en-US" sz="1200" dirty="0"/>
              <a:t> than other cloud stores. This makes Data Lake Store ideal for storing </a:t>
            </a:r>
            <a:r>
              <a:rPr lang="en-US" sz="1200" b="1" dirty="0"/>
              <a:t>any type</a:t>
            </a:r>
            <a:r>
              <a:rPr lang="en-US" sz="1200" dirty="0"/>
              <a:t> </a:t>
            </a:r>
            <a:r>
              <a:rPr lang="en-US" sz="1200" b="1" dirty="0"/>
              <a:t>of data</a:t>
            </a:r>
            <a:r>
              <a:rPr lang="en-US" sz="1200" dirty="0"/>
              <a:t> including massive datasets like high-resolution video, genomic and seismic datasets, medical data, and data from a wide variety of industries.</a:t>
            </a:r>
          </a:p>
          <a:p>
            <a:pPr marL="0" indent="0">
              <a:buNone/>
            </a:pPr>
            <a:r>
              <a:rPr lang="en-US" sz="2000" b="1" dirty="0"/>
              <a:t>Scalable</a:t>
            </a:r>
            <a:r>
              <a:rPr lang="en-US" sz="2000" dirty="0"/>
              <a:t> </a:t>
            </a:r>
            <a:r>
              <a:rPr lang="en-US" sz="2000" b="1" dirty="0"/>
              <a:t>throughput</a:t>
            </a:r>
            <a:r>
              <a:rPr lang="en-US" sz="2000" dirty="0"/>
              <a:t>  for </a:t>
            </a:r>
            <a:r>
              <a:rPr lang="en-US" sz="2000" b="1" dirty="0"/>
              <a:t>massively</a:t>
            </a:r>
            <a:r>
              <a:rPr lang="en-US" sz="2000" dirty="0"/>
              <a:t> </a:t>
            </a:r>
            <a:r>
              <a:rPr lang="en-US" sz="2000" b="1" dirty="0"/>
              <a:t>parallel</a:t>
            </a:r>
            <a:r>
              <a:rPr lang="en-US" sz="2000" dirty="0"/>
              <a:t> </a:t>
            </a:r>
            <a:r>
              <a:rPr lang="en-US" sz="2000" b="1" dirty="0"/>
              <a:t>analytics:</a:t>
            </a:r>
            <a:br>
              <a:rPr lang="en-US" sz="1800" b="1" dirty="0"/>
            </a:br>
            <a:r>
              <a:rPr lang="en-US" sz="1200" dirty="0"/>
              <a:t>Without redesigning your application or repartitioning your data at higher scale, Data Lake Store scales throughput to support any size of analytic workload. It provides massive throughput to run analytic jobs with </a:t>
            </a:r>
            <a:r>
              <a:rPr lang="en-US" sz="1200" b="1" dirty="0"/>
              <a:t>1,000+ concurrent executors </a:t>
            </a:r>
            <a:r>
              <a:rPr lang="en-US" sz="1200" dirty="0"/>
              <a:t>that</a:t>
            </a:r>
            <a:r>
              <a:rPr lang="en-US" sz="1200" b="1" dirty="0"/>
              <a:t> </a:t>
            </a:r>
            <a:r>
              <a:rPr lang="en-US" sz="1200" dirty="0"/>
              <a:t>read and write </a:t>
            </a:r>
            <a:r>
              <a:rPr lang="en-US" sz="1200" b="1" dirty="0"/>
              <a:t>hundreds of terabytes</a:t>
            </a:r>
            <a:r>
              <a:rPr lang="en-US" sz="1200" dirty="0"/>
              <a:t> of data efficiently. </a:t>
            </a:r>
          </a:p>
          <a:p>
            <a:pPr marL="0" indent="0">
              <a:buNone/>
            </a:pPr>
            <a:r>
              <a:rPr lang="en-US" sz="2000" b="1" dirty="0"/>
              <a:t>HDFS for the Cloud:</a:t>
            </a:r>
            <a:br>
              <a:rPr lang="en-US" sz="1800" b="1" dirty="0"/>
            </a:br>
            <a:r>
              <a:rPr lang="en-US" sz="1200" dirty="0"/>
              <a:t>Microsoft Azure Data Lake Store supports any application that uses the open </a:t>
            </a:r>
            <a:r>
              <a:rPr lang="en-US" sz="1200" b="1" dirty="0"/>
              <a:t>Apache</a:t>
            </a:r>
            <a:r>
              <a:rPr lang="en-US" sz="1200" dirty="0"/>
              <a:t> </a:t>
            </a:r>
            <a:r>
              <a:rPr lang="en-US" sz="1200" b="1" dirty="0"/>
              <a:t>Hadoop Distributed File System (HDFS)</a:t>
            </a:r>
            <a:r>
              <a:rPr lang="en-US" sz="1200" dirty="0"/>
              <a:t> standard. By supporting HDFS, you can easily migrate your existing Hadoop and Spark data to the cloud without recreating your HDFS directory structure.</a:t>
            </a:r>
            <a:endParaRPr lang="en-US" sz="2000" b="1" dirty="0"/>
          </a:p>
          <a:p>
            <a:pPr marL="0" indent="0">
              <a:buNone/>
            </a:pPr>
            <a:r>
              <a:rPr lang="en-US" sz="2000" b="1" dirty="0"/>
              <a:t>Always encrypted, Role-based security &amp; Auditing:</a:t>
            </a:r>
            <a:br>
              <a:rPr lang="en-US" sz="1800" b="1" dirty="0"/>
            </a:br>
            <a:r>
              <a:rPr lang="en-US" sz="1200" dirty="0"/>
              <a:t>Data Lake Store </a:t>
            </a:r>
            <a:r>
              <a:rPr lang="en-US" sz="1200" b="1" dirty="0"/>
              <a:t>protects your data assets </a:t>
            </a:r>
            <a:r>
              <a:rPr lang="en-US" sz="1200" dirty="0"/>
              <a:t>and extends your on-premises security and governance controls to the cloud easily.  Data is </a:t>
            </a:r>
            <a:r>
              <a:rPr lang="en-US" sz="1200" b="1" dirty="0"/>
              <a:t>always encrypted</a:t>
            </a:r>
            <a:r>
              <a:rPr lang="en-US" sz="1200" dirty="0"/>
              <a:t>; in motion using SSL, and at rest using service or user managed </a:t>
            </a:r>
            <a:r>
              <a:rPr lang="en-US" sz="1200" b="1" dirty="0"/>
              <a:t>HSM-backed keys </a:t>
            </a:r>
            <a:r>
              <a:rPr lang="en-US" sz="1200" dirty="0"/>
              <a:t>in Azure Key Vault.  Capabilities such as </a:t>
            </a:r>
            <a:r>
              <a:rPr lang="en-US" sz="1200" b="1" dirty="0"/>
              <a:t>single sign-on (SSO), multi-factor authentication </a:t>
            </a:r>
            <a:r>
              <a:rPr lang="en-US" sz="1200" dirty="0"/>
              <a:t>and seamless management of millions of identities is built-in through </a:t>
            </a:r>
            <a:r>
              <a:rPr lang="en-US" sz="1200" b="1" dirty="0"/>
              <a:t>Azure Active Directory</a:t>
            </a:r>
            <a:r>
              <a:rPr lang="en-US" sz="1200" dirty="0"/>
              <a:t>. You can authorize users and groups with </a:t>
            </a:r>
            <a:r>
              <a:rPr lang="en-US" sz="1200" b="1" dirty="0"/>
              <a:t>fine-grained POSIX-based ACLs </a:t>
            </a:r>
            <a:r>
              <a:rPr lang="en-US" sz="1200" dirty="0"/>
              <a:t>for all data in the Store enabling role-based access controls. Finally, you can meet </a:t>
            </a:r>
            <a:r>
              <a:rPr lang="en-US" sz="1200" b="1" dirty="0"/>
              <a:t>security and regulatory</a:t>
            </a:r>
            <a:r>
              <a:rPr lang="en-US" sz="1200" dirty="0"/>
              <a:t> </a:t>
            </a:r>
            <a:r>
              <a:rPr lang="en-US" sz="1200" b="1" dirty="0"/>
              <a:t>compliance</a:t>
            </a:r>
            <a:r>
              <a:rPr lang="en-US" sz="1200" dirty="0"/>
              <a:t> needs by </a:t>
            </a:r>
            <a:r>
              <a:rPr lang="en-US" sz="1200" b="1" dirty="0"/>
              <a:t>auditing</a:t>
            </a:r>
            <a:r>
              <a:rPr lang="en-US" sz="1200" dirty="0"/>
              <a:t> every access or configuration change to the system. </a:t>
            </a:r>
          </a:p>
          <a:p>
            <a:pPr marL="0" indent="0">
              <a:buNone/>
            </a:pPr>
            <a:r>
              <a:rPr lang="en-US" sz="2000" b="1" dirty="0"/>
              <a:t>Enterprise-grade Support:</a:t>
            </a:r>
            <a:br>
              <a:rPr lang="en-US" sz="1800" b="1" dirty="0"/>
            </a:br>
            <a:r>
              <a:rPr lang="en-US" sz="1200" dirty="0"/>
              <a:t>We guarantee a </a:t>
            </a:r>
            <a:r>
              <a:rPr lang="en-US" sz="1200" b="1" dirty="0"/>
              <a:t>99.9%</a:t>
            </a:r>
            <a:r>
              <a:rPr lang="en-US" sz="1200" dirty="0"/>
              <a:t> </a:t>
            </a:r>
            <a:r>
              <a:rPr lang="en-US" sz="1200" b="1" dirty="0"/>
              <a:t>enterprise-grade SLA and 24/7 support</a:t>
            </a:r>
            <a:r>
              <a:rPr lang="en-US" sz="1200" dirty="0"/>
              <a:t> for your big data solution. </a:t>
            </a:r>
          </a:p>
          <a:p>
            <a:endParaRPr lang="en-US" dirty="0"/>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12</a:t>
            </a:fld>
            <a:endParaRPr lang="en-US"/>
          </a:p>
        </p:txBody>
      </p:sp>
    </p:spTree>
    <p:extLst>
      <p:ext uri="{BB962C8B-B14F-4D97-AF65-F5344CB8AC3E}">
        <p14:creationId xmlns:p14="http://schemas.microsoft.com/office/powerpoint/2010/main" val="1504062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spcAft>
                <a:spcPts val="1800"/>
              </a:spcAft>
              <a:defRPr/>
            </a:pPr>
            <a:r>
              <a:rPr lang="en-US" sz="1200" dirty="0">
                <a:solidFill>
                  <a:schemeClr val="tx1">
                    <a:lumMod val="50000"/>
                  </a:schemeClr>
                </a:solidFill>
                <a:latin typeface="Segoe UI Semibold" panose="020B0702040204020203" pitchFamily="34" charset="0"/>
                <a:cs typeface="Segoe UI Semibold" panose="020B0702040204020203" pitchFamily="34" charset="0"/>
              </a:rPr>
              <a:t>Start in seconds, scale instantly, pay per job</a:t>
            </a:r>
          </a:p>
          <a:p>
            <a:pPr defTabSz="914367">
              <a:spcAft>
                <a:spcPts val="1800"/>
              </a:spcAft>
              <a:defRPr/>
            </a:pPr>
            <a:r>
              <a:rPr lang="en-US" sz="1200" dirty="0">
                <a:solidFill>
                  <a:schemeClr val="tx1">
                    <a:lumMod val="50000"/>
                  </a:schemeClr>
                </a:solidFill>
                <a:latin typeface="Segoe UI Semibold" panose="020B0702040204020203" pitchFamily="34" charset="0"/>
                <a:cs typeface="Segoe UI Semibold" panose="020B0702040204020203" pitchFamily="34" charset="0"/>
              </a:rPr>
              <a:t>Develop </a:t>
            </a:r>
            <a:r>
              <a:rPr lang="en-US" sz="1200" kern="1200" dirty="0">
                <a:solidFill>
                  <a:schemeClr val="tx1">
                    <a:lumMod val="50000"/>
                  </a:schemeClr>
                </a:solidFill>
                <a:latin typeface="+mn-lt"/>
                <a:ea typeface="+mn-ea"/>
                <a:cs typeface="Segoe UI" panose="020B0502040204020203" pitchFamily="34" charset="0"/>
              </a:rPr>
              <a:t>massively parallel programs </a:t>
            </a:r>
            <a:r>
              <a:rPr lang="en-US" sz="1200" dirty="0">
                <a:solidFill>
                  <a:schemeClr val="tx1">
                    <a:lumMod val="50000"/>
                  </a:schemeClr>
                </a:solidFill>
                <a:latin typeface="Segoe UI Semibold" panose="020B0702040204020203" pitchFamily="34" charset="0"/>
                <a:cs typeface="Segoe UI Semibold" panose="020B0702040204020203" pitchFamily="34" charset="0"/>
              </a:rPr>
              <a:t>with simplicity</a:t>
            </a:r>
          </a:p>
          <a:p>
            <a:pPr defTabSz="914367">
              <a:spcAft>
                <a:spcPts val="1800"/>
              </a:spcAft>
              <a:defRPr/>
            </a:pPr>
            <a:r>
              <a:rPr lang="en-US" sz="1200" dirty="0">
                <a:solidFill>
                  <a:schemeClr val="tx1">
                    <a:lumMod val="50000"/>
                  </a:schemeClr>
                </a:solidFill>
                <a:latin typeface="Segoe UI Semibold" panose="020B0702040204020203" pitchFamily="34" charset="0"/>
                <a:cs typeface="Segoe UI Semibold" panose="020B0702040204020203" pitchFamily="34" charset="0"/>
              </a:rPr>
              <a:t>Debug </a:t>
            </a:r>
            <a:r>
              <a:rPr lang="en-US" sz="1200" kern="1200" dirty="0">
                <a:solidFill>
                  <a:schemeClr val="tx1">
                    <a:lumMod val="50000"/>
                  </a:schemeClr>
                </a:solidFill>
                <a:latin typeface="+mn-lt"/>
                <a:ea typeface="+mn-ea"/>
                <a:cs typeface="Segoe UI" panose="020B0502040204020203" pitchFamily="34" charset="0"/>
              </a:rPr>
              <a:t>and</a:t>
            </a:r>
            <a:r>
              <a:rPr lang="en-US" sz="1200" dirty="0">
                <a:solidFill>
                  <a:schemeClr val="tx1">
                    <a:lumMod val="50000"/>
                  </a:schemeClr>
                </a:solidFill>
                <a:latin typeface="Segoe UI Semibold" panose="020B0702040204020203" pitchFamily="34" charset="0"/>
                <a:cs typeface="Segoe UI Semibold" panose="020B0702040204020203" pitchFamily="34" charset="0"/>
              </a:rPr>
              <a:t> optimize </a:t>
            </a:r>
            <a:r>
              <a:rPr lang="en-US" sz="1200" kern="1200" dirty="0">
                <a:solidFill>
                  <a:schemeClr val="tx1">
                    <a:lumMod val="50000"/>
                  </a:schemeClr>
                </a:solidFill>
                <a:latin typeface="+mn-lt"/>
                <a:ea typeface="+mn-ea"/>
                <a:cs typeface="Segoe UI" panose="020B0502040204020203" pitchFamily="34" charset="0"/>
              </a:rPr>
              <a:t>your big data programs </a:t>
            </a:r>
            <a:r>
              <a:rPr lang="en-US" sz="1200" dirty="0">
                <a:solidFill>
                  <a:schemeClr val="tx1">
                    <a:lumMod val="50000"/>
                  </a:schemeClr>
                </a:solidFill>
                <a:latin typeface="Segoe UI Semibold" panose="020B0702040204020203" pitchFamily="34" charset="0"/>
                <a:cs typeface="Segoe UI Semibold" panose="020B0702040204020203" pitchFamily="34" charset="0"/>
              </a:rPr>
              <a:t>with ease</a:t>
            </a:r>
          </a:p>
          <a:p>
            <a:pPr defTabSz="914367">
              <a:spcAft>
                <a:spcPts val="1800"/>
              </a:spcAft>
              <a:defRPr/>
            </a:pPr>
            <a:r>
              <a:rPr lang="en-US" sz="1200" dirty="0">
                <a:solidFill>
                  <a:schemeClr val="tx1">
                    <a:lumMod val="50000"/>
                  </a:schemeClr>
                </a:solidFill>
                <a:latin typeface="Segoe UI Semibold" panose="020B0702040204020203" pitchFamily="34" charset="0"/>
                <a:cs typeface="Segoe UI Semibold" panose="020B0702040204020203" pitchFamily="34" charset="0"/>
              </a:rPr>
              <a:t>Virtualize </a:t>
            </a:r>
            <a:r>
              <a:rPr lang="en-US" sz="1200" kern="1200" dirty="0">
                <a:solidFill>
                  <a:schemeClr val="tx1">
                    <a:lumMod val="50000"/>
                  </a:schemeClr>
                </a:solidFill>
                <a:latin typeface="+mn-lt"/>
                <a:ea typeface="+mn-ea"/>
                <a:cs typeface="Segoe UI" panose="020B0502040204020203" pitchFamily="34" charset="0"/>
              </a:rPr>
              <a:t>your analytics</a:t>
            </a:r>
          </a:p>
          <a:p>
            <a:pPr defTabSz="914367">
              <a:spcAft>
                <a:spcPts val="1800"/>
              </a:spcAft>
              <a:defRPr/>
            </a:pPr>
            <a:r>
              <a:rPr lang="en-US" sz="1200" dirty="0">
                <a:solidFill>
                  <a:schemeClr val="tx1">
                    <a:lumMod val="50000"/>
                  </a:schemeClr>
                </a:solidFill>
                <a:latin typeface="Segoe UI Semibold" panose="020B0702040204020203" pitchFamily="34" charset="0"/>
                <a:cs typeface="Segoe UI Semibold" panose="020B0702040204020203" pitchFamily="34" charset="0"/>
              </a:rPr>
              <a:t>Enterprise-grade security, auditing </a:t>
            </a:r>
            <a:r>
              <a:rPr lang="en-US" sz="1200" kern="1200" dirty="0">
                <a:solidFill>
                  <a:schemeClr val="tx1">
                    <a:lumMod val="50000"/>
                  </a:schemeClr>
                </a:solidFill>
                <a:latin typeface="+mn-lt"/>
                <a:ea typeface="+mn-ea"/>
                <a:cs typeface="Segoe UI" panose="020B0502040204020203" pitchFamily="34" charset="0"/>
              </a:rPr>
              <a:t>and</a:t>
            </a:r>
            <a:r>
              <a:rPr lang="en-US" sz="1200" dirty="0">
                <a:solidFill>
                  <a:schemeClr val="tx1">
                    <a:lumMod val="50000"/>
                  </a:schemeClr>
                </a:solidFill>
                <a:latin typeface="Segoe UI Semibold" panose="020B0702040204020203" pitchFamily="34" charset="0"/>
                <a:cs typeface="Segoe UI Semibold" panose="020B0702040204020203" pitchFamily="34" charset="0"/>
              </a:rPr>
              <a:t> support</a:t>
            </a:r>
          </a:p>
          <a:p>
            <a:pPr defTabSz="914367">
              <a:spcAft>
                <a:spcPts val="1800"/>
              </a:spcAft>
              <a:defRPr/>
            </a:pPr>
            <a:r>
              <a:rPr lang="en-US" sz="1200" dirty="0">
                <a:solidFill>
                  <a:schemeClr val="tx1">
                    <a:lumMod val="50000"/>
                  </a:schemeClr>
                </a:solidFill>
                <a:latin typeface="Segoe UI Semibold" panose="020B0702040204020203" pitchFamily="34" charset="0"/>
                <a:cs typeface="Segoe UI Semibold" panose="020B0702040204020203" pitchFamily="34" charset="0"/>
              </a:rPr>
              <a:t> </a:t>
            </a:r>
          </a:p>
          <a:p>
            <a:pPr marL="0" indent="0">
              <a:buNone/>
            </a:pPr>
            <a:r>
              <a:rPr lang="en-US" sz="2000" b="0" dirty="0"/>
              <a:t>Totally infrastructure</a:t>
            </a:r>
            <a:r>
              <a:rPr lang="en-US" sz="2000" b="0" baseline="0" dirty="0"/>
              <a:t> less, hardware less, big data service.</a:t>
            </a:r>
          </a:p>
          <a:p>
            <a:pPr marL="0" indent="0">
              <a:buNone/>
            </a:pPr>
            <a:r>
              <a:rPr lang="en-US" sz="2000" b="0" baseline="0" dirty="0"/>
              <a:t>All you do is drag and drop a slider and you can scale on a per query basis.</a:t>
            </a:r>
          </a:p>
          <a:p>
            <a:pPr marL="0" indent="0">
              <a:buNone/>
            </a:pPr>
            <a:r>
              <a:rPr lang="en-US" sz="2000" b="0" baseline="0" dirty="0"/>
              <a:t>Now that we are in GA, we can scale - massively </a:t>
            </a:r>
            <a:r>
              <a:rPr lang="en-US" sz="2000" b="0" baseline="0" dirty="0" err="1"/>
              <a:t>parallellize</a:t>
            </a:r>
            <a:r>
              <a:rPr lang="en-US" sz="2000" b="0" baseline="0" dirty="0"/>
              <a:t> R code &amp; python code over massively parallel machines – not available in other clouds. </a:t>
            </a:r>
          </a:p>
          <a:p>
            <a:pPr marL="0" indent="0">
              <a:buNone/>
            </a:pPr>
            <a:endParaRPr lang="en-US" sz="2000" b="1" dirty="0"/>
          </a:p>
          <a:p>
            <a:pPr marL="0" indent="0">
              <a:buNone/>
            </a:pPr>
            <a:r>
              <a:rPr lang="en-US" sz="2000" b="1" dirty="0"/>
              <a:t>Start in seconds, Scale instantly, Pay per job</a:t>
            </a:r>
            <a:r>
              <a:rPr lang="en-US" sz="2000" dirty="0"/>
              <a:t>:</a:t>
            </a:r>
            <a:br>
              <a:rPr lang="en-US" sz="1800" dirty="0"/>
            </a:br>
            <a:r>
              <a:rPr lang="en-US" sz="1200" dirty="0"/>
              <a:t>Our on-demand service will have you processing Big Data jobs</a:t>
            </a:r>
            <a:r>
              <a:rPr lang="en-US" sz="1200" b="1" dirty="0"/>
              <a:t> within 30 seconds</a:t>
            </a:r>
            <a:r>
              <a:rPr lang="en-US" sz="1200" dirty="0"/>
              <a:t>. There is no infrastructure to worry about because there are no servers, VMs, or clusters to wait for, manage or tune. You can </a:t>
            </a:r>
            <a:r>
              <a:rPr lang="en-US" sz="1200" b="1" dirty="0"/>
              <a:t>instantly scale the analytic units</a:t>
            </a:r>
            <a:r>
              <a:rPr lang="en-US" sz="1200" dirty="0"/>
              <a:t> (processing power) from one to thousands for each job. You only </a:t>
            </a:r>
            <a:r>
              <a:rPr lang="en-US" sz="1200" b="1" dirty="0"/>
              <a:t>pay for the processing used per job</a:t>
            </a:r>
            <a:r>
              <a:rPr lang="en-US" sz="1200" dirty="0"/>
              <a:t>. </a:t>
            </a:r>
          </a:p>
          <a:p>
            <a:pPr marL="0" indent="0">
              <a:buNone/>
            </a:pPr>
            <a:r>
              <a:rPr lang="en-US" sz="2000" b="1" dirty="0"/>
              <a:t>Develop massively parallel programs with simplicity:</a:t>
            </a:r>
            <a:br>
              <a:rPr lang="en-US" sz="1800" b="1" dirty="0"/>
            </a:br>
            <a:r>
              <a:rPr lang="en-US" sz="1200" b="1" dirty="0"/>
              <a:t>U-SQL is a simple, expressive, and extensible language</a:t>
            </a:r>
            <a:r>
              <a:rPr lang="en-US" sz="1200" dirty="0"/>
              <a:t> that allows you to write code once and automatically have it be parallelized for the scale you need.  You can</a:t>
            </a:r>
            <a:r>
              <a:rPr lang="en-US" sz="1200" b="1" dirty="0"/>
              <a:t> process petabytes of data</a:t>
            </a:r>
            <a:r>
              <a:rPr lang="en-US" sz="1200" dirty="0"/>
              <a:t> for diverse workload categories such as ETL, machine learning, cognitive science, machine translation, imaging processing, and sentiment analysis by using U-SQL and leveraging existing libraries written in .NET languages, R, or Python..</a:t>
            </a:r>
          </a:p>
          <a:p>
            <a:pPr marL="0" indent="0">
              <a:buNone/>
            </a:pPr>
            <a:r>
              <a:rPr lang="en-US" sz="2000" b="1" dirty="0"/>
              <a:t>Debug and Optimize your Big Data programs with ease:</a:t>
            </a:r>
            <a:br>
              <a:rPr lang="en-US" sz="1800" b="1" dirty="0"/>
            </a:br>
            <a:r>
              <a:rPr lang="en-US" sz="1200" dirty="0"/>
              <a:t>Debugging failures in cloud distributed programs are now as easy as debugging a program in your personal environment. Our execution environment </a:t>
            </a:r>
            <a:r>
              <a:rPr lang="en-US" sz="1200" b="1" dirty="0"/>
              <a:t>actively analyzes your programs as they run and offers recommendations</a:t>
            </a:r>
            <a:r>
              <a:rPr lang="en-US" sz="1200" dirty="0"/>
              <a:t> to improve performance and reduce cost. For example, if you requested 1000 AUs for your program and only 50 AUs were needed, the system would recommend that you only use 50 AUs resulting in a 20x cost savings.</a:t>
            </a:r>
          </a:p>
          <a:p>
            <a:pPr marL="0" indent="0">
              <a:buNone/>
            </a:pPr>
            <a:r>
              <a:rPr lang="en-US" sz="2000" b="1" dirty="0"/>
              <a:t>Virtualize your analytics</a:t>
            </a:r>
            <a:r>
              <a:rPr lang="en-US" sz="2000" dirty="0"/>
              <a:t>:</a:t>
            </a:r>
            <a:br>
              <a:rPr lang="en-US" sz="1800" dirty="0"/>
            </a:br>
            <a:r>
              <a:rPr lang="en-US" sz="1200" dirty="0"/>
              <a:t>The power to act on all your data with optimized data virtualization of your relational sources such as </a:t>
            </a:r>
            <a:r>
              <a:rPr lang="en-US" sz="1200" b="1" dirty="0"/>
              <a:t>Azure SQL Server on VMs, Azure SQL Database, and Azure SQL Data Warehouse.</a:t>
            </a:r>
            <a:r>
              <a:rPr lang="en-US" sz="1200" dirty="0"/>
              <a:t> Queries are automatically optimized by </a:t>
            </a:r>
            <a:r>
              <a:rPr lang="en-US" sz="1200" b="1" dirty="0"/>
              <a:t>moving processing close to the source data</a:t>
            </a:r>
            <a:r>
              <a:rPr lang="en-US" sz="1200" dirty="0"/>
              <a:t>, without data movement, thereby maximizing performance and minimizing latency.</a:t>
            </a:r>
          </a:p>
          <a:p>
            <a:pPr marL="0" indent="0">
              <a:buNone/>
            </a:pPr>
            <a:r>
              <a:rPr lang="en-US" sz="2000" b="1" dirty="0"/>
              <a:t>Enterprise-grade Security, Auditing and Support:</a:t>
            </a:r>
            <a:br>
              <a:rPr lang="en-US" sz="1800" b="1" dirty="0"/>
            </a:br>
            <a:r>
              <a:rPr lang="en-US" sz="1200" b="1" dirty="0"/>
              <a:t>E</a:t>
            </a:r>
            <a:r>
              <a:rPr lang="en-US" sz="1200" dirty="0"/>
              <a:t>xtend your on-premises security and governance controls to the cloud for meeting your security and regulatory compliance needs. Capabilities such as </a:t>
            </a:r>
            <a:r>
              <a:rPr lang="en-US" sz="1200" b="1" dirty="0"/>
              <a:t>single sign-on (SSO), multi-factor authentication</a:t>
            </a:r>
            <a:r>
              <a:rPr lang="en-US" sz="1200" dirty="0"/>
              <a:t> and seamless management of millions of identities is built-in through </a:t>
            </a:r>
            <a:r>
              <a:rPr lang="en-US" sz="1200" b="1" dirty="0"/>
              <a:t>Azure Active Directory. Role Based Access control</a:t>
            </a:r>
            <a:r>
              <a:rPr lang="en-US" sz="1200" dirty="0"/>
              <a:t>, and the ability to </a:t>
            </a:r>
            <a:r>
              <a:rPr lang="en-US" sz="1200" b="1" dirty="0"/>
              <a:t>audit all processing</a:t>
            </a:r>
            <a:r>
              <a:rPr lang="en-US" sz="1200" dirty="0"/>
              <a:t> and management operations are on by default.  We guarantee a </a:t>
            </a:r>
            <a:r>
              <a:rPr lang="en-US" sz="1200" b="1" dirty="0"/>
              <a:t>99.9%</a:t>
            </a:r>
            <a:r>
              <a:rPr lang="en-US" sz="1200" dirty="0"/>
              <a:t> </a:t>
            </a:r>
            <a:r>
              <a:rPr lang="en-US" sz="1200" b="1" dirty="0"/>
              <a:t>enterprise-grade SLA </a:t>
            </a:r>
            <a:r>
              <a:rPr lang="en-US" sz="1200" dirty="0"/>
              <a:t>and</a:t>
            </a:r>
            <a:r>
              <a:rPr lang="en-US" sz="1200" b="1" dirty="0"/>
              <a:t> 24/7 support</a:t>
            </a:r>
            <a:r>
              <a:rPr lang="en-US" sz="1200" dirty="0"/>
              <a:t> for your big data solution.</a:t>
            </a:r>
          </a:p>
          <a:p>
            <a:endParaRPr lang="en-US" dirty="0"/>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13</a:t>
            </a:fld>
            <a:endParaRPr lang="en-US"/>
          </a:p>
        </p:txBody>
      </p:sp>
    </p:spTree>
    <p:extLst>
      <p:ext uri="{BB962C8B-B14F-4D97-AF65-F5344CB8AC3E}">
        <p14:creationId xmlns:p14="http://schemas.microsoft.com/office/powerpoint/2010/main" val="16328221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225021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71573927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2755808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047724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40434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69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6753762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01128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090281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7158581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31714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9490853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0437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52824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00876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691981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52357411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998091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0" y="6491045"/>
            <a:ext cx="936609" cy="206372"/>
          </a:xfrm>
          <a:prstGeom prst="rect">
            <a:avLst/>
          </a:prstGeom>
        </p:spPr>
      </p:pic>
    </p:spTree>
    <p:extLst>
      <p:ext uri="{BB962C8B-B14F-4D97-AF65-F5344CB8AC3E}">
        <p14:creationId xmlns:p14="http://schemas.microsoft.com/office/powerpoint/2010/main" val="8889703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Content spli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0459" y="511827"/>
            <a:ext cx="5556611" cy="2200893"/>
          </a:xfrm>
        </p:spPr>
        <p:txBody>
          <a:bodyPr>
            <a:noAutofit/>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0" y="6491045"/>
            <a:ext cx="936609" cy="206372"/>
          </a:xfrm>
          <a:prstGeom prst="rect">
            <a:avLst/>
          </a:prstGeom>
        </p:spPr>
      </p:pic>
      <p:cxnSp>
        <p:nvCxnSpPr>
          <p:cNvPr id="39" name="Straight Connector 38"/>
          <p:cNvCxnSpPr/>
          <p:nvPr userDrawn="1"/>
        </p:nvCxnSpPr>
        <p:spPr>
          <a:xfrm>
            <a:off x="6305491" y="357809"/>
            <a:ext cx="0" cy="5686262"/>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6613913" y="933098"/>
            <a:ext cx="5243532" cy="1486561"/>
          </a:xfrm>
        </p:spPr>
        <p:txBody>
          <a:bodyPr/>
          <a:lstStyle>
            <a:lvl1pPr>
              <a:buClr>
                <a:schemeClr val="accent1"/>
              </a:buClr>
              <a:defRPr sz="2800">
                <a:solidFill>
                  <a:schemeClr val="bg2"/>
                </a:solidFill>
              </a:defRPr>
            </a:lvl1pPr>
            <a:lvl2pPr>
              <a:buClr>
                <a:schemeClr val="accent1"/>
              </a:buClr>
              <a:defRPr sz="1600">
                <a:solidFill>
                  <a:schemeClr val="bg2"/>
                </a:solidFill>
              </a:defRPr>
            </a:lvl2pPr>
            <a:lvl3pPr>
              <a:buClr>
                <a:schemeClr val="accent1"/>
              </a:buClr>
              <a:defRPr sz="1400">
                <a:solidFill>
                  <a:schemeClr val="bg2"/>
                </a:solidFill>
              </a:defRPr>
            </a:lvl3pPr>
            <a:lvl4pPr>
              <a:buClr>
                <a:schemeClr val="accent1"/>
              </a:buClr>
              <a:defRPr sz="1200">
                <a:solidFill>
                  <a:schemeClr val="bg2"/>
                </a:solidFill>
              </a:defRPr>
            </a:lvl4pPr>
            <a:lvl5pPr>
              <a:buClr>
                <a:schemeClr val="accent1"/>
              </a:buClr>
              <a:defRPr sz="1200">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799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43614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297928" y="1533104"/>
            <a:ext cx="7627153" cy="1412279"/>
          </a:xfrm>
        </p:spPr>
        <p:txBody>
          <a:bodyPr/>
          <a:lstStyle>
            <a:lvl1pPr marL="0" indent="0">
              <a:spcBef>
                <a:spcPts val="2353"/>
              </a:spcBef>
              <a:buNone/>
              <a:defRPr sz="2353">
                <a:solidFill>
                  <a:schemeClr val="accent1"/>
                </a:solidFill>
              </a:defRPr>
            </a:lvl1pPr>
            <a:lvl2pPr marL="0" indent="0">
              <a:spcAft>
                <a:spcPts val="588"/>
              </a:spcAft>
              <a:buFontTx/>
              <a:buNone/>
              <a:defRPr sz="1568"/>
            </a:lvl2pPr>
            <a:lvl3pPr marL="224097" indent="0">
              <a:buNone/>
              <a:defRPr sz="1176"/>
            </a:lvl3pPr>
            <a:lvl4pPr marL="448193" indent="0">
              <a:buNone/>
              <a:defRPr sz="1078"/>
            </a:lvl4pPr>
            <a:lvl5pPr marL="672290" indent="0">
              <a:buNone/>
              <a:defRPr sz="107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367808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031981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50895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34768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tone split">
    <p:bg>
      <p:bgPr>
        <a:solidFill>
          <a:schemeClr val="tx1"/>
        </a:solidFill>
        <a:effectLst/>
      </p:bgPr>
    </p:bg>
    <p:spTree>
      <p:nvGrpSpPr>
        <p:cNvPr id="1" name=""/>
        <p:cNvGrpSpPr/>
        <p:nvPr/>
      </p:nvGrpSpPr>
      <p:grpSpPr>
        <a:xfrm>
          <a:off x="0" y="0"/>
          <a:ext cx="0" cy="0"/>
          <a:chOff x="0" y="0"/>
          <a:chExt cx="0" cy="0"/>
        </a:xfrm>
      </p:grpSpPr>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userDrawn="1"/>
        </p:nvSpPr>
        <p:spPr bwMode="auto">
          <a:xfrm>
            <a:off x="0" y="0"/>
            <a:ext cx="5379719" cy="633256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0" y="6491045"/>
            <a:ext cx="936609" cy="206372"/>
          </a:xfrm>
          <a:prstGeom prst="rect">
            <a:avLst/>
          </a:prstGeom>
        </p:spPr>
      </p:pic>
      <p:sp>
        <p:nvSpPr>
          <p:cNvPr id="2" name="Title 1"/>
          <p:cNvSpPr>
            <a:spLocks noGrp="1"/>
          </p:cNvSpPr>
          <p:nvPr>
            <p:ph type="title"/>
          </p:nvPr>
        </p:nvSpPr>
        <p:spPr>
          <a:xfrm>
            <a:off x="105117" y="630578"/>
            <a:ext cx="4911606" cy="1514261"/>
          </a:xfrm>
          <a:noFill/>
        </p:spPr>
        <p:txBody>
          <a:bodyPr wrap="square" lIns="182880" tIns="146304" rIns="182880" bIns="146304" rtlCol="0">
            <a:spAutoFit/>
          </a:bodyPr>
          <a:lstStyle>
            <a:lvl1pPr>
              <a:defRPr lang="en-US" kern="0" spc="0" baseline="0" dirty="0">
                <a:solidFill>
                  <a:schemeClr val="tx1"/>
                </a:solidFill>
                <a:latin typeface="Segoe UI Light"/>
                <a:ea typeface="Segoe UI" pitchFamily="34" charset="0"/>
              </a:defRPr>
            </a:lvl1pPr>
          </a:lstStyle>
          <a:p>
            <a:pPr marL="0" lvl="0" defTabSz="914400">
              <a:spcAft>
                <a:spcPts val="600"/>
              </a:spcAft>
            </a:pPr>
            <a:r>
              <a:rPr lang="en-US" dirty="0"/>
              <a:t>Click to edit Master title style</a:t>
            </a:r>
          </a:p>
        </p:txBody>
      </p:sp>
      <p:sp>
        <p:nvSpPr>
          <p:cNvPr id="4" name="Text Placeholder 3"/>
          <p:cNvSpPr>
            <a:spLocks noGrp="1"/>
          </p:cNvSpPr>
          <p:nvPr>
            <p:ph type="body" sz="quarter" idx="10"/>
          </p:nvPr>
        </p:nvSpPr>
        <p:spPr>
          <a:xfrm>
            <a:off x="5686283" y="1110837"/>
            <a:ext cx="6247411" cy="664797"/>
          </a:xfrm>
          <a:noFill/>
        </p:spPr>
        <p:txBody>
          <a:bodyPr wrap="square" lIns="182880" tIns="146304" rIns="182880" bIns="146304" rtlCol="0">
            <a:spAutoFit/>
          </a:bodyPr>
          <a:lstStyle>
            <a:lvl1pPr marL="0" indent="0">
              <a:lnSpc>
                <a:spcPct val="100000"/>
              </a:lnSpc>
              <a:spcBef>
                <a:spcPts val="0"/>
              </a:spcBef>
              <a:buNone/>
              <a:defRPr lang="en-US" sz="2400" dirty="0" smtClean="0">
                <a:solidFill>
                  <a:schemeClr val="bg1"/>
                </a:solidFill>
                <a:cs typeface="Segoe UI" panose="020B0502040204020203" pitchFamily="34" charset="0"/>
              </a:defRPr>
            </a:lvl1pPr>
          </a:lstStyle>
          <a:p>
            <a:pPr marL="0" lvl="0">
              <a:spcAft>
                <a:spcPts val="1800"/>
              </a:spcAft>
            </a:pPr>
            <a:r>
              <a:rPr lang="en-US" dirty="0"/>
              <a:t>Edit Master text styles</a:t>
            </a:r>
          </a:p>
        </p:txBody>
      </p:sp>
    </p:spTree>
    <p:extLst>
      <p:ext uri="{BB962C8B-B14F-4D97-AF65-F5344CB8AC3E}">
        <p14:creationId xmlns:p14="http://schemas.microsoft.com/office/powerpoint/2010/main" val="403825128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4">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4" name="Group 3"/>
          <p:cNvGrpSpPr/>
          <p:nvPr userDrawn="1"/>
        </p:nvGrpSpPr>
        <p:grpSpPr>
          <a:xfrm rot="5400000">
            <a:off x="-1985378" y="1811202"/>
            <a:ext cx="6108339" cy="2485929"/>
            <a:chOff x="-32657" y="4691730"/>
            <a:chExt cx="6625100" cy="2804185"/>
          </a:xfrm>
        </p:grpSpPr>
        <p:sp>
          <p:nvSpPr>
            <p:cNvPr id="5" name="Freeform: Shape 4"/>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Shape 5"/>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Freeform: Shape 6"/>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Freeform: Shape 7"/>
            <p:cNvSpPr/>
            <p:nvPr/>
          </p:nvSpPr>
          <p:spPr>
            <a:xfrm>
              <a:off x="-32657" y="6452313"/>
              <a:ext cx="6527800" cy="10436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9" name="Group 8"/>
          <p:cNvGrpSpPr/>
          <p:nvPr userDrawn="1"/>
        </p:nvGrpSpPr>
        <p:grpSpPr>
          <a:xfrm rot="5400000">
            <a:off x="1259186" y="-1691281"/>
            <a:ext cx="1150258" cy="4399565"/>
            <a:chOff x="1113971" y="3497757"/>
            <a:chExt cx="1150258" cy="3142530"/>
          </a:xfrm>
        </p:grpSpPr>
        <p:sp>
          <p:nvSpPr>
            <p:cNvPr id="10" name="Freeform: Shape 9"/>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Freeform: Shape 11"/>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Freeform: Shape 12"/>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Freeform: Shape 13"/>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5" name="Group 14"/>
          <p:cNvGrpSpPr/>
          <p:nvPr userDrawn="1"/>
        </p:nvGrpSpPr>
        <p:grpSpPr>
          <a:xfrm>
            <a:off x="3897769" y="511147"/>
            <a:ext cx="274262" cy="274262"/>
            <a:chOff x="3766458" y="4912364"/>
            <a:chExt cx="468086" cy="468086"/>
          </a:xfrm>
        </p:grpSpPr>
        <p:sp>
          <p:nvSpPr>
            <p:cNvPr id="16" name="Oval 15"/>
            <p:cNvSpPr/>
            <p:nvPr/>
          </p:nvSpPr>
          <p:spPr>
            <a:xfrm>
              <a:off x="3766458" y="4912364"/>
              <a:ext cx="468086" cy="468086"/>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Oval 16"/>
            <p:cNvSpPr/>
            <p:nvPr/>
          </p:nvSpPr>
          <p:spPr>
            <a:xfrm>
              <a:off x="3860079" y="5005985"/>
              <a:ext cx="280844" cy="280844"/>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9" name="Group 18"/>
          <p:cNvGrpSpPr/>
          <p:nvPr userDrawn="1"/>
        </p:nvGrpSpPr>
        <p:grpSpPr>
          <a:xfrm flipH="1">
            <a:off x="5387922" y="2675606"/>
            <a:ext cx="6879800" cy="3485708"/>
            <a:chOff x="2661557" y="1008743"/>
            <a:chExt cx="6025243" cy="1848757"/>
          </a:xfrm>
        </p:grpSpPr>
        <p:sp>
          <p:nvSpPr>
            <p:cNvPr id="20" name="Freeform: Shape 19"/>
            <p:cNvSpPr/>
            <p:nvPr/>
          </p:nvSpPr>
          <p:spPr>
            <a:xfrm>
              <a:off x="2661557" y="1008743"/>
              <a:ext cx="6025243" cy="12391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Freeform: Shape 20"/>
            <p:cNvSpPr/>
            <p:nvPr/>
          </p:nvSpPr>
          <p:spPr>
            <a:xfrm>
              <a:off x="2661557" y="1008743"/>
              <a:ext cx="6025243" cy="13915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Freeform: Shape 21"/>
            <p:cNvSpPr/>
            <p:nvPr/>
          </p:nvSpPr>
          <p:spPr>
            <a:xfrm>
              <a:off x="2661557" y="1008743"/>
              <a:ext cx="6025243" cy="15439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Freeform: Shape 22"/>
            <p:cNvSpPr/>
            <p:nvPr/>
          </p:nvSpPr>
          <p:spPr>
            <a:xfrm>
              <a:off x="2661557" y="1008743"/>
              <a:ext cx="6025243" cy="16963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Freeform: Shape 23"/>
            <p:cNvSpPr/>
            <p:nvPr/>
          </p:nvSpPr>
          <p:spPr>
            <a:xfrm>
              <a:off x="2661557" y="1008743"/>
              <a:ext cx="6025243" cy="18487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25" name="Group 24"/>
          <p:cNvGrpSpPr/>
          <p:nvPr userDrawn="1"/>
        </p:nvGrpSpPr>
        <p:grpSpPr>
          <a:xfrm>
            <a:off x="5161680" y="2470138"/>
            <a:ext cx="468086" cy="468086"/>
            <a:chOff x="3766458" y="4912364"/>
            <a:chExt cx="468086" cy="468086"/>
          </a:xfrm>
        </p:grpSpPr>
        <p:sp>
          <p:nvSpPr>
            <p:cNvPr id="26" name="Oval 25"/>
            <p:cNvSpPr/>
            <p:nvPr/>
          </p:nvSpPr>
          <p:spPr>
            <a:xfrm>
              <a:off x="3766458" y="4912364"/>
              <a:ext cx="468086" cy="468086"/>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Oval 26"/>
            <p:cNvSpPr/>
            <p:nvPr/>
          </p:nvSpPr>
          <p:spPr>
            <a:xfrm>
              <a:off x="3860079" y="5005985"/>
              <a:ext cx="280844" cy="280844"/>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Oval 27"/>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29" name="Group 28"/>
          <p:cNvGrpSpPr/>
          <p:nvPr userDrawn="1"/>
        </p:nvGrpSpPr>
        <p:grpSpPr>
          <a:xfrm rot="19175348" flipH="1">
            <a:off x="4554593" y="364683"/>
            <a:ext cx="3645245" cy="1320522"/>
            <a:chOff x="5347225" y="-195944"/>
            <a:chExt cx="3320143" cy="727076"/>
          </a:xfrm>
        </p:grpSpPr>
        <p:sp>
          <p:nvSpPr>
            <p:cNvPr id="30" name="Freeform: Shape 29"/>
            <p:cNvSpPr/>
            <p:nvPr/>
          </p:nvSpPr>
          <p:spPr>
            <a:xfrm flipV="1">
              <a:off x="5347225" y="261256"/>
              <a:ext cx="3320143" cy="2698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Freeform: Shape 30"/>
            <p:cNvSpPr/>
            <p:nvPr/>
          </p:nvSpPr>
          <p:spPr>
            <a:xfrm flipV="1">
              <a:off x="5347225" y="108856"/>
              <a:ext cx="3320143" cy="4222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Freeform: Shape 31"/>
            <p:cNvSpPr/>
            <p:nvPr/>
          </p:nvSpPr>
          <p:spPr>
            <a:xfrm flipV="1">
              <a:off x="5347225" y="-43544"/>
              <a:ext cx="3320143" cy="5746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Freeform: Shape 32"/>
            <p:cNvSpPr/>
            <p:nvPr/>
          </p:nvSpPr>
          <p:spPr>
            <a:xfrm flipV="1">
              <a:off x="5347225" y="-195944"/>
              <a:ext cx="3320143" cy="7270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4" name="Oval 33"/>
          <p:cNvSpPr/>
          <p:nvPr userDrawn="1"/>
        </p:nvSpPr>
        <p:spPr>
          <a:xfrm>
            <a:off x="1879902" y="5994991"/>
            <a:ext cx="79452" cy="7945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Oval 34"/>
          <p:cNvSpPr/>
          <p:nvPr userDrawn="1"/>
        </p:nvSpPr>
        <p:spPr>
          <a:xfrm>
            <a:off x="6371462" y="5806091"/>
            <a:ext cx="79452" cy="7945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Oval 35"/>
          <p:cNvSpPr/>
          <p:nvPr userDrawn="1"/>
        </p:nvSpPr>
        <p:spPr>
          <a:xfrm>
            <a:off x="1836477" y="3344497"/>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Oval 36"/>
          <p:cNvSpPr/>
          <p:nvPr userDrawn="1"/>
        </p:nvSpPr>
        <p:spPr>
          <a:xfrm>
            <a:off x="871870" y="6104511"/>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Oval 37"/>
          <p:cNvSpPr/>
          <p:nvPr userDrawn="1"/>
        </p:nvSpPr>
        <p:spPr>
          <a:xfrm>
            <a:off x="1381204" y="3209301"/>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Oval 38"/>
          <p:cNvSpPr/>
          <p:nvPr userDrawn="1"/>
        </p:nvSpPr>
        <p:spPr>
          <a:xfrm>
            <a:off x="1577329" y="738421"/>
            <a:ext cx="69136" cy="6913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Oval 39"/>
          <p:cNvSpPr/>
          <p:nvPr userDrawn="1"/>
        </p:nvSpPr>
        <p:spPr>
          <a:xfrm>
            <a:off x="1049169" y="6443418"/>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Oval 40"/>
          <p:cNvSpPr/>
          <p:nvPr userDrawn="1"/>
        </p:nvSpPr>
        <p:spPr>
          <a:xfrm>
            <a:off x="1790999" y="2788038"/>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Oval 41"/>
          <p:cNvSpPr/>
          <p:nvPr userDrawn="1"/>
        </p:nvSpPr>
        <p:spPr>
          <a:xfrm>
            <a:off x="3048815" y="2896665"/>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43" name="Group 42"/>
          <p:cNvGrpSpPr/>
          <p:nvPr userDrawn="1"/>
        </p:nvGrpSpPr>
        <p:grpSpPr>
          <a:xfrm rot="5400000">
            <a:off x="-2095598" y="1716892"/>
            <a:ext cx="5147155" cy="1686894"/>
            <a:chOff x="-32657" y="4691730"/>
            <a:chExt cx="6625100" cy="2804185"/>
          </a:xfrm>
        </p:grpSpPr>
        <p:sp>
          <p:nvSpPr>
            <p:cNvPr id="44" name="Freeform: Shape 43"/>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Freeform: Shape 44"/>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Freeform: Shape 45"/>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Freeform: Shape 46"/>
            <p:cNvSpPr/>
            <p:nvPr/>
          </p:nvSpPr>
          <p:spPr>
            <a:xfrm>
              <a:off x="-32657" y="6452313"/>
              <a:ext cx="6527800" cy="10436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48" name="Group 47"/>
          <p:cNvGrpSpPr/>
          <p:nvPr userDrawn="1"/>
        </p:nvGrpSpPr>
        <p:grpSpPr>
          <a:xfrm rot="4500000">
            <a:off x="733515" y="1543528"/>
            <a:ext cx="1392007" cy="3437532"/>
            <a:chOff x="1113971" y="3497757"/>
            <a:chExt cx="1150258" cy="3142530"/>
          </a:xfrm>
        </p:grpSpPr>
        <p:sp>
          <p:nvSpPr>
            <p:cNvPr id="49" name="Freeform: Shape 48"/>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Freeform: Shape 49"/>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Freeform: Shape 50"/>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Freeform: Shape 51"/>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53" name="Group 52"/>
          <p:cNvGrpSpPr/>
          <p:nvPr userDrawn="1"/>
        </p:nvGrpSpPr>
        <p:grpSpPr>
          <a:xfrm rot="15300000" flipH="1">
            <a:off x="10722026" y="-306679"/>
            <a:ext cx="1590444" cy="2118297"/>
            <a:chOff x="1113971" y="3497757"/>
            <a:chExt cx="1150258" cy="3142530"/>
          </a:xfrm>
        </p:grpSpPr>
        <p:sp>
          <p:nvSpPr>
            <p:cNvPr id="54" name="Freeform: Shape 53"/>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Shape 54"/>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Freeform: Shape 55"/>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Freeform: Shape 56"/>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58" name="Oval 57"/>
          <p:cNvSpPr/>
          <p:nvPr userDrawn="1"/>
        </p:nvSpPr>
        <p:spPr>
          <a:xfrm>
            <a:off x="2214858" y="683335"/>
            <a:ext cx="69136" cy="6913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Oval 58"/>
          <p:cNvSpPr/>
          <p:nvPr userDrawn="1"/>
        </p:nvSpPr>
        <p:spPr>
          <a:xfrm>
            <a:off x="2648272" y="669742"/>
            <a:ext cx="51383" cy="5138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60" name="Group 59"/>
          <p:cNvGrpSpPr/>
          <p:nvPr userDrawn="1"/>
        </p:nvGrpSpPr>
        <p:grpSpPr>
          <a:xfrm>
            <a:off x="5756093" y="2301512"/>
            <a:ext cx="3899073" cy="1191791"/>
            <a:chOff x="5756093" y="2301512"/>
            <a:chExt cx="3899073" cy="1191791"/>
          </a:xfrm>
        </p:grpSpPr>
        <p:sp>
          <p:nvSpPr>
            <p:cNvPr id="61" name="Oval 60"/>
            <p:cNvSpPr/>
            <p:nvPr/>
          </p:nvSpPr>
          <p:spPr>
            <a:xfrm>
              <a:off x="8266386" y="2347545"/>
              <a:ext cx="254716" cy="254716"/>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Oval 61"/>
            <p:cNvSpPr/>
            <p:nvPr/>
          </p:nvSpPr>
          <p:spPr>
            <a:xfrm>
              <a:off x="6326273" y="2776652"/>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Oval 62"/>
            <p:cNvSpPr/>
            <p:nvPr/>
          </p:nvSpPr>
          <p:spPr>
            <a:xfrm>
              <a:off x="7275317" y="256960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Oval 63"/>
            <p:cNvSpPr/>
            <p:nvPr/>
          </p:nvSpPr>
          <p:spPr>
            <a:xfrm>
              <a:off x="6676654" y="2855918"/>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Oval 64"/>
            <p:cNvSpPr/>
            <p:nvPr/>
          </p:nvSpPr>
          <p:spPr>
            <a:xfrm>
              <a:off x="7021860" y="276232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Oval 65"/>
            <p:cNvSpPr/>
            <p:nvPr/>
          </p:nvSpPr>
          <p:spPr>
            <a:xfrm>
              <a:off x="9150042" y="311374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Oval 66"/>
            <p:cNvSpPr/>
            <p:nvPr/>
          </p:nvSpPr>
          <p:spPr>
            <a:xfrm>
              <a:off x="7521113" y="240907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Oval 67"/>
            <p:cNvSpPr/>
            <p:nvPr/>
          </p:nvSpPr>
          <p:spPr>
            <a:xfrm>
              <a:off x="8821654" y="2895644"/>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Oval 68"/>
            <p:cNvSpPr/>
            <p:nvPr/>
          </p:nvSpPr>
          <p:spPr>
            <a:xfrm>
              <a:off x="7911267" y="2301512"/>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Oval 69"/>
            <p:cNvSpPr/>
            <p:nvPr/>
          </p:nvSpPr>
          <p:spPr>
            <a:xfrm>
              <a:off x="8622432" y="2646039"/>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Oval 70"/>
            <p:cNvSpPr/>
            <p:nvPr/>
          </p:nvSpPr>
          <p:spPr>
            <a:xfrm>
              <a:off x="6046050" y="269839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Oval 71"/>
            <p:cNvSpPr/>
            <p:nvPr/>
          </p:nvSpPr>
          <p:spPr>
            <a:xfrm>
              <a:off x="5756093" y="276885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Oval 72"/>
            <p:cNvSpPr/>
            <p:nvPr/>
          </p:nvSpPr>
          <p:spPr>
            <a:xfrm>
              <a:off x="9364414" y="3258175"/>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Oval 73"/>
            <p:cNvSpPr/>
            <p:nvPr/>
          </p:nvSpPr>
          <p:spPr>
            <a:xfrm>
              <a:off x="9609447" y="3447584"/>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5" name="Group 74"/>
          <p:cNvGrpSpPr/>
          <p:nvPr userDrawn="1"/>
        </p:nvGrpSpPr>
        <p:grpSpPr>
          <a:xfrm rot="900000">
            <a:off x="9257656" y="2981058"/>
            <a:ext cx="3437832" cy="4758449"/>
            <a:chOff x="9385524" y="2790411"/>
            <a:chExt cx="3437832" cy="4758449"/>
          </a:xfrm>
        </p:grpSpPr>
        <p:sp>
          <p:nvSpPr>
            <p:cNvPr id="76" name="Freeform: Shape 75"/>
            <p:cNvSpPr/>
            <p:nvPr/>
          </p:nvSpPr>
          <p:spPr>
            <a:xfrm rot="1859816">
              <a:off x="9385524" y="279041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77" name="Group 76"/>
            <p:cNvGrpSpPr/>
            <p:nvPr/>
          </p:nvGrpSpPr>
          <p:grpSpPr>
            <a:xfrm>
              <a:off x="9659552" y="2944459"/>
              <a:ext cx="3163804" cy="4604401"/>
              <a:chOff x="9659552" y="2944459"/>
              <a:chExt cx="3163804" cy="4604401"/>
            </a:xfrm>
          </p:grpSpPr>
          <p:sp>
            <p:nvSpPr>
              <p:cNvPr id="78" name="Oval 77"/>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79" name="Group 78"/>
              <p:cNvGrpSpPr/>
              <p:nvPr/>
            </p:nvGrpSpPr>
            <p:grpSpPr>
              <a:xfrm>
                <a:off x="10171356" y="3779500"/>
                <a:ext cx="468086" cy="468086"/>
                <a:chOff x="3766458" y="4912364"/>
                <a:chExt cx="468086" cy="468086"/>
              </a:xfrm>
            </p:grpSpPr>
            <p:sp>
              <p:nvSpPr>
                <p:cNvPr id="103" name="Oval 102"/>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4" name="Oval 103"/>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Oval 104"/>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0" name="Oval 79"/>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Oval 80"/>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Oval 81"/>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Oval 82"/>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Oval 83"/>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Oval 84"/>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Oval 85"/>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Freeform: Shape 86"/>
              <p:cNvSpPr/>
              <p:nvPr/>
            </p:nvSpPr>
            <p:spPr>
              <a:xfrm rot="1859816">
                <a:off x="9942109" y="3114447"/>
                <a:ext cx="1657518" cy="3705100"/>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417" h="3497943">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cubicBezTo>
                      <a:pt x="1078002" y="3406624"/>
                      <a:pt x="1217702" y="3452283"/>
                      <a:pt x="1357402" y="3497943"/>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88" name="Group 87"/>
              <p:cNvGrpSpPr/>
              <p:nvPr/>
            </p:nvGrpSpPr>
            <p:grpSpPr>
              <a:xfrm>
                <a:off x="9659552" y="6255370"/>
                <a:ext cx="511804" cy="511804"/>
                <a:chOff x="3766458" y="4912364"/>
                <a:chExt cx="468086" cy="468086"/>
              </a:xfrm>
            </p:grpSpPr>
            <p:sp>
              <p:nvSpPr>
                <p:cNvPr id="100" name="Oval 99"/>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Oval 100"/>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Oval 101"/>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9" name="Oval 88"/>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0" name="Group 89"/>
              <p:cNvGrpSpPr/>
              <p:nvPr/>
            </p:nvGrpSpPr>
            <p:grpSpPr>
              <a:xfrm rot="18900000" flipH="1">
                <a:off x="9997674" y="4364464"/>
                <a:ext cx="1590444" cy="3184396"/>
                <a:chOff x="1113971" y="3497757"/>
                <a:chExt cx="1150258" cy="3142530"/>
              </a:xfrm>
            </p:grpSpPr>
            <p:sp>
              <p:nvSpPr>
                <p:cNvPr id="96" name="Freeform: Shape 95"/>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Freeform: Shape 96"/>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Freeform: Shape 97"/>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Shape 98"/>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91" name="Group 90"/>
              <p:cNvGrpSpPr/>
              <p:nvPr/>
            </p:nvGrpSpPr>
            <p:grpSpPr>
              <a:xfrm rot="7200000" flipH="1" flipV="1">
                <a:off x="10907040" y="2618587"/>
                <a:ext cx="1590444" cy="2242188"/>
                <a:chOff x="1113971" y="3497757"/>
                <a:chExt cx="1150258" cy="3142530"/>
              </a:xfrm>
            </p:grpSpPr>
            <p:sp>
              <p:nvSpPr>
                <p:cNvPr id="92" name="Freeform: Shape 9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3" name="Freeform: Shape 9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4" name="Freeform: Shape 9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Freeform: Shape 9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grpSp>
        <p:nvGrpSpPr>
          <p:cNvPr id="166" name="Group 165"/>
          <p:cNvGrpSpPr/>
          <p:nvPr userDrawn="1"/>
        </p:nvGrpSpPr>
        <p:grpSpPr>
          <a:xfrm rot="21444120" flipH="1">
            <a:off x="10234111" y="-501857"/>
            <a:ext cx="2326374" cy="4134470"/>
            <a:chOff x="-213066" y="2126266"/>
            <a:chExt cx="2326374" cy="4134470"/>
          </a:xfrm>
        </p:grpSpPr>
        <p:grpSp>
          <p:nvGrpSpPr>
            <p:cNvPr id="167" name="Group 166"/>
            <p:cNvGrpSpPr/>
            <p:nvPr/>
          </p:nvGrpSpPr>
          <p:grpSpPr>
            <a:xfrm rot="5400000">
              <a:off x="-1021470" y="3125958"/>
              <a:ext cx="4134470" cy="2135086"/>
              <a:chOff x="2108201" y="5087492"/>
              <a:chExt cx="4484244" cy="2408425"/>
            </a:xfrm>
          </p:grpSpPr>
          <p:sp>
            <p:nvSpPr>
              <p:cNvPr id="173" name="Freeform: Shape 172"/>
              <p:cNvSpPr/>
              <p:nvPr/>
            </p:nvSpPr>
            <p:spPr>
              <a:xfrm>
                <a:off x="2108202" y="5087492"/>
                <a:ext cx="4484243" cy="22914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1 h 2687149"/>
                  <a:gd name="connsiteX1" fmla="*/ 609599 w 5093842"/>
                  <a:gd name="connsiteY1" fmla="*/ 1897742 h 2687149"/>
                  <a:gd name="connsiteX2" fmla="*/ 1273628 w 5093842"/>
                  <a:gd name="connsiteY2" fmla="*/ 801913 h 2687149"/>
                  <a:gd name="connsiteX3" fmla="*/ 1759856 w 5093842"/>
                  <a:gd name="connsiteY3" fmla="*/ 1846942 h 2687149"/>
                  <a:gd name="connsiteX4" fmla="*/ 2224313 w 5093842"/>
                  <a:gd name="connsiteY4" fmla="*/ 1273627 h 2687149"/>
                  <a:gd name="connsiteX5" fmla="*/ 2539999 w 5093842"/>
                  <a:gd name="connsiteY5" fmla="*/ 1763485 h 2687149"/>
                  <a:gd name="connsiteX6" fmla="*/ 2935513 w 5093842"/>
                  <a:gd name="connsiteY6" fmla="*/ 399142 h 2687149"/>
                  <a:gd name="connsiteX7" fmla="*/ 3327399 w 5093842"/>
                  <a:gd name="connsiteY7" fmla="*/ 1357085 h 2687149"/>
                  <a:gd name="connsiteX8" fmla="*/ 3617685 w 5093842"/>
                  <a:gd name="connsiteY8" fmla="*/ 747485 h 2687149"/>
                  <a:gd name="connsiteX9" fmla="*/ 4056742 w 5093842"/>
                  <a:gd name="connsiteY9" fmla="*/ 1886856 h 2687149"/>
                  <a:gd name="connsiteX10" fmla="*/ 4542970 w 5093842"/>
                  <a:gd name="connsiteY10" fmla="*/ 928913 h 2687149"/>
                  <a:gd name="connsiteX11" fmla="*/ 5093842 w 5093842"/>
                  <a:gd name="connsiteY11" fmla="*/ 2687149 h 2687149"/>
                  <a:gd name="connsiteX0" fmla="*/ 0 w 4484243"/>
                  <a:gd name="connsiteY0" fmla="*/ 1501995 h 2291402"/>
                  <a:gd name="connsiteX1" fmla="*/ 664029 w 4484243"/>
                  <a:gd name="connsiteY1" fmla="*/ 406166 h 2291402"/>
                  <a:gd name="connsiteX2" fmla="*/ 1150257 w 4484243"/>
                  <a:gd name="connsiteY2" fmla="*/ 1451195 h 2291402"/>
                  <a:gd name="connsiteX3" fmla="*/ 1614714 w 4484243"/>
                  <a:gd name="connsiteY3" fmla="*/ 877880 h 2291402"/>
                  <a:gd name="connsiteX4" fmla="*/ 1930400 w 4484243"/>
                  <a:gd name="connsiteY4" fmla="*/ 1367738 h 2291402"/>
                  <a:gd name="connsiteX5" fmla="*/ 2325914 w 4484243"/>
                  <a:gd name="connsiteY5" fmla="*/ 3395 h 2291402"/>
                  <a:gd name="connsiteX6" fmla="*/ 2717800 w 4484243"/>
                  <a:gd name="connsiteY6" fmla="*/ 961338 h 2291402"/>
                  <a:gd name="connsiteX7" fmla="*/ 3008086 w 4484243"/>
                  <a:gd name="connsiteY7" fmla="*/ 351738 h 2291402"/>
                  <a:gd name="connsiteX8" fmla="*/ 3447143 w 4484243"/>
                  <a:gd name="connsiteY8" fmla="*/ 1491109 h 2291402"/>
                  <a:gd name="connsiteX9" fmla="*/ 3933371 w 4484243"/>
                  <a:gd name="connsiteY9" fmla="*/ 533166 h 2291402"/>
                  <a:gd name="connsiteX10" fmla="*/ 4484243 w 4484243"/>
                  <a:gd name="connsiteY10" fmla="*/ 2291402 h 229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84243" h="2291402">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0521" y="399784"/>
                      <a:pt x="3933371" y="533166"/>
                    </a:cubicBezTo>
                    <a:cubicBezTo>
                      <a:pt x="4106221" y="666548"/>
                      <a:pt x="4335773" y="1647633"/>
                      <a:pt x="4484243" y="22914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4" name="Freeform: Shape 173"/>
              <p:cNvSpPr/>
              <p:nvPr/>
            </p:nvSpPr>
            <p:spPr>
              <a:xfrm>
                <a:off x="2108202" y="5531345"/>
                <a:ext cx="4445322"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5820552"/>
                  <a:gd name="connsiteY0" fmla="*/ 1865099 h 2518602"/>
                  <a:gd name="connsiteX1" fmla="*/ 765629 w 5820552"/>
                  <a:gd name="connsiteY1" fmla="*/ 13 h 2518602"/>
                  <a:gd name="connsiteX2" fmla="*/ 1375229 w 5820552"/>
                  <a:gd name="connsiteY2" fmla="*/ 1897756 h 2518602"/>
                  <a:gd name="connsiteX3" fmla="*/ 2039258 w 5820552"/>
                  <a:gd name="connsiteY3" fmla="*/ 801927 h 2518602"/>
                  <a:gd name="connsiteX4" fmla="*/ 2525486 w 5820552"/>
                  <a:gd name="connsiteY4" fmla="*/ 1846956 h 2518602"/>
                  <a:gd name="connsiteX5" fmla="*/ 2989943 w 5820552"/>
                  <a:gd name="connsiteY5" fmla="*/ 1273641 h 2518602"/>
                  <a:gd name="connsiteX6" fmla="*/ 3305629 w 5820552"/>
                  <a:gd name="connsiteY6" fmla="*/ 1763499 h 2518602"/>
                  <a:gd name="connsiteX7" fmla="*/ 3701143 w 5820552"/>
                  <a:gd name="connsiteY7" fmla="*/ 399156 h 2518602"/>
                  <a:gd name="connsiteX8" fmla="*/ 4093029 w 5820552"/>
                  <a:gd name="connsiteY8" fmla="*/ 1357099 h 2518602"/>
                  <a:gd name="connsiteX9" fmla="*/ 4383315 w 5820552"/>
                  <a:gd name="connsiteY9" fmla="*/ 747499 h 2518602"/>
                  <a:gd name="connsiteX10" fmla="*/ 4822372 w 5820552"/>
                  <a:gd name="connsiteY10" fmla="*/ 1886870 h 2518602"/>
                  <a:gd name="connsiteX11" fmla="*/ 5308600 w 5820552"/>
                  <a:gd name="connsiteY11" fmla="*/ 928927 h 2518602"/>
                  <a:gd name="connsiteX12" fmla="*/ 5820552 w 5820552"/>
                  <a:gd name="connsiteY12" fmla="*/ 2518602 h 2518602"/>
                  <a:gd name="connsiteX0" fmla="*/ 0 w 5054923"/>
                  <a:gd name="connsiteY0" fmla="*/ 0 h 2518589"/>
                  <a:gd name="connsiteX1" fmla="*/ 609600 w 5054923"/>
                  <a:gd name="connsiteY1" fmla="*/ 1897743 h 2518589"/>
                  <a:gd name="connsiteX2" fmla="*/ 1273629 w 5054923"/>
                  <a:gd name="connsiteY2" fmla="*/ 801914 h 2518589"/>
                  <a:gd name="connsiteX3" fmla="*/ 1759857 w 5054923"/>
                  <a:gd name="connsiteY3" fmla="*/ 1846943 h 2518589"/>
                  <a:gd name="connsiteX4" fmla="*/ 2224314 w 5054923"/>
                  <a:gd name="connsiteY4" fmla="*/ 1273628 h 2518589"/>
                  <a:gd name="connsiteX5" fmla="*/ 2540000 w 5054923"/>
                  <a:gd name="connsiteY5" fmla="*/ 1763486 h 2518589"/>
                  <a:gd name="connsiteX6" fmla="*/ 2935514 w 5054923"/>
                  <a:gd name="connsiteY6" fmla="*/ 399143 h 2518589"/>
                  <a:gd name="connsiteX7" fmla="*/ 3327400 w 5054923"/>
                  <a:gd name="connsiteY7" fmla="*/ 1357086 h 2518589"/>
                  <a:gd name="connsiteX8" fmla="*/ 3617686 w 5054923"/>
                  <a:gd name="connsiteY8" fmla="*/ 747486 h 2518589"/>
                  <a:gd name="connsiteX9" fmla="*/ 4056743 w 5054923"/>
                  <a:gd name="connsiteY9" fmla="*/ 1886857 h 2518589"/>
                  <a:gd name="connsiteX10" fmla="*/ 4542971 w 5054923"/>
                  <a:gd name="connsiteY10" fmla="*/ 928914 h 2518589"/>
                  <a:gd name="connsiteX11" fmla="*/ 5054923 w 5054923"/>
                  <a:gd name="connsiteY11" fmla="*/ 2518589 h 2518589"/>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5323" h="2122841">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7008" y="427877"/>
                      <a:pt x="3933371" y="533166"/>
                    </a:cubicBezTo>
                    <a:cubicBezTo>
                      <a:pt x="4099734" y="638455"/>
                      <a:pt x="4296853" y="1479072"/>
                      <a:pt x="4445323" y="2122841"/>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5" name="Freeform: Shape 174"/>
              <p:cNvSpPr/>
              <p:nvPr/>
            </p:nvSpPr>
            <p:spPr>
              <a:xfrm>
                <a:off x="2108201" y="6195930"/>
                <a:ext cx="4386943" cy="122017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3">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76738" y="467247"/>
                      <a:pt x="3933371" y="533166"/>
                    </a:cubicBezTo>
                    <a:cubicBezTo>
                      <a:pt x="4090004" y="599085"/>
                      <a:pt x="4238473" y="1242854"/>
                      <a:pt x="4386943" y="188662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6" name="Freeform: Shape 175"/>
              <p:cNvSpPr/>
              <p:nvPr/>
            </p:nvSpPr>
            <p:spPr>
              <a:xfrm>
                <a:off x="2108201" y="6633272"/>
                <a:ext cx="4386943"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6 h 1886624"/>
                  <a:gd name="connsiteX1" fmla="*/ 664029 w 4386943"/>
                  <a:gd name="connsiteY1" fmla="*/ 406167 h 1886624"/>
                  <a:gd name="connsiteX2" fmla="*/ 1150257 w 4386943"/>
                  <a:gd name="connsiteY2" fmla="*/ 1451196 h 1886624"/>
                  <a:gd name="connsiteX3" fmla="*/ 1614714 w 4386943"/>
                  <a:gd name="connsiteY3" fmla="*/ 877881 h 1886624"/>
                  <a:gd name="connsiteX4" fmla="*/ 1930400 w 4386943"/>
                  <a:gd name="connsiteY4" fmla="*/ 1367739 h 1886624"/>
                  <a:gd name="connsiteX5" fmla="*/ 2325914 w 4386943"/>
                  <a:gd name="connsiteY5" fmla="*/ 3396 h 1886624"/>
                  <a:gd name="connsiteX6" fmla="*/ 2717800 w 4386943"/>
                  <a:gd name="connsiteY6" fmla="*/ 961339 h 1886624"/>
                  <a:gd name="connsiteX7" fmla="*/ 3008086 w 4386943"/>
                  <a:gd name="connsiteY7" fmla="*/ 351739 h 1886624"/>
                  <a:gd name="connsiteX8" fmla="*/ 3447143 w 4386943"/>
                  <a:gd name="connsiteY8" fmla="*/ 1491110 h 1886624"/>
                  <a:gd name="connsiteX9" fmla="*/ 3933371 w 4386943"/>
                  <a:gd name="connsiteY9" fmla="*/ 533167 h 1886624"/>
                  <a:gd name="connsiteX10" fmla="*/ 4386943 w 4386943"/>
                  <a:gd name="connsiteY10" fmla="*/ 1886624 h 188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4">
                    <a:moveTo>
                      <a:pt x="0" y="1501996"/>
                    </a:moveTo>
                    <a:cubicBezTo>
                      <a:pt x="212272" y="1635648"/>
                      <a:pt x="472320" y="414634"/>
                      <a:pt x="664029" y="406167"/>
                    </a:cubicBezTo>
                    <a:cubicBezTo>
                      <a:pt x="855738" y="397700"/>
                      <a:pt x="991810" y="1372577"/>
                      <a:pt x="1150257" y="1451196"/>
                    </a:cubicBezTo>
                    <a:cubicBezTo>
                      <a:pt x="1308704" y="1529815"/>
                      <a:pt x="1484690" y="891790"/>
                      <a:pt x="1614714" y="877881"/>
                    </a:cubicBezTo>
                    <a:cubicBezTo>
                      <a:pt x="1744738" y="863972"/>
                      <a:pt x="1811867" y="1513487"/>
                      <a:pt x="1930400" y="1367739"/>
                    </a:cubicBezTo>
                    <a:cubicBezTo>
                      <a:pt x="2048933" y="1221992"/>
                      <a:pt x="2194681" y="71129"/>
                      <a:pt x="2325914" y="3396"/>
                    </a:cubicBezTo>
                    <a:cubicBezTo>
                      <a:pt x="2457147" y="-64337"/>
                      <a:pt x="2604105" y="903282"/>
                      <a:pt x="2717800" y="961339"/>
                    </a:cubicBezTo>
                    <a:cubicBezTo>
                      <a:pt x="2831495" y="1019396"/>
                      <a:pt x="2886529" y="263444"/>
                      <a:pt x="3008086" y="351739"/>
                    </a:cubicBezTo>
                    <a:cubicBezTo>
                      <a:pt x="3129643" y="440034"/>
                      <a:pt x="3292929" y="1460872"/>
                      <a:pt x="3447143" y="1491110"/>
                    </a:cubicBezTo>
                    <a:cubicBezTo>
                      <a:pt x="3601357" y="1521348"/>
                      <a:pt x="3776738" y="467248"/>
                      <a:pt x="3933371" y="533167"/>
                    </a:cubicBezTo>
                    <a:cubicBezTo>
                      <a:pt x="4090004" y="599086"/>
                      <a:pt x="4238473" y="1242855"/>
                      <a:pt x="4386943" y="188662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68" name="Group 167"/>
            <p:cNvGrpSpPr/>
            <p:nvPr/>
          </p:nvGrpSpPr>
          <p:grpSpPr>
            <a:xfrm rot="5400000">
              <a:off x="-972652" y="3077916"/>
              <a:ext cx="2967991" cy="1448820"/>
              <a:chOff x="2772230" y="5087490"/>
              <a:chExt cx="3820215" cy="2408427"/>
            </a:xfrm>
          </p:grpSpPr>
          <p:sp>
            <p:nvSpPr>
              <p:cNvPr id="169" name="Freeform: Shape 168"/>
              <p:cNvSpPr/>
              <p:nvPr/>
            </p:nvSpPr>
            <p:spPr>
              <a:xfrm>
                <a:off x="2772230" y="5087490"/>
                <a:ext cx="3820215" cy="2291400"/>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0 h 2687150"/>
                  <a:gd name="connsiteX1" fmla="*/ 609599 w 5093842"/>
                  <a:gd name="connsiteY1" fmla="*/ 1897743 h 2687150"/>
                  <a:gd name="connsiteX2" fmla="*/ 1273628 w 5093842"/>
                  <a:gd name="connsiteY2" fmla="*/ 801914 h 2687150"/>
                  <a:gd name="connsiteX3" fmla="*/ 1759856 w 5093842"/>
                  <a:gd name="connsiteY3" fmla="*/ 1846943 h 2687150"/>
                  <a:gd name="connsiteX4" fmla="*/ 2224313 w 5093842"/>
                  <a:gd name="connsiteY4" fmla="*/ 1273628 h 2687150"/>
                  <a:gd name="connsiteX5" fmla="*/ 2539999 w 5093842"/>
                  <a:gd name="connsiteY5" fmla="*/ 1763486 h 2687150"/>
                  <a:gd name="connsiteX6" fmla="*/ 2935513 w 5093842"/>
                  <a:gd name="connsiteY6" fmla="*/ 399143 h 2687150"/>
                  <a:gd name="connsiteX7" fmla="*/ 3327399 w 5093842"/>
                  <a:gd name="connsiteY7" fmla="*/ 1357086 h 2687150"/>
                  <a:gd name="connsiteX8" fmla="*/ 3617685 w 5093842"/>
                  <a:gd name="connsiteY8" fmla="*/ 747486 h 2687150"/>
                  <a:gd name="connsiteX9" fmla="*/ 4056742 w 5093842"/>
                  <a:gd name="connsiteY9" fmla="*/ 1886857 h 2687150"/>
                  <a:gd name="connsiteX10" fmla="*/ 4542970 w 5093842"/>
                  <a:gd name="connsiteY10" fmla="*/ 928914 h 2687150"/>
                  <a:gd name="connsiteX11" fmla="*/ 5093842 w 5093842"/>
                  <a:gd name="connsiteY11" fmla="*/ 2687150 h 2687150"/>
                  <a:gd name="connsiteX0" fmla="*/ 0 w 4484243"/>
                  <a:gd name="connsiteY0" fmla="*/ 1501996 h 2291403"/>
                  <a:gd name="connsiteX1" fmla="*/ 664029 w 4484243"/>
                  <a:gd name="connsiteY1" fmla="*/ 406167 h 2291403"/>
                  <a:gd name="connsiteX2" fmla="*/ 1150257 w 4484243"/>
                  <a:gd name="connsiteY2" fmla="*/ 1451196 h 2291403"/>
                  <a:gd name="connsiteX3" fmla="*/ 1614714 w 4484243"/>
                  <a:gd name="connsiteY3" fmla="*/ 877881 h 2291403"/>
                  <a:gd name="connsiteX4" fmla="*/ 1930400 w 4484243"/>
                  <a:gd name="connsiteY4" fmla="*/ 1367739 h 2291403"/>
                  <a:gd name="connsiteX5" fmla="*/ 2325914 w 4484243"/>
                  <a:gd name="connsiteY5" fmla="*/ 3396 h 2291403"/>
                  <a:gd name="connsiteX6" fmla="*/ 2717800 w 4484243"/>
                  <a:gd name="connsiteY6" fmla="*/ 961339 h 2291403"/>
                  <a:gd name="connsiteX7" fmla="*/ 3008086 w 4484243"/>
                  <a:gd name="connsiteY7" fmla="*/ 351739 h 2291403"/>
                  <a:gd name="connsiteX8" fmla="*/ 3447143 w 4484243"/>
                  <a:gd name="connsiteY8" fmla="*/ 1491110 h 2291403"/>
                  <a:gd name="connsiteX9" fmla="*/ 3933371 w 4484243"/>
                  <a:gd name="connsiteY9" fmla="*/ 533167 h 2291403"/>
                  <a:gd name="connsiteX10" fmla="*/ 4484243 w 4484243"/>
                  <a:gd name="connsiteY10" fmla="*/ 2291403 h 2291403"/>
                  <a:gd name="connsiteX0" fmla="*/ 0 w 3820214"/>
                  <a:gd name="connsiteY0" fmla="*/ 406165 h 2291401"/>
                  <a:gd name="connsiteX1" fmla="*/ 486228 w 3820214"/>
                  <a:gd name="connsiteY1" fmla="*/ 1451194 h 2291401"/>
                  <a:gd name="connsiteX2" fmla="*/ 950685 w 3820214"/>
                  <a:gd name="connsiteY2" fmla="*/ 877879 h 2291401"/>
                  <a:gd name="connsiteX3" fmla="*/ 1266371 w 3820214"/>
                  <a:gd name="connsiteY3" fmla="*/ 1367737 h 2291401"/>
                  <a:gd name="connsiteX4" fmla="*/ 1661885 w 3820214"/>
                  <a:gd name="connsiteY4" fmla="*/ 3394 h 2291401"/>
                  <a:gd name="connsiteX5" fmla="*/ 2053771 w 3820214"/>
                  <a:gd name="connsiteY5" fmla="*/ 961337 h 2291401"/>
                  <a:gd name="connsiteX6" fmla="*/ 2344057 w 3820214"/>
                  <a:gd name="connsiteY6" fmla="*/ 351737 h 2291401"/>
                  <a:gd name="connsiteX7" fmla="*/ 2783114 w 3820214"/>
                  <a:gd name="connsiteY7" fmla="*/ 1491108 h 2291401"/>
                  <a:gd name="connsiteX8" fmla="*/ 3269342 w 3820214"/>
                  <a:gd name="connsiteY8" fmla="*/ 533165 h 2291401"/>
                  <a:gd name="connsiteX9" fmla="*/ 3820214 w 3820214"/>
                  <a:gd name="connsiteY9" fmla="*/ 2291401 h 229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0214" h="2291401">
                    <a:moveTo>
                      <a:pt x="0" y="406165"/>
                    </a:moveTo>
                    <a:cubicBezTo>
                      <a:pt x="191709" y="397698"/>
                      <a:pt x="327781" y="1372575"/>
                      <a:pt x="486228" y="1451194"/>
                    </a:cubicBezTo>
                    <a:cubicBezTo>
                      <a:pt x="644675" y="1529813"/>
                      <a:pt x="820661" y="891788"/>
                      <a:pt x="950685" y="877879"/>
                    </a:cubicBezTo>
                    <a:cubicBezTo>
                      <a:pt x="1080709" y="863970"/>
                      <a:pt x="1147838" y="1513485"/>
                      <a:pt x="1266371" y="1367737"/>
                    </a:cubicBezTo>
                    <a:cubicBezTo>
                      <a:pt x="1384904" y="1221990"/>
                      <a:pt x="1530652" y="71127"/>
                      <a:pt x="1661885" y="3394"/>
                    </a:cubicBezTo>
                    <a:cubicBezTo>
                      <a:pt x="1793118" y="-64339"/>
                      <a:pt x="1940076" y="903280"/>
                      <a:pt x="2053771" y="961337"/>
                    </a:cubicBezTo>
                    <a:cubicBezTo>
                      <a:pt x="2167466" y="1019394"/>
                      <a:pt x="2222500" y="263442"/>
                      <a:pt x="2344057" y="351737"/>
                    </a:cubicBezTo>
                    <a:cubicBezTo>
                      <a:pt x="2465614" y="440032"/>
                      <a:pt x="2628900" y="1460870"/>
                      <a:pt x="2783114" y="1491108"/>
                    </a:cubicBezTo>
                    <a:cubicBezTo>
                      <a:pt x="2937328" y="1521346"/>
                      <a:pt x="3096492" y="399783"/>
                      <a:pt x="3269342" y="533165"/>
                    </a:cubicBezTo>
                    <a:cubicBezTo>
                      <a:pt x="3442192" y="666547"/>
                      <a:pt x="3671744" y="1647632"/>
                      <a:pt x="3820214" y="229140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0" name="Freeform: Shape 169"/>
              <p:cNvSpPr/>
              <p:nvPr/>
            </p:nvSpPr>
            <p:spPr>
              <a:xfrm>
                <a:off x="2772230" y="5531340"/>
                <a:ext cx="3781294"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6586180"/>
                  <a:gd name="connsiteY0" fmla="*/ 794423 h 2122841"/>
                  <a:gd name="connsiteX1" fmla="*/ 765628 w 6586180"/>
                  <a:gd name="connsiteY1" fmla="*/ 1469338 h 2122841"/>
                  <a:gd name="connsiteX2" fmla="*/ 2140857 w 6586180"/>
                  <a:gd name="connsiteY2" fmla="*/ 1501995 h 2122841"/>
                  <a:gd name="connsiteX3" fmla="*/ 2804886 w 6586180"/>
                  <a:gd name="connsiteY3" fmla="*/ 406166 h 2122841"/>
                  <a:gd name="connsiteX4" fmla="*/ 3291114 w 6586180"/>
                  <a:gd name="connsiteY4" fmla="*/ 1451195 h 2122841"/>
                  <a:gd name="connsiteX5" fmla="*/ 3755571 w 6586180"/>
                  <a:gd name="connsiteY5" fmla="*/ 877880 h 2122841"/>
                  <a:gd name="connsiteX6" fmla="*/ 4071257 w 6586180"/>
                  <a:gd name="connsiteY6" fmla="*/ 1367738 h 2122841"/>
                  <a:gd name="connsiteX7" fmla="*/ 4466771 w 6586180"/>
                  <a:gd name="connsiteY7" fmla="*/ 3395 h 2122841"/>
                  <a:gd name="connsiteX8" fmla="*/ 4858657 w 6586180"/>
                  <a:gd name="connsiteY8" fmla="*/ 961338 h 2122841"/>
                  <a:gd name="connsiteX9" fmla="*/ 5148943 w 6586180"/>
                  <a:gd name="connsiteY9" fmla="*/ 351738 h 2122841"/>
                  <a:gd name="connsiteX10" fmla="*/ 5588000 w 6586180"/>
                  <a:gd name="connsiteY10" fmla="*/ 1491109 h 2122841"/>
                  <a:gd name="connsiteX11" fmla="*/ 6074228 w 6586180"/>
                  <a:gd name="connsiteY11" fmla="*/ 533166 h 2122841"/>
                  <a:gd name="connsiteX12" fmla="*/ 6586180 w 6586180"/>
                  <a:gd name="connsiteY12" fmla="*/ 2122841 h 2122841"/>
                  <a:gd name="connsiteX0" fmla="*/ 0 w 6586180"/>
                  <a:gd name="connsiteY0" fmla="*/ 794423 h 2122841"/>
                  <a:gd name="connsiteX1" fmla="*/ 2140857 w 6586180"/>
                  <a:gd name="connsiteY1" fmla="*/ 1501995 h 2122841"/>
                  <a:gd name="connsiteX2" fmla="*/ 2804886 w 6586180"/>
                  <a:gd name="connsiteY2" fmla="*/ 406166 h 2122841"/>
                  <a:gd name="connsiteX3" fmla="*/ 3291114 w 6586180"/>
                  <a:gd name="connsiteY3" fmla="*/ 1451195 h 2122841"/>
                  <a:gd name="connsiteX4" fmla="*/ 3755571 w 6586180"/>
                  <a:gd name="connsiteY4" fmla="*/ 877880 h 2122841"/>
                  <a:gd name="connsiteX5" fmla="*/ 4071257 w 6586180"/>
                  <a:gd name="connsiteY5" fmla="*/ 1367738 h 2122841"/>
                  <a:gd name="connsiteX6" fmla="*/ 4466771 w 6586180"/>
                  <a:gd name="connsiteY6" fmla="*/ 3395 h 2122841"/>
                  <a:gd name="connsiteX7" fmla="*/ 4858657 w 6586180"/>
                  <a:gd name="connsiteY7" fmla="*/ 961338 h 2122841"/>
                  <a:gd name="connsiteX8" fmla="*/ 5148943 w 6586180"/>
                  <a:gd name="connsiteY8" fmla="*/ 351738 h 2122841"/>
                  <a:gd name="connsiteX9" fmla="*/ 5588000 w 6586180"/>
                  <a:gd name="connsiteY9" fmla="*/ 1491109 h 2122841"/>
                  <a:gd name="connsiteX10" fmla="*/ 6074228 w 6586180"/>
                  <a:gd name="connsiteY10" fmla="*/ 533166 h 2122841"/>
                  <a:gd name="connsiteX11" fmla="*/ 6586180 w 6586180"/>
                  <a:gd name="connsiteY11" fmla="*/ 2122841 h 2122841"/>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 name="connsiteX0" fmla="*/ 0 w 3781294"/>
                  <a:gd name="connsiteY0" fmla="*/ 406166 h 2122841"/>
                  <a:gd name="connsiteX1" fmla="*/ 486228 w 3781294"/>
                  <a:gd name="connsiteY1" fmla="*/ 1451195 h 2122841"/>
                  <a:gd name="connsiteX2" fmla="*/ 950685 w 3781294"/>
                  <a:gd name="connsiteY2" fmla="*/ 877880 h 2122841"/>
                  <a:gd name="connsiteX3" fmla="*/ 1266371 w 3781294"/>
                  <a:gd name="connsiteY3" fmla="*/ 1367738 h 2122841"/>
                  <a:gd name="connsiteX4" fmla="*/ 1661885 w 3781294"/>
                  <a:gd name="connsiteY4" fmla="*/ 3395 h 2122841"/>
                  <a:gd name="connsiteX5" fmla="*/ 2053771 w 3781294"/>
                  <a:gd name="connsiteY5" fmla="*/ 961338 h 2122841"/>
                  <a:gd name="connsiteX6" fmla="*/ 2344057 w 3781294"/>
                  <a:gd name="connsiteY6" fmla="*/ 351738 h 2122841"/>
                  <a:gd name="connsiteX7" fmla="*/ 2783114 w 3781294"/>
                  <a:gd name="connsiteY7" fmla="*/ 1491109 h 2122841"/>
                  <a:gd name="connsiteX8" fmla="*/ 3269342 w 3781294"/>
                  <a:gd name="connsiteY8" fmla="*/ 533166 h 2122841"/>
                  <a:gd name="connsiteX9" fmla="*/ 3781294 w 3781294"/>
                  <a:gd name="connsiteY9"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1294" h="2122841">
                    <a:moveTo>
                      <a:pt x="0" y="406166"/>
                    </a:moveTo>
                    <a:cubicBezTo>
                      <a:pt x="191709" y="397699"/>
                      <a:pt x="327781" y="1372576"/>
                      <a:pt x="486228" y="1451195"/>
                    </a:cubicBezTo>
                    <a:cubicBezTo>
                      <a:pt x="644675" y="1529814"/>
                      <a:pt x="820661" y="891789"/>
                      <a:pt x="950685" y="877880"/>
                    </a:cubicBezTo>
                    <a:cubicBezTo>
                      <a:pt x="1080709" y="863971"/>
                      <a:pt x="1147838" y="1513486"/>
                      <a:pt x="1266371" y="1367738"/>
                    </a:cubicBezTo>
                    <a:cubicBezTo>
                      <a:pt x="1384904" y="1221991"/>
                      <a:pt x="1530652" y="71128"/>
                      <a:pt x="1661885" y="3395"/>
                    </a:cubicBezTo>
                    <a:cubicBezTo>
                      <a:pt x="1793118" y="-64338"/>
                      <a:pt x="1940076" y="903281"/>
                      <a:pt x="2053771" y="961338"/>
                    </a:cubicBezTo>
                    <a:cubicBezTo>
                      <a:pt x="2167466" y="1019395"/>
                      <a:pt x="2222500" y="263443"/>
                      <a:pt x="2344057" y="351738"/>
                    </a:cubicBezTo>
                    <a:cubicBezTo>
                      <a:pt x="2465614" y="440033"/>
                      <a:pt x="2628900" y="1460871"/>
                      <a:pt x="2783114" y="1491109"/>
                    </a:cubicBezTo>
                    <a:cubicBezTo>
                      <a:pt x="2937328" y="1521347"/>
                      <a:pt x="3102979" y="427877"/>
                      <a:pt x="3269342" y="533166"/>
                    </a:cubicBezTo>
                    <a:cubicBezTo>
                      <a:pt x="3435705" y="638455"/>
                      <a:pt x="3632824" y="1479072"/>
                      <a:pt x="3781294" y="212284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1" name="Freeform: Shape 170"/>
              <p:cNvSpPr/>
              <p:nvPr/>
            </p:nvSpPr>
            <p:spPr>
              <a:xfrm>
                <a:off x="3258458" y="6195929"/>
                <a:ext cx="3236685" cy="1220174"/>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27800"/>
                  <a:gd name="connsiteY0" fmla="*/ 1219485 h 2311685"/>
                  <a:gd name="connsiteX1" fmla="*/ 765628 w 6527800"/>
                  <a:gd name="connsiteY1" fmla="*/ 1894400 h 2311685"/>
                  <a:gd name="connsiteX2" fmla="*/ 1531257 w 6527800"/>
                  <a:gd name="connsiteY2" fmla="*/ 29314 h 2311685"/>
                  <a:gd name="connsiteX3" fmla="*/ 2804886 w 6527800"/>
                  <a:gd name="connsiteY3" fmla="*/ 831228 h 2311685"/>
                  <a:gd name="connsiteX4" fmla="*/ 3291114 w 6527800"/>
                  <a:gd name="connsiteY4" fmla="*/ 1876257 h 2311685"/>
                  <a:gd name="connsiteX5" fmla="*/ 3755571 w 6527800"/>
                  <a:gd name="connsiteY5" fmla="*/ 1302942 h 2311685"/>
                  <a:gd name="connsiteX6" fmla="*/ 4071257 w 6527800"/>
                  <a:gd name="connsiteY6" fmla="*/ 1792800 h 2311685"/>
                  <a:gd name="connsiteX7" fmla="*/ 4466771 w 6527800"/>
                  <a:gd name="connsiteY7" fmla="*/ 428457 h 2311685"/>
                  <a:gd name="connsiteX8" fmla="*/ 4858657 w 6527800"/>
                  <a:gd name="connsiteY8" fmla="*/ 1386400 h 2311685"/>
                  <a:gd name="connsiteX9" fmla="*/ 5148943 w 6527800"/>
                  <a:gd name="connsiteY9" fmla="*/ 776800 h 2311685"/>
                  <a:gd name="connsiteX10" fmla="*/ 5588000 w 6527800"/>
                  <a:gd name="connsiteY10" fmla="*/ 1916171 h 2311685"/>
                  <a:gd name="connsiteX11" fmla="*/ 6074228 w 6527800"/>
                  <a:gd name="connsiteY11" fmla="*/ 958228 h 2311685"/>
                  <a:gd name="connsiteX12" fmla="*/ 6527800 w 6527800"/>
                  <a:gd name="connsiteY12" fmla="*/ 2311685 h 2311685"/>
                  <a:gd name="connsiteX0" fmla="*/ 0 w 6527800"/>
                  <a:gd name="connsiteY0" fmla="*/ 794423 h 1886623"/>
                  <a:gd name="connsiteX1" fmla="*/ 765628 w 6527800"/>
                  <a:gd name="connsiteY1" fmla="*/ 1469338 h 1886623"/>
                  <a:gd name="connsiteX2" fmla="*/ 2804886 w 6527800"/>
                  <a:gd name="connsiteY2" fmla="*/ 406166 h 1886623"/>
                  <a:gd name="connsiteX3" fmla="*/ 3291114 w 6527800"/>
                  <a:gd name="connsiteY3" fmla="*/ 1451195 h 1886623"/>
                  <a:gd name="connsiteX4" fmla="*/ 3755571 w 6527800"/>
                  <a:gd name="connsiteY4" fmla="*/ 877880 h 1886623"/>
                  <a:gd name="connsiteX5" fmla="*/ 4071257 w 6527800"/>
                  <a:gd name="connsiteY5" fmla="*/ 1367738 h 1886623"/>
                  <a:gd name="connsiteX6" fmla="*/ 4466771 w 6527800"/>
                  <a:gd name="connsiteY6" fmla="*/ 3395 h 1886623"/>
                  <a:gd name="connsiteX7" fmla="*/ 4858657 w 6527800"/>
                  <a:gd name="connsiteY7" fmla="*/ 961338 h 1886623"/>
                  <a:gd name="connsiteX8" fmla="*/ 5148943 w 6527800"/>
                  <a:gd name="connsiteY8" fmla="*/ 351738 h 1886623"/>
                  <a:gd name="connsiteX9" fmla="*/ 5588000 w 6527800"/>
                  <a:gd name="connsiteY9" fmla="*/ 1491109 h 1886623"/>
                  <a:gd name="connsiteX10" fmla="*/ 6074228 w 6527800"/>
                  <a:gd name="connsiteY10" fmla="*/ 533166 h 1886623"/>
                  <a:gd name="connsiteX11" fmla="*/ 6527800 w 6527800"/>
                  <a:gd name="connsiteY11" fmla="*/ 1886623 h 1886623"/>
                  <a:gd name="connsiteX0" fmla="*/ 0 w 6527800"/>
                  <a:gd name="connsiteY0" fmla="*/ 794423 h 1886623"/>
                  <a:gd name="connsiteX1" fmla="*/ 765628 w 6527800"/>
                  <a:gd name="connsiteY1" fmla="*/ 1469338 h 1886623"/>
                  <a:gd name="connsiteX2" fmla="*/ 3291114 w 6527800"/>
                  <a:gd name="connsiteY2" fmla="*/ 1451195 h 1886623"/>
                  <a:gd name="connsiteX3" fmla="*/ 3755571 w 6527800"/>
                  <a:gd name="connsiteY3" fmla="*/ 877880 h 1886623"/>
                  <a:gd name="connsiteX4" fmla="*/ 4071257 w 6527800"/>
                  <a:gd name="connsiteY4" fmla="*/ 1367738 h 1886623"/>
                  <a:gd name="connsiteX5" fmla="*/ 4466771 w 6527800"/>
                  <a:gd name="connsiteY5" fmla="*/ 3395 h 1886623"/>
                  <a:gd name="connsiteX6" fmla="*/ 4858657 w 6527800"/>
                  <a:gd name="connsiteY6" fmla="*/ 961338 h 1886623"/>
                  <a:gd name="connsiteX7" fmla="*/ 5148943 w 6527800"/>
                  <a:gd name="connsiteY7" fmla="*/ 351738 h 1886623"/>
                  <a:gd name="connsiteX8" fmla="*/ 5588000 w 6527800"/>
                  <a:gd name="connsiteY8" fmla="*/ 1491109 h 1886623"/>
                  <a:gd name="connsiteX9" fmla="*/ 6074228 w 6527800"/>
                  <a:gd name="connsiteY9" fmla="*/ 533166 h 1886623"/>
                  <a:gd name="connsiteX10" fmla="*/ 6527800 w 6527800"/>
                  <a:gd name="connsiteY10" fmla="*/ 1886623 h 1886623"/>
                  <a:gd name="connsiteX0" fmla="*/ 0 w 6527800"/>
                  <a:gd name="connsiteY0" fmla="*/ 794423 h 1886623"/>
                  <a:gd name="connsiteX1" fmla="*/ 3291114 w 6527800"/>
                  <a:gd name="connsiteY1" fmla="*/ 1451195 h 1886623"/>
                  <a:gd name="connsiteX2" fmla="*/ 3755571 w 6527800"/>
                  <a:gd name="connsiteY2" fmla="*/ 877880 h 1886623"/>
                  <a:gd name="connsiteX3" fmla="*/ 4071257 w 6527800"/>
                  <a:gd name="connsiteY3" fmla="*/ 1367738 h 1886623"/>
                  <a:gd name="connsiteX4" fmla="*/ 4466771 w 6527800"/>
                  <a:gd name="connsiteY4" fmla="*/ 3395 h 1886623"/>
                  <a:gd name="connsiteX5" fmla="*/ 4858657 w 6527800"/>
                  <a:gd name="connsiteY5" fmla="*/ 961338 h 1886623"/>
                  <a:gd name="connsiteX6" fmla="*/ 5148943 w 6527800"/>
                  <a:gd name="connsiteY6" fmla="*/ 351738 h 1886623"/>
                  <a:gd name="connsiteX7" fmla="*/ 5588000 w 6527800"/>
                  <a:gd name="connsiteY7" fmla="*/ 1491109 h 1886623"/>
                  <a:gd name="connsiteX8" fmla="*/ 6074228 w 6527800"/>
                  <a:gd name="connsiteY8" fmla="*/ 533166 h 1886623"/>
                  <a:gd name="connsiteX9" fmla="*/ 6527800 w 6527800"/>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6685" h="1886623">
                    <a:moveTo>
                      <a:pt x="-1" y="1451195"/>
                    </a:moveTo>
                    <a:cubicBezTo>
                      <a:pt x="625927" y="1465104"/>
                      <a:pt x="334432" y="891789"/>
                      <a:pt x="464456" y="877880"/>
                    </a:cubicBezTo>
                    <a:cubicBezTo>
                      <a:pt x="594480" y="863971"/>
                      <a:pt x="661609" y="1513486"/>
                      <a:pt x="780142" y="1367738"/>
                    </a:cubicBezTo>
                    <a:cubicBezTo>
                      <a:pt x="898675" y="1221991"/>
                      <a:pt x="1044423" y="71128"/>
                      <a:pt x="1175656" y="3395"/>
                    </a:cubicBezTo>
                    <a:cubicBezTo>
                      <a:pt x="1306889" y="-64338"/>
                      <a:pt x="1453847" y="903281"/>
                      <a:pt x="1567542" y="961338"/>
                    </a:cubicBezTo>
                    <a:cubicBezTo>
                      <a:pt x="1681237" y="1019395"/>
                      <a:pt x="1736271" y="263443"/>
                      <a:pt x="1857828" y="351738"/>
                    </a:cubicBezTo>
                    <a:cubicBezTo>
                      <a:pt x="1979385" y="440033"/>
                      <a:pt x="2142671" y="1460871"/>
                      <a:pt x="2296885" y="1491109"/>
                    </a:cubicBezTo>
                    <a:cubicBezTo>
                      <a:pt x="2451099" y="1521347"/>
                      <a:pt x="2626480" y="467247"/>
                      <a:pt x="2783113" y="533166"/>
                    </a:cubicBezTo>
                    <a:cubicBezTo>
                      <a:pt x="2939746" y="599085"/>
                      <a:pt x="3088215" y="1242854"/>
                      <a:pt x="3236685"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2" name="Freeform: Shape 171"/>
              <p:cNvSpPr/>
              <p:nvPr/>
            </p:nvSpPr>
            <p:spPr>
              <a:xfrm>
                <a:off x="4038601" y="6633271"/>
                <a:ext cx="2456542"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1 w 4996544"/>
                  <a:gd name="connsiteY0" fmla="*/ -2 h 2282369"/>
                  <a:gd name="connsiteX1" fmla="*/ 609601 w 4996544"/>
                  <a:gd name="connsiteY1" fmla="*/ 1897741 h 2282369"/>
                  <a:gd name="connsiteX2" fmla="*/ 1273630 w 4996544"/>
                  <a:gd name="connsiteY2" fmla="*/ 801912 h 2282369"/>
                  <a:gd name="connsiteX3" fmla="*/ 1759858 w 4996544"/>
                  <a:gd name="connsiteY3" fmla="*/ 1846941 h 2282369"/>
                  <a:gd name="connsiteX4" fmla="*/ 2224315 w 4996544"/>
                  <a:gd name="connsiteY4" fmla="*/ 1273626 h 2282369"/>
                  <a:gd name="connsiteX5" fmla="*/ 2540001 w 4996544"/>
                  <a:gd name="connsiteY5" fmla="*/ 1763484 h 2282369"/>
                  <a:gd name="connsiteX6" fmla="*/ 2935515 w 4996544"/>
                  <a:gd name="connsiteY6" fmla="*/ 399141 h 2282369"/>
                  <a:gd name="connsiteX7" fmla="*/ 3327401 w 4996544"/>
                  <a:gd name="connsiteY7" fmla="*/ 1357084 h 2282369"/>
                  <a:gd name="connsiteX8" fmla="*/ 3617687 w 4996544"/>
                  <a:gd name="connsiteY8" fmla="*/ 747484 h 2282369"/>
                  <a:gd name="connsiteX9" fmla="*/ 4056744 w 4996544"/>
                  <a:gd name="connsiteY9" fmla="*/ 1886855 h 2282369"/>
                  <a:gd name="connsiteX10" fmla="*/ 4542972 w 4996544"/>
                  <a:gd name="connsiteY10" fmla="*/ 928912 h 2282369"/>
                  <a:gd name="connsiteX11" fmla="*/ 4996544 w 4996544"/>
                  <a:gd name="connsiteY11" fmla="*/ 2282369 h 2282369"/>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 name="connsiteX0" fmla="*/ 1 w 3722915"/>
                  <a:gd name="connsiteY0" fmla="*/ 406166 h 1886623"/>
                  <a:gd name="connsiteX1" fmla="*/ 486229 w 3722915"/>
                  <a:gd name="connsiteY1" fmla="*/ 1451195 h 1886623"/>
                  <a:gd name="connsiteX2" fmla="*/ 950686 w 3722915"/>
                  <a:gd name="connsiteY2" fmla="*/ 877880 h 1886623"/>
                  <a:gd name="connsiteX3" fmla="*/ 1266372 w 3722915"/>
                  <a:gd name="connsiteY3" fmla="*/ 1367738 h 1886623"/>
                  <a:gd name="connsiteX4" fmla="*/ 1661886 w 3722915"/>
                  <a:gd name="connsiteY4" fmla="*/ 3395 h 1886623"/>
                  <a:gd name="connsiteX5" fmla="*/ 2053772 w 3722915"/>
                  <a:gd name="connsiteY5" fmla="*/ 961338 h 1886623"/>
                  <a:gd name="connsiteX6" fmla="*/ 2344058 w 3722915"/>
                  <a:gd name="connsiteY6" fmla="*/ 351738 h 1886623"/>
                  <a:gd name="connsiteX7" fmla="*/ 2783115 w 3722915"/>
                  <a:gd name="connsiteY7" fmla="*/ 1491109 h 1886623"/>
                  <a:gd name="connsiteX8" fmla="*/ 3269343 w 3722915"/>
                  <a:gd name="connsiteY8" fmla="*/ 533166 h 1886623"/>
                  <a:gd name="connsiteX9" fmla="*/ 3722915 w 3722915"/>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 name="connsiteX0" fmla="*/ 0 w 2772229"/>
                  <a:gd name="connsiteY0" fmla="*/ 877880 h 1886623"/>
                  <a:gd name="connsiteX1" fmla="*/ 315686 w 2772229"/>
                  <a:gd name="connsiteY1" fmla="*/ 1367738 h 1886623"/>
                  <a:gd name="connsiteX2" fmla="*/ 711200 w 2772229"/>
                  <a:gd name="connsiteY2" fmla="*/ 3395 h 1886623"/>
                  <a:gd name="connsiteX3" fmla="*/ 1103086 w 2772229"/>
                  <a:gd name="connsiteY3" fmla="*/ 961338 h 1886623"/>
                  <a:gd name="connsiteX4" fmla="*/ 1393372 w 2772229"/>
                  <a:gd name="connsiteY4" fmla="*/ 351738 h 1886623"/>
                  <a:gd name="connsiteX5" fmla="*/ 1832429 w 2772229"/>
                  <a:gd name="connsiteY5" fmla="*/ 1491109 h 1886623"/>
                  <a:gd name="connsiteX6" fmla="*/ 2318657 w 2772229"/>
                  <a:gd name="connsiteY6" fmla="*/ 533166 h 1886623"/>
                  <a:gd name="connsiteX7" fmla="*/ 2772229 w 2772229"/>
                  <a:gd name="connsiteY7" fmla="*/ 1886623 h 1886623"/>
                  <a:gd name="connsiteX0" fmla="*/ 0 w 2456543"/>
                  <a:gd name="connsiteY0" fmla="*/ 1367738 h 1886623"/>
                  <a:gd name="connsiteX1" fmla="*/ 395514 w 2456543"/>
                  <a:gd name="connsiteY1" fmla="*/ 3395 h 1886623"/>
                  <a:gd name="connsiteX2" fmla="*/ 787400 w 2456543"/>
                  <a:gd name="connsiteY2" fmla="*/ 961338 h 1886623"/>
                  <a:gd name="connsiteX3" fmla="*/ 1077686 w 2456543"/>
                  <a:gd name="connsiteY3" fmla="*/ 351738 h 1886623"/>
                  <a:gd name="connsiteX4" fmla="*/ 1516743 w 2456543"/>
                  <a:gd name="connsiteY4" fmla="*/ 1491109 h 1886623"/>
                  <a:gd name="connsiteX5" fmla="*/ 2002971 w 2456543"/>
                  <a:gd name="connsiteY5" fmla="*/ 533166 h 1886623"/>
                  <a:gd name="connsiteX6" fmla="*/ 2456543 w 2456543"/>
                  <a:gd name="connsiteY6"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6543" h="1886623">
                    <a:moveTo>
                      <a:pt x="0" y="1367738"/>
                    </a:moveTo>
                    <a:cubicBezTo>
                      <a:pt x="118533" y="1221991"/>
                      <a:pt x="264281" y="71128"/>
                      <a:pt x="395514" y="3395"/>
                    </a:cubicBezTo>
                    <a:cubicBezTo>
                      <a:pt x="526747" y="-64338"/>
                      <a:pt x="673705" y="903281"/>
                      <a:pt x="787400" y="961338"/>
                    </a:cubicBezTo>
                    <a:cubicBezTo>
                      <a:pt x="901095" y="1019395"/>
                      <a:pt x="956129" y="263443"/>
                      <a:pt x="1077686" y="351738"/>
                    </a:cubicBezTo>
                    <a:cubicBezTo>
                      <a:pt x="1199243" y="440033"/>
                      <a:pt x="1362529" y="1460871"/>
                      <a:pt x="1516743" y="1491109"/>
                    </a:cubicBezTo>
                    <a:cubicBezTo>
                      <a:pt x="1670957" y="1521347"/>
                      <a:pt x="1846338" y="467247"/>
                      <a:pt x="2002971" y="533166"/>
                    </a:cubicBezTo>
                    <a:cubicBezTo>
                      <a:pt x="2159604" y="599085"/>
                      <a:pt x="2308073" y="1242854"/>
                      <a:pt x="2456543"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nvGrpSpPr>
          <p:cNvPr id="106" name="Group 105"/>
          <p:cNvGrpSpPr/>
          <p:nvPr userDrawn="1"/>
        </p:nvGrpSpPr>
        <p:grpSpPr>
          <a:xfrm>
            <a:off x="1476696" y="1517163"/>
            <a:ext cx="3599025" cy="1100078"/>
            <a:chOff x="5756093" y="2301512"/>
            <a:chExt cx="3899073" cy="1191791"/>
          </a:xfrm>
          <a:solidFill>
            <a:schemeClr val="bg1">
              <a:alpha val="30000"/>
            </a:schemeClr>
          </a:solidFill>
        </p:grpSpPr>
        <p:sp>
          <p:nvSpPr>
            <p:cNvPr id="107" name="Oval 106"/>
            <p:cNvSpPr/>
            <p:nvPr/>
          </p:nvSpPr>
          <p:spPr>
            <a:xfrm>
              <a:off x="8266386" y="2347545"/>
              <a:ext cx="254716" cy="254716"/>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Oval 107"/>
            <p:cNvSpPr/>
            <p:nvPr/>
          </p:nvSpPr>
          <p:spPr>
            <a:xfrm>
              <a:off x="6326273" y="2776652"/>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Oval 108"/>
            <p:cNvSpPr/>
            <p:nvPr/>
          </p:nvSpPr>
          <p:spPr>
            <a:xfrm>
              <a:off x="7275317" y="256960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0" name="Oval 109"/>
            <p:cNvSpPr/>
            <p:nvPr/>
          </p:nvSpPr>
          <p:spPr>
            <a:xfrm>
              <a:off x="6676654" y="2855918"/>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Oval 110"/>
            <p:cNvSpPr/>
            <p:nvPr/>
          </p:nvSpPr>
          <p:spPr>
            <a:xfrm>
              <a:off x="7021860" y="276232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Oval 111"/>
            <p:cNvSpPr/>
            <p:nvPr/>
          </p:nvSpPr>
          <p:spPr>
            <a:xfrm>
              <a:off x="9150042" y="311374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3" name="Oval 112"/>
            <p:cNvSpPr/>
            <p:nvPr/>
          </p:nvSpPr>
          <p:spPr>
            <a:xfrm>
              <a:off x="7521113" y="240907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Oval 113"/>
            <p:cNvSpPr/>
            <p:nvPr/>
          </p:nvSpPr>
          <p:spPr>
            <a:xfrm>
              <a:off x="8821654" y="2895644"/>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Oval 114"/>
            <p:cNvSpPr/>
            <p:nvPr/>
          </p:nvSpPr>
          <p:spPr>
            <a:xfrm>
              <a:off x="7911267" y="2301512"/>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Oval 115"/>
            <p:cNvSpPr/>
            <p:nvPr/>
          </p:nvSpPr>
          <p:spPr>
            <a:xfrm>
              <a:off x="8622432" y="2646039"/>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Oval 116"/>
            <p:cNvSpPr/>
            <p:nvPr/>
          </p:nvSpPr>
          <p:spPr>
            <a:xfrm>
              <a:off x="6046050" y="269839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8" name="Oval 117"/>
            <p:cNvSpPr/>
            <p:nvPr/>
          </p:nvSpPr>
          <p:spPr>
            <a:xfrm>
              <a:off x="5756093" y="276885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9" name="Oval 118"/>
            <p:cNvSpPr/>
            <p:nvPr/>
          </p:nvSpPr>
          <p:spPr>
            <a:xfrm>
              <a:off x="9364414" y="3258175"/>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0" name="Oval 119"/>
            <p:cNvSpPr/>
            <p:nvPr/>
          </p:nvSpPr>
          <p:spPr>
            <a:xfrm>
              <a:off x="9609447" y="3447584"/>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2" name="Group 1"/>
          <p:cNvGrpSpPr/>
          <p:nvPr userDrawn="1"/>
        </p:nvGrpSpPr>
        <p:grpSpPr>
          <a:xfrm>
            <a:off x="-814611" y="4052582"/>
            <a:ext cx="4604401" cy="3537327"/>
            <a:chOff x="-814611" y="4052582"/>
            <a:chExt cx="4604401" cy="3537327"/>
          </a:xfrm>
        </p:grpSpPr>
        <p:sp>
          <p:nvSpPr>
            <p:cNvPr id="122" name="Freeform: Shape 121"/>
            <p:cNvSpPr/>
            <p:nvPr/>
          </p:nvSpPr>
          <p:spPr>
            <a:xfrm rot="6340721">
              <a:off x="730446" y="309333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3" name="Group 122"/>
            <p:cNvGrpSpPr/>
            <p:nvPr/>
          </p:nvGrpSpPr>
          <p:grpSpPr>
            <a:xfrm rot="4480905">
              <a:off x="-94312" y="3705806"/>
              <a:ext cx="3163804" cy="4604401"/>
              <a:chOff x="9659552" y="2944459"/>
              <a:chExt cx="3163804" cy="4604401"/>
            </a:xfrm>
          </p:grpSpPr>
          <p:sp>
            <p:nvSpPr>
              <p:cNvPr id="124" name="Oval 123"/>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5" name="Group 124"/>
              <p:cNvGrpSpPr/>
              <p:nvPr/>
            </p:nvGrpSpPr>
            <p:grpSpPr>
              <a:xfrm>
                <a:off x="10171356" y="3779500"/>
                <a:ext cx="468086" cy="468086"/>
                <a:chOff x="3766458" y="4912364"/>
                <a:chExt cx="468086" cy="468086"/>
              </a:xfrm>
            </p:grpSpPr>
            <p:sp>
              <p:nvSpPr>
                <p:cNvPr id="149" name="Oval 148"/>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0" name="Oval 149"/>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1" name="Oval 150"/>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26" name="Oval 125"/>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7" name="Oval 126"/>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8" name="Oval 127"/>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9" name="Oval 128"/>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0" name="Oval 129"/>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1" name="Oval 130"/>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2" name="Oval 131"/>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3" name="Freeform: Shape 132"/>
              <p:cNvSpPr/>
              <p:nvPr/>
            </p:nvSpPr>
            <p:spPr>
              <a:xfrm rot="1859816">
                <a:off x="9942109" y="3114447"/>
                <a:ext cx="1657518" cy="3705100"/>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417" h="3497943">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cubicBezTo>
                      <a:pt x="1078002" y="3406624"/>
                      <a:pt x="1217702" y="3452283"/>
                      <a:pt x="1357402" y="3497943"/>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34" name="Group 133"/>
              <p:cNvGrpSpPr/>
              <p:nvPr/>
            </p:nvGrpSpPr>
            <p:grpSpPr>
              <a:xfrm>
                <a:off x="9659552" y="6255370"/>
                <a:ext cx="511804" cy="511804"/>
                <a:chOff x="3766458" y="4912364"/>
                <a:chExt cx="468086" cy="468086"/>
              </a:xfrm>
            </p:grpSpPr>
            <p:sp>
              <p:nvSpPr>
                <p:cNvPr id="146" name="Oval 145"/>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7" name="Oval 146"/>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8" name="Oval 14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35" name="Oval 134"/>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36" name="Group 135"/>
              <p:cNvGrpSpPr/>
              <p:nvPr/>
            </p:nvGrpSpPr>
            <p:grpSpPr>
              <a:xfrm rot="18900000" flipH="1">
                <a:off x="9997674" y="4364464"/>
                <a:ext cx="1590444" cy="3184396"/>
                <a:chOff x="1113971" y="3497757"/>
                <a:chExt cx="1150258" cy="3142530"/>
              </a:xfrm>
            </p:grpSpPr>
            <p:sp>
              <p:nvSpPr>
                <p:cNvPr id="142" name="Freeform: Shape 14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3" name="Freeform: Shape 14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4" name="Freeform: Shape 14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5" name="Freeform: Shape 14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37" name="Group 136"/>
              <p:cNvGrpSpPr/>
              <p:nvPr/>
            </p:nvGrpSpPr>
            <p:grpSpPr>
              <a:xfrm rot="7200000" flipH="1" flipV="1">
                <a:off x="10907040" y="2618587"/>
                <a:ext cx="1590444" cy="2242188"/>
                <a:chOff x="1113971" y="3497757"/>
                <a:chExt cx="1150258" cy="3142530"/>
              </a:xfrm>
            </p:grpSpPr>
            <p:sp>
              <p:nvSpPr>
                <p:cNvPr id="138" name="Freeform: Shape 137"/>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9" name="Freeform: Shape 138"/>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0" name="Freeform: Shape 139"/>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1" name="Freeform: Shape 140"/>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sp>
        <p:nvSpPr>
          <p:cNvPr id="163" name="Rectangle 162"/>
          <p:cNvSpPr/>
          <p:nvPr userDrawn="1"/>
        </p:nvSpPr>
        <p:spPr>
          <a:xfrm>
            <a:off x="0" y="0"/>
            <a:ext cx="12192000" cy="6858000"/>
          </a:xfrm>
          <a:prstGeom prst="rect">
            <a:avLst/>
          </a:prstGeom>
          <a:gradFill>
            <a:gsLst>
              <a:gs pos="0">
                <a:srgbClr val="002050">
                  <a:alpha val="60000"/>
                </a:srgbClr>
              </a:gs>
              <a:gs pos="100000">
                <a:srgbClr val="00205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165" name="Title 1"/>
          <p:cNvSpPr>
            <a:spLocks noGrp="1"/>
          </p:cNvSpPr>
          <p:nvPr userDrawn="1">
            <p:ph type="title"/>
          </p:nvPr>
        </p:nvSpPr>
        <p:spPr>
          <a:xfrm>
            <a:off x="721169" y="840304"/>
            <a:ext cx="9393363" cy="3424745"/>
          </a:xfrm>
        </p:spPr>
        <p:txBody>
          <a:bodyPr>
            <a:noAutofit/>
          </a:bodyPr>
          <a:lstStyle>
            <a:lvl1pPr>
              <a:defRPr sz="6000"/>
            </a:lvl1pPr>
          </a:lstStyle>
          <a:p>
            <a:r>
              <a:rPr lang="en-US" dirty="0"/>
              <a:t>Click to edit Master title style</a:t>
            </a:r>
          </a:p>
        </p:txBody>
      </p:sp>
    </p:spTree>
    <p:extLst>
      <p:ext uri="{BB962C8B-B14F-4D97-AF65-F5344CB8AC3E}">
        <p14:creationId xmlns:p14="http://schemas.microsoft.com/office/powerpoint/2010/main" val="40670988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bg>
      <p:bgPr>
        <a:blipFill dpi="0" rotWithShape="1">
          <a:blip r:embed="rId4">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4" name="Group 3"/>
          <p:cNvGrpSpPr/>
          <p:nvPr userDrawn="1"/>
        </p:nvGrpSpPr>
        <p:grpSpPr>
          <a:xfrm rot="5400000">
            <a:off x="-1985378" y="1811202"/>
            <a:ext cx="6108339" cy="2485929"/>
            <a:chOff x="-32657" y="4691730"/>
            <a:chExt cx="6625100" cy="2804185"/>
          </a:xfrm>
        </p:grpSpPr>
        <p:sp>
          <p:nvSpPr>
            <p:cNvPr id="5" name="Freeform: Shape 4"/>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Shape 5"/>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Freeform: Shape 6"/>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Freeform: Shape 7"/>
            <p:cNvSpPr/>
            <p:nvPr/>
          </p:nvSpPr>
          <p:spPr>
            <a:xfrm>
              <a:off x="-32657" y="6452313"/>
              <a:ext cx="6527800" cy="10436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9" name="Group 8"/>
          <p:cNvGrpSpPr/>
          <p:nvPr userDrawn="1"/>
        </p:nvGrpSpPr>
        <p:grpSpPr>
          <a:xfrm rot="5400000">
            <a:off x="1259186" y="-1691281"/>
            <a:ext cx="1150258" cy="4399565"/>
            <a:chOff x="1113971" y="3497757"/>
            <a:chExt cx="1150258" cy="3142530"/>
          </a:xfrm>
        </p:grpSpPr>
        <p:sp>
          <p:nvSpPr>
            <p:cNvPr id="10" name="Freeform: Shape 9"/>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Freeform: Shape 11"/>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Freeform: Shape 12"/>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Freeform: Shape 13"/>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5" name="Group 14"/>
          <p:cNvGrpSpPr/>
          <p:nvPr userDrawn="1"/>
        </p:nvGrpSpPr>
        <p:grpSpPr>
          <a:xfrm>
            <a:off x="3897769" y="511147"/>
            <a:ext cx="274262" cy="274262"/>
            <a:chOff x="3766458" y="4912364"/>
            <a:chExt cx="468086" cy="468086"/>
          </a:xfrm>
        </p:grpSpPr>
        <p:sp>
          <p:nvSpPr>
            <p:cNvPr id="16" name="Oval 15"/>
            <p:cNvSpPr/>
            <p:nvPr/>
          </p:nvSpPr>
          <p:spPr>
            <a:xfrm>
              <a:off x="3766458" y="4912364"/>
              <a:ext cx="468086" cy="468086"/>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Oval 16"/>
            <p:cNvSpPr/>
            <p:nvPr/>
          </p:nvSpPr>
          <p:spPr>
            <a:xfrm>
              <a:off x="3860079" y="5005985"/>
              <a:ext cx="280844" cy="280844"/>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9" name="Group 18"/>
          <p:cNvGrpSpPr/>
          <p:nvPr userDrawn="1"/>
        </p:nvGrpSpPr>
        <p:grpSpPr>
          <a:xfrm flipH="1">
            <a:off x="5387922" y="2675606"/>
            <a:ext cx="6879800" cy="3485708"/>
            <a:chOff x="2661557" y="1008743"/>
            <a:chExt cx="6025243" cy="1848757"/>
          </a:xfrm>
        </p:grpSpPr>
        <p:sp>
          <p:nvSpPr>
            <p:cNvPr id="20" name="Freeform: Shape 19"/>
            <p:cNvSpPr/>
            <p:nvPr/>
          </p:nvSpPr>
          <p:spPr>
            <a:xfrm>
              <a:off x="2661557" y="1008743"/>
              <a:ext cx="6025243" cy="12391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Freeform: Shape 20"/>
            <p:cNvSpPr/>
            <p:nvPr/>
          </p:nvSpPr>
          <p:spPr>
            <a:xfrm>
              <a:off x="2661557" y="1008743"/>
              <a:ext cx="6025243" cy="13915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Freeform: Shape 21"/>
            <p:cNvSpPr/>
            <p:nvPr/>
          </p:nvSpPr>
          <p:spPr>
            <a:xfrm>
              <a:off x="2661557" y="1008743"/>
              <a:ext cx="6025243" cy="15439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Freeform: Shape 22"/>
            <p:cNvSpPr/>
            <p:nvPr/>
          </p:nvSpPr>
          <p:spPr>
            <a:xfrm>
              <a:off x="2661557" y="1008743"/>
              <a:ext cx="6025243" cy="16963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Freeform: Shape 23"/>
            <p:cNvSpPr/>
            <p:nvPr/>
          </p:nvSpPr>
          <p:spPr>
            <a:xfrm>
              <a:off x="2661557" y="1008743"/>
              <a:ext cx="6025243" cy="18487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25" name="Group 24"/>
          <p:cNvGrpSpPr/>
          <p:nvPr userDrawn="1"/>
        </p:nvGrpSpPr>
        <p:grpSpPr>
          <a:xfrm>
            <a:off x="5161680" y="2470138"/>
            <a:ext cx="468086" cy="468086"/>
            <a:chOff x="3766458" y="4912364"/>
            <a:chExt cx="468086" cy="468086"/>
          </a:xfrm>
        </p:grpSpPr>
        <p:sp>
          <p:nvSpPr>
            <p:cNvPr id="26" name="Oval 25"/>
            <p:cNvSpPr/>
            <p:nvPr/>
          </p:nvSpPr>
          <p:spPr>
            <a:xfrm>
              <a:off x="3766458" y="4912364"/>
              <a:ext cx="468086" cy="468086"/>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Oval 26"/>
            <p:cNvSpPr/>
            <p:nvPr/>
          </p:nvSpPr>
          <p:spPr>
            <a:xfrm>
              <a:off x="3860079" y="5005985"/>
              <a:ext cx="280844" cy="280844"/>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Oval 27"/>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29" name="Group 28"/>
          <p:cNvGrpSpPr/>
          <p:nvPr userDrawn="1"/>
        </p:nvGrpSpPr>
        <p:grpSpPr>
          <a:xfrm rot="19175348" flipH="1">
            <a:off x="4554593" y="364683"/>
            <a:ext cx="3645245" cy="1320522"/>
            <a:chOff x="5347225" y="-195944"/>
            <a:chExt cx="3320143" cy="727076"/>
          </a:xfrm>
        </p:grpSpPr>
        <p:sp>
          <p:nvSpPr>
            <p:cNvPr id="30" name="Freeform: Shape 29"/>
            <p:cNvSpPr/>
            <p:nvPr/>
          </p:nvSpPr>
          <p:spPr>
            <a:xfrm flipV="1">
              <a:off x="5347225" y="261256"/>
              <a:ext cx="3320143" cy="2698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Freeform: Shape 30"/>
            <p:cNvSpPr/>
            <p:nvPr/>
          </p:nvSpPr>
          <p:spPr>
            <a:xfrm flipV="1">
              <a:off x="5347225" y="108856"/>
              <a:ext cx="3320143" cy="4222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Freeform: Shape 31"/>
            <p:cNvSpPr/>
            <p:nvPr/>
          </p:nvSpPr>
          <p:spPr>
            <a:xfrm flipV="1">
              <a:off x="5347225" y="-43544"/>
              <a:ext cx="3320143" cy="5746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Freeform: Shape 32"/>
            <p:cNvSpPr/>
            <p:nvPr/>
          </p:nvSpPr>
          <p:spPr>
            <a:xfrm flipV="1">
              <a:off x="5347225" y="-195944"/>
              <a:ext cx="3320143" cy="7270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4" name="Oval 33"/>
          <p:cNvSpPr/>
          <p:nvPr userDrawn="1"/>
        </p:nvSpPr>
        <p:spPr>
          <a:xfrm>
            <a:off x="1879902" y="5994991"/>
            <a:ext cx="79452" cy="7945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Oval 34"/>
          <p:cNvSpPr/>
          <p:nvPr userDrawn="1"/>
        </p:nvSpPr>
        <p:spPr>
          <a:xfrm>
            <a:off x="6371462" y="5806091"/>
            <a:ext cx="79452" cy="7945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Oval 35"/>
          <p:cNvSpPr/>
          <p:nvPr userDrawn="1"/>
        </p:nvSpPr>
        <p:spPr>
          <a:xfrm>
            <a:off x="1836477" y="3344497"/>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Oval 36"/>
          <p:cNvSpPr/>
          <p:nvPr userDrawn="1"/>
        </p:nvSpPr>
        <p:spPr>
          <a:xfrm>
            <a:off x="871870" y="6104511"/>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Oval 37"/>
          <p:cNvSpPr/>
          <p:nvPr userDrawn="1"/>
        </p:nvSpPr>
        <p:spPr>
          <a:xfrm>
            <a:off x="1381204" y="3209301"/>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Oval 38"/>
          <p:cNvSpPr/>
          <p:nvPr userDrawn="1"/>
        </p:nvSpPr>
        <p:spPr>
          <a:xfrm>
            <a:off x="1577329" y="738421"/>
            <a:ext cx="69136" cy="6913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Oval 39"/>
          <p:cNvSpPr/>
          <p:nvPr userDrawn="1"/>
        </p:nvSpPr>
        <p:spPr>
          <a:xfrm>
            <a:off x="1049169" y="6443418"/>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Oval 40"/>
          <p:cNvSpPr/>
          <p:nvPr userDrawn="1"/>
        </p:nvSpPr>
        <p:spPr>
          <a:xfrm>
            <a:off x="1790999" y="2788038"/>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Oval 41"/>
          <p:cNvSpPr/>
          <p:nvPr userDrawn="1"/>
        </p:nvSpPr>
        <p:spPr>
          <a:xfrm>
            <a:off x="3048815" y="2896665"/>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43" name="Group 42"/>
          <p:cNvGrpSpPr/>
          <p:nvPr userDrawn="1"/>
        </p:nvGrpSpPr>
        <p:grpSpPr>
          <a:xfrm rot="5400000">
            <a:off x="-2095598" y="1716892"/>
            <a:ext cx="5147155" cy="1686894"/>
            <a:chOff x="-32657" y="4691730"/>
            <a:chExt cx="6625100" cy="2804185"/>
          </a:xfrm>
        </p:grpSpPr>
        <p:sp>
          <p:nvSpPr>
            <p:cNvPr id="44" name="Freeform: Shape 43"/>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Freeform: Shape 44"/>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Freeform: Shape 45"/>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Freeform: Shape 46"/>
            <p:cNvSpPr/>
            <p:nvPr/>
          </p:nvSpPr>
          <p:spPr>
            <a:xfrm>
              <a:off x="732971" y="6452314"/>
              <a:ext cx="5762172" cy="1043601"/>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62172" h="2282384">
                  <a:moveTo>
                    <a:pt x="0" y="1865099"/>
                  </a:moveTo>
                  <a:cubicBezTo>
                    <a:pt x="255209" y="1666737"/>
                    <a:pt x="536424" y="-5430"/>
                    <a:pt x="765629" y="13"/>
                  </a:cubicBezTo>
                  <a:cubicBezTo>
                    <a:pt x="994834" y="5456"/>
                    <a:pt x="1162957" y="1764104"/>
                    <a:pt x="1375229" y="1897756"/>
                  </a:cubicBezTo>
                  <a:cubicBezTo>
                    <a:pt x="1587501" y="2031408"/>
                    <a:pt x="1847549" y="810394"/>
                    <a:pt x="2039258" y="801927"/>
                  </a:cubicBezTo>
                  <a:cubicBezTo>
                    <a:pt x="2230967" y="793460"/>
                    <a:pt x="2367039" y="1768337"/>
                    <a:pt x="2525486" y="1846956"/>
                  </a:cubicBezTo>
                  <a:cubicBezTo>
                    <a:pt x="2683933" y="1925575"/>
                    <a:pt x="2859919" y="1287550"/>
                    <a:pt x="2989943" y="1273641"/>
                  </a:cubicBezTo>
                  <a:cubicBezTo>
                    <a:pt x="3119967" y="1259732"/>
                    <a:pt x="3187096" y="1909247"/>
                    <a:pt x="3305629" y="1763499"/>
                  </a:cubicBezTo>
                  <a:cubicBezTo>
                    <a:pt x="3424162" y="1617752"/>
                    <a:pt x="3569910" y="466889"/>
                    <a:pt x="3701143" y="399156"/>
                  </a:cubicBezTo>
                  <a:cubicBezTo>
                    <a:pt x="3832376" y="331423"/>
                    <a:pt x="3979334" y="1299042"/>
                    <a:pt x="4093029" y="1357099"/>
                  </a:cubicBezTo>
                  <a:cubicBezTo>
                    <a:pt x="4206724" y="1415156"/>
                    <a:pt x="4261758" y="659204"/>
                    <a:pt x="4383315" y="747499"/>
                  </a:cubicBezTo>
                  <a:cubicBezTo>
                    <a:pt x="4504872" y="835794"/>
                    <a:pt x="4668158" y="1856632"/>
                    <a:pt x="4822372" y="1886870"/>
                  </a:cubicBezTo>
                  <a:cubicBezTo>
                    <a:pt x="4976586" y="1917108"/>
                    <a:pt x="5151967" y="863008"/>
                    <a:pt x="5308600" y="928927"/>
                  </a:cubicBezTo>
                  <a:cubicBezTo>
                    <a:pt x="5465233" y="994846"/>
                    <a:pt x="5613702" y="1638615"/>
                    <a:pt x="5762172"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48" name="Group 47"/>
          <p:cNvGrpSpPr/>
          <p:nvPr userDrawn="1"/>
        </p:nvGrpSpPr>
        <p:grpSpPr>
          <a:xfrm rot="4500000">
            <a:off x="733515" y="1543528"/>
            <a:ext cx="1392007" cy="3437532"/>
            <a:chOff x="1113971" y="3497757"/>
            <a:chExt cx="1150258" cy="3142530"/>
          </a:xfrm>
        </p:grpSpPr>
        <p:sp>
          <p:nvSpPr>
            <p:cNvPr id="49" name="Freeform: Shape 48"/>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Freeform: Shape 49"/>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Freeform: Shape 50"/>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Freeform: Shape 51"/>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53" name="Group 52"/>
          <p:cNvGrpSpPr/>
          <p:nvPr userDrawn="1"/>
        </p:nvGrpSpPr>
        <p:grpSpPr>
          <a:xfrm rot="15300000" flipH="1">
            <a:off x="10722026" y="-306679"/>
            <a:ext cx="1590444" cy="2118297"/>
            <a:chOff x="1113971" y="3497757"/>
            <a:chExt cx="1150258" cy="3142530"/>
          </a:xfrm>
        </p:grpSpPr>
        <p:sp>
          <p:nvSpPr>
            <p:cNvPr id="54" name="Freeform: Shape 53"/>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Shape 54"/>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Freeform: Shape 55"/>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Freeform: Shape 56"/>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58" name="Oval 57"/>
          <p:cNvSpPr/>
          <p:nvPr userDrawn="1"/>
        </p:nvSpPr>
        <p:spPr>
          <a:xfrm>
            <a:off x="2214858" y="683335"/>
            <a:ext cx="69136" cy="6913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Oval 58"/>
          <p:cNvSpPr/>
          <p:nvPr userDrawn="1"/>
        </p:nvSpPr>
        <p:spPr>
          <a:xfrm>
            <a:off x="2648272" y="669742"/>
            <a:ext cx="51383" cy="5138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60" name="Group 59"/>
          <p:cNvGrpSpPr/>
          <p:nvPr userDrawn="1"/>
        </p:nvGrpSpPr>
        <p:grpSpPr>
          <a:xfrm>
            <a:off x="5756093" y="2301512"/>
            <a:ext cx="3899073" cy="1191791"/>
            <a:chOff x="5756093" y="2301512"/>
            <a:chExt cx="3899073" cy="1191791"/>
          </a:xfrm>
        </p:grpSpPr>
        <p:sp>
          <p:nvSpPr>
            <p:cNvPr id="61" name="Oval 60"/>
            <p:cNvSpPr/>
            <p:nvPr/>
          </p:nvSpPr>
          <p:spPr>
            <a:xfrm>
              <a:off x="8266386" y="2347545"/>
              <a:ext cx="254716" cy="254716"/>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Oval 61"/>
            <p:cNvSpPr/>
            <p:nvPr/>
          </p:nvSpPr>
          <p:spPr>
            <a:xfrm>
              <a:off x="6326273" y="2776652"/>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Oval 62"/>
            <p:cNvSpPr/>
            <p:nvPr/>
          </p:nvSpPr>
          <p:spPr>
            <a:xfrm>
              <a:off x="7275317" y="256960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Oval 63"/>
            <p:cNvSpPr/>
            <p:nvPr/>
          </p:nvSpPr>
          <p:spPr>
            <a:xfrm>
              <a:off x="6676654" y="2855918"/>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Oval 64"/>
            <p:cNvSpPr/>
            <p:nvPr/>
          </p:nvSpPr>
          <p:spPr>
            <a:xfrm>
              <a:off x="7021860" y="276232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Oval 65"/>
            <p:cNvSpPr/>
            <p:nvPr/>
          </p:nvSpPr>
          <p:spPr>
            <a:xfrm>
              <a:off x="9150042" y="311374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Oval 66"/>
            <p:cNvSpPr/>
            <p:nvPr/>
          </p:nvSpPr>
          <p:spPr>
            <a:xfrm>
              <a:off x="7521113" y="240907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Oval 67"/>
            <p:cNvSpPr/>
            <p:nvPr/>
          </p:nvSpPr>
          <p:spPr>
            <a:xfrm>
              <a:off x="8821654" y="2895644"/>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Oval 68"/>
            <p:cNvSpPr/>
            <p:nvPr/>
          </p:nvSpPr>
          <p:spPr>
            <a:xfrm>
              <a:off x="7911267" y="2301512"/>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Oval 69"/>
            <p:cNvSpPr/>
            <p:nvPr/>
          </p:nvSpPr>
          <p:spPr>
            <a:xfrm>
              <a:off x="8622432" y="2646039"/>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Oval 70"/>
            <p:cNvSpPr/>
            <p:nvPr/>
          </p:nvSpPr>
          <p:spPr>
            <a:xfrm>
              <a:off x="6046050" y="269839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Oval 71"/>
            <p:cNvSpPr/>
            <p:nvPr/>
          </p:nvSpPr>
          <p:spPr>
            <a:xfrm>
              <a:off x="5756093" y="276885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Oval 72"/>
            <p:cNvSpPr/>
            <p:nvPr/>
          </p:nvSpPr>
          <p:spPr>
            <a:xfrm>
              <a:off x="9364414" y="3258175"/>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Oval 73"/>
            <p:cNvSpPr/>
            <p:nvPr/>
          </p:nvSpPr>
          <p:spPr>
            <a:xfrm>
              <a:off x="9609447" y="3447584"/>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5" name="Group 74"/>
          <p:cNvGrpSpPr/>
          <p:nvPr userDrawn="1"/>
        </p:nvGrpSpPr>
        <p:grpSpPr>
          <a:xfrm rot="900000">
            <a:off x="9257656" y="2981058"/>
            <a:ext cx="3437832" cy="4758449"/>
            <a:chOff x="9385524" y="2790411"/>
            <a:chExt cx="3437832" cy="4758449"/>
          </a:xfrm>
        </p:grpSpPr>
        <p:sp>
          <p:nvSpPr>
            <p:cNvPr id="76" name="Freeform: Shape 75"/>
            <p:cNvSpPr/>
            <p:nvPr/>
          </p:nvSpPr>
          <p:spPr>
            <a:xfrm rot="1859816">
              <a:off x="9385524" y="279041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77" name="Group 76"/>
            <p:cNvGrpSpPr/>
            <p:nvPr/>
          </p:nvGrpSpPr>
          <p:grpSpPr>
            <a:xfrm>
              <a:off x="9659552" y="2944459"/>
              <a:ext cx="3163804" cy="4604401"/>
              <a:chOff x="9659552" y="2944459"/>
              <a:chExt cx="3163804" cy="4604401"/>
            </a:xfrm>
          </p:grpSpPr>
          <p:sp>
            <p:nvSpPr>
              <p:cNvPr id="78" name="Oval 77"/>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79" name="Group 78"/>
              <p:cNvGrpSpPr/>
              <p:nvPr/>
            </p:nvGrpSpPr>
            <p:grpSpPr>
              <a:xfrm>
                <a:off x="10171356" y="3779500"/>
                <a:ext cx="468086" cy="468086"/>
                <a:chOff x="3766458" y="4912364"/>
                <a:chExt cx="468086" cy="468086"/>
              </a:xfrm>
            </p:grpSpPr>
            <p:sp>
              <p:nvSpPr>
                <p:cNvPr id="103" name="Oval 102"/>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4" name="Oval 103"/>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Oval 104"/>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0" name="Oval 79"/>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Oval 80"/>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Oval 81"/>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Oval 82"/>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Oval 83"/>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Oval 84"/>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Oval 85"/>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Freeform: Shape 86"/>
              <p:cNvSpPr/>
              <p:nvPr/>
            </p:nvSpPr>
            <p:spPr>
              <a:xfrm rot="1859816">
                <a:off x="9942109" y="3114447"/>
                <a:ext cx="1657518" cy="3705100"/>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417" h="3497943">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cubicBezTo>
                      <a:pt x="1078002" y="3406624"/>
                      <a:pt x="1217702" y="3452283"/>
                      <a:pt x="1357402" y="3497943"/>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88" name="Group 87"/>
              <p:cNvGrpSpPr/>
              <p:nvPr/>
            </p:nvGrpSpPr>
            <p:grpSpPr>
              <a:xfrm>
                <a:off x="9659552" y="6255370"/>
                <a:ext cx="511804" cy="511804"/>
                <a:chOff x="3766458" y="4912364"/>
                <a:chExt cx="468086" cy="468086"/>
              </a:xfrm>
            </p:grpSpPr>
            <p:sp>
              <p:nvSpPr>
                <p:cNvPr id="100" name="Oval 99"/>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Oval 100"/>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Oval 101"/>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9" name="Oval 88"/>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0" name="Group 89"/>
              <p:cNvGrpSpPr/>
              <p:nvPr/>
            </p:nvGrpSpPr>
            <p:grpSpPr>
              <a:xfrm rot="18900000" flipH="1">
                <a:off x="9997674" y="4364464"/>
                <a:ext cx="1590444" cy="3184396"/>
                <a:chOff x="1113971" y="3497757"/>
                <a:chExt cx="1150258" cy="3142530"/>
              </a:xfrm>
            </p:grpSpPr>
            <p:sp>
              <p:nvSpPr>
                <p:cNvPr id="96" name="Freeform: Shape 95"/>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Freeform: Shape 96"/>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Freeform: Shape 97"/>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Shape 98"/>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91" name="Group 90"/>
              <p:cNvGrpSpPr/>
              <p:nvPr/>
            </p:nvGrpSpPr>
            <p:grpSpPr>
              <a:xfrm rot="7200000" flipH="1" flipV="1">
                <a:off x="10907040" y="2618587"/>
                <a:ext cx="1590444" cy="2242188"/>
                <a:chOff x="1113971" y="3497757"/>
                <a:chExt cx="1150258" cy="3142530"/>
              </a:xfrm>
            </p:grpSpPr>
            <p:sp>
              <p:nvSpPr>
                <p:cNvPr id="92" name="Freeform: Shape 9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3" name="Freeform: Shape 9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4" name="Freeform: Shape 9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Freeform: Shape 9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grpSp>
        <p:nvGrpSpPr>
          <p:cNvPr id="106" name="Group 105"/>
          <p:cNvGrpSpPr/>
          <p:nvPr userDrawn="1"/>
        </p:nvGrpSpPr>
        <p:grpSpPr>
          <a:xfrm>
            <a:off x="1476696" y="1517163"/>
            <a:ext cx="3599025" cy="1100078"/>
            <a:chOff x="5756093" y="2301512"/>
            <a:chExt cx="3899073" cy="1191791"/>
          </a:xfrm>
          <a:solidFill>
            <a:schemeClr val="bg1">
              <a:alpha val="30000"/>
            </a:schemeClr>
          </a:solidFill>
        </p:grpSpPr>
        <p:sp>
          <p:nvSpPr>
            <p:cNvPr id="107" name="Oval 106"/>
            <p:cNvSpPr/>
            <p:nvPr/>
          </p:nvSpPr>
          <p:spPr>
            <a:xfrm>
              <a:off x="8266386" y="2347545"/>
              <a:ext cx="254716" cy="254716"/>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Oval 107"/>
            <p:cNvSpPr/>
            <p:nvPr/>
          </p:nvSpPr>
          <p:spPr>
            <a:xfrm>
              <a:off x="6326273" y="2776652"/>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Oval 108"/>
            <p:cNvSpPr/>
            <p:nvPr/>
          </p:nvSpPr>
          <p:spPr>
            <a:xfrm>
              <a:off x="7275317" y="256960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0" name="Oval 109"/>
            <p:cNvSpPr/>
            <p:nvPr/>
          </p:nvSpPr>
          <p:spPr>
            <a:xfrm>
              <a:off x="6676654" y="2855918"/>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Oval 110"/>
            <p:cNvSpPr/>
            <p:nvPr/>
          </p:nvSpPr>
          <p:spPr>
            <a:xfrm>
              <a:off x="7021860" y="276232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Oval 111"/>
            <p:cNvSpPr/>
            <p:nvPr/>
          </p:nvSpPr>
          <p:spPr>
            <a:xfrm>
              <a:off x="9150042" y="311374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3" name="Oval 112"/>
            <p:cNvSpPr/>
            <p:nvPr/>
          </p:nvSpPr>
          <p:spPr>
            <a:xfrm>
              <a:off x="7521113" y="240907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Oval 113"/>
            <p:cNvSpPr/>
            <p:nvPr/>
          </p:nvSpPr>
          <p:spPr>
            <a:xfrm>
              <a:off x="8821654" y="2895644"/>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Oval 114"/>
            <p:cNvSpPr/>
            <p:nvPr/>
          </p:nvSpPr>
          <p:spPr>
            <a:xfrm>
              <a:off x="7911267" y="2301512"/>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Oval 115"/>
            <p:cNvSpPr/>
            <p:nvPr/>
          </p:nvSpPr>
          <p:spPr>
            <a:xfrm>
              <a:off x="8622432" y="2646039"/>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Oval 116"/>
            <p:cNvSpPr/>
            <p:nvPr/>
          </p:nvSpPr>
          <p:spPr>
            <a:xfrm>
              <a:off x="6046050" y="269839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8" name="Oval 117"/>
            <p:cNvSpPr/>
            <p:nvPr/>
          </p:nvSpPr>
          <p:spPr>
            <a:xfrm>
              <a:off x="5756093" y="276885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9" name="Oval 118"/>
            <p:cNvSpPr/>
            <p:nvPr/>
          </p:nvSpPr>
          <p:spPr>
            <a:xfrm>
              <a:off x="9364414" y="3258175"/>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0" name="Oval 119"/>
            <p:cNvSpPr/>
            <p:nvPr/>
          </p:nvSpPr>
          <p:spPr>
            <a:xfrm>
              <a:off x="9609447" y="3447584"/>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21" name="Group 120"/>
          <p:cNvGrpSpPr/>
          <p:nvPr userDrawn="1"/>
        </p:nvGrpSpPr>
        <p:grpSpPr>
          <a:xfrm rot="4480905">
            <a:off x="-193235" y="3476287"/>
            <a:ext cx="3437832" cy="4758449"/>
            <a:chOff x="9385524" y="2790411"/>
            <a:chExt cx="3437832" cy="4758449"/>
          </a:xfrm>
        </p:grpSpPr>
        <p:sp>
          <p:nvSpPr>
            <p:cNvPr id="122" name="Freeform: Shape 121"/>
            <p:cNvSpPr/>
            <p:nvPr/>
          </p:nvSpPr>
          <p:spPr>
            <a:xfrm rot="1859816">
              <a:off x="9385524" y="279041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3" name="Group 122"/>
            <p:cNvGrpSpPr/>
            <p:nvPr/>
          </p:nvGrpSpPr>
          <p:grpSpPr>
            <a:xfrm>
              <a:off x="9659552" y="2944459"/>
              <a:ext cx="3163804" cy="4604401"/>
              <a:chOff x="9659552" y="2944459"/>
              <a:chExt cx="3163804" cy="4604401"/>
            </a:xfrm>
          </p:grpSpPr>
          <p:sp>
            <p:nvSpPr>
              <p:cNvPr id="124" name="Oval 123"/>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5" name="Group 124"/>
              <p:cNvGrpSpPr/>
              <p:nvPr/>
            </p:nvGrpSpPr>
            <p:grpSpPr>
              <a:xfrm>
                <a:off x="10171356" y="3779500"/>
                <a:ext cx="468086" cy="468086"/>
                <a:chOff x="3766458" y="4912364"/>
                <a:chExt cx="468086" cy="468086"/>
              </a:xfrm>
            </p:grpSpPr>
            <p:sp>
              <p:nvSpPr>
                <p:cNvPr id="149" name="Oval 148"/>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0" name="Oval 149"/>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1" name="Oval 150"/>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26" name="Oval 125"/>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7" name="Oval 126"/>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8" name="Oval 127"/>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9" name="Oval 128"/>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0" name="Oval 129"/>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1" name="Oval 130"/>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2" name="Oval 131"/>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3" name="Freeform: Shape 132"/>
              <p:cNvSpPr/>
              <p:nvPr/>
            </p:nvSpPr>
            <p:spPr>
              <a:xfrm rot="1859816">
                <a:off x="9986645" y="3126797"/>
                <a:ext cx="1657518" cy="3532144"/>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226774 w 1394417"/>
                  <a:gd name="connsiteY0" fmla="*/ 0 h 3334657"/>
                  <a:gd name="connsiteX1" fmla="*/ 660717 w 1394417"/>
                  <a:gd name="connsiteY1" fmla="*/ 254000 h 3334657"/>
                  <a:gd name="connsiteX2" fmla="*/ 1299345 w 1394417"/>
                  <a:gd name="connsiteY2" fmla="*/ 635000 h 3334657"/>
                  <a:gd name="connsiteX3" fmla="*/ 317 w 1394417"/>
                  <a:gd name="connsiteY3" fmla="*/ 1157514 h 3334657"/>
                  <a:gd name="connsiteX4" fmla="*/ 1168717 w 1394417"/>
                  <a:gd name="connsiteY4" fmla="*/ 2028371 h 3334657"/>
                  <a:gd name="connsiteX5" fmla="*/ 504688 w 1394417"/>
                  <a:gd name="connsiteY5" fmla="*/ 2630714 h 3334657"/>
                  <a:gd name="connsiteX6" fmla="*/ 1379174 w 1394417"/>
                  <a:gd name="connsiteY6" fmla="*/ 3066143 h 3334657"/>
                  <a:gd name="connsiteX7" fmla="*/ 1081631 w 1394417"/>
                  <a:gd name="connsiteY7" fmla="*/ 3334657 h 333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4417" h="3334657">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34" name="Group 133"/>
              <p:cNvGrpSpPr/>
              <p:nvPr/>
            </p:nvGrpSpPr>
            <p:grpSpPr>
              <a:xfrm>
                <a:off x="9659552" y="6255370"/>
                <a:ext cx="511804" cy="511804"/>
                <a:chOff x="3766458" y="4912364"/>
                <a:chExt cx="468086" cy="468086"/>
              </a:xfrm>
            </p:grpSpPr>
            <p:sp>
              <p:nvSpPr>
                <p:cNvPr id="146" name="Oval 145"/>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7" name="Oval 146"/>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8" name="Oval 14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35" name="Oval 134"/>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36" name="Group 135"/>
              <p:cNvGrpSpPr/>
              <p:nvPr/>
            </p:nvGrpSpPr>
            <p:grpSpPr>
              <a:xfrm rot="18900000" flipH="1">
                <a:off x="9997674" y="4364464"/>
                <a:ext cx="1590444" cy="3184396"/>
                <a:chOff x="1113971" y="3497757"/>
                <a:chExt cx="1150258" cy="3142530"/>
              </a:xfrm>
            </p:grpSpPr>
            <p:sp>
              <p:nvSpPr>
                <p:cNvPr id="142" name="Freeform: Shape 14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3" name="Freeform: Shape 14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4" name="Freeform: Shape 14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5" name="Freeform: Shape 14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37" name="Group 136"/>
              <p:cNvGrpSpPr/>
              <p:nvPr/>
            </p:nvGrpSpPr>
            <p:grpSpPr>
              <a:xfrm rot="7200000" flipH="1" flipV="1">
                <a:off x="10907040" y="2618587"/>
                <a:ext cx="1590444" cy="2242188"/>
                <a:chOff x="1113971" y="3497757"/>
                <a:chExt cx="1150258" cy="3142530"/>
              </a:xfrm>
            </p:grpSpPr>
            <p:sp>
              <p:nvSpPr>
                <p:cNvPr id="138" name="Freeform: Shape 137"/>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9" name="Freeform: Shape 138"/>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0" name="Freeform: Shape 139"/>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1" name="Freeform: Shape 140"/>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grpSp>
        <p:nvGrpSpPr>
          <p:cNvPr id="152" name="Group 151"/>
          <p:cNvGrpSpPr/>
          <p:nvPr userDrawn="1"/>
        </p:nvGrpSpPr>
        <p:grpSpPr>
          <a:xfrm rot="21444120" flipH="1">
            <a:off x="10234111" y="-501857"/>
            <a:ext cx="2326374" cy="4134470"/>
            <a:chOff x="-213066" y="2126266"/>
            <a:chExt cx="2326374" cy="4134470"/>
          </a:xfrm>
        </p:grpSpPr>
        <p:grpSp>
          <p:nvGrpSpPr>
            <p:cNvPr id="153" name="Group 152"/>
            <p:cNvGrpSpPr/>
            <p:nvPr/>
          </p:nvGrpSpPr>
          <p:grpSpPr>
            <a:xfrm rot="5400000">
              <a:off x="-1021470" y="3125958"/>
              <a:ext cx="4134470" cy="2135086"/>
              <a:chOff x="2108201" y="5087492"/>
              <a:chExt cx="4484244" cy="2408425"/>
            </a:xfrm>
          </p:grpSpPr>
          <p:sp>
            <p:nvSpPr>
              <p:cNvPr id="159" name="Freeform: Shape 158"/>
              <p:cNvSpPr/>
              <p:nvPr/>
            </p:nvSpPr>
            <p:spPr>
              <a:xfrm>
                <a:off x="2108202" y="5087492"/>
                <a:ext cx="4484243" cy="22914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1 h 2687149"/>
                  <a:gd name="connsiteX1" fmla="*/ 609599 w 5093842"/>
                  <a:gd name="connsiteY1" fmla="*/ 1897742 h 2687149"/>
                  <a:gd name="connsiteX2" fmla="*/ 1273628 w 5093842"/>
                  <a:gd name="connsiteY2" fmla="*/ 801913 h 2687149"/>
                  <a:gd name="connsiteX3" fmla="*/ 1759856 w 5093842"/>
                  <a:gd name="connsiteY3" fmla="*/ 1846942 h 2687149"/>
                  <a:gd name="connsiteX4" fmla="*/ 2224313 w 5093842"/>
                  <a:gd name="connsiteY4" fmla="*/ 1273627 h 2687149"/>
                  <a:gd name="connsiteX5" fmla="*/ 2539999 w 5093842"/>
                  <a:gd name="connsiteY5" fmla="*/ 1763485 h 2687149"/>
                  <a:gd name="connsiteX6" fmla="*/ 2935513 w 5093842"/>
                  <a:gd name="connsiteY6" fmla="*/ 399142 h 2687149"/>
                  <a:gd name="connsiteX7" fmla="*/ 3327399 w 5093842"/>
                  <a:gd name="connsiteY7" fmla="*/ 1357085 h 2687149"/>
                  <a:gd name="connsiteX8" fmla="*/ 3617685 w 5093842"/>
                  <a:gd name="connsiteY8" fmla="*/ 747485 h 2687149"/>
                  <a:gd name="connsiteX9" fmla="*/ 4056742 w 5093842"/>
                  <a:gd name="connsiteY9" fmla="*/ 1886856 h 2687149"/>
                  <a:gd name="connsiteX10" fmla="*/ 4542970 w 5093842"/>
                  <a:gd name="connsiteY10" fmla="*/ 928913 h 2687149"/>
                  <a:gd name="connsiteX11" fmla="*/ 5093842 w 5093842"/>
                  <a:gd name="connsiteY11" fmla="*/ 2687149 h 2687149"/>
                  <a:gd name="connsiteX0" fmla="*/ 0 w 4484243"/>
                  <a:gd name="connsiteY0" fmla="*/ 1501995 h 2291402"/>
                  <a:gd name="connsiteX1" fmla="*/ 664029 w 4484243"/>
                  <a:gd name="connsiteY1" fmla="*/ 406166 h 2291402"/>
                  <a:gd name="connsiteX2" fmla="*/ 1150257 w 4484243"/>
                  <a:gd name="connsiteY2" fmla="*/ 1451195 h 2291402"/>
                  <a:gd name="connsiteX3" fmla="*/ 1614714 w 4484243"/>
                  <a:gd name="connsiteY3" fmla="*/ 877880 h 2291402"/>
                  <a:gd name="connsiteX4" fmla="*/ 1930400 w 4484243"/>
                  <a:gd name="connsiteY4" fmla="*/ 1367738 h 2291402"/>
                  <a:gd name="connsiteX5" fmla="*/ 2325914 w 4484243"/>
                  <a:gd name="connsiteY5" fmla="*/ 3395 h 2291402"/>
                  <a:gd name="connsiteX6" fmla="*/ 2717800 w 4484243"/>
                  <a:gd name="connsiteY6" fmla="*/ 961338 h 2291402"/>
                  <a:gd name="connsiteX7" fmla="*/ 3008086 w 4484243"/>
                  <a:gd name="connsiteY7" fmla="*/ 351738 h 2291402"/>
                  <a:gd name="connsiteX8" fmla="*/ 3447143 w 4484243"/>
                  <a:gd name="connsiteY8" fmla="*/ 1491109 h 2291402"/>
                  <a:gd name="connsiteX9" fmla="*/ 3933371 w 4484243"/>
                  <a:gd name="connsiteY9" fmla="*/ 533166 h 2291402"/>
                  <a:gd name="connsiteX10" fmla="*/ 4484243 w 4484243"/>
                  <a:gd name="connsiteY10" fmla="*/ 2291402 h 229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84243" h="2291402">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0521" y="399784"/>
                      <a:pt x="3933371" y="533166"/>
                    </a:cubicBezTo>
                    <a:cubicBezTo>
                      <a:pt x="4106221" y="666548"/>
                      <a:pt x="4335773" y="1647633"/>
                      <a:pt x="4484243" y="22914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0" name="Freeform: Shape 159"/>
              <p:cNvSpPr/>
              <p:nvPr/>
            </p:nvSpPr>
            <p:spPr>
              <a:xfrm>
                <a:off x="2108202" y="5531345"/>
                <a:ext cx="4445322"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5820552"/>
                  <a:gd name="connsiteY0" fmla="*/ 1865099 h 2518602"/>
                  <a:gd name="connsiteX1" fmla="*/ 765629 w 5820552"/>
                  <a:gd name="connsiteY1" fmla="*/ 13 h 2518602"/>
                  <a:gd name="connsiteX2" fmla="*/ 1375229 w 5820552"/>
                  <a:gd name="connsiteY2" fmla="*/ 1897756 h 2518602"/>
                  <a:gd name="connsiteX3" fmla="*/ 2039258 w 5820552"/>
                  <a:gd name="connsiteY3" fmla="*/ 801927 h 2518602"/>
                  <a:gd name="connsiteX4" fmla="*/ 2525486 w 5820552"/>
                  <a:gd name="connsiteY4" fmla="*/ 1846956 h 2518602"/>
                  <a:gd name="connsiteX5" fmla="*/ 2989943 w 5820552"/>
                  <a:gd name="connsiteY5" fmla="*/ 1273641 h 2518602"/>
                  <a:gd name="connsiteX6" fmla="*/ 3305629 w 5820552"/>
                  <a:gd name="connsiteY6" fmla="*/ 1763499 h 2518602"/>
                  <a:gd name="connsiteX7" fmla="*/ 3701143 w 5820552"/>
                  <a:gd name="connsiteY7" fmla="*/ 399156 h 2518602"/>
                  <a:gd name="connsiteX8" fmla="*/ 4093029 w 5820552"/>
                  <a:gd name="connsiteY8" fmla="*/ 1357099 h 2518602"/>
                  <a:gd name="connsiteX9" fmla="*/ 4383315 w 5820552"/>
                  <a:gd name="connsiteY9" fmla="*/ 747499 h 2518602"/>
                  <a:gd name="connsiteX10" fmla="*/ 4822372 w 5820552"/>
                  <a:gd name="connsiteY10" fmla="*/ 1886870 h 2518602"/>
                  <a:gd name="connsiteX11" fmla="*/ 5308600 w 5820552"/>
                  <a:gd name="connsiteY11" fmla="*/ 928927 h 2518602"/>
                  <a:gd name="connsiteX12" fmla="*/ 5820552 w 5820552"/>
                  <a:gd name="connsiteY12" fmla="*/ 2518602 h 2518602"/>
                  <a:gd name="connsiteX0" fmla="*/ 0 w 5054923"/>
                  <a:gd name="connsiteY0" fmla="*/ 0 h 2518589"/>
                  <a:gd name="connsiteX1" fmla="*/ 609600 w 5054923"/>
                  <a:gd name="connsiteY1" fmla="*/ 1897743 h 2518589"/>
                  <a:gd name="connsiteX2" fmla="*/ 1273629 w 5054923"/>
                  <a:gd name="connsiteY2" fmla="*/ 801914 h 2518589"/>
                  <a:gd name="connsiteX3" fmla="*/ 1759857 w 5054923"/>
                  <a:gd name="connsiteY3" fmla="*/ 1846943 h 2518589"/>
                  <a:gd name="connsiteX4" fmla="*/ 2224314 w 5054923"/>
                  <a:gd name="connsiteY4" fmla="*/ 1273628 h 2518589"/>
                  <a:gd name="connsiteX5" fmla="*/ 2540000 w 5054923"/>
                  <a:gd name="connsiteY5" fmla="*/ 1763486 h 2518589"/>
                  <a:gd name="connsiteX6" fmla="*/ 2935514 w 5054923"/>
                  <a:gd name="connsiteY6" fmla="*/ 399143 h 2518589"/>
                  <a:gd name="connsiteX7" fmla="*/ 3327400 w 5054923"/>
                  <a:gd name="connsiteY7" fmla="*/ 1357086 h 2518589"/>
                  <a:gd name="connsiteX8" fmla="*/ 3617686 w 5054923"/>
                  <a:gd name="connsiteY8" fmla="*/ 747486 h 2518589"/>
                  <a:gd name="connsiteX9" fmla="*/ 4056743 w 5054923"/>
                  <a:gd name="connsiteY9" fmla="*/ 1886857 h 2518589"/>
                  <a:gd name="connsiteX10" fmla="*/ 4542971 w 5054923"/>
                  <a:gd name="connsiteY10" fmla="*/ 928914 h 2518589"/>
                  <a:gd name="connsiteX11" fmla="*/ 5054923 w 5054923"/>
                  <a:gd name="connsiteY11" fmla="*/ 2518589 h 2518589"/>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5323" h="2122841">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7008" y="427877"/>
                      <a:pt x="3933371" y="533166"/>
                    </a:cubicBezTo>
                    <a:cubicBezTo>
                      <a:pt x="4099734" y="638455"/>
                      <a:pt x="4296853" y="1479072"/>
                      <a:pt x="4445323" y="2122841"/>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1" name="Freeform: Shape 160"/>
              <p:cNvSpPr/>
              <p:nvPr/>
            </p:nvSpPr>
            <p:spPr>
              <a:xfrm>
                <a:off x="2108201" y="6195930"/>
                <a:ext cx="4386943" cy="122017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3">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76738" y="467247"/>
                      <a:pt x="3933371" y="533166"/>
                    </a:cubicBezTo>
                    <a:cubicBezTo>
                      <a:pt x="4090004" y="599085"/>
                      <a:pt x="4238473" y="1242854"/>
                      <a:pt x="4386943" y="188662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2" name="Freeform: Shape 161"/>
              <p:cNvSpPr/>
              <p:nvPr/>
            </p:nvSpPr>
            <p:spPr>
              <a:xfrm>
                <a:off x="2108201" y="6633272"/>
                <a:ext cx="4386943"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6 h 1886624"/>
                  <a:gd name="connsiteX1" fmla="*/ 664029 w 4386943"/>
                  <a:gd name="connsiteY1" fmla="*/ 406167 h 1886624"/>
                  <a:gd name="connsiteX2" fmla="*/ 1150257 w 4386943"/>
                  <a:gd name="connsiteY2" fmla="*/ 1451196 h 1886624"/>
                  <a:gd name="connsiteX3" fmla="*/ 1614714 w 4386943"/>
                  <a:gd name="connsiteY3" fmla="*/ 877881 h 1886624"/>
                  <a:gd name="connsiteX4" fmla="*/ 1930400 w 4386943"/>
                  <a:gd name="connsiteY4" fmla="*/ 1367739 h 1886624"/>
                  <a:gd name="connsiteX5" fmla="*/ 2325914 w 4386943"/>
                  <a:gd name="connsiteY5" fmla="*/ 3396 h 1886624"/>
                  <a:gd name="connsiteX6" fmla="*/ 2717800 w 4386943"/>
                  <a:gd name="connsiteY6" fmla="*/ 961339 h 1886624"/>
                  <a:gd name="connsiteX7" fmla="*/ 3008086 w 4386943"/>
                  <a:gd name="connsiteY7" fmla="*/ 351739 h 1886624"/>
                  <a:gd name="connsiteX8" fmla="*/ 3447143 w 4386943"/>
                  <a:gd name="connsiteY8" fmla="*/ 1491110 h 1886624"/>
                  <a:gd name="connsiteX9" fmla="*/ 3933371 w 4386943"/>
                  <a:gd name="connsiteY9" fmla="*/ 533167 h 1886624"/>
                  <a:gd name="connsiteX10" fmla="*/ 4386943 w 4386943"/>
                  <a:gd name="connsiteY10" fmla="*/ 1886624 h 188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4">
                    <a:moveTo>
                      <a:pt x="0" y="1501996"/>
                    </a:moveTo>
                    <a:cubicBezTo>
                      <a:pt x="212272" y="1635648"/>
                      <a:pt x="472320" y="414634"/>
                      <a:pt x="664029" y="406167"/>
                    </a:cubicBezTo>
                    <a:cubicBezTo>
                      <a:pt x="855738" y="397700"/>
                      <a:pt x="991810" y="1372577"/>
                      <a:pt x="1150257" y="1451196"/>
                    </a:cubicBezTo>
                    <a:cubicBezTo>
                      <a:pt x="1308704" y="1529815"/>
                      <a:pt x="1484690" y="891790"/>
                      <a:pt x="1614714" y="877881"/>
                    </a:cubicBezTo>
                    <a:cubicBezTo>
                      <a:pt x="1744738" y="863972"/>
                      <a:pt x="1811867" y="1513487"/>
                      <a:pt x="1930400" y="1367739"/>
                    </a:cubicBezTo>
                    <a:cubicBezTo>
                      <a:pt x="2048933" y="1221992"/>
                      <a:pt x="2194681" y="71129"/>
                      <a:pt x="2325914" y="3396"/>
                    </a:cubicBezTo>
                    <a:cubicBezTo>
                      <a:pt x="2457147" y="-64337"/>
                      <a:pt x="2604105" y="903282"/>
                      <a:pt x="2717800" y="961339"/>
                    </a:cubicBezTo>
                    <a:cubicBezTo>
                      <a:pt x="2831495" y="1019396"/>
                      <a:pt x="2886529" y="263444"/>
                      <a:pt x="3008086" y="351739"/>
                    </a:cubicBezTo>
                    <a:cubicBezTo>
                      <a:pt x="3129643" y="440034"/>
                      <a:pt x="3292929" y="1460872"/>
                      <a:pt x="3447143" y="1491110"/>
                    </a:cubicBezTo>
                    <a:cubicBezTo>
                      <a:pt x="3601357" y="1521348"/>
                      <a:pt x="3776738" y="467248"/>
                      <a:pt x="3933371" y="533167"/>
                    </a:cubicBezTo>
                    <a:cubicBezTo>
                      <a:pt x="4090004" y="599086"/>
                      <a:pt x="4238473" y="1242855"/>
                      <a:pt x="4386943" y="188662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54" name="Group 153"/>
            <p:cNvGrpSpPr/>
            <p:nvPr/>
          </p:nvGrpSpPr>
          <p:grpSpPr>
            <a:xfrm rot="5400000">
              <a:off x="-972652" y="3077916"/>
              <a:ext cx="2967991" cy="1448820"/>
              <a:chOff x="2772230" y="5087490"/>
              <a:chExt cx="3820215" cy="2408427"/>
            </a:xfrm>
          </p:grpSpPr>
          <p:sp>
            <p:nvSpPr>
              <p:cNvPr id="155" name="Freeform: Shape 154"/>
              <p:cNvSpPr/>
              <p:nvPr/>
            </p:nvSpPr>
            <p:spPr>
              <a:xfrm>
                <a:off x="2772230" y="5087490"/>
                <a:ext cx="3820215" cy="2291400"/>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0 h 2687150"/>
                  <a:gd name="connsiteX1" fmla="*/ 609599 w 5093842"/>
                  <a:gd name="connsiteY1" fmla="*/ 1897743 h 2687150"/>
                  <a:gd name="connsiteX2" fmla="*/ 1273628 w 5093842"/>
                  <a:gd name="connsiteY2" fmla="*/ 801914 h 2687150"/>
                  <a:gd name="connsiteX3" fmla="*/ 1759856 w 5093842"/>
                  <a:gd name="connsiteY3" fmla="*/ 1846943 h 2687150"/>
                  <a:gd name="connsiteX4" fmla="*/ 2224313 w 5093842"/>
                  <a:gd name="connsiteY4" fmla="*/ 1273628 h 2687150"/>
                  <a:gd name="connsiteX5" fmla="*/ 2539999 w 5093842"/>
                  <a:gd name="connsiteY5" fmla="*/ 1763486 h 2687150"/>
                  <a:gd name="connsiteX6" fmla="*/ 2935513 w 5093842"/>
                  <a:gd name="connsiteY6" fmla="*/ 399143 h 2687150"/>
                  <a:gd name="connsiteX7" fmla="*/ 3327399 w 5093842"/>
                  <a:gd name="connsiteY7" fmla="*/ 1357086 h 2687150"/>
                  <a:gd name="connsiteX8" fmla="*/ 3617685 w 5093842"/>
                  <a:gd name="connsiteY8" fmla="*/ 747486 h 2687150"/>
                  <a:gd name="connsiteX9" fmla="*/ 4056742 w 5093842"/>
                  <a:gd name="connsiteY9" fmla="*/ 1886857 h 2687150"/>
                  <a:gd name="connsiteX10" fmla="*/ 4542970 w 5093842"/>
                  <a:gd name="connsiteY10" fmla="*/ 928914 h 2687150"/>
                  <a:gd name="connsiteX11" fmla="*/ 5093842 w 5093842"/>
                  <a:gd name="connsiteY11" fmla="*/ 2687150 h 2687150"/>
                  <a:gd name="connsiteX0" fmla="*/ 0 w 4484243"/>
                  <a:gd name="connsiteY0" fmla="*/ 1501996 h 2291403"/>
                  <a:gd name="connsiteX1" fmla="*/ 664029 w 4484243"/>
                  <a:gd name="connsiteY1" fmla="*/ 406167 h 2291403"/>
                  <a:gd name="connsiteX2" fmla="*/ 1150257 w 4484243"/>
                  <a:gd name="connsiteY2" fmla="*/ 1451196 h 2291403"/>
                  <a:gd name="connsiteX3" fmla="*/ 1614714 w 4484243"/>
                  <a:gd name="connsiteY3" fmla="*/ 877881 h 2291403"/>
                  <a:gd name="connsiteX4" fmla="*/ 1930400 w 4484243"/>
                  <a:gd name="connsiteY4" fmla="*/ 1367739 h 2291403"/>
                  <a:gd name="connsiteX5" fmla="*/ 2325914 w 4484243"/>
                  <a:gd name="connsiteY5" fmla="*/ 3396 h 2291403"/>
                  <a:gd name="connsiteX6" fmla="*/ 2717800 w 4484243"/>
                  <a:gd name="connsiteY6" fmla="*/ 961339 h 2291403"/>
                  <a:gd name="connsiteX7" fmla="*/ 3008086 w 4484243"/>
                  <a:gd name="connsiteY7" fmla="*/ 351739 h 2291403"/>
                  <a:gd name="connsiteX8" fmla="*/ 3447143 w 4484243"/>
                  <a:gd name="connsiteY8" fmla="*/ 1491110 h 2291403"/>
                  <a:gd name="connsiteX9" fmla="*/ 3933371 w 4484243"/>
                  <a:gd name="connsiteY9" fmla="*/ 533167 h 2291403"/>
                  <a:gd name="connsiteX10" fmla="*/ 4484243 w 4484243"/>
                  <a:gd name="connsiteY10" fmla="*/ 2291403 h 2291403"/>
                  <a:gd name="connsiteX0" fmla="*/ 0 w 3820214"/>
                  <a:gd name="connsiteY0" fmla="*/ 406165 h 2291401"/>
                  <a:gd name="connsiteX1" fmla="*/ 486228 w 3820214"/>
                  <a:gd name="connsiteY1" fmla="*/ 1451194 h 2291401"/>
                  <a:gd name="connsiteX2" fmla="*/ 950685 w 3820214"/>
                  <a:gd name="connsiteY2" fmla="*/ 877879 h 2291401"/>
                  <a:gd name="connsiteX3" fmla="*/ 1266371 w 3820214"/>
                  <a:gd name="connsiteY3" fmla="*/ 1367737 h 2291401"/>
                  <a:gd name="connsiteX4" fmla="*/ 1661885 w 3820214"/>
                  <a:gd name="connsiteY4" fmla="*/ 3394 h 2291401"/>
                  <a:gd name="connsiteX5" fmla="*/ 2053771 w 3820214"/>
                  <a:gd name="connsiteY5" fmla="*/ 961337 h 2291401"/>
                  <a:gd name="connsiteX6" fmla="*/ 2344057 w 3820214"/>
                  <a:gd name="connsiteY6" fmla="*/ 351737 h 2291401"/>
                  <a:gd name="connsiteX7" fmla="*/ 2783114 w 3820214"/>
                  <a:gd name="connsiteY7" fmla="*/ 1491108 h 2291401"/>
                  <a:gd name="connsiteX8" fmla="*/ 3269342 w 3820214"/>
                  <a:gd name="connsiteY8" fmla="*/ 533165 h 2291401"/>
                  <a:gd name="connsiteX9" fmla="*/ 3820214 w 3820214"/>
                  <a:gd name="connsiteY9" fmla="*/ 2291401 h 229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0214" h="2291401">
                    <a:moveTo>
                      <a:pt x="0" y="406165"/>
                    </a:moveTo>
                    <a:cubicBezTo>
                      <a:pt x="191709" y="397698"/>
                      <a:pt x="327781" y="1372575"/>
                      <a:pt x="486228" y="1451194"/>
                    </a:cubicBezTo>
                    <a:cubicBezTo>
                      <a:pt x="644675" y="1529813"/>
                      <a:pt x="820661" y="891788"/>
                      <a:pt x="950685" y="877879"/>
                    </a:cubicBezTo>
                    <a:cubicBezTo>
                      <a:pt x="1080709" y="863970"/>
                      <a:pt x="1147838" y="1513485"/>
                      <a:pt x="1266371" y="1367737"/>
                    </a:cubicBezTo>
                    <a:cubicBezTo>
                      <a:pt x="1384904" y="1221990"/>
                      <a:pt x="1530652" y="71127"/>
                      <a:pt x="1661885" y="3394"/>
                    </a:cubicBezTo>
                    <a:cubicBezTo>
                      <a:pt x="1793118" y="-64339"/>
                      <a:pt x="1940076" y="903280"/>
                      <a:pt x="2053771" y="961337"/>
                    </a:cubicBezTo>
                    <a:cubicBezTo>
                      <a:pt x="2167466" y="1019394"/>
                      <a:pt x="2222500" y="263442"/>
                      <a:pt x="2344057" y="351737"/>
                    </a:cubicBezTo>
                    <a:cubicBezTo>
                      <a:pt x="2465614" y="440032"/>
                      <a:pt x="2628900" y="1460870"/>
                      <a:pt x="2783114" y="1491108"/>
                    </a:cubicBezTo>
                    <a:cubicBezTo>
                      <a:pt x="2937328" y="1521346"/>
                      <a:pt x="3096492" y="399783"/>
                      <a:pt x="3269342" y="533165"/>
                    </a:cubicBezTo>
                    <a:cubicBezTo>
                      <a:pt x="3442192" y="666547"/>
                      <a:pt x="3671744" y="1647632"/>
                      <a:pt x="3820214" y="229140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6" name="Freeform: Shape 155"/>
              <p:cNvSpPr/>
              <p:nvPr/>
            </p:nvSpPr>
            <p:spPr>
              <a:xfrm>
                <a:off x="2772230" y="5531340"/>
                <a:ext cx="3781294"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6586180"/>
                  <a:gd name="connsiteY0" fmla="*/ 794423 h 2122841"/>
                  <a:gd name="connsiteX1" fmla="*/ 765628 w 6586180"/>
                  <a:gd name="connsiteY1" fmla="*/ 1469338 h 2122841"/>
                  <a:gd name="connsiteX2" fmla="*/ 2140857 w 6586180"/>
                  <a:gd name="connsiteY2" fmla="*/ 1501995 h 2122841"/>
                  <a:gd name="connsiteX3" fmla="*/ 2804886 w 6586180"/>
                  <a:gd name="connsiteY3" fmla="*/ 406166 h 2122841"/>
                  <a:gd name="connsiteX4" fmla="*/ 3291114 w 6586180"/>
                  <a:gd name="connsiteY4" fmla="*/ 1451195 h 2122841"/>
                  <a:gd name="connsiteX5" fmla="*/ 3755571 w 6586180"/>
                  <a:gd name="connsiteY5" fmla="*/ 877880 h 2122841"/>
                  <a:gd name="connsiteX6" fmla="*/ 4071257 w 6586180"/>
                  <a:gd name="connsiteY6" fmla="*/ 1367738 h 2122841"/>
                  <a:gd name="connsiteX7" fmla="*/ 4466771 w 6586180"/>
                  <a:gd name="connsiteY7" fmla="*/ 3395 h 2122841"/>
                  <a:gd name="connsiteX8" fmla="*/ 4858657 w 6586180"/>
                  <a:gd name="connsiteY8" fmla="*/ 961338 h 2122841"/>
                  <a:gd name="connsiteX9" fmla="*/ 5148943 w 6586180"/>
                  <a:gd name="connsiteY9" fmla="*/ 351738 h 2122841"/>
                  <a:gd name="connsiteX10" fmla="*/ 5588000 w 6586180"/>
                  <a:gd name="connsiteY10" fmla="*/ 1491109 h 2122841"/>
                  <a:gd name="connsiteX11" fmla="*/ 6074228 w 6586180"/>
                  <a:gd name="connsiteY11" fmla="*/ 533166 h 2122841"/>
                  <a:gd name="connsiteX12" fmla="*/ 6586180 w 6586180"/>
                  <a:gd name="connsiteY12" fmla="*/ 2122841 h 2122841"/>
                  <a:gd name="connsiteX0" fmla="*/ 0 w 6586180"/>
                  <a:gd name="connsiteY0" fmla="*/ 794423 h 2122841"/>
                  <a:gd name="connsiteX1" fmla="*/ 2140857 w 6586180"/>
                  <a:gd name="connsiteY1" fmla="*/ 1501995 h 2122841"/>
                  <a:gd name="connsiteX2" fmla="*/ 2804886 w 6586180"/>
                  <a:gd name="connsiteY2" fmla="*/ 406166 h 2122841"/>
                  <a:gd name="connsiteX3" fmla="*/ 3291114 w 6586180"/>
                  <a:gd name="connsiteY3" fmla="*/ 1451195 h 2122841"/>
                  <a:gd name="connsiteX4" fmla="*/ 3755571 w 6586180"/>
                  <a:gd name="connsiteY4" fmla="*/ 877880 h 2122841"/>
                  <a:gd name="connsiteX5" fmla="*/ 4071257 w 6586180"/>
                  <a:gd name="connsiteY5" fmla="*/ 1367738 h 2122841"/>
                  <a:gd name="connsiteX6" fmla="*/ 4466771 w 6586180"/>
                  <a:gd name="connsiteY6" fmla="*/ 3395 h 2122841"/>
                  <a:gd name="connsiteX7" fmla="*/ 4858657 w 6586180"/>
                  <a:gd name="connsiteY7" fmla="*/ 961338 h 2122841"/>
                  <a:gd name="connsiteX8" fmla="*/ 5148943 w 6586180"/>
                  <a:gd name="connsiteY8" fmla="*/ 351738 h 2122841"/>
                  <a:gd name="connsiteX9" fmla="*/ 5588000 w 6586180"/>
                  <a:gd name="connsiteY9" fmla="*/ 1491109 h 2122841"/>
                  <a:gd name="connsiteX10" fmla="*/ 6074228 w 6586180"/>
                  <a:gd name="connsiteY10" fmla="*/ 533166 h 2122841"/>
                  <a:gd name="connsiteX11" fmla="*/ 6586180 w 6586180"/>
                  <a:gd name="connsiteY11" fmla="*/ 2122841 h 2122841"/>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 name="connsiteX0" fmla="*/ 0 w 3781294"/>
                  <a:gd name="connsiteY0" fmla="*/ 406166 h 2122841"/>
                  <a:gd name="connsiteX1" fmla="*/ 486228 w 3781294"/>
                  <a:gd name="connsiteY1" fmla="*/ 1451195 h 2122841"/>
                  <a:gd name="connsiteX2" fmla="*/ 950685 w 3781294"/>
                  <a:gd name="connsiteY2" fmla="*/ 877880 h 2122841"/>
                  <a:gd name="connsiteX3" fmla="*/ 1266371 w 3781294"/>
                  <a:gd name="connsiteY3" fmla="*/ 1367738 h 2122841"/>
                  <a:gd name="connsiteX4" fmla="*/ 1661885 w 3781294"/>
                  <a:gd name="connsiteY4" fmla="*/ 3395 h 2122841"/>
                  <a:gd name="connsiteX5" fmla="*/ 2053771 w 3781294"/>
                  <a:gd name="connsiteY5" fmla="*/ 961338 h 2122841"/>
                  <a:gd name="connsiteX6" fmla="*/ 2344057 w 3781294"/>
                  <a:gd name="connsiteY6" fmla="*/ 351738 h 2122841"/>
                  <a:gd name="connsiteX7" fmla="*/ 2783114 w 3781294"/>
                  <a:gd name="connsiteY7" fmla="*/ 1491109 h 2122841"/>
                  <a:gd name="connsiteX8" fmla="*/ 3269342 w 3781294"/>
                  <a:gd name="connsiteY8" fmla="*/ 533166 h 2122841"/>
                  <a:gd name="connsiteX9" fmla="*/ 3781294 w 3781294"/>
                  <a:gd name="connsiteY9"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1294" h="2122841">
                    <a:moveTo>
                      <a:pt x="0" y="406166"/>
                    </a:moveTo>
                    <a:cubicBezTo>
                      <a:pt x="191709" y="397699"/>
                      <a:pt x="327781" y="1372576"/>
                      <a:pt x="486228" y="1451195"/>
                    </a:cubicBezTo>
                    <a:cubicBezTo>
                      <a:pt x="644675" y="1529814"/>
                      <a:pt x="820661" y="891789"/>
                      <a:pt x="950685" y="877880"/>
                    </a:cubicBezTo>
                    <a:cubicBezTo>
                      <a:pt x="1080709" y="863971"/>
                      <a:pt x="1147838" y="1513486"/>
                      <a:pt x="1266371" y="1367738"/>
                    </a:cubicBezTo>
                    <a:cubicBezTo>
                      <a:pt x="1384904" y="1221991"/>
                      <a:pt x="1530652" y="71128"/>
                      <a:pt x="1661885" y="3395"/>
                    </a:cubicBezTo>
                    <a:cubicBezTo>
                      <a:pt x="1793118" y="-64338"/>
                      <a:pt x="1940076" y="903281"/>
                      <a:pt x="2053771" y="961338"/>
                    </a:cubicBezTo>
                    <a:cubicBezTo>
                      <a:pt x="2167466" y="1019395"/>
                      <a:pt x="2222500" y="263443"/>
                      <a:pt x="2344057" y="351738"/>
                    </a:cubicBezTo>
                    <a:cubicBezTo>
                      <a:pt x="2465614" y="440033"/>
                      <a:pt x="2628900" y="1460871"/>
                      <a:pt x="2783114" y="1491109"/>
                    </a:cubicBezTo>
                    <a:cubicBezTo>
                      <a:pt x="2937328" y="1521347"/>
                      <a:pt x="3102979" y="427877"/>
                      <a:pt x="3269342" y="533166"/>
                    </a:cubicBezTo>
                    <a:cubicBezTo>
                      <a:pt x="3435705" y="638455"/>
                      <a:pt x="3632824" y="1479072"/>
                      <a:pt x="3781294" y="212284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7" name="Freeform: Shape 156"/>
              <p:cNvSpPr/>
              <p:nvPr/>
            </p:nvSpPr>
            <p:spPr>
              <a:xfrm>
                <a:off x="3258458" y="6195929"/>
                <a:ext cx="3236685" cy="1220174"/>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27800"/>
                  <a:gd name="connsiteY0" fmla="*/ 1219485 h 2311685"/>
                  <a:gd name="connsiteX1" fmla="*/ 765628 w 6527800"/>
                  <a:gd name="connsiteY1" fmla="*/ 1894400 h 2311685"/>
                  <a:gd name="connsiteX2" fmla="*/ 1531257 w 6527800"/>
                  <a:gd name="connsiteY2" fmla="*/ 29314 h 2311685"/>
                  <a:gd name="connsiteX3" fmla="*/ 2804886 w 6527800"/>
                  <a:gd name="connsiteY3" fmla="*/ 831228 h 2311685"/>
                  <a:gd name="connsiteX4" fmla="*/ 3291114 w 6527800"/>
                  <a:gd name="connsiteY4" fmla="*/ 1876257 h 2311685"/>
                  <a:gd name="connsiteX5" fmla="*/ 3755571 w 6527800"/>
                  <a:gd name="connsiteY5" fmla="*/ 1302942 h 2311685"/>
                  <a:gd name="connsiteX6" fmla="*/ 4071257 w 6527800"/>
                  <a:gd name="connsiteY6" fmla="*/ 1792800 h 2311685"/>
                  <a:gd name="connsiteX7" fmla="*/ 4466771 w 6527800"/>
                  <a:gd name="connsiteY7" fmla="*/ 428457 h 2311685"/>
                  <a:gd name="connsiteX8" fmla="*/ 4858657 w 6527800"/>
                  <a:gd name="connsiteY8" fmla="*/ 1386400 h 2311685"/>
                  <a:gd name="connsiteX9" fmla="*/ 5148943 w 6527800"/>
                  <a:gd name="connsiteY9" fmla="*/ 776800 h 2311685"/>
                  <a:gd name="connsiteX10" fmla="*/ 5588000 w 6527800"/>
                  <a:gd name="connsiteY10" fmla="*/ 1916171 h 2311685"/>
                  <a:gd name="connsiteX11" fmla="*/ 6074228 w 6527800"/>
                  <a:gd name="connsiteY11" fmla="*/ 958228 h 2311685"/>
                  <a:gd name="connsiteX12" fmla="*/ 6527800 w 6527800"/>
                  <a:gd name="connsiteY12" fmla="*/ 2311685 h 2311685"/>
                  <a:gd name="connsiteX0" fmla="*/ 0 w 6527800"/>
                  <a:gd name="connsiteY0" fmla="*/ 794423 h 1886623"/>
                  <a:gd name="connsiteX1" fmla="*/ 765628 w 6527800"/>
                  <a:gd name="connsiteY1" fmla="*/ 1469338 h 1886623"/>
                  <a:gd name="connsiteX2" fmla="*/ 2804886 w 6527800"/>
                  <a:gd name="connsiteY2" fmla="*/ 406166 h 1886623"/>
                  <a:gd name="connsiteX3" fmla="*/ 3291114 w 6527800"/>
                  <a:gd name="connsiteY3" fmla="*/ 1451195 h 1886623"/>
                  <a:gd name="connsiteX4" fmla="*/ 3755571 w 6527800"/>
                  <a:gd name="connsiteY4" fmla="*/ 877880 h 1886623"/>
                  <a:gd name="connsiteX5" fmla="*/ 4071257 w 6527800"/>
                  <a:gd name="connsiteY5" fmla="*/ 1367738 h 1886623"/>
                  <a:gd name="connsiteX6" fmla="*/ 4466771 w 6527800"/>
                  <a:gd name="connsiteY6" fmla="*/ 3395 h 1886623"/>
                  <a:gd name="connsiteX7" fmla="*/ 4858657 w 6527800"/>
                  <a:gd name="connsiteY7" fmla="*/ 961338 h 1886623"/>
                  <a:gd name="connsiteX8" fmla="*/ 5148943 w 6527800"/>
                  <a:gd name="connsiteY8" fmla="*/ 351738 h 1886623"/>
                  <a:gd name="connsiteX9" fmla="*/ 5588000 w 6527800"/>
                  <a:gd name="connsiteY9" fmla="*/ 1491109 h 1886623"/>
                  <a:gd name="connsiteX10" fmla="*/ 6074228 w 6527800"/>
                  <a:gd name="connsiteY10" fmla="*/ 533166 h 1886623"/>
                  <a:gd name="connsiteX11" fmla="*/ 6527800 w 6527800"/>
                  <a:gd name="connsiteY11" fmla="*/ 1886623 h 1886623"/>
                  <a:gd name="connsiteX0" fmla="*/ 0 w 6527800"/>
                  <a:gd name="connsiteY0" fmla="*/ 794423 h 1886623"/>
                  <a:gd name="connsiteX1" fmla="*/ 765628 w 6527800"/>
                  <a:gd name="connsiteY1" fmla="*/ 1469338 h 1886623"/>
                  <a:gd name="connsiteX2" fmla="*/ 3291114 w 6527800"/>
                  <a:gd name="connsiteY2" fmla="*/ 1451195 h 1886623"/>
                  <a:gd name="connsiteX3" fmla="*/ 3755571 w 6527800"/>
                  <a:gd name="connsiteY3" fmla="*/ 877880 h 1886623"/>
                  <a:gd name="connsiteX4" fmla="*/ 4071257 w 6527800"/>
                  <a:gd name="connsiteY4" fmla="*/ 1367738 h 1886623"/>
                  <a:gd name="connsiteX5" fmla="*/ 4466771 w 6527800"/>
                  <a:gd name="connsiteY5" fmla="*/ 3395 h 1886623"/>
                  <a:gd name="connsiteX6" fmla="*/ 4858657 w 6527800"/>
                  <a:gd name="connsiteY6" fmla="*/ 961338 h 1886623"/>
                  <a:gd name="connsiteX7" fmla="*/ 5148943 w 6527800"/>
                  <a:gd name="connsiteY7" fmla="*/ 351738 h 1886623"/>
                  <a:gd name="connsiteX8" fmla="*/ 5588000 w 6527800"/>
                  <a:gd name="connsiteY8" fmla="*/ 1491109 h 1886623"/>
                  <a:gd name="connsiteX9" fmla="*/ 6074228 w 6527800"/>
                  <a:gd name="connsiteY9" fmla="*/ 533166 h 1886623"/>
                  <a:gd name="connsiteX10" fmla="*/ 6527800 w 6527800"/>
                  <a:gd name="connsiteY10" fmla="*/ 1886623 h 1886623"/>
                  <a:gd name="connsiteX0" fmla="*/ 0 w 6527800"/>
                  <a:gd name="connsiteY0" fmla="*/ 794423 h 1886623"/>
                  <a:gd name="connsiteX1" fmla="*/ 3291114 w 6527800"/>
                  <a:gd name="connsiteY1" fmla="*/ 1451195 h 1886623"/>
                  <a:gd name="connsiteX2" fmla="*/ 3755571 w 6527800"/>
                  <a:gd name="connsiteY2" fmla="*/ 877880 h 1886623"/>
                  <a:gd name="connsiteX3" fmla="*/ 4071257 w 6527800"/>
                  <a:gd name="connsiteY3" fmla="*/ 1367738 h 1886623"/>
                  <a:gd name="connsiteX4" fmla="*/ 4466771 w 6527800"/>
                  <a:gd name="connsiteY4" fmla="*/ 3395 h 1886623"/>
                  <a:gd name="connsiteX5" fmla="*/ 4858657 w 6527800"/>
                  <a:gd name="connsiteY5" fmla="*/ 961338 h 1886623"/>
                  <a:gd name="connsiteX6" fmla="*/ 5148943 w 6527800"/>
                  <a:gd name="connsiteY6" fmla="*/ 351738 h 1886623"/>
                  <a:gd name="connsiteX7" fmla="*/ 5588000 w 6527800"/>
                  <a:gd name="connsiteY7" fmla="*/ 1491109 h 1886623"/>
                  <a:gd name="connsiteX8" fmla="*/ 6074228 w 6527800"/>
                  <a:gd name="connsiteY8" fmla="*/ 533166 h 1886623"/>
                  <a:gd name="connsiteX9" fmla="*/ 6527800 w 6527800"/>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6685" h="1886623">
                    <a:moveTo>
                      <a:pt x="-1" y="1451195"/>
                    </a:moveTo>
                    <a:cubicBezTo>
                      <a:pt x="625927" y="1465104"/>
                      <a:pt x="334432" y="891789"/>
                      <a:pt x="464456" y="877880"/>
                    </a:cubicBezTo>
                    <a:cubicBezTo>
                      <a:pt x="594480" y="863971"/>
                      <a:pt x="661609" y="1513486"/>
                      <a:pt x="780142" y="1367738"/>
                    </a:cubicBezTo>
                    <a:cubicBezTo>
                      <a:pt x="898675" y="1221991"/>
                      <a:pt x="1044423" y="71128"/>
                      <a:pt x="1175656" y="3395"/>
                    </a:cubicBezTo>
                    <a:cubicBezTo>
                      <a:pt x="1306889" y="-64338"/>
                      <a:pt x="1453847" y="903281"/>
                      <a:pt x="1567542" y="961338"/>
                    </a:cubicBezTo>
                    <a:cubicBezTo>
                      <a:pt x="1681237" y="1019395"/>
                      <a:pt x="1736271" y="263443"/>
                      <a:pt x="1857828" y="351738"/>
                    </a:cubicBezTo>
                    <a:cubicBezTo>
                      <a:pt x="1979385" y="440033"/>
                      <a:pt x="2142671" y="1460871"/>
                      <a:pt x="2296885" y="1491109"/>
                    </a:cubicBezTo>
                    <a:cubicBezTo>
                      <a:pt x="2451099" y="1521347"/>
                      <a:pt x="2626480" y="467247"/>
                      <a:pt x="2783113" y="533166"/>
                    </a:cubicBezTo>
                    <a:cubicBezTo>
                      <a:pt x="2939746" y="599085"/>
                      <a:pt x="3088215" y="1242854"/>
                      <a:pt x="3236685"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8" name="Freeform: Shape 157"/>
              <p:cNvSpPr/>
              <p:nvPr/>
            </p:nvSpPr>
            <p:spPr>
              <a:xfrm>
                <a:off x="4038601" y="6633271"/>
                <a:ext cx="2456542"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1 w 4996544"/>
                  <a:gd name="connsiteY0" fmla="*/ -2 h 2282369"/>
                  <a:gd name="connsiteX1" fmla="*/ 609601 w 4996544"/>
                  <a:gd name="connsiteY1" fmla="*/ 1897741 h 2282369"/>
                  <a:gd name="connsiteX2" fmla="*/ 1273630 w 4996544"/>
                  <a:gd name="connsiteY2" fmla="*/ 801912 h 2282369"/>
                  <a:gd name="connsiteX3" fmla="*/ 1759858 w 4996544"/>
                  <a:gd name="connsiteY3" fmla="*/ 1846941 h 2282369"/>
                  <a:gd name="connsiteX4" fmla="*/ 2224315 w 4996544"/>
                  <a:gd name="connsiteY4" fmla="*/ 1273626 h 2282369"/>
                  <a:gd name="connsiteX5" fmla="*/ 2540001 w 4996544"/>
                  <a:gd name="connsiteY5" fmla="*/ 1763484 h 2282369"/>
                  <a:gd name="connsiteX6" fmla="*/ 2935515 w 4996544"/>
                  <a:gd name="connsiteY6" fmla="*/ 399141 h 2282369"/>
                  <a:gd name="connsiteX7" fmla="*/ 3327401 w 4996544"/>
                  <a:gd name="connsiteY7" fmla="*/ 1357084 h 2282369"/>
                  <a:gd name="connsiteX8" fmla="*/ 3617687 w 4996544"/>
                  <a:gd name="connsiteY8" fmla="*/ 747484 h 2282369"/>
                  <a:gd name="connsiteX9" fmla="*/ 4056744 w 4996544"/>
                  <a:gd name="connsiteY9" fmla="*/ 1886855 h 2282369"/>
                  <a:gd name="connsiteX10" fmla="*/ 4542972 w 4996544"/>
                  <a:gd name="connsiteY10" fmla="*/ 928912 h 2282369"/>
                  <a:gd name="connsiteX11" fmla="*/ 4996544 w 4996544"/>
                  <a:gd name="connsiteY11" fmla="*/ 2282369 h 2282369"/>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 name="connsiteX0" fmla="*/ 1 w 3722915"/>
                  <a:gd name="connsiteY0" fmla="*/ 406166 h 1886623"/>
                  <a:gd name="connsiteX1" fmla="*/ 486229 w 3722915"/>
                  <a:gd name="connsiteY1" fmla="*/ 1451195 h 1886623"/>
                  <a:gd name="connsiteX2" fmla="*/ 950686 w 3722915"/>
                  <a:gd name="connsiteY2" fmla="*/ 877880 h 1886623"/>
                  <a:gd name="connsiteX3" fmla="*/ 1266372 w 3722915"/>
                  <a:gd name="connsiteY3" fmla="*/ 1367738 h 1886623"/>
                  <a:gd name="connsiteX4" fmla="*/ 1661886 w 3722915"/>
                  <a:gd name="connsiteY4" fmla="*/ 3395 h 1886623"/>
                  <a:gd name="connsiteX5" fmla="*/ 2053772 w 3722915"/>
                  <a:gd name="connsiteY5" fmla="*/ 961338 h 1886623"/>
                  <a:gd name="connsiteX6" fmla="*/ 2344058 w 3722915"/>
                  <a:gd name="connsiteY6" fmla="*/ 351738 h 1886623"/>
                  <a:gd name="connsiteX7" fmla="*/ 2783115 w 3722915"/>
                  <a:gd name="connsiteY7" fmla="*/ 1491109 h 1886623"/>
                  <a:gd name="connsiteX8" fmla="*/ 3269343 w 3722915"/>
                  <a:gd name="connsiteY8" fmla="*/ 533166 h 1886623"/>
                  <a:gd name="connsiteX9" fmla="*/ 3722915 w 3722915"/>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 name="connsiteX0" fmla="*/ 0 w 2772229"/>
                  <a:gd name="connsiteY0" fmla="*/ 877880 h 1886623"/>
                  <a:gd name="connsiteX1" fmla="*/ 315686 w 2772229"/>
                  <a:gd name="connsiteY1" fmla="*/ 1367738 h 1886623"/>
                  <a:gd name="connsiteX2" fmla="*/ 711200 w 2772229"/>
                  <a:gd name="connsiteY2" fmla="*/ 3395 h 1886623"/>
                  <a:gd name="connsiteX3" fmla="*/ 1103086 w 2772229"/>
                  <a:gd name="connsiteY3" fmla="*/ 961338 h 1886623"/>
                  <a:gd name="connsiteX4" fmla="*/ 1393372 w 2772229"/>
                  <a:gd name="connsiteY4" fmla="*/ 351738 h 1886623"/>
                  <a:gd name="connsiteX5" fmla="*/ 1832429 w 2772229"/>
                  <a:gd name="connsiteY5" fmla="*/ 1491109 h 1886623"/>
                  <a:gd name="connsiteX6" fmla="*/ 2318657 w 2772229"/>
                  <a:gd name="connsiteY6" fmla="*/ 533166 h 1886623"/>
                  <a:gd name="connsiteX7" fmla="*/ 2772229 w 2772229"/>
                  <a:gd name="connsiteY7" fmla="*/ 1886623 h 1886623"/>
                  <a:gd name="connsiteX0" fmla="*/ 0 w 2456543"/>
                  <a:gd name="connsiteY0" fmla="*/ 1367738 h 1886623"/>
                  <a:gd name="connsiteX1" fmla="*/ 395514 w 2456543"/>
                  <a:gd name="connsiteY1" fmla="*/ 3395 h 1886623"/>
                  <a:gd name="connsiteX2" fmla="*/ 787400 w 2456543"/>
                  <a:gd name="connsiteY2" fmla="*/ 961338 h 1886623"/>
                  <a:gd name="connsiteX3" fmla="*/ 1077686 w 2456543"/>
                  <a:gd name="connsiteY3" fmla="*/ 351738 h 1886623"/>
                  <a:gd name="connsiteX4" fmla="*/ 1516743 w 2456543"/>
                  <a:gd name="connsiteY4" fmla="*/ 1491109 h 1886623"/>
                  <a:gd name="connsiteX5" fmla="*/ 2002971 w 2456543"/>
                  <a:gd name="connsiteY5" fmla="*/ 533166 h 1886623"/>
                  <a:gd name="connsiteX6" fmla="*/ 2456543 w 2456543"/>
                  <a:gd name="connsiteY6"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6543" h="1886623">
                    <a:moveTo>
                      <a:pt x="0" y="1367738"/>
                    </a:moveTo>
                    <a:cubicBezTo>
                      <a:pt x="118533" y="1221991"/>
                      <a:pt x="264281" y="71128"/>
                      <a:pt x="395514" y="3395"/>
                    </a:cubicBezTo>
                    <a:cubicBezTo>
                      <a:pt x="526747" y="-64338"/>
                      <a:pt x="673705" y="903281"/>
                      <a:pt x="787400" y="961338"/>
                    </a:cubicBezTo>
                    <a:cubicBezTo>
                      <a:pt x="901095" y="1019395"/>
                      <a:pt x="956129" y="263443"/>
                      <a:pt x="1077686" y="351738"/>
                    </a:cubicBezTo>
                    <a:cubicBezTo>
                      <a:pt x="1199243" y="440033"/>
                      <a:pt x="1362529" y="1460871"/>
                      <a:pt x="1516743" y="1491109"/>
                    </a:cubicBezTo>
                    <a:cubicBezTo>
                      <a:pt x="1670957" y="1521347"/>
                      <a:pt x="1846338" y="467247"/>
                      <a:pt x="2002971" y="533166"/>
                    </a:cubicBezTo>
                    <a:cubicBezTo>
                      <a:pt x="2159604" y="599085"/>
                      <a:pt x="2308073" y="1242854"/>
                      <a:pt x="2456543"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sp>
        <p:nvSpPr>
          <p:cNvPr id="163" name="Rectangle 162"/>
          <p:cNvSpPr/>
          <p:nvPr userDrawn="1"/>
        </p:nvSpPr>
        <p:spPr>
          <a:xfrm>
            <a:off x="0" y="0"/>
            <a:ext cx="12192000" cy="6858000"/>
          </a:xfrm>
          <a:prstGeom prst="rect">
            <a:avLst/>
          </a:prstGeom>
          <a:gradFill>
            <a:gsLst>
              <a:gs pos="0">
                <a:srgbClr val="002050">
                  <a:alpha val="60000"/>
                </a:srgbClr>
              </a:gs>
              <a:gs pos="100000">
                <a:srgbClr val="00205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55769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only">
    <p:bg>
      <p:bgPr>
        <a:blipFill dpi="0" rotWithShape="1">
          <a:blip r:embed="rId4">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4" name="Group 3"/>
          <p:cNvGrpSpPr/>
          <p:nvPr userDrawn="1"/>
        </p:nvGrpSpPr>
        <p:grpSpPr>
          <a:xfrm rot="5400000">
            <a:off x="-1985378" y="1811202"/>
            <a:ext cx="6108339" cy="2485929"/>
            <a:chOff x="-32657" y="4691730"/>
            <a:chExt cx="6625100" cy="2804185"/>
          </a:xfrm>
        </p:grpSpPr>
        <p:sp>
          <p:nvSpPr>
            <p:cNvPr id="5" name="Freeform: Shape 4"/>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Shape 5"/>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Freeform: Shape 6"/>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Freeform: Shape 7"/>
            <p:cNvSpPr/>
            <p:nvPr/>
          </p:nvSpPr>
          <p:spPr>
            <a:xfrm>
              <a:off x="-32657" y="6452313"/>
              <a:ext cx="6527800" cy="10436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9" name="Group 8"/>
          <p:cNvGrpSpPr/>
          <p:nvPr userDrawn="1"/>
        </p:nvGrpSpPr>
        <p:grpSpPr>
          <a:xfrm rot="5400000">
            <a:off x="1259186" y="-1691281"/>
            <a:ext cx="1150258" cy="4399565"/>
            <a:chOff x="1113971" y="3497757"/>
            <a:chExt cx="1150258" cy="3142530"/>
          </a:xfrm>
        </p:grpSpPr>
        <p:sp>
          <p:nvSpPr>
            <p:cNvPr id="10" name="Freeform: Shape 9"/>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Freeform: Shape 11"/>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Freeform: Shape 12"/>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Freeform: Shape 13"/>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5" name="Group 14"/>
          <p:cNvGrpSpPr/>
          <p:nvPr userDrawn="1"/>
        </p:nvGrpSpPr>
        <p:grpSpPr>
          <a:xfrm>
            <a:off x="3897769" y="511147"/>
            <a:ext cx="274262" cy="274262"/>
            <a:chOff x="3766458" y="4912364"/>
            <a:chExt cx="468086" cy="468086"/>
          </a:xfrm>
        </p:grpSpPr>
        <p:sp>
          <p:nvSpPr>
            <p:cNvPr id="16" name="Oval 15"/>
            <p:cNvSpPr/>
            <p:nvPr/>
          </p:nvSpPr>
          <p:spPr>
            <a:xfrm>
              <a:off x="3766458" y="4912364"/>
              <a:ext cx="468086" cy="468086"/>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Oval 16"/>
            <p:cNvSpPr/>
            <p:nvPr/>
          </p:nvSpPr>
          <p:spPr>
            <a:xfrm>
              <a:off x="3860079" y="5005985"/>
              <a:ext cx="280844" cy="280844"/>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9" name="Group 18"/>
          <p:cNvGrpSpPr/>
          <p:nvPr userDrawn="1"/>
        </p:nvGrpSpPr>
        <p:grpSpPr>
          <a:xfrm flipH="1">
            <a:off x="5387922" y="2675606"/>
            <a:ext cx="6879800" cy="3485708"/>
            <a:chOff x="2661557" y="1008743"/>
            <a:chExt cx="6025243" cy="1848757"/>
          </a:xfrm>
        </p:grpSpPr>
        <p:sp>
          <p:nvSpPr>
            <p:cNvPr id="20" name="Freeform: Shape 19"/>
            <p:cNvSpPr/>
            <p:nvPr/>
          </p:nvSpPr>
          <p:spPr>
            <a:xfrm>
              <a:off x="2661557" y="1008743"/>
              <a:ext cx="6025243" cy="12391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Freeform: Shape 20"/>
            <p:cNvSpPr/>
            <p:nvPr/>
          </p:nvSpPr>
          <p:spPr>
            <a:xfrm>
              <a:off x="2661557" y="1008743"/>
              <a:ext cx="6025243" cy="13915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Freeform: Shape 21"/>
            <p:cNvSpPr/>
            <p:nvPr/>
          </p:nvSpPr>
          <p:spPr>
            <a:xfrm>
              <a:off x="2661557" y="1008743"/>
              <a:ext cx="6025243" cy="15439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Freeform: Shape 22"/>
            <p:cNvSpPr/>
            <p:nvPr/>
          </p:nvSpPr>
          <p:spPr>
            <a:xfrm>
              <a:off x="2661557" y="1008743"/>
              <a:ext cx="6025243" cy="16963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Freeform: Shape 23"/>
            <p:cNvSpPr/>
            <p:nvPr/>
          </p:nvSpPr>
          <p:spPr>
            <a:xfrm>
              <a:off x="2661557" y="1008743"/>
              <a:ext cx="6025243" cy="18487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25" name="Group 24"/>
          <p:cNvGrpSpPr/>
          <p:nvPr userDrawn="1"/>
        </p:nvGrpSpPr>
        <p:grpSpPr>
          <a:xfrm>
            <a:off x="5161680" y="2470138"/>
            <a:ext cx="468086" cy="468086"/>
            <a:chOff x="3766458" y="4912364"/>
            <a:chExt cx="468086" cy="468086"/>
          </a:xfrm>
        </p:grpSpPr>
        <p:sp>
          <p:nvSpPr>
            <p:cNvPr id="26" name="Oval 25"/>
            <p:cNvSpPr/>
            <p:nvPr/>
          </p:nvSpPr>
          <p:spPr>
            <a:xfrm>
              <a:off x="3766458" y="4912364"/>
              <a:ext cx="468086" cy="468086"/>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Oval 26"/>
            <p:cNvSpPr/>
            <p:nvPr/>
          </p:nvSpPr>
          <p:spPr>
            <a:xfrm>
              <a:off x="3860079" y="5005985"/>
              <a:ext cx="280844" cy="280844"/>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Oval 27"/>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29" name="Group 28"/>
          <p:cNvGrpSpPr/>
          <p:nvPr userDrawn="1"/>
        </p:nvGrpSpPr>
        <p:grpSpPr>
          <a:xfrm rot="19175348" flipH="1">
            <a:off x="4554593" y="364683"/>
            <a:ext cx="3645245" cy="1320522"/>
            <a:chOff x="5347225" y="-195944"/>
            <a:chExt cx="3320143" cy="727076"/>
          </a:xfrm>
        </p:grpSpPr>
        <p:sp>
          <p:nvSpPr>
            <p:cNvPr id="30" name="Freeform: Shape 29"/>
            <p:cNvSpPr/>
            <p:nvPr/>
          </p:nvSpPr>
          <p:spPr>
            <a:xfrm flipV="1">
              <a:off x="5347225" y="261256"/>
              <a:ext cx="3320143" cy="2698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Freeform: Shape 30"/>
            <p:cNvSpPr/>
            <p:nvPr/>
          </p:nvSpPr>
          <p:spPr>
            <a:xfrm flipV="1">
              <a:off x="5347225" y="108856"/>
              <a:ext cx="3320143" cy="4222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Freeform: Shape 31"/>
            <p:cNvSpPr/>
            <p:nvPr/>
          </p:nvSpPr>
          <p:spPr>
            <a:xfrm flipV="1">
              <a:off x="5347225" y="-43544"/>
              <a:ext cx="3320143" cy="5746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Freeform: Shape 32"/>
            <p:cNvSpPr/>
            <p:nvPr/>
          </p:nvSpPr>
          <p:spPr>
            <a:xfrm flipV="1">
              <a:off x="5347225" y="-195944"/>
              <a:ext cx="3320143" cy="7270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4" name="Oval 33"/>
          <p:cNvSpPr/>
          <p:nvPr userDrawn="1"/>
        </p:nvSpPr>
        <p:spPr>
          <a:xfrm>
            <a:off x="1879902" y="5994991"/>
            <a:ext cx="79452" cy="7945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Oval 34"/>
          <p:cNvSpPr/>
          <p:nvPr userDrawn="1"/>
        </p:nvSpPr>
        <p:spPr>
          <a:xfrm>
            <a:off x="6371462" y="5806091"/>
            <a:ext cx="79452" cy="7945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Oval 35"/>
          <p:cNvSpPr/>
          <p:nvPr userDrawn="1"/>
        </p:nvSpPr>
        <p:spPr>
          <a:xfrm>
            <a:off x="1836477" y="3344497"/>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Oval 36"/>
          <p:cNvSpPr/>
          <p:nvPr userDrawn="1"/>
        </p:nvSpPr>
        <p:spPr>
          <a:xfrm>
            <a:off x="871870" y="6104511"/>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Oval 37"/>
          <p:cNvSpPr/>
          <p:nvPr userDrawn="1"/>
        </p:nvSpPr>
        <p:spPr>
          <a:xfrm>
            <a:off x="1381204" y="3209301"/>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Oval 38"/>
          <p:cNvSpPr/>
          <p:nvPr userDrawn="1"/>
        </p:nvSpPr>
        <p:spPr>
          <a:xfrm>
            <a:off x="1577329" y="738421"/>
            <a:ext cx="69136" cy="6913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Oval 39"/>
          <p:cNvSpPr/>
          <p:nvPr userDrawn="1"/>
        </p:nvSpPr>
        <p:spPr>
          <a:xfrm>
            <a:off x="1049169" y="6443418"/>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Oval 40"/>
          <p:cNvSpPr/>
          <p:nvPr userDrawn="1"/>
        </p:nvSpPr>
        <p:spPr>
          <a:xfrm>
            <a:off x="1790999" y="2788038"/>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Oval 41"/>
          <p:cNvSpPr/>
          <p:nvPr userDrawn="1"/>
        </p:nvSpPr>
        <p:spPr>
          <a:xfrm>
            <a:off x="3048815" y="2896665"/>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43" name="Group 42"/>
          <p:cNvGrpSpPr/>
          <p:nvPr userDrawn="1"/>
        </p:nvGrpSpPr>
        <p:grpSpPr>
          <a:xfrm rot="5400000">
            <a:off x="-2095598" y="1716892"/>
            <a:ext cx="5147155" cy="1686894"/>
            <a:chOff x="-32657" y="4691730"/>
            <a:chExt cx="6625100" cy="2804185"/>
          </a:xfrm>
        </p:grpSpPr>
        <p:sp>
          <p:nvSpPr>
            <p:cNvPr id="44" name="Freeform: Shape 43"/>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Freeform: Shape 44"/>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Freeform: Shape 45"/>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Freeform: Shape 46"/>
            <p:cNvSpPr/>
            <p:nvPr/>
          </p:nvSpPr>
          <p:spPr>
            <a:xfrm>
              <a:off x="732971" y="6452314"/>
              <a:ext cx="5762172" cy="1043601"/>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62172" h="2282384">
                  <a:moveTo>
                    <a:pt x="0" y="1865099"/>
                  </a:moveTo>
                  <a:cubicBezTo>
                    <a:pt x="255209" y="1666737"/>
                    <a:pt x="536424" y="-5430"/>
                    <a:pt x="765629" y="13"/>
                  </a:cubicBezTo>
                  <a:cubicBezTo>
                    <a:pt x="994834" y="5456"/>
                    <a:pt x="1162957" y="1764104"/>
                    <a:pt x="1375229" y="1897756"/>
                  </a:cubicBezTo>
                  <a:cubicBezTo>
                    <a:pt x="1587501" y="2031408"/>
                    <a:pt x="1847549" y="810394"/>
                    <a:pt x="2039258" y="801927"/>
                  </a:cubicBezTo>
                  <a:cubicBezTo>
                    <a:pt x="2230967" y="793460"/>
                    <a:pt x="2367039" y="1768337"/>
                    <a:pt x="2525486" y="1846956"/>
                  </a:cubicBezTo>
                  <a:cubicBezTo>
                    <a:pt x="2683933" y="1925575"/>
                    <a:pt x="2859919" y="1287550"/>
                    <a:pt x="2989943" y="1273641"/>
                  </a:cubicBezTo>
                  <a:cubicBezTo>
                    <a:pt x="3119967" y="1259732"/>
                    <a:pt x="3187096" y="1909247"/>
                    <a:pt x="3305629" y="1763499"/>
                  </a:cubicBezTo>
                  <a:cubicBezTo>
                    <a:pt x="3424162" y="1617752"/>
                    <a:pt x="3569910" y="466889"/>
                    <a:pt x="3701143" y="399156"/>
                  </a:cubicBezTo>
                  <a:cubicBezTo>
                    <a:pt x="3832376" y="331423"/>
                    <a:pt x="3979334" y="1299042"/>
                    <a:pt x="4093029" y="1357099"/>
                  </a:cubicBezTo>
                  <a:cubicBezTo>
                    <a:pt x="4206724" y="1415156"/>
                    <a:pt x="4261758" y="659204"/>
                    <a:pt x="4383315" y="747499"/>
                  </a:cubicBezTo>
                  <a:cubicBezTo>
                    <a:pt x="4504872" y="835794"/>
                    <a:pt x="4668158" y="1856632"/>
                    <a:pt x="4822372" y="1886870"/>
                  </a:cubicBezTo>
                  <a:cubicBezTo>
                    <a:pt x="4976586" y="1917108"/>
                    <a:pt x="5151967" y="863008"/>
                    <a:pt x="5308600" y="928927"/>
                  </a:cubicBezTo>
                  <a:cubicBezTo>
                    <a:pt x="5465233" y="994846"/>
                    <a:pt x="5613702" y="1638615"/>
                    <a:pt x="5762172"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48" name="Group 47"/>
          <p:cNvGrpSpPr/>
          <p:nvPr userDrawn="1"/>
        </p:nvGrpSpPr>
        <p:grpSpPr>
          <a:xfrm rot="4500000">
            <a:off x="733515" y="1543528"/>
            <a:ext cx="1392007" cy="3437532"/>
            <a:chOff x="1113971" y="3497757"/>
            <a:chExt cx="1150258" cy="3142530"/>
          </a:xfrm>
        </p:grpSpPr>
        <p:sp>
          <p:nvSpPr>
            <p:cNvPr id="49" name="Freeform: Shape 48"/>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Freeform: Shape 49"/>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Freeform: Shape 50"/>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Freeform: Shape 51"/>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53" name="Group 52"/>
          <p:cNvGrpSpPr/>
          <p:nvPr userDrawn="1"/>
        </p:nvGrpSpPr>
        <p:grpSpPr>
          <a:xfrm rot="15300000" flipH="1">
            <a:off x="10722026" y="-306679"/>
            <a:ext cx="1590444" cy="2118297"/>
            <a:chOff x="1113971" y="3497757"/>
            <a:chExt cx="1150258" cy="3142530"/>
          </a:xfrm>
        </p:grpSpPr>
        <p:sp>
          <p:nvSpPr>
            <p:cNvPr id="54" name="Freeform: Shape 53"/>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Shape 54"/>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Freeform: Shape 55"/>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Freeform: Shape 56"/>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58" name="Oval 57"/>
          <p:cNvSpPr/>
          <p:nvPr userDrawn="1"/>
        </p:nvSpPr>
        <p:spPr>
          <a:xfrm>
            <a:off x="2214858" y="683335"/>
            <a:ext cx="69136" cy="6913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Oval 58"/>
          <p:cNvSpPr/>
          <p:nvPr userDrawn="1"/>
        </p:nvSpPr>
        <p:spPr>
          <a:xfrm>
            <a:off x="2648272" y="669742"/>
            <a:ext cx="51383" cy="5138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60" name="Group 59"/>
          <p:cNvGrpSpPr/>
          <p:nvPr userDrawn="1"/>
        </p:nvGrpSpPr>
        <p:grpSpPr>
          <a:xfrm>
            <a:off x="5756093" y="2301512"/>
            <a:ext cx="3899073" cy="1191791"/>
            <a:chOff x="5756093" y="2301512"/>
            <a:chExt cx="3899073" cy="1191791"/>
          </a:xfrm>
        </p:grpSpPr>
        <p:sp>
          <p:nvSpPr>
            <p:cNvPr id="61" name="Oval 60"/>
            <p:cNvSpPr/>
            <p:nvPr/>
          </p:nvSpPr>
          <p:spPr>
            <a:xfrm>
              <a:off x="8266386" y="2347545"/>
              <a:ext cx="254716" cy="254716"/>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Oval 61"/>
            <p:cNvSpPr/>
            <p:nvPr/>
          </p:nvSpPr>
          <p:spPr>
            <a:xfrm>
              <a:off x="6326273" y="2776652"/>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Oval 62"/>
            <p:cNvSpPr/>
            <p:nvPr/>
          </p:nvSpPr>
          <p:spPr>
            <a:xfrm>
              <a:off x="7275317" y="256960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Oval 63"/>
            <p:cNvSpPr/>
            <p:nvPr/>
          </p:nvSpPr>
          <p:spPr>
            <a:xfrm>
              <a:off x="6676654" y="2855918"/>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Oval 64"/>
            <p:cNvSpPr/>
            <p:nvPr/>
          </p:nvSpPr>
          <p:spPr>
            <a:xfrm>
              <a:off x="7021860" y="276232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Oval 65"/>
            <p:cNvSpPr/>
            <p:nvPr/>
          </p:nvSpPr>
          <p:spPr>
            <a:xfrm>
              <a:off x="9150042" y="311374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Oval 66"/>
            <p:cNvSpPr/>
            <p:nvPr/>
          </p:nvSpPr>
          <p:spPr>
            <a:xfrm>
              <a:off x="7521113" y="240907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Oval 67"/>
            <p:cNvSpPr/>
            <p:nvPr/>
          </p:nvSpPr>
          <p:spPr>
            <a:xfrm>
              <a:off x="8821654" y="2895644"/>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Oval 68"/>
            <p:cNvSpPr/>
            <p:nvPr/>
          </p:nvSpPr>
          <p:spPr>
            <a:xfrm>
              <a:off x="7911267" y="2301512"/>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Oval 69"/>
            <p:cNvSpPr/>
            <p:nvPr/>
          </p:nvSpPr>
          <p:spPr>
            <a:xfrm>
              <a:off x="8622432" y="2646039"/>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Oval 70"/>
            <p:cNvSpPr/>
            <p:nvPr/>
          </p:nvSpPr>
          <p:spPr>
            <a:xfrm>
              <a:off x="6046050" y="269839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Oval 71"/>
            <p:cNvSpPr/>
            <p:nvPr/>
          </p:nvSpPr>
          <p:spPr>
            <a:xfrm>
              <a:off x="5756093" y="276885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Oval 72"/>
            <p:cNvSpPr/>
            <p:nvPr/>
          </p:nvSpPr>
          <p:spPr>
            <a:xfrm>
              <a:off x="9364414" y="3258175"/>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Oval 73"/>
            <p:cNvSpPr/>
            <p:nvPr/>
          </p:nvSpPr>
          <p:spPr>
            <a:xfrm>
              <a:off x="9609447" y="3447584"/>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5" name="Group 74"/>
          <p:cNvGrpSpPr/>
          <p:nvPr userDrawn="1"/>
        </p:nvGrpSpPr>
        <p:grpSpPr>
          <a:xfrm rot="900000">
            <a:off x="9257656" y="2981058"/>
            <a:ext cx="3437832" cy="4758449"/>
            <a:chOff x="9385524" y="2790411"/>
            <a:chExt cx="3437832" cy="4758449"/>
          </a:xfrm>
        </p:grpSpPr>
        <p:sp>
          <p:nvSpPr>
            <p:cNvPr id="76" name="Freeform: Shape 75"/>
            <p:cNvSpPr/>
            <p:nvPr/>
          </p:nvSpPr>
          <p:spPr>
            <a:xfrm rot="1859816">
              <a:off x="9385524" y="279041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77" name="Group 76"/>
            <p:cNvGrpSpPr/>
            <p:nvPr/>
          </p:nvGrpSpPr>
          <p:grpSpPr>
            <a:xfrm>
              <a:off x="9659552" y="2944459"/>
              <a:ext cx="3163804" cy="4604401"/>
              <a:chOff x="9659552" y="2944459"/>
              <a:chExt cx="3163804" cy="4604401"/>
            </a:xfrm>
          </p:grpSpPr>
          <p:sp>
            <p:nvSpPr>
              <p:cNvPr id="78" name="Oval 77"/>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79" name="Group 78"/>
              <p:cNvGrpSpPr/>
              <p:nvPr/>
            </p:nvGrpSpPr>
            <p:grpSpPr>
              <a:xfrm>
                <a:off x="10171356" y="3779500"/>
                <a:ext cx="468086" cy="468086"/>
                <a:chOff x="3766458" y="4912364"/>
                <a:chExt cx="468086" cy="468086"/>
              </a:xfrm>
            </p:grpSpPr>
            <p:sp>
              <p:nvSpPr>
                <p:cNvPr id="103" name="Oval 102"/>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4" name="Oval 103"/>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Oval 104"/>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0" name="Oval 79"/>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Oval 80"/>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Oval 81"/>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Oval 82"/>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Oval 83"/>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Oval 84"/>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Oval 85"/>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Freeform: Shape 86"/>
              <p:cNvSpPr/>
              <p:nvPr/>
            </p:nvSpPr>
            <p:spPr>
              <a:xfrm rot="1859816">
                <a:off x="9942109" y="3114447"/>
                <a:ext cx="1657518" cy="3705100"/>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417" h="3497943">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cubicBezTo>
                      <a:pt x="1078002" y="3406624"/>
                      <a:pt x="1217702" y="3452283"/>
                      <a:pt x="1357402" y="3497943"/>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88" name="Group 87"/>
              <p:cNvGrpSpPr/>
              <p:nvPr/>
            </p:nvGrpSpPr>
            <p:grpSpPr>
              <a:xfrm>
                <a:off x="9659552" y="6255370"/>
                <a:ext cx="511804" cy="511804"/>
                <a:chOff x="3766458" y="4912364"/>
                <a:chExt cx="468086" cy="468086"/>
              </a:xfrm>
            </p:grpSpPr>
            <p:sp>
              <p:nvSpPr>
                <p:cNvPr id="100" name="Oval 99"/>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Oval 100"/>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Oval 101"/>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9" name="Oval 88"/>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0" name="Group 89"/>
              <p:cNvGrpSpPr/>
              <p:nvPr/>
            </p:nvGrpSpPr>
            <p:grpSpPr>
              <a:xfrm rot="18900000" flipH="1">
                <a:off x="9997674" y="4364464"/>
                <a:ext cx="1590444" cy="3184396"/>
                <a:chOff x="1113971" y="3497757"/>
                <a:chExt cx="1150258" cy="3142530"/>
              </a:xfrm>
            </p:grpSpPr>
            <p:sp>
              <p:nvSpPr>
                <p:cNvPr id="96" name="Freeform: Shape 95"/>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Freeform: Shape 96"/>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Freeform: Shape 97"/>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Shape 98"/>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91" name="Group 90"/>
              <p:cNvGrpSpPr/>
              <p:nvPr/>
            </p:nvGrpSpPr>
            <p:grpSpPr>
              <a:xfrm rot="7200000" flipH="1" flipV="1">
                <a:off x="10907040" y="2618587"/>
                <a:ext cx="1590444" cy="2242188"/>
                <a:chOff x="1113971" y="3497757"/>
                <a:chExt cx="1150258" cy="3142530"/>
              </a:xfrm>
            </p:grpSpPr>
            <p:sp>
              <p:nvSpPr>
                <p:cNvPr id="92" name="Freeform: Shape 9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3" name="Freeform: Shape 9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4" name="Freeform: Shape 9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Freeform: Shape 9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grpSp>
        <p:nvGrpSpPr>
          <p:cNvPr id="106" name="Group 105"/>
          <p:cNvGrpSpPr/>
          <p:nvPr userDrawn="1"/>
        </p:nvGrpSpPr>
        <p:grpSpPr>
          <a:xfrm>
            <a:off x="1476696" y="1517163"/>
            <a:ext cx="3599025" cy="1100078"/>
            <a:chOff x="5756093" y="2301512"/>
            <a:chExt cx="3899073" cy="1191791"/>
          </a:xfrm>
          <a:solidFill>
            <a:schemeClr val="bg1">
              <a:alpha val="30000"/>
            </a:schemeClr>
          </a:solidFill>
        </p:grpSpPr>
        <p:sp>
          <p:nvSpPr>
            <p:cNvPr id="107" name="Oval 106"/>
            <p:cNvSpPr/>
            <p:nvPr/>
          </p:nvSpPr>
          <p:spPr>
            <a:xfrm>
              <a:off x="8266386" y="2347545"/>
              <a:ext cx="254716" cy="254716"/>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Oval 107"/>
            <p:cNvSpPr/>
            <p:nvPr/>
          </p:nvSpPr>
          <p:spPr>
            <a:xfrm>
              <a:off x="6326273" y="2776652"/>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Oval 108"/>
            <p:cNvSpPr/>
            <p:nvPr/>
          </p:nvSpPr>
          <p:spPr>
            <a:xfrm>
              <a:off x="7275317" y="256960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0" name="Oval 109"/>
            <p:cNvSpPr/>
            <p:nvPr/>
          </p:nvSpPr>
          <p:spPr>
            <a:xfrm>
              <a:off x="6676654" y="2855918"/>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Oval 110"/>
            <p:cNvSpPr/>
            <p:nvPr/>
          </p:nvSpPr>
          <p:spPr>
            <a:xfrm>
              <a:off x="7021860" y="276232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Oval 111"/>
            <p:cNvSpPr/>
            <p:nvPr/>
          </p:nvSpPr>
          <p:spPr>
            <a:xfrm>
              <a:off x="9150042" y="311374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3" name="Oval 112"/>
            <p:cNvSpPr/>
            <p:nvPr/>
          </p:nvSpPr>
          <p:spPr>
            <a:xfrm>
              <a:off x="7521113" y="240907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Oval 113"/>
            <p:cNvSpPr/>
            <p:nvPr/>
          </p:nvSpPr>
          <p:spPr>
            <a:xfrm>
              <a:off x="8821654" y="2895644"/>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Oval 114"/>
            <p:cNvSpPr/>
            <p:nvPr/>
          </p:nvSpPr>
          <p:spPr>
            <a:xfrm>
              <a:off x="7911267" y="2301512"/>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Oval 115"/>
            <p:cNvSpPr/>
            <p:nvPr/>
          </p:nvSpPr>
          <p:spPr>
            <a:xfrm>
              <a:off x="8622432" y="2646039"/>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Oval 116"/>
            <p:cNvSpPr/>
            <p:nvPr/>
          </p:nvSpPr>
          <p:spPr>
            <a:xfrm>
              <a:off x="6046050" y="269839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8" name="Oval 117"/>
            <p:cNvSpPr/>
            <p:nvPr/>
          </p:nvSpPr>
          <p:spPr>
            <a:xfrm>
              <a:off x="5756093" y="276885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9" name="Oval 118"/>
            <p:cNvSpPr/>
            <p:nvPr/>
          </p:nvSpPr>
          <p:spPr>
            <a:xfrm>
              <a:off x="9364414" y="3258175"/>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0" name="Oval 119"/>
            <p:cNvSpPr/>
            <p:nvPr/>
          </p:nvSpPr>
          <p:spPr>
            <a:xfrm>
              <a:off x="9609447" y="3447584"/>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21" name="Group 120"/>
          <p:cNvGrpSpPr/>
          <p:nvPr userDrawn="1"/>
        </p:nvGrpSpPr>
        <p:grpSpPr>
          <a:xfrm rot="4480905">
            <a:off x="-193235" y="3476287"/>
            <a:ext cx="3437832" cy="4758449"/>
            <a:chOff x="9385524" y="2790411"/>
            <a:chExt cx="3437832" cy="4758449"/>
          </a:xfrm>
        </p:grpSpPr>
        <p:sp>
          <p:nvSpPr>
            <p:cNvPr id="122" name="Freeform: Shape 121"/>
            <p:cNvSpPr/>
            <p:nvPr/>
          </p:nvSpPr>
          <p:spPr>
            <a:xfrm rot="1859816">
              <a:off x="9385524" y="279041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3" name="Group 122"/>
            <p:cNvGrpSpPr/>
            <p:nvPr/>
          </p:nvGrpSpPr>
          <p:grpSpPr>
            <a:xfrm>
              <a:off x="9659552" y="2944459"/>
              <a:ext cx="3163804" cy="4604401"/>
              <a:chOff x="9659552" y="2944459"/>
              <a:chExt cx="3163804" cy="4604401"/>
            </a:xfrm>
          </p:grpSpPr>
          <p:sp>
            <p:nvSpPr>
              <p:cNvPr id="124" name="Oval 123"/>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5" name="Group 124"/>
              <p:cNvGrpSpPr/>
              <p:nvPr/>
            </p:nvGrpSpPr>
            <p:grpSpPr>
              <a:xfrm>
                <a:off x="10171356" y="3779500"/>
                <a:ext cx="468086" cy="468086"/>
                <a:chOff x="3766458" y="4912364"/>
                <a:chExt cx="468086" cy="468086"/>
              </a:xfrm>
            </p:grpSpPr>
            <p:sp>
              <p:nvSpPr>
                <p:cNvPr id="149" name="Oval 148"/>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0" name="Oval 149"/>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1" name="Oval 150"/>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26" name="Oval 125"/>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7" name="Oval 126"/>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8" name="Oval 127"/>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9" name="Oval 128"/>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0" name="Oval 129"/>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1" name="Oval 130"/>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2" name="Oval 131"/>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3" name="Freeform: Shape 132"/>
              <p:cNvSpPr/>
              <p:nvPr/>
            </p:nvSpPr>
            <p:spPr>
              <a:xfrm rot="1859816">
                <a:off x="9986645" y="3126797"/>
                <a:ext cx="1657518" cy="3532144"/>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226774 w 1394417"/>
                  <a:gd name="connsiteY0" fmla="*/ 0 h 3334657"/>
                  <a:gd name="connsiteX1" fmla="*/ 660717 w 1394417"/>
                  <a:gd name="connsiteY1" fmla="*/ 254000 h 3334657"/>
                  <a:gd name="connsiteX2" fmla="*/ 1299345 w 1394417"/>
                  <a:gd name="connsiteY2" fmla="*/ 635000 h 3334657"/>
                  <a:gd name="connsiteX3" fmla="*/ 317 w 1394417"/>
                  <a:gd name="connsiteY3" fmla="*/ 1157514 h 3334657"/>
                  <a:gd name="connsiteX4" fmla="*/ 1168717 w 1394417"/>
                  <a:gd name="connsiteY4" fmla="*/ 2028371 h 3334657"/>
                  <a:gd name="connsiteX5" fmla="*/ 504688 w 1394417"/>
                  <a:gd name="connsiteY5" fmla="*/ 2630714 h 3334657"/>
                  <a:gd name="connsiteX6" fmla="*/ 1379174 w 1394417"/>
                  <a:gd name="connsiteY6" fmla="*/ 3066143 h 3334657"/>
                  <a:gd name="connsiteX7" fmla="*/ 1081631 w 1394417"/>
                  <a:gd name="connsiteY7" fmla="*/ 3334657 h 333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4417" h="3334657">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34" name="Group 133"/>
              <p:cNvGrpSpPr/>
              <p:nvPr/>
            </p:nvGrpSpPr>
            <p:grpSpPr>
              <a:xfrm>
                <a:off x="9659552" y="6255370"/>
                <a:ext cx="511804" cy="511804"/>
                <a:chOff x="3766458" y="4912364"/>
                <a:chExt cx="468086" cy="468086"/>
              </a:xfrm>
            </p:grpSpPr>
            <p:sp>
              <p:nvSpPr>
                <p:cNvPr id="146" name="Oval 145"/>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7" name="Oval 146"/>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8" name="Oval 14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35" name="Oval 134"/>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36" name="Group 135"/>
              <p:cNvGrpSpPr/>
              <p:nvPr/>
            </p:nvGrpSpPr>
            <p:grpSpPr>
              <a:xfrm rot="18900000" flipH="1">
                <a:off x="9997674" y="4364464"/>
                <a:ext cx="1590444" cy="3184396"/>
                <a:chOff x="1113971" y="3497757"/>
                <a:chExt cx="1150258" cy="3142530"/>
              </a:xfrm>
            </p:grpSpPr>
            <p:sp>
              <p:nvSpPr>
                <p:cNvPr id="142" name="Freeform: Shape 14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3" name="Freeform: Shape 14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4" name="Freeform: Shape 14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5" name="Freeform: Shape 14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37" name="Group 136"/>
              <p:cNvGrpSpPr/>
              <p:nvPr/>
            </p:nvGrpSpPr>
            <p:grpSpPr>
              <a:xfrm rot="7200000" flipH="1" flipV="1">
                <a:off x="10907040" y="2618587"/>
                <a:ext cx="1590444" cy="2242188"/>
                <a:chOff x="1113971" y="3497757"/>
                <a:chExt cx="1150258" cy="3142530"/>
              </a:xfrm>
            </p:grpSpPr>
            <p:sp>
              <p:nvSpPr>
                <p:cNvPr id="138" name="Freeform: Shape 137"/>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9" name="Freeform: Shape 138"/>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0" name="Freeform: Shape 139"/>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1" name="Freeform: Shape 140"/>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grpSp>
        <p:nvGrpSpPr>
          <p:cNvPr id="152" name="Group 151"/>
          <p:cNvGrpSpPr/>
          <p:nvPr userDrawn="1"/>
        </p:nvGrpSpPr>
        <p:grpSpPr>
          <a:xfrm rot="21444120" flipH="1">
            <a:off x="10234111" y="-501857"/>
            <a:ext cx="2326374" cy="4134470"/>
            <a:chOff x="-213066" y="2126266"/>
            <a:chExt cx="2326374" cy="4134470"/>
          </a:xfrm>
        </p:grpSpPr>
        <p:grpSp>
          <p:nvGrpSpPr>
            <p:cNvPr id="153" name="Group 152"/>
            <p:cNvGrpSpPr/>
            <p:nvPr/>
          </p:nvGrpSpPr>
          <p:grpSpPr>
            <a:xfrm rot="5400000">
              <a:off x="-1021470" y="3125958"/>
              <a:ext cx="4134470" cy="2135086"/>
              <a:chOff x="2108201" y="5087492"/>
              <a:chExt cx="4484244" cy="2408425"/>
            </a:xfrm>
          </p:grpSpPr>
          <p:sp>
            <p:nvSpPr>
              <p:cNvPr id="159" name="Freeform: Shape 158"/>
              <p:cNvSpPr/>
              <p:nvPr/>
            </p:nvSpPr>
            <p:spPr>
              <a:xfrm>
                <a:off x="2108202" y="5087492"/>
                <a:ext cx="4484243" cy="22914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1 h 2687149"/>
                  <a:gd name="connsiteX1" fmla="*/ 609599 w 5093842"/>
                  <a:gd name="connsiteY1" fmla="*/ 1897742 h 2687149"/>
                  <a:gd name="connsiteX2" fmla="*/ 1273628 w 5093842"/>
                  <a:gd name="connsiteY2" fmla="*/ 801913 h 2687149"/>
                  <a:gd name="connsiteX3" fmla="*/ 1759856 w 5093842"/>
                  <a:gd name="connsiteY3" fmla="*/ 1846942 h 2687149"/>
                  <a:gd name="connsiteX4" fmla="*/ 2224313 w 5093842"/>
                  <a:gd name="connsiteY4" fmla="*/ 1273627 h 2687149"/>
                  <a:gd name="connsiteX5" fmla="*/ 2539999 w 5093842"/>
                  <a:gd name="connsiteY5" fmla="*/ 1763485 h 2687149"/>
                  <a:gd name="connsiteX6" fmla="*/ 2935513 w 5093842"/>
                  <a:gd name="connsiteY6" fmla="*/ 399142 h 2687149"/>
                  <a:gd name="connsiteX7" fmla="*/ 3327399 w 5093842"/>
                  <a:gd name="connsiteY7" fmla="*/ 1357085 h 2687149"/>
                  <a:gd name="connsiteX8" fmla="*/ 3617685 w 5093842"/>
                  <a:gd name="connsiteY8" fmla="*/ 747485 h 2687149"/>
                  <a:gd name="connsiteX9" fmla="*/ 4056742 w 5093842"/>
                  <a:gd name="connsiteY9" fmla="*/ 1886856 h 2687149"/>
                  <a:gd name="connsiteX10" fmla="*/ 4542970 w 5093842"/>
                  <a:gd name="connsiteY10" fmla="*/ 928913 h 2687149"/>
                  <a:gd name="connsiteX11" fmla="*/ 5093842 w 5093842"/>
                  <a:gd name="connsiteY11" fmla="*/ 2687149 h 2687149"/>
                  <a:gd name="connsiteX0" fmla="*/ 0 w 4484243"/>
                  <a:gd name="connsiteY0" fmla="*/ 1501995 h 2291402"/>
                  <a:gd name="connsiteX1" fmla="*/ 664029 w 4484243"/>
                  <a:gd name="connsiteY1" fmla="*/ 406166 h 2291402"/>
                  <a:gd name="connsiteX2" fmla="*/ 1150257 w 4484243"/>
                  <a:gd name="connsiteY2" fmla="*/ 1451195 h 2291402"/>
                  <a:gd name="connsiteX3" fmla="*/ 1614714 w 4484243"/>
                  <a:gd name="connsiteY3" fmla="*/ 877880 h 2291402"/>
                  <a:gd name="connsiteX4" fmla="*/ 1930400 w 4484243"/>
                  <a:gd name="connsiteY4" fmla="*/ 1367738 h 2291402"/>
                  <a:gd name="connsiteX5" fmla="*/ 2325914 w 4484243"/>
                  <a:gd name="connsiteY5" fmla="*/ 3395 h 2291402"/>
                  <a:gd name="connsiteX6" fmla="*/ 2717800 w 4484243"/>
                  <a:gd name="connsiteY6" fmla="*/ 961338 h 2291402"/>
                  <a:gd name="connsiteX7" fmla="*/ 3008086 w 4484243"/>
                  <a:gd name="connsiteY7" fmla="*/ 351738 h 2291402"/>
                  <a:gd name="connsiteX8" fmla="*/ 3447143 w 4484243"/>
                  <a:gd name="connsiteY8" fmla="*/ 1491109 h 2291402"/>
                  <a:gd name="connsiteX9" fmla="*/ 3933371 w 4484243"/>
                  <a:gd name="connsiteY9" fmla="*/ 533166 h 2291402"/>
                  <a:gd name="connsiteX10" fmla="*/ 4484243 w 4484243"/>
                  <a:gd name="connsiteY10" fmla="*/ 2291402 h 229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84243" h="2291402">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0521" y="399784"/>
                      <a:pt x="3933371" y="533166"/>
                    </a:cubicBezTo>
                    <a:cubicBezTo>
                      <a:pt x="4106221" y="666548"/>
                      <a:pt x="4335773" y="1647633"/>
                      <a:pt x="4484243" y="22914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0" name="Freeform: Shape 159"/>
              <p:cNvSpPr/>
              <p:nvPr/>
            </p:nvSpPr>
            <p:spPr>
              <a:xfrm>
                <a:off x="2108202" y="5531345"/>
                <a:ext cx="4445322"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5820552"/>
                  <a:gd name="connsiteY0" fmla="*/ 1865099 h 2518602"/>
                  <a:gd name="connsiteX1" fmla="*/ 765629 w 5820552"/>
                  <a:gd name="connsiteY1" fmla="*/ 13 h 2518602"/>
                  <a:gd name="connsiteX2" fmla="*/ 1375229 w 5820552"/>
                  <a:gd name="connsiteY2" fmla="*/ 1897756 h 2518602"/>
                  <a:gd name="connsiteX3" fmla="*/ 2039258 w 5820552"/>
                  <a:gd name="connsiteY3" fmla="*/ 801927 h 2518602"/>
                  <a:gd name="connsiteX4" fmla="*/ 2525486 w 5820552"/>
                  <a:gd name="connsiteY4" fmla="*/ 1846956 h 2518602"/>
                  <a:gd name="connsiteX5" fmla="*/ 2989943 w 5820552"/>
                  <a:gd name="connsiteY5" fmla="*/ 1273641 h 2518602"/>
                  <a:gd name="connsiteX6" fmla="*/ 3305629 w 5820552"/>
                  <a:gd name="connsiteY6" fmla="*/ 1763499 h 2518602"/>
                  <a:gd name="connsiteX7" fmla="*/ 3701143 w 5820552"/>
                  <a:gd name="connsiteY7" fmla="*/ 399156 h 2518602"/>
                  <a:gd name="connsiteX8" fmla="*/ 4093029 w 5820552"/>
                  <a:gd name="connsiteY8" fmla="*/ 1357099 h 2518602"/>
                  <a:gd name="connsiteX9" fmla="*/ 4383315 w 5820552"/>
                  <a:gd name="connsiteY9" fmla="*/ 747499 h 2518602"/>
                  <a:gd name="connsiteX10" fmla="*/ 4822372 w 5820552"/>
                  <a:gd name="connsiteY10" fmla="*/ 1886870 h 2518602"/>
                  <a:gd name="connsiteX11" fmla="*/ 5308600 w 5820552"/>
                  <a:gd name="connsiteY11" fmla="*/ 928927 h 2518602"/>
                  <a:gd name="connsiteX12" fmla="*/ 5820552 w 5820552"/>
                  <a:gd name="connsiteY12" fmla="*/ 2518602 h 2518602"/>
                  <a:gd name="connsiteX0" fmla="*/ 0 w 5054923"/>
                  <a:gd name="connsiteY0" fmla="*/ 0 h 2518589"/>
                  <a:gd name="connsiteX1" fmla="*/ 609600 w 5054923"/>
                  <a:gd name="connsiteY1" fmla="*/ 1897743 h 2518589"/>
                  <a:gd name="connsiteX2" fmla="*/ 1273629 w 5054923"/>
                  <a:gd name="connsiteY2" fmla="*/ 801914 h 2518589"/>
                  <a:gd name="connsiteX3" fmla="*/ 1759857 w 5054923"/>
                  <a:gd name="connsiteY3" fmla="*/ 1846943 h 2518589"/>
                  <a:gd name="connsiteX4" fmla="*/ 2224314 w 5054923"/>
                  <a:gd name="connsiteY4" fmla="*/ 1273628 h 2518589"/>
                  <a:gd name="connsiteX5" fmla="*/ 2540000 w 5054923"/>
                  <a:gd name="connsiteY5" fmla="*/ 1763486 h 2518589"/>
                  <a:gd name="connsiteX6" fmla="*/ 2935514 w 5054923"/>
                  <a:gd name="connsiteY6" fmla="*/ 399143 h 2518589"/>
                  <a:gd name="connsiteX7" fmla="*/ 3327400 w 5054923"/>
                  <a:gd name="connsiteY7" fmla="*/ 1357086 h 2518589"/>
                  <a:gd name="connsiteX8" fmla="*/ 3617686 w 5054923"/>
                  <a:gd name="connsiteY8" fmla="*/ 747486 h 2518589"/>
                  <a:gd name="connsiteX9" fmla="*/ 4056743 w 5054923"/>
                  <a:gd name="connsiteY9" fmla="*/ 1886857 h 2518589"/>
                  <a:gd name="connsiteX10" fmla="*/ 4542971 w 5054923"/>
                  <a:gd name="connsiteY10" fmla="*/ 928914 h 2518589"/>
                  <a:gd name="connsiteX11" fmla="*/ 5054923 w 5054923"/>
                  <a:gd name="connsiteY11" fmla="*/ 2518589 h 2518589"/>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5323" h="2122841">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7008" y="427877"/>
                      <a:pt x="3933371" y="533166"/>
                    </a:cubicBezTo>
                    <a:cubicBezTo>
                      <a:pt x="4099734" y="638455"/>
                      <a:pt x="4296853" y="1479072"/>
                      <a:pt x="4445323" y="2122841"/>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1" name="Freeform: Shape 160"/>
              <p:cNvSpPr/>
              <p:nvPr/>
            </p:nvSpPr>
            <p:spPr>
              <a:xfrm>
                <a:off x="2108201" y="6195930"/>
                <a:ext cx="4386943" cy="122017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3">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76738" y="467247"/>
                      <a:pt x="3933371" y="533166"/>
                    </a:cubicBezTo>
                    <a:cubicBezTo>
                      <a:pt x="4090004" y="599085"/>
                      <a:pt x="4238473" y="1242854"/>
                      <a:pt x="4386943" y="188662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2" name="Freeform: Shape 161"/>
              <p:cNvSpPr/>
              <p:nvPr/>
            </p:nvSpPr>
            <p:spPr>
              <a:xfrm>
                <a:off x="2108201" y="6633272"/>
                <a:ext cx="4386943"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6 h 1886624"/>
                  <a:gd name="connsiteX1" fmla="*/ 664029 w 4386943"/>
                  <a:gd name="connsiteY1" fmla="*/ 406167 h 1886624"/>
                  <a:gd name="connsiteX2" fmla="*/ 1150257 w 4386943"/>
                  <a:gd name="connsiteY2" fmla="*/ 1451196 h 1886624"/>
                  <a:gd name="connsiteX3" fmla="*/ 1614714 w 4386943"/>
                  <a:gd name="connsiteY3" fmla="*/ 877881 h 1886624"/>
                  <a:gd name="connsiteX4" fmla="*/ 1930400 w 4386943"/>
                  <a:gd name="connsiteY4" fmla="*/ 1367739 h 1886624"/>
                  <a:gd name="connsiteX5" fmla="*/ 2325914 w 4386943"/>
                  <a:gd name="connsiteY5" fmla="*/ 3396 h 1886624"/>
                  <a:gd name="connsiteX6" fmla="*/ 2717800 w 4386943"/>
                  <a:gd name="connsiteY6" fmla="*/ 961339 h 1886624"/>
                  <a:gd name="connsiteX7" fmla="*/ 3008086 w 4386943"/>
                  <a:gd name="connsiteY7" fmla="*/ 351739 h 1886624"/>
                  <a:gd name="connsiteX8" fmla="*/ 3447143 w 4386943"/>
                  <a:gd name="connsiteY8" fmla="*/ 1491110 h 1886624"/>
                  <a:gd name="connsiteX9" fmla="*/ 3933371 w 4386943"/>
                  <a:gd name="connsiteY9" fmla="*/ 533167 h 1886624"/>
                  <a:gd name="connsiteX10" fmla="*/ 4386943 w 4386943"/>
                  <a:gd name="connsiteY10" fmla="*/ 1886624 h 188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4">
                    <a:moveTo>
                      <a:pt x="0" y="1501996"/>
                    </a:moveTo>
                    <a:cubicBezTo>
                      <a:pt x="212272" y="1635648"/>
                      <a:pt x="472320" y="414634"/>
                      <a:pt x="664029" y="406167"/>
                    </a:cubicBezTo>
                    <a:cubicBezTo>
                      <a:pt x="855738" y="397700"/>
                      <a:pt x="991810" y="1372577"/>
                      <a:pt x="1150257" y="1451196"/>
                    </a:cubicBezTo>
                    <a:cubicBezTo>
                      <a:pt x="1308704" y="1529815"/>
                      <a:pt x="1484690" y="891790"/>
                      <a:pt x="1614714" y="877881"/>
                    </a:cubicBezTo>
                    <a:cubicBezTo>
                      <a:pt x="1744738" y="863972"/>
                      <a:pt x="1811867" y="1513487"/>
                      <a:pt x="1930400" y="1367739"/>
                    </a:cubicBezTo>
                    <a:cubicBezTo>
                      <a:pt x="2048933" y="1221992"/>
                      <a:pt x="2194681" y="71129"/>
                      <a:pt x="2325914" y="3396"/>
                    </a:cubicBezTo>
                    <a:cubicBezTo>
                      <a:pt x="2457147" y="-64337"/>
                      <a:pt x="2604105" y="903282"/>
                      <a:pt x="2717800" y="961339"/>
                    </a:cubicBezTo>
                    <a:cubicBezTo>
                      <a:pt x="2831495" y="1019396"/>
                      <a:pt x="2886529" y="263444"/>
                      <a:pt x="3008086" y="351739"/>
                    </a:cubicBezTo>
                    <a:cubicBezTo>
                      <a:pt x="3129643" y="440034"/>
                      <a:pt x="3292929" y="1460872"/>
                      <a:pt x="3447143" y="1491110"/>
                    </a:cubicBezTo>
                    <a:cubicBezTo>
                      <a:pt x="3601357" y="1521348"/>
                      <a:pt x="3776738" y="467248"/>
                      <a:pt x="3933371" y="533167"/>
                    </a:cubicBezTo>
                    <a:cubicBezTo>
                      <a:pt x="4090004" y="599086"/>
                      <a:pt x="4238473" y="1242855"/>
                      <a:pt x="4386943" y="188662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54" name="Group 153"/>
            <p:cNvGrpSpPr/>
            <p:nvPr/>
          </p:nvGrpSpPr>
          <p:grpSpPr>
            <a:xfrm rot="5400000">
              <a:off x="-972652" y="3077916"/>
              <a:ext cx="2967991" cy="1448820"/>
              <a:chOff x="2772230" y="5087490"/>
              <a:chExt cx="3820215" cy="2408427"/>
            </a:xfrm>
          </p:grpSpPr>
          <p:sp>
            <p:nvSpPr>
              <p:cNvPr id="155" name="Freeform: Shape 154"/>
              <p:cNvSpPr/>
              <p:nvPr/>
            </p:nvSpPr>
            <p:spPr>
              <a:xfrm>
                <a:off x="2772230" y="5087490"/>
                <a:ext cx="3820215" cy="2291400"/>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0 h 2687150"/>
                  <a:gd name="connsiteX1" fmla="*/ 609599 w 5093842"/>
                  <a:gd name="connsiteY1" fmla="*/ 1897743 h 2687150"/>
                  <a:gd name="connsiteX2" fmla="*/ 1273628 w 5093842"/>
                  <a:gd name="connsiteY2" fmla="*/ 801914 h 2687150"/>
                  <a:gd name="connsiteX3" fmla="*/ 1759856 w 5093842"/>
                  <a:gd name="connsiteY3" fmla="*/ 1846943 h 2687150"/>
                  <a:gd name="connsiteX4" fmla="*/ 2224313 w 5093842"/>
                  <a:gd name="connsiteY4" fmla="*/ 1273628 h 2687150"/>
                  <a:gd name="connsiteX5" fmla="*/ 2539999 w 5093842"/>
                  <a:gd name="connsiteY5" fmla="*/ 1763486 h 2687150"/>
                  <a:gd name="connsiteX6" fmla="*/ 2935513 w 5093842"/>
                  <a:gd name="connsiteY6" fmla="*/ 399143 h 2687150"/>
                  <a:gd name="connsiteX7" fmla="*/ 3327399 w 5093842"/>
                  <a:gd name="connsiteY7" fmla="*/ 1357086 h 2687150"/>
                  <a:gd name="connsiteX8" fmla="*/ 3617685 w 5093842"/>
                  <a:gd name="connsiteY8" fmla="*/ 747486 h 2687150"/>
                  <a:gd name="connsiteX9" fmla="*/ 4056742 w 5093842"/>
                  <a:gd name="connsiteY9" fmla="*/ 1886857 h 2687150"/>
                  <a:gd name="connsiteX10" fmla="*/ 4542970 w 5093842"/>
                  <a:gd name="connsiteY10" fmla="*/ 928914 h 2687150"/>
                  <a:gd name="connsiteX11" fmla="*/ 5093842 w 5093842"/>
                  <a:gd name="connsiteY11" fmla="*/ 2687150 h 2687150"/>
                  <a:gd name="connsiteX0" fmla="*/ 0 w 4484243"/>
                  <a:gd name="connsiteY0" fmla="*/ 1501996 h 2291403"/>
                  <a:gd name="connsiteX1" fmla="*/ 664029 w 4484243"/>
                  <a:gd name="connsiteY1" fmla="*/ 406167 h 2291403"/>
                  <a:gd name="connsiteX2" fmla="*/ 1150257 w 4484243"/>
                  <a:gd name="connsiteY2" fmla="*/ 1451196 h 2291403"/>
                  <a:gd name="connsiteX3" fmla="*/ 1614714 w 4484243"/>
                  <a:gd name="connsiteY3" fmla="*/ 877881 h 2291403"/>
                  <a:gd name="connsiteX4" fmla="*/ 1930400 w 4484243"/>
                  <a:gd name="connsiteY4" fmla="*/ 1367739 h 2291403"/>
                  <a:gd name="connsiteX5" fmla="*/ 2325914 w 4484243"/>
                  <a:gd name="connsiteY5" fmla="*/ 3396 h 2291403"/>
                  <a:gd name="connsiteX6" fmla="*/ 2717800 w 4484243"/>
                  <a:gd name="connsiteY6" fmla="*/ 961339 h 2291403"/>
                  <a:gd name="connsiteX7" fmla="*/ 3008086 w 4484243"/>
                  <a:gd name="connsiteY7" fmla="*/ 351739 h 2291403"/>
                  <a:gd name="connsiteX8" fmla="*/ 3447143 w 4484243"/>
                  <a:gd name="connsiteY8" fmla="*/ 1491110 h 2291403"/>
                  <a:gd name="connsiteX9" fmla="*/ 3933371 w 4484243"/>
                  <a:gd name="connsiteY9" fmla="*/ 533167 h 2291403"/>
                  <a:gd name="connsiteX10" fmla="*/ 4484243 w 4484243"/>
                  <a:gd name="connsiteY10" fmla="*/ 2291403 h 2291403"/>
                  <a:gd name="connsiteX0" fmla="*/ 0 w 3820214"/>
                  <a:gd name="connsiteY0" fmla="*/ 406165 h 2291401"/>
                  <a:gd name="connsiteX1" fmla="*/ 486228 w 3820214"/>
                  <a:gd name="connsiteY1" fmla="*/ 1451194 h 2291401"/>
                  <a:gd name="connsiteX2" fmla="*/ 950685 w 3820214"/>
                  <a:gd name="connsiteY2" fmla="*/ 877879 h 2291401"/>
                  <a:gd name="connsiteX3" fmla="*/ 1266371 w 3820214"/>
                  <a:gd name="connsiteY3" fmla="*/ 1367737 h 2291401"/>
                  <a:gd name="connsiteX4" fmla="*/ 1661885 w 3820214"/>
                  <a:gd name="connsiteY4" fmla="*/ 3394 h 2291401"/>
                  <a:gd name="connsiteX5" fmla="*/ 2053771 w 3820214"/>
                  <a:gd name="connsiteY5" fmla="*/ 961337 h 2291401"/>
                  <a:gd name="connsiteX6" fmla="*/ 2344057 w 3820214"/>
                  <a:gd name="connsiteY6" fmla="*/ 351737 h 2291401"/>
                  <a:gd name="connsiteX7" fmla="*/ 2783114 w 3820214"/>
                  <a:gd name="connsiteY7" fmla="*/ 1491108 h 2291401"/>
                  <a:gd name="connsiteX8" fmla="*/ 3269342 w 3820214"/>
                  <a:gd name="connsiteY8" fmla="*/ 533165 h 2291401"/>
                  <a:gd name="connsiteX9" fmla="*/ 3820214 w 3820214"/>
                  <a:gd name="connsiteY9" fmla="*/ 2291401 h 229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0214" h="2291401">
                    <a:moveTo>
                      <a:pt x="0" y="406165"/>
                    </a:moveTo>
                    <a:cubicBezTo>
                      <a:pt x="191709" y="397698"/>
                      <a:pt x="327781" y="1372575"/>
                      <a:pt x="486228" y="1451194"/>
                    </a:cubicBezTo>
                    <a:cubicBezTo>
                      <a:pt x="644675" y="1529813"/>
                      <a:pt x="820661" y="891788"/>
                      <a:pt x="950685" y="877879"/>
                    </a:cubicBezTo>
                    <a:cubicBezTo>
                      <a:pt x="1080709" y="863970"/>
                      <a:pt x="1147838" y="1513485"/>
                      <a:pt x="1266371" y="1367737"/>
                    </a:cubicBezTo>
                    <a:cubicBezTo>
                      <a:pt x="1384904" y="1221990"/>
                      <a:pt x="1530652" y="71127"/>
                      <a:pt x="1661885" y="3394"/>
                    </a:cubicBezTo>
                    <a:cubicBezTo>
                      <a:pt x="1793118" y="-64339"/>
                      <a:pt x="1940076" y="903280"/>
                      <a:pt x="2053771" y="961337"/>
                    </a:cubicBezTo>
                    <a:cubicBezTo>
                      <a:pt x="2167466" y="1019394"/>
                      <a:pt x="2222500" y="263442"/>
                      <a:pt x="2344057" y="351737"/>
                    </a:cubicBezTo>
                    <a:cubicBezTo>
                      <a:pt x="2465614" y="440032"/>
                      <a:pt x="2628900" y="1460870"/>
                      <a:pt x="2783114" y="1491108"/>
                    </a:cubicBezTo>
                    <a:cubicBezTo>
                      <a:pt x="2937328" y="1521346"/>
                      <a:pt x="3096492" y="399783"/>
                      <a:pt x="3269342" y="533165"/>
                    </a:cubicBezTo>
                    <a:cubicBezTo>
                      <a:pt x="3442192" y="666547"/>
                      <a:pt x="3671744" y="1647632"/>
                      <a:pt x="3820214" y="229140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6" name="Freeform: Shape 155"/>
              <p:cNvSpPr/>
              <p:nvPr/>
            </p:nvSpPr>
            <p:spPr>
              <a:xfrm>
                <a:off x="2772230" y="5531340"/>
                <a:ext cx="3781294"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6586180"/>
                  <a:gd name="connsiteY0" fmla="*/ 794423 h 2122841"/>
                  <a:gd name="connsiteX1" fmla="*/ 765628 w 6586180"/>
                  <a:gd name="connsiteY1" fmla="*/ 1469338 h 2122841"/>
                  <a:gd name="connsiteX2" fmla="*/ 2140857 w 6586180"/>
                  <a:gd name="connsiteY2" fmla="*/ 1501995 h 2122841"/>
                  <a:gd name="connsiteX3" fmla="*/ 2804886 w 6586180"/>
                  <a:gd name="connsiteY3" fmla="*/ 406166 h 2122841"/>
                  <a:gd name="connsiteX4" fmla="*/ 3291114 w 6586180"/>
                  <a:gd name="connsiteY4" fmla="*/ 1451195 h 2122841"/>
                  <a:gd name="connsiteX5" fmla="*/ 3755571 w 6586180"/>
                  <a:gd name="connsiteY5" fmla="*/ 877880 h 2122841"/>
                  <a:gd name="connsiteX6" fmla="*/ 4071257 w 6586180"/>
                  <a:gd name="connsiteY6" fmla="*/ 1367738 h 2122841"/>
                  <a:gd name="connsiteX7" fmla="*/ 4466771 w 6586180"/>
                  <a:gd name="connsiteY7" fmla="*/ 3395 h 2122841"/>
                  <a:gd name="connsiteX8" fmla="*/ 4858657 w 6586180"/>
                  <a:gd name="connsiteY8" fmla="*/ 961338 h 2122841"/>
                  <a:gd name="connsiteX9" fmla="*/ 5148943 w 6586180"/>
                  <a:gd name="connsiteY9" fmla="*/ 351738 h 2122841"/>
                  <a:gd name="connsiteX10" fmla="*/ 5588000 w 6586180"/>
                  <a:gd name="connsiteY10" fmla="*/ 1491109 h 2122841"/>
                  <a:gd name="connsiteX11" fmla="*/ 6074228 w 6586180"/>
                  <a:gd name="connsiteY11" fmla="*/ 533166 h 2122841"/>
                  <a:gd name="connsiteX12" fmla="*/ 6586180 w 6586180"/>
                  <a:gd name="connsiteY12" fmla="*/ 2122841 h 2122841"/>
                  <a:gd name="connsiteX0" fmla="*/ 0 w 6586180"/>
                  <a:gd name="connsiteY0" fmla="*/ 794423 h 2122841"/>
                  <a:gd name="connsiteX1" fmla="*/ 2140857 w 6586180"/>
                  <a:gd name="connsiteY1" fmla="*/ 1501995 h 2122841"/>
                  <a:gd name="connsiteX2" fmla="*/ 2804886 w 6586180"/>
                  <a:gd name="connsiteY2" fmla="*/ 406166 h 2122841"/>
                  <a:gd name="connsiteX3" fmla="*/ 3291114 w 6586180"/>
                  <a:gd name="connsiteY3" fmla="*/ 1451195 h 2122841"/>
                  <a:gd name="connsiteX4" fmla="*/ 3755571 w 6586180"/>
                  <a:gd name="connsiteY4" fmla="*/ 877880 h 2122841"/>
                  <a:gd name="connsiteX5" fmla="*/ 4071257 w 6586180"/>
                  <a:gd name="connsiteY5" fmla="*/ 1367738 h 2122841"/>
                  <a:gd name="connsiteX6" fmla="*/ 4466771 w 6586180"/>
                  <a:gd name="connsiteY6" fmla="*/ 3395 h 2122841"/>
                  <a:gd name="connsiteX7" fmla="*/ 4858657 w 6586180"/>
                  <a:gd name="connsiteY7" fmla="*/ 961338 h 2122841"/>
                  <a:gd name="connsiteX8" fmla="*/ 5148943 w 6586180"/>
                  <a:gd name="connsiteY8" fmla="*/ 351738 h 2122841"/>
                  <a:gd name="connsiteX9" fmla="*/ 5588000 w 6586180"/>
                  <a:gd name="connsiteY9" fmla="*/ 1491109 h 2122841"/>
                  <a:gd name="connsiteX10" fmla="*/ 6074228 w 6586180"/>
                  <a:gd name="connsiteY10" fmla="*/ 533166 h 2122841"/>
                  <a:gd name="connsiteX11" fmla="*/ 6586180 w 6586180"/>
                  <a:gd name="connsiteY11" fmla="*/ 2122841 h 2122841"/>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 name="connsiteX0" fmla="*/ 0 w 3781294"/>
                  <a:gd name="connsiteY0" fmla="*/ 406166 h 2122841"/>
                  <a:gd name="connsiteX1" fmla="*/ 486228 w 3781294"/>
                  <a:gd name="connsiteY1" fmla="*/ 1451195 h 2122841"/>
                  <a:gd name="connsiteX2" fmla="*/ 950685 w 3781294"/>
                  <a:gd name="connsiteY2" fmla="*/ 877880 h 2122841"/>
                  <a:gd name="connsiteX3" fmla="*/ 1266371 w 3781294"/>
                  <a:gd name="connsiteY3" fmla="*/ 1367738 h 2122841"/>
                  <a:gd name="connsiteX4" fmla="*/ 1661885 w 3781294"/>
                  <a:gd name="connsiteY4" fmla="*/ 3395 h 2122841"/>
                  <a:gd name="connsiteX5" fmla="*/ 2053771 w 3781294"/>
                  <a:gd name="connsiteY5" fmla="*/ 961338 h 2122841"/>
                  <a:gd name="connsiteX6" fmla="*/ 2344057 w 3781294"/>
                  <a:gd name="connsiteY6" fmla="*/ 351738 h 2122841"/>
                  <a:gd name="connsiteX7" fmla="*/ 2783114 w 3781294"/>
                  <a:gd name="connsiteY7" fmla="*/ 1491109 h 2122841"/>
                  <a:gd name="connsiteX8" fmla="*/ 3269342 w 3781294"/>
                  <a:gd name="connsiteY8" fmla="*/ 533166 h 2122841"/>
                  <a:gd name="connsiteX9" fmla="*/ 3781294 w 3781294"/>
                  <a:gd name="connsiteY9"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1294" h="2122841">
                    <a:moveTo>
                      <a:pt x="0" y="406166"/>
                    </a:moveTo>
                    <a:cubicBezTo>
                      <a:pt x="191709" y="397699"/>
                      <a:pt x="327781" y="1372576"/>
                      <a:pt x="486228" y="1451195"/>
                    </a:cubicBezTo>
                    <a:cubicBezTo>
                      <a:pt x="644675" y="1529814"/>
                      <a:pt x="820661" y="891789"/>
                      <a:pt x="950685" y="877880"/>
                    </a:cubicBezTo>
                    <a:cubicBezTo>
                      <a:pt x="1080709" y="863971"/>
                      <a:pt x="1147838" y="1513486"/>
                      <a:pt x="1266371" y="1367738"/>
                    </a:cubicBezTo>
                    <a:cubicBezTo>
                      <a:pt x="1384904" y="1221991"/>
                      <a:pt x="1530652" y="71128"/>
                      <a:pt x="1661885" y="3395"/>
                    </a:cubicBezTo>
                    <a:cubicBezTo>
                      <a:pt x="1793118" y="-64338"/>
                      <a:pt x="1940076" y="903281"/>
                      <a:pt x="2053771" y="961338"/>
                    </a:cubicBezTo>
                    <a:cubicBezTo>
                      <a:pt x="2167466" y="1019395"/>
                      <a:pt x="2222500" y="263443"/>
                      <a:pt x="2344057" y="351738"/>
                    </a:cubicBezTo>
                    <a:cubicBezTo>
                      <a:pt x="2465614" y="440033"/>
                      <a:pt x="2628900" y="1460871"/>
                      <a:pt x="2783114" y="1491109"/>
                    </a:cubicBezTo>
                    <a:cubicBezTo>
                      <a:pt x="2937328" y="1521347"/>
                      <a:pt x="3102979" y="427877"/>
                      <a:pt x="3269342" y="533166"/>
                    </a:cubicBezTo>
                    <a:cubicBezTo>
                      <a:pt x="3435705" y="638455"/>
                      <a:pt x="3632824" y="1479072"/>
                      <a:pt x="3781294" y="212284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7" name="Freeform: Shape 156"/>
              <p:cNvSpPr/>
              <p:nvPr/>
            </p:nvSpPr>
            <p:spPr>
              <a:xfrm>
                <a:off x="3258458" y="6195929"/>
                <a:ext cx="3236685" cy="1220174"/>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27800"/>
                  <a:gd name="connsiteY0" fmla="*/ 1219485 h 2311685"/>
                  <a:gd name="connsiteX1" fmla="*/ 765628 w 6527800"/>
                  <a:gd name="connsiteY1" fmla="*/ 1894400 h 2311685"/>
                  <a:gd name="connsiteX2" fmla="*/ 1531257 w 6527800"/>
                  <a:gd name="connsiteY2" fmla="*/ 29314 h 2311685"/>
                  <a:gd name="connsiteX3" fmla="*/ 2804886 w 6527800"/>
                  <a:gd name="connsiteY3" fmla="*/ 831228 h 2311685"/>
                  <a:gd name="connsiteX4" fmla="*/ 3291114 w 6527800"/>
                  <a:gd name="connsiteY4" fmla="*/ 1876257 h 2311685"/>
                  <a:gd name="connsiteX5" fmla="*/ 3755571 w 6527800"/>
                  <a:gd name="connsiteY5" fmla="*/ 1302942 h 2311685"/>
                  <a:gd name="connsiteX6" fmla="*/ 4071257 w 6527800"/>
                  <a:gd name="connsiteY6" fmla="*/ 1792800 h 2311685"/>
                  <a:gd name="connsiteX7" fmla="*/ 4466771 w 6527800"/>
                  <a:gd name="connsiteY7" fmla="*/ 428457 h 2311685"/>
                  <a:gd name="connsiteX8" fmla="*/ 4858657 w 6527800"/>
                  <a:gd name="connsiteY8" fmla="*/ 1386400 h 2311685"/>
                  <a:gd name="connsiteX9" fmla="*/ 5148943 w 6527800"/>
                  <a:gd name="connsiteY9" fmla="*/ 776800 h 2311685"/>
                  <a:gd name="connsiteX10" fmla="*/ 5588000 w 6527800"/>
                  <a:gd name="connsiteY10" fmla="*/ 1916171 h 2311685"/>
                  <a:gd name="connsiteX11" fmla="*/ 6074228 w 6527800"/>
                  <a:gd name="connsiteY11" fmla="*/ 958228 h 2311685"/>
                  <a:gd name="connsiteX12" fmla="*/ 6527800 w 6527800"/>
                  <a:gd name="connsiteY12" fmla="*/ 2311685 h 2311685"/>
                  <a:gd name="connsiteX0" fmla="*/ 0 w 6527800"/>
                  <a:gd name="connsiteY0" fmla="*/ 794423 h 1886623"/>
                  <a:gd name="connsiteX1" fmla="*/ 765628 w 6527800"/>
                  <a:gd name="connsiteY1" fmla="*/ 1469338 h 1886623"/>
                  <a:gd name="connsiteX2" fmla="*/ 2804886 w 6527800"/>
                  <a:gd name="connsiteY2" fmla="*/ 406166 h 1886623"/>
                  <a:gd name="connsiteX3" fmla="*/ 3291114 w 6527800"/>
                  <a:gd name="connsiteY3" fmla="*/ 1451195 h 1886623"/>
                  <a:gd name="connsiteX4" fmla="*/ 3755571 w 6527800"/>
                  <a:gd name="connsiteY4" fmla="*/ 877880 h 1886623"/>
                  <a:gd name="connsiteX5" fmla="*/ 4071257 w 6527800"/>
                  <a:gd name="connsiteY5" fmla="*/ 1367738 h 1886623"/>
                  <a:gd name="connsiteX6" fmla="*/ 4466771 w 6527800"/>
                  <a:gd name="connsiteY6" fmla="*/ 3395 h 1886623"/>
                  <a:gd name="connsiteX7" fmla="*/ 4858657 w 6527800"/>
                  <a:gd name="connsiteY7" fmla="*/ 961338 h 1886623"/>
                  <a:gd name="connsiteX8" fmla="*/ 5148943 w 6527800"/>
                  <a:gd name="connsiteY8" fmla="*/ 351738 h 1886623"/>
                  <a:gd name="connsiteX9" fmla="*/ 5588000 w 6527800"/>
                  <a:gd name="connsiteY9" fmla="*/ 1491109 h 1886623"/>
                  <a:gd name="connsiteX10" fmla="*/ 6074228 w 6527800"/>
                  <a:gd name="connsiteY10" fmla="*/ 533166 h 1886623"/>
                  <a:gd name="connsiteX11" fmla="*/ 6527800 w 6527800"/>
                  <a:gd name="connsiteY11" fmla="*/ 1886623 h 1886623"/>
                  <a:gd name="connsiteX0" fmla="*/ 0 w 6527800"/>
                  <a:gd name="connsiteY0" fmla="*/ 794423 h 1886623"/>
                  <a:gd name="connsiteX1" fmla="*/ 765628 w 6527800"/>
                  <a:gd name="connsiteY1" fmla="*/ 1469338 h 1886623"/>
                  <a:gd name="connsiteX2" fmla="*/ 3291114 w 6527800"/>
                  <a:gd name="connsiteY2" fmla="*/ 1451195 h 1886623"/>
                  <a:gd name="connsiteX3" fmla="*/ 3755571 w 6527800"/>
                  <a:gd name="connsiteY3" fmla="*/ 877880 h 1886623"/>
                  <a:gd name="connsiteX4" fmla="*/ 4071257 w 6527800"/>
                  <a:gd name="connsiteY4" fmla="*/ 1367738 h 1886623"/>
                  <a:gd name="connsiteX5" fmla="*/ 4466771 w 6527800"/>
                  <a:gd name="connsiteY5" fmla="*/ 3395 h 1886623"/>
                  <a:gd name="connsiteX6" fmla="*/ 4858657 w 6527800"/>
                  <a:gd name="connsiteY6" fmla="*/ 961338 h 1886623"/>
                  <a:gd name="connsiteX7" fmla="*/ 5148943 w 6527800"/>
                  <a:gd name="connsiteY7" fmla="*/ 351738 h 1886623"/>
                  <a:gd name="connsiteX8" fmla="*/ 5588000 w 6527800"/>
                  <a:gd name="connsiteY8" fmla="*/ 1491109 h 1886623"/>
                  <a:gd name="connsiteX9" fmla="*/ 6074228 w 6527800"/>
                  <a:gd name="connsiteY9" fmla="*/ 533166 h 1886623"/>
                  <a:gd name="connsiteX10" fmla="*/ 6527800 w 6527800"/>
                  <a:gd name="connsiteY10" fmla="*/ 1886623 h 1886623"/>
                  <a:gd name="connsiteX0" fmla="*/ 0 w 6527800"/>
                  <a:gd name="connsiteY0" fmla="*/ 794423 h 1886623"/>
                  <a:gd name="connsiteX1" fmla="*/ 3291114 w 6527800"/>
                  <a:gd name="connsiteY1" fmla="*/ 1451195 h 1886623"/>
                  <a:gd name="connsiteX2" fmla="*/ 3755571 w 6527800"/>
                  <a:gd name="connsiteY2" fmla="*/ 877880 h 1886623"/>
                  <a:gd name="connsiteX3" fmla="*/ 4071257 w 6527800"/>
                  <a:gd name="connsiteY3" fmla="*/ 1367738 h 1886623"/>
                  <a:gd name="connsiteX4" fmla="*/ 4466771 w 6527800"/>
                  <a:gd name="connsiteY4" fmla="*/ 3395 h 1886623"/>
                  <a:gd name="connsiteX5" fmla="*/ 4858657 w 6527800"/>
                  <a:gd name="connsiteY5" fmla="*/ 961338 h 1886623"/>
                  <a:gd name="connsiteX6" fmla="*/ 5148943 w 6527800"/>
                  <a:gd name="connsiteY6" fmla="*/ 351738 h 1886623"/>
                  <a:gd name="connsiteX7" fmla="*/ 5588000 w 6527800"/>
                  <a:gd name="connsiteY7" fmla="*/ 1491109 h 1886623"/>
                  <a:gd name="connsiteX8" fmla="*/ 6074228 w 6527800"/>
                  <a:gd name="connsiteY8" fmla="*/ 533166 h 1886623"/>
                  <a:gd name="connsiteX9" fmla="*/ 6527800 w 6527800"/>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6685" h="1886623">
                    <a:moveTo>
                      <a:pt x="-1" y="1451195"/>
                    </a:moveTo>
                    <a:cubicBezTo>
                      <a:pt x="625927" y="1465104"/>
                      <a:pt x="334432" y="891789"/>
                      <a:pt x="464456" y="877880"/>
                    </a:cubicBezTo>
                    <a:cubicBezTo>
                      <a:pt x="594480" y="863971"/>
                      <a:pt x="661609" y="1513486"/>
                      <a:pt x="780142" y="1367738"/>
                    </a:cubicBezTo>
                    <a:cubicBezTo>
                      <a:pt x="898675" y="1221991"/>
                      <a:pt x="1044423" y="71128"/>
                      <a:pt x="1175656" y="3395"/>
                    </a:cubicBezTo>
                    <a:cubicBezTo>
                      <a:pt x="1306889" y="-64338"/>
                      <a:pt x="1453847" y="903281"/>
                      <a:pt x="1567542" y="961338"/>
                    </a:cubicBezTo>
                    <a:cubicBezTo>
                      <a:pt x="1681237" y="1019395"/>
                      <a:pt x="1736271" y="263443"/>
                      <a:pt x="1857828" y="351738"/>
                    </a:cubicBezTo>
                    <a:cubicBezTo>
                      <a:pt x="1979385" y="440033"/>
                      <a:pt x="2142671" y="1460871"/>
                      <a:pt x="2296885" y="1491109"/>
                    </a:cubicBezTo>
                    <a:cubicBezTo>
                      <a:pt x="2451099" y="1521347"/>
                      <a:pt x="2626480" y="467247"/>
                      <a:pt x="2783113" y="533166"/>
                    </a:cubicBezTo>
                    <a:cubicBezTo>
                      <a:pt x="2939746" y="599085"/>
                      <a:pt x="3088215" y="1242854"/>
                      <a:pt x="3236685"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8" name="Freeform: Shape 157"/>
              <p:cNvSpPr/>
              <p:nvPr/>
            </p:nvSpPr>
            <p:spPr>
              <a:xfrm>
                <a:off x="4038601" y="6633271"/>
                <a:ext cx="2456542"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1 w 4996544"/>
                  <a:gd name="connsiteY0" fmla="*/ -2 h 2282369"/>
                  <a:gd name="connsiteX1" fmla="*/ 609601 w 4996544"/>
                  <a:gd name="connsiteY1" fmla="*/ 1897741 h 2282369"/>
                  <a:gd name="connsiteX2" fmla="*/ 1273630 w 4996544"/>
                  <a:gd name="connsiteY2" fmla="*/ 801912 h 2282369"/>
                  <a:gd name="connsiteX3" fmla="*/ 1759858 w 4996544"/>
                  <a:gd name="connsiteY3" fmla="*/ 1846941 h 2282369"/>
                  <a:gd name="connsiteX4" fmla="*/ 2224315 w 4996544"/>
                  <a:gd name="connsiteY4" fmla="*/ 1273626 h 2282369"/>
                  <a:gd name="connsiteX5" fmla="*/ 2540001 w 4996544"/>
                  <a:gd name="connsiteY5" fmla="*/ 1763484 h 2282369"/>
                  <a:gd name="connsiteX6" fmla="*/ 2935515 w 4996544"/>
                  <a:gd name="connsiteY6" fmla="*/ 399141 h 2282369"/>
                  <a:gd name="connsiteX7" fmla="*/ 3327401 w 4996544"/>
                  <a:gd name="connsiteY7" fmla="*/ 1357084 h 2282369"/>
                  <a:gd name="connsiteX8" fmla="*/ 3617687 w 4996544"/>
                  <a:gd name="connsiteY8" fmla="*/ 747484 h 2282369"/>
                  <a:gd name="connsiteX9" fmla="*/ 4056744 w 4996544"/>
                  <a:gd name="connsiteY9" fmla="*/ 1886855 h 2282369"/>
                  <a:gd name="connsiteX10" fmla="*/ 4542972 w 4996544"/>
                  <a:gd name="connsiteY10" fmla="*/ 928912 h 2282369"/>
                  <a:gd name="connsiteX11" fmla="*/ 4996544 w 4996544"/>
                  <a:gd name="connsiteY11" fmla="*/ 2282369 h 2282369"/>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 name="connsiteX0" fmla="*/ 1 w 3722915"/>
                  <a:gd name="connsiteY0" fmla="*/ 406166 h 1886623"/>
                  <a:gd name="connsiteX1" fmla="*/ 486229 w 3722915"/>
                  <a:gd name="connsiteY1" fmla="*/ 1451195 h 1886623"/>
                  <a:gd name="connsiteX2" fmla="*/ 950686 w 3722915"/>
                  <a:gd name="connsiteY2" fmla="*/ 877880 h 1886623"/>
                  <a:gd name="connsiteX3" fmla="*/ 1266372 w 3722915"/>
                  <a:gd name="connsiteY3" fmla="*/ 1367738 h 1886623"/>
                  <a:gd name="connsiteX4" fmla="*/ 1661886 w 3722915"/>
                  <a:gd name="connsiteY4" fmla="*/ 3395 h 1886623"/>
                  <a:gd name="connsiteX5" fmla="*/ 2053772 w 3722915"/>
                  <a:gd name="connsiteY5" fmla="*/ 961338 h 1886623"/>
                  <a:gd name="connsiteX6" fmla="*/ 2344058 w 3722915"/>
                  <a:gd name="connsiteY6" fmla="*/ 351738 h 1886623"/>
                  <a:gd name="connsiteX7" fmla="*/ 2783115 w 3722915"/>
                  <a:gd name="connsiteY7" fmla="*/ 1491109 h 1886623"/>
                  <a:gd name="connsiteX8" fmla="*/ 3269343 w 3722915"/>
                  <a:gd name="connsiteY8" fmla="*/ 533166 h 1886623"/>
                  <a:gd name="connsiteX9" fmla="*/ 3722915 w 3722915"/>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 name="connsiteX0" fmla="*/ 0 w 2772229"/>
                  <a:gd name="connsiteY0" fmla="*/ 877880 h 1886623"/>
                  <a:gd name="connsiteX1" fmla="*/ 315686 w 2772229"/>
                  <a:gd name="connsiteY1" fmla="*/ 1367738 h 1886623"/>
                  <a:gd name="connsiteX2" fmla="*/ 711200 w 2772229"/>
                  <a:gd name="connsiteY2" fmla="*/ 3395 h 1886623"/>
                  <a:gd name="connsiteX3" fmla="*/ 1103086 w 2772229"/>
                  <a:gd name="connsiteY3" fmla="*/ 961338 h 1886623"/>
                  <a:gd name="connsiteX4" fmla="*/ 1393372 w 2772229"/>
                  <a:gd name="connsiteY4" fmla="*/ 351738 h 1886623"/>
                  <a:gd name="connsiteX5" fmla="*/ 1832429 w 2772229"/>
                  <a:gd name="connsiteY5" fmla="*/ 1491109 h 1886623"/>
                  <a:gd name="connsiteX6" fmla="*/ 2318657 w 2772229"/>
                  <a:gd name="connsiteY6" fmla="*/ 533166 h 1886623"/>
                  <a:gd name="connsiteX7" fmla="*/ 2772229 w 2772229"/>
                  <a:gd name="connsiteY7" fmla="*/ 1886623 h 1886623"/>
                  <a:gd name="connsiteX0" fmla="*/ 0 w 2456543"/>
                  <a:gd name="connsiteY0" fmla="*/ 1367738 h 1886623"/>
                  <a:gd name="connsiteX1" fmla="*/ 395514 w 2456543"/>
                  <a:gd name="connsiteY1" fmla="*/ 3395 h 1886623"/>
                  <a:gd name="connsiteX2" fmla="*/ 787400 w 2456543"/>
                  <a:gd name="connsiteY2" fmla="*/ 961338 h 1886623"/>
                  <a:gd name="connsiteX3" fmla="*/ 1077686 w 2456543"/>
                  <a:gd name="connsiteY3" fmla="*/ 351738 h 1886623"/>
                  <a:gd name="connsiteX4" fmla="*/ 1516743 w 2456543"/>
                  <a:gd name="connsiteY4" fmla="*/ 1491109 h 1886623"/>
                  <a:gd name="connsiteX5" fmla="*/ 2002971 w 2456543"/>
                  <a:gd name="connsiteY5" fmla="*/ 533166 h 1886623"/>
                  <a:gd name="connsiteX6" fmla="*/ 2456543 w 2456543"/>
                  <a:gd name="connsiteY6"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6543" h="1886623">
                    <a:moveTo>
                      <a:pt x="0" y="1367738"/>
                    </a:moveTo>
                    <a:cubicBezTo>
                      <a:pt x="118533" y="1221991"/>
                      <a:pt x="264281" y="71128"/>
                      <a:pt x="395514" y="3395"/>
                    </a:cubicBezTo>
                    <a:cubicBezTo>
                      <a:pt x="526747" y="-64338"/>
                      <a:pt x="673705" y="903281"/>
                      <a:pt x="787400" y="961338"/>
                    </a:cubicBezTo>
                    <a:cubicBezTo>
                      <a:pt x="901095" y="1019395"/>
                      <a:pt x="956129" y="263443"/>
                      <a:pt x="1077686" y="351738"/>
                    </a:cubicBezTo>
                    <a:cubicBezTo>
                      <a:pt x="1199243" y="440033"/>
                      <a:pt x="1362529" y="1460871"/>
                      <a:pt x="1516743" y="1491109"/>
                    </a:cubicBezTo>
                    <a:cubicBezTo>
                      <a:pt x="1670957" y="1521347"/>
                      <a:pt x="1846338" y="467247"/>
                      <a:pt x="2002971" y="533166"/>
                    </a:cubicBezTo>
                    <a:cubicBezTo>
                      <a:pt x="2159604" y="599085"/>
                      <a:pt x="2308073" y="1242854"/>
                      <a:pt x="2456543"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sp>
        <p:nvSpPr>
          <p:cNvPr id="163" name="Rectangle 162"/>
          <p:cNvSpPr/>
          <p:nvPr userDrawn="1"/>
        </p:nvSpPr>
        <p:spPr>
          <a:xfrm>
            <a:off x="0" y="0"/>
            <a:ext cx="12192000" cy="6858000"/>
          </a:xfrm>
          <a:prstGeom prst="rect">
            <a:avLst/>
          </a:prstGeom>
          <a:gradFill>
            <a:gsLst>
              <a:gs pos="0">
                <a:srgbClr val="002050">
                  <a:alpha val="60000"/>
                </a:srgbClr>
              </a:gs>
              <a:gs pos="100000">
                <a:srgbClr val="00205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64" name="Content Placeholder 2"/>
          <p:cNvSpPr>
            <a:spLocks noGrp="1"/>
          </p:cNvSpPr>
          <p:nvPr>
            <p:ph idx="1"/>
          </p:nvPr>
        </p:nvSpPr>
        <p:spPr>
          <a:xfrm>
            <a:off x="324465" y="1794669"/>
            <a:ext cx="10515600" cy="36096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4312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plit left">
    <p:spTree>
      <p:nvGrpSpPr>
        <p:cNvPr id="1" name=""/>
        <p:cNvGrpSpPr/>
        <p:nvPr/>
      </p:nvGrpSpPr>
      <p:grpSpPr>
        <a:xfrm>
          <a:off x="0" y="0"/>
          <a:ext cx="0" cy="0"/>
          <a:chOff x="0" y="0"/>
          <a:chExt cx="0" cy="0"/>
        </a:xfrm>
      </p:grpSpPr>
      <p:sp>
        <p:nvSpPr>
          <p:cNvPr id="90" name="Rectangle 89"/>
          <p:cNvSpPr/>
          <p:nvPr userDrawn="1"/>
        </p:nvSpPr>
        <p:spPr>
          <a:xfrm>
            <a:off x="0" y="0"/>
            <a:ext cx="5763491" cy="6858000"/>
          </a:xfrm>
          <a:prstGeom prst="rect">
            <a:avLst/>
          </a:prstGeom>
          <a:solidFill>
            <a:srgbClr val="ECE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1" name="Content Placeholder 2"/>
          <p:cNvSpPr>
            <a:spLocks noGrp="1"/>
          </p:cNvSpPr>
          <p:nvPr>
            <p:ph idx="1"/>
          </p:nvPr>
        </p:nvSpPr>
        <p:spPr>
          <a:xfrm>
            <a:off x="360840" y="2650965"/>
            <a:ext cx="4470926" cy="1556071"/>
          </a:xfrm>
        </p:spPr>
        <p:txBody>
          <a:bodyPr anchor="t">
            <a:noAutofit/>
          </a:bodyPr>
          <a:lstStyle/>
          <a:p>
            <a:pPr marL="0" indent="0">
              <a:lnSpc>
                <a:spcPct val="100000"/>
              </a:lnSpc>
              <a:buNone/>
            </a:pPr>
            <a:r>
              <a:rPr lang="en-US" sz="3200" b="1" dirty="0">
                <a:solidFill>
                  <a:srgbClr val="002050"/>
                </a:solidFill>
                <a:latin typeface="+mn-lt"/>
                <a:ea typeface="+mj-ea"/>
              </a:rPr>
              <a:t>Technology leaders face a changing environment</a:t>
            </a:r>
            <a:endParaRPr lang="en-US" sz="2400" b="1" dirty="0">
              <a:solidFill>
                <a:srgbClr val="002050"/>
              </a:solidFill>
              <a:latin typeface="+mn-lt"/>
            </a:endParaRPr>
          </a:p>
        </p:txBody>
      </p:sp>
    </p:spTree>
    <p:extLst>
      <p:ext uri="{BB962C8B-B14F-4D97-AF65-F5344CB8AC3E}">
        <p14:creationId xmlns:p14="http://schemas.microsoft.com/office/powerpoint/2010/main" val="2274630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plit lef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902201" y="0"/>
            <a:ext cx="7289800" cy="6858000"/>
          </a:xfrm>
          <a:prstGeom prst="rect">
            <a:avLst/>
          </a:prstGeom>
        </p:spPr>
      </p:pic>
      <p:sp>
        <p:nvSpPr>
          <p:cNvPr id="4" name="Rectangle 3"/>
          <p:cNvSpPr/>
          <p:nvPr userDrawn="1"/>
        </p:nvSpPr>
        <p:spPr>
          <a:xfrm>
            <a:off x="4902200" y="0"/>
            <a:ext cx="7289800" cy="6858000"/>
          </a:xfrm>
          <a:prstGeom prst="rect">
            <a:avLst/>
          </a:prstGeom>
          <a:solidFill>
            <a:srgbClr val="00205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 name="Oval 9"/>
          <p:cNvSpPr/>
          <p:nvPr userDrawn="1"/>
        </p:nvSpPr>
        <p:spPr>
          <a:xfrm>
            <a:off x="7653750" y="4211459"/>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Oval 10"/>
          <p:cNvSpPr/>
          <p:nvPr userDrawn="1"/>
        </p:nvSpPr>
        <p:spPr>
          <a:xfrm>
            <a:off x="6250559" y="4002386"/>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Oval 11"/>
          <p:cNvSpPr/>
          <p:nvPr userDrawn="1"/>
        </p:nvSpPr>
        <p:spPr>
          <a:xfrm>
            <a:off x="6446684" y="1531506"/>
            <a:ext cx="69136" cy="6913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Oval 12"/>
          <p:cNvSpPr/>
          <p:nvPr userDrawn="1"/>
        </p:nvSpPr>
        <p:spPr>
          <a:xfrm>
            <a:off x="6660354" y="3581123"/>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p:cNvSpPr/>
          <p:nvPr userDrawn="1"/>
        </p:nvSpPr>
        <p:spPr>
          <a:xfrm>
            <a:off x="7918170" y="3689750"/>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5" name="Group 14"/>
          <p:cNvGrpSpPr/>
          <p:nvPr userDrawn="1"/>
        </p:nvGrpSpPr>
        <p:grpSpPr>
          <a:xfrm rot="18630798" flipV="1">
            <a:off x="4953357" y="-560304"/>
            <a:ext cx="1149095" cy="2837665"/>
            <a:chOff x="1113971" y="3497757"/>
            <a:chExt cx="1150258" cy="3142530"/>
          </a:xfrm>
        </p:grpSpPr>
        <p:sp>
          <p:nvSpPr>
            <p:cNvPr id="16" name="Freeform: Shape 114"/>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Freeform: Shape 115"/>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Freeform: Shape 116"/>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Freeform: Shape 117"/>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Oval 19"/>
          <p:cNvSpPr/>
          <p:nvPr userDrawn="1"/>
        </p:nvSpPr>
        <p:spPr>
          <a:xfrm>
            <a:off x="7084213" y="1476420"/>
            <a:ext cx="69136" cy="6913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Oval 20"/>
          <p:cNvSpPr/>
          <p:nvPr userDrawn="1"/>
        </p:nvSpPr>
        <p:spPr>
          <a:xfrm>
            <a:off x="7517627" y="1462827"/>
            <a:ext cx="51383" cy="5138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2" name="Group 21"/>
          <p:cNvGrpSpPr/>
          <p:nvPr userDrawn="1"/>
        </p:nvGrpSpPr>
        <p:grpSpPr>
          <a:xfrm>
            <a:off x="6346051" y="2310248"/>
            <a:ext cx="3599025" cy="1100078"/>
            <a:chOff x="5756093" y="2301512"/>
            <a:chExt cx="3899073" cy="1191791"/>
          </a:xfrm>
          <a:solidFill>
            <a:schemeClr val="bg1">
              <a:alpha val="30000"/>
            </a:schemeClr>
          </a:solidFill>
        </p:grpSpPr>
        <p:sp>
          <p:nvSpPr>
            <p:cNvPr id="23" name="Oval 22"/>
            <p:cNvSpPr/>
            <p:nvPr/>
          </p:nvSpPr>
          <p:spPr>
            <a:xfrm>
              <a:off x="8266386" y="2347545"/>
              <a:ext cx="254716" cy="254716"/>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Oval 23"/>
            <p:cNvSpPr/>
            <p:nvPr/>
          </p:nvSpPr>
          <p:spPr>
            <a:xfrm>
              <a:off x="6326273" y="2776652"/>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Oval 24"/>
            <p:cNvSpPr/>
            <p:nvPr/>
          </p:nvSpPr>
          <p:spPr>
            <a:xfrm>
              <a:off x="7275317" y="256960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Oval 25"/>
            <p:cNvSpPr/>
            <p:nvPr/>
          </p:nvSpPr>
          <p:spPr>
            <a:xfrm>
              <a:off x="6676654" y="2855918"/>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Oval 26"/>
            <p:cNvSpPr/>
            <p:nvPr/>
          </p:nvSpPr>
          <p:spPr>
            <a:xfrm>
              <a:off x="7021860" y="276232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Oval 27"/>
            <p:cNvSpPr/>
            <p:nvPr/>
          </p:nvSpPr>
          <p:spPr>
            <a:xfrm>
              <a:off x="9150042" y="311374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Oval 28"/>
            <p:cNvSpPr/>
            <p:nvPr/>
          </p:nvSpPr>
          <p:spPr>
            <a:xfrm>
              <a:off x="7521113" y="240907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Oval 29"/>
            <p:cNvSpPr/>
            <p:nvPr/>
          </p:nvSpPr>
          <p:spPr>
            <a:xfrm>
              <a:off x="8821654" y="2895644"/>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Oval 30"/>
            <p:cNvSpPr/>
            <p:nvPr/>
          </p:nvSpPr>
          <p:spPr>
            <a:xfrm>
              <a:off x="7911267" y="2301512"/>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Oval 31"/>
            <p:cNvSpPr/>
            <p:nvPr/>
          </p:nvSpPr>
          <p:spPr>
            <a:xfrm>
              <a:off x="8622432" y="2646039"/>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val 32"/>
            <p:cNvSpPr/>
            <p:nvPr/>
          </p:nvSpPr>
          <p:spPr>
            <a:xfrm>
              <a:off x="6046050" y="269839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Oval 33"/>
            <p:cNvSpPr/>
            <p:nvPr/>
          </p:nvSpPr>
          <p:spPr>
            <a:xfrm>
              <a:off x="5756093" y="276885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Oval 34"/>
            <p:cNvSpPr/>
            <p:nvPr/>
          </p:nvSpPr>
          <p:spPr>
            <a:xfrm>
              <a:off x="9364414" y="3258175"/>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Oval 35"/>
            <p:cNvSpPr/>
            <p:nvPr/>
          </p:nvSpPr>
          <p:spPr>
            <a:xfrm>
              <a:off x="9609447" y="3447584"/>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7" name="Oval 36"/>
          <p:cNvSpPr/>
          <p:nvPr userDrawn="1"/>
        </p:nvSpPr>
        <p:spPr>
          <a:xfrm rot="4480905">
            <a:off x="11225702" y="2126081"/>
            <a:ext cx="173273" cy="173273"/>
          </a:xfrm>
          <a:prstGeom prst="ellipse">
            <a:avLst/>
          </a:prstGeom>
          <a:solidFill>
            <a:schemeClr val="bg1">
              <a:alpha val="57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Oval 37"/>
          <p:cNvSpPr/>
          <p:nvPr userDrawn="1"/>
        </p:nvSpPr>
        <p:spPr>
          <a:xfrm rot="4480905">
            <a:off x="11191301" y="3153034"/>
            <a:ext cx="173273" cy="17327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Oval 38"/>
          <p:cNvSpPr/>
          <p:nvPr userDrawn="1"/>
        </p:nvSpPr>
        <p:spPr>
          <a:xfrm rot="4480905">
            <a:off x="10076514" y="1812146"/>
            <a:ext cx="173273" cy="173273"/>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Oval 39"/>
          <p:cNvSpPr/>
          <p:nvPr userDrawn="1"/>
        </p:nvSpPr>
        <p:spPr>
          <a:xfrm rot="4480905">
            <a:off x="9513524" y="2403419"/>
            <a:ext cx="173273" cy="173273"/>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Oval 40"/>
          <p:cNvSpPr/>
          <p:nvPr userDrawn="1"/>
        </p:nvSpPr>
        <p:spPr>
          <a:xfrm rot="4480905">
            <a:off x="9008932" y="2997636"/>
            <a:ext cx="99706" cy="99706"/>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Oval 41"/>
          <p:cNvSpPr/>
          <p:nvPr userDrawn="1"/>
        </p:nvSpPr>
        <p:spPr>
          <a:xfrm rot="4480905">
            <a:off x="11213793" y="4137234"/>
            <a:ext cx="99706" cy="99706"/>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Oval 42"/>
          <p:cNvSpPr/>
          <p:nvPr userDrawn="1"/>
        </p:nvSpPr>
        <p:spPr>
          <a:xfrm rot="4480905">
            <a:off x="11576823" y="4602235"/>
            <a:ext cx="99706" cy="99706"/>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Oval 43"/>
          <p:cNvSpPr/>
          <p:nvPr userDrawn="1"/>
        </p:nvSpPr>
        <p:spPr>
          <a:xfrm rot="4480905">
            <a:off x="8553987" y="3395476"/>
            <a:ext cx="99706" cy="99706"/>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Oval 44"/>
          <p:cNvSpPr/>
          <p:nvPr userDrawn="1"/>
        </p:nvSpPr>
        <p:spPr>
          <a:xfrm rot="4480905">
            <a:off x="11358914" y="279440"/>
            <a:ext cx="99706" cy="99706"/>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46" name="Group 45"/>
          <p:cNvGrpSpPr/>
          <p:nvPr userDrawn="1"/>
        </p:nvGrpSpPr>
        <p:grpSpPr>
          <a:xfrm rot="10800000" flipH="1">
            <a:off x="5330348" y="-483006"/>
            <a:ext cx="2969785" cy="5946121"/>
            <a:chOff x="1113971" y="3497757"/>
            <a:chExt cx="1150258" cy="3142530"/>
          </a:xfrm>
        </p:grpSpPr>
        <p:sp>
          <p:nvSpPr>
            <p:cNvPr id="47" name="Freeform: Shape 217"/>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4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8" name="Freeform: Shape 218"/>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4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Freeform: Shape 219"/>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4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Freeform: Shape 220"/>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4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51" name="Group 50"/>
          <p:cNvGrpSpPr/>
          <p:nvPr userDrawn="1"/>
        </p:nvGrpSpPr>
        <p:grpSpPr>
          <a:xfrm rot="2516871" flipH="1" flipV="1">
            <a:off x="9784110" y="-145808"/>
            <a:ext cx="3963185" cy="5587249"/>
            <a:chOff x="1113971" y="3497757"/>
            <a:chExt cx="1150258" cy="3142530"/>
          </a:xfrm>
        </p:grpSpPr>
        <p:sp>
          <p:nvSpPr>
            <p:cNvPr id="52" name="Freeform: Shape 213"/>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Freeform: Shape 214"/>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Freeform: Shape 215"/>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Shape 216"/>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56" name="Group 55"/>
          <p:cNvGrpSpPr/>
          <p:nvPr userDrawn="1"/>
        </p:nvGrpSpPr>
        <p:grpSpPr>
          <a:xfrm rot="18809774" flipV="1">
            <a:off x="4702579" y="3519828"/>
            <a:ext cx="1149095" cy="2837665"/>
            <a:chOff x="1113971" y="3497757"/>
            <a:chExt cx="1150258" cy="3142530"/>
          </a:xfrm>
        </p:grpSpPr>
        <p:sp>
          <p:nvSpPr>
            <p:cNvPr id="57" name="Freeform: Shape 114"/>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Shape 115"/>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Shape 116"/>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Freeform: Shape 117"/>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61" name="Group 60"/>
          <p:cNvGrpSpPr/>
          <p:nvPr userDrawn="1"/>
        </p:nvGrpSpPr>
        <p:grpSpPr>
          <a:xfrm flipH="1">
            <a:off x="5765618" y="2902047"/>
            <a:ext cx="6879800" cy="3485708"/>
            <a:chOff x="2661557" y="1008743"/>
            <a:chExt cx="6025243" cy="1848757"/>
          </a:xfrm>
        </p:grpSpPr>
        <p:sp>
          <p:nvSpPr>
            <p:cNvPr id="62" name="Freeform: Shape 47"/>
            <p:cNvSpPr/>
            <p:nvPr/>
          </p:nvSpPr>
          <p:spPr>
            <a:xfrm>
              <a:off x="2661557" y="1008743"/>
              <a:ext cx="6025243" cy="12391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1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Shape 48"/>
            <p:cNvSpPr/>
            <p:nvPr/>
          </p:nvSpPr>
          <p:spPr>
            <a:xfrm>
              <a:off x="2661557" y="1008743"/>
              <a:ext cx="6025243" cy="13915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1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Freeform: Shape 49"/>
            <p:cNvSpPr/>
            <p:nvPr/>
          </p:nvSpPr>
          <p:spPr>
            <a:xfrm>
              <a:off x="2661557" y="1008743"/>
              <a:ext cx="6025243" cy="15439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1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Freeform: Shape 50"/>
            <p:cNvSpPr/>
            <p:nvPr/>
          </p:nvSpPr>
          <p:spPr>
            <a:xfrm>
              <a:off x="2661557" y="1008743"/>
              <a:ext cx="6025243" cy="16963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1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Freeform: Shape 51"/>
            <p:cNvSpPr/>
            <p:nvPr/>
          </p:nvSpPr>
          <p:spPr>
            <a:xfrm>
              <a:off x="2661557" y="1008743"/>
              <a:ext cx="6025243" cy="18487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1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67" name="Group 66"/>
          <p:cNvGrpSpPr/>
          <p:nvPr userDrawn="1"/>
        </p:nvGrpSpPr>
        <p:grpSpPr>
          <a:xfrm flipV="1">
            <a:off x="4154198" y="-1017951"/>
            <a:ext cx="6879800" cy="3485708"/>
            <a:chOff x="2661557" y="1008743"/>
            <a:chExt cx="6025243" cy="1848757"/>
          </a:xfrm>
        </p:grpSpPr>
        <p:sp>
          <p:nvSpPr>
            <p:cNvPr id="68" name="Freeform: Shape 47"/>
            <p:cNvSpPr/>
            <p:nvPr/>
          </p:nvSpPr>
          <p:spPr>
            <a:xfrm>
              <a:off x="2661557" y="1008743"/>
              <a:ext cx="6025243" cy="12391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Shape 48"/>
            <p:cNvSpPr/>
            <p:nvPr/>
          </p:nvSpPr>
          <p:spPr>
            <a:xfrm>
              <a:off x="2661557" y="1008743"/>
              <a:ext cx="6025243" cy="13915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Shape 49"/>
            <p:cNvSpPr/>
            <p:nvPr/>
          </p:nvSpPr>
          <p:spPr>
            <a:xfrm>
              <a:off x="2661557" y="1008743"/>
              <a:ext cx="6025243" cy="15439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Shape 50"/>
            <p:cNvSpPr/>
            <p:nvPr/>
          </p:nvSpPr>
          <p:spPr>
            <a:xfrm>
              <a:off x="2661557" y="1008743"/>
              <a:ext cx="6025243" cy="16963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Freeform: Shape 51"/>
            <p:cNvSpPr/>
            <p:nvPr/>
          </p:nvSpPr>
          <p:spPr>
            <a:xfrm>
              <a:off x="2661557" y="1008743"/>
              <a:ext cx="6025243" cy="18487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92" name="Group 91"/>
          <p:cNvGrpSpPr/>
          <p:nvPr userDrawn="1"/>
        </p:nvGrpSpPr>
        <p:grpSpPr>
          <a:xfrm rot="10800000">
            <a:off x="8572766" y="-287386"/>
            <a:ext cx="1643109" cy="6188735"/>
            <a:chOff x="1113971" y="3497757"/>
            <a:chExt cx="1150258" cy="3142530"/>
          </a:xfrm>
        </p:grpSpPr>
        <p:sp>
          <p:nvSpPr>
            <p:cNvPr id="93" name="Freeform: Shape 36"/>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29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4" name="Freeform: Shape 37"/>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29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Freeform: Shape 39"/>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29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Freeform: Shape 40"/>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29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72"/>
          <p:cNvGrpSpPr/>
          <p:nvPr userDrawn="1"/>
        </p:nvGrpSpPr>
        <p:grpSpPr>
          <a:xfrm>
            <a:off x="8074183" y="868573"/>
            <a:ext cx="3599025" cy="1100078"/>
            <a:chOff x="5756093" y="2301512"/>
            <a:chExt cx="3899073" cy="1191791"/>
          </a:xfrm>
          <a:solidFill>
            <a:schemeClr val="bg1">
              <a:alpha val="30000"/>
            </a:schemeClr>
          </a:solidFill>
        </p:grpSpPr>
        <p:sp>
          <p:nvSpPr>
            <p:cNvPr id="74" name="Oval 73"/>
            <p:cNvSpPr/>
            <p:nvPr/>
          </p:nvSpPr>
          <p:spPr>
            <a:xfrm>
              <a:off x="8266386" y="2347545"/>
              <a:ext cx="254716" cy="254716"/>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5" name="Oval 74"/>
            <p:cNvSpPr/>
            <p:nvPr/>
          </p:nvSpPr>
          <p:spPr>
            <a:xfrm>
              <a:off x="6326273" y="2776652"/>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Oval 75"/>
            <p:cNvSpPr/>
            <p:nvPr/>
          </p:nvSpPr>
          <p:spPr>
            <a:xfrm>
              <a:off x="7275317" y="256960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Oval 76"/>
            <p:cNvSpPr/>
            <p:nvPr/>
          </p:nvSpPr>
          <p:spPr>
            <a:xfrm>
              <a:off x="6676654" y="2855918"/>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8" name="Oval 77"/>
            <p:cNvSpPr/>
            <p:nvPr/>
          </p:nvSpPr>
          <p:spPr>
            <a:xfrm>
              <a:off x="7021860" y="276232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Oval 78"/>
            <p:cNvSpPr/>
            <p:nvPr/>
          </p:nvSpPr>
          <p:spPr>
            <a:xfrm>
              <a:off x="9150042" y="311374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Oval 79"/>
            <p:cNvSpPr/>
            <p:nvPr/>
          </p:nvSpPr>
          <p:spPr>
            <a:xfrm>
              <a:off x="7521113" y="240907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Oval 80"/>
            <p:cNvSpPr/>
            <p:nvPr/>
          </p:nvSpPr>
          <p:spPr>
            <a:xfrm>
              <a:off x="8821654" y="2895644"/>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Oval 81"/>
            <p:cNvSpPr/>
            <p:nvPr/>
          </p:nvSpPr>
          <p:spPr>
            <a:xfrm>
              <a:off x="7911267" y="2301512"/>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Oval 82"/>
            <p:cNvSpPr/>
            <p:nvPr/>
          </p:nvSpPr>
          <p:spPr>
            <a:xfrm>
              <a:off x="8622432" y="2646039"/>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Oval 83"/>
            <p:cNvSpPr/>
            <p:nvPr/>
          </p:nvSpPr>
          <p:spPr>
            <a:xfrm>
              <a:off x="6046050" y="269839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Oval 84"/>
            <p:cNvSpPr/>
            <p:nvPr/>
          </p:nvSpPr>
          <p:spPr>
            <a:xfrm>
              <a:off x="5756093" y="276885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Oval 85"/>
            <p:cNvSpPr/>
            <p:nvPr/>
          </p:nvSpPr>
          <p:spPr>
            <a:xfrm>
              <a:off x="9364414" y="3258175"/>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Oval 86"/>
            <p:cNvSpPr/>
            <p:nvPr/>
          </p:nvSpPr>
          <p:spPr>
            <a:xfrm>
              <a:off x="9609447" y="3447584"/>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9" name="Rectangle 88"/>
          <p:cNvSpPr/>
          <p:nvPr userDrawn="1"/>
        </p:nvSpPr>
        <p:spPr>
          <a:xfrm>
            <a:off x="4902200" y="0"/>
            <a:ext cx="7289800" cy="6858000"/>
          </a:xfrm>
          <a:prstGeom prst="rect">
            <a:avLst/>
          </a:prstGeom>
          <a:solidFill>
            <a:srgbClr val="00205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Rectangle 89"/>
          <p:cNvSpPr/>
          <p:nvPr userDrawn="1"/>
        </p:nvSpPr>
        <p:spPr>
          <a:xfrm>
            <a:off x="0" y="0"/>
            <a:ext cx="5328989" cy="6858000"/>
          </a:xfrm>
          <a:prstGeom prst="rect">
            <a:avLst/>
          </a:prstGeom>
          <a:solidFill>
            <a:srgbClr val="ECE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1" name="Content Placeholder 2"/>
          <p:cNvSpPr>
            <a:spLocks noGrp="1"/>
          </p:cNvSpPr>
          <p:nvPr>
            <p:ph idx="1"/>
          </p:nvPr>
        </p:nvSpPr>
        <p:spPr>
          <a:xfrm>
            <a:off x="360840" y="2650965"/>
            <a:ext cx="4470926" cy="1556071"/>
          </a:xfrm>
        </p:spPr>
        <p:txBody>
          <a:bodyPr anchor="t">
            <a:noAutofit/>
          </a:bodyPr>
          <a:lstStyle/>
          <a:p>
            <a:pPr marL="0" indent="0">
              <a:lnSpc>
                <a:spcPct val="100000"/>
              </a:lnSpc>
              <a:buNone/>
            </a:pPr>
            <a:r>
              <a:rPr lang="en-US" sz="3200" b="1" dirty="0">
                <a:solidFill>
                  <a:srgbClr val="002050"/>
                </a:solidFill>
                <a:latin typeface="+mn-lt"/>
                <a:ea typeface="+mj-ea"/>
              </a:rPr>
              <a:t>Technology leaders face a changing environment</a:t>
            </a:r>
            <a:endParaRPr lang="en-US" sz="2400" b="1" dirty="0">
              <a:solidFill>
                <a:srgbClr val="002050"/>
              </a:solidFill>
              <a:latin typeface="+mn-lt"/>
            </a:endParaRPr>
          </a:p>
        </p:txBody>
      </p:sp>
    </p:spTree>
    <p:extLst>
      <p:ext uri="{BB962C8B-B14F-4D97-AF65-F5344CB8AC3E}">
        <p14:creationId xmlns:p14="http://schemas.microsoft.com/office/powerpoint/2010/main" val="39053569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Split lef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902201" y="0"/>
            <a:ext cx="7289800" cy="6858000"/>
          </a:xfrm>
          <a:prstGeom prst="rect">
            <a:avLst/>
          </a:prstGeom>
        </p:spPr>
      </p:pic>
      <p:sp>
        <p:nvSpPr>
          <p:cNvPr id="4" name="Rectangle 3"/>
          <p:cNvSpPr/>
          <p:nvPr userDrawn="1"/>
        </p:nvSpPr>
        <p:spPr>
          <a:xfrm>
            <a:off x="4902200" y="0"/>
            <a:ext cx="7289800" cy="6858000"/>
          </a:xfrm>
          <a:prstGeom prst="rect">
            <a:avLst/>
          </a:prstGeom>
          <a:solidFill>
            <a:srgbClr val="00205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Rectangle 96"/>
          <p:cNvSpPr/>
          <p:nvPr userDrawn="1"/>
        </p:nvSpPr>
        <p:spPr bwMode="auto">
          <a:xfrm>
            <a:off x="0" y="0"/>
            <a:ext cx="6126480" cy="6858000"/>
          </a:xfrm>
          <a:prstGeom prst="rect">
            <a:avLst/>
          </a:prstGeom>
          <a:solidFill>
            <a:srgbClr val="ECEF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Content Placeholder 5"/>
          <p:cNvSpPr>
            <a:spLocks noGrp="1"/>
          </p:cNvSpPr>
          <p:nvPr>
            <p:ph sz="quarter" idx="10"/>
          </p:nvPr>
        </p:nvSpPr>
        <p:spPr>
          <a:xfrm>
            <a:off x="324465" y="2271258"/>
            <a:ext cx="5500457" cy="3689876"/>
          </a:xfrm>
        </p:spPr>
        <p:txBody>
          <a:bodyPr>
            <a:normAutofit/>
          </a:bodyPr>
          <a:lstStyle>
            <a:lvl1pPr marL="0" indent="0">
              <a:buNone/>
              <a:defRPr sz="2400">
                <a:solidFill>
                  <a:schemeClr val="tx1"/>
                </a:solidFill>
                <a:latin typeface="+mj-lt"/>
              </a:defRPr>
            </a:lvl1pPr>
            <a:lvl2pPr marL="457200" indent="0">
              <a:buNone/>
              <a:defRPr sz="2000">
                <a:solidFill>
                  <a:schemeClr val="tx1"/>
                </a:solidFill>
                <a:latin typeface="+mj-lt"/>
              </a:defRPr>
            </a:lvl2pPr>
            <a:lvl3pPr marL="914400" indent="0">
              <a:buNone/>
              <a:defRPr sz="1800">
                <a:solidFill>
                  <a:schemeClr val="tx1"/>
                </a:solidFill>
                <a:latin typeface="+mj-lt"/>
              </a:defRPr>
            </a:lvl3pPr>
            <a:lvl4pPr marL="1371600" indent="0">
              <a:buNone/>
              <a:defRPr sz="1600">
                <a:solidFill>
                  <a:schemeClr val="tx1"/>
                </a:solidFill>
                <a:latin typeface="+mj-lt"/>
              </a:defRPr>
            </a:lvl4pPr>
            <a:lvl5pPr marL="1828800" indent="0">
              <a:buNone/>
              <a:defRPr sz="1600">
                <a:solidFill>
                  <a:schemeClr val="tx1"/>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9" name="Title 3"/>
          <p:cNvSpPr>
            <a:spLocks noGrp="1"/>
          </p:cNvSpPr>
          <p:nvPr>
            <p:ph type="title"/>
          </p:nvPr>
        </p:nvSpPr>
        <p:spPr>
          <a:xfrm>
            <a:off x="324466" y="333156"/>
            <a:ext cx="5500456" cy="832012"/>
          </a:xfrm>
        </p:spPr>
        <p:txBody>
          <a:bodyPr>
            <a:normAutofit/>
          </a:bodyPr>
          <a:lstStyle>
            <a:lvl1pPr>
              <a:defRPr sz="40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5041903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lit righ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40" name="Rectangle 139"/>
          <p:cNvSpPr/>
          <p:nvPr userDrawn="1"/>
        </p:nvSpPr>
        <p:spPr>
          <a:xfrm>
            <a:off x="0" y="0"/>
            <a:ext cx="12192000" cy="6858000"/>
          </a:xfrm>
          <a:prstGeom prst="rect">
            <a:avLst/>
          </a:prstGeom>
          <a:gradFill>
            <a:gsLst>
              <a:gs pos="0">
                <a:srgbClr val="002050">
                  <a:alpha val="60000"/>
                </a:srgbClr>
              </a:gs>
              <a:gs pos="100000">
                <a:srgbClr val="00205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Rectangle 89"/>
          <p:cNvSpPr/>
          <p:nvPr userDrawn="1"/>
        </p:nvSpPr>
        <p:spPr>
          <a:xfrm flipH="1">
            <a:off x="5328989" y="0"/>
            <a:ext cx="6863011" cy="6858000"/>
          </a:xfrm>
          <a:prstGeom prst="rect">
            <a:avLst/>
          </a:prstGeom>
          <a:solidFill>
            <a:srgbClr val="ECE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1" name="Content Placeholder 2"/>
          <p:cNvSpPr>
            <a:spLocks noGrp="1"/>
          </p:cNvSpPr>
          <p:nvPr>
            <p:ph idx="1"/>
          </p:nvPr>
        </p:nvSpPr>
        <p:spPr>
          <a:xfrm>
            <a:off x="5977868" y="2650965"/>
            <a:ext cx="4470926" cy="1556071"/>
          </a:xfrm>
        </p:spPr>
        <p:txBody>
          <a:bodyPr anchor="t">
            <a:noAutofit/>
          </a:bodyPr>
          <a:lstStyle/>
          <a:p>
            <a:pPr marL="0" indent="0">
              <a:lnSpc>
                <a:spcPct val="100000"/>
              </a:lnSpc>
              <a:buNone/>
            </a:pPr>
            <a:r>
              <a:rPr lang="en-US" sz="3200" b="1" dirty="0">
                <a:solidFill>
                  <a:srgbClr val="002050"/>
                </a:solidFill>
                <a:latin typeface="+mn-lt"/>
                <a:ea typeface="+mj-ea"/>
              </a:rPr>
              <a:t>Technology leaders face a changing environment</a:t>
            </a:r>
            <a:endParaRPr lang="en-US" sz="2400" b="1" dirty="0">
              <a:solidFill>
                <a:srgbClr val="002050"/>
              </a:solidFill>
              <a:latin typeface="+mn-lt"/>
            </a:endParaRPr>
          </a:p>
        </p:txBody>
      </p:sp>
    </p:spTree>
    <p:extLst>
      <p:ext uri="{BB962C8B-B14F-4D97-AF65-F5344CB8AC3E}">
        <p14:creationId xmlns:p14="http://schemas.microsoft.com/office/powerpoint/2010/main" val="36361078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589548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ient exampl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5425439" y="0"/>
            <a:ext cx="6766560" cy="6858000"/>
          </a:xfrm>
        </p:spPr>
        <p:txBody>
          <a:bodyPr/>
          <a:lstStyle/>
          <a:p>
            <a:endParaRPr lang="en-US"/>
          </a:p>
        </p:txBody>
      </p:sp>
      <p:sp>
        <p:nvSpPr>
          <p:cNvPr id="6" name="Text Placeholder 5"/>
          <p:cNvSpPr>
            <a:spLocks noGrp="1"/>
          </p:cNvSpPr>
          <p:nvPr>
            <p:ph type="body" sz="quarter" idx="11"/>
          </p:nvPr>
        </p:nvSpPr>
        <p:spPr>
          <a:xfrm>
            <a:off x="360838" y="2571750"/>
            <a:ext cx="4610303" cy="1714500"/>
          </a:xfrm>
        </p:spPr>
        <p:txBody>
          <a:bodyPr anchor="ctr">
            <a:noAutofit/>
          </a:bodyPr>
          <a:lstStyle>
            <a:lvl1pPr marL="0" indent="0">
              <a:buNone/>
              <a:defRPr lang="en-US" sz="4000" kern="1200" dirty="0">
                <a:solidFill>
                  <a:prstClr val="white"/>
                </a:solidFill>
                <a:latin typeface="Segoe UI Light" panose="020B0502040204020203" pitchFamily="34" charset="0"/>
                <a:ea typeface="+mj-ea"/>
                <a:cs typeface="Segoe UI Light" panose="020B0502040204020203" pitchFamily="34" charset="0"/>
              </a:defRPr>
            </a:lvl1pPr>
          </a:lstStyle>
          <a:p>
            <a:pPr lvl="0"/>
            <a:r>
              <a:rPr lang="en-US" dirty="0"/>
              <a:t>Edit Master text styles</a:t>
            </a:r>
          </a:p>
        </p:txBody>
      </p:sp>
      <p:sp>
        <p:nvSpPr>
          <p:cNvPr id="10" name="Text Placeholder 7"/>
          <p:cNvSpPr>
            <a:spLocks noGrp="1"/>
          </p:cNvSpPr>
          <p:nvPr>
            <p:ph type="body" sz="quarter" idx="12" hasCustomPrompt="1"/>
          </p:nvPr>
        </p:nvSpPr>
        <p:spPr>
          <a:xfrm>
            <a:off x="10315302" y="0"/>
            <a:ext cx="1876697" cy="496389"/>
          </a:xfr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lvl1pPr marL="0" indent="0">
              <a:buNone/>
              <a:defRPr lang="en-US" sz="2000" b="1" kern="0" dirty="0">
                <a:solidFill>
                  <a:schemeClr val="tx2"/>
                </a:solidFill>
                <a:latin typeface="+mn-lt"/>
                <a:ea typeface="Segoe UI" panose="020B0502040204020203" pitchFamily="34" charset="0"/>
              </a:defRPr>
            </a:lvl1pPr>
          </a:lstStyle>
          <a:p>
            <a:pPr marL="0" lvl="0" algn="ctr" defTabSz="931036">
              <a:spcBef>
                <a:spcPts val="612"/>
              </a:spcBef>
            </a:pPr>
            <a:r>
              <a:rPr lang="en-US" dirty="0"/>
              <a:t>Category</a:t>
            </a:r>
          </a:p>
        </p:txBody>
      </p:sp>
    </p:spTree>
    <p:extLst>
      <p:ext uri="{BB962C8B-B14F-4D97-AF65-F5344CB8AC3E}">
        <p14:creationId xmlns:p14="http://schemas.microsoft.com/office/powerpoint/2010/main" val="10559497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F770BDB5-9302-4A72-AFF3-5588E374E395}" type="datetimeFigureOut">
              <a:rPr lang="en-US" smtClean="0">
                <a:solidFill>
                  <a:srgbClr val="505050"/>
                </a:solidFill>
              </a:rPr>
              <a:pPr/>
              <a:t>7/12/2017</a:t>
            </a:fld>
            <a:endParaRPr lang="en-US">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8935997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62865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3" y="4790976"/>
            <a:ext cx="4178809" cy="563231"/>
          </a:xfrm>
          <a:solidFill>
            <a:schemeClr val="bg2"/>
          </a:solidFill>
        </p:spPr>
        <p:txBody>
          <a:bodyPr vert="horz" lIns="457200" tIns="182880" rIns="365760" bIns="182880" rtlCol="0">
            <a:spAutoFit/>
          </a:bodyPr>
          <a:lstStyle>
            <a:lvl1pPr>
              <a:defRPr lang="en-US" sz="1400" b="1" smtClean="0">
                <a:solidFill>
                  <a:srgbClr val="002050"/>
                </a:solidFill>
                <a:latin typeface="Segoe UI"/>
                <a:cs typeface=""/>
              </a:defRPr>
            </a:lvl1pPr>
            <a:lvl2pPr>
              <a:defRPr lang="en-US" smtClean="0">
                <a:solidFill>
                  <a:schemeClr val="tx1"/>
                </a:solidFill>
                <a:latin typeface="Segoe UI Light" panose="020B0502040204020203" pitchFamily="34" charset="0"/>
                <a:cs typeface="Segoe UI Light" panose="020B0502040204020203" pitchFamily="34" charset="0"/>
              </a:defRPr>
            </a:lvl2pPr>
            <a:lvl3pPr>
              <a:defRPr lang="en-US" smtClean="0">
                <a:solidFill>
                  <a:schemeClr val="tx1"/>
                </a:solidFill>
                <a:latin typeface="Segoe UI Light" panose="020B0502040204020203" pitchFamily="34" charset="0"/>
                <a:cs typeface="Segoe UI Light" panose="020B0502040204020203" pitchFamily="34" charset="0"/>
              </a:defRPr>
            </a:lvl3pPr>
            <a:lvl4pPr>
              <a:defRPr lang="en-US" smtClean="0">
                <a:solidFill>
                  <a:schemeClr val="tx1"/>
                </a:solidFill>
                <a:latin typeface="Segoe UI Light" panose="020B0502040204020203" pitchFamily="34" charset="0"/>
                <a:cs typeface="Segoe UI Light" panose="020B0502040204020203" pitchFamily="34" charset="0"/>
              </a:defRPr>
            </a:lvl4pPr>
            <a:lvl5pPr>
              <a:defRPr lang="en-US">
                <a:solidFill>
                  <a:schemeClr val="tx1"/>
                </a:solidFill>
                <a:latin typeface="Segoe UI Light" panose="020B0502040204020203" pitchFamily="34" charset="0"/>
                <a:cs typeface="Segoe UI Light" panose="020B0502040204020203" pitchFamily="34" charset="0"/>
              </a:defRPr>
            </a:lvl5pPr>
          </a:lstStyle>
          <a:p>
            <a:pPr marL="0" lvl="0" indent="0">
              <a:spcBef>
                <a:spcPts val="800"/>
              </a:spcBef>
              <a:spcAft>
                <a:spcPts val="600"/>
              </a:spcAft>
              <a:buClr>
                <a:srgbClr val="00C0F9"/>
              </a:buClr>
              <a:buNone/>
            </a:pPr>
            <a:r>
              <a:rPr lang="en-US" dirty="0"/>
              <a:t>Edit Master text styles</a:t>
            </a:r>
          </a:p>
        </p:txBody>
      </p:sp>
      <p:sp>
        <p:nvSpPr>
          <p:cNvPr id="2" name="Title 1"/>
          <p:cNvSpPr>
            <a:spLocks noGrp="1"/>
          </p:cNvSpPr>
          <p:nvPr>
            <p:ph type="title"/>
          </p:nvPr>
        </p:nvSpPr>
        <p:spPr>
          <a:xfrm>
            <a:off x="324465" y="334170"/>
            <a:ext cx="5406864" cy="892552"/>
          </a:xfrm>
        </p:spPr>
        <p:txBody>
          <a:bodyPr>
            <a:noAutofit/>
          </a:bodyPr>
          <a:lstStyle>
            <a:lvl1pPr>
              <a:defRPr sz="4400"/>
            </a:lvl1pPr>
          </a:lstStyle>
          <a:p>
            <a:r>
              <a:rPr lang="en-US" dirty="0"/>
              <a:t>Click to edit Master title style</a:t>
            </a:r>
          </a:p>
        </p:txBody>
      </p:sp>
    </p:spTree>
    <p:extLst>
      <p:ext uri="{BB962C8B-B14F-4D97-AF65-F5344CB8AC3E}">
        <p14:creationId xmlns:p14="http://schemas.microsoft.com/office/powerpoint/2010/main" val="12100705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7861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F770BDB5-9302-4A72-AFF3-5588E374E395}" type="datetimeFigureOut">
              <a:rPr lang="en-US" smtClean="0">
                <a:solidFill>
                  <a:srgbClr val="505050"/>
                </a:solidFill>
              </a:rPr>
              <a:pPr/>
              <a:t>7/12/2017</a:t>
            </a:fld>
            <a:endParaRPr lang="en-US">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954792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8844336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88951" y="373505"/>
            <a:ext cx="4977706" cy="1350792"/>
          </a:xfrm>
        </p:spPr>
        <p:txBody>
          <a:bodyPr>
            <a:normAutofit/>
          </a:bodyPr>
          <a:lstStyle>
            <a:lvl1pPr>
              <a:defRPr sz="4000" b="1">
                <a:latin typeface="+mn-lt"/>
              </a:defRPr>
            </a:lvl1pPr>
          </a:lstStyle>
          <a:p>
            <a:r>
              <a:rPr lang="en-US" dirty="0"/>
              <a:t>Click to edit Master title style</a:t>
            </a:r>
          </a:p>
        </p:txBody>
      </p:sp>
      <p:sp>
        <p:nvSpPr>
          <p:cNvPr id="3" name="Rectangle 2"/>
          <p:cNvSpPr/>
          <p:nvPr userDrawn="1"/>
        </p:nvSpPr>
        <p:spPr>
          <a:xfrm>
            <a:off x="5454595" y="159026"/>
            <a:ext cx="6737405" cy="6698974"/>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Tree>
    <p:extLst>
      <p:ext uri="{BB962C8B-B14F-4D97-AF65-F5344CB8AC3E}">
        <p14:creationId xmlns:p14="http://schemas.microsoft.com/office/powerpoint/2010/main" val="42852568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st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4465" y="172144"/>
            <a:ext cx="10515600" cy="892552"/>
          </a:xfrm>
        </p:spPr>
        <p:txBody>
          <a:bodyPr>
            <a:normAutofit/>
          </a:bodyPr>
          <a:lstStyle>
            <a:lvl1pPr>
              <a:defRPr sz="4800">
                <a:solidFill>
                  <a:schemeClr val="tx2"/>
                </a:solidFill>
              </a:defRPr>
            </a:lvl1pPr>
          </a:lstStyle>
          <a:p>
            <a:r>
              <a:rPr lang="en-US" dirty="0"/>
              <a:t>Click to edit Master title style</a:t>
            </a:r>
          </a:p>
        </p:txBody>
      </p:sp>
      <p:sp>
        <p:nvSpPr>
          <p:cNvPr id="3" name="Rectangle 2"/>
          <p:cNvSpPr/>
          <p:nvPr userDrawn="1"/>
        </p:nvSpPr>
        <p:spPr>
          <a:xfrm>
            <a:off x="1" y="1428466"/>
            <a:ext cx="12191999" cy="54295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a:defRPr/>
            </a:pPr>
            <a:endParaRPr lang="en-US" sz="8000" kern="0" dirty="0">
              <a:solidFill>
                <a:prstClr val="white"/>
              </a:solidFill>
            </a:endParaRPr>
          </a:p>
        </p:txBody>
      </p:sp>
      <p:sp>
        <p:nvSpPr>
          <p:cNvPr id="4" name="Rectangle 3"/>
          <p:cNvSpPr/>
          <p:nvPr userDrawn="1"/>
        </p:nvSpPr>
        <p:spPr>
          <a:xfrm>
            <a:off x="511350" y="1510353"/>
            <a:ext cx="11680649" cy="5347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
        <p:nvSpPr>
          <p:cNvPr id="8" name="Text Placeholder 7"/>
          <p:cNvSpPr>
            <a:spLocks noGrp="1"/>
          </p:cNvSpPr>
          <p:nvPr>
            <p:ph type="body" sz="quarter" idx="10" hasCustomPrompt="1"/>
          </p:nvPr>
        </p:nvSpPr>
        <p:spPr>
          <a:xfrm>
            <a:off x="10315302" y="0"/>
            <a:ext cx="1876697" cy="496389"/>
          </a:xfr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lvl1pPr marL="0" indent="0">
              <a:buNone/>
              <a:defRPr lang="en-US" sz="2000" b="1" kern="0" dirty="0">
                <a:solidFill>
                  <a:schemeClr val="bg1"/>
                </a:solidFill>
                <a:latin typeface="+mn-lt"/>
                <a:ea typeface="Segoe UI" panose="020B0502040204020203" pitchFamily="34" charset="0"/>
              </a:defRPr>
            </a:lvl1pPr>
          </a:lstStyle>
          <a:p>
            <a:pPr marL="0" lvl="0" algn="ctr" defTabSz="931036">
              <a:spcBef>
                <a:spcPts val="612"/>
              </a:spcBef>
            </a:pPr>
            <a:r>
              <a:rPr lang="en-US" dirty="0"/>
              <a:t>Category</a:t>
            </a:r>
          </a:p>
        </p:txBody>
      </p:sp>
    </p:spTree>
    <p:extLst>
      <p:ext uri="{BB962C8B-B14F-4D97-AF65-F5344CB8AC3E}">
        <p14:creationId xmlns:p14="http://schemas.microsoft.com/office/powerpoint/2010/main" val="893275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sideba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4465" y="172144"/>
            <a:ext cx="10515600" cy="892552"/>
          </a:xfrm>
        </p:spPr>
        <p:txBody>
          <a:bodyPr>
            <a:normAutofit/>
          </a:bodyPr>
          <a:lstStyle>
            <a:lvl1pPr>
              <a:defRPr sz="4800">
                <a:solidFill>
                  <a:schemeClr val="tx2"/>
                </a:solidFill>
              </a:defRPr>
            </a:lvl1pPr>
          </a:lstStyle>
          <a:p>
            <a:r>
              <a:rPr lang="en-US" dirty="0"/>
              <a:t>Click to edit Master title style</a:t>
            </a:r>
          </a:p>
        </p:txBody>
      </p:sp>
      <p:sp>
        <p:nvSpPr>
          <p:cNvPr id="3" name="Rectangle 2"/>
          <p:cNvSpPr/>
          <p:nvPr userDrawn="1"/>
        </p:nvSpPr>
        <p:spPr>
          <a:xfrm>
            <a:off x="1" y="1428466"/>
            <a:ext cx="12191999" cy="54295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a:defRPr/>
            </a:pPr>
            <a:endParaRPr lang="en-US" sz="8000" kern="0" dirty="0">
              <a:solidFill>
                <a:prstClr val="white"/>
              </a:solidFill>
            </a:endParaRPr>
          </a:p>
        </p:txBody>
      </p:sp>
      <p:sp>
        <p:nvSpPr>
          <p:cNvPr id="8" name="Text Placeholder 7"/>
          <p:cNvSpPr>
            <a:spLocks noGrp="1"/>
          </p:cNvSpPr>
          <p:nvPr>
            <p:ph type="body" sz="quarter" idx="10" hasCustomPrompt="1"/>
          </p:nvPr>
        </p:nvSpPr>
        <p:spPr>
          <a:xfrm>
            <a:off x="10315302" y="0"/>
            <a:ext cx="1876697" cy="496389"/>
          </a:xfr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lvl1pPr marL="0" indent="0">
              <a:buNone/>
              <a:defRPr lang="en-US" sz="2000" b="1" kern="0" dirty="0">
                <a:solidFill>
                  <a:schemeClr val="bg1"/>
                </a:solidFill>
                <a:latin typeface="+mn-lt"/>
                <a:ea typeface="Segoe UI" panose="020B0502040204020203" pitchFamily="34" charset="0"/>
              </a:defRPr>
            </a:lvl1pPr>
          </a:lstStyle>
          <a:p>
            <a:pPr marL="0" lvl="0" algn="ctr" defTabSz="931036">
              <a:spcBef>
                <a:spcPts val="612"/>
              </a:spcBef>
            </a:pPr>
            <a:r>
              <a:rPr lang="en-US" dirty="0"/>
              <a:t>Category</a:t>
            </a:r>
          </a:p>
        </p:txBody>
      </p:sp>
      <p:sp>
        <p:nvSpPr>
          <p:cNvPr id="6" name="Rectangle 5"/>
          <p:cNvSpPr/>
          <p:nvPr userDrawn="1"/>
        </p:nvSpPr>
        <p:spPr>
          <a:xfrm>
            <a:off x="7315200" y="1510352"/>
            <a:ext cx="4876800" cy="5347648"/>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
        <p:nvSpPr>
          <p:cNvPr id="7" name="Text Placeholder 6"/>
          <p:cNvSpPr>
            <a:spLocks noGrp="1"/>
          </p:cNvSpPr>
          <p:nvPr>
            <p:ph type="body" sz="quarter" idx="12"/>
          </p:nvPr>
        </p:nvSpPr>
        <p:spPr>
          <a:xfrm>
            <a:off x="7586572" y="1929025"/>
            <a:ext cx="4327841" cy="3814277"/>
          </a:xfrm>
        </p:spPr>
        <p:txBody>
          <a:bodyPr>
            <a:noAutofit/>
          </a:bodyPr>
          <a:lstStyle>
            <a:lvl1pPr>
              <a:defRPr sz="2000">
                <a:solidFill>
                  <a:schemeClr val="tx1"/>
                </a:solidFill>
                <a:latin typeface="+mj-lt"/>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9495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7747682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sideba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4465" y="172144"/>
            <a:ext cx="11589948" cy="892552"/>
          </a:xfrm>
        </p:spPr>
        <p:txBody>
          <a:bodyPr>
            <a:normAutofit/>
          </a:bodyPr>
          <a:lstStyle>
            <a:lvl1pPr>
              <a:defRPr sz="4800">
                <a:solidFill>
                  <a:schemeClr val="tx2"/>
                </a:solidFill>
              </a:defRPr>
            </a:lvl1pPr>
          </a:lstStyle>
          <a:p>
            <a:r>
              <a:rPr lang="en-US" dirty="0"/>
              <a:t>Click to edit Master title style</a:t>
            </a:r>
          </a:p>
        </p:txBody>
      </p:sp>
      <p:sp>
        <p:nvSpPr>
          <p:cNvPr id="3" name="Rectangle 2"/>
          <p:cNvSpPr/>
          <p:nvPr userDrawn="1"/>
        </p:nvSpPr>
        <p:spPr>
          <a:xfrm>
            <a:off x="1" y="1428466"/>
            <a:ext cx="12191999" cy="54295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a:defRPr/>
            </a:pPr>
            <a:endParaRPr lang="en-US" sz="8000" kern="0" dirty="0">
              <a:solidFill>
                <a:prstClr val="white"/>
              </a:solidFill>
            </a:endParaRPr>
          </a:p>
        </p:txBody>
      </p:sp>
      <p:sp>
        <p:nvSpPr>
          <p:cNvPr id="6" name="Rectangle 5"/>
          <p:cNvSpPr/>
          <p:nvPr userDrawn="1"/>
        </p:nvSpPr>
        <p:spPr>
          <a:xfrm>
            <a:off x="7315200" y="1510352"/>
            <a:ext cx="4876800" cy="5347648"/>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
        <p:nvSpPr>
          <p:cNvPr id="7" name="Text Placeholder 6"/>
          <p:cNvSpPr>
            <a:spLocks noGrp="1"/>
          </p:cNvSpPr>
          <p:nvPr>
            <p:ph type="body" sz="quarter" idx="12"/>
          </p:nvPr>
        </p:nvSpPr>
        <p:spPr>
          <a:xfrm>
            <a:off x="7586572" y="1929025"/>
            <a:ext cx="4327841" cy="3814277"/>
          </a:xfrm>
        </p:spPr>
        <p:txBody>
          <a:bodyPr>
            <a:noAutofit/>
          </a:bodyPr>
          <a:lstStyle>
            <a:lvl1pPr>
              <a:defRPr sz="2000">
                <a:solidFill>
                  <a:schemeClr val="tx1"/>
                </a:solidFill>
                <a:latin typeface="+mj-lt"/>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20373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5470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117" y="289511"/>
            <a:ext cx="11655840" cy="899665"/>
          </a:xfrm>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71510" y="6491045"/>
            <a:ext cx="936609" cy="206372"/>
          </a:xfrm>
          <a:prstGeom prst="rect">
            <a:avLst/>
          </a:prstGeom>
        </p:spPr>
      </p:pic>
    </p:spTree>
    <p:extLst>
      <p:ext uri="{BB962C8B-B14F-4D97-AF65-F5344CB8AC3E}">
        <p14:creationId xmlns:p14="http://schemas.microsoft.com/office/powerpoint/2010/main" val="6438086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996718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3200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p:nvPr>
        </p:nvSpPr>
        <p:spPr>
          <a:xfrm>
            <a:off x="274639" y="295274"/>
            <a:ext cx="11889564" cy="917575"/>
          </a:xfrm>
        </p:spPr>
        <p:txBody>
          <a:bodyPr/>
          <a:lstStyle>
            <a:lvl1pPr>
              <a:defRPr sz="40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8" name="Text Placeholder 5"/>
          <p:cNvSpPr>
            <a:spLocks noGrp="1"/>
          </p:cNvSpPr>
          <p:nvPr>
            <p:ph type="body" sz="quarter" idx="10"/>
          </p:nvPr>
        </p:nvSpPr>
        <p:spPr>
          <a:xfrm>
            <a:off x="274638" y="1230312"/>
            <a:ext cx="11887200" cy="1659942"/>
          </a:xfrm>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vl2pPr marL="0" indent="0">
              <a:buFontTx/>
              <a:buNone/>
              <a:defRPr sz="1800">
                <a:solidFill>
                  <a:schemeClr val="bg1"/>
                </a:solidFill>
                <a:latin typeface="Segoe UI" panose="020B0502040204020203" pitchFamily="34" charset="0"/>
                <a:cs typeface="Segoe UI" panose="020B0502040204020203" pitchFamily="34" charset="0"/>
              </a:defRPr>
            </a:lvl2pPr>
            <a:lvl3pPr marL="228600" indent="0">
              <a:buNone/>
              <a:defRPr sz="1800">
                <a:solidFill>
                  <a:schemeClr val="bg1"/>
                </a:solidFill>
                <a:latin typeface="Segoe UI" panose="020B0502040204020203" pitchFamily="34" charset="0"/>
                <a:cs typeface="Segoe UI" panose="020B0502040204020203" pitchFamily="34" charset="0"/>
              </a:defRPr>
            </a:lvl3pPr>
            <a:lvl4pPr marL="457200" indent="0">
              <a:buNone/>
              <a:defRPr sz="1600">
                <a:solidFill>
                  <a:schemeClr val="bg1"/>
                </a:solidFill>
                <a:latin typeface="Segoe UI" panose="020B0502040204020203" pitchFamily="34" charset="0"/>
                <a:cs typeface="Segoe UI" panose="020B0502040204020203" pitchFamily="34" charset="0"/>
              </a:defRPr>
            </a:lvl4pPr>
            <a:lvl5pPr marL="685800" indent="0">
              <a:buNone/>
              <a:defRPr sz="1600">
                <a:solidFill>
                  <a:schemeClr val="bg1"/>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91258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2_Dark data">
    <p:bg>
      <p:bgPr>
        <a:solidFill>
          <a:schemeClr val="tx1"/>
        </a:solidFill>
        <a:effectLst/>
      </p:bgPr>
    </p:bg>
    <p:spTree>
      <p:nvGrpSpPr>
        <p:cNvPr id="1" name=""/>
        <p:cNvGrpSpPr/>
        <p:nvPr/>
      </p:nvGrpSpPr>
      <p:grpSpPr>
        <a:xfrm>
          <a:off x="0" y="0"/>
          <a:ext cx="0" cy="0"/>
          <a:chOff x="0" y="0"/>
          <a:chExt cx="0" cy="0"/>
        </a:xfrm>
      </p:grpSpPr>
      <p:sp>
        <p:nvSpPr>
          <p:cNvPr id="1779" name="Rectangle 1778"/>
          <p:cNvSpPr/>
          <p:nvPr userDrawn="1"/>
        </p:nvSpPr>
        <p:spPr bwMode="auto">
          <a:xfrm>
            <a:off x="4259"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0" name="Group 1779"/>
          <p:cNvGrpSpPr/>
          <p:nvPr userDrawn="1"/>
        </p:nvGrpSpPr>
        <p:grpSpPr>
          <a:xfrm>
            <a:off x="41324" y="42123"/>
            <a:ext cx="12117871" cy="6078416"/>
            <a:chOff x="34441" y="68248"/>
            <a:chExt cx="12117871" cy="6078416"/>
          </a:xfrm>
        </p:grpSpPr>
        <p:sp>
          <p:nvSpPr>
            <p:cNvPr id="1781" name="Freeform 1780"/>
            <p:cNvSpPr/>
            <p:nvPr/>
          </p:nvSpPr>
          <p:spPr>
            <a:xfrm>
              <a:off x="34441" y="73882"/>
              <a:ext cx="12117871" cy="6072780"/>
            </a:xfrm>
            <a:custGeom>
              <a:avLst/>
              <a:gdLst>
                <a:gd name="connsiteX0" fmla="*/ 11876198 w 12117871"/>
                <a:gd name="connsiteY0" fmla="*/ 5869975 h 6072780"/>
                <a:gd name="connsiteX1" fmla="*/ 11836928 w 12117871"/>
                <a:gd name="connsiteY1" fmla="*/ 5956489 h 6072780"/>
                <a:gd name="connsiteX2" fmla="*/ 11875446 w 12117871"/>
                <a:gd name="connsiteY2" fmla="*/ 6037436 h 6072780"/>
                <a:gd name="connsiteX3" fmla="*/ 11913361 w 12117871"/>
                <a:gd name="connsiteY3" fmla="*/ 5955135 h 6072780"/>
                <a:gd name="connsiteX4" fmla="*/ 11876198 w 12117871"/>
                <a:gd name="connsiteY4" fmla="*/ 5869975 h 6072780"/>
                <a:gd name="connsiteX5" fmla="*/ 6366335 w 12117871"/>
                <a:gd name="connsiteY5" fmla="*/ 5869975 h 6072780"/>
                <a:gd name="connsiteX6" fmla="*/ 6327065 w 12117871"/>
                <a:gd name="connsiteY6" fmla="*/ 5956489 h 6072780"/>
                <a:gd name="connsiteX7" fmla="*/ 6365583 w 12117871"/>
                <a:gd name="connsiteY7" fmla="*/ 6037436 h 6072780"/>
                <a:gd name="connsiteX8" fmla="*/ 6403498 w 12117871"/>
                <a:gd name="connsiteY8" fmla="*/ 5955135 h 6072780"/>
                <a:gd name="connsiteX9" fmla="*/ 6366335 w 12117871"/>
                <a:gd name="connsiteY9" fmla="*/ 5869975 h 6072780"/>
                <a:gd name="connsiteX10" fmla="*/ 5088792 w 12117871"/>
                <a:gd name="connsiteY10" fmla="*/ 5869975 h 6072780"/>
                <a:gd name="connsiteX11" fmla="*/ 5049522 w 12117871"/>
                <a:gd name="connsiteY11" fmla="*/ 5956489 h 6072780"/>
                <a:gd name="connsiteX12" fmla="*/ 5088041 w 12117871"/>
                <a:gd name="connsiteY12" fmla="*/ 6037436 h 6072780"/>
                <a:gd name="connsiteX13" fmla="*/ 5125957 w 12117871"/>
                <a:gd name="connsiteY13" fmla="*/ 5955135 h 6072780"/>
                <a:gd name="connsiteX14" fmla="*/ 5088792 w 12117871"/>
                <a:gd name="connsiteY14" fmla="*/ 5869975 h 6072780"/>
                <a:gd name="connsiteX15" fmla="*/ 12062430 w 12117871"/>
                <a:gd name="connsiteY15" fmla="*/ 5849800 h 6072780"/>
                <a:gd name="connsiteX16" fmla="*/ 12077336 w 12117871"/>
                <a:gd name="connsiteY16" fmla="*/ 5849800 h 6072780"/>
                <a:gd name="connsiteX17" fmla="*/ 12077336 w 12117871"/>
                <a:gd name="connsiteY17" fmla="*/ 6072780 h 6072780"/>
                <a:gd name="connsiteX18" fmla="*/ 12042048 w 12117871"/>
                <a:gd name="connsiteY18" fmla="*/ 6072780 h 6072780"/>
                <a:gd name="connsiteX19" fmla="*/ 12042048 w 12117871"/>
                <a:gd name="connsiteY19" fmla="*/ 5892997 h 6072780"/>
                <a:gd name="connsiteX20" fmla="*/ 12021439 w 12117871"/>
                <a:gd name="connsiteY20" fmla="*/ 5904633 h 6072780"/>
                <a:gd name="connsiteX21" fmla="*/ 11996266 w 12117871"/>
                <a:gd name="connsiteY21" fmla="*/ 5913074 h 6072780"/>
                <a:gd name="connsiteX22" fmla="*/ 11996266 w 12117871"/>
                <a:gd name="connsiteY22" fmla="*/ 5882958 h 6072780"/>
                <a:gd name="connsiteX23" fmla="*/ 12013301 w 12117871"/>
                <a:gd name="connsiteY23" fmla="*/ 5876874 h 6072780"/>
                <a:gd name="connsiteX24" fmla="*/ 12029500 w 12117871"/>
                <a:gd name="connsiteY24" fmla="*/ 5869725 h 6072780"/>
                <a:gd name="connsiteX25" fmla="*/ 12045623 w 12117871"/>
                <a:gd name="connsiteY25" fmla="*/ 5860904 h 6072780"/>
                <a:gd name="connsiteX26" fmla="*/ 12062430 w 12117871"/>
                <a:gd name="connsiteY26" fmla="*/ 5849800 h 6072780"/>
                <a:gd name="connsiteX27" fmla="*/ 10143427 w 12117871"/>
                <a:gd name="connsiteY27" fmla="*/ 5849800 h 6072780"/>
                <a:gd name="connsiteX28" fmla="*/ 10158333 w 12117871"/>
                <a:gd name="connsiteY28" fmla="*/ 5849800 h 6072780"/>
                <a:gd name="connsiteX29" fmla="*/ 10158333 w 12117871"/>
                <a:gd name="connsiteY29" fmla="*/ 6072780 h 6072780"/>
                <a:gd name="connsiteX30" fmla="*/ 10123045 w 12117871"/>
                <a:gd name="connsiteY30" fmla="*/ 6072780 h 6072780"/>
                <a:gd name="connsiteX31" fmla="*/ 10123045 w 12117871"/>
                <a:gd name="connsiteY31" fmla="*/ 5892997 h 6072780"/>
                <a:gd name="connsiteX32" fmla="*/ 10102436 w 12117871"/>
                <a:gd name="connsiteY32" fmla="*/ 5904633 h 6072780"/>
                <a:gd name="connsiteX33" fmla="*/ 10077263 w 12117871"/>
                <a:gd name="connsiteY33" fmla="*/ 5913074 h 6072780"/>
                <a:gd name="connsiteX34" fmla="*/ 10077263 w 12117871"/>
                <a:gd name="connsiteY34" fmla="*/ 5882958 h 6072780"/>
                <a:gd name="connsiteX35" fmla="*/ 10094298 w 12117871"/>
                <a:gd name="connsiteY35" fmla="*/ 5876874 h 6072780"/>
                <a:gd name="connsiteX36" fmla="*/ 10110497 w 12117871"/>
                <a:gd name="connsiteY36" fmla="*/ 5869725 h 6072780"/>
                <a:gd name="connsiteX37" fmla="*/ 10126620 w 12117871"/>
                <a:gd name="connsiteY37" fmla="*/ 5860904 h 6072780"/>
                <a:gd name="connsiteX38" fmla="*/ 10143427 w 12117871"/>
                <a:gd name="connsiteY38" fmla="*/ 5849800 h 6072780"/>
                <a:gd name="connsiteX39" fmla="*/ 9254256 w 12117871"/>
                <a:gd name="connsiteY39" fmla="*/ 5849800 h 6072780"/>
                <a:gd name="connsiteX40" fmla="*/ 9269162 w 12117871"/>
                <a:gd name="connsiteY40" fmla="*/ 5849800 h 6072780"/>
                <a:gd name="connsiteX41" fmla="*/ 9269162 w 12117871"/>
                <a:gd name="connsiteY41" fmla="*/ 6072780 h 6072780"/>
                <a:gd name="connsiteX42" fmla="*/ 9233874 w 12117871"/>
                <a:gd name="connsiteY42" fmla="*/ 6072780 h 6072780"/>
                <a:gd name="connsiteX43" fmla="*/ 9233874 w 12117871"/>
                <a:gd name="connsiteY43" fmla="*/ 5892997 h 6072780"/>
                <a:gd name="connsiteX44" fmla="*/ 9213265 w 12117871"/>
                <a:gd name="connsiteY44" fmla="*/ 5904633 h 6072780"/>
                <a:gd name="connsiteX45" fmla="*/ 9188092 w 12117871"/>
                <a:gd name="connsiteY45" fmla="*/ 5913074 h 6072780"/>
                <a:gd name="connsiteX46" fmla="*/ 9188092 w 12117871"/>
                <a:gd name="connsiteY46" fmla="*/ 5882958 h 6072780"/>
                <a:gd name="connsiteX47" fmla="*/ 9205127 w 12117871"/>
                <a:gd name="connsiteY47" fmla="*/ 5876874 h 6072780"/>
                <a:gd name="connsiteX48" fmla="*/ 9221326 w 12117871"/>
                <a:gd name="connsiteY48" fmla="*/ 5869725 h 6072780"/>
                <a:gd name="connsiteX49" fmla="*/ 9237449 w 12117871"/>
                <a:gd name="connsiteY49" fmla="*/ 5860904 h 6072780"/>
                <a:gd name="connsiteX50" fmla="*/ 9254256 w 12117871"/>
                <a:gd name="connsiteY50" fmla="*/ 5849800 h 6072780"/>
                <a:gd name="connsiteX51" fmla="*/ 7015147 w 12117871"/>
                <a:gd name="connsiteY51" fmla="*/ 5849800 h 6072780"/>
                <a:gd name="connsiteX52" fmla="*/ 7030053 w 12117871"/>
                <a:gd name="connsiteY52" fmla="*/ 5849800 h 6072780"/>
                <a:gd name="connsiteX53" fmla="*/ 7030053 w 12117871"/>
                <a:gd name="connsiteY53" fmla="*/ 6072780 h 6072780"/>
                <a:gd name="connsiteX54" fmla="*/ 6994765 w 12117871"/>
                <a:gd name="connsiteY54" fmla="*/ 6072780 h 6072780"/>
                <a:gd name="connsiteX55" fmla="*/ 6994765 w 12117871"/>
                <a:gd name="connsiteY55" fmla="*/ 5892997 h 6072780"/>
                <a:gd name="connsiteX56" fmla="*/ 6974156 w 12117871"/>
                <a:gd name="connsiteY56" fmla="*/ 5904633 h 6072780"/>
                <a:gd name="connsiteX57" fmla="*/ 6948983 w 12117871"/>
                <a:gd name="connsiteY57" fmla="*/ 5913074 h 6072780"/>
                <a:gd name="connsiteX58" fmla="*/ 6948983 w 12117871"/>
                <a:gd name="connsiteY58" fmla="*/ 5882958 h 6072780"/>
                <a:gd name="connsiteX59" fmla="*/ 6966018 w 12117871"/>
                <a:gd name="connsiteY59" fmla="*/ 5876874 h 6072780"/>
                <a:gd name="connsiteX60" fmla="*/ 6982217 w 12117871"/>
                <a:gd name="connsiteY60" fmla="*/ 5869725 h 6072780"/>
                <a:gd name="connsiteX61" fmla="*/ 6998340 w 12117871"/>
                <a:gd name="connsiteY61" fmla="*/ 5860904 h 6072780"/>
                <a:gd name="connsiteX62" fmla="*/ 7015147 w 12117871"/>
                <a:gd name="connsiteY62" fmla="*/ 5849800 h 6072780"/>
                <a:gd name="connsiteX63" fmla="*/ 4694968 w 12117871"/>
                <a:gd name="connsiteY63" fmla="*/ 5849800 h 6072780"/>
                <a:gd name="connsiteX64" fmla="*/ 4709876 w 12117871"/>
                <a:gd name="connsiteY64" fmla="*/ 5849800 h 6072780"/>
                <a:gd name="connsiteX65" fmla="*/ 4709876 w 12117871"/>
                <a:gd name="connsiteY65" fmla="*/ 6072780 h 6072780"/>
                <a:gd name="connsiteX66" fmla="*/ 4674589 w 12117871"/>
                <a:gd name="connsiteY66" fmla="*/ 6072780 h 6072780"/>
                <a:gd name="connsiteX67" fmla="*/ 4674589 w 12117871"/>
                <a:gd name="connsiteY67" fmla="*/ 5892997 h 6072780"/>
                <a:gd name="connsiteX68" fmla="*/ 4653978 w 12117871"/>
                <a:gd name="connsiteY68" fmla="*/ 5904633 h 6072780"/>
                <a:gd name="connsiteX69" fmla="*/ 4628805 w 12117871"/>
                <a:gd name="connsiteY69" fmla="*/ 5913074 h 6072780"/>
                <a:gd name="connsiteX70" fmla="*/ 4628805 w 12117871"/>
                <a:gd name="connsiteY70" fmla="*/ 5882958 h 6072780"/>
                <a:gd name="connsiteX71" fmla="*/ 4645841 w 12117871"/>
                <a:gd name="connsiteY71" fmla="*/ 5876874 h 6072780"/>
                <a:gd name="connsiteX72" fmla="*/ 4662040 w 12117871"/>
                <a:gd name="connsiteY72" fmla="*/ 5869725 h 6072780"/>
                <a:gd name="connsiteX73" fmla="*/ 4678162 w 12117871"/>
                <a:gd name="connsiteY73" fmla="*/ 5860904 h 6072780"/>
                <a:gd name="connsiteX74" fmla="*/ 4694968 w 12117871"/>
                <a:gd name="connsiteY74" fmla="*/ 5849800 h 6072780"/>
                <a:gd name="connsiteX75" fmla="*/ 3158682 w 12117871"/>
                <a:gd name="connsiteY75" fmla="*/ 5849800 h 6072780"/>
                <a:gd name="connsiteX76" fmla="*/ 3173587 w 12117871"/>
                <a:gd name="connsiteY76" fmla="*/ 5849800 h 6072780"/>
                <a:gd name="connsiteX77" fmla="*/ 3173587 w 12117871"/>
                <a:gd name="connsiteY77" fmla="*/ 6072780 h 6072780"/>
                <a:gd name="connsiteX78" fmla="*/ 3138299 w 12117871"/>
                <a:gd name="connsiteY78" fmla="*/ 6072780 h 6072780"/>
                <a:gd name="connsiteX79" fmla="*/ 3138299 w 12117871"/>
                <a:gd name="connsiteY79" fmla="*/ 5892997 h 6072780"/>
                <a:gd name="connsiteX80" fmla="*/ 3117690 w 12117871"/>
                <a:gd name="connsiteY80" fmla="*/ 5904633 h 6072780"/>
                <a:gd name="connsiteX81" fmla="*/ 3092517 w 12117871"/>
                <a:gd name="connsiteY81" fmla="*/ 5913074 h 6072780"/>
                <a:gd name="connsiteX82" fmla="*/ 3092517 w 12117871"/>
                <a:gd name="connsiteY82" fmla="*/ 5882958 h 6072780"/>
                <a:gd name="connsiteX83" fmla="*/ 3109553 w 12117871"/>
                <a:gd name="connsiteY83" fmla="*/ 5876874 h 6072780"/>
                <a:gd name="connsiteX84" fmla="*/ 3125751 w 12117871"/>
                <a:gd name="connsiteY84" fmla="*/ 5869725 h 6072780"/>
                <a:gd name="connsiteX85" fmla="*/ 3141875 w 12117871"/>
                <a:gd name="connsiteY85" fmla="*/ 5860904 h 6072780"/>
                <a:gd name="connsiteX86" fmla="*/ 3158682 w 12117871"/>
                <a:gd name="connsiteY86" fmla="*/ 5849800 h 6072780"/>
                <a:gd name="connsiteX87" fmla="*/ 2489154 w 12117871"/>
                <a:gd name="connsiteY87" fmla="*/ 5849800 h 6072780"/>
                <a:gd name="connsiteX88" fmla="*/ 2504060 w 12117871"/>
                <a:gd name="connsiteY88" fmla="*/ 5849800 h 6072780"/>
                <a:gd name="connsiteX89" fmla="*/ 2504060 w 12117871"/>
                <a:gd name="connsiteY89" fmla="*/ 6072780 h 6072780"/>
                <a:gd name="connsiteX90" fmla="*/ 2468772 w 12117871"/>
                <a:gd name="connsiteY90" fmla="*/ 6072780 h 6072780"/>
                <a:gd name="connsiteX91" fmla="*/ 2468772 w 12117871"/>
                <a:gd name="connsiteY91" fmla="*/ 5892997 h 6072780"/>
                <a:gd name="connsiteX92" fmla="*/ 2448163 w 12117871"/>
                <a:gd name="connsiteY92" fmla="*/ 5904633 h 6072780"/>
                <a:gd name="connsiteX93" fmla="*/ 2422990 w 12117871"/>
                <a:gd name="connsiteY93" fmla="*/ 5913074 h 6072780"/>
                <a:gd name="connsiteX94" fmla="*/ 2422990 w 12117871"/>
                <a:gd name="connsiteY94" fmla="*/ 5882958 h 6072780"/>
                <a:gd name="connsiteX95" fmla="*/ 2440025 w 12117871"/>
                <a:gd name="connsiteY95" fmla="*/ 5876874 h 6072780"/>
                <a:gd name="connsiteX96" fmla="*/ 2456224 w 12117871"/>
                <a:gd name="connsiteY96" fmla="*/ 5869725 h 6072780"/>
                <a:gd name="connsiteX97" fmla="*/ 2472346 w 12117871"/>
                <a:gd name="connsiteY97" fmla="*/ 5860904 h 6072780"/>
                <a:gd name="connsiteX98" fmla="*/ 2489154 w 12117871"/>
                <a:gd name="connsiteY98" fmla="*/ 5849800 h 6072780"/>
                <a:gd name="connsiteX99" fmla="*/ 1599916 w 12117871"/>
                <a:gd name="connsiteY99" fmla="*/ 5849800 h 6072780"/>
                <a:gd name="connsiteX100" fmla="*/ 1614822 w 12117871"/>
                <a:gd name="connsiteY100" fmla="*/ 5849800 h 6072780"/>
                <a:gd name="connsiteX101" fmla="*/ 1614822 w 12117871"/>
                <a:gd name="connsiteY101" fmla="*/ 6072780 h 6072780"/>
                <a:gd name="connsiteX102" fmla="*/ 1579534 w 12117871"/>
                <a:gd name="connsiteY102" fmla="*/ 6072780 h 6072780"/>
                <a:gd name="connsiteX103" fmla="*/ 1579534 w 12117871"/>
                <a:gd name="connsiteY103" fmla="*/ 5892997 h 6072780"/>
                <a:gd name="connsiteX104" fmla="*/ 1558925 w 12117871"/>
                <a:gd name="connsiteY104" fmla="*/ 5904633 h 6072780"/>
                <a:gd name="connsiteX105" fmla="*/ 1533752 w 12117871"/>
                <a:gd name="connsiteY105" fmla="*/ 5913074 h 6072780"/>
                <a:gd name="connsiteX106" fmla="*/ 1533752 w 12117871"/>
                <a:gd name="connsiteY106" fmla="*/ 5882958 h 6072780"/>
                <a:gd name="connsiteX107" fmla="*/ 1550787 w 12117871"/>
                <a:gd name="connsiteY107" fmla="*/ 5876874 h 6072780"/>
                <a:gd name="connsiteX108" fmla="*/ 1566986 w 12117871"/>
                <a:gd name="connsiteY108" fmla="*/ 5869725 h 6072780"/>
                <a:gd name="connsiteX109" fmla="*/ 1583109 w 12117871"/>
                <a:gd name="connsiteY109" fmla="*/ 5860904 h 6072780"/>
                <a:gd name="connsiteX110" fmla="*/ 1599916 w 12117871"/>
                <a:gd name="connsiteY110" fmla="*/ 5849800 h 6072780"/>
                <a:gd name="connsiteX111" fmla="*/ 480750 w 12117871"/>
                <a:gd name="connsiteY111" fmla="*/ 5849800 h 6072780"/>
                <a:gd name="connsiteX112" fmla="*/ 495656 w 12117871"/>
                <a:gd name="connsiteY112" fmla="*/ 5849800 h 6072780"/>
                <a:gd name="connsiteX113" fmla="*/ 495656 w 12117871"/>
                <a:gd name="connsiteY113" fmla="*/ 6072780 h 6072780"/>
                <a:gd name="connsiteX114" fmla="*/ 460368 w 12117871"/>
                <a:gd name="connsiteY114" fmla="*/ 6072780 h 6072780"/>
                <a:gd name="connsiteX115" fmla="*/ 460368 w 12117871"/>
                <a:gd name="connsiteY115" fmla="*/ 5892997 h 6072780"/>
                <a:gd name="connsiteX116" fmla="*/ 439759 w 12117871"/>
                <a:gd name="connsiteY116" fmla="*/ 5904633 h 6072780"/>
                <a:gd name="connsiteX117" fmla="*/ 414586 w 12117871"/>
                <a:gd name="connsiteY117" fmla="*/ 5913074 h 6072780"/>
                <a:gd name="connsiteX118" fmla="*/ 414586 w 12117871"/>
                <a:gd name="connsiteY118" fmla="*/ 5882958 h 6072780"/>
                <a:gd name="connsiteX119" fmla="*/ 431621 w 12117871"/>
                <a:gd name="connsiteY119" fmla="*/ 5876874 h 6072780"/>
                <a:gd name="connsiteX120" fmla="*/ 447821 w 12117871"/>
                <a:gd name="connsiteY120" fmla="*/ 5869725 h 6072780"/>
                <a:gd name="connsiteX121" fmla="*/ 463943 w 12117871"/>
                <a:gd name="connsiteY121" fmla="*/ 5860904 h 6072780"/>
                <a:gd name="connsiteX122" fmla="*/ 480750 w 12117871"/>
                <a:gd name="connsiteY122" fmla="*/ 5849800 h 6072780"/>
                <a:gd name="connsiteX123" fmla="*/ 11877853 w 12117871"/>
                <a:gd name="connsiteY123" fmla="*/ 5842140 h 6072780"/>
                <a:gd name="connsiteX124" fmla="*/ 11949020 w 12117871"/>
                <a:gd name="connsiteY124" fmla="*/ 5952728 h 6072780"/>
                <a:gd name="connsiteX125" fmla="*/ 11928934 w 12117871"/>
                <a:gd name="connsiteY125" fmla="*/ 6036307 h 6072780"/>
                <a:gd name="connsiteX126" fmla="*/ 11872737 w 12117871"/>
                <a:gd name="connsiteY126" fmla="*/ 6065120 h 6072780"/>
                <a:gd name="connsiteX127" fmla="*/ 11820152 w 12117871"/>
                <a:gd name="connsiteY127" fmla="*/ 6037586 h 6072780"/>
                <a:gd name="connsiteX128" fmla="*/ 11801269 w 12117871"/>
                <a:gd name="connsiteY128" fmla="*/ 5957994 h 6072780"/>
                <a:gd name="connsiteX129" fmla="*/ 11820979 w 12117871"/>
                <a:gd name="connsiteY129" fmla="*/ 5871480 h 6072780"/>
                <a:gd name="connsiteX130" fmla="*/ 11877853 w 12117871"/>
                <a:gd name="connsiteY130" fmla="*/ 5842140 h 6072780"/>
                <a:gd name="connsiteX131" fmla="*/ 6367990 w 12117871"/>
                <a:gd name="connsiteY131" fmla="*/ 5842140 h 6072780"/>
                <a:gd name="connsiteX132" fmla="*/ 6439157 w 12117871"/>
                <a:gd name="connsiteY132" fmla="*/ 5952728 h 6072780"/>
                <a:gd name="connsiteX133" fmla="*/ 6419071 w 12117871"/>
                <a:gd name="connsiteY133" fmla="*/ 6036307 h 6072780"/>
                <a:gd name="connsiteX134" fmla="*/ 6362874 w 12117871"/>
                <a:gd name="connsiteY134" fmla="*/ 6065120 h 6072780"/>
                <a:gd name="connsiteX135" fmla="*/ 6310289 w 12117871"/>
                <a:gd name="connsiteY135" fmla="*/ 6037586 h 6072780"/>
                <a:gd name="connsiteX136" fmla="*/ 6291406 w 12117871"/>
                <a:gd name="connsiteY136" fmla="*/ 5957994 h 6072780"/>
                <a:gd name="connsiteX137" fmla="*/ 6311116 w 12117871"/>
                <a:gd name="connsiteY137" fmla="*/ 5871480 h 6072780"/>
                <a:gd name="connsiteX138" fmla="*/ 6367990 w 12117871"/>
                <a:gd name="connsiteY138" fmla="*/ 5842140 h 6072780"/>
                <a:gd name="connsiteX139" fmla="*/ 5090447 w 12117871"/>
                <a:gd name="connsiteY139" fmla="*/ 5842140 h 6072780"/>
                <a:gd name="connsiteX140" fmla="*/ 5161614 w 12117871"/>
                <a:gd name="connsiteY140" fmla="*/ 5952728 h 6072780"/>
                <a:gd name="connsiteX141" fmla="*/ 5141528 w 12117871"/>
                <a:gd name="connsiteY141" fmla="*/ 6036307 h 6072780"/>
                <a:gd name="connsiteX142" fmla="*/ 5085331 w 12117871"/>
                <a:gd name="connsiteY142" fmla="*/ 6065120 h 6072780"/>
                <a:gd name="connsiteX143" fmla="*/ 5032746 w 12117871"/>
                <a:gd name="connsiteY143" fmla="*/ 6037586 h 6072780"/>
                <a:gd name="connsiteX144" fmla="*/ 5013863 w 12117871"/>
                <a:gd name="connsiteY144" fmla="*/ 5957994 h 6072780"/>
                <a:gd name="connsiteX145" fmla="*/ 5033573 w 12117871"/>
                <a:gd name="connsiteY145" fmla="*/ 5871480 h 6072780"/>
                <a:gd name="connsiteX146" fmla="*/ 5090447 w 12117871"/>
                <a:gd name="connsiteY146" fmla="*/ 5842140 h 6072780"/>
                <a:gd name="connsiteX147" fmla="*/ 11874294 w 12117871"/>
                <a:gd name="connsiteY147" fmla="*/ 5532345 h 6072780"/>
                <a:gd name="connsiteX148" fmla="*/ 11835024 w 12117871"/>
                <a:gd name="connsiteY148" fmla="*/ 5618858 h 6072780"/>
                <a:gd name="connsiteX149" fmla="*/ 11873542 w 12117871"/>
                <a:gd name="connsiteY149" fmla="*/ 5699805 h 6072780"/>
                <a:gd name="connsiteX150" fmla="*/ 11911457 w 12117871"/>
                <a:gd name="connsiteY150" fmla="*/ 5617504 h 6072780"/>
                <a:gd name="connsiteX151" fmla="*/ 11874294 w 12117871"/>
                <a:gd name="connsiteY151" fmla="*/ 5532345 h 6072780"/>
                <a:gd name="connsiteX152" fmla="*/ 9936214 w 12117871"/>
                <a:gd name="connsiteY152" fmla="*/ 5532345 h 6072780"/>
                <a:gd name="connsiteX153" fmla="*/ 9896944 w 12117871"/>
                <a:gd name="connsiteY153" fmla="*/ 5618859 h 6072780"/>
                <a:gd name="connsiteX154" fmla="*/ 9935462 w 12117871"/>
                <a:gd name="connsiteY154" fmla="*/ 5699806 h 6072780"/>
                <a:gd name="connsiteX155" fmla="*/ 9973377 w 12117871"/>
                <a:gd name="connsiteY155" fmla="*/ 5617505 h 6072780"/>
                <a:gd name="connsiteX156" fmla="*/ 9936214 w 12117871"/>
                <a:gd name="connsiteY156" fmla="*/ 5532345 h 6072780"/>
                <a:gd name="connsiteX157" fmla="*/ 6366335 w 12117871"/>
                <a:gd name="connsiteY157" fmla="*/ 5532345 h 6072780"/>
                <a:gd name="connsiteX158" fmla="*/ 6327065 w 12117871"/>
                <a:gd name="connsiteY158" fmla="*/ 5618858 h 6072780"/>
                <a:gd name="connsiteX159" fmla="*/ 6365583 w 12117871"/>
                <a:gd name="connsiteY159" fmla="*/ 5699805 h 6072780"/>
                <a:gd name="connsiteX160" fmla="*/ 6403498 w 12117871"/>
                <a:gd name="connsiteY160" fmla="*/ 5617504 h 6072780"/>
                <a:gd name="connsiteX161" fmla="*/ 6366335 w 12117871"/>
                <a:gd name="connsiteY161" fmla="*/ 5532345 h 6072780"/>
                <a:gd name="connsiteX162" fmla="*/ 5088792 w 12117871"/>
                <a:gd name="connsiteY162" fmla="*/ 5532345 h 6072780"/>
                <a:gd name="connsiteX163" fmla="*/ 5049522 w 12117871"/>
                <a:gd name="connsiteY163" fmla="*/ 5618858 h 6072780"/>
                <a:gd name="connsiteX164" fmla="*/ 5088041 w 12117871"/>
                <a:gd name="connsiteY164" fmla="*/ 5699805 h 6072780"/>
                <a:gd name="connsiteX165" fmla="*/ 5125957 w 12117871"/>
                <a:gd name="connsiteY165" fmla="*/ 5617504 h 6072780"/>
                <a:gd name="connsiteX166" fmla="*/ 5088792 w 12117871"/>
                <a:gd name="connsiteY166" fmla="*/ 5532345 h 6072780"/>
                <a:gd name="connsiteX167" fmla="*/ 11875949 w 12117871"/>
                <a:gd name="connsiteY167" fmla="*/ 5504510 h 6072780"/>
                <a:gd name="connsiteX168" fmla="*/ 11947116 w 12117871"/>
                <a:gd name="connsiteY168" fmla="*/ 5615097 h 6072780"/>
                <a:gd name="connsiteX169" fmla="*/ 11927030 w 12117871"/>
                <a:gd name="connsiteY169" fmla="*/ 5698677 h 6072780"/>
                <a:gd name="connsiteX170" fmla="*/ 11870833 w 12117871"/>
                <a:gd name="connsiteY170" fmla="*/ 5727490 h 6072780"/>
                <a:gd name="connsiteX171" fmla="*/ 11818248 w 12117871"/>
                <a:gd name="connsiteY171" fmla="*/ 5699956 h 6072780"/>
                <a:gd name="connsiteX172" fmla="*/ 11799365 w 12117871"/>
                <a:gd name="connsiteY172" fmla="*/ 5620363 h 6072780"/>
                <a:gd name="connsiteX173" fmla="*/ 11819075 w 12117871"/>
                <a:gd name="connsiteY173" fmla="*/ 5533849 h 6072780"/>
                <a:gd name="connsiteX174" fmla="*/ 11875949 w 12117871"/>
                <a:gd name="connsiteY174" fmla="*/ 5504510 h 6072780"/>
                <a:gd name="connsiteX175" fmla="*/ 9937869 w 12117871"/>
                <a:gd name="connsiteY175" fmla="*/ 5504510 h 6072780"/>
                <a:gd name="connsiteX176" fmla="*/ 10009036 w 12117871"/>
                <a:gd name="connsiteY176" fmla="*/ 5615098 h 6072780"/>
                <a:gd name="connsiteX177" fmla="*/ 9988950 w 12117871"/>
                <a:gd name="connsiteY177" fmla="*/ 5698677 h 6072780"/>
                <a:gd name="connsiteX178" fmla="*/ 9932753 w 12117871"/>
                <a:gd name="connsiteY178" fmla="*/ 5727490 h 6072780"/>
                <a:gd name="connsiteX179" fmla="*/ 9880168 w 12117871"/>
                <a:gd name="connsiteY179" fmla="*/ 5699956 h 6072780"/>
                <a:gd name="connsiteX180" fmla="*/ 9861285 w 12117871"/>
                <a:gd name="connsiteY180" fmla="*/ 5620364 h 6072780"/>
                <a:gd name="connsiteX181" fmla="*/ 9880995 w 12117871"/>
                <a:gd name="connsiteY181" fmla="*/ 5533850 h 6072780"/>
                <a:gd name="connsiteX182" fmla="*/ 9937869 w 12117871"/>
                <a:gd name="connsiteY182" fmla="*/ 5504510 h 6072780"/>
                <a:gd name="connsiteX183" fmla="*/ 6367990 w 12117871"/>
                <a:gd name="connsiteY183" fmla="*/ 5504510 h 6072780"/>
                <a:gd name="connsiteX184" fmla="*/ 6439157 w 12117871"/>
                <a:gd name="connsiteY184" fmla="*/ 5615097 h 6072780"/>
                <a:gd name="connsiteX185" fmla="*/ 6419071 w 12117871"/>
                <a:gd name="connsiteY185" fmla="*/ 5698677 h 6072780"/>
                <a:gd name="connsiteX186" fmla="*/ 6362874 w 12117871"/>
                <a:gd name="connsiteY186" fmla="*/ 5727490 h 6072780"/>
                <a:gd name="connsiteX187" fmla="*/ 6310289 w 12117871"/>
                <a:gd name="connsiteY187" fmla="*/ 5699956 h 6072780"/>
                <a:gd name="connsiteX188" fmla="*/ 6291406 w 12117871"/>
                <a:gd name="connsiteY188" fmla="*/ 5620363 h 6072780"/>
                <a:gd name="connsiteX189" fmla="*/ 6311116 w 12117871"/>
                <a:gd name="connsiteY189" fmla="*/ 5533849 h 6072780"/>
                <a:gd name="connsiteX190" fmla="*/ 6367990 w 12117871"/>
                <a:gd name="connsiteY190" fmla="*/ 5504510 h 6072780"/>
                <a:gd name="connsiteX191" fmla="*/ 5090447 w 12117871"/>
                <a:gd name="connsiteY191" fmla="*/ 5504510 h 6072780"/>
                <a:gd name="connsiteX192" fmla="*/ 5161614 w 12117871"/>
                <a:gd name="connsiteY192" fmla="*/ 5615097 h 6072780"/>
                <a:gd name="connsiteX193" fmla="*/ 5141528 w 12117871"/>
                <a:gd name="connsiteY193" fmla="*/ 5698677 h 6072780"/>
                <a:gd name="connsiteX194" fmla="*/ 5085331 w 12117871"/>
                <a:gd name="connsiteY194" fmla="*/ 5727490 h 6072780"/>
                <a:gd name="connsiteX195" fmla="*/ 5032746 w 12117871"/>
                <a:gd name="connsiteY195" fmla="*/ 5699956 h 6072780"/>
                <a:gd name="connsiteX196" fmla="*/ 5013863 w 12117871"/>
                <a:gd name="connsiteY196" fmla="*/ 5620363 h 6072780"/>
                <a:gd name="connsiteX197" fmla="*/ 5033573 w 12117871"/>
                <a:gd name="connsiteY197" fmla="*/ 5533849 h 6072780"/>
                <a:gd name="connsiteX198" fmla="*/ 5090447 w 12117871"/>
                <a:gd name="connsiteY198" fmla="*/ 5504510 h 6072780"/>
                <a:gd name="connsiteX199" fmla="*/ 12062430 w 12117871"/>
                <a:gd name="connsiteY199" fmla="*/ 5494669 h 6072780"/>
                <a:gd name="connsiteX200" fmla="*/ 12077336 w 12117871"/>
                <a:gd name="connsiteY200" fmla="*/ 5494669 h 6072780"/>
                <a:gd name="connsiteX201" fmla="*/ 12077336 w 12117871"/>
                <a:gd name="connsiteY201" fmla="*/ 5717649 h 6072780"/>
                <a:gd name="connsiteX202" fmla="*/ 12042048 w 12117871"/>
                <a:gd name="connsiteY202" fmla="*/ 5717649 h 6072780"/>
                <a:gd name="connsiteX203" fmla="*/ 12042048 w 12117871"/>
                <a:gd name="connsiteY203" fmla="*/ 5537865 h 6072780"/>
                <a:gd name="connsiteX204" fmla="*/ 12021439 w 12117871"/>
                <a:gd name="connsiteY204" fmla="*/ 5549501 h 6072780"/>
                <a:gd name="connsiteX205" fmla="*/ 11996266 w 12117871"/>
                <a:gd name="connsiteY205" fmla="*/ 5557943 h 6072780"/>
                <a:gd name="connsiteX206" fmla="*/ 11996266 w 12117871"/>
                <a:gd name="connsiteY206" fmla="*/ 5527827 h 6072780"/>
                <a:gd name="connsiteX207" fmla="*/ 12013301 w 12117871"/>
                <a:gd name="connsiteY207" fmla="*/ 5521743 h 6072780"/>
                <a:gd name="connsiteX208" fmla="*/ 12029500 w 12117871"/>
                <a:gd name="connsiteY208" fmla="*/ 5514594 h 6072780"/>
                <a:gd name="connsiteX209" fmla="*/ 12045623 w 12117871"/>
                <a:gd name="connsiteY209" fmla="*/ 5505772 h 6072780"/>
                <a:gd name="connsiteX210" fmla="*/ 12062430 w 12117871"/>
                <a:gd name="connsiteY210" fmla="*/ 5494669 h 6072780"/>
                <a:gd name="connsiteX211" fmla="*/ 10143427 w 12117871"/>
                <a:gd name="connsiteY211" fmla="*/ 5494669 h 6072780"/>
                <a:gd name="connsiteX212" fmla="*/ 10158333 w 12117871"/>
                <a:gd name="connsiteY212" fmla="*/ 5494669 h 6072780"/>
                <a:gd name="connsiteX213" fmla="*/ 10158333 w 12117871"/>
                <a:gd name="connsiteY213" fmla="*/ 5717649 h 6072780"/>
                <a:gd name="connsiteX214" fmla="*/ 10123045 w 12117871"/>
                <a:gd name="connsiteY214" fmla="*/ 5717649 h 6072780"/>
                <a:gd name="connsiteX215" fmla="*/ 10123045 w 12117871"/>
                <a:gd name="connsiteY215" fmla="*/ 5537866 h 6072780"/>
                <a:gd name="connsiteX216" fmla="*/ 10102436 w 12117871"/>
                <a:gd name="connsiteY216" fmla="*/ 5549502 h 6072780"/>
                <a:gd name="connsiteX217" fmla="*/ 10077263 w 12117871"/>
                <a:gd name="connsiteY217" fmla="*/ 5557943 h 6072780"/>
                <a:gd name="connsiteX218" fmla="*/ 10077263 w 12117871"/>
                <a:gd name="connsiteY218" fmla="*/ 5527827 h 6072780"/>
                <a:gd name="connsiteX219" fmla="*/ 10094298 w 12117871"/>
                <a:gd name="connsiteY219" fmla="*/ 5521743 h 6072780"/>
                <a:gd name="connsiteX220" fmla="*/ 10110497 w 12117871"/>
                <a:gd name="connsiteY220" fmla="*/ 5514594 h 6072780"/>
                <a:gd name="connsiteX221" fmla="*/ 10126620 w 12117871"/>
                <a:gd name="connsiteY221" fmla="*/ 5505773 h 6072780"/>
                <a:gd name="connsiteX222" fmla="*/ 10143427 w 12117871"/>
                <a:gd name="connsiteY222" fmla="*/ 5494669 h 6072780"/>
                <a:gd name="connsiteX223" fmla="*/ 9254256 w 12117871"/>
                <a:gd name="connsiteY223" fmla="*/ 5494669 h 6072780"/>
                <a:gd name="connsiteX224" fmla="*/ 9269162 w 12117871"/>
                <a:gd name="connsiteY224" fmla="*/ 5494669 h 6072780"/>
                <a:gd name="connsiteX225" fmla="*/ 9269162 w 12117871"/>
                <a:gd name="connsiteY225" fmla="*/ 5717649 h 6072780"/>
                <a:gd name="connsiteX226" fmla="*/ 9233874 w 12117871"/>
                <a:gd name="connsiteY226" fmla="*/ 5717649 h 6072780"/>
                <a:gd name="connsiteX227" fmla="*/ 9233874 w 12117871"/>
                <a:gd name="connsiteY227" fmla="*/ 5537865 h 6072780"/>
                <a:gd name="connsiteX228" fmla="*/ 9213265 w 12117871"/>
                <a:gd name="connsiteY228" fmla="*/ 5549501 h 6072780"/>
                <a:gd name="connsiteX229" fmla="*/ 9188092 w 12117871"/>
                <a:gd name="connsiteY229" fmla="*/ 5557943 h 6072780"/>
                <a:gd name="connsiteX230" fmla="*/ 9188092 w 12117871"/>
                <a:gd name="connsiteY230" fmla="*/ 5527827 h 6072780"/>
                <a:gd name="connsiteX231" fmla="*/ 9205127 w 12117871"/>
                <a:gd name="connsiteY231" fmla="*/ 5521743 h 6072780"/>
                <a:gd name="connsiteX232" fmla="*/ 9221326 w 12117871"/>
                <a:gd name="connsiteY232" fmla="*/ 5514594 h 6072780"/>
                <a:gd name="connsiteX233" fmla="*/ 9237449 w 12117871"/>
                <a:gd name="connsiteY233" fmla="*/ 5505772 h 6072780"/>
                <a:gd name="connsiteX234" fmla="*/ 9254256 w 12117871"/>
                <a:gd name="connsiteY234" fmla="*/ 5494669 h 6072780"/>
                <a:gd name="connsiteX235" fmla="*/ 7851748 w 12117871"/>
                <a:gd name="connsiteY235" fmla="*/ 5494669 h 6072780"/>
                <a:gd name="connsiteX236" fmla="*/ 7866654 w 12117871"/>
                <a:gd name="connsiteY236" fmla="*/ 5494669 h 6072780"/>
                <a:gd name="connsiteX237" fmla="*/ 7866654 w 12117871"/>
                <a:gd name="connsiteY237" fmla="*/ 5717649 h 6072780"/>
                <a:gd name="connsiteX238" fmla="*/ 7831366 w 12117871"/>
                <a:gd name="connsiteY238" fmla="*/ 5717649 h 6072780"/>
                <a:gd name="connsiteX239" fmla="*/ 7831366 w 12117871"/>
                <a:gd name="connsiteY239" fmla="*/ 5537866 h 6072780"/>
                <a:gd name="connsiteX240" fmla="*/ 7810757 w 12117871"/>
                <a:gd name="connsiteY240" fmla="*/ 5549502 h 6072780"/>
                <a:gd name="connsiteX241" fmla="*/ 7785584 w 12117871"/>
                <a:gd name="connsiteY241" fmla="*/ 5557943 h 6072780"/>
                <a:gd name="connsiteX242" fmla="*/ 7785584 w 12117871"/>
                <a:gd name="connsiteY242" fmla="*/ 5527827 h 6072780"/>
                <a:gd name="connsiteX243" fmla="*/ 7802619 w 12117871"/>
                <a:gd name="connsiteY243" fmla="*/ 5521743 h 6072780"/>
                <a:gd name="connsiteX244" fmla="*/ 7818818 w 12117871"/>
                <a:gd name="connsiteY244" fmla="*/ 5514594 h 6072780"/>
                <a:gd name="connsiteX245" fmla="*/ 7834941 w 12117871"/>
                <a:gd name="connsiteY245" fmla="*/ 5505773 h 6072780"/>
                <a:gd name="connsiteX246" fmla="*/ 7851748 w 12117871"/>
                <a:gd name="connsiteY246" fmla="*/ 5494669 h 6072780"/>
                <a:gd name="connsiteX247" fmla="*/ 7015147 w 12117871"/>
                <a:gd name="connsiteY247" fmla="*/ 5494669 h 6072780"/>
                <a:gd name="connsiteX248" fmla="*/ 7030053 w 12117871"/>
                <a:gd name="connsiteY248" fmla="*/ 5494669 h 6072780"/>
                <a:gd name="connsiteX249" fmla="*/ 7030053 w 12117871"/>
                <a:gd name="connsiteY249" fmla="*/ 5717649 h 6072780"/>
                <a:gd name="connsiteX250" fmla="*/ 6994765 w 12117871"/>
                <a:gd name="connsiteY250" fmla="*/ 5717649 h 6072780"/>
                <a:gd name="connsiteX251" fmla="*/ 6994765 w 12117871"/>
                <a:gd name="connsiteY251" fmla="*/ 5537865 h 6072780"/>
                <a:gd name="connsiteX252" fmla="*/ 6974156 w 12117871"/>
                <a:gd name="connsiteY252" fmla="*/ 5549501 h 6072780"/>
                <a:gd name="connsiteX253" fmla="*/ 6948983 w 12117871"/>
                <a:gd name="connsiteY253" fmla="*/ 5557943 h 6072780"/>
                <a:gd name="connsiteX254" fmla="*/ 6948983 w 12117871"/>
                <a:gd name="connsiteY254" fmla="*/ 5527827 h 6072780"/>
                <a:gd name="connsiteX255" fmla="*/ 6966018 w 12117871"/>
                <a:gd name="connsiteY255" fmla="*/ 5521743 h 6072780"/>
                <a:gd name="connsiteX256" fmla="*/ 6982217 w 12117871"/>
                <a:gd name="connsiteY256" fmla="*/ 5514594 h 6072780"/>
                <a:gd name="connsiteX257" fmla="*/ 6998340 w 12117871"/>
                <a:gd name="connsiteY257" fmla="*/ 5505772 h 6072780"/>
                <a:gd name="connsiteX258" fmla="*/ 7015147 w 12117871"/>
                <a:gd name="connsiteY258" fmla="*/ 5494669 h 6072780"/>
                <a:gd name="connsiteX259" fmla="*/ 4694968 w 12117871"/>
                <a:gd name="connsiteY259" fmla="*/ 5494669 h 6072780"/>
                <a:gd name="connsiteX260" fmla="*/ 4709876 w 12117871"/>
                <a:gd name="connsiteY260" fmla="*/ 5494669 h 6072780"/>
                <a:gd name="connsiteX261" fmla="*/ 4709876 w 12117871"/>
                <a:gd name="connsiteY261" fmla="*/ 5717649 h 6072780"/>
                <a:gd name="connsiteX262" fmla="*/ 4674589 w 12117871"/>
                <a:gd name="connsiteY262" fmla="*/ 5717649 h 6072780"/>
                <a:gd name="connsiteX263" fmla="*/ 4674589 w 12117871"/>
                <a:gd name="connsiteY263" fmla="*/ 5537865 h 6072780"/>
                <a:gd name="connsiteX264" fmla="*/ 4653978 w 12117871"/>
                <a:gd name="connsiteY264" fmla="*/ 5549501 h 6072780"/>
                <a:gd name="connsiteX265" fmla="*/ 4628805 w 12117871"/>
                <a:gd name="connsiteY265" fmla="*/ 5557943 h 6072780"/>
                <a:gd name="connsiteX266" fmla="*/ 4628805 w 12117871"/>
                <a:gd name="connsiteY266" fmla="*/ 5527827 h 6072780"/>
                <a:gd name="connsiteX267" fmla="*/ 4645841 w 12117871"/>
                <a:gd name="connsiteY267" fmla="*/ 5521743 h 6072780"/>
                <a:gd name="connsiteX268" fmla="*/ 4662040 w 12117871"/>
                <a:gd name="connsiteY268" fmla="*/ 5514594 h 6072780"/>
                <a:gd name="connsiteX269" fmla="*/ 4678162 w 12117871"/>
                <a:gd name="connsiteY269" fmla="*/ 5505772 h 6072780"/>
                <a:gd name="connsiteX270" fmla="*/ 4694968 w 12117871"/>
                <a:gd name="connsiteY270" fmla="*/ 5494669 h 6072780"/>
                <a:gd name="connsiteX271" fmla="*/ 3158682 w 12117871"/>
                <a:gd name="connsiteY271" fmla="*/ 5494669 h 6072780"/>
                <a:gd name="connsiteX272" fmla="*/ 3173587 w 12117871"/>
                <a:gd name="connsiteY272" fmla="*/ 5494669 h 6072780"/>
                <a:gd name="connsiteX273" fmla="*/ 3173587 w 12117871"/>
                <a:gd name="connsiteY273" fmla="*/ 5717649 h 6072780"/>
                <a:gd name="connsiteX274" fmla="*/ 3138299 w 12117871"/>
                <a:gd name="connsiteY274" fmla="*/ 5717649 h 6072780"/>
                <a:gd name="connsiteX275" fmla="*/ 3138299 w 12117871"/>
                <a:gd name="connsiteY275" fmla="*/ 5537866 h 6072780"/>
                <a:gd name="connsiteX276" fmla="*/ 3117690 w 12117871"/>
                <a:gd name="connsiteY276" fmla="*/ 5549502 h 6072780"/>
                <a:gd name="connsiteX277" fmla="*/ 3092517 w 12117871"/>
                <a:gd name="connsiteY277" fmla="*/ 5557943 h 6072780"/>
                <a:gd name="connsiteX278" fmla="*/ 3092517 w 12117871"/>
                <a:gd name="connsiteY278" fmla="*/ 5527827 h 6072780"/>
                <a:gd name="connsiteX279" fmla="*/ 3109553 w 12117871"/>
                <a:gd name="connsiteY279" fmla="*/ 5521743 h 6072780"/>
                <a:gd name="connsiteX280" fmla="*/ 3125751 w 12117871"/>
                <a:gd name="connsiteY280" fmla="*/ 5514594 h 6072780"/>
                <a:gd name="connsiteX281" fmla="*/ 3141875 w 12117871"/>
                <a:gd name="connsiteY281" fmla="*/ 5505773 h 6072780"/>
                <a:gd name="connsiteX282" fmla="*/ 3158682 w 12117871"/>
                <a:gd name="connsiteY282" fmla="*/ 5494669 h 6072780"/>
                <a:gd name="connsiteX283" fmla="*/ 2489154 w 12117871"/>
                <a:gd name="connsiteY283" fmla="*/ 5494669 h 6072780"/>
                <a:gd name="connsiteX284" fmla="*/ 2504060 w 12117871"/>
                <a:gd name="connsiteY284" fmla="*/ 5494669 h 6072780"/>
                <a:gd name="connsiteX285" fmla="*/ 2504060 w 12117871"/>
                <a:gd name="connsiteY285" fmla="*/ 5717649 h 6072780"/>
                <a:gd name="connsiteX286" fmla="*/ 2468772 w 12117871"/>
                <a:gd name="connsiteY286" fmla="*/ 5717649 h 6072780"/>
                <a:gd name="connsiteX287" fmla="*/ 2468772 w 12117871"/>
                <a:gd name="connsiteY287" fmla="*/ 5537866 h 6072780"/>
                <a:gd name="connsiteX288" fmla="*/ 2448163 w 12117871"/>
                <a:gd name="connsiteY288" fmla="*/ 5549502 h 6072780"/>
                <a:gd name="connsiteX289" fmla="*/ 2422990 w 12117871"/>
                <a:gd name="connsiteY289" fmla="*/ 5557943 h 6072780"/>
                <a:gd name="connsiteX290" fmla="*/ 2422990 w 12117871"/>
                <a:gd name="connsiteY290" fmla="*/ 5527827 h 6072780"/>
                <a:gd name="connsiteX291" fmla="*/ 2440025 w 12117871"/>
                <a:gd name="connsiteY291" fmla="*/ 5521743 h 6072780"/>
                <a:gd name="connsiteX292" fmla="*/ 2456224 w 12117871"/>
                <a:gd name="connsiteY292" fmla="*/ 5514594 h 6072780"/>
                <a:gd name="connsiteX293" fmla="*/ 2472346 w 12117871"/>
                <a:gd name="connsiteY293" fmla="*/ 5505773 h 6072780"/>
                <a:gd name="connsiteX294" fmla="*/ 2489154 w 12117871"/>
                <a:gd name="connsiteY294" fmla="*/ 5494669 h 6072780"/>
                <a:gd name="connsiteX295" fmla="*/ 1599916 w 12117871"/>
                <a:gd name="connsiteY295" fmla="*/ 5494669 h 6072780"/>
                <a:gd name="connsiteX296" fmla="*/ 1614822 w 12117871"/>
                <a:gd name="connsiteY296" fmla="*/ 5494669 h 6072780"/>
                <a:gd name="connsiteX297" fmla="*/ 1614822 w 12117871"/>
                <a:gd name="connsiteY297" fmla="*/ 5717649 h 6072780"/>
                <a:gd name="connsiteX298" fmla="*/ 1579534 w 12117871"/>
                <a:gd name="connsiteY298" fmla="*/ 5717649 h 6072780"/>
                <a:gd name="connsiteX299" fmla="*/ 1579534 w 12117871"/>
                <a:gd name="connsiteY299" fmla="*/ 5537866 h 6072780"/>
                <a:gd name="connsiteX300" fmla="*/ 1558925 w 12117871"/>
                <a:gd name="connsiteY300" fmla="*/ 5549502 h 6072780"/>
                <a:gd name="connsiteX301" fmla="*/ 1533752 w 12117871"/>
                <a:gd name="connsiteY301" fmla="*/ 5557943 h 6072780"/>
                <a:gd name="connsiteX302" fmla="*/ 1533752 w 12117871"/>
                <a:gd name="connsiteY302" fmla="*/ 5527827 h 6072780"/>
                <a:gd name="connsiteX303" fmla="*/ 1550787 w 12117871"/>
                <a:gd name="connsiteY303" fmla="*/ 5521743 h 6072780"/>
                <a:gd name="connsiteX304" fmla="*/ 1566986 w 12117871"/>
                <a:gd name="connsiteY304" fmla="*/ 5514594 h 6072780"/>
                <a:gd name="connsiteX305" fmla="*/ 1583109 w 12117871"/>
                <a:gd name="connsiteY305" fmla="*/ 5505773 h 6072780"/>
                <a:gd name="connsiteX306" fmla="*/ 1599916 w 12117871"/>
                <a:gd name="connsiteY306" fmla="*/ 5494669 h 6072780"/>
                <a:gd name="connsiteX307" fmla="*/ 480750 w 12117871"/>
                <a:gd name="connsiteY307" fmla="*/ 5494669 h 6072780"/>
                <a:gd name="connsiteX308" fmla="*/ 495656 w 12117871"/>
                <a:gd name="connsiteY308" fmla="*/ 5494669 h 6072780"/>
                <a:gd name="connsiteX309" fmla="*/ 495656 w 12117871"/>
                <a:gd name="connsiteY309" fmla="*/ 5717649 h 6072780"/>
                <a:gd name="connsiteX310" fmla="*/ 460368 w 12117871"/>
                <a:gd name="connsiteY310" fmla="*/ 5717649 h 6072780"/>
                <a:gd name="connsiteX311" fmla="*/ 460368 w 12117871"/>
                <a:gd name="connsiteY311" fmla="*/ 5537866 h 6072780"/>
                <a:gd name="connsiteX312" fmla="*/ 439759 w 12117871"/>
                <a:gd name="connsiteY312" fmla="*/ 5549502 h 6072780"/>
                <a:gd name="connsiteX313" fmla="*/ 414586 w 12117871"/>
                <a:gd name="connsiteY313" fmla="*/ 5557943 h 6072780"/>
                <a:gd name="connsiteX314" fmla="*/ 414586 w 12117871"/>
                <a:gd name="connsiteY314" fmla="*/ 5527827 h 6072780"/>
                <a:gd name="connsiteX315" fmla="*/ 431621 w 12117871"/>
                <a:gd name="connsiteY315" fmla="*/ 5521743 h 6072780"/>
                <a:gd name="connsiteX316" fmla="*/ 447821 w 12117871"/>
                <a:gd name="connsiteY316" fmla="*/ 5514594 h 6072780"/>
                <a:gd name="connsiteX317" fmla="*/ 463943 w 12117871"/>
                <a:gd name="connsiteY317" fmla="*/ 5505773 h 6072780"/>
                <a:gd name="connsiteX318" fmla="*/ 480750 w 12117871"/>
                <a:gd name="connsiteY318" fmla="*/ 5494669 h 6072780"/>
                <a:gd name="connsiteX319" fmla="*/ 476799 w 12117871"/>
                <a:gd name="connsiteY319" fmla="*/ 5197154 h 6072780"/>
                <a:gd name="connsiteX320" fmla="*/ 437529 w 12117871"/>
                <a:gd name="connsiteY320" fmla="*/ 5283668 h 6072780"/>
                <a:gd name="connsiteX321" fmla="*/ 476046 w 12117871"/>
                <a:gd name="connsiteY321" fmla="*/ 5364615 h 6072780"/>
                <a:gd name="connsiteX322" fmla="*/ 513962 w 12117871"/>
                <a:gd name="connsiteY322" fmla="*/ 5282314 h 6072780"/>
                <a:gd name="connsiteX323" fmla="*/ 476799 w 12117871"/>
                <a:gd name="connsiteY323" fmla="*/ 5197154 h 6072780"/>
                <a:gd name="connsiteX324" fmla="*/ 11874294 w 12117871"/>
                <a:gd name="connsiteY324" fmla="*/ 5184874 h 6072780"/>
                <a:gd name="connsiteX325" fmla="*/ 11835024 w 12117871"/>
                <a:gd name="connsiteY325" fmla="*/ 5271387 h 6072780"/>
                <a:gd name="connsiteX326" fmla="*/ 11873542 w 12117871"/>
                <a:gd name="connsiteY326" fmla="*/ 5352334 h 6072780"/>
                <a:gd name="connsiteX327" fmla="*/ 11911457 w 12117871"/>
                <a:gd name="connsiteY327" fmla="*/ 5270033 h 6072780"/>
                <a:gd name="connsiteX328" fmla="*/ 11874294 w 12117871"/>
                <a:gd name="connsiteY328" fmla="*/ 5184874 h 6072780"/>
                <a:gd name="connsiteX329" fmla="*/ 9936214 w 12117871"/>
                <a:gd name="connsiteY329" fmla="*/ 5184874 h 6072780"/>
                <a:gd name="connsiteX330" fmla="*/ 9896944 w 12117871"/>
                <a:gd name="connsiteY330" fmla="*/ 5271388 h 6072780"/>
                <a:gd name="connsiteX331" fmla="*/ 9935462 w 12117871"/>
                <a:gd name="connsiteY331" fmla="*/ 5352335 h 6072780"/>
                <a:gd name="connsiteX332" fmla="*/ 9973377 w 12117871"/>
                <a:gd name="connsiteY332" fmla="*/ 5270034 h 6072780"/>
                <a:gd name="connsiteX333" fmla="*/ 9936214 w 12117871"/>
                <a:gd name="connsiteY333" fmla="*/ 5184874 h 6072780"/>
                <a:gd name="connsiteX334" fmla="*/ 6366335 w 12117871"/>
                <a:gd name="connsiteY334" fmla="*/ 5184874 h 6072780"/>
                <a:gd name="connsiteX335" fmla="*/ 6327065 w 12117871"/>
                <a:gd name="connsiteY335" fmla="*/ 5271387 h 6072780"/>
                <a:gd name="connsiteX336" fmla="*/ 6365583 w 12117871"/>
                <a:gd name="connsiteY336" fmla="*/ 5352334 h 6072780"/>
                <a:gd name="connsiteX337" fmla="*/ 6403498 w 12117871"/>
                <a:gd name="connsiteY337" fmla="*/ 5270033 h 6072780"/>
                <a:gd name="connsiteX338" fmla="*/ 6366335 w 12117871"/>
                <a:gd name="connsiteY338" fmla="*/ 5184874 h 6072780"/>
                <a:gd name="connsiteX339" fmla="*/ 5088792 w 12117871"/>
                <a:gd name="connsiteY339" fmla="*/ 5184874 h 6072780"/>
                <a:gd name="connsiteX340" fmla="*/ 5049522 w 12117871"/>
                <a:gd name="connsiteY340" fmla="*/ 5271387 h 6072780"/>
                <a:gd name="connsiteX341" fmla="*/ 5088041 w 12117871"/>
                <a:gd name="connsiteY341" fmla="*/ 5352334 h 6072780"/>
                <a:gd name="connsiteX342" fmla="*/ 5125957 w 12117871"/>
                <a:gd name="connsiteY342" fmla="*/ 5270033 h 6072780"/>
                <a:gd name="connsiteX343" fmla="*/ 5088792 w 12117871"/>
                <a:gd name="connsiteY343" fmla="*/ 5184874 h 6072780"/>
                <a:gd name="connsiteX344" fmla="*/ 478454 w 12117871"/>
                <a:gd name="connsiteY344" fmla="*/ 5169319 h 6072780"/>
                <a:gd name="connsiteX345" fmla="*/ 549621 w 12117871"/>
                <a:gd name="connsiteY345" fmla="*/ 5279907 h 6072780"/>
                <a:gd name="connsiteX346" fmla="*/ 529535 w 12117871"/>
                <a:gd name="connsiteY346" fmla="*/ 5363486 h 6072780"/>
                <a:gd name="connsiteX347" fmla="*/ 473338 w 12117871"/>
                <a:gd name="connsiteY347" fmla="*/ 5392299 h 6072780"/>
                <a:gd name="connsiteX348" fmla="*/ 420753 w 12117871"/>
                <a:gd name="connsiteY348" fmla="*/ 5364765 h 6072780"/>
                <a:gd name="connsiteX349" fmla="*/ 401870 w 12117871"/>
                <a:gd name="connsiteY349" fmla="*/ 5285173 h 6072780"/>
                <a:gd name="connsiteX350" fmla="*/ 421580 w 12117871"/>
                <a:gd name="connsiteY350" fmla="*/ 5198659 h 6072780"/>
                <a:gd name="connsiteX351" fmla="*/ 478454 w 12117871"/>
                <a:gd name="connsiteY351" fmla="*/ 5169319 h 6072780"/>
                <a:gd name="connsiteX352" fmla="*/ 12062430 w 12117871"/>
                <a:gd name="connsiteY352" fmla="*/ 5157039 h 6072780"/>
                <a:gd name="connsiteX353" fmla="*/ 12077336 w 12117871"/>
                <a:gd name="connsiteY353" fmla="*/ 5157039 h 6072780"/>
                <a:gd name="connsiteX354" fmla="*/ 12077336 w 12117871"/>
                <a:gd name="connsiteY354" fmla="*/ 5380019 h 6072780"/>
                <a:gd name="connsiteX355" fmla="*/ 12042048 w 12117871"/>
                <a:gd name="connsiteY355" fmla="*/ 5380019 h 6072780"/>
                <a:gd name="connsiteX356" fmla="*/ 12042048 w 12117871"/>
                <a:gd name="connsiteY356" fmla="*/ 5200235 h 6072780"/>
                <a:gd name="connsiteX357" fmla="*/ 12021439 w 12117871"/>
                <a:gd name="connsiteY357" fmla="*/ 5211871 h 6072780"/>
                <a:gd name="connsiteX358" fmla="*/ 11996266 w 12117871"/>
                <a:gd name="connsiteY358" fmla="*/ 5220313 h 6072780"/>
                <a:gd name="connsiteX359" fmla="*/ 11996266 w 12117871"/>
                <a:gd name="connsiteY359" fmla="*/ 5190197 h 6072780"/>
                <a:gd name="connsiteX360" fmla="*/ 12013301 w 12117871"/>
                <a:gd name="connsiteY360" fmla="*/ 5184113 h 6072780"/>
                <a:gd name="connsiteX361" fmla="*/ 12029500 w 12117871"/>
                <a:gd name="connsiteY361" fmla="*/ 5176964 h 6072780"/>
                <a:gd name="connsiteX362" fmla="*/ 12045623 w 12117871"/>
                <a:gd name="connsiteY362" fmla="*/ 5168142 h 6072780"/>
                <a:gd name="connsiteX363" fmla="*/ 12062430 w 12117871"/>
                <a:gd name="connsiteY363" fmla="*/ 5157039 h 6072780"/>
                <a:gd name="connsiteX364" fmla="*/ 11875949 w 12117871"/>
                <a:gd name="connsiteY364" fmla="*/ 5157039 h 6072780"/>
                <a:gd name="connsiteX365" fmla="*/ 11947116 w 12117871"/>
                <a:gd name="connsiteY365" fmla="*/ 5267626 h 6072780"/>
                <a:gd name="connsiteX366" fmla="*/ 11927030 w 12117871"/>
                <a:gd name="connsiteY366" fmla="*/ 5351206 h 6072780"/>
                <a:gd name="connsiteX367" fmla="*/ 11870833 w 12117871"/>
                <a:gd name="connsiteY367" fmla="*/ 5380019 h 6072780"/>
                <a:gd name="connsiteX368" fmla="*/ 11818248 w 12117871"/>
                <a:gd name="connsiteY368" fmla="*/ 5352485 h 6072780"/>
                <a:gd name="connsiteX369" fmla="*/ 11799365 w 12117871"/>
                <a:gd name="connsiteY369" fmla="*/ 5272892 h 6072780"/>
                <a:gd name="connsiteX370" fmla="*/ 11819075 w 12117871"/>
                <a:gd name="connsiteY370" fmla="*/ 5186378 h 6072780"/>
                <a:gd name="connsiteX371" fmla="*/ 11875949 w 12117871"/>
                <a:gd name="connsiteY371" fmla="*/ 5157039 h 6072780"/>
                <a:gd name="connsiteX372" fmla="*/ 10143427 w 12117871"/>
                <a:gd name="connsiteY372" fmla="*/ 5157039 h 6072780"/>
                <a:gd name="connsiteX373" fmla="*/ 10158333 w 12117871"/>
                <a:gd name="connsiteY373" fmla="*/ 5157039 h 6072780"/>
                <a:gd name="connsiteX374" fmla="*/ 10158333 w 12117871"/>
                <a:gd name="connsiteY374" fmla="*/ 5380019 h 6072780"/>
                <a:gd name="connsiteX375" fmla="*/ 10123045 w 12117871"/>
                <a:gd name="connsiteY375" fmla="*/ 5380019 h 6072780"/>
                <a:gd name="connsiteX376" fmla="*/ 10123045 w 12117871"/>
                <a:gd name="connsiteY376" fmla="*/ 5200236 h 6072780"/>
                <a:gd name="connsiteX377" fmla="*/ 10102436 w 12117871"/>
                <a:gd name="connsiteY377" fmla="*/ 5211872 h 6072780"/>
                <a:gd name="connsiteX378" fmla="*/ 10077263 w 12117871"/>
                <a:gd name="connsiteY378" fmla="*/ 5220313 h 6072780"/>
                <a:gd name="connsiteX379" fmla="*/ 10077263 w 12117871"/>
                <a:gd name="connsiteY379" fmla="*/ 5190197 h 6072780"/>
                <a:gd name="connsiteX380" fmla="*/ 10094298 w 12117871"/>
                <a:gd name="connsiteY380" fmla="*/ 5184113 h 6072780"/>
                <a:gd name="connsiteX381" fmla="*/ 10110497 w 12117871"/>
                <a:gd name="connsiteY381" fmla="*/ 5176964 h 6072780"/>
                <a:gd name="connsiteX382" fmla="*/ 10126620 w 12117871"/>
                <a:gd name="connsiteY382" fmla="*/ 5168143 h 6072780"/>
                <a:gd name="connsiteX383" fmla="*/ 10143427 w 12117871"/>
                <a:gd name="connsiteY383" fmla="*/ 5157039 h 6072780"/>
                <a:gd name="connsiteX384" fmla="*/ 9937869 w 12117871"/>
                <a:gd name="connsiteY384" fmla="*/ 5157039 h 6072780"/>
                <a:gd name="connsiteX385" fmla="*/ 10009036 w 12117871"/>
                <a:gd name="connsiteY385" fmla="*/ 5267627 h 6072780"/>
                <a:gd name="connsiteX386" fmla="*/ 9988950 w 12117871"/>
                <a:gd name="connsiteY386" fmla="*/ 5351206 h 6072780"/>
                <a:gd name="connsiteX387" fmla="*/ 9932753 w 12117871"/>
                <a:gd name="connsiteY387" fmla="*/ 5380019 h 6072780"/>
                <a:gd name="connsiteX388" fmla="*/ 9880168 w 12117871"/>
                <a:gd name="connsiteY388" fmla="*/ 5352485 h 6072780"/>
                <a:gd name="connsiteX389" fmla="*/ 9861285 w 12117871"/>
                <a:gd name="connsiteY389" fmla="*/ 5272893 h 6072780"/>
                <a:gd name="connsiteX390" fmla="*/ 9880995 w 12117871"/>
                <a:gd name="connsiteY390" fmla="*/ 5186379 h 6072780"/>
                <a:gd name="connsiteX391" fmla="*/ 9937869 w 12117871"/>
                <a:gd name="connsiteY391" fmla="*/ 5157039 h 6072780"/>
                <a:gd name="connsiteX392" fmla="*/ 9254256 w 12117871"/>
                <a:gd name="connsiteY392" fmla="*/ 5157039 h 6072780"/>
                <a:gd name="connsiteX393" fmla="*/ 9269162 w 12117871"/>
                <a:gd name="connsiteY393" fmla="*/ 5157039 h 6072780"/>
                <a:gd name="connsiteX394" fmla="*/ 9269162 w 12117871"/>
                <a:gd name="connsiteY394" fmla="*/ 5380019 h 6072780"/>
                <a:gd name="connsiteX395" fmla="*/ 9233874 w 12117871"/>
                <a:gd name="connsiteY395" fmla="*/ 5380019 h 6072780"/>
                <a:gd name="connsiteX396" fmla="*/ 9233874 w 12117871"/>
                <a:gd name="connsiteY396" fmla="*/ 5200235 h 6072780"/>
                <a:gd name="connsiteX397" fmla="*/ 9213265 w 12117871"/>
                <a:gd name="connsiteY397" fmla="*/ 5211871 h 6072780"/>
                <a:gd name="connsiteX398" fmla="*/ 9188092 w 12117871"/>
                <a:gd name="connsiteY398" fmla="*/ 5220313 h 6072780"/>
                <a:gd name="connsiteX399" fmla="*/ 9188092 w 12117871"/>
                <a:gd name="connsiteY399" fmla="*/ 5190197 h 6072780"/>
                <a:gd name="connsiteX400" fmla="*/ 9205127 w 12117871"/>
                <a:gd name="connsiteY400" fmla="*/ 5184113 h 6072780"/>
                <a:gd name="connsiteX401" fmla="*/ 9221326 w 12117871"/>
                <a:gd name="connsiteY401" fmla="*/ 5176964 h 6072780"/>
                <a:gd name="connsiteX402" fmla="*/ 9237449 w 12117871"/>
                <a:gd name="connsiteY402" fmla="*/ 5168142 h 6072780"/>
                <a:gd name="connsiteX403" fmla="*/ 9254256 w 12117871"/>
                <a:gd name="connsiteY403" fmla="*/ 5157039 h 6072780"/>
                <a:gd name="connsiteX404" fmla="*/ 7851748 w 12117871"/>
                <a:gd name="connsiteY404" fmla="*/ 5157039 h 6072780"/>
                <a:gd name="connsiteX405" fmla="*/ 7866654 w 12117871"/>
                <a:gd name="connsiteY405" fmla="*/ 5157039 h 6072780"/>
                <a:gd name="connsiteX406" fmla="*/ 7866654 w 12117871"/>
                <a:gd name="connsiteY406" fmla="*/ 5380019 h 6072780"/>
                <a:gd name="connsiteX407" fmla="*/ 7831366 w 12117871"/>
                <a:gd name="connsiteY407" fmla="*/ 5380019 h 6072780"/>
                <a:gd name="connsiteX408" fmla="*/ 7831366 w 12117871"/>
                <a:gd name="connsiteY408" fmla="*/ 5200236 h 6072780"/>
                <a:gd name="connsiteX409" fmla="*/ 7810757 w 12117871"/>
                <a:gd name="connsiteY409" fmla="*/ 5211872 h 6072780"/>
                <a:gd name="connsiteX410" fmla="*/ 7785584 w 12117871"/>
                <a:gd name="connsiteY410" fmla="*/ 5220313 h 6072780"/>
                <a:gd name="connsiteX411" fmla="*/ 7785584 w 12117871"/>
                <a:gd name="connsiteY411" fmla="*/ 5190197 h 6072780"/>
                <a:gd name="connsiteX412" fmla="*/ 7802619 w 12117871"/>
                <a:gd name="connsiteY412" fmla="*/ 5184113 h 6072780"/>
                <a:gd name="connsiteX413" fmla="*/ 7818818 w 12117871"/>
                <a:gd name="connsiteY413" fmla="*/ 5176964 h 6072780"/>
                <a:gd name="connsiteX414" fmla="*/ 7834941 w 12117871"/>
                <a:gd name="connsiteY414" fmla="*/ 5168143 h 6072780"/>
                <a:gd name="connsiteX415" fmla="*/ 7851748 w 12117871"/>
                <a:gd name="connsiteY415" fmla="*/ 5157039 h 6072780"/>
                <a:gd name="connsiteX416" fmla="*/ 7015147 w 12117871"/>
                <a:gd name="connsiteY416" fmla="*/ 5157039 h 6072780"/>
                <a:gd name="connsiteX417" fmla="*/ 7030053 w 12117871"/>
                <a:gd name="connsiteY417" fmla="*/ 5157039 h 6072780"/>
                <a:gd name="connsiteX418" fmla="*/ 7030053 w 12117871"/>
                <a:gd name="connsiteY418" fmla="*/ 5380019 h 6072780"/>
                <a:gd name="connsiteX419" fmla="*/ 6994765 w 12117871"/>
                <a:gd name="connsiteY419" fmla="*/ 5380019 h 6072780"/>
                <a:gd name="connsiteX420" fmla="*/ 6994765 w 12117871"/>
                <a:gd name="connsiteY420" fmla="*/ 5200235 h 6072780"/>
                <a:gd name="connsiteX421" fmla="*/ 6974156 w 12117871"/>
                <a:gd name="connsiteY421" fmla="*/ 5211871 h 6072780"/>
                <a:gd name="connsiteX422" fmla="*/ 6948983 w 12117871"/>
                <a:gd name="connsiteY422" fmla="*/ 5220313 h 6072780"/>
                <a:gd name="connsiteX423" fmla="*/ 6948983 w 12117871"/>
                <a:gd name="connsiteY423" fmla="*/ 5190197 h 6072780"/>
                <a:gd name="connsiteX424" fmla="*/ 6966018 w 12117871"/>
                <a:gd name="connsiteY424" fmla="*/ 5184113 h 6072780"/>
                <a:gd name="connsiteX425" fmla="*/ 6982217 w 12117871"/>
                <a:gd name="connsiteY425" fmla="*/ 5176964 h 6072780"/>
                <a:gd name="connsiteX426" fmla="*/ 6998340 w 12117871"/>
                <a:gd name="connsiteY426" fmla="*/ 5168142 h 6072780"/>
                <a:gd name="connsiteX427" fmla="*/ 7015147 w 12117871"/>
                <a:gd name="connsiteY427" fmla="*/ 5157039 h 6072780"/>
                <a:gd name="connsiteX428" fmla="*/ 6584323 w 12117871"/>
                <a:gd name="connsiteY428" fmla="*/ 5157039 h 6072780"/>
                <a:gd name="connsiteX429" fmla="*/ 6599229 w 12117871"/>
                <a:gd name="connsiteY429" fmla="*/ 5157039 h 6072780"/>
                <a:gd name="connsiteX430" fmla="*/ 6599229 w 12117871"/>
                <a:gd name="connsiteY430" fmla="*/ 5380019 h 6072780"/>
                <a:gd name="connsiteX431" fmla="*/ 6563941 w 12117871"/>
                <a:gd name="connsiteY431" fmla="*/ 5380019 h 6072780"/>
                <a:gd name="connsiteX432" fmla="*/ 6563941 w 12117871"/>
                <a:gd name="connsiteY432" fmla="*/ 5200235 h 6072780"/>
                <a:gd name="connsiteX433" fmla="*/ 6543332 w 12117871"/>
                <a:gd name="connsiteY433" fmla="*/ 5211871 h 6072780"/>
                <a:gd name="connsiteX434" fmla="*/ 6518159 w 12117871"/>
                <a:gd name="connsiteY434" fmla="*/ 5220313 h 6072780"/>
                <a:gd name="connsiteX435" fmla="*/ 6518159 w 12117871"/>
                <a:gd name="connsiteY435" fmla="*/ 5190197 h 6072780"/>
                <a:gd name="connsiteX436" fmla="*/ 6535194 w 12117871"/>
                <a:gd name="connsiteY436" fmla="*/ 5184113 h 6072780"/>
                <a:gd name="connsiteX437" fmla="*/ 6551393 w 12117871"/>
                <a:gd name="connsiteY437" fmla="*/ 5176964 h 6072780"/>
                <a:gd name="connsiteX438" fmla="*/ 6567516 w 12117871"/>
                <a:gd name="connsiteY438" fmla="*/ 5168142 h 6072780"/>
                <a:gd name="connsiteX439" fmla="*/ 6584323 w 12117871"/>
                <a:gd name="connsiteY439" fmla="*/ 5157039 h 6072780"/>
                <a:gd name="connsiteX440" fmla="*/ 6367990 w 12117871"/>
                <a:gd name="connsiteY440" fmla="*/ 5157039 h 6072780"/>
                <a:gd name="connsiteX441" fmla="*/ 6439157 w 12117871"/>
                <a:gd name="connsiteY441" fmla="*/ 5267626 h 6072780"/>
                <a:gd name="connsiteX442" fmla="*/ 6419071 w 12117871"/>
                <a:gd name="connsiteY442" fmla="*/ 5351206 h 6072780"/>
                <a:gd name="connsiteX443" fmla="*/ 6362874 w 12117871"/>
                <a:gd name="connsiteY443" fmla="*/ 5380019 h 6072780"/>
                <a:gd name="connsiteX444" fmla="*/ 6310289 w 12117871"/>
                <a:gd name="connsiteY444" fmla="*/ 5352485 h 6072780"/>
                <a:gd name="connsiteX445" fmla="*/ 6291406 w 12117871"/>
                <a:gd name="connsiteY445" fmla="*/ 5272892 h 6072780"/>
                <a:gd name="connsiteX446" fmla="*/ 6311116 w 12117871"/>
                <a:gd name="connsiteY446" fmla="*/ 5186378 h 6072780"/>
                <a:gd name="connsiteX447" fmla="*/ 6367990 w 12117871"/>
                <a:gd name="connsiteY447" fmla="*/ 5157039 h 6072780"/>
                <a:gd name="connsiteX448" fmla="*/ 5975659 w 12117871"/>
                <a:gd name="connsiteY448" fmla="*/ 5157039 h 6072780"/>
                <a:gd name="connsiteX449" fmla="*/ 5990568 w 12117871"/>
                <a:gd name="connsiteY449" fmla="*/ 5157039 h 6072780"/>
                <a:gd name="connsiteX450" fmla="*/ 5990568 w 12117871"/>
                <a:gd name="connsiteY450" fmla="*/ 5380019 h 6072780"/>
                <a:gd name="connsiteX451" fmla="*/ 5955278 w 12117871"/>
                <a:gd name="connsiteY451" fmla="*/ 5380019 h 6072780"/>
                <a:gd name="connsiteX452" fmla="*/ 5955278 w 12117871"/>
                <a:gd name="connsiteY452" fmla="*/ 5200235 h 6072780"/>
                <a:gd name="connsiteX453" fmla="*/ 5934669 w 12117871"/>
                <a:gd name="connsiteY453" fmla="*/ 5211871 h 6072780"/>
                <a:gd name="connsiteX454" fmla="*/ 5909498 w 12117871"/>
                <a:gd name="connsiteY454" fmla="*/ 5220313 h 6072780"/>
                <a:gd name="connsiteX455" fmla="*/ 5909498 w 12117871"/>
                <a:gd name="connsiteY455" fmla="*/ 5190197 h 6072780"/>
                <a:gd name="connsiteX456" fmla="*/ 5926531 w 12117871"/>
                <a:gd name="connsiteY456" fmla="*/ 5184113 h 6072780"/>
                <a:gd name="connsiteX457" fmla="*/ 5942730 w 12117871"/>
                <a:gd name="connsiteY457" fmla="*/ 5176964 h 6072780"/>
                <a:gd name="connsiteX458" fmla="*/ 5958852 w 12117871"/>
                <a:gd name="connsiteY458" fmla="*/ 5168142 h 6072780"/>
                <a:gd name="connsiteX459" fmla="*/ 5975659 w 12117871"/>
                <a:gd name="connsiteY459" fmla="*/ 5157039 h 6072780"/>
                <a:gd name="connsiteX460" fmla="*/ 5090447 w 12117871"/>
                <a:gd name="connsiteY460" fmla="*/ 5157039 h 6072780"/>
                <a:gd name="connsiteX461" fmla="*/ 5161614 w 12117871"/>
                <a:gd name="connsiteY461" fmla="*/ 5267626 h 6072780"/>
                <a:gd name="connsiteX462" fmla="*/ 5141528 w 12117871"/>
                <a:gd name="connsiteY462" fmla="*/ 5351206 h 6072780"/>
                <a:gd name="connsiteX463" fmla="*/ 5085331 w 12117871"/>
                <a:gd name="connsiteY463" fmla="*/ 5380019 h 6072780"/>
                <a:gd name="connsiteX464" fmla="*/ 5032746 w 12117871"/>
                <a:gd name="connsiteY464" fmla="*/ 5352485 h 6072780"/>
                <a:gd name="connsiteX465" fmla="*/ 5013863 w 12117871"/>
                <a:gd name="connsiteY465" fmla="*/ 5272892 h 6072780"/>
                <a:gd name="connsiteX466" fmla="*/ 5033573 w 12117871"/>
                <a:gd name="connsiteY466" fmla="*/ 5186378 h 6072780"/>
                <a:gd name="connsiteX467" fmla="*/ 5090447 w 12117871"/>
                <a:gd name="connsiteY467" fmla="*/ 5157039 h 6072780"/>
                <a:gd name="connsiteX468" fmla="*/ 4694968 w 12117871"/>
                <a:gd name="connsiteY468" fmla="*/ 5157039 h 6072780"/>
                <a:gd name="connsiteX469" fmla="*/ 4709876 w 12117871"/>
                <a:gd name="connsiteY469" fmla="*/ 5157039 h 6072780"/>
                <a:gd name="connsiteX470" fmla="*/ 4709876 w 12117871"/>
                <a:gd name="connsiteY470" fmla="*/ 5380019 h 6072780"/>
                <a:gd name="connsiteX471" fmla="*/ 4674589 w 12117871"/>
                <a:gd name="connsiteY471" fmla="*/ 5380019 h 6072780"/>
                <a:gd name="connsiteX472" fmla="*/ 4674589 w 12117871"/>
                <a:gd name="connsiteY472" fmla="*/ 5200235 h 6072780"/>
                <a:gd name="connsiteX473" fmla="*/ 4653978 w 12117871"/>
                <a:gd name="connsiteY473" fmla="*/ 5211871 h 6072780"/>
                <a:gd name="connsiteX474" fmla="*/ 4628805 w 12117871"/>
                <a:gd name="connsiteY474" fmla="*/ 5220313 h 6072780"/>
                <a:gd name="connsiteX475" fmla="*/ 4628805 w 12117871"/>
                <a:gd name="connsiteY475" fmla="*/ 5190197 h 6072780"/>
                <a:gd name="connsiteX476" fmla="*/ 4645841 w 12117871"/>
                <a:gd name="connsiteY476" fmla="*/ 5184113 h 6072780"/>
                <a:gd name="connsiteX477" fmla="*/ 4662040 w 12117871"/>
                <a:gd name="connsiteY477" fmla="*/ 5176964 h 6072780"/>
                <a:gd name="connsiteX478" fmla="*/ 4678162 w 12117871"/>
                <a:gd name="connsiteY478" fmla="*/ 5168142 h 6072780"/>
                <a:gd name="connsiteX479" fmla="*/ 4694968 w 12117871"/>
                <a:gd name="connsiteY479" fmla="*/ 5157039 h 6072780"/>
                <a:gd name="connsiteX480" fmla="*/ 3158682 w 12117871"/>
                <a:gd name="connsiteY480" fmla="*/ 5157039 h 6072780"/>
                <a:gd name="connsiteX481" fmla="*/ 3173587 w 12117871"/>
                <a:gd name="connsiteY481" fmla="*/ 5157039 h 6072780"/>
                <a:gd name="connsiteX482" fmla="*/ 3173587 w 12117871"/>
                <a:gd name="connsiteY482" fmla="*/ 5380019 h 6072780"/>
                <a:gd name="connsiteX483" fmla="*/ 3138299 w 12117871"/>
                <a:gd name="connsiteY483" fmla="*/ 5380019 h 6072780"/>
                <a:gd name="connsiteX484" fmla="*/ 3138299 w 12117871"/>
                <a:gd name="connsiteY484" fmla="*/ 5200236 h 6072780"/>
                <a:gd name="connsiteX485" fmla="*/ 3117690 w 12117871"/>
                <a:gd name="connsiteY485" fmla="*/ 5211872 h 6072780"/>
                <a:gd name="connsiteX486" fmla="*/ 3092517 w 12117871"/>
                <a:gd name="connsiteY486" fmla="*/ 5220313 h 6072780"/>
                <a:gd name="connsiteX487" fmla="*/ 3092517 w 12117871"/>
                <a:gd name="connsiteY487" fmla="*/ 5190197 h 6072780"/>
                <a:gd name="connsiteX488" fmla="*/ 3109553 w 12117871"/>
                <a:gd name="connsiteY488" fmla="*/ 5184113 h 6072780"/>
                <a:gd name="connsiteX489" fmla="*/ 3125751 w 12117871"/>
                <a:gd name="connsiteY489" fmla="*/ 5176964 h 6072780"/>
                <a:gd name="connsiteX490" fmla="*/ 3141875 w 12117871"/>
                <a:gd name="connsiteY490" fmla="*/ 5168143 h 6072780"/>
                <a:gd name="connsiteX491" fmla="*/ 3158682 w 12117871"/>
                <a:gd name="connsiteY491" fmla="*/ 5157039 h 6072780"/>
                <a:gd name="connsiteX492" fmla="*/ 2489154 w 12117871"/>
                <a:gd name="connsiteY492" fmla="*/ 5157039 h 6072780"/>
                <a:gd name="connsiteX493" fmla="*/ 2504060 w 12117871"/>
                <a:gd name="connsiteY493" fmla="*/ 5157039 h 6072780"/>
                <a:gd name="connsiteX494" fmla="*/ 2504060 w 12117871"/>
                <a:gd name="connsiteY494" fmla="*/ 5380019 h 6072780"/>
                <a:gd name="connsiteX495" fmla="*/ 2468772 w 12117871"/>
                <a:gd name="connsiteY495" fmla="*/ 5380019 h 6072780"/>
                <a:gd name="connsiteX496" fmla="*/ 2468772 w 12117871"/>
                <a:gd name="connsiteY496" fmla="*/ 5200236 h 6072780"/>
                <a:gd name="connsiteX497" fmla="*/ 2448163 w 12117871"/>
                <a:gd name="connsiteY497" fmla="*/ 5211872 h 6072780"/>
                <a:gd name="connsiteX498" fmla="*/ 2422990 w 12117871"/>
                <a:gd name="connsiteY498" fmla="*/ 5220313 h 6072780"/>
                <a:gd name="connsiteX499" fmla="*/ 2422990 w 12117871"/>
                <a:gd name="connsiteY499" fmla="*/ 5190197 h 6072780"/>
                <a:gd name="connsiteX500" fmla="*/ 2440025 w 12117871"/>
                <a:gd name="connsiteY500" fmla="*/ 5184113 h 6072780"/>
                <a:gd name="connsiteX501" fmla="*/ 2456224 w 12117871"/>
                <a:gd name="connsiteY501" fmla="*/ 5176964 h 6072780"/>
                <a:gd name="connsiteX502" fmla="*/ 2472346 w 12117871"/>
                <a:gd name="connsiteY502" fmla="*/ 5168143 h 6072780"/>
                <a:gd name="connsiteX503" fmla="*/ 2489154 w 12117871"/>
                <a:gd name="connsiteY503" fmla="*/ 5157039 h 6072780"/>
                <a:gd name="connsiteX504" fmla="*/ 1599916 w 12117871"/>
                <a:gd name="connsiteY504" fmla="*/ 5157039 h 6072780"/>
                <a:gd name="connsiteX505" fmla="*/ 1614822 w 12117871"/>
                <a:gd name="connsiteY505" fmla="*/ 5157039 h 6072780"/>
                <a:gd name="connsiteX506" fmla="*/ 1614822 w 12117871"/>
                <a:gd name="connsiteY506" fmla="*/ 5380019 h 6072780"/>
                <a:gd name="connsiteX507" fmla="*/ 1579534 w 12117871"/>
                <a:gd name="connsiteY507" fmla="*/ 5380019 h 6072780"/>
                <a:gd name="connsiteX508" fmla="*/ 1579534 w 12117871"/>
                <a:gd name="connsiteY508" fmla="*/ 5200236 h 6072780"/>
                <a:gd name="connsiteX509" fmla="*/ 1558925 w 12117871"/>
                <a:gd name="connsiteY509" fmla="*/ 5211872 h 6072780"/>
                <a:gd name="connsiteX510" fmla="*/ 1533752 w 12117871"/>
                <a:gd name="connsiteY510" fmla="*/ 5220313 h 6072780"/>
                <a:gd name="connsiteX511" fmla="*/ 1533752 w 12117871"/>
                <a:gd name="connsiteY511" fmla="*/ 5190197 h 6072780"/>
                <a:gd name="connsiteX512" fmla="*/ 1550787 w 12117871"/>
                <a:gd name="connsiteY512" fmla="*/ 5184113 h 6072780"/>
                <a:gd name="connsiteX513" fmla="*/ 1566986 w 12117871"/>
                <a:gd name="connsiteY513" fmla="*/ 5176964 h 6072780"/>
                <a:gd name="connsiteX514" fmla="*/ 1583109 w 12117871"/>
                <a:gd name="connsiteY514" fmla="*/ 5168143 h 6072780"/>
                <a:gd name="connsiteX515" fmla="*/ 1599916 w 12117871"/>
                <a:gd name="connsiteY515" fmla="*/ 5157039 h 6072780"/>
                <a:gd name="connsiteX516" fmla="*/ 11874294 w 12117871"/>
                <a:gd name="connsiteY516" fmla="*/ 4871804 h 6072780"/>
                <a:gd name="connsiteX517" fmla="*/ 11835024 w 12117871"/>
                <a:gd name="connsiteY517" fmla="*/ 4958317 h 6072780"/>
                <a:gd name="connsiteX518" fmla="*/ 11873542 w 12117871"/>
                <a:gd name="connsiteY518" fmla="*/ 5039264 h 6072780"/>
                <a:gd name="connsiteX519" fmla="*/ 11911457 w 12117871"/>
                <a:gd name="connsiteY519" fmla="*/ 4956963 h 6072780"/>
                <a:gd name="connsiteX520" fmla="*/ 11874294 w 12117871"/>
                <a:gd name="connsiteY520" fmla="*/ 4871804 h 6072780"/>
                <a:gd name="connsiteX521" fmla="*/ 11189148 w 12117871"/>
                <a:gd name="connsiteY521" fmla="*/ 4871804 h 6072780"/>
                <a:gd name="connsiteX522" fmla="*/ 11149878 w 12117871"/>
                <a:gd name="connsiteY522" fmla="*/ 4958318 h 6072780"/>
                <a:gd name="connsiteX523" fmla="*/ 11188396 w 12117871"/>
                <a:gd name="connsiteY523" fmla="*/ 5039265 h 6072780"/>
                <a:gd name="connsiteX524" fmla="*/ 11226311 w 12117871"/>
                <a:gd name="connsiteY524" fmla="*/ 4956964 h 6072780"/>
                <a:gd name="connsiteX525" fmla="*/ 11189148 w 12117871"/>
                <a:gd name="connsiteY525" fmla="*/ 4871804 h 6072780"/>
                <a:gd name="connsiteX526" fmla="*/ 9936214 w 12117871"/>
                <a:gd name="connsiteY526" fmla="*/ 4871804 h 6072780"/>
                <a:gd name="connsiteX527" fmla="*/ 9896944 w 12117871"/>
                <a:gd name="connsiteY527" fmla="*/ 4958317 h 6072780"/>
                <a:gd name="connsiteX528" fmla="*/ 9935462 w 12117871"/>
                <a:gd name="connsiteY528" fmla="*/ 5039264 h 6072780"/>
                <a:gd name="connsiteX529" fmla="*/ 9973377 w 12117871"/>
                <a:gd name="connsiteY529" fmla="*/ 4956963 h 6072780"/>
                <a:gd name="connsiteX530" fmla="*/ 9936214 w 12117871"/>
                <a:gd name="connsiteY530" fmla="*/ 4871804 h 6072780"/>
                <a:gd name="connsiteX531" fmla="*/ 6366335 w 12117871"/>
                <a:gd name="connsiteY531" fmla="*/ 4871804 h 6072780"/>
                <a:gd name="connsiteX532" fmla="*/ 6327065 w 12117871"/>
                <a:gd name="connsiteY532" fmla="*/ 4958317 h 6072780"/>
                <a:gd name="connsiteX533" fmla="*/ 6365583 w 12117871"/>
                <a:gd name="connsiteY533" fmla="*/ 5039264 h 6072780"/>
                <a:gd name="connsiteX534" fmla="*/ 6403498 w 12117871"/>
                <a:gd name="connsiteY534" fmla="*/ 4956963 h 6072780"/>
                <a:gd name="connsiteX535" fmla="*/ 6366335 w 12117871"/>
                <a:gd name="connsiteY535" fmla="*/ 4871804 h 6072780"/>
                <a:gd name="connsiteX536" fmla="*/ 5088792 w 12117871"/>
                <a:gd name="connsiteY536" fmla="*/ 4871804 h 6072780"/>
                <a:gd name="connsiteX537" fmla="*/ 5049522 w 12117871"/>
                <a:gd name="connsiteY537" fmla="*/ 4958317 h 6072780"/>
                <a:gd name="connsiteX538" fmla="*/ 5088041 w 12117871"/>
                <a:gd name="connsiteY538" fmla="*/ 5039264 h 6072780"/>
                <a:gd name="connsiteX539" fmla="*/ 5125957 w 12117871"/>
                <a:gd name="connsiteY539" fmla="*/ 4956963 h 6072780"/>
                <a:gd name="connsiteX540" fmla="*/ 5088792 w 12117871"/>
                <a:gd name="connsiteY540" fmla="*/ 4871804 h 6072780"/>
                <a:gd name="connsiteX541" fmla="*/ 3614881 w 12117871"/>
                <a:gd name="connsiteY541" fmla="*/ 4871804 h 6072780"/>
                <a:gd name="connsiteX542" fmla="*/ 3575611 w 12117871"/>
                <a:gd name="connsiteY542" fmla="*/ 4958318 h 6072780"/>
                <a:gd name="connsiteX543" fmla="*/ 3614130 w 12117871"/>
                <a:gd name="connsiteY543" fmla="*/ 5039265 h 6072780"/>
                <a:gd name="connsiteX544" fmla="*/ 3652044 w 12117871"/>
                <a:gd name="connsiteY544" fmla="*/ 4956964 h 6072780"/>
                <a:gd name="connsiteX545" fmla="*/ 3614881 w 12117871"/>
                <a:gd name="connsiteY545" fmla="*/ 4871804 h 6072780"/>
                <a:gd name="connsiteX546" fmla="*/ 12062430 w 12117871"/>
                <a:gd name="connsiteY546" fmla="*/ 4843969 h 6072780"/>
                <a:gd name="connsiteX547" fmla="*/ 12077336 w 12117871"/>
                <a:gd name="connsiteY547" fmla="*/ 4843969 h 6072780"/>
                <a:gd name="connsiteX548" fmla="*/ 12077336 w 12117871"/>
                <a:gd name="connsiteY548" fmla="*/ 5066949 h 6072780"/>
                <a:gd name="connsiteX549" fmla="*/ 12042048 w 12117871"/>
                <a:gd name="connsiteY549" fmla="*/ 5066949 h 6072780"/>
                <a:gd name="connsiteX550" fmla="*/ 12042048 w 12117871"/>
                <a:gd name="connsiteY550" fmla="*/ 4887165 h 6072780"/>
                <a:gd name="connsiteX551" fmla="*/ 12021439 w 12117871"/>
                <a:gd name="connsiteY551" fmla="*/ 4898801 h 6072780"/>
                <a:gd name="connsiteX552" fmla="*/ 11996266 w 12117871"/>
                <a:gd name="connsiteY552" fmla="*/ 4907243 h 6072780"/>
                <a:gd name="connsiteX553" fmla="*/ 11996266 w 12117871"/>
                <a:gd name="connsiteY553" fmla="*/ 4877127 h 6072780"/>
                <a:gd name="connsiteX554" fmla="*/ 12013301 w 12117871"/>
                <a:gd name="connsiteY554" fmla="*/ 4871043 h 6072780"/>
                <a:gd name="connsiteX555" fmla="*/ 12029500 w 12117871"/>
                <a:gd name="connsiteY555" fmla="*/ 4863894 h 6072780"/>
                <a:gd name="connsiteX556" fmla="*/ 12045623 w 12117871"/>
                <a:gd name="connsiteY556" fmla="*/ 4855072 h 6072780"/>
                <a:gd name="connsiteX557" fmla="*/ 12062430 w 12117871"/>
                <a:gd name="connsiteY557" fmla="*/ 4843969 h 6072780"/>
                <a:gd name="connsiteX558" fmla="*/ 11875949 w 12117871"/>
                <a:gd name="connsiteY558" fmla="*/ 4843969 h 6072780"/>
                <a:gd name="connsiteX559" fmla="*/ 11947116 w 12117871"/>
                <a:gd name="connsiteY559" fmla="*/ 4954556 h 6072780"/>
                <a:gd name="connsiteX560" fmla="*/ 11927030 w 12117871"/>
                <a:gd name="connsiteY560" fmla="*/ 5038136 h 6072780"/>
                <a:gd name="connsiteX561" fmla="*/ 11870833 w 12117871"/>
                <a:gd name="connsiteY561" fmla="*/ 5066949 h 6072780"/>
                <a:gd name="connsiteX562" fmla="*/ 11818248 w 12117871"/>
                <a:gd name="connsiteY562" fmla="*/ 5039415 h 6072780"/>
                <a:gd name="connsiteX563" fmla="*/ 11799365 w 12117871"/>
                <a:gd name="connsiteY563" fmla="*/ 4959822 h 6072780"/>
                <a:gd name="connsiteX564" fmla="*/ 11819075 w 12117871"/>
                <a:gd name="connsiteY564" fmla="*/ 4873308 h 6072780"/>
                <a:gd name="connsiteX565" fmla="*/ 11875949 w 12117871"/>
                <a:gd name="connsiteY565" fmla="*/ 4843969 h 6072780"/>
                <a:gd name="connsiteX566" fmla="*/ 11190803 w 12117871"/>
                <a:gd name="connsiteY566" fmla="*/ 4843969 h 6072780"/>
                <a:gd name="connsiteX567" fmla="*/ 11261970 w 12117871"/>
                <a:gd name="connsiteY567" fmla="*/ 4954557 h 6072780"/>
                <a:gd name="connsiteX568" fmla="*/ 11241884 w 12117871"/>
                <a:gd name="connsiteY568" fmla="*/ 5038136 h 6072780"/>
                <a:gd name="connsiteX569" fmla="*/ 11185687 w 12117871"/>
                <a:gd name="connsiteY569" fmla="*/ 5066949 h 6072780"/>
                <a:gd name="connsiteX570" fmla="*/ 11133102 w 12117871"/>
                <a:gd name="connsiteY570" fmla="*/ 5039415 h 6072780"/>
                <a:gd name="connsiteX571" fmla="*/ 11114219 w 12117871"/>
                <a:gd name="connsiteY571" fmla="*/ 4959823 h 6072780"/>
                <a:gd name="connsiteX572" fmla="*/ 11133929 w 12117871"/>
                <a:gd name="connsiteY572" fmla="*/ 4873309 h 6072780"/>
                <a:gd name="connsiteX573" fmla="*/ 11190803 w 12117871"/>
                <a:gd name="connsiteY573" fmla="*/ 4843969 h 6072780"/>
                <a:gd name="connsiteX574" fmla="*/ 10143427 w 12117871"/>
                <a:gd name="connsiteY574" fmla="*/ 4843969 h 6072780"/>
                <a:gd name="connsiteX575" fmla="*/ 10158333 w 12117871"/>
                <a:gd name="connsiteY575" fmla="*/ 4843969 h 6072780"/>
                <a:gd name="connsiteX576" fmla="*/ 10158333 w 12117871"/>
                <a:gd name="connsiteY576" fmla="*/ 5066949 h 6072780"/>
                <a:gd name="connsiteX577" fmla="*/ 10123045 w 12117871"/>
                <a:gd name="connsiteY577" fmla="*/ 5066949 h 6072780"/>
                <a:gd name="connsiteX578" fmla="*/ 10123045 w 12117871"/>
                <a:gd name="connsiteY578" fmla="*/ 4887165 h 6072780"/>
                <a:gd name="connsiteX579" fmla="*/ 10102436 w 12117871"/>
                <a:gd name="connsiteY579" fmla="*/ 4898801 h 6072780"/>
                <a:gd name="connsiteX580" fmla="*/ 10077263 w 12117871"/>
                <a:gd name="connsiteY580" fmla="*/ 4907243 h 6072780"/>
                <a:gd name="connsiteX581" fmla="*/ 10077263 w 12117871"/>
                <a:gd name="connsiteY581" fmla="*/ 4877127 h 6072780"/>
                <a:gd name="connsiteX582" fmla="*/ 10094298 w 12117871"/>
                <a:gd name="connsiteY582" fmla="*/ 4871043 h 6072780"/>
                <a:gd name="connsiteX583" fmla="*/ 10110497 w 12117871"/>
                <a:gd name="connsiteY583" fmla="*/ 4863894 h 6072780"/>
                <a:gd name="connsiteX584" fmla="*/ 10126620 w 12117871"/>
                <a:gd name="connsiteY584" fmla="*/ 4855072 h 6072780"/>
                <a:gd name="connsiteX585" fmla="*/ 10143427 w 12117871"/>
                <a:gd name="connsiteY585" fmla="*/ 4843969 h 6072780"/>
                <a:gd name="connsiteX586" fmla="*/ 9937869 w 12117871"/>
                <a:gd name="connsiteY586" fmla="*/ 4843969 h 6072780"/>
                <a:gd name="connsiteX587" fmla="*/ 10009036 w 12117871"/>
                <a:gd name="connsiteY587" fmla="*/ 4954556 h 6072780"/>
                <a:gd name="connsiteX588" fmla="*/ 9988950 w 12117871"/>
                <a:gd name="connsiteY588" fmla="*/ 5038136 h 6072780"/>
                <a:gd name="connsiteX589" fmla="*/ 9932753 w 12117871"/>
                <a:gd name="connsiteY589" fmla="*/ 5066949 h 6072780"/>
                <a:gd name="connsiteX590" fmla="*/ 9880168 w 12117871"/>
                <a:gd name="connsiteY590" fmla="*/ 5039415 h 6072780"/>
                <a:gd name="connsiteX591" fmla="*/ 9861285 w 12117871"/>
                <a:gd name="connsiteY591" fmla="*/ 4959822 h 6072780"/>
                <a:gd name="connsiteX592" fmla="*/ 9880995 w 12117871"/>
                <a:gd name="connsiteY592" fmla="*/ 4873308 h 6072780"/>
                <a:gd name="connsiteX593" fmla="*/ 9937869 w 12117871"/>
                <a:gd name="connsiteY593" fmla="*/ 4843969 h 6072780"/>
                <a:gd name="connsiteX594" fmla="*/ 9557012 w 12117871"/>
                <a:gd name="connsiteY594" fmla="*/ 4843969 h 6072780"/>
                <a:gd name="connsiteX595" fmla="*/ 9571918 w 12117871"/>
                <a:gd name="connsiteY595" fmla="*/ 4843969 h 6072780"/>
                <a:gd name="connsiteX596" fmla="*/ 9571918 w 12117871"/>
                <a:gd name="connsiteY596" fmla="*/ 5066949 h 6072780"/>
                <a:gd name="connsiteX597" fmla="*/ 9536630 w 12117871"/>
                <a:gd name="connsiteY597" fmla="*/ 5066949 h 6072780"/>
                <a:gd name="connsiteX598" fmla="*/ 9536630 w 12117871"/>
                <a:gd name="connsiteY598" fmla="*/ 4887165 h 6072780"/>
                <a:gd name="connsiteX599" fmla="*/ 9516021 w 12117871"/>
                <a:gd name="connsiteY599" fmla="*/ 4898801 h 6072780"/>
                <a:gd name="connsiteX600" fmla="*/ 9490848 w 12117871"/>
                <a:gd name="connsiteY600" fmla="*/ 4907243 h 6072780"/>
                <a:gd name="connsiteX601" fmla="*/ 9490848 w 12117871"/>
                <a:gd name="connsiteY601" fmla="*/ 4877127 h 6072780"/>
                <a:gd name="connsiteX602" fmla="*/ 9507883 w 12117871"/>
                <a:gd name="connsiteY602" fmla="*/ 4871043 h 6072780"/>
                <a:gd name="connsiteX603" fmla="*/ 9524082 w 12117871"/>
                <a:gd name="connsiteY603" fmla="*/ 4863894 h 6072780"/>
                <a:gd name="connsiteX604" fmla="*/ 9540205 w 12117871"/>
                <a:gd name="connsiteY604" fmla="*/ 4855072 h 6072780"/>
                <a:gd name="connsiteX605" fmla="*/ 9557012 w 12117871"/>
                <a:gd name="connsiteY605" fmla="*/ 4843969 h 6072780"/>
                <a:gd name="connsiteX606" fmla="*/ 9254256 w 12117871"/>
                <a:gd name="connsiteY606" fmla="*/ 4843969 h 6072780"/>
                <a:gd name="connsiteX607" fmla="*/ 9269162 w 12117871"/>
                <a:gd name="connsiteY607" fmla="*/ 4843969 h 6072780"/>
                <a:gd name="connsiteX608" fmla="*/ 9269162 w 12117871"/>
                <a:gd name="connsiteY608" fmla="*/ 5066949 h 6072780"/>
                <a:gd name="connsiteX609" fmla="*/ 9233874 w 12117871"/>
                <a:gd name="connsiteY609" fmla="*/ 5066949 h 6072780"/>
                <a:gd name="connsiteX610" fmla="*/ 9233874 w 12117871"/>
                <a:gd name="connsiteY610" fmla="*/ 4887165 h 6072780"/>
                <a:gd name="connsiteX611" fmla="*/ 9213265 w 12117871"/>
                <a:gd name="connsiteY611" fmla="*/ 4898801 h 6072780"/>
                <a:gd name="connsiteX612" fmla="*/ 9188092 w 12117871"/>
                <a:gd name="connsiteY612" fmla="*/ 4907243 h 6072780"/>
                <a:gd name="connsiteX613" fmla="*/ 9188092 w 12117871"/>
                <a:gd name="connsiteY613" fmla="*/ 4877127 h 6072780"/>
                <a:gd name="connsiteX614" fmla="*/ 9205127 w 12117871"/>
                <a:gd name="connsiteY614" fmla="*/ 4871043 h 6072780"/>
                <a:gd name="connsiteX615" fmla="*/ 9221326 w 12117871"/>
                <a:gd name="connsiteY615" fmla="*/ 4863894 h 6072780"/>
                <a:gd name="connsiteX616" fmla="*/ 9237449 w 12117871"/>
                <a:gd name="connsiteY616" fmla="*/ 4855072 h 6072780"/>
                <a:gd name="connsiteX617" fmla="*/ 9254256 w 12117871"/>
                <a:gd name="connsiteY617" fmla="*/ 4843969 h 6072780"/>
                <a:gd name="connsiteX618" fmla="*/ 7851748 w 12117871"/>
                <a:gd name="connsiteY618" fmla="*/ 4843969 h 6072780"/>
                <a:gd name="connsiteX619" fmla="*/ 7866654 w 12117871"/>
                <a:gd name="connsiteY619" fmla="*/ 4843969 h 6072780"/>
                <a:gd name="connsiteX620" fmla="*/ 7866654 w 12117871"/>
                <a:gd name="connsiteY620" fmla="*/ 5066949 h 6072780"/>
                <a:gd name="connsiteX621" fmla="*/ 7831366 w 12117871"/>
                <a:gd name="connsiteY621" fmla="*/ 5066949 h 6072780"/>
                <a:gd name="connsiteX622" fmla="*/ 7831366 w 12117871"/>
                <a:gd name="connsiteY622" fmla="*/ 4887165 h 6072780"/>
                <a:gd name="connsiteX623" fmla="*/ 7810757 w 12117871"/>
                <a:gd name="connsiteY623" fmla="*/ 4898801 h 6072780"/>
                <a:gd name="connsiteX624" fmla="*/ 7785584 w 12117871"/>
                <a:gd name="connsiteY624" fmla="*/ 4907243 h 6072780"/>
                <a:gd name="connsiteX625" fmla="*/ 7785584 w 12117871"/>
                <a:gd name="connsiteY625" fmla="*/ 4877127 h 6072780"/>
                <a:gd name="connsiteX626" fmla="*/ 7802619 w 12117871"/>
                <a:gd name="connsiteY626" fmla="*/ 4871043 h 6072780"/>
                <a:gd name="connsiteX627" fmla="*/ 7818818 w 12117871"/>
                <a:gd name="connsiteY627" fmla="*/ 4863894 h 6072780"/>
                <a:gd name="connsiteX628" fmla="*/ 7834941 w 12117871"/>
                <a:gd name="connsiteY628" fmla="*/ 4855072 h 6072780"/>
                <a:gd name="connsiteX629" fmla="*/ 7851748 w 12117871"/>
                <a:gd name="connsiteY629" fmla="*/ 4843969 h 6072780"/>
                <a:gd name="connsiteX630" fmla="*/ 7015147 w 12117871"/>
                <a:gd name="connsiteY630" fmla="*/ 4843969 h 6072780"/>
                <a:gd name="connsiteX631" fmla="*/ 7030053 w 12117871"/>
                <a:gd name="connsiteY631" fmla="*/ 4843969 h 6072780"/>
                <a:gd name="connsiteX632" fmla="*/ 7030053 w 12117871"/>
                <a:gd name="connsiteY632" fmla="*/ 5066949 h 6072780"/>
                <a:gd name="connsiteX633" fmla="*/ 6994765 w 12117871"/>
                <a:gd name="connsiteY633" fmla="*/ 5066949 h 6072780"/>
                <a:gd name="connsiteX634" fmla="*/ 6994765 w 12117871"/>
                <a:gd name="connsiteY634" fmla="*/ 4887165 h 6072780"/>
                <a:gd name="connsiteX635" fmla="*/ 6974156 w 12117871"/>
                <a:gd name="connsiteY635" fmla="*/ 4898801 h 6072780"/>
                <a:gd name="connsiteX636" fmla="*/ 6948983 w 12117871"/>
                <a:gd name="connsiteY636" fmla="*/ 4907243 h 6072780"/>
                <a:gd name="connsiteX637" fmla="*/ 6948983 w 12117871"/>
                <a:gd name="connsiteY637" fmla="*/ 4877127 h 6072780"/>
                <a:gd name="connsiteX638" fmla="*/ 6966018 w 12117871"/>
                <a:gd name="connsiteY638" fmla="*/ 4871043 h 6072780"/>
                <a:gd name="connsiteX639" fmla="*/ 6982217 w 12117871"/>
                <a:gd name="connsiteY639" fmla="*/ 4863894 h 6072780"/>
                <a:gd name="connsiteX640" fmla="*/ 6998340 w 12117871"/>
                <a:gd name="connsiteY640" fmla="*/ 4855072 h 6072780"/>
                <a:gd name="connsiteX641" fmla="*/ 7015147 w 12117871"/>
                <a:gd name="connsiteY641" fmla="*/ 4843969 h 6072780"/>
                <a:gd name="connsiteX642" fmla="*/ 6584323 w 12117871"/>
                <a:gd name="connsiteY642" fmla="*/ 4843969 h 6072780"/>
                <a:gd name="connsiteX643" fmla="*/ 6599229 w 12117871"/>
                <a:gd name="connsiteY643" fmla="*/ 4843969 h 6072780"/>
                <a:gd name="connsiteX644" fmla="*/ 6599229 w 12117871"/>
                <a:gd name="connsiteY644" fmla="*/ 5066949 h 6072780"/>
                <a:gd name="connsiteX645" fmla="*/ 6563941 w 12117871"/>
                <a:gd name="connsiteY645" fmla="*/ 5066949 h 6072780"/>
                <a:gd name="connsiteX646" fmla="*/ 6563941 w 12117871"/>
                <a:gd name="connsiteY646" fmla="*/ 4887165 h 6072780"/>
                <a:gd name="connsiteX647" fmla="*/ 6543332 w 12117871"/>
                <a:gd name="connsiteY647" fmla="*/ 4898801 h 6072780"/>
                <a:gd name="connsiteX648" fmla="*/ 6518159 w 12117871"/>
                <a:gd name="connsiteY648" fmla="*/ 4907243 h 6072780"/>
                <a:gd name="connsiteX649" fmla="*/ 6518159 w 12117871"/>
                <a:gd name="connsiteY649" fmla="*/ 4877127 h 6072780"/>
                <a:gd name="connsiteX650" fmla="*/ 6535194 w 12117871"/>
                <a:gd name="connsiteY650" fmla="*/ 4871043 h 6072780"/>
                <a:gd name="connsiteX651" fmla="*/ 6551393 w 12117871"/>
                <a:gd name="connsiteY651" fmla="*/ 4863894 h 6072780"/>
                <a:gd name="connsiteX652" fmla="*/ 6567516 w 12117871"/>
                <a:gd name="connsiteY652" fmla="*/ 4855072 h 6072780"/>
                <a:gd name="connsiteX653" fmla="*/ 6584323 w 12117871"/>
                <a:gd name="connsiteY653" fmla="*/ 4843969 h 6072780"/>
                <a:gd name="connsiteX654" fmla="*/ 6367990 w 12117871"/>
                <a:gd name="connsiteY654" fmla="*/ 4843969 h 6072780"/>
                <a:gd name="connsiteX655" fmla="*/ 6439157 w 12117871"/>
                <a:gd name="connsiteY655" fmla="*/ 4954556 h 6072780"/>
                <a:gd name="connsiteX656" fmla="*/ 6419071 w 12117871"/>
                <a:gd name="connsiteY656" fmla="*/ 5038136 h 6072780"/>
                <a:gd name="connsiteX657" fmla="*/ 6362874 w 12117871"/>
                <a:gd name="connsiteY657" fmla="*/ 5066949 h 6072780"/>
                <a:gd name="connsiteX658" fmla="*/ 6310289 w 12117871"/>
                <a:gd name="connsiteY658" fmla="*/ 5039415 h 6072780"/>
                <a:gd name="connsiteX659" fmla="*/ 6291406 w 12117871"/>
                <a:gd name="connsiteY659" fmla="*/ 4959822 h 6072780"/>
                <a:gd name="connsiteX660" fmla="*/ 6311116 w 12117871"/>
                <a:gd name="connsiteY660" fmla="*/ 4873308 h 6072780"/>
                <a:gd name="connsiteX661" fmla="*/ 6367990 w 12117871"/>
                <a:gd name="connsiteY661" fmla="*/ 4843969 h 6072780"/>
                <a:gd name="connsiteX662" fmla="*/ 5975659 w 12117871"/>
                <a:gd name="connsiteY662" fmla="*/ 4843969 h 6072780"/>
                <a:gd name="connsiteX663" fmla="*/ 5990568 w 12117871"/>
                <a:gd name="connsiteY663" fmla="*/ 4843969 h 6072780"/>
                <a:gd name="connsiteX664" fmla="*/ 5990568 w 12117871"/>
                <a:gd name="connsiteY664" fmla="*/ 5066949 h 6072780"/>
                <a:gd name="connsiteX665" fmla="*/ 5955278 w 12117871"/>
                <a:gd name="connsiteY665" fmla="*/ 5066949 h 6072780"/>
                <a:gd name="connsiteX666" fmla="*/ 5955278 w 12117871"/>
                <a:gd name="connsiteY666" fmla="*/ 4887165 h 6072780"/>
                <a:gd name="connsiteX667" fmla="*/ 5934669 w 12117871"/>
                <a:gd name="connsiteY667" fmla="*/ 4898801 h 6072780"/>
                <a:gd name="connsiteX668" fmla="*/ 5909498 w 12117871"/>
                <a:gd name="connsiteY668" fmla="*/ 4907243 h 6072780"/>
                <a:gd name="connsiteX669" fmla="*/ 5909498 w 12117871"/>
                <a:gd name="connsiteY669" fmla="*/ 4877127 h 6072780"/>
                <a:gd name="connsiteX670" fmla="*/ 5926531 w 12117871"/>
                <a:gd name="connsiteY670" fmla="*/ 4871043 h 6072780"/>
                <a:gd name="connsiteX671" fmla="*/ 5942730 w 12117871"/>
                <a:gd name="connsiteY671" fmla="*/ 4863894 h 6072780"/>
                <a:gd name="connsiteX672" fmla="*/ 5958852 w 12117871"/>
                <a:gd name="connsiteY672" fmla="*/ 4855072 h 6072780"/>
                <a:gd name="connsiteX673" fmla="*/ 5975659 w 12117871"/>
                <a:gd name="connsiteY673" fmla="*/ 4843969 h 6072780"/>
                <a:gd name="connsiteX674" fmla="*/ 5090447 w 12117871"/>
                <a:gd name="connsiteY674" fmla="*/ 4843969 h 6072780"/>
                <a:gd name="connsiteX675" fmla="*/ 5161614 w 12117871"/>
                <a:gd name="connsiteY675" fmla="*/ 4954556 h 6072780"/>
                <a:gd name="connsiteX676" fmla="*/ 5141528 w 12117871"/>
                <a:gd name="connsiteY676" fmla="*/ 5038136 h 6072780"/>
                <a:gd name="connsiteX677" fmla="*/ 5085331 w 12117871"/>
                <a:gd name="connsiteY677" fmla="*/ 5066949 h 6072780"/>
                <a:gd name="connsiteX678" fmla="*/ 5032746 w 12117871"/>
                <a:gd name="connsiteY678" fmla="*/ 5039415 h 6072780"/>
                <a:gd name="connsiteX679" fmla="*/ 5013863 w 12117871"/>
                <a:gd name="connsiteY679" fmla="*/ 4959822 h 6072780"/>
                <a:gd name="connsiteX680" fmla="*/ 5033573 w 12117871"/>
                <a:gd name="connsiteY680" fmla="*/ 4873308 h 6072780"/>
                <a:gd name="connsiteX681" fmla="*/ 5090447 w 12117871"/>
                <a:gd name="connsiteY681" fmla="*/ 4843969 h 6072780"/>
                <a:gd name="connsiteX682" fmla="*/ 4694968 w 12117871"/>
                <a:gd name="connsiteY682" fmla="*/ 4843969 h 6072780"/>
                <a:gd name="connsiteX683" fmla="*/ 4709876 w 12117871"/>
                <a:gd name="connsiteY683" fmla="*/ 4843969 h 6072780"/>
                <a:gd name="connsiteX684" fmla="*/ 4709876 w 12117871"/>
                <a:gd name="connsiteY684" fmla="*/ 5066949 h 6072780"/>
                <a:gd name="connsiteX685" fmla="*/ 4674589 w 12117871"/>
                <a:gd name="connsiteY685" fmla="*/ 5066949 h 6072780"/>
                <a:gd name="connsiteX686" fmla="*/ 4674589 w 12117871"/>
                <a:gd name="connsiteY686" fmla="*/ 4887165 h 6072780"/>
                <a:gd name="connsiteX687" fmla="*/ 4653978 w 12117871"/>
                <a:gd name="connsiteY687" fmla="*/ 4898801 h 6072780"/>
                <a:gd name="connsiteX688" fmla="*/ 4628805 w 12117871"/>
                <a:gd name="connsiteY688" fmla="*/ 4907243 h 6072780"/>
                <a:gd name="connsiteX689" fmla="*/ 4628805 w 12117871"/>
                <a:gd name="connsiteY689" fmla="*/ 4877127 h 6072780"/>
                <a:gd name="connsiteX690" fmla="*/ 4645841 w 12117871"/>
                <a:gd name="connsiteY690" fmla="*/ 4871043 h 6072780"/>
                <a:gd name="connsiteX691" fmla="*/ 4662040 w 12117871"/>
                <a:gd name="connsiteY691" fmla="*/ 4863894 h 6072780"/>
                <a:gd name="connsiteX692" fmla="*/ 4678162 w 12117871"/>
                <a:gd name="connsiteY692" fmla="*/ 4855072 h 6072780"/>
                <a:gd name="connsiteX693" fmla="*/ 4694968 w 12117871"/>
                <a:gd name="connsiteY693" fmla="*/ 4843969 h 6072780"/>
                <a:gd name="connsiteX694" fmla="*/ 4345906 w 12117871"/>
                <a:gd name="connsiteY694" fmla="*/ 4843969 h 6072780"/>
                <a:gd name="connsiteX695" fmla="*/ 4360813 w 12117871"/>
                <a:gd name="connsiteY695" fmla="*/ 4843969 h 6072780"/>
                <a:gd name="connsiteX696" fmla="*/ 4360813 w 12117871"/>
                <a:gd name="connsiteY696" fmla="*/ 5066949 h 6072780"/>
                <a:gd name="connsiteX697" fmla="*/ 4325525 w 12117871"/>
                <a:gd name="connsiteY697" fmla="*/ 5066949 h 6072780"/>
                <a:gd name="connsiteX698" fmla="*/ 4325525 w 12117871"/>
                <a:gd name="connsiteY698" fmla="*/ 4887165 h 6072780"/>
                <a:gd name="connsiteX699" fmla="*/ 4304915 w 12117871"/>
                <a:gd name="connsiteY699" fmla="*/ 4898801 h 6072780"/>
                <a:gd name="connsiteX700" fmla="*/ 4279743 w 12117871"/>
                <a:gd name="connsiteY700" fmla="*/ 4907243 h 6072780"/>
                <a:gd name="connsiteX701" fmla="*/ 4279743 w 12117871"/>
                <a:gd name="connsiteY701" fmla="*/ 4877127 h 6072780"/>
                <a:gd name="connsiteX702" fmla="*/ 4296778 w 12117871"/>
                <a:gd name="connsiteY702" fmla="*/ 4871043 h 6072780"/>
                <a:gd name="connsiteX703" fmla="*/ 4312977 w 12117871"/>
                <a:gd name="connsiteY703" fmla="*/ 4863894 h 6072780"/>
                <a:gd name="connsiteX704" fmla="*/ 4329099 w 12117871"/>
                <a:gd name="connsiteY704" fmla="*/ 4855072 h 6072780"/>
                <a:gd name="connsiteX705" fmla="*/ 4345906 w 12117871"/>
                <a:gd name="connsiteY705" fmla="*/ 4843969 h 6072780"/>
                <a:gd name="connsiteX706" fmla="*/ 3616537 w 12117871"/>
                <a:gd name="connsiteY706" fmla="*/ 4843969 h 6072780"/>
                <a:gd name="connsiteX707" fmla="*/ 3687703 w 12117871"/>
                <a:gd name="connsiteY707" fmla="*/ 4954557 h 6072780"/>
                <a:gd name="connsiteX708" fmla="*/ 3667617 w 12117871"/>
                <a:gd name="connsiteY708" fmla="*/ 5038136 h 6072780"/>
                <a:gd name="connsiteX709" fmla="*/ 3611420 w 12117871"/>
                <a:gd name="connsiteY709" fmla="*/ 5066949 h 6072780"/>
                <a:gd name="connsiteX710" fmla="*/ 3558835 w 12117871"/>
                <a:gd name="connsiteY710" fmla="*/ 5039415 h 6072780"/>
                <a:gd name="connsiteX711" fmla="*/ 3539952 w 12117871"/>
                <a:gd name="connsiteY711" fmla="*/ 4959823 h 6072780"/>
                <a:gd name="connsiteX712" fmla="*/ 3559662 w 12117871"/>
                <a:gd name="connsiteY712" fmla="*/ 4873309 h 6072780"/>
                <a:gd name="connsiteX713" fmla="*/ 3616537 w 12117871"/>
                <a:gd name="connsiteY713" fmla="*/ 4843969 h 6072780"/>
                <a:gd name="connsiteX714" fmla="*/ 3454863 w 12117871"/>
                <a:gd name="connsiteY714" fmla="*/ 4843969 h 6072780"/>
                <a:gd name="connsiteX715" fmla="*/ 3469768 w 12117871"/>
                <a:gd name="connsiteY715" fmla="*/ 4843969 h 6072780"/>
                <a:gd name="connsiteX716" fmla="*/ 3469768 w 12117871"/>
                <a:gd name="connsiteY716" fmla="*/ 5066949 h 6072780"/>
                <a:gd name="connsiteX717" fmla="*/ 3434481 w 12117871"/>
                <a:gd name="connsiteY717" fmla="*/ 5066949 h 6072780"/>
                <a:gd name="connsiteX718" fmla="*/ 3434481 w 12117871"/>
                <a:gd name="connsiteY718" fmla="*/ 4887166 h 6072780"/>
                <a:gd name="connsiteX719" fmla="*/ 3413872 w 12117871"/>
                <a:gd name="connsiteY719" fmla="*/ 4898802 h 6072780"/>
                <a:gd name="connsiteX720" fmla="*/ 3388698 w 12117871"/>
                <a:gd name="connsiteY720" fmla="*/ 4907243 h 6072780"/>
                <a:gd name="connsiteX721" fmla="*/ 3388698 w 12117871"/>
                <a:gd name="connsiteY721" fmla="*/ 4877127 h 6072780"/>
                <a:gd name="connsiteX722" fmla="*/ 3405734 w 12117871"/>
                <a:gd name="connsiteY722" fmla="*/ 4871043 h 6072780"/>
                <a:gd name="connsiteX723" fmla="*/ 3421933 w 12117871"/>
                <a:gd name="connsiteY723" fmla="*/ 4863894 h 6072780"/>
                <a:gd name="connsiteX724" fmla="*/ 3438054 w 12117871"/>
                <a:gd name="connsiteY724" fmla="*/ 4855073 h 6072780"/>
                <a:gd name="connsiteX725" fmla="*/ 3454863 w 12117871"/>
                <a:gd name="connsiteY725" fmla="*/ 4843969 h 6072780"/>
                <a:gd name="connsiteX726" fmla="*/ 3158682 w 12117871"/>
                <a:gd name="connsiteY726" fmla="*/ 4843969 h 6072780"/>
                <a:gd name="connsiteX727" fmla="*/ 3173587 w 12117871"/>
                <a:gd name="connsiteY727" fmla="*/ 4843969 h 6072780"/>
                <a:gd name="connsiteX728" fmla="*/ 3173587 w 12117871"/>
                <a:gd name="connsiteY728" fmla="*/ 5066949 h 6072780"/>
                <a:gd name="connsiteX729" fmla="*/ 3138299 w 12117871"/>
                <a:gd name="connsiteY729" fmla="*/ 5066949 h 6072780"/>
                <a:gd name="connsiteX730" fmla="*/ 3138299 w 12117871"/>
                <a:gd name="connsiteY730" fmla="*/ 4887166 h 6072780"/>
                <a:gd name="connsiteX731" fmla="*/ 3117690 w 12117871"/>
                <a:gd name="connsiteY731" fmla="*/ 4898802 h 6072780"/>
                <a:gd name="connsiteX732" fmla="*/ 3092517 w 12117871"/>
                <a:gd name="connsiteY732" fmla="*/ 4907243 h 6072780"/>
                <a:gd name="connsiteX733" fmla="*/ 3092517 w 12117871"/>
                <a:gd name="connsiteY733" fmla="*/ 4877127 h 6072780"/>
                <a:gd name="connsiteX734" fmla="*/ 3109553 w 12117871"/>
                <a:gd name="connsiteY734" fmla="*/ 4871043 h 6072780"/>
                <a:gd name="connsiteX735" fmla="*/ 3125751 w 12117871"/>
                <a:gd name="connsiteY735" fmla="*/ 4863894 h 6072780"/>
                <a:gd name="connsiteX736" fmla="*/ 3141875 w 12117871"/>
                <a:gd name="connsiteY736" fmla="*/ 4855073 h 6072780"/>
                <a:gd name="connsiteX737" fmla="*/ 3158682 w 12117871"/>
                <a:gd name="connsiteY737" fmla="*/ 4843969 h 6072780"/>
                <a:gd name="connsiteX738" fmla="*/ 2489154 w 12117871"/>
                <a:gd name="connsiteY738" fmla="*/ 4843969 h 6072780"/>
                <a:gd name="connsiteX739" fmla="*/ 2504060 w 12117871"/>
                <a:gd name="connsiteY739" fmla="*/ 4843969 h 6072780"/>
                <a:gd name="connsiteX740" fmla="*/ 2504060 w 12117871"/>
                <a:gd name="connsiteY740" fmla="*/ 5066949 h 6072780"/>
                <a:gd name="connsiteX741" fmla="*/ 2468772 w 12117871"/>
                <a:gd name="connsiteY741" fmla="*/ 5066949 h 6072780"/>
                <a:gd name="connsiteX742" fmla="*/ 2468772 w 12117871"/>
                <a:gd name="connsiteY742" fmla="*/ 4887166 h 6072780"/>
                <a:gd name="connsiteX743" fmla="*/ 2448163 w 12117871"/>
                <a:gd name="connsiteY743" fmla="*/ 4898802 h 6072780"/>
                <a:gd name="connsiteX744" fmla="*/ 2422990 w 12117871"/>
                <a:gd name="connsiteY744" fmla="*/ 4907243 h 6072780"/>
                <a:gd name="connsiteX745" fmla="*/ 2422990 w 12117871"/>
                <a:gd name="connsiteY745" fmla="*/ 4877127 h 6072780"/>
                <a:gd name="connsiteX746" fmla="*/ 2440025 w 12117871"/>
                <a:gd name="connsiteY746" fmla="*/ 4871043 h 6072780"/>
                <a:gd name="connsiteX747" fmla="*/ 2456224 w 12117871"/>
                <a:gd name="connsiteY747" fmla="*/ 4863894 h 6072780"/>
                <a:gd name="connsiteX748" fmla="*/ 2472346 w 12117871"/>
                <a:gd name="connsiteY748" fmla="*/ 4855073 h 6072780"/>
                <a:gd name="connsiteX749" fmla="*/ 2489154 w 12117871"/>
                <a:gd name="connsiteY749" fmla="*/ 4843969 h 6072780"/>
                <a:gd name="connsiteX750" fmla="*/ 1599916 w 12117871"/>
                <a:gd name="connsiteY750" fmla="*/ 4843969 h 6072780"/>
                <a:gd name="connsiteX751" fmla="*/ 1614822 w 12117871"/>
                <a:gd name="connsiteY751" fmla="*/ 4843969 h 6072780"/>
                <a:gd name="connsiteX752" fmla="*/ 1614822 w 12117871"/>
                <a:gd name="connsiteY752" fmla="*/ 5066949 h 6072780"/>
                <a:gd name="connsiteX753" fmla="*/ 1579534 w 12117871"/>
                <a:gd name="connsiteY753" fmla="*/ 5066949 h 6072780"/>
                <a:gd name="connsiteX754" fmla="*/ 1579534 w 12117871"/>
                <a:gd name="connsiteY754" fmla="*/ 4887166 h 6072780"/>
                <a:gd name="connsiteX755" fmla="*/ 1558925 w 12117871"/>
                <a:gd name="connsiteY755" fmla="*/ 4898802 h 6072780"/>
                <a:gd name="connsiteX756" fmla="*/ 1533752 w 12117871"/>
                <a:gd name="connsiteY756" fmla="*/ 4907243 h 6072780"/>
                <a:gd name="connsiteX757" fmla="*/ 1533752 w 12117871"/>
                <a:gd name="connsiteY757" fmla="*/ 4877127 h 6072780"/>
                <a:gd name="connsiteX758" fmla="*/ 1550787 w 12117871"/>
                <a:gd name="connsiteY758" fmla="*/ 4871043 h 6072780"/>
                <a:gd name="connsiteX759" fmla="*/ 1566986 w 12117871"/>
                <a:gd name="connsiteY759" fmla="*/ 4863894 h 6072780"/>
                <a:gd name="connsiteX760" fmla="*/ 1583109 w 12117871"/>
                <a:gd name="connsiteY760" fmla="*/ 4855073 h 6072780"/>
                <a:gd name="connsiteX761" fmla="*/ 1599916 w 12117871"/>
                <a:gd name="connsiteY761" fmla="*/ 4843969 h 6072780"/>
                <a:gd name="connsiteX762" fmla="*/ 1302202 w 12117871"/>
                <a:gd name="connsiteY762" fmla="*/ 4843969 h 6072780"/>
                <a:gd name="connsiteX763" fmla="*/ 1317108 w 12117871"/>
                <a:gd name="connsiteY763" fmla="*/ 4843969 h 6072780"/>
                <a:gd name="connsiteX764" fmla="*/ 1317108 w 12117871"/>
                <a:gd name="connsiteY764" fmla="*/ 5066949 h 6072780"/>
                <a:gd name="connsiteX765" fmla="*/ 1281820 w 12117871"/>
                <a:gd name="connsiteY765" fmla="*/ 5066949 h 6072780"/>
                <a:gd name="connsiteX766" fmla="*/ 1281820 w 12117871"/>
                <a:gd name="connsiteY766" fmla="*/ 4887166 h 6072780"/>
                <a:gd name="connsiteX767" fmla="*/ 1261211 w 12117871"/>
                <a:gd name="connsiteY767" fmla="*/ 4898802 h 6072780"/>
                <a:gd name="connsiteX768" fmla="*/ 1236038 w 12117871"/>
                <a:gd name="connsiteY768" fmla="*/ 4907243 h 6072780"/>
                <a:gd name="connsiteX769" fmla="*/ 1236038 w 12117871"/>
                <a:gd name="connsiteY769" fmla="*/ 4877127 h 6072780"/>
                <a:gd name="connsiteX770" fmla="*/ 1253073 w 12117871"/>
                <a:gd name="connsiteY770" fmla="*/ 4871043 h 6072780"/>
                <a:gd name="connsiteX771" fmla="*/ 1269272 w 12117871"/>
                <a:gd name="connsiteY771" fmla="*/ 4863894 h 6072780"/>
                <a:gd name="connsiteX772" fmla="*/ 1285395 w 12117871"/>
                <a:gd name="connsiteY772" fmla="*/ 4855073 h 6072780"/>
                <a:gd name="connsiteX773" fmla="*/ 1302202 w 12117871"/>
                <a:gd name="connsiteY773" fmla="*/ 4843969 h 6072780"/>
                <a:gd name="connsiteX774" fmla="*/ 927321 w 12117871"/>
                <a:gd name="connsiteY774" fmla="*/ 4843969 h 6072780"/>
                <a:gd name="connsiteX775" fmla="*/ 942227 w 12117871"/>
                <a:gd name="connsiteY775" fmla="*/ 4843969 h 6072780"/>
                <a:gd name="connsiteX776" fmla="*/ 942227 w 12117871"/>
                <a:gd name="connsiteY776" fmla="*/ 5066949 h 6072780"/>
                <a:gd name="connsiteX777" fmla="*/ 906939 w 12117871"/>
                <a:gd name="connsiteY777" fmla="*/ 5066949 h 6072780"/>
                <a:gd name="connsiteX778" fmla="*/ 906939 w 12117871"/>
                <a:gd name="connsiteY778" fmla="*/ 4887166 h 6072780"/>
                <a:gd name="connsiteX779" fmla="*/ 886330 w 12117871"/>
                <a:gd name="connsiteY779" fmla="*/ 4898802 h 6072780"/>
                <a:gd name="connsiteX780" fmla="*/ 861157 w 12117871"/>
                <a:gd name="connsiteY780" fmla="*/ 4907243 h 6072780"/>
                <a:gd name="connsiteX781" fmla="*/ 861157 w 12117871"/>
                <a:gd name="connsiteY781" fmla="*/ 4877127 h 6072780"/>
                <a:gd name="connsiteX782" fmla="*/ 878192 w 12117871"/>
                <a:gd name="connsiteY782" fmla="*/ 4871043 h 6072780"/>
                <a:gd name="connsiteX783" fmla="*/ 894391 w 12117871"/>
                <a:gd name="connsiteY783" fmla="*/ 4863894 h 6072780"/>
                <a:gd name="connsiteX784" fmla="*/ 910514 w 12117871"/>
                <a:gd name="connsiteY784" fmla="*/ 4855073 h 6072780"/>
                <a:gd name="connsiteX785" fmla="*/ 927321 w 12117871"/>
                <a:gd name="connsiteY785" fmla="*/ 4843969 h 6072780"/>
                <a:gd name="connsiteX786" fmla="*/ 778464 w 12117871"/>
                <a:gd name="connsiteY786" fmla="*/ 4843969 h 6072780"/>
                <a:gd name="connsiteX787" fmla="*/ 793370 w 12117871"/>
                <a:gd name="connsiteY787" fmla="*/ 4843969 h 6072780"/>
                <a:gd name="connsiteX788" fmla="*/ 793370 w 12117871"/>
                <a:gd name="connsiteY788" fmla="*/ 5066949 h 6072780"/>
                <a:gd name="connsiteX789" fmla="*/ 758082 w 12117871"/>
                <a:gd name="connsiteY789" fmla="*/ 5066949 h 6072780"/>
                <a:gd name="connsiteX790" fmla="*/ 758082 w 12117871"/>
                <a:gd name="connsiteY790" fmla="*/ 4887166 h 6072780"/>
                <a:gd name="connsiteX791" fmla="*/ 737473 w 12117871"/>
                <a:gd name="connsiteY791" fmla="*/ 4898802 h 6072780"/>
                <a:gd name="connsiteX792" fmla="*/ 712300 w 12117871"/>
                <a:gd name="connsiteY792" fmla="*/ 4907243 h 6072780"/>
                <a:gd name="connsiteX793" fmla="*/ 712300 w 12117871"/>
                <a:gd name="connsiteY793" fmla="*/ 4877127 h 6072780"/>
                <a:gd name="connsiteX794" fmla="*/ 729335 w 12117871"/>
                <a:gd name="connsiteY794" fmla="*/ 4871043 h 6072780"/>
                <a:gd name="connsiteX795" fmla="*/ 745535 w 12117871"/>
                <a:gd name="connsiteY795" fmla="*/ 4863894 h 6072780"/>
                <a:gd name="connsiteX796" fmla="*/ 761657 w 12117871"/>
                <a:gd name="connsiteY796" fmla="*/ 4855073 h 6072780"/>
                <a:gd name="connsiteX797" fmla="*/ 778464 w 12117871"/>
                <a:gd name="connsiteY797" fmla="*/ 4843969 h 6072780"/>
                <a:gd name="connsiteX798" fmla="*/ 629607 w 12117871"/>
                <a:gd name="connsiteY798" fmla="*/ 4843969 h 6072780"/>
                <a:gd name="connsiteX799" fmla="*/ 644513 w 12117871"/>
                <a:gd name="connsiteY799" fmla="*/ 4843969 h 6072780"/>
                <a:gd name="connsiteX800" fmla="*/ 644513 w 12117871"/>
                <a:gd name="connsiteY800" fmla="*/ 5066949 h 6072780"/>
                <a:gd name="connsiteX801" fmla="*/ 609225 w 12117871"/>
                <a:gd name="connsiteY801" fmla="*/ 5066949 h 6072780"/>
                <a:gd name="connsiteX802" fmla="*/ 609225 w 12117871"/>
                <a:gd name="connsiteY802" fmla="*/ 4887166 h 6072780"/>
                <a:gd name="connsiteX803" fmla="*/ 588616 w 12117871"/>
                <a:gd name="connsiteY803" fmla="*/ 4898802 h 6072780"/>
                <a:gd name="connsiteX804" fmla="*/ 563443 w 12117871"/>
                <a:gd name="connsiteY804" fmla="*/ 4907243 h 6072780"/>
                <a:gd name="connsiteX805" fmla="*/ 563443 w 12117871"/>
                <a:gd name="connsiteY805" fmla="*/ 4877127 h 6072780"/>
                <a:gd name="connsiteX806" fmla="*/ 580478 w 12117871"/>
                <a:gd name="connsiteY806" fmla="*/ 4871043 h 6072780"/>
                <a:gd name="connsiteX807" fmla="*/ 596677 w 12117871"/>
                <a:gd name="connsiteY807" fmla="*/ 4863894 h 6072780"/>
                <a:gd name="connsiteX808" fmla="*/ 612800 w 12117871"/>
                <a:gd name="connsiteY808" fmla="*/ 4855073 h 6072780"/>
                <a:gd name="connsiteX809" fmla="*/ 629607 w 12117871"/>
                <a:gd name="connsiteY809" fmla="*/ 4843969 h 6072780"/>
                <a:gd name="connsiteX810" fmla="*/ 480750 w 12117871"/>
                <a:gd name="connsiteY810" fmla="*/ 4843969 h 6072780"/>
                <a:gd name="connsiteX811" fmla="*/ 495656 w 12117871"/>
                <a:gd name="connsiteY811" fmla="*/ 4843969 h 6072780"/>
                <a:gd name="connsiteX812" fmla="*/ 495656 w 12117871"/>
                <a:gd name="connsiteY812" fmla="*/ 5066949 h 6072780"/>
                <a:gd name="connsiteX813" fmla="*/ 460368 w 12117871"/>
                <a:gd name="connsiteY813" fmla="*/ 5066949 h 6072780"/>
                <a:gd name="connsiteX814" fmla="*/ 460368 w 12117871"/>
                <a:gd name="connsiteY814" fmla="*/ 4887166 h 6072780"/>
                <a:gd name="connsiteX815" fmla="*/ 439759 w 12117871"/>
                <a:gd name="connsiteY815" fmla="*/ 4898802 h 6072780"/>
                <a:gd name="connsiteX816" fmla="*/ 414586 w 12117871"/>
                <a:gd name="connsiteY816" fmla="*/ 4907243 h 6072780"/>
                <a:gd name="connsiteX817" fmla="*/ 414586 w 12117871"/>
                <a:gd name="connsiteY817" fmla="*/ 4877127 h 6072780"/>
                <a:gd name="connsiteX818" fmla="*/ 431621 w 12117871"/>
                <a:gd name="connsiteY818" fmla="*/ 4871043 h 6072780"/>
                <a:gd name="connsiteX819" fmla="*/ 447821 w 12117871"/>
                <a:gd name="connsiteY819" fmla="*/ 4863894 h 6072780"/>
                <a:gd name="connsiteX820" fmla="*/ 463943 w 12117871"/>
                <a:gd name="connsiteY820" fmla="*/ 4855073 h 6072780"/>
                <a:gd name="connsiteX821" fmla="*/ 480750 w 12117871"/>
                <a:gd name="connsiteY821" fmla="*/ 4843969 h 6072780"/>
                <a:gd name="connsiteX822" fmla="*/ 11874294 w 12117871"/>
                <a:gd name="connsiteY822" fmla="*/ 4534174 h 6072780"/>
                <a:gd name="connsiteX823" fmla="*/ 11835024 w 12117871"/>
                <a:gd name="connsiteY823" fmla="*/ 4620687 h 6072780"/>
                <a:gd name="connsiteX824" fmla="*/ 11873542 w 12117871"/>
                <a:gd name="connsiteY824" fmla="*/ 4701634 h 6072780"/>
                <a:gd name="connsiteX825" fmla="*/ 11911457 w 12117871"/>
                <a:gd name="connsiteY825" fmla="*/ 4619333 h 6072780"/>
                <a:gd name="connsiteX826" fmla="*/ 11874294 w 12117871"/>
                <a:gd name="connsiteY826" fmla="*/ 4534174 h 6072780"/>
                <a:gd name="connsiteX827" fmla="*/ 11189148 w 12117871"/>
                <a:gd name="connsiteY827" fmla="*/ 4534174 h 6072780"/>
                <a:gd name="connsiteX828" fmla="*/ 11149878 w 12117871"/>
                <a:gd name="connsiteY828" fmla="*/ 4620687 h 6072780"/>
                <a:gd name="connsiteX829" fmla="*/ 11188396 w 12117871"/>
                <a:gd name="connsiteY829" fmla="*/ 4701634 h 6072780"/>
                <a:gd name="connsiteX830" fmla="*/ 11226311 w 12117871"/>
                <a:gd name="connsiteY830" fmla="*/ 4619333 h 6072780"/>
                <a:gd name="connsiteX831" fmla="*/ 11189148 w 12117871"/>
                <a:gd name="connsiteY831" fmla="*/ 4534174 h 6072780"/>
                <a:gd name="connsiteX832" fmla="*/ 9936214 w 12117871"/>
                <a:gd name="connsiteY832" fmla="*/ 4534174 h 6072780"/>
                <a:gd name="connsiteX833" fmla="*/ 9896944 w 12117871"/>
                <a:gd name="connsiteY833" fmla="*/ 4620687 h 6072780"/>
                <a:gd name="connsiteX834" fmla="*/ 9935462 w 12117871"/>
                <a:gd name="connsiteY834" fmla="*/ 4701634 h 6072780"/>
                <a:gd name="connsiteX835" fmla="*/ 9973377 w 12117871"/>
                <a:gd name="connsiteY835" fmla="*/ 4619333 h 6072780"/>
                <a:gd name="connsiteX836" fmla="*/ 9936214 w 12117871"/>
                <a:gd name="connsiteY836" fmla="*/ 4534174 h 6072780"/>
                <a:gd name="connsiteX837" fmla="*/ 9713703 w 12117871"/>
                <a:gd name="connsiteY837" fmla="*/ 4534174 h 6072780"/>
                <a:gd name="connsiteX838" fmla="*/ 9674433 w 12117871"/>
                <a:gd name="connsiteY838" fmla="*/ 4620687 h 6072780"/>
                <a:gd name="connsiteX839" fmla="*/ 9712951 w 12117871"/>
                <a:gd name="connsiteY839" fmla="*/ 4701634 h 6072780"/>
                <a:gd name="connsiteX840" fmla="*/ 9750866 w 12117871"/>
                <a:gd name="connsiteY840" fmla="*/ 4619333 h 6072780"/>
                <a:gd name="connsiteX841" fmla="*/ 9713703 w 12117871"/>
                <a:gd name="connsiteY841" fmla="*/ 4534174 h 6072780"/>
                <a:gd name="connsiteX842" fmla="*/ 6372301 w 12117871"/>
                <a:gd name="connsiteY842" fmla="*/ 4534174 h 6072780"/>
                <a:gd name="connsiteX843" fmla="*/ 6333031 w 12117871"/>
                <a:gd name="connsiteY843" fmla="*/ 4620687 h 6072780"/>
                <a:gd name="connsiteX844" fmla="*/ 6371549 w 12117871"/>
                <a:gd name="connsiteY844" fmla="*/ 4701634 h 6072780"/>
                <a:gd name="connsiteX845" fmla="*/ 6409464 w 12117871"/>
                <a:gd name="connsiteY845" fmla="*/ 4619333 h 6072780"/>
                <a:gd name="connsiteX846" fmla="*/ 6372301 w 12117871"/>
                <a:gd name="connsiteY846" fmla="*/ 4534174 h 6072780"/>
                <a:gd name="connsiteX847" fmla="*/ 5784617 w 12117871"/>
                <a:gd name="connsiteY847" fmla="*/ 4534174 h 6072780"/>
                <a:gd name="connsiteX848" fmla="*/ 5745350 w 12117871"/>
                <a:gd name="connsiteY848" fmla="*/ 4620687 h 6072780"/>
                <a:gd name="connsiteX849" fmla="*/ 5783865 w 12117871"/>
                <a:gd name="connsiteY849" fmla="*/ 4701634 h 6072780"/>
                <a:gd name="connsiteX850" fmla="*/ 5821781 w 12117871"/>
                <a:gd name="connsiteY850" fmla="*/ 4619333 h 6072780"/>
                <a:gd name="connsiteX851" fmla="*/ 5784617 w 12117871"/>
                <a:gd name="connsiteY851" fmla="*/ 4534174 h 6072780"/>
                <a:gd name="connsiteX852" fmla="*/ 5091629 w 12117871"/>
                <a:gd name="connsiteY852" fmla="*/ 4534174 h 6072780"/>
                <a:gd name="connsiteX853" fmla="*/ 5052358 w 12117871"/>
                <a:gd name="connsiteY853" fmla="*/ 4620687 h 6072780"/>
                <a:gd name="connsiteX854" fmla="*/ 5090877 w 12117871"/>
                <a:gd name="connsiteY854" fmla="*/ 4701634 h 6072780"/>
                <a:gd name="connsiteX855" fmla="*/ 5128792 w 12117871"/>
                <a:gd name="connsiteY855" fmla="*/ 4619333 h 6072780"/>
                <a:gd name="connsiteX856" fmla="*/ 5091629 w 12117871"/>
                <a:gd name="connsiteY856" fmla="*/ 4534174 h 6072780"/>
                <a:gd name="connsiteX857" fmla="*/ 3837392 w 12117871"/>
                <a:gd name="connsiteY857" fmla="*/ 4534174 h 6072780"/>
                <a:gd name="connsiteX858" fmla="*/ 3798122 w 12117871"/>
                <a:gd name="connsiteY858" fmla="*/ 4620687 h 6072780"/>
                <a:gd name="connsiteX859" fmla="*/ 3836640 w 12117871"/>
                <a:gd name="connsiteY859" fmla="*/ 4701634 h 6072780"/>
                <a:gd name="connsiteX860" fmla="*/ 3874555 w 12117871"/>
                <a:gd name="connsiteY860" fmla="*/ 4619333 h 6072780"/>
                <a:gd name="connsiteX861" fmla="*/ 3837392 w 12117871"/>
                <a:gd name="connsiteY861" fmla="*/ 4534174 h 6072780"/>
                <a:gd name="connsiteX862" fmla="*/ 3614881 w 12117871"/>
                <a:gd name="connsiteY862" fmla="*/ 4534174 h 6072780"/>
                <a:gd name="connsiteX863" fmla="*/ 3575611 w 12117871"/>
                <a:gd name="connsiteY863" fmla="*/ 4620687 h 6072780"/>
                <a:gd name="connsiteX864" fmla="*/ 3614130 w 12117871"/>
                <a:gd name="connsiteY864" fmla="*/ 4701634 h 6072780"/>
                <a:gd name="connsiteX865" fmla="*/ 3652044 w 12117871"/>
                <a:gd name="connsiteY865" fmla="*/ 4619333 h 6072780"/>
                <a:gd name="connsiteX866" fmla="*/ 3614881 w 12117871"/>
                <a:gd name="connsiteY866" fmla="*/ 4534174 h 6072780"/>
                <a:gd name="connsiteX867" fmla="*/ 954478 w 12117871"/>
                <a:gd name="connsiteY867" fmla="*/ 4534174 h 6072780"/>
                <a:gd name="connsiteX868" fmla="*/ 915208 w 12117871"/>
                <a:gd name="connsiteY868" fmla="*/ 4620688 h 6072780"/>
                <a:gd name="connsiteX869" fmla="*/ 953726 w 12117871"/>
                <a:gd name="connsiteY869" fmla="*/ 4701635 h 6072780"/>
                <a:gd name="connsiteX870" fmla="*/ 991641 w 12117871"/>
                <a:gd name="connsiteY870" fmla="*/ 4619334 h 6072780"/>
                <a:gd name="connsiteX871" fmla="*/ 954478 w 12117871"/>
                <a:gd name="connsiteY871" fmla="*/ 4534174 h 6072780"/>
                <a:gd name="connsiteX872" fmla="*/ 778131 w 12117871"/>
                <a:gd name="connsiteY872" fmla="*/ 4534174 h 6072780"/>
                <a:gd name="connsiteX873" fmla="*/ 738861 w 12117871"/>
                <a:gd name="connsiteY873" fmla="*/ 4620688 h 6072780"/>
                <a:gd name="connsiteX874" fmla="*/ 777378 w 12117871"/>
                <a:gd name="connsiteY874" fmla="*/ 4701635 h 6072780"/>
                <a:gd name="connsiteX875" fmla="*/ 815294 w 12117871"/>
                <a:gd name="connsiteY875" fmla="*/ 4619334 h 6072780"/>
                <a:gd name="connsiteX876" fmla="*/ 778131 w 12117871"/>
                <a:gd name="connsiteY876" fmla="*/ 4534174 h 6072780"/>
                <a:gd name="connsiteX877" fmla="*/ 141104 w 12117871"/>
                <a:gd name="connsiteY877" fmla="*/ 4534174 h 6072780"/>
                <a:gd name="connsiteX878" fmla="*/ 101834 w 12117871"/>
                <a:gd name="connsiteY878" fmla="*/ 4620688 h 6072780"/>
                <a:gd name="connsiteX879" fmla="*/ 140352 w 12117871"/>
                <a:gd name="connsiteY879" fmla="*/ 4701635 h 6072780"/>
                <a:gd name="connsiteX880" fmla="*/ 178267 w 12117871"/>
                <a:gd name="connsiteY880" fmla="*/ 4619334 h 6072780"/>
                <a:gd name="connsiteX881" fmla="*/ 141104 w 12117871"/>
                <a:gd name="connsiteY881" fmla="*/ 4534174 h 6072780"/>
                <a:gd name="connsiteX882" fmla="*/ 12062430 w 12117871"/>
                <a:gd name="connsiteY882" fmla="*/ 4506339 h 6072780"/>
                <a:gd name="connsiteX883" fmla="*/ 12077336 w 12117871"/>
                <a:gd name="connsiteY883" fmla="*/ 4506339 h 6072780"/>
                <a:gd name="connsiteX884" fmla="*/ 12077336 w 12117871"/>
                <a:gd name="connsiteY884" fmla="*/ 4729319 h 6072780"/>
                <a:gd name="connsiteX885" fmla="*/ 12042048 w 12117871"/>
                <a:gd name="connsiteY885" fmla="*/ 4729319 h 6072780"/>
                <a:gd name="connsiteX886" fmla="*/ 12042048 w 12117871"/>
                <a:gd name="connsiteY886" fmla="*/ 4549535 h 6072780"/>
                <a:gd name="connsiteX887" fmla="*/ 12021439 w 12117871"/>
                <a:gd name="connsiteY887" fmla="*/ 4561171 h 6072780"/>
                <a:gd name="connsiteX888" fmla="*/ 11996266 w 12117871"/>
                <a:gd name="connsiteY888" fmla="*/ 4569613 h 6072780"/>
                <a:gd name="connsiteX889" fmla="*/ 11996266 w 12117871"/>
                <a:gd name="connsiteY889" fmla="*/ 4539497 h 6072780"/>
                <a:gd name="connsiteX890" fmla="*/ 12013301 w 12117871"/>
                <a:gd name="connsiteY890" fmla="*/ 4533413 h 6072780"/>
                <a:gd name="connsiteX891" fmla="*/ 12029500 w 12117871"/>
                <a:gd name="connsiteY891" fmla="*/ 4526264 h 6072780"/>
                <a:gd name="connsiteX892" fmla="*/ 12045623 w 12117871"/>
                <a:gd name="connsiteY892" fmla="*/ 4517442 h 6072780"/>
                <a:gd name="connsiteX893" fmla="*/ 12062430 w 12117871"/>
                <a:gd name="connsiteY893" fmla="*/ 4506339 h 6072780"/>
                <a:gd name="connsiteX894" fmla="*/ 11875949 w 12117871"/>
                <a:gd name="connsiteY894" fmla="*/ 4506339 h 6072780"/>
                <a:gd name="connsiteX895" fmla="*/ 11947116 w 12117871"/>
                <a:gd name="connsiteY895" fmla="*/ 4616926 h 6072780"/>
                <a:gd name="connsiteX896" fmla="*/ 11927030 w 12117871"/>
                <a:gd name="connsiteY896" fmla="*/ 4700506 h 6072780"/>
                <a:gd name="connsiteX897" fmla="*/ 11870833 w 12117871"/>
                <a:gd name="connsiteY897" fmla="*/ 4729319 h 6072780"/>
                <a:gd name="connsiteX898" fmla="*/ 11818248 w 12117871"/>
                <a:gd name="connsiteY898" fmla="*/ 4701785 h 6072780"/>
                <a:gd name="connsiteX899" fmla="*/ 11799365 w 12117871"/>
                <a:gd name="connsiteY899" fmla="*/ 4622192 h 6072780"/>
                <a:gd name="connsiteX900" fmla="*/ 11819075 w 12117871"/>
                <a:gd name="connsiteY900" fmla="*/ 4535678 h 6072780"/>
                <a:gd name="connsiteX901" fmla="*/ 11875949 w 12117871"/>
                <a:gd name="connsiteY901" fmla="*/ 4506339 h 6072780"/>
                <a:gd name="connsiteX902" fmla="*/ 11190803 w 12117871"/>
                <a:gd name="connsiteY902" fmla="*/ 4506339 h 6072780"/>
                <a:gd name="connsiteX903" fmla="*/ 11261970 w 12117871"/>
                <a:gd name="connsiteY903" fmla="*/ 4616926 h 6072780"/>
                <a:gd name="connsiteX904" fmla="*/ 11241884 w 12117871"/>
                <a:gd name="connsiteY904" fmla="*/ 4700506 h 6072780"/>
                <a:gd name="connsiteX905" fmla="*/ 11185687 w 12117871"/>
                <a:gd name="connsiteY905" fmla="*/ 4729319 h 6072780"/>
                <a:gd name="connsiteX906" fmla="*/ 11133102 w 12117871"/>
                <a:gd name="connsiteY906" fmla="*/ 4701785 h 6072780"/>
                <a:gd name="connsiteX907" fmla="*/ 11114219 w 12117871"/>
                <a:gd name="connsiteY907" fmla="*/ 4622192 h 6072780"/>
                <a:gd name="connsiteX908" fmla="*/ 11133929 w 12117871"/>
                <a:gd name="connsiteY908" fmla="*/ 4535678 h 6072780"/>
                <a:gd name="connsiteX909" fmla="*/ 11190803 w 12117871"/>
                <a:gd name="connsiteY909" fmla="*/ 4506339 h 6072780"/>
                <a:gd name="connsiteX910" fmla="*/ 10143427 w 12117871"/>
                <a:gd name="connsiteY910" fmla="*/ 4506339 h 6072780"/>
                <a:gd name="connsiteX911" fmla="*/ 10158333 w 12117871"/>
                <a:gd name="connsiteY911" fmla="*/ 4506339 h 6072780"/>
                <a:gd name="connsiteX912" fmla="*/ 10158333 w 12117871"/>
                <a:gd name="connsiteY912" fmla="*/ 4729319 h 6072780"/>
                <a:gd name="connsiteX913" fmla="*/ 10123045 w 12117871"/>
                <a:gd name="connsiteY913" fmla="*/ 4729319 h 6072780"/>
                <a:gd name="connsiteX914" fmla="*/ 10123045 w 12117871"/>
                <a:gd name="connsiteY914" fmla="*/ 4549535 h 6072780"/>
                <a:gd name="connsiteX915" fmla="*/ 10102436 w 12117871"/>
                <a:gd name="connsiteY915" fmla="*/ 4561171 h 6072780"/>
                <a:gd name="connsiteX916" fmla="*/ 10077263 w 12117871"/>
                <a:gd name="connsiteY916" fmla="*/ 4569613 h 6072780"/>
                <a:gd name="connsiteX917" fmla="*/ 10077263 w 12117871"/>
                <a:gd name="connsiteY917" fmla="*/ 4539497 h 6072780"/>
                <a:gd name="connsiteX918" fmla="*/ 10094298 w 12117871"/>
                <a:gd name="connsiteY918" fmla="*/ 4533413 h 6072780"/>
                <a:gd name="connsiteX919" fmla="*/ 10110497 w 12117871"/>
                <a:gd name="connsiteY919" fmla="*/ 4526264 h 6072780"/>
                <a:gd name="connsiteX920" fmla="*/ 10126620 w 12117871"/>
                <a:gd name="connsiteY920" fmla="*/ 4517442 h 6072780"/>
                <a:gd name="connsiteX921" fmla="*/ 10143427 w 12117871"/>
                <a:gd name="connsiteY921" fmla="*/ 4506339 h 6072780"/>
                <a:gd name="connsiteX922" fmla="*/ 9937869 w 12117871"/>
                <a:gd name="connsiteY922" fmla="*/ 4506339 h 6072780"/>
                <a:gd name="connsiteX923" fmla="*/ 10009036 w 12117871"/>
                <a:gd name="connsiteY923" fmla="*/ 4616926 h 6072780"/>
                <a:gd name="connsiteX924" fmla="*/ 9988950 w 12117871"/>
                <a:gd name="connsiteY924" fmla="*/ 4700506 h 6072780"/>
                <a:gd name="connsiteX925" fmla="*/ 9932753 w 12117871"/>
                <a:gd name="connsiteY925" fmla="*/ 4729319 h 6072780"/>
                <a:gd name="connsiteX926" fmla="*/ 9880168 w 12117871"/>
                <a:gd name="connsiteY926" fmla="*/ 4701785 h 6072780"/>
                <a:gd name="connsiteX927" fmla="*/ 9861285 w 12117871"/>
                <a:gd name="connsiteY927" fmla="*/ 4622192 h 6072780"/>
                <a:gd name="connsiteX928" fmla="*/ 9880995 w 12117871"/>
                <a:gd name="connsiteY928" fmla="*/ 4535678 h 6072780"/>
                <a:gd name="connsiteX929" fmla="*/ 9937869 w 12117871"/>
                <a:gd name="connsiteY929" fmla="*/ 4506339 h 6072780"/>
                <a:gd name="connsiteX930" fmla="*/ 9715358 w 12117871"/>
                <a:gd name="connsiteY930" fmla="*/ 4506339 h 6072780"/>
                <a:gd name="connsiteX931" fmla="*/ 9786525 w 12117871"/>
                <a:gd name="connsiteY931" fmla="*/ 4616926 h 6072780"/>
                <a:gd name="connsiteX932" fmla="*/ 9766439 w 12117871"/>
                <a:gd name="connsiteY932" fmla="*/ 4700506 h 6072780"/>
                <a:gd name="connsiteX933" fmla="*/ 9710242 w 12117871"/>
                <a:gd name="connsiteY933" fmla="*/ 4729319 h 6072780"/>
                <a:gd name="connsiteX934" fmla="*/ 9657657 w 12117871"/>
                <a:gd name="connsiteY934" fmla="*/ 4701785 h 6072780"/>
                <a:gd name="connsiteX935" fmla="*/ 9638774 w 12117871"/>
                <a:gd name="connsiteY935" fmla="*/ 4622192 h 6072780"/>
                <a:gd name="connsiteX936" fmla="*/ 9658484 w 12117871"/>
                <a:gd name="connsiteY936" fmla="*/ 4535678 h 6072780"/>
                <a:gd name="connsiteX937" fmla="*/ 9715358 w 12117871"/>
                <a:gd name="connsiteY937" fmla="*/ 4506339 h 6072780"/>
                <a:gd name="connsiteX938" fmla="*/ 9557012 w 12117871"/>
                <a:gd name="connsiteY938" fmla="*/ 4506339 h 6072780"/>
                <a:gd name="connsiteX939" fmla="*/ 9571918 w 12117871"/>
                <a:gd name="connsiteY939" fmla="*/ 4506339 h 6072780"/>
                <a:gd name="connsiteX940" fmla="*/ 9571918 w 12117871"/>
                <a:gd name="connsiteY940" fmla="*/ 4729319 h 6072780"/>
                <a:gd name="connsiteX941" fmla="*/ 9536630 w 12117871"/>
                <a:gd name="connsiteY941" fmla="*/ 4729319 h 6072780"/>
                <a:gd name="connsiteX942" fmla="*/ 9536630 w 12117871"/>
                <a:gd name="connsiteY942" fmla="*/ 4549535 h 6072780"/>
                <a:gd name="connsiteX943" fmla="*/ 9516021 w 12117871"/>
                <a:gd name="connsiteY943" fmla="*/ 4561171 h 6072780"/>
                <a:gd name="connsiteX944" fmla="*/ 9490848 w 12117871"/>
                <a:gd name="connsiteY944" fmla="*/ 4569613 h 6072780"/>
                <a:gd name="connsiteX945" fmla="*/ 9490848 w 12117871"/>
                <a:gd name="connsiteY945" fmla="*/ 4539497 h 6072780"/>
                <a:gd name="connsiteX946" fmla="*/ 9507883 w 12117871"/>
                <a:gd name="connsiteY946" fmla="*/ 4533413 h 6072780"/>
                <a:gd name="connsiteX947" fmla="*/ 9524082 w 12117871"/>
                <a:gd name="connsiteY947" fmla="*/ 4526264 h 6072780"/>
                <a:gd name="connsiteX948" fmla="*/ 9540205 w 12117871"/>
                <a:gd name="connsiteY948" fmla="*/ 4517442 h 6072780"/>
                <a:gd name="connsiteX949" fmla="*/ 9557012 w 12117871"/>
                <a:gd name="connsiteY949" fmla="*/ 4506339 h 6072780"/>
                <a:gd name="connsiteX950" fmla="*/ 9254256 w 12117871"/>
                <a:gd name="connsiteY950" fmla="*/ 4506339 h 6072780"/>
                <a:gd name="connsiteX951" fmla="*/ 9269162 w 12117871"/>
                <a:gd name="connsiteY951" fmla="*/ 4506339 h 6072780"/>
                <a:gd name="connsiteX952" fmla="*/ 9269162 w 12117871"/>
                <a:gd name="connsiteY952" fmla="*/ 4729319 h 6072780"/>
                <a:gd name="connsiteX953" fmla="*/ 9233874 w 12117871"/>
                <a:gd name="connsiteY953" fmla="*/ 4729319 h 6072780"/>
                <a:gd name="connsiteX954" fmla="*/ 9233874 w 12117871"/>
                <a:gd name="connsiteY954" fmla="*/ 4549535 h 6072780"/>
                <a:gd name="connsiteX955" fmla="*/ 9213265 w 12117871"/>
                <a:gd name="connsiteY955" fmla="*/ 4561171 h 6072780"/>
                <a:gd name="connsiteX956" fmla="*/ 9188092 w 12117871"/>
                <a:gd name="connsiteY956" fmla="*/ 4569613 h 6072780"/>
                <a:gd name="connsiteX957" fmla="*/ 9188092 w 12117871"/>
                <a:gd name="connsiteY957" fmla="*/ 4539497 h 6072780"/>
                <a:gd name="connsiteX958" fmla="*/ 9205127 w 12117871"/>
                <a:gd name="connsiteY958" fmla="*/ 4533413 h 6072780"/>
                <a:gd name="connsiteX959" fmla="*/ 9221326 w 12117871"/>
                <a:gd name="connsiteY959" fmla="*/ 4526264 h 6072780"/>
                <a:gd name="connsiteX960" fmla="*/ 9237449 w 12117871"/>
                <a:gd name="connsiteY960" fmla="*/ 4517442 h 6072780"/>
                <a:gd name="connsiteX961" fmla="*/ 9254256 w 12117871"/>
                <a:gd name="connsiteY961" fmla="*/ 4506339 h 6072780"/>
                <a:gd name="connsiteX962" fmla="*/ 7851748 w 12117871"/>
                <a:gd name="connsiteY962" fmla="*/ 4506339 h 6072780"/>
                <a:gd name="connsiteX963" fmla="*/ 7866654 w 12117871"/>
                <a:gd name="connsiteY963" fmla="*/ 4506339 h 6072780"/>
                <a:gd name="connsiteX964" fmla="*/ 7866654 w 12117871"/>
                <a:gd name="connsiteY964" fmla="*/ 4729319 h 6072780"/>
                <a:gd name="connsiteX965" fmla="*/ 7831366 w 12117871"/>
                <a:gd name="connsiteY965" fmla="*/ 4729319 h 6072780"/>
                <a:gd name="connsiteX966" fmla="*/ 7831366 w 12117871"/>
                <a:gd name="connsiteY966" fmla="*/ 4549535 h 6072780"/>
                <a:gd name="connsiteX967" fmla="*/ 7810757 w 12117871"/>
                <a:gd name="connsiteY967" fmla="*/ 4561171 h 6072780"/>
                <a:gd name="connsiteX968" fmla="*/ 7785584 w 12117871"/>
                <a:gd name="connsiteY968" fmla="*/ 4569613 h 6072780"/>
                <a:gd name="connsiteX969" fmla="*/ 7785584 w 12117871"/>
                <a:gd name="connsiteY969" fmla="*/ 4539497 h 6072780"/>
                <a:gd name="connsiteX970" fmla="*/ 7802619 w 12117871"/>
                <a:gd name="connsiteY970" fmla="*/ 4533413 h 6072780"/>
                <a:gd name="connsiteX971" fmla="*/ 7818818 w 12117871"/>
                <a:gd name="connsiteY971" fmla="*/ 4526264 h 6072780"/>
                <a:gd name="connsiteX972" fmla="*/ 7834941 w 12117871"/>
                <a:gd name="connsiteY972" fmla="*/ 4517442 h 6072780"/>
                <a:gd name="connsiteX973" fmla="*/ 7851748 w 12117871"/>
                <a:gd name="connsiteY973" fmla="*/ 4506339 h 6072780"/>
                <a:gd name="connsiteX974" fmla="*/ 7413731 w 12117871"/>
                <a:gd name="connsiteY974" fmla="*/ 4506339 h 6072780"/>
                <a:gd name="connsiteX975" fmla="*/ 7428637 w 12117871"/>
                <a:gd name="connsiteY975" fmla="*/ 4506339 h 6072780"/>
                <a:gd name="connsiteX976" fmla="*/ 7428637 w 12117871"/>
                <a:gd name="connsiteY976" fmla="*/ 4729319 h 6072780"/>
                <a:gd name="connsiteX977" fmla="*/ 7393349 w 12117871"/>
                <a:gd name="connsiteY977" fmla="*/ 4729319 h 6072780"/>
                <a:gd name="connsiteX978" fmla="*/ 7393349 w 12117871"/>
                <a:gd name="connsiteY978" fmla="*/ 4549535 h 6072780"/>
                <a:gd name="connsiteX979" fmla="*/ 7372740 w 12117871"/>
                <a:gd name="connsiteY979" fmla="*/ 4561171 h 6072780"/>
                <a:gd name="connsiteX980" fmla="*/ 7347567 w 12117871"/>
                <a:gd name="connsiteY980" fmla="*/ 4569613 h 6072780"/>
                <a:gd name="connsiteX981" fmla="*/ 7347567 w 12117871"/>
                <a:gd name="connsiteY981" fmla="*/ 4539497 h 6072780"/>
                <a:gd name="connsiteX982" fmla="*/ 7364602 w 12117871"/>
                <a:gd name="connsiteY982" fmla="*/ 4533413 h 6072780"/>
                <a:gd name="connsiteX983" fmla="*/ 7380801 w 12117871"/>
                <a:gd name="connsiteY983" fmla="*/ 4526264 h 6072780"/>
                <a:gd name="connsiteX984" fmla="*/ 7396924 w 12117871"/>
                <a:gd name="connsiteY984" fmla="*/ 4517442 h 6072780"/>
                <a:gd name="connsiteX985" fmla="*/ 7413731 w 12117871"/>
                <a:gd name="connsiteY985" fmla="*/ 4506339 h 6072780"/>
                <a:gd name="connsiteX986" fmla="*/ 7015147 w 12117871"/>
                <a:gd name="connsiteY986" fmla="*/ 4506339 h 6072780"/>
                <a:gd name="connsiteX987" fmla="*/ 7030053 w 12117871"/>
                <a:gd name="connsiteY987" fmla="*/ 4506339 h 6072780"/>
                <a:gd name="connsiteX988" fmla="*/ 7030053 w 12117871"/>
                <a:gd name="connsiteY988" fmla="*/ 4729319 h 6072780"/>
                <a:gd name="connsiteX989" fmla="*/ 6994765 w 12117871"/>
                <a:gd name="connsiteY989" fmla="*/ 4729319 h 6072780"/>
                <a:gd name="connsiteX990" fmla="*/ 6994765 w 12117871"/>
                <a:gd name="connsiteY990" fmla="*/ 4549535 h 6072780"/>
                <a:gd name="connsiteX991" fmla="*/ 6974156 w 12117871"/>
                <a:gd name="connsiteY991" fmla="*/ 4561171 h 6072780"/>
                <a:gd name="connsiteX992" fmla="*/ 6948983 w 12117871"/>
                <a:gd name="connsiteY992" fmla="*/ 4569613 h 6072780"/>
                <a:gd name="connsiteX993" fmla="*/ 6948983 w 12117871"/>
                <a:gd name="connsiteY993" fmla="*/ 4539497 h 6072780"/>
                <a:gd name="connsiteX994" fmla="*/ 6966018 w 12117871"/>
                <a:gd name="connsiteY994" fmla="*/ 4533413 h 6072780"/>
                <a:gd name="connsiteX995" fmla="*/ 6982217 w 12117871"/>
                <a:gd name="connsiteY995" fmla="*/ 4526264 h 6072780"/>
                <a:gd name="connsiteX996" fmla="*/ 6998340 w 12117871"/>
                <a:gd name="connsiteY996" fmla="*/ 4517442 h 6072780"/>
                <a:gd name="connsiteX997" fmla="*/ 7015147 w 12117871"/>
                <a:gd name="connsiteY997" fmla="*/ 4506339 h 6072780"/>
                <a:gd name="connsiteX998" fmla="*/ 6727931 w 12117871"/>
                <a:gd name="connsiteY998" fmla="*/ 4506339 h 6072780"/>
                <a:gd name="connsiteX999" fmla="*/ 6742837 w 12117871"/>
                <a:gd name="connsiteY999" fmla="*/ 4506339 h 6072780"/>
                <a:gd name="connsiteX1000" fmla="*/ 6742837 w 12117871"/>
                <a:gd name="connsiteY1000" fmla="*/ 4729319 h 6072780"/>
                <a:gd name="connsiteX1001" fmla="*/ 6707549 w 12117871"/>
                <a:gd name="connsiteY1001" fmla="*/ 4729319 h 6072780"/>
                <a:gd name="connsiteX1002" fmla="*/ 6707549 w 12117871"/>
                <a:gd name="connsiteY1002" fmla="*/ 4549535 h 6072780"/>
                <a:gd name="connsiteX1003" fmla="*/ 6686940 w 12117871"/>
                <a:gd name="connsiteY1003" fmla="*/ 4561171 h 6072780"/>
                <a:gd name="connsiteX1004" fmla="*/ 6661767 w 12117871"/>
                <a:gd name="connsiteY1004" fmla="*/ 4569613 h 6072780"/>
                <a:gd name="connsiteX1005" fmla="*/ 6661767 w 12117871"/>
                <a:gd name="connsiteY1005" fmla="*/ 4539497 h 6072780"/>
                <a:gd name="connsiteX1006" fmla="*/ 6678802 w 12117871"/>
                <a:gd name="connsiteY1006" fmla="*/ 4533413 h 6072780"/>
                <a:gd name="connsiteX1007" fmla="*/ 6695001 w 12117871"/>
                <a:gd name="connsiteY1007" fmla="*/ 4526264 h 6072780"/>
                <a:gd name="connsiteX1008" fmla="*/ 6711124 w 12117871"/>
                <a:gd name="connsiteY1008" fmla="*/ 4517442 h 6072780"/>
                <a:gd name="connsiteX1009" fmla="*/ 6727931 w 12117871"/>
                <a:gd name="connsiteY1009" fmla="*/ 4506339 h 6072780"/>
                <a:gd name="connsiteX1010" fmla="*/ 6584323 w 12117871"/>
                <a:gd name="connsiteY1010" fmla="*/ 4506339 h 6072780"/>
                <a:gd name="connsiteX1011" fmla="*/ 6599229 w 12117871"/>
                <a:gd name="connsiteY1011" fmla="*/ 4506339 h 6072780"/>
                <a:gd name="connsiteX1012" fmla="*/ 6599229 w 12117871"/>
                <a:gd name="connsiteY1012" fmla="*/ 4729319 h 6072780"/>
                <a:gd name="connsiteX1013" fmla="*/ 6563941 w 12117871"/>
                <a:gd name="connsiteY1013" fmla="*/ 4729319 h 6072780"/>
                <a:gd name="connsiteX1014" fmla="*/ 6563941 w 12117871"/>
                <a:gd name="connsiteY1014" fmla="*/ 4549535 h 6072780"/>
                <a:gd name="connsiteX1015" fmla="*/ 6543332 w 12117871"/>
                <a:gd name="connsiteY1015" fmla="*/ 4561171 h 6072780"/>
                <a:gd name="connsiteX1016" fmla="*/ 6518159 w 12117871"/>
                <a:gd name="connsiteY1016" fmla="*/ 4569613 h 6072780"/>
                <a:gd name="connsiteX1017" fmla="*/ 6518159 w 12117871"/>
                <a:gd name="connsiteY1017" fmla="*/ 4539497 h 6072780"/>
                <a:gd name="connsiteX1018" fmla="*/ 6535194 w 12117871"/>
                <a:gd name="connsiteY1018" fmla="*/ 4533413 h 6072780"/>
                <a:gd name="connsiteX1019" fmla="*/ 6551393 w 12117871"/>
                <a:gd name="connsiteY1019" fmla="*/ 4526264 h 6072780"/>
                <a:gd name="connsiteX1020" fmla="*/ 6567516 w 12117871"/>
                <a:gd name="connsiteY1020" fmla="*/ 4517442 h 6072780"/>
                <a:gd name="connsiteX1021" fmla="*/ 6584323 w 12117871"/>
                <a:gd name="connsiteY1021" fmla="*/ 4506339 h 6072780"/>
                <a:gd name="connsiteX1022" fmla="*/ 6373956 w 12117871"/>
                <a:gd name="connsiteY1022" fmla="*/ 4506339 h 6072780"/>
                <a:gd name="connsiteX1023" fmla="*/ 6445123 w 12117871"/>
                <a:gd name="connsiteY1023" fmla="*/ 4616926 h 6072780"/>
                <a:gd name="connsiteX1024" fmla="*/ 6425037 w 12117871"/>
                <a:gd name="connsiteY1024" fmla="*/ 4700506 h 6072780"/>
                <a:gd name="connsiteX1025" fmla="*/ 6368840 w 12117871"/>
                <a:gd name="connsiteY1025" fmla="*/ 4729319 h 6072780"/>
                <a:gd name="connsiteX1026" fmla="*/ 6316255 w 12117871"/>
                <a:gd name="connsiteY1026" fmla="*/ 4701785 h 6072780"/>
                <a:gd name="connsiteX1027" fmla="*/ 6297372 w 12117871"/>
                <a:gd name="connsiteY1027" fmla="*/ 4622192 h 6072780"/>
                <a:gd name="connsiteX1028" fmla="*/ 6317082 w 12117871"/>
                <a:gd name="connsiteY1028" fmla="*/ 4535678 h 6072780"/>
                <a:gd name="connsiteX1029" fmla="*/ 6373956 w 12117871"/>
                <a:gd name="connsiteY1029" fmla="*/ 4506339 h 6072780"/>
                <a:gd name="connsiteX1030" fmla="*/ 5975659 w 12117871"/>
                <a:gd name="connsiteY1030" fmla="*/ 4506339 h 6072780"/>
                <a:gd name="connsiteX1031" fmla="*/ 5990568 w 12117871"/>
                <a:gd name="connsiteY1031" fmla="*/ 4506339 h 6072780"/>
                <a:gd name="connsiteX1032" fmla="*/ 5990568 w 12117871"/>
                <a:gd name="connsiteY1032" fmla="*/ 4729319 h 6072780"/>
                <a:gd name="connsiteX1033" fmla="*/ 5955278 w 12117871"/>
                <a:gd name="connsiteY1033" fmla="*/ 4729319 h 6072780"/>
                <a:gd name="connsiteX1034" fmla="*/ 5955278 w 12117871"/>
                <a:gd name="connsiteY1034" fmla="*/ 4549535 h 6072780"/>
                <a:gd name="connsiteX1035" fmla="*/ 5934669 w 12117871"/>
                <a:gd name="connsiteY1035" fmla="*/ 4561171 h 6072780"/>
                <a:gd name="connsiteX1036" fmla="*/ 5909498 w 12117871"/>
                <a:gd name="connsiteY1036" fmla="*/ 4569613 h 6072780"/>
                <a:gd name="connsiteX1037" fmla="*/ 5909498 w 12117871"/>
                <a:gd name="connsiteY1037" fmla="*/ 4539497 h 6072780"/>
                <a:gd name="connsiteX1038" fmla="*/ 5926531 w 12117871"/>
                <a:gd name="connsiteY1038" fmla="*/ 4533413 h 6072780"/>
                <a:gd name="connsiteX1039" fmla="*/ 5942730 w 12117871"/>
                <a:gd name="connsiteY1039" fmla="*/ 4526264 h 6072780"/>
                <a:gd name="connsiteX1040" fmla="*/ 5958852 w 12117871"/>
                <a:gd name="connsiteY1040" fmla="*/ 4517442 h 6072780"/>
                <a:gd name="connsiteX1041" fmla="*/ 5975659 w 12117871"/>
                <a:gd name="connsiteY1041" fmla="*/ 4506339 h 6072780"/>
                <a:gd name="connsiteX1042" fmla="*/ 5786272 w 12117871"/>
                <a:gd name="connsiteY1042" fmla="*/ 4506339 h 6072780"/>
                <a:gd name="connsiteX1043" fmla="*/ 5857440 w 12117871"/>
                <a:gd name="connsiteY1043" fmla="*/ 4616926 h 6072780"/>
                <a:gd name="connsiteX1044" fmla="*/ 5837355 w 12117871"/>
                <a:gd name="connsiteY1044" fmla="*/ 4700506 h 6072780"/>
                <a:gd name="connsiteX1045" fmla="*/ 5781158 w 12117871"/>
                <a:gd name="connsiteY1045" fmla="*/ 4729319 h 6072780"/>
                <a:gd name="connsiteX1046" fmla="*/ 5728572 w 12117871"/>
                <a:gd name="connsiteY1046" fmla="*/ 4701785 h 6072780"/>
                <a:gd name="connsiteX1047" fmla="*/ 5709690 w 12117871"/>
                <a:gd name="connsiteY1047" fmla="*/ 4622192 h 6072780"/>
                <a:gd name="connsiteX1048" fmla="*/ 5729400 w 12117871"/>
                <a:gd name="connsiteY1048" fmla="*/ 4535678 h 6072780"/>
                <a:gd name="connsiteX1049" fmla="*/ 5786272 w 12117871"/>
                <a:gd name="connsiteY1049" fmla="*/ 4506339 h 6072780"/>
                <a:gd name="connsiteX1050" fmla="*/ 5093284 w 12117871"/>
                <a:gd name="connsiteY1050" fmla="*/ 4506339 h 6072780"/>
                <a:gd name="connsiteX1051" fmla="*/ 5164451 w 12117871"/>
                <a:gd name="connsiteY1051" fmla="*/ 4616926 h 6072780"/>
                <a:gd name="connsiteX1052" fmla="*/ 5144364 w 12117871"/>
                <a:gd name="connsiteY1052" fmla="*/ 4700506 h 6072780"/>
                <a:gd name="connsiteX1053" fmla="*/ 5088168 w 12117871"/>
                <a:gd name="connsiteY1053" fmla="*/ 4729319 h 6072780"/>
                <a:gd name="connsiteX1054" fmla="*/ 5035583 w 12117871"/>
                <a:gd name="connsiteY1054" fmla="*/ 4701785 h 6072780"/>
                <a:gd name="connsiteX1055" fmla="*/ 5016700 w 12117871"/>
                <a:gd name="connsiteY1055" fmla="*/ 4622192 h 6072780"/>
                <a:gd name="connsiteX1056" fmla="*/ 5036410 w 12117871"/>
                <a:gd name="connsiteY1056" fmla="*/ 4535678 h 6072780"/>
                <a:gd name="connsiteX1057" fmla="*/ 5093284 w 12117871"/>
                <a:gd name="connsiteY1057" fmla="*/ 4506339 h 6072780"/>
                <a:gd name="connsiteX1058" fmla="*/ 4694968 w 12117871"/>
                <a:gd name="connsiteY1058" fmla="*/ 4506339 h 6072780"/>
                <a:gd name="connsiteX1059" fmla="*/ 4709876 w 12117871"/>
                <a:gd name="connsiteY1059" fmla="*/ 4506339 h 6072780"/>
                <a:gd name="connsiteX1060" fmla="*/ 4709876 w 12117871"/>
                <a:gd name="connsiteY1060" fmla="*/ 4729319 h 6072780"/>
                <a:gd name="connsiteX1061" fmla="*/ 4674589 w 12117871"/>
                <a:gd name="connsiteY1061" fmla="*/ 4729319 h 6072780"/>
                <a:gd name="connsiteX1062" fmla="*/ 4674589 w 12117871"/>
                <a:gd name="connsiteY1062" fmla="*/ 4549535 h 6072780"/>
                <a:gd name="connsiteX1063" fmla="*/ 4653978 w 12117871"/>
                <a:gd name="connsiteY1063" fmla="*/ 4561171 h 6072780"/>
                <a:gd name="connsiteX1064" fmla="*/ 4628805 w 12117871"/>
                <a:gd name="connsiteY1064" fmla="*/ 4569613 h 6072780"/>
                <a:gd name="connsiteX1065" fmla="*/ 4628805 w 12117871"/>
                <a:gd name="connsiteY1065" fmla="*/ 4539497 h 6072780"/>
                <a:gd name="connsiteX1066" fmla="*/ 4645841 w 12117871"/>
                <a:gd name="connsiteY1066" fmla="*/ 4533413 h 6072780"/>
                <a:gd name="connsiteX1067" fmla="*/ 4662040 w 12117871"/>
                <a:gd name="connsiteY1067" fmla="*/ 4526264 h 6072780"/>
                <a:gd name="connsiteX1068" fmla="*/ 4678162 w 12117871"/>
                <a:gd name="connsiteY1068" fmla="*/ 4517442 h 6072780"/>
                <a:gd name="connsiteX1069" fmla="*/ 4694968 w 12117871"/>
                <a:gd name="connsiteY1069" fmla="*/ 4506339 h 6072780"/>
                <a:gd name="connsiteX1070" fmla="*/ 4345906 w 12117871"/>
                <a:gd name="connsiteY1070" fmla="*/ 4506339 h 6072780"/>
                <a:gd name="connsiteX1071" fmla="*/ 4360813 w 12117871"/>
                <a:gd name="connsiteY1071" fmla="*/ 4506339 h 6072780"/>
                <a:gd name="connsiteX1072" fmla="*/ 4360813 w 12117871"/>
                <a:gd name="connsiteY1072" fmla="*/ 4729319 h 6072780"/>
                <a:gd name="connsiteX1073" fmla="*/ 4325525 w 12117871"/>
                <a:gd name="connsiteY1073" fmla="*/ 4729319 h 6072780"/>
                <a:gd name="connsiteX1074" fmla="*/ 4325525 w 12117871"/>
                <a:gd name="connsiteY1074" fmla="*/ 4549535 h 6072780"/>
                <a:gd name="connsiteX1075" fmla="*/ 4304915 w 12117871"/>
                <a:gd name="connsiteY1075" fmla="*/ 4561171 h 6072780"/>
                <a:gd name="connsiteX1076" fmla="*/ 4279743 w 12117871"/>
                <a:gd name="connsiteY1076" fmla="*/ 4569613 h 6072780"/>
                <a:gd name="connsiteX1077" fmla="*/ 4279743 w 12117871"/>
                <a:gd name="connsiteY1077" fmla="*/ 4539497 h 6072780"/>
                <a:gd name="connsiteX1078" fmla="*/ 4296778 w 12117871"/>
                <a:gd name="connsiteY1078" fmla="*/ 4533413 h 6072780"/>
                <a:gd name="connsiteX1079" fmla="*/ 4312977 w 12117871"/>
                <a:gd name="connsiteY1079" fmla="*/ 4526264 h 6072780"/>
                <a:gd name="connsiteX1080" fmla="*/ 4329099 w 12117871"/>
                <a:gd name="connsiteY1080" fmla="*/ 4517442 h 6072780"/>
                <a:gd name="connsiteX1081" fmla="*/ 4345906 w 12117871"/>
                <a:gd name="connsiteY1081" fmla="*/ 4506339 h 6072780"/>
                <a:gd name="connsiteX1082" fmla="*/ 3839047 w 12117871"/>
                <a:gd name="connsiteY1082" fmla="*/ 4506339 h 6072780"/>
                <a:gd name="connsiteX1083" fmla="*/ 3910214 w 12117871"/>
                <a:gd name="connsiteY1083" fmla="*/ 4616926 h 6072780"/>
                <a:gd name="connsiteX1084" fmla="*/ 3890128 w 12117871"/>
                <a:gd name="connsiteY1084" fmla="*/ 4700506 h 6072780"/>
                <a:gd name="connsiteX1085" fmla="*/ 3833931 w 12117871"/>
                <a:gd name="connsiteY1085" fmla="*/ 4729319 h 6072780"/>
                <a:gd name="connsiteX1086" fmla="*/ 3781346 w 12117871"/>
                <a:gd name="connsiteY1086" fmla="*/ 4701785 h 6072780"/>
                <a:gd name="connsiteX1087" fmla="*/ 3762464 w 12117871"/>
                <a:gd name="connsiteY1087" fmla="*/ 4622192 h 6072780"/>
                <a:gd name="connsiteX1088" fmla="*/ 3782173 w 12117871"/>
                <a:gd name="connsiteY1088" fmla="*/ 4535678 h 6072780"/>
                <a:gd name="connsiteX1089" fmla="*/ 3839047 w 12117871"/>
                <a:gd name="connsiteY1089" fmla="*/ 4506339 h 6072780"/>
                <a:gd name="connsiteX1090" fmla="*/ 3616537 w 12117871"/>
                <a:gd name="connsiteY1090" fmla="*/ 4506339 h 6072780"/>
                <a:gd name="connsiteX1091" fmla="*/ 3687703 w 12117871"/>
                <a:gd name="connsiteY1091" fmla="*/ 4616926 h 6072780"/>
                <a:gd name="connsiteX1092" fmla="*/ 3667617 w 12117871"/>
                <a:gd name="connsiteY1092" fmla="*/ 4700506 h 6072780"/>
                <a:gd name="connsiteX1093" fmla="*/ 3611420 w 12117871"/>
                <a:gd name="connsiteY1093" fmla="*/ 4729319 h 6072780"/>
                <a:gd name="connsiteX1094" fmla="*/ 3558835 w 12117871"/>
                <a:gd name="connsiteY1094" fmla="*/ 4701785 h 6072780"/>
                <a:gd name="connsiteX1095" fmla="*/ 3539952 w 12117871"/>
                <a:gd name="connsiteY1095" fmla="*/ 4622192 h 6072780"/>
                <a:gd name="connsiteX1096" fmla="*/ 3559662 w 12117871"/>
                <a:gd name="connsiteY1096" fmla="*/ 4535678 h 6072780"/>
                <a:gd name="connsiteX1097" fmla="*/ 3616537 w 12117871"/>
                <a:gd name="connsiteY1097" fmla="*/ 4506339 h 6072780"/>
                <a:gd name="connsiteX1098" fmla="*/ 3454863 w 12117871"/>
                <a:gd name="connsiteY1098" fmla="*/ 4506339 h 6072780"/>
                <a:gd name="connsiteX1099" fmla="*/ 3469768 w 12117871"/>
                <a:gd name="connsiteY1099" fmla="*/ 4506339 h 6072780"/>
                <a:gd name="connsiteX1100" fmla="*/ 3469768 w 12117871"/>
                <a:gd name="connsiteY1100" fmla="*/ 4729319 h 6072780"/>
                <a:gd name="connsiteX1101" fmla="*/ 3434481 w 12117871"/>
                <a:gd name="connsiteY1101" fmla="*/ 4729319 h 6072780"/>
                <a:gd name="connsiteX1102" fmla="*/ 3434481 w 12117871"/>
                <a:gd name="connsiteY1102" fmla="*/ 4549535 h 6072780"/>
                <a:gd name="connsiteX1103" fmla="*/ 3413872 w 12117871"/>
                <a:gd name="connsiteY1103" fmla="*/ 4561171 h 6072780"/>
                <a:gd name="connsiteX1104" fmla="*/ 3388698 w 12117871"/>
                <a:gd name="connsiteY1104" fmla="*/ 4569613 h 6072780"/>
                <a:gd name="connsiteX1105" fmla="*/ 3388698 w 12117871"/>
                <a:gd name="connsiteY1105" fmla="*/ 4539497 h 6072780"/>
                <a:gd name="connsiteX1106" fmla="*/ 3405734 w 12117871"/>
                <a:gd name="connsiteY1106" fmla="*/ 4533413 h 6072780"/>
                <a:gd name="connsiteX1107" fmla="*/ 3421933 w 12117871"/>
                <a:gd name="connsiteY1107" fmla="*/ 4526264 h 6072780"/>
                <a:gd name="connsiteX1108" fmla="*/ 3438054 w 12117871"/>
                <a:gd name="connsiteY1108" fmla="*/ 4517442 h 6072780"/>
                <a:gd name="connsiteX1109" fmla="*/ 3454863 w 12117871"/>
                <a:gd name="connsiteY1109" fmla="*/ 4506339 h 6072780"/>
                <a:gd name="connsiteX1110" fmla="*/ 3158682 w 12117871"/>
                <a:gd name="connsiteY1110" fmla="*/ 4506339 h 6072780"/>
                <a:gd name="connsiteX1111" fmla="*/ 3173587 w 12117871"/>
                <a:gd name="connsiteY1111" fmla="*/ 4506339 h 6072780"/>
                <a:gd name="connsiteX1112" fmla="*/ 3173587 w 12117871"/>
                <a:gd name="connsiteY1112" fmla="*/ 4729319 h 6072780"/>
                <a:gd name="connsiteX1113" fmla="*/ 3138299 w 12117871"/>
                <a:gd name="connsiteY1113" fmla="*/ 4729319 h 6072780"/>
                <a:gd name="connsiteX1114" fmla="*/ 3138299 w 12117871"/>
                <a:gd name="connsiteY1114" fmla="*/ 4549536 h 6072780"/>
                <a:gd name="connsiteX1115" fmla="*/ 3117690 w 12117871"/>
                <a:gd name="connsiteY1115" fmla="*/ 4561172 h 6072780"/>
                <a:gd name="connsiteX1116" fmla="*/ 3092517 w 12117871"/>
                <a:gd name="connsiteY1116" fmla="*/ 4569613 h 6072780"/>
                <a:gd name="connsiteX1117" fmla="*/ 3092517 w 12117871"/>
                <a:gd name="connsiteY1117" fmla="*/ 4539497 h 6072780"/>
                <a:gd name="connsiteX1118" fmla="*/ 3109553 w 12117871"/>
                <a:gd name="connsiteY1118" fmla="*/ 4533413 h 6072780"/>
                <a:gd name="connsiteX1119" fmla="*/ 3125751 w 12117871"/>
                <a:gd name="connsiteY1119" fmla="*/ 4526264 h 6072780"/>
                <a:gd name="connsiteX1120" fmla="*/ 3141875 w 12117871"/>
                <a:gd name="connsiteY1120" fmla="*/ 4517443 h 6072780"/>
                <a:gd name="connsiteX1121" fmla="*/ 3158682 w 12117871"/>
                <a:gd name="connsiteY1121" fmla="*/ 4506339 h 6072780"/>
                <a:gd name="connsiteX1122" fmla="*/ 2489154 w 12117871"/>
                <a:gd name="connsiteY1122" fmla="*/ 4506339 h 6072780"/>
                <a:gd name="connsiteX1123" fmla="*/ 2504060 w 12117871"/>
                <a:gd name="connsiteY1123" fmla="*/ 4506339 h 6072780"/>
                <a:gd name="connsiteX1124" fmla="*/ 2504060 w 12117871"/>
                <a:gd name="connsiteY1124" fmla="*/ 4729319 h 6072780"/>
                <a:gd name="connsiteX1125" fmla="*/ 2468772 w 12117871"/>
                <a:gd name="connsiteY1125" fmla="*/ 4729319 h 6072780"/>
                <a:gd name="connsiteX1126" fmla="*/ 2468772 w 12117871"/>
                <a:gd name="connsiteY1126" fmla="*/ 4549536 h 6072780"/>
                <a:gd name="connsiteX1127" fmla="*/ 2448163 w 12117871"/>
                <a:gd name="connsiteY1127" fmla="*/ 4561172 h 6072780"/>
                <a:gd name="connsiteX1128" fmla="*/ 2422990 w 12117871"/>
                <a:gd name="connsiteY1128" fmla="*/ 4569613 h 6072780"/>
                <a:gd name="connsiteX1129" fmla="*/ 2422990 w 12117871"/>
                <a:gd name="connsiteY1129" fmla="*/ 4539497 h 6072780"/>
                <a:gd name="connsiteX1130" fmla="*/ 2440025 w 12117871"/>
                <a:gd name="connsiteY1130" fmla="*/ 4533413 h 6072780"/>
                <a:gd name="connsiteX1131" fmla="*/ 2456224 w 12117871"/>
                <a:gd name="connsiteY1131" fmla="*/ 4526264 h 6072780"/>
                <a:gd name="connsiteX1132" fmla="*/ 2472346 w 12117871"/>
                <a:gd name="connsiteY1132" fmla="*/ 4517443 h 6072780"/>
                <a:gd name="connsiteX1133" fmla="*/ 2489154 w 12117871"/>
                <a:gd name="connsiteY1133" fmla="*/ 4506339 h 6072780"/>
                <a:gd name="connsiteX1134" fmla="*/ 1599916 w 12117871"/>
                <a:gd name="connsiteY1134" fmla="*/ 4506339 h 6072780"/>
                <a:gd name="connsiteX1135" fmla="*/ 1614822 w 12117871"/>
                <a:gd name="connsiteY1135" fmla="*/ 4506339 h 6072780"/>
                <a:gd name="connsiteX1136" fmla="*/ 1614822 w 12117871"/>
                <a:gd name="connsiteY1136" fmla="*/ 4729319 h 6072780"/>
                <a:gd name="connsiteX1137" fmla="*/ 1579534 w 12117871"/>
                <a:gd name="connsiteY1137" fmla="*/ 4729319 h 6072780"/>
                <a:gd name="connsiteX1138" fmla="*/ 1579534 w 12117871"/>
                <a:gd name="connsiteY1138" fmla="*/ 4549536 h 6072780"/>
                <a:gd name="connsiteX1139" fmla="*/ 1558925 w 12117871"/>
                <a:gd name="connsiteY1139" fmla="*/ 4561172 h 6072780"/>
                <a:gd name="connsiteX1140" fmla="*/ 1533752 w 12117871"/>
                <a:gd name="connsiteY1140" fmla="*/ 4569613 h 6072780"/>
                <a:gd name="connsiteX1141" fmla="*/ 1533752 w 12117871"/>
                <a:gd name="connsiteY1141" fmla="*/ 4539497 h 6072780"/>
                <a:gd name="connsiteX1142" fmla="*/ 1550787 w 12117871"/>
                <a:gd name="connsiteY1142" fmla="*/ 4533413 h 6072780"/>
                <a:gd name="connsiteX1143" fmla="*/ 1566986 w 12117871"/>
                <a:gd name="connsiteY1143" fmla="*/ 4526264 h 6072780"/>
                <a:gd name="connsiteX1144" fmla="*/ 1583109 w 12117871"/>
                <a:gd name="connsiteY1144" fmla="*/ 4517443 h 6072780"/>
                <a:gd name="connsiteX1145" fmla="*/ 1599916 w 12117871"/>
                <a:gd name="connsiteY1145" fmla="*/ 4506339 h 6072780"/>
                <a:gd name="connsiteX1146" fmla="*/ 1302202 w 12117871"/>
                <a:gd name="connsiteY1146" fmla="*/ 4506339 h 6072780"/>
                <a:gd name="connsiteX1147" fmla="*/ 1317108 w 12117871"/>
                <a:gd name="connsiteY1147" fmla="*/ 4506339 h 6072780"/>
                <a:gd name="connsiteX1148" fmla="*/ 1317108 w 12117871"/>
                <a:gd name="connsiteY1148" fmla="*/ 4729319 h 6072780"/>
                <a:gd name="connsiteX1149" fmla="*/ 1281820 w 12117871"/>
                <a:gd name="connsiteY1149" fmla="*/ 4729319 h 6072780"/>
                <a:gd name="connsiteX1150" fmla="*/ 1281820 w 12117871"/>
                <a:gd name="connsiteY1150" fmla="*/ 4549536 h 6072780"/>
                <a:gd name="connsiteX1151" fmla="*/ 1261211 w 12117871"/>
                <a:gd name="connsiteY1151" fmla="*/ 4561172 h 6072780"/>
                <a:gd name="connsiteX1152" fmla="*/ 1236038 w 12117871"/>
                <a:gd name="connsiteY1152" fmla="*/ 4569613 h 6072780"/>
                <a:gd name="connsiteX1153" fmla="*/ 1236038 w 12117871"/>
                <a:gd name="connsiteY1153" fmla="*/ 4539497 h 6072780"/>
                <a:gd name="connsiteX1154" fmla="*/ 1253073 w 12117871"/>
                <a:gd name="connsiteY1154" fmla="*/ 4533413 h 6072780"/>
                <a:gd name="connsiteX1155" fmla="*/ 1269272 w 12117871"/>
                <a:gd name="connsiteY1155" fmla="*/ 4526264 h 6072780"/>
                <a:gd name="connsiteX1156" fmla="*/ 1285395 w 12117871"/>
                <a:gd name="connsiteY1156" fmla="*/ 4517443 h 6072780"/>
                <a:gd name="connsiteX1157" fmla="*/ 1302202 w 12117871"/>
                <a:gd name="connsiteY1157" fmla="*/ 4506339 h 6072780"/>
                <a:gd name="connsiteX1158" fmla="*/ 956133 w 12117871"/>
                <a:gd name="connsiteY1158" fmla="*/ 4506339 h 6072780"/>
                <a:gd name="connsiteX1159" fmla="*/ 1027300 w 12117871"/>
                <a:gd name="connsiteY1159" fmla="*/ 4616927 h 6072780"/>
                <a:gd name="connsiteX1160" fmla="*/ 1007214 w 12117871"/>
                <a:gd name="connsiteY1160" fmla="*/ 4700506 h 6072780"/>
                <a:gd name="connsiteX1161" fmla="*/ 951017 w 12117871"/>
                <a:gd name="connsiteY1161" fmla="*/ 4729319 h 6072780"/>
                <a:gd name="connsiteX1162" fmla="*/ 898432 w 12117871"/>
                <a:gd name="connsiteY1162" fmla="*/ 4701785 h 6072780"/>
                <a:gd name="connsiteX1163" fmla="*/ 879549 w 12117871"/>
                <a:gd name="connsiteY1163" fmla="*/ 4622193 h 6072780"/>
                <a:gd name="connsiteX1164" fmla="*/ 899259 w 12117871"/>
                <a:gd name="connsiteY1164" fmla="*/ 4535679 h 6072780"/>
                <a:gd name="connsiteX1165" fmla="*/ 956133 w 12117871"/>
                <a:gd name="connsiteY1165" fmla="*/ 4506339 h 6072780"/>
                <a:gd name="connsiteX1166" fmla="*/ 779786 w 12117871"/>
                <a:gd name="connsiteY1166" fmla="*/ 4506339 h 6072780"/>
                <a:gd name="connsiteX1167" fmla="*/ 850953 w 12117871"/>
                <a:gd name="connsiteY1167" fmla="*/ 4616927 h 6072780"/>
                <a:gd name="connsiteX1168" fmla="*/ 830867 w 12117871"/>
                <a:gd name="connsiteY1168" fmla="*/ 4700506 h 6072780"/>
                <a:gd name="connsiteX1169" fmla="*/ 774670 w 12117871"/>
                <a:gd name="connsiteY1169" fmla="*/ 4729319 h 6072780"/>
                <a:gd name="connsiteX1170" fmla="*/ 722085 w 12117871"/>
                <a:gd name="connsiteY1170" fmla="*/ 4701785 h 6072780"/>
                <a:gd name="connsiteX1171" fmla="*/ 703202 w 12117871"/>
                <a:gd name="connsiteY1171" fmla="*/ 4622193 h 6072780"/>
                <a:gd name="connsiteX1172" fmla="*/ 722912 w 12117871"/>
                <a:gd name="connsiteY1172" fmla="*/ 4535679 h 6072780"/>
                <a:gd name="connsiteX1173" fmla="*/ 779786 w 12117871"/>
                <a:gd name="connsiteY1173" fmla="*/ 4506339 h 6072780"/>
                <a:gd name="connsiteX1174" fmla="*/ 629607 w 12117871"/>
                <a:gd name="connsiteY1174" fmla="*/ 4506339 h 6072780"/>
                <a:gd name="connsiteX1175" fmla="*/ 644513 w 12117871"/>
                <a:gd name="connsiteY1175" fmla="*/ 4506339 h 6072780"/>
                <a:gd name="connsiteX1176" fmla="*/ 644513 w 12117871"/>
                <a:gd name="connsiteY1176" fmla="*/ 4729319 h 6072780"/>
                <a:gd name="connsiteX1177" fmla="*/ 609225 w 12117871"/>
                <a:gd name="connsiteY1177" fmla="*/ 4729319 h 6072780"/>
                <a:gd name="connsiteX1178" fmla="*/ 609225 w 12117871"/>
                <a:gd name="connsiteY1178" fmla="*/ 4549536 h 6072780"/>
                <a:gd name="connsiteX1179" fmla="*/ 588616 w 12117871"/>
                <a:gd name="connsiteY1179" fmla="*/ 4561172 h 6072780"/>
                <a:gd name="connsiteX1180" fmla="*/ 563443 w 12117871"/>
                <a:gd name="connsiteY1180" fmla="*/ 4569613 h 6072780"/>
                <a:gd name="connsiteX1181" fmla="*/ 563443 w 12117871"/>
                <a:gd name="connsiteY1181" fmla="*/ 4539497 h 6072780"/>
                <a:gd name="connsiteX1182" fmla="*/ 580478 w 12117871"/>
                <a:gd name="connsiteY1182" fmla="*/ 4533413 h 6072780"/>
                <a:gd name="connsiteX1183" fmla="*/ 596677 w 12117871"/>
                <a:gd name="connsiteY1183" fmla="*/ 4526264 h 6072780"/>
                <a:gd name="connsiteX1184" fmla="*/ 612800 w 12117871"/>
                <a:gd name="connsiteY1184" fmla="*/ 4517443 h 6072780"/>
                <a:gd name="connsiteX1185" fmla="*/ 629607 w 12117871"/>
                <a:gd name="connsiteY1185" fmla="*/ 4506339 h 6072780"/>
                <a:gd name="connsiteX1186" fmla="*/ 480750 w 12117871"/>
                <a:gd name="connsiteY1186" fmla="*/ 4506339 h 6072780"/>
                <a:gd name="connsiteX1187" fmla="*/ 495656 w 12117871"/>
                <a:gd name="connsiteY1187" fmla="*/ 4506339 h 6072780"/>
                <a:gd name="connsiteX1188" fmla="*/ 495656 w 12117871"/>
                <a:gd name="connsiteY1188" fmla="*/ 4729319 h 6072780"/>
                <a:gd name="connsiteX1189" fmla="*/ 460368 w 12117871"/>
                <a:gd name="connsiteY1189" fmla="*/ 4729319 h 6072780"/>
                <a:gd name="connsiteX1190" fmla="*/ 460368 w 12117871"/>
                <a:gd name="connsiteY1190" fmla="*/ 4549536 h 6072780"/>
                <a:gd name="connsiteX1191" fmla="*/ 439759 w 12117871"/>
                <a:gd name="connsiteY1191" fmla="*/ 4561172 h 6072780"/>
                <a:gd name="connsiteX1192" fmla="*/ 414586 w 12117871"/>
                <a:gd name="connsiteY1192" fmla="*/ 4569613 h 6072780"/>
                <a:gd name="connsiteX1193" fmla="*/ 414586 w 12117871"/>
                <a:gd name="connsiteY1193" fmla="*/ 4539497 h 6072780"/>
                <a:gd name="connsiteX1194" fmla="*/ 431621 w 12117871"/>
                <a:gd name="connsiteY1194" fmla="*/ 4533413 h 6072780"/>
                <a:gd name="connsiteX1195" fmla="*/ 447821 w 12117871"/>
                <a:gd name="connsiteY1195" fmla="*/ 4526264 h 6072780"/>
                <a:gd name="connsiteX1196" fmla="*/ 463943 w 12117871"/>
                <a:gd name="connsiteY1196" fmla="*/ 4517443 h 6072780"/>
                <a:gd name="connsiteX1197" fmla="*/ 480750 w 12117871"/>
                <a:gd name="connsiteY1197" fmla="*/ 4506339 h 6072780"/>
                <a:gd name="connsiteX1198" fmla="*/ 142759 w 12117871"/>
                <a:gd name="connsiteY1198" fmla="*/ 4506339 h 6072780"/>
                <a:gd name="connsiteX1199" fmla="*/ 213926 w 12117871"/>
                <a:gd name="connsiteY1199" fmla="*/ 4616927 h 6072780"/>
                <a:gd name="connsiteX1200" fmla="*/ 193840 w 12117871"/>
                <a:gd name="connsiteY1200" fmla="*/ 4700506 h 6072780"/>
                <a:gd name="connsiteX1201" fmla="*/ 137643 w 12117871"/>
                <a:gd name="connsiteY1201" fmla="*/ 4729319 h 6072780"/>
                <a:gd name="connsiteX1202" fmla="*/ 85058 w 12117871"/>
                <a:gd name="connsiteY1202" fmla="*/ 4701785 h 6072780"/>
                <a:gd name="connsiteX1203" fmla="*/ 66175 w 12117871"/>
                <a:gd name="connsiteY1203" fmla="*/ 4622193 h 6072780"/>
                <a:gd name="connsiteX1204" fmla="*/ 85885 w 12117871"/>
                <a:gd name="connsiteY1204" fmla="*/ 4535679 h 6072780"/>
                <a:gd name="connsiteX1205" fmla="*/ 142759 w 12117871"/>
                <a:gd name="connsiteY1205" fmla="*/ 4506339 h 6072780"/>
                <a:gd name="connsiteX1206" fmla="*/ 11874294 w 12117871"/>
                <a:gd name="connsiteY1206" fmla="*/ 4186703 h 6072780"/>
                <a:gd name="connsiteX1207" fmla="*/ 11835024 w 12117871"/>
                <a:gd name="connsiteY1207" fmla="*/ 4273216 h 6072780"/>
                <a:gd name="connsiteX1208" fmla="*/ 11873542 w 12117871"/>
                <a:gd name="connsiteY1208" fmla="*/ 4354163 h 6072780"/>
                <a:gd name="connsiteX1209" fmla="*/ 11911457 w 12117871"/>
                <a:gd name="connsiteY1209" fmla="*/ 4271862 h 6072780"/>
                <a:gd name="connsiteX1210" fmla="*/ 11874294 w 12117871"/>
                <a:gd name="connsiteY1210" fmla="*/ 4186703 h 6072780"/>
                <a:gd name="connsiteX1211" fmla="*/ 11189148 w 12117871"/>
                <a:gd name="connsiteY1211" fmla="*/ 4186703 h 6072780"/>
                <a:gd name="connsiteX1212" fmla="*/ 11149878 w 12117871"/>
                <a:gd name="connsiteY1212" fmla="*/ 4273216 h 6072780"/>
                <a:gd name="connsiteX1213" fmla="*/ 11188396 w 12117871"/>
                <a:gd name="connsiteY1213" fmla="*/ 4354163 h 6072780"/>
                <a:gd name="connsiteX1214" fmla="*/ 11226311 w 12117871"/>
                <a:gd name="connsiteY1214" fmla="*/ 4271862 h 6072780"/>
                <a:gd name="connsiteX1215" fmla="*/ 11189148 w 12117871"/>
                <a:gd name="connsiteY1215" fmla="*/ 4186703 h 6072780"/>
                <a:gd name="connsiteX1216" fmla="*/ 9936214 w 12117871"/>
                <a:gd name="connsiteY1216" fmla="*/ 4186703 h 6072780"/>
                <a:gd name="connsiteX1217" fmla="*/ 9896944 w 12117871"/>
                <a:gd name="connsiteY1217" fmla="*/ 4273216 h 6072780"/>
                <a:gd name="connsiteX1218" fmla="*/ 9935462 w 12117871"/>
                <a:gd name="connsiteY1218" fmla="*/ 4354163 h 6072780"/>
                <a:gd name="connsiteX1219" fmla="*/ 9973377 w 12117871"/>
                <a:gd name="connsiteY1219" fmla="*/ 4271862 h 6072780"/>
                <a:gd name="connsiteX1220" fmla="*/ 9936214 w 12117871"/>
                <a:gd name="connsiteY1220" fmla="*/ 4186703 h 6072780"/>
                <a:gd name="connsiteX1221" fmla="*/ 9713703 w 12117871"/>
                <a:gd name="connsiteY1221" fmla="*/ 4186703 h 6072780"/>
                <a:gd name="connsiteX1222" fmla="*/ 9674433 w 12117871"/>
                <a:gd name="connsiteY1222" fmla="*/ 4273216 h 6072780"/>
                <a:gd name="connsiteX1223" fmla="*/ 9712951 w 12117871"/>
                <a:gd name="connsiteY1223" fmla="*/ 4354163 h 6072780"/>
                <a:gd name="connsiteX1224" fmla="*/ 9750866 w 12117871"/>
                <a:gd name="connsiteY1224" fmla="*/ 4271862 h 6072780"/>
                <a:gd name="connsiteX1225" fmla="*/ 9713703 w 12117871"/>
                <a:gd name="connsiteY1225" fmla="*/ 4186703 h 6072780"/>
                <a:gd name="connsiteX1226" fmla="*/ 6372301 w 12117871"/>
                <a:gd name="connsiteY1226" fmla="*/ 4186703 h 6072780"/>
                <a:gd name="connsiteX1227" fmla="*/ 6333031 w 12117871"/>
                <a:gd name="connsiteY1227" fmla="*/ 4273216 h 6072780"/>
                <a:gd name="connsiteX1228" fmla="*/ 6371549 w 12117871"/>
                <a:gd name="connsiteY1228" fmla="*/ 4354163 h 6072780"/>
                <a:gd name="connsiteX1229" fmla="*/ 6409464 w 12117871"/>
                <a:gd name="connsiteY1229" fmla="*/ 4271862 h 6072780"/>
                <a:gd name="connsiteX1230" fmla="*/ 6372301 w 12117871"/>
                <a:gd name="connsiteY1230" fmla="*/ 4186703 h 6072780"/>
                <a:gd name="connsiteX1231" fmla="*/ 5784617 w 12117871"/>
                <a:gd name="connsiteY1231" fmla="*/ 4186703 h 6072780"/>
                <a:gd name="connsiteX1232" fmla="*/ 5745350 w 12117871"/>
                <a:gd name="connsiteY1232" fmla="*/ 4273216 h 6072780"/>
                <a:gd name="connsiteX1233" fmla="*/ 5783865 w 12117871"/>
                <a:gd name="connsiteY1233" fmla="*/ 4354163 h 6072780"/>
                <a:gd name="connsiteX1234" fmla="*/ 5821781 w 12117871"/>
                <a:gd name="connsiteY1234" fmla="*/ 4271862 h 6072780"/>
                <a:gd name="connsiteX1235" fmla="*/ 5784617 w 12117871"/>
                <a:gd name="connsiteY1235" fmla="*/ 4186703 h 6072780"/>
                <a:gd name="connsiteX1236" fmla="*/ 5091629 w 12117871"/>
                <a:gd name="connsiteY1236" fmla="*/ 4186703 h 6072780"/>
                <a:gd name="connsiteX1237" fmla="*/ 5052358 w 12117871"/>
                <a:gd name="connsiteY1237" fmla="*/ 4273216 h 6072780"/>
                <a:gd name="connsiteX1238" fmla="*/ 5090877 w 12117871"/>
                <a:gd name="connsiteY1238" fmla="*/ 4354163 h 6072780"/>
                <a:gd name="connsiteX1239" fmla="*/ 5128792 w 12117871"/>
                <a:gd name="connsiteY1239" fmla="*/ 4271862 h 6072780"/>
                <a:gd name="connsiteX1240" fmla="*/ 5091629 w 12117871"/>
                <a:gd name="connsiteY1240" fmla="*/ 4186703 h 6072780"/>
                <a:gd name="connsiteX1241" fmla="*/ 3837392 w 12117871"/>
                <a:gd name="connsiteY1241" fmla="*/ 4186703 h 6072780"/>
                <a:gd name="connsiteX1242" fmla="*/ 3798122 w 12117871"/>
                <a:gd name="connsiteY1242" fmla="*/ 4273216 h 6072780"/>
                <a:gd name="connsiteX1243" fmla="*/ 3836640 w 12117871"/>
                <a:gd name="connsiteY1243" fmla="*/ 4354163 h 6072780"/>
                <a:gd name="connsiteX1244" fmla="*/ 3874555 w 12117871"/>
                <a:gd name="connsiteY1244" fmla="*/ 4271862 h 6072780"/>
                <a:gd name="connsiteX1245" fmla="*/ 3837392 w 12117871"/>
                <a:gd name="connsiteY1245" fmla="*/ 4186703 h 6072780"/>
                <a:gd name="connsiteX1246" fmla="*/ 3614881 w 12117871"/>
                <a:gd name="connsiteY1246" fmla="*/ 4186703 h 6072780"/>
                <a:gd name="connsiteX1247" fmla="*/ 3575611 w 12117871"/>
                <a:gd name="connsiteY1247" fmla="*/ 4273216 h 6072780"/>
                <a:gd name="connsiteX1248" fmla="*/ 3614130 w 12117871"/>
                <a:gd name="connsiteY1248" fmla="*/ 4354163 h 6072780"/>
                <a:gd name="connsiteX1249" fmla="*/ 3652044 w 12117871"/>
                <a:gd name="connsiteY1249" fmla="*/ 4271862 h 6072780"/>
                <a:gd name="connsiteX1250" fmla="*/ 3614881 w 12117871"/>
                <a:gd name="connsiteY1250" fmla="*/ 4186703 h 6072780"/>
                <a:gd name="connsiteX1251" fmla="*/ 10438235 w 12117871"/>
                <a:gd name="connsiteY1251" fmla="*/ 4158869 h 6072780"/>
                <a:gd name="connsiteX1252" fmla="*/ 10453141 w 12117871"/>
                <a:gd name="connsiteY1252" fmla="*/ 4158869 h 6072780"/>
                <a:gd name="connsiteX1253" fmla="*/ 10453141 w 12117871"/>
                <a:gd name="connsiteY1253" fmla="*/ 4381849 h 6072780"/>
                <a:gd name="connsiteX1254" fmla="*/ 10417853 w 12117871"/>
                <a:gd name="connsiteY1254" fmla="*/ 4381849 h 6072780"/>
                <a:gd name="connsiteX1255" fmla="*/ 10417853 w 12117871"/>
                <a:gd name="connsiteY1255" fmla="*/ 4202066 h 6072780"/>
                <a:gd name="connsiteX1256" fmla="*/ 10397244 w 12117871"/>
                <a:gd name="connsiteY1256" fmla="*/ 4213702 h 6072780"/>
                <a:gd name="connsiteX1257" fmla="*/ 10372071 w 12117871"/>
                <a:gd name="connsiteY1257" fmla="*/ 4222143 h 6072780"/>
                <a:gd name="connsiteX1258" fmla="*/ 10372071 w 12117871"/>
                <a:gd name="connsiteY1258" fmla="*/ 4192027 h 6072780"/>
                <a:gd name="connsiteX1259" fmla="*/ 10389106 w 12117871"/>
                <a:gd name="connsiteY1259" fmla="*/ 4185943 h 6072780"/>
                <a:gd name="connsiteX1260" fmla="*/ 10405305 w 12117871"/>
                <a:gd name="connsiteY1260" fmla="*/ 4178794 h 6072780"/>
                <a:gd name="connsiteX1261" fmla="*/ 10421428 w 12117871"/>
                <a:gd name="connsiteY1261" fmla="*/ 4169973 h 6072780"/>
                <a:gd name="connsiteX1262" fmla="*/ 10438235 w 12117871"/>
                <a:gd name="connsiteY1262" fmla="*/ 4158869 h 6072780"/>
                <a:gd name="connsiteX1263" fmla="*/ 12062430 w 12117871"/>
                <a:gd name="connsiteY1263" fmla="*/ 4158868 h 6072780"/>
                <a:gd name="connsiteX1264" fmla="*/ 12077336 w 12117871"/>
                <a:gd name="connsiteY1264" fmla="*/ 4158868 h 6072780"/>
                <a:gd name="connsiteX1265" fmla="*/ 12077336 w 12117871"/>
                <a:gd name="connsiteY1265" fmla="*/ 4381848 h 6072780"/>
                <a:gd name="connsiteX1266" fmla="*/ 12042048 w 12117871"/>
                <a:gd name="connsiteY1266" fmla="*/ 4381848 h 6072780"/>
                <a:gd name="connsiteX1267" fmla="*/ 12042048 w 12117871"/>
                <a:gd name="connsiteY1267" fmla="*/ 4202064 h 6072780"/>
                <a:gd name="connsiteX1268" fmla="*/ 12021439 w 12117871"/>
                <a:gd name="connsiteY1268" fmla="*/ 4213700 h 6072780"/>
                <a:gd name="connsiteX1269" fmla="*/ 11996266 w 12117871"/>
                <a:gd name="connsiteY1269" fmla="*/ 4222142 h 6072780"/>
                <a:gd name="connsiteX1270" fmla="*/ 11996266 w 12117871"/>
                <a:gd name="connsiteY1270" fmla="*/ 4192026 h 6072780"/>
                <a:gd name="connsiteX1271" fmla="*/ 12013301 w 12117871"/>
                <a:gd name="connsiteY1271" fmla="*/ 4185942 h 6072780"/>
                <a:gd name="connsiteX1272" fmla="*/ 12029500 w 12117871"/>
                <a:gd name="connsiteY1272" fmla="*/ 4178793 h 6072780"/>
                <a:gd name="connsiteX1273" fmla="*/ 12045623 w 12117871"/>
                <a:gd name="connsiteY1273" fmla="*/ 4169971 h 6072780"/>
                <a:gd name="connsiteX1274" fmla="*/ 12062430 w 12117871"/>
                <a:gd name="connsiteY1274" fmla="*/ 4158868 h 6072780"/>
                <a:gd name="connsiteX1275" fmla="*/ 11875949 w 12117871"/>
                <a:gd name="connsiteY1275" fmla="*/ 4158868 h 6072780"/>
                <a:gd name="connsiteX1276" fmla="*/ 11947116 w 12117871"/>
                <a:gd name="connsiteY1276" fmla="*/ 4269455 h 6072780"/>
                <a:gd name="connsiteX1277" fmla="*/ 11927030 w 12117871"/>
                <a:gd name="connsiteY1277" fmla="*/ 4353035 h 6072780"/>
                <a:gd name="connsiteX1278" fmla="*/ 11870833 w 12117871"/>
                <a:gd name="connsiteY1278" fmla="*/ 4381848 h 6072780"/>
                <a:gd name="connsiteX1279" fmla="*/ 11818248 w 12117871"/>
                <a:gd name="connsiteY1279" fmla="*/ 4354314 h 6072780"/>
                <a:gd name="connsiteX1280" fmla="*/ 11799365 w 12117871"/>
                <a:gd name="connsiteY1280" fmla="*/ 4274721 h 6072780"/>
                <a:gd name="connsiteX1281" fmla="*/ 11819075 w 12117871"/>
                <a:gd name="connsiteY1281" fmla="*/ 4188207 h 6072780"/>
                <a:gd name="connsiteX1282" fmla="*/ 11875949 w 12117871"/>
                <a:gd name="connsiteY1282" fmla="*/ 4158868 h 6072780"/>
                <a:gd name="connsiteX1283" fmla="*/ 11190803 w 12117871"/>
                <a:gd name="connsiteY1283" fmla="*/ 4158868 h 6072780"/>
                <a:gd name="connsiteX1284" fmla="*/ 11261970 w 12117871"/>
                <a:gd name="connsiteY1284" fmla="*/ 4269455 h 6072780"/>
                <a:gd name="connsiteX1285" fmla="*/ 11241884 w 12117871"/>
                <a:gd name="connsiteY1285" fmla="*/ 4353035 h 6072780"/>
                <a:gd name="connsiteX1286" fmla="*/ 11185687 w 12117871"/>
                <a:gd name="connsiteY1286" fmla="*/ 4381848 h 6072780"/>
                <a:gd name="connsiteX1287" fmla="*/ 11133102 w 12117871"/>
                <a:gd name="connsiteY1287" fmla="*/ 4354314 h 6072780"/>
                <a:gd name="connsiteX1288" fmla="*/ 11114219 w 12117871"/>
                <a:gd name="connsiteY1288" fmla="*/ 4274721 h 6072780"/>
                <a:gd name="connsiteX1289" fmla="*/ 11133929 w 12117871"/>
                <a:gd name="connsiteY1289" fmla="*/ 4188207 h 6072780"/>
                <a:gd name="connsiteX1290" fmla="*/ 11190803 w 12117871"/>
                <a:gd name="connsiteY1290" fmla="*/ 4158868 h 6072780"/>
                <a:gd name="connsiteX1291" fmla="*/ 10143427 w 12117871"/>
                <a:gd name="connsiteY1291" fmla="*/ 4158868 h 6072780"/>
                <a:gd name="connsiteX1292" fmla="*/ 10158333 w 12117871"/>
                <a:gd name="connsiteY1292" fmla="*/ 4158868 h 6072780"/>
                <a:gd name="connsiteX1293" fmla="*/ 10158333 w 12117871"/>
                <a:gd name="connsiteY1293" fmla="*/ 4381848 h 6072780"/>
                <a:gd name="connsiteX1294" fmla="*/ 10123045 w 12117871"/>
                <a:gd name="connsiteY1294" fmla="*/ 4381848 h 6072780"/>
                <a:gd name="connsiteX1295" fmla="*/ 10123045 w 12117871"/>
                <a:gd name="connsiteY1295" fmla="*/ 4202064 h 6072780"/>
                <a:gd name="connsiteX1296" fmla="*/ 10102436 w 12117871"/>
                <a:gd name="connsiteY1296" fmla="*/ 4213700 h 6072780"/>
                <a:gd name="connsiteX1297" fmla="*/ 10077263 w 12117871"/>
                <a:gd name="connsiteY1297" fmla="*/ 4222142 h 6072780"/>
                <a:gd name="connsiteX1298" fmla="*/ 10077263 w 12117871"/>
                <a:gd name="connsiteY1298" fmla="*/ 4192026 h 6072780"/>
                <a:gd name="connsiteX1299" fmla="*/ 10094298 w 12117871"/>
                <a:gd name="connsiteY1299" fmla="*/ 4185942 h 6072780"/>
                <a:gd name="connsiteX1300" fmla="*/ 10110497 w 12117871"/>
                <a:gd name="connsiteY1300" fmla="*/ 4178793 h 6072780"/>
                <a:gd name="connsiteX1301" fmla="*/ 10126620 w 12117871"/>
                <a:gd name="connsiteY1301" fmla="*/ 4169971 h 6072780"/>
                <a:gd name="connsiteX1302" fmla="*/ 10143427 w 12117871"/>
                <a:gd name="connsiteY1302" fmla="*/ 4158868 h 6072780"/>
                <a:gd name="connsiteX1303" fmla="*/ 9937869 w 12117871"/>
                <a:gd name="connsiteY1303" fmla="*/ 4158868 h 6072780"/>
                <a:gd name="connsiteX1304" fmla="*/ 10009036 w 12117871"/>
                <a:gd name="connsiteY1304" fmla="*/ 4269455 h 6072780"/>
                <a:gd name="connsiteX1305" fmla="*/ 9988950 w 12117871"/>
                <a:gd name="connsiteY1305" fmla="*/ 4353035 h 6072780"/>
                <a:gd name="connsiteX1306" fmla="*/ 9932753 w 12117871"/>
                <a:gd name="connsiteY1306" fmla="*/ 4381848 h 6072780"/>
                <a:gd name="connsiteX1307" fmla="*/ 9880168 w 12117871"/>
                <a:gd name="connsiteY1307" fmla="*/ 4354314 h 6072780"/>
                <a:gd name="connsiteX1308" fmla="*/ 9861285 w 12117871"/>
                <a:gd name="connsiteY1308" fmla="*/ 4274721 h 6072780"/>
                <a:gd name="connsiteX1309" fmla="*/ 9880995 w 12117871"/>
                <a:gd name="connsiteY1309" fmla="*/ 4188207 h 6072780"/>
                <a:gd name="connsiteX1310" fmla="*/ 9937869 w 12117871"/>
                <a:gd name="connsiteY1310" fmla="*/ 4158868 h 6072780"/>
                <a:gd name="connsiteX1311" fmla="*/ 9715358 w 12117871"/>
                <a:gd name="connsiteY1311" fmla="*/ 4158868 h 6072780"/>
                <a:gd name="connsiteX1312" fmla="*/ 9786525 w 12117871"/>
                <a:gd name="connsiteY1312" fmla="*/ 4269455 h 6072780"/>
                <a:gd name="connsiteX1313" fmla="*/ 9766439 w 12117871"/>
                <a:gd name="connsiteY1313" fmla="*/ 4353035 h 6072780"/>
                <a:gd name="connsiteX1314" fmla="*/ 9710242 w 12117871"/>
                <a:gd name="connsiteY1314" fmla="*/ 4381848 h 6072780"/>
                <a:gd name="connsiteX1315" fmla="*/ 9657657 w 12117871"/>
                <a:gd name="connsiteY1315" fmla="*/ 4354314 h 6072780"/>
                <a:gd name="connsiteX1316" fmla="*/ 9638774 w 12117871"/>
                <a:gd name="connsiteY1316" fmla="*/ 4274721 h 6072780"/>
                <a:gd name="connsiteX1317" fmla="*/ 9658484 w 12117871"/>
                <a:gd name="connsiteY1317" fmla="*/ 4188207 h 6072780"/>
                <a:gd name="connsiteX1318" fmla="*/ 9715358 w 12117871"/>
                <a:gd name="connsiteY1318" fmla="*/ 4158868 h 6072780"/>
                <a:gd name="connsiteX1319" fmla="*/ 9557012 w 12117871"/>
                <a:gd name="connsiteY1319" fmla="*/ 4158868 h 6072780"/>
                <a:gd name="connsiteX1320" fmla="*/ 9571918 w 12117871"/>
                <a:gd name="connsiteY1320" fmla="*/ 4158868 h 6072780"/>
                <a:gd name="connsiteX1321" fmla="*/ 9571918 w 12117871"/>
                <a:gd name="connsiteY1321" fmla="*/ 4381848 h 6072780"/>
                <a:gd name="connsiteX1322" fmla="*/ 9536630 w 12117871"/>
                <a:gd name="connsiteY1322" fmla="*/ 4381848 h 6072780"/>
                <a:gd name="connsiteX1323" fmla="*/ 9536630 w 12117871"/>
                <a:gd name="connsiteY1323" fmla="*/ 4202064 h 6072780"/>
                <a:gd name="connsiteX1324" fmla="*/ 9516021 w 12117871"/>
                <a:gd name="connsiteY1324" fmla="*/ 4213700 h 6072780"/>
                <a:gd name="connsiteX1325" fmla="*/ 9490848 w 12117871"/>
                <a:gd name="connsiteY1325" fmla="*/ 4222142 h 6072780"/>
                <a:gd name="connsiteX1326" fmla="*/ 9490848 w 12117871"/>
                <a:gd name="connsiteY1326" fmla="*/ 4192026 h 6072780"/>
                <a:gd name="connsiteX1327" fmla="*/ 9507883 w 12117871"/>
                <a:gd name="connsiteY1327" fmla="*/ 4185942 h 6072780"/>
                <a:gd name="connsiteX1328" fmla="*/ 9524082 w 12117871"/>
                <a:gd name="connsiteY1328" fmla="*/ 4178793 h 6072780"/>
                <a:gd name="connsiteX1329" fmla="*/ 9540205 w 12117871"/>
                <a:gd name="connsiteY1329" fmla="*/ 4169971 h 6072780"/>
                <a:gd name="connsiteX1330" fmla="*/ 9557012 w 12117871"/>
                <a:gd name="connsiteY1330" fmla="*/ 4158868 h 6072780"/>
                <a:gd name="connsiteX1331" fmla="*/ 9254256 w 12117871"/>
                <a:gd name="connsiteY1331" fmla="*/ 4158868 h 6072780"/>
                <a:gd name="connsiteX1332" fmla="*/ 9269162 w 12117871"/>
                <a:gd name="connsiteY1332" fmla="*/ 4158868 h 6072780"/>
                <a:gd name="connsiteX1333" fmla="*/ 9269162 w 12117871"/>
                <a:gd name="connsiteY1333" fmla="*/ 4381848 h 6072780"/>
                <a:gd name="connsiteX1334" fmla="*/ 9233874 w 12117871"/>
                <a:gd name="connsiteY1334" fmla="*/ 4381848 h 6072780"/>
                <a:gd name="connsiteX1335" fmla="*/ 9233874 w 12117871"/>
                <a:gd name="connsiteY1335" fmla="*/ 4202064 h 6072780"/>
                <a:gd name="connsiteX1336" fmla="*/ 9213265 w 12117871"/>
                <a:gd name="connsiteY1336" fmla="*/ 4213700 h 6072780"/>
                <a:gd name="connsiteX1337" fmla="*/ 9188092 w 12117871"/>
                <a:gd name="connsiteY1337" fmla="*/ 4222142 h 6072780"/>
                <a:gd name="connsiteX1338" fmla="*/ 9188092 w 12117871"/>
                <a:gd name="connsiteY1338" fmla="*/ 4192026 h 6072780"/>
                <a:gd name="connsiteX1339" fmla="*/ 9205127 w 12117871"/>
                <a:gd name="connsiteY1339" fmla="*/ 4185942 h 6072780"/>
                <a:gd name="connsiteX1340" fmla="*/ 9221326 w 12117871"/>
                <a:gd name="connsiteY1340" fmla="*/ 4178793 h 6072780"/>
                <a:gd name="connsiteX1341" fmla="*/ 9237449 w 12117871"/>
                <a:gd name="connsiteY1341" fmla="*/ 4169971 h 6072780"/>
                <a:gd name="connsiteX1342" fmla="*/ 9254256 w 12117871"/>
                <a:gd name="connsiteY1342" fmla="*/ 4158868 h 6072780"/>
                <a:gd name="connsiteX1343" fmla="*/ 8744915 w 12117871"/>
                <a:gd name="connsiteY1343" fmla="*/ 4158868 h 6072780"/>
                <a:gd name="connsiteX1344" fmla="*/ 8759821 w 12117871"/>
                <a:gd name="connsiteY1344" fmla="*/ 4158868 h 6072780"/>
                <a:gd name="connsiteX1345" fmla="*/ 8759821 w 12117871"/>
                <a:gd name="connsiteY1345" fmla="*/ 4381848 h 6072780"/>
                <a:gd name="connsiteX1346" fmla="*/ 8724533 w 12117871"/>
                <a:gd name="connsiteY1346" fmla="*/ 4381848 h 6072780"/>
                <a:gd name="connsiteX1347" fmla="*/ 8724533 w 12117871"/>
                <a:gd name="connsiteY1347" fmla="*/ 4202065 h 6072780"/>
                <a:gd name="connsiteX1348" fmla="*/ 8703924 w 12117871"/>
                <a:gd name="connsiteY1348" fmla="*/ 4213701 h 6072780"/>
                <a:gd name="connsiteX1349" fmla="*/ 8678751 w 12117871"/>
                <a:gd name="connsiteY1349" fmla="*/ 4222142 h 6072780"/>
                <a:gd name="connsiteX1350" fmla="*/ 8678751 w 12117871"/>
                <a:gd name="connsiteY1350" fmla="*/ 4192026 h 6072780"/>
                <a:gd name="connsiteX1351" fmla="*/ 8695786 w 12117871"/>
                <a:gd name="connsiteY1351" fmla="*/ 4185942 h 6072780"/>
                <a:gd name="connsiteX1352" fmla="*/ 8711985 w 12117871"/>
                <a:gd name="connsiteY1352" fmla="*/ 4178793 h 6072780"/>
                <a:gd name="connsiteX1353" fmla="*/ 8728108 w 12117871"/>
                <a:gd name="connsiteY1353" fmla="*/ 4169972 h 6072780"/>
                <a:gd name="connsiteX1354" fmla="*/ 8744915 w 12117871"/>
                <a:gd name="connsiteY1354" fmla="*/ 4158868 h 6072780"/>
                <a:gd name="connsiteX1355" fmla="*/ 7851748 w 12117871"/>
                <a:gd name="connsiteY1355" fmla="*/ 4158868 h 6072780"/>
                <a:gd name="connsiteX1356" fmla="*/ 7866654 w 12117871"/>
                <a:gd name="connsiteY1356" fmla="*/ 4158868 h 6072780"/>
                <a:gd name="connsiteX1357" fmla="*/ 7866654 w 12117871"/>
                <a:gd name="connsiteY1357" fmla="*/ 4381848 h 6072780"/>
                <a:gd name="connsiteX1358" fmla="*/ 7831366 w 12117871"/>
                <a:gd name="connsiteY1358" fmla="*/ 4381848 h 6072780"/>
                <a:gd name="connsiteX1359" fmla="*/ 7831366 w 12117871"/>
                <a:gd name="connsiteY1359" fmla="*/ 4202064 h 6072780"/>
                <a:gd name="connsiteX1360" fmla="*/ 7810757 w 12117871"/>
                <a:gd name="connsiteY1360" fmla="*/ 4213700 h 6072780"/>
                <a:gd name="connsiteX1361" fmla="*/ 7785584 w 12117871"/>
                <a:gd name="connsiteY1361" fmla="*/ 4222142 h 6072780"/>
                <a:gd name="connsiteX1362" fmla="*/ 7785584 w 12117871"/>
                <a:gd name="connsiteY1362" fmla="*/ 4192026 h 6072780"/>
                <a:gd name="connsiteX1363" fmla="*/ 7802619 w 12117871"/>
                <a:gd name="connsiteY1363" fmla="*/ 4185942 h 6072780"/>
                <a:gd name="connsiteX1364" fmla="*/ 7818818 w 12117871"/>
                <a:gd name="connsiteY1364" fmla="*/ 4178793 h 6072780"/>
                <a:gd name="connsiteX1365" fmla="*/ 7834941 w 12117871"/>
                <a:gd name="connsiteY1365" fmla="*/ 4169971 h 6072780"/>
                <a:gd name="connsiteX1366" fmla="*/ 7851748 w 12117871"/>
                <a:gd name="connsiteY1366" fmla="*/ 4158868 h 6072780"/>
                <a:gd name="connsiteX1367" fmla="*/ 7413731 w 12117871"/>
                <a:gd name="connsiteY1367" fmla="*/ 4158868 h 6072780"/>
                <a:gd name="connsiteX1368" fmla="*/ 7428637 w 12117871"/>
                <a:gd name="connsiteY1368" fmla="*/ 4158868 h 6072780"/>
                <a:gd name="connsiteX1369" fmla="*/ 7428637 w 12117871"/>
                <a:gd name="connsiteY1369" fmla="*/ 4381848 h 6072780"/>
                <a:gd name="connsiteX1370" fmla="*/ 7393349 w 12117871"/>
                <a:gd name="connsiteY1370" fmla="*/ 4381848 h 6072780"/>
                <a:gd name="connsiteX1371" fmla="*/ 7393349 w 12117871"/>
                <a:gd name="connsiteY1371" fmla="*/ 4202064 h 6072780"/>
                <a:gd name="connsiteX1372" fmla="*/ 7372740 w 12117871"/>
                <a:gd name="connsiteY1372" fmla="*/ 4213700 h 6072780"/>
                <a:gd name="connsiteX1373" fmla="*/ 7347567 w 12117871"/>
                <a:gd name="connsiteY1373" fmla="*/ 4222142 h 6072780"/>
                <a:gd name="connsiteX1374" fmla="*/ 7347567 w 12117871"/>
                <a:gd name="connsiteY1374" fmla="*/ 4192026 h 6072780"/>
                <a:gd name="connsiteX1375" fmla="*/ 7364602 w 12117871"/>
                <a:gd name="connsiteY1375" fmla="*/ 4185942 h 6072780"/>
                <a:gd name="connsiteX1376" fmla="*/ 7380801 w 12117871"/>
                <a:gd name="connsiteY1376" fmla="*/ 4178793 h 6072780"/>
                <a:gd name="connsiteX1377" fmla="*/ 7396924 w 12117871"/>
                <a:gd name="connsiteY1377" fmla="*/ 4169971 h 6072780"/>
                <a:gd name="connsiteX1378" fmla="*/ 7413731 w 12117871"/>
                <a:gd name="connsiteY1378" fmla="*/ 4158868 h 6072780"/>
                <a:gd name="connsiteX1379" fmla="*/ 7015147 w 12117871"/>
                <a:gd name="connsiteY1379" fmla="*/ 4158868 h 6072780"/>
                <a:gd name="connsiteX1380" fmla="*/ 7030053 w 12117871"/>
                <a:gd name="connsiteY1380" fmla="*/ 4158868 h 6072780"/>
                <a:gd name="connsiteX1381" fmla="*/ 7030053 w 12117871"/>
                <a:gd name="connsiteY1381" fmla="*/ 4381848 h 6072780"/>
                <a:gd name="connsiteX1382" fmla="*/ 6994765 w 12117871"/>
                <a:gd name="connsiteY1382" fmla="*/ 4381848 h 6072780"/>
                <a:gd name="connsiteX1383" fmla="*/ 6994765 w 12117871"/>
                <a:gd name="connsiteY1383" fmla="*/ 4202064 h 6072780"/>
                <a:gd name="connsiteX1384" fmla="*/ 6974156 w 12117871"/>
                <a:gd name="connsiteY1384" fmla="*/ 4213700 h 6072780"/>
                <a:gd name="connsiteX1385" fmla="*/ 6948983 w 12117871"/>
                <a:gd name="connsiteY1385" fmla="*/ 4222142 h 6072780"/>
                <a:gd name="connsiteX1386" fmla="*/ 6948983 w 12117871"/>
                <a:gd name="connsiteY1386" fmla="*/ 4192026 h 6072780"/>
                <a:gd name="connsiteX1387" fmla="*/ 6966018 w 12117871"/>
                <a:gd name="connsiteY1387" fmla="*/ 4185942 h 6072780"/>
                <a:gd name="connsiteX1388" fmla="*/ 6982217 w 12117871"/>
                <a:gd name="connsiteY1388" fmla="*/ 4178793 h 6072780"/>
                <a:gd name="connsiteX1389" fmla="*/ 6998340 w 12117871"/>
                <a:gd name="connsiteY1389" fmla="*/ 4169971 h 6072780"/>
                <a:gd name="connsiteX1390" fmla="*/ 7015147 w 12117871"/>
                <a:gd name="connsiteY1390" fmla="*/ 4158868 h 6072780"/>
                <a:gd name="connsiteX1391" fmla="*/ 6727931 w 12117871"/>
                <a:gd name="connsiteY1391" fmla="*/ 4158868 h 6072780"/>
                <a:gd name="connsiteX1392" fmla="*/ 6742837 w 12117871"/>
                <a:gd name="connsiteY1392" fmla="*/ 4158868 h 6072780"/>
                <a:gd name="connsiteX1393" fmla="*/ 6742837 w 12117871"/>
                <a:gd name="connsiteY1393" fmla="*/ 4381848 h 6072780"/>
                <a:gd name="connsiteX1394" fmla="*/ 6707549 w 12117871"/>
                <a:gd name="connsiteY1394" fmla="*/ 4381848 h 6072780"/>
                <a:gd name="connsiteX1395" fmla="*/ 6707549 w 12117871"/>
                <a:gd name="connsiteY1395" fmla="*/ 4202064 h 6072780"/>
                <a:gd name="connsiteX1396" fmla="*/ 6686940 w 12117871"/>
                <a:gd name="connsiteY1396" fmla="*/ 4213700 h 6072780"/>
                <a:gd name="connsiteX1397" fmla="*/ 6661767 w 12117871"/>
                <a:gd name="connsiteY1397" fmla="*/ 4222142 h 6072780"/>
                <a:gd name="connsiteX1398" fmla="*/ 6661767 w 12117871"/>
                <a:gd name="connsiteY1398" fmla="*/ 4192026 h 6072780"/>
                <a:gd name="connsiteX1399" fmla="*/ 6678802 w 12117871"/>
                <a:gd name="connsiteY1399" fmla="*/ 4185942 h 6072780"/>
                <a:gd name="connsiteX1400" fmla="*/ 6695001 w 12117871"/>
                <a:gd name="connsiteY1400" fmla="*/ 4178793 h 6072780"/>
                <a:gd name="connsiteX1401" fmla="*/ 6711124 w 12117871"/>
                <a:gd name="connsiteY1401" fmla="*/ 4169971 h 6072780"/>
                <a:gd name="connsiteX1402" fmla="*/ 6727931 w 12117871"/>
                <a:gd name="connsiteY1402" fmla="*/ 4158868 h 6072780"/>
                <a:gd name="connsiteX1403" fmla="*/ 6584323 w 12117871"/>
                <a:gd name="connsiteY1403" fmla="*/ 4158868 h 6072780"/>
                <a:gd name="connsiteX1404" fmla="*/ 6599229 w 12117871"/>
                <a:gd name="connsiteY1404" fmla="*/ 4158868 h 6072780"/>
                <a:gd name="connsiteX1405" fmla="*/ 6599229 w 12117871"/>
                <a:gd name="connsiteY1405" fmla="*/ 4381848 h 6072780"/>
                <a:gd name="connsiteX1406" fmla="*/ 6563941 w 12117871"/>
                <a:gd name="connsiteY1406" fmla="*/ 4381848 h 6072780"/>
                <a:gd name="connsiteX1407" fmla="*/ 6563941 w 12117871"/>
                <a:gd name="connsiteY1407" fmla="*/ 4202064 h 6072780"/>
                <a:gd name="connsiteX1408" fmla="*/ 6543332 w 12117871"/>
                <a:gd name="connsiteY1408" fmla="*/ 4213700 h 6072780"/>
                <a:gd name="connsiteX1409" fmla="*/ 6518159 w 12117871"/>
                <a:gd name="connsiteY1409" fmla="*/ 4222142 h 6072780"/>
                <a:gd name="connsiteX1410" fmla="*/ 6518159 w 12117871"/>
                <a:gd name="connsiteY1410" fmla="*/ 4192026 h 6072780"/>
                <a:gd name="connsiteX1411" fmla="*/ 6535194 w 12117871"/>
                <a:gd name="connsiteY1411" fmla="*/ 4185942 h 6072780"/>
                <a:gd name="connsiteX1412" fmla="*/ 6551393 w 12117871"/>
                <a:gd name="connsiteY1412" fmla="*/ 4178793 h 6072780"/>
                <a:gd name="connsiteX1413" fmla="*/ 6567516 w 12117871"/>
                <a:gd name="connsiteY1413" fmla="*/ 4169971 h 6072780"/>
                <a:gd name="connsiteX1414" fmla="*/ 6584323 w 12117871"/>
                <a:gd name="connsiteY1414" fmla="*/ 4158868 h 6072780"/>
                <a:gd name="connsiteX1415" fmla="*/ 6373956 w 12117871"/>
                <a:gd name="connsiteY1415" fmla="*/ 4158868 h 6072780"/>
                <a:gd name="connsiteX1416" fmla="*/ 6445123 w 12117871"/>
                <a:gd name="connsiteY1416" fmla="*/ 4269455 h 6072780"/>
                <a:gd name="connsiteX1417" fmla="*/ 6425037 w 12117871"/>
                <a:gd name="connsiteY1417" fmla="*/ 4353035 h 6072780"/>
                <a:gd name="connsiteX1418" fmla="*/ 6368840 w 12117871"/>
                <a:gd name="connsiteY1418" fmla="*/ 4381848 h 6072780"/>
                <a:gd name="connsiteX1419" fmla="*/ 6316255 w 12117871"/>
                <a:gd name="connsiteY1419" fmla="*/ 4354314 h 6072780"/>
                <a:gd name="connsiteX1420" fmla="*/ 6297372 w 12117871"/>
                <a:gd name="connsiteY1420" fmla="*/ 4274721 h 6072780"/>
                <a:gd name="connsiteX1421" fmla="*/ 6317082 w 12117871"/>
                <a:gd name="connsiteY1421" fmla="*/ 4188207 h 6072780"/>
                <a:gd name="connsiteX1422" fmla="*/ 6373956 w 12117871"/>
                <a:gd name="connsiteY1422" fmla="*/ 4158868 h 6072780"/>
                <a:gd name="connsiteX1423" fmla="*/ 5975659 w 12117871"/>
                <a:gd name="connsiteY1423" fmla="*/ 4158868 h 6072780"/>
                <a:gd name="connsiteX1424" fmla="*/ 5990568 w 12117871"/>
                <a:gd name="connsiteY1424" fmla="*/ 4158868 h 6072780"/>
                <a:gd name="connsiteX1425" fmla="*/ 5990568 w 12117871"/>
                <a:gd name="connsiteY1425" fmla="*/ 4381848 h 6072780"/>
                <a:gd name="connsiteX1426" fmla="*/ 5955278 w 12117871"/>
                <a:gd name="connsiteY1426" fmla="*/ 4381848 h 6072780"/>
                <a:gd name="connsiteX1427" fmla="*/ 5955278 w 12117871"/>
                <a:gd name="connsiteY1427" fmla="*/ 4202064 h 6072780"/>
                <a:gd name="connsiteX1428" fmla="*/ 5934669 w 12117871"/>
                <a:gd name="connsiteY1428" fmla="*/ 4213700 h 6072780"/>
                <a:gd name="connsiteX1429" fmla="*/ 5909498 w 12117871"/>
                <a:gd name="connsiteY1429" fmla="*/ 4222142 h 6072780"/>
                <a:gd name="connsiteX1430" fmla="*/ 5909498 w 12117871"/>
                <a:gd name="connsiteY1430" fmla="*/ 4192026 h 6072780"/>
                <a:gd name="connsiteX1431" fmla="*/ 5926531 w 12117871"/>
                <a:gd name="connsiteY1431" fmla="*/ 4185942 h 6072780"/>
                <a:gd name="connsiteX1432" fmla="*/ 5942730 w 12117871"/>
                <a:gd name="connsiteY1432" fmla="*/ 4178793 h 6072780"/>
                <a:gd name="connsiteX1433" fmla="*/ 5958852 w 12117871"/>
                <a:gd name="connsiteY1433" fmla="*/ 4169971 h 6072780"/>
                <a:gd name="connsiteX1434" fmla="*/ 5975659 w 12117871"/>
                <a:gd name="connsiteY1434" fmla="*/ 4158868 h 6072780"/>
                <a:gd name="connsiteX1435" fmla="*/ 5786272 w 12117871"/>
                <a:gd name="connsiteY1435" fmla="*/ 4158868 h 6072780"/>
                <a:gd name="connsiteX1436" fmla="*/ 5857440 w 12117871"/>
                <a:gd name="connsiteY1436" fmla="*/ 4269455 h 6072780"/>
                <a:gd name="connsiteX1437" fmla="*/ 5837355 w 12117871"/>
                <a:gd name="connsiteY1437" fmla="*/ 4353035 h 6072780"/>
                <a:gd name="connsiteX1438" fmla="*/ 5781158 w 12117871"/>
                <a:gd name="connsiteY1438" fmla="*/ 4381848 h 6072780"/>
                <a:gd name="connsiteX1439" fmla="*/ 5728572 w 12117871"/>
                <a:gd name="connsiteY1439" fmla="*/ 4354314 h 6072780"/>
                <a:gd name="connsiteX1440" fmla="*/ 5709690 w 12117871"/>
                <a:gd name="connsiteY1440" fmla="*/ 4274721 h 6072780"/>
                <a:gd name="connsiteX1441" fmla="*/ 5729400 w 12117871"/>
                <a:gd name="connsiteY1441" fmla="*/ 4188207 h 6072780"/>
                <a:gd name="connsiteX1442" fmla="*/ 5786272 w 12117871"/>
                <a:gd name="connsiteY1442" fmla="*/ 4158868 h 6072780"/>
                <a:gd name="connsiteX1443" fmla="*/ 5093284 w 12117871"/>
                <a:gd name="connsiteY1443" fmla="*/ 4158868 h 6072780"/>
                <a:gd name="connsiteX1444" fmla="*/ 5164451 w 12117871"/>
                <a:gd name="connsiteY1444" fmla="*/ 4269455 h 6072780"/>
                <a:gd name="connsiteX1445" fmla="*/ 5144364 w 12117871"/>
                <a:gd name="connsiteY1445" fmla="*/ 4353035 h 6072780"/>
                <a:gd name="connsiteX1446" fmla="*/ 5088168 w 12117871"/>
                <a:gd name="connsiteY1446" fmla="*/ 4381848 h 6072780"/>
                <a:gd name="connsiteX1447" fmla="*/ 5035583 w 12117871"/>
                <a:gd name="connsiteY1447" fmla="*/ 4354314 h 6072780"/>
                <a:gd name="connsiteX1448" fmla="*/ 5016700 w 12117871"/>
                <a:gd name="connsiteY1448" fmla="*/ 4274721 h 6072780"/>
                <a:gd name="connsiteX1449" fmla="*/ 5036410 w 12117871"/>
                <a:gd name="connsiteY1449" fmla="*/ 4188207 h 6072780"/>
                <a:gd name="connsiteX1450" fmla="*/ 5093284 w 12117871"/>
                <a:gd name="connsiteY1450" fmla="*/ 4158868 h 6072780"/>
                <a:gd name="connsiteX1451" fmla="*/ 4694968 w 12117871"/>
                <a:gd name="connsiteY1451" fmla="*/ 4158868 h 6072780"/>
                <a:gd name="connsiteX1452" fmla="*/ 4709876 w 12117871"/>
                <a:gd name="connsiteY1452" fmla="*/ 4158868 h 6072780"/>
                <a:gd name="connsiteX1453" fmla="*/ 4709876 w 12117871"/>
                <a:gd name="connsiteY1453" fmla="*/ 4381848 h 6072780"/>
                <a:gd name="connsiteX1454" fmla="*/ 4674589 w 12117871"/>
                <a:gd name="connsiteY1454" fmla="*/ 4381848 h 6072780"/>
                <a:gd name="connsiteX1455" fmla="*/ 4674589 w 12117871"/>
                <a:gd name="connsiteY1455" fmla="*/ 4202064 h 6072780"/>
                <a:gd name="connsiteX1456" fmla="*/ 4653978 w 12117871"/>
                <a:gd name="connsiteY1456" fmla="*/ 4213700 h 6072780"/>
                <a:gd name="connsiteX1457" fmla="*/ 4628805 w 12117871"/>
                <a:gd name="connsiteY1457" fmla="*/ 4222142 h 6072780"/>
                <a:gd name="connsiteX1458" fmla="*/ 4628805 w 12117871"/>
                <a:gd name="connsiteY1458" fmla="*/ 4192026 h 6072780"/>
                <a:gd name="connsiteX1459" fmla="*/ 4645841 w 12117871"/>
                <a:gd name="connsiteY1459" fmla="*/ 4185942 h 6072780"/>
                <a:gd name="connsiteX1460" fmla="*/ 4662040 w 12117871"/>
                <a:gd name="connsiteY1460" fmla="*/ 4178793 h 6072780"/>
                <a:gd name="connsiteX1461" fmla="*/ 4678162 w 12117871"/>
                <a:gd name="connsiteY1461" fmla="*/ 4169971 h 6072780"/>
                <a:gd name="connsiteX1462" fmla="*/ 4694968 w 12117871"/>
                <a:gd name="connsiteY1462" fmla="*/ 4158868 h 6072780"/>
                <a:gd name="connsiteX1463" fmla="*/ 4345906 w 12117871"/>
                <a:gd name="connsiteY1463" fmla="*/ 4158868 h 6072780"/>
                <a:gd name="connsiteX1464" fmla="*/ 4360813 w 12117871"/>
                <a:gd name="connsiteY1464" fmla="*/ 4158868 h 6072780"/>
                <a:gd name="connsiteX1465" fmla="*/ 4360813 w 12117871"/>
                <a:gd name="connsiteY1465" fmla="*/ 4381848 h 6072780"/>
                <a:gd name="connsiteX1466" fmla="*/ 4325525 w 12117871"/>
                <a:gd name="connsiteY1466" fmla="*/ 4381848 h 6072780"/>
                <a:gd name="connsiteX1467" fmla="*/ 4325525 w 12117871"/>
                <a:gd name="connsiteY1467" fmla="*/ 4202064 h 6072780"/>
                <a:gd name="connsiteX1468" fmla="*/ 4304915 w 12117871"/>
                <a:gd name="connsiteY1468" fmla="*/ 4213700 h 6072780"/>
                <a:gd name="connsiteX1469" fmla="*/ 4279743 w 12117871"/>
                <a:gd name="connsiteY1469" fmla="*/ 4222142 h 6072780"/>
                <a:gd name="connsiteX1470" fmla="*/ 4279743 w 12117871"/>
                <a:gd name="connsiteY1470" fmla="*/ 4192026 h 6072780"/>
                <a:gd name="connsiteX1471" fmla="*/ 4296778 w 12117871"/>
                <a:gd name="connsiteY1471" fmla="*/ 4185942 h 6072780"/>
                <a:gd name="connsiteX1472" fmla="*/ 4312977 w 12117871"/>
                <a:gd name="connsiteY1472" fmla="*/ 4178793 h 6072780"/>
                <a:gd name="connsiteX1473" fmla="*/ 4329099 w 12117871"/>
                <a:gd name="connsiteY1473" fmla="*/ 4169971 h 6072780"/>
                <a:gd name="connsiteX1474" fmla="*/ 4345906 w 12117871"/>
                <a:gd name="connsiteY1474" fmla="*/ 4158868 h 6072780"/>
                <a:gd name="connsiteX1475" fmla="*/ 3839047 w 12117871"/>
                <a:gd name="connsiteY1475" fmla="*/ 4158868 h 6072780"/>
                <a:gd name="connsiteX1476" fmla="*/ 3910214 w 12117871"/>
                <a:gd name="connsiteY1476" fmla="*/ 4269455 h 6072780"/>
                <a:gd name="connsiteX1477" fmla="*/ 3890128 w 12117871"/>
                <a:gd name="connsiteY1477" fmla="*/ 4353035 h 6072780"/>
                <a:gd name="connsiteX1478" fmla="*/ 3833931 w 12117871"/>
                <a:gd name="connsiteY1478" fmla="*/ 4381848 h 6072780"/>
                <a:gd name="connsiteX1479" fmla="*/ 3781346 w 12117871"/>
                <a:gd name="connsiteY1479" fmla="*/ 4354314 h 6072780"/>
                <a:gd name="connsiteX1480" fmla="*/ 3762464 w 12117871"/>
                <a:gd name="connsiteY1480" fmla="*/ 4274721 h 6072780"/>
                <a:gd name="connsiteX1481" fmla="*/ 3782173 w 12117871"/>
                <a:gd name="connsiteY1481" fmla="*/ 4188207 h 6072780"/>
                <a:gd name="connsiteX1482" fmla="*/ 3839047 w 12117871"/>
                <a:gd name="connsiteY1482" fmla="*/ 4158868 h 6072780"/>
                <a:gd name="connsiteX1483" fmla="*/ 3616537 w 12117871"/>
                <a:gd name="connsiteY1483" fmla="*/ 4158868 h 6072780"/>
                <a:gd name="connsiteX1484" fmla="*/ 3687703 w 12117871"/>
                <a:gd name="connsiteY1484" fmla="*/ 4269455 h 6072780"/>
                <a:gd name="connsiteX1485" fmla="*/ 3667617 w 12117871"/>
                <a:gd name="connsiteY1485" fmla="*/ 4353035 h 6072780"/>
                <a:gd name="connsiteX1486" fmla="*/ 3611420 w 12117871"/>
                <a:gd name="connsiteY1486" fmla="*/ 4381848 h 6072780"/>
                <a:gd name="connsiteX1487" fmla="*/ 3558835 w 12117871"/>
                <a:gd name="connsiteY1487" fmla="*/ 4354314 h 6072780"/>
                <a:gd name="connsiteX1488" fmla="*/ 3539952 w 12117871"/>
                <a:gd name="connsiteY1488" fmla="*/ 4274721 h 6072780"/>
                <a:gd name="connsiteX1489" fmla="*/ 3559662 w 12117871"/>
                <a:gd name="connsiteY1489" fmla="*/ 4188207 h 6072780"/>
                <a:gd name="connsiteX1490" fmla="*/ 3616537 w 12117871"/>
                <a:gd name="connsiteY1490" fmla="*/ 4158868 h 6072780"/>
                <a:gd name="connsiteX1491" fmla="*/ 3454863 w 12117871"/>
                <a:gd name="connsiteY1491" fmla="*/ 4158868 h 6072780"/>
                <a:gd name="connsiteX1492" fmla="*/ 3469768 w 12117871"/>
                <a:gd name="connsiteY1492" fmla="*/ 4158868 h 6072780"/>
                <a:gd name="connsiteX1493" fmla="*/ 3469768 w 12117871"/>
                <a:gd name="connsiteY1493" fmla="*/ 4381848 h 6072780"/>
                <a:gd name="connsiteX1494" fmla="*/ 3434481 w 12117871"/>
                <a:gd name="connsiteY1494" fmla="*/ 4381848 h 6072780"/>
                <a:gd name="connsiteX1495" fmla="*/ 3434481 w 12117871"/>
                <a:gd name="connsiteY1495" fmla="*/ 4202064 h 6072780"/>
                <a:gd name="connsiteX1496" fmla="*/ 3413872 w 12117871"/>
                <a:gd name="connsiteY1496" fmla="*/ 4213700 h 6072780"/>
                <a:gd name="connsiteX1497" fmla="*/ 3388698 w 12117871"/>
                <a:gd name="connsiteY1497" fmla="*/ 4222142 h 6072780"/>
                <a:gd name="connsiteX1498" fmla="*/ 3388698 w 12117871"/>
                <a:gd name="connsiteY1498" fmla="*/ 4192026 h 6072780"/>
                <a:gd name="connsiteX1499" fmla="*/ 3405734 w 12117871"/>
                <a:gd name="connsiteY1499" fmla="*/ 4185942 h 6072780"/>
                <a:gd name="connsiteX1500" fmla="*/ 3421933 w 12117871"/>
                <a:gd name="connsiteY1500" fmla="*/ 4178793 h 6072780"/>
                <a:gd name="connsiteX1501" fmla="*/ 3438054 w 12117871"/>
                <a:gd name="connsiteY1501" fmla="*/ 4169971 h 6072780"/>
                <a:gd name="connsiteX1502" fmla="*/ 3454863 w 12117871"/>
                <a:gd name="connsiteY1502" fmla="*/ 4158868 h 6072780"/>
                <a:gd name="connsiteX1503" fmla="*/ 3158682 w 12117871"/>
                <a:gd name="connsiteY1503" fmla="*/ 4158868 h 6072780"/>
                <a:gd name="connsiteX1504" fmla="*/ 3173587 w 12117871"/>
                <a:gd name="connsiteY1504" fmla="*/ 4158868 h 6072780"/>
                <a:gd name="connsiteX1505" fmla="*/ 3173587 w 12117871"/>
                <a:gd name="connsiteY1505" fmla="*/ 4381848 h 6072780"/>
                <a:gd name="connsiteX1506" fmla="*/ 3138299 w 12117871"/>
                <a:gd name="connsiteY1506" fmla="*/ 4381848 h 6072780"/>
                <a:gd name="connsiteX1507" fmla="*/ 3138299 w 12117871"/>
                <a:gd name="connsiteY1507" fmla="*/ 4202065 h 6072780"/>
                <a:gd name="connsiteX1508" fmla="*/ 3117690 w 12117871"/>
                <a:gd name="connsiteY1508" fmla="*/ 4213701 h 6072780"/>
                <a:gd name="connsiteX1509" fmla="*/ 3092517 w 12117871"/>
                <a:gd name="connsiteY1509" fmla="*/ 4222142 h 6072780"/>
                <a:gd name="connsiteX1510" fmla="*/ 3092517 w 12117871"/>
                <a:gd name="connsiteY1510" fmla="*/ 4192026 h 6072780"/>
                <a:gd name="connsiteX1511" fmla="*/ 3109553 w 12117871"/>
                <a:gd name="connsiteY1511" fmla="*/ 4185942 h 6072780"/>
                <a:gd name="connsiteX1512" fmla="*/ 3125751 w 12117871"/>
                <a:gd name="connsiteY1512" fmla="*/ 4178793 h 6072780"/>
                <a:gd name="connsiteX1513" fmla="*/ 3141875 w 12117871"/>
                <a:gd name="connsiteY1513" fmla="*/ 4169972 h 6072780"/>
                <a:gd name="connsiteX1514" fmla="*/ 3158682 w 12117871"/>
                <a:gd name="connsiteY1514" fmla="*/ 4158868 h 6072780"/>
                <a:gd name="connsiteX1515" fmla="*/ 2783382 w 12117871"/>
                <a:gd name="connsiteY1515" fmla="*/ 4158868 h 6072780"/>
                <a:gd name="connsiteX1516" fmla="*/ 2798288 w 12117871"/>
                <a:gd name="connsiteY1516" fmla="*/ 4158868 h 6072780"/>
                <a:gd name="connsiteX1517" fmla="*/ 2798288 w 12117871"/>
                <a:gd name="connsiteY1517" fmla="*/ 4381848 h 6072780"/>
                <a:gd name="connsiteX1518" fmla="*/ 2763000 w 12117871"/>
                <a:gd name="connsiteY1518" fmla="*/ 4381848 h 6072780"/>
                <a:gd name="connsiteX1519" fmla="*/ 2763000 w 12117871"/>
                <a:gd name="connsiteY1519" fmla="*/ 4202065 h 6072780"/>
                <a:gd name="connsiteX1520" fmla="*/ 2742391 w 12117871"/>
                <a:gd name="connsiteY1520" fmla="*/ 4213701 h 6072780"/>
                <a:gd name="connsiteX1521" fmla="*/ 2717219 w 12117871"/>
                <a:gd name="connsiteY1521" fmla="*/ 4222142 h 6072780"/>
                <a:gd name="connsiteX1522" fmla="*/ 2717219 w 12117871"/>
                <a:gd name="connsiteY1522" fmla="*/ 4192026 h 6072780"/>
                <a:gd name="connsiteX1523" fmla="*/ 2734253 w 12117871"/>
                <a:gd name="connsiteY1523" fmla="*/ 4185942 h 6072780"/>
                <a:gd name="connsiteX1524" fmla="*/ 2750453 w 12117871"/>
                <a:gd name="connsiteY1524" fmla="*/ 4178793 h 6072780"/>
                <a:gd name="connsiteX1525" fmla="*/ 2766576 w 12117871"/>
                <a:gd name="connsiteY1525" fmla="*/ 4169972 h 6072780"/>
                <a:gd name="connsiteX1526" fmla="*/ 2783382 w 12117871"/>
                <a:gd name="connsiteY1526" fmla="*/ 4158868 h 6072780"/>
                <a:gd name="connsiteX1527" fmla="*/ 2489154 w 12117871"/>
                <a:gd name="connsiteY1527" fmla="*/ 4158868 h 6072780"/>
                <a:gd name="connsiteX1528" fmla="*/ 2504060 w 12117871"/>
                <a:gd name="connsiteY1528" fmla="*/ 4158868 h 6072780"/>
                <a:gd name="connsiteX1529" fmla="*/ 2504060 w 12117871"/>
                <a:gd name="connsiteY1529" fmla="*/ 4381848 h 6072780"/>
                <a:gd name="connsiteX1530" fmla="*/ 2468772 w 12117871"/>
                <a:gd name="connsiteY1530" fmla="*/ 4381848 h 6072780"/>
                <a:gd name="connsiteX1531" fmla="*/ 2468772 w 12117871"/>
                <a:gd name="connsiteY1531" fmla="*/ 4202065 h 6072780"/>
                <a:gd name="connsiteX1532" fmla="*/ 2448163 w 12117871"/>
                <a:gd name="connsiteY1532" fmla="*/ 4213701 h 6072780"/>
                <a:gd name="connsiteX1533" fmla="*/ 2422990 w 12117871"/>
                <a:gd name="connsiteY1533" fmla="*/ 4222142 h 6072780"/>
                <a:gd name="connsiteX1534" fmla="*/ 2422990 w 12117871"/>
                <a:gd name="connsiteY1534" fmla="*/ 4192026 h 6072780"/>
                <a:gd name="connsiteX1535" fmla="*/ 2440025 w 12117871"/>
                <a:gd name="connsiteY1535" fmla="*/ 4185942 h 6072780"/>
                <a:gd name="connsiteX1536" fmla="*/ 2456224 w 12117871"/>
                <a:gd name="connsiteY1536" fmla="*/ 4178793 h 6072780"/>
                <a:gd name="connsiteX1537" fmla="*/ 2472346 w 12117871"/>
                <a:gd name="connsiteY1537" fmla="*/ 4169972 h 6072780"/>
                <a:gd name="connsiteX1538" fmla="*/ 2489154 w 12117871"/>
                <a:gd name="connsiteY1538" fmla="*/ 4158868 h 6072780"/>
                <a:gd name="connsiteX1539" fmla="*/ 1599916 w 12117871"/>
                <a:gd name="connsiteY1539" fmla="*/ 4158868 h 6072780"/>
                <a:gd name="connsiteX1540" fmla="*/ 1614822 w 12117871"/>
                <a:gd name="connsiteY1540" fmla="*/ 4158868 h 6072780"/>
                <a:gd name="connsiteX1541" fmla="*/ 1614822 w 12117871"/>
                <a:gd name="connsiteY1541" fmla="*/ 4381848 h 6072780"/>
                <a:gd name="connsiteX1542" fmla="*/ 1579534 w 12117871"/>
                <a:gd name="connsiteY1542" fmla="*/ 4381848 h 6072780"/>
                <a:gd name="connsiteX1543" fmla="*/ 1579534 w 12117871"/>
                <a:gd name="connsiteY1543" fmla="*/ 4202064 h 6072780"/>
                <a:gd name="connsiteX1544" fmla="*/ 1558925 w 12117871"/>
                <a:gd name="connsiteY1544" fmla="*/ 4213700 h 6072780"/>
                <a:gd name="connsiteX1545" fmla="*/ 1533752 w 12117871"/>
                <a:gd name="connsiteY1545" fmla="*/ 4222142 h 6072780"/>
                <a:gd name="connsiteX1546" fmla="*/ 1533752 w 12117871"/>
                <a:gd name="connsiteY1546" fmla="*/ 4192026 h 6072780"/>
                <a:gd name="connsiteX1547" fmla="*/ 1550787 w 12117871"/>
                <a:gd name="connsiteY1547" fmla="*/ 4185942 h 6072780"/>
                <a:gd name="connsiteX1548" fmla="*/ 1566986 w 12117871"/>
                <a:gd name="connsiteY1548" fmla="*/ 4178793 h 6072780"/>
                <a:gd name="connsiteX1549" fmla="*/ 1583109 w 12117871"/>
                <a:gd name="connsiteY1549" fmla="*/ 4169971 h 6072780"/>
                <a:gd name="connsiteX1550" fmla="*/ 1599916 w 12117871"/>
                <a:gd name="connsiteY1550" fmla="*/ 4158868 h 6072780"/>
                <a:gd name="connsiteX1551" fmla="*/ 1302202 w 12117871"/>
                <a:gd name="connsiteY1551" fmla="*/ 4158868 h 6072780"/>
                <a:gd name="connsiteX1552" fmla="*/ 1317108 w 12117871"/>
                <a:gd name="connsiteY1552" fmla="*/ 4158868 h 6072780"/>
                <a:gd name="connsiteX1553" fmla="*/ 1317108 w 12117871"/>
                <a:gd name="connsiteY1553" fmla="*/ 4381848 h 6072780"/>
                <a:gd name="connsiteX1554" fmla="*/ 1281820 w 12117871"/>
                <a:gd name="connsiteY1554" fmla="*/ 4381848 h 6072780"/>
                <a:gd name="connsiteX1555" fmla="*/ 1281820 w 12117871"/>
                <a:gd name="connsiteY1555" fmla="*/ 4202064 h 6072780"/>
                <a:gd name="connsiteX1556" fmla="*/ 1261211 w 12117871"/>
                <a:gd name="connsiteY1556" fmla="*/ 4213700 h 6072780"/>
                <a:gd name="connsiteX1557" fmla="*/ 1236038 w 12117871"/>
                <a:gd name="connsiteY1557" fmla="*/ 4222142 h 6072780"/>
                <a:gd name="connsiteX1558" fmla="*/ 1236038 w 12117871"/>
                <a:gd name="connsiteY1558" fmla="*/ 4192026 h 6072780"/>
                <a:gd name="connsiteX1559" fmla="*/ 1253073 w 12117871"/>
                <a:gd name="connsiteY1559" fmla="*/ 4185942 h 6072780"/>
                <a:gd name="connsiteX1560" fmla="*/ 1269272 w 12117871"/>
                <a:gd name="connsiteY1560" fmla="*/ 4178793 h 6072780"/>
                <a:gd name="connsiteX1561" fmla="*/ 1285395 w 12117871"/>
                <a:gd name="connsiteY1561" fmla="*/ 4169971 h 6072780"/>
                <a:gd name="connsiteX1562" fmla="*/ 1302202 w 12117871"/>
                <a:gd name="connsiteY1562" fmla="*/ 4158868 h 6072780"/>
                <a:gd name="connsiteX1563" fmla="*/ 927321 w 12117871"/>
                <a:gd name="connsiteY1563" fmla="*/ 4158868 h 6072780"/>
                <a:gd name="connsiteX1564" fmla="*/ 942227 w 12117871"/>
                <a:gd name="connsiteY1564" fmla="*/ 4158868 h 6072780"/>
                <a:gd name="connsiteX1565" fmla="*/ 942227 w 12117871"/>
                <a:gd name="connsiteY1565" fmla="*/ 4381848 h 6072780"/>
                <a:gd name="connsiteX1566" fmla="*/ 906939 w 12117871"/>
                <a:gd name="connsiteY1566" fmla="*/ 4381848 h 6072780"/>
                <a:gd name="connsiteX1567" fmla="*/ 906939 w 12117871"/>
                <a:gd name="connsiteY1567" fmla="*/ 4202064 h 6072780"/>
                <a:gd name="connsiteX1568" fmla="*/ 886330 w 12117871"/>
                <a:gd name="connsiteY1568" fmla="*/ 4213700 h 6072780"/>
                <a:gd name="connsiteX1569" fmla="*/ 861157 w 12117871"/>
                <a:gd name="connsiteY1569" fmla="*/ 4222142 h 6072780"/>
                <a:gd name="connsiteX1570" fmla="*/ 861157 w 12117871"/>
                <a:gd name="connsiteY1570" fmla="*/ 4192026 h 6072780"/>
                <a:gd name="connsiteX1571" fmla="*/ 878192 w 12117871"/>
                <a:gd name="connsiteY1571" fmla="*/ 4185942 h 6072780"/>
                <a:gd name="connsiteX1572" fmla="*/ 894391 w 12117871"/>
                <a:gd name="connsiteY1572" fmla="*/ 4178793 h 6072780"/>
                <a:gd name="connsiteX1573" fmla="*/ 910514 w 12117871"/>
                <a:gd name="connsiteY1573" fmla="*/ 4169971 h 6072780"/>
                <a:gd name="connsiteX1574" fmla="*/ 927321 w 12117871"/>
                <a:gd name="connsiteY1574" fmla="*/ 4158868 h 6072780"/>
                <a:gd name="connsiteX1575" fmla="*/ 778464 w 12117871"/>
                <a:gd name="connsiteY1575" fmla="*/ 4158868 h 6072780"/>
                <a:gd name="connsiteX1576" fmla="*/ 793370 w 12117871"/>
                <a:gd name="connsiteY1576" fmla="*/ 4158868 h 6072780"/>
                <a:gd name="connsiteX1577" fmla="*/ 793370 w 12117871"/>
                <a:gd name="connsiteY1577" fmla="*/ 4381848 h 6072780"/>
                <a:gd name="connsiteX1578" fmla="*/ 758082 w 12117871"/>
                <a:gd name="connsiteY1578" fmla="*/ 4381848 h 6072780"/>
                <a:gd name="connsiteX1579" fmla="*/ 758082 w 12117871"/>
                <a:gd name="connsiteY1579" fmla="*/ 4202064 h 6072780"/>
                <a:gd name="connsiteX1580" fmla="*/ 737473 w 12117871"/>
                <a:gd name="connsiteY1580" fmla="*/ 4213700 h 6072780"/>
                <a:gd name="connsiteX1581" fmla="*/ 712300 w 12117871"/>
                <a:gd name="connsiteY1581" fmla="*/ 4222142 h 6072780"/>
                <a:gd name="connsiteX1582" fmla="*/ 712300 w 12117871"/>
                <a:gd name="connsiteY1582" fmla="*/ 4192026 h 6072780"/>
                <a:gd name="connsiteX1583" fmla="*/ 729335 w 12117871"/>
                <a:gd name="connsiteY1583" fmla="*/ 4185942 h 6072780"/>
                <a:gd name="connsiteX1584" fmla="*/ 745535 w 12117871"/>
                <a:gd name="connsiteY1584" fmla="*/ 4178793 h 6072780"/>
                <a:gd name="connsiteX1585" fmla="*/ 761657 w 12117871"/>
                <a:gd name="connsiteY1585" fmla="*/ 4169971 h 6072780"/>
                <a:gd name="connsiteX1586" fmla="*/ 778464 w 12117871"/>
                <a:gd name="connsiteY1586" fmla="*/ 4158868 h 6072780"/>
                <a:gd name="connsiteX1587" fmla="*/ 629607 w 12117871"/>
                <a:gd name="connsiteY1587" fmla="*/ 4158868 h 6072780"/>
                <a:gd name="connsiteX1588" fmla="*/ 644513 w 12117871"/>
                <a:gd name="connsiteY1588" fmla="*/ 4158868 h 6072780"/>
                <a:gd name="connsiteX1589" fmla="*/ 644513 w 12117871"/>
                <a:gd name="connsiteY1589" fmla="*/ 4381848 h 6072780"/>
                <a:gd name="connsiteX1590" fmla="*/ 609225 w 12117871"/>
                <a:gd name="connsiteY1590" fmla="*/ 4381848 h 6072780"/>
                <a:gd name="connsiteX1591" fmla="*/ 609225 w 12117871"/>
                <a:gd name="connsiteY1591" fmla="*/ 4202064 h 6072780"/>
                <a:gd name="connsiteX1592" fmla="*/ 588616 w 12117871"/>
                <a:gd name="connsiteY1592" fmla="*/ 4213700 h 6072780"/>
                <a:gd name="connsiteX1593" fmla="*/ 563443 w 12117871"/>
                <a:gd name="connsiteY1593" fmla="*/ 4222142 h 6072780"/>
                <a:gd name="connsiteX1594" fmla="*/ 563443 w 12117871"/>
                <a:gd name="connsiteY1594" fmla="*/ 4192026 h 6072780"/>
                <a:gd name="connsiteX1595" fmla="*/ 580478 w 12117871"/>
                <a:gd name="connsiteY1595" fmla="*/ 4185942 h 6072780"/>
                <a:gd name="connsiteX1596" fmla="*/ 596677 w 12117871"/>
                <a:gd name="connsiteY1596" fmla="*/ 4178793 h 6072780"/>
                <a:gd name="connsiteX1597" fmla="*/ 612800 w 12117871"/>
                <a:gd name="connsiteY1597" fmla="*/ 4169971 h 6072780"/>
                <a:gd name="connsiteX1598" fmla="*/ 629607 w 12117871"/>
                <a:gd name="connsiteY1598" fmla="*/ 4158868 h 6072780"/>
                <a:gd name="connsiteX1599" fmla="*/ 480750 w 12117871"/>
                <a:gd name="connsiteY1599" fmla="*/ 4158868 h 6072780"/>
                <a:gd name="connsiteX1600" fmla="*/ 495656 w 12117871"/>
                <a:gd name="connsiteY1600" fmla="*/ 4158868 h 6072780"/>
                <a:gd name="connsiteX1601" fmla="*/ 495656 w 12117871"/>
                <a:gd name="connsiteY1601" fmla="*/ 4381848 h 6072780"/>
                <a:gd name="connsiteX1602" fmla="*/ 460368 w 12117871"/>
                <a:gd name="connsiteY1602" fmla="*/ 4381848 h 6072780"/>
                <a:gd name="connsiteX1603" fmla="*/ 460368 w 12117871"/>
                <a:gd name="connsiteY1603" fmla="*/ 4202064 h 6072780"/>
                <a:gd name="connsiteX1604" fmla="*/ 439759 w 12117871"/>
                <a:gd name="connsiteY1604" fmla="*/ 4213700 h 6072780"/>
                <a:gd name="connsiteX1605" fmla="*/ 414586 w 12117871"/>
                <a:gd name="connsiteY1605" fmla="*/ 4222142 h 6072780"/>
                <a:gd name="connsiteX1606" fmla="*/ 414586 w 12117871"/>
                <a:gd name="connsiteY1606" fmla="*/ 4192026 h 6072780"/>
                <a:gd name="connsiteX1607" fmla="*/ 431621 w 12117871"/>
                <a:gd name="connsiteY1607" fmla="*/ 4185942 h 6072780"/>
                <a:gd name="connsiteX1608" fmla="*/ 447821 w 12117871"/>
                <a:gd name="connsiteY1608" fmla="*/ 4178793 h 6072780"/>
                <a:gd name="connsiteX1609" fmla="*/ 463943 w 12117871"/>
                <a:gd name="connsiteY1609" fmla="*/ 4169971 h 6072780"/>
                <a:gd name="connsiteX1610" fmla="*/ 480750 w 12117871"/>
                <a:gd name="connsiteY1610" fmla="*/ 4158868 h 6072780"/>
                <a:gd name="connsiteX1611" fmla="*/ 11874294 w 12117871"/>
                <a:gd name="connsiteY1611" fmla="*/ 3839232 h 6072780"/>
                <a:gd name="connsiteX1612" fmla="*/ 11835024 w 12117871"/>
                <a:gd name="connsiteY1612" fmla="*/ 3925746 h 6072780"/>
                <a:gd name="connsiteX1613" fmla="*/ 11873542 w 12117871"/>
                <a:gd name="connsiteY1613" fmla="*/ 4006692 h 6072780"/>
                <a:gd name="connsiteX1614" fmla="*/ 11911457 w 12117871"/>
                <a:gd name="connsiteY1614" fmla="*/ 3924391 h 6072780"/>
                <a:gd name="connsiteX1615" fmla="*/ 11874294 w 12117871"/>
                <a:gd name="connsiteY1615" fmla="*/ 3839232 h 6072780"/>
                <a:gd name="connsiteX1616" fmla="*/ 11189148 w 12117871"/>
                <a:gd name="connsiteY1616" fmla="*/ 3839232 h 6072780"/>
                <a:gd name="connsiteX1617" fmla="*/ 11149878 w 12117871"/>
                <a:gd name="connsiteY1617" fmla="*/ 3925746 h 6072780"/>
                <a:gd name="connsiteX1618" fmla="*/ 11188396 w 12117871"/>
                <a:gd name="connsiteY1618" fmla="*/ 4006692 h 6072780"/>
                <a:gd name="connsiteX1619" fmla="*/ 11226311 w 12117871"/>
                <a:gd name="connsiteY1619" fmla="*/ 3924391 h 6072780"/>
                <a:gd name="connsiteX1620" fmla="*/ 11189148 w 12117871"/>
                <a:gd name="connsiteY1620" fmla="*/ 3839232 h 6072780"/>
                <a:gd name="connsiteX1621" fmla="*/ 9936214 w 12117871"/>
                <a:gd name="connsiteY1621" fmla="*/ 3839232 h 6072780"/>
                <a:gd name="connsiteX1622" fmla="*/ 9896944 w 12117871"/>
                <a:gd name="connsiteY1622" fmla="*/ 3925746 h 6072780"/>
                <a:gd name="connsiteX1623" fmla="*/ 9935462 w 12117871"/>
                <a:gd name="connsiteY1623" fmla="*/ 4006692 h 6072780"/>
                <a:gd name="connsiteX1624" fmla="*/ 9973377 w 12117871"/>
                <a:gd name="connsiteY1624" fmla="*/ 3924391 h 6072780"/>
                <a:gd name="connsiteX1625" fmla="*/ 9936214 w 12117871"/>
                <a:gd name="connsiteY1625" fmla="*/ 3839232 h 6072780"/>
                <a:gd name="connsiteX1626" fmla="*/ 9713703 w 12117871"/>
                <a:gd name="connsiteY1626" fmla="*/ 3839232 h 6072780"/>
                <a:gd name="connsiteX1627" fmla="*/ 9674433 w 12117871"/>
                <a:gd name="connsiteY1627" fmla="*/ 3925746 h 6072780"/>
                <a:gd name="connsiteX1628" fmla="*/ 9712951 w 12117871"/>
                <a:gd name="connsiteY1628" fmla="*/ 4006692 h 6072780"/>
                <a:gd name="connsiteX1629" fmla="*/ 9750866 w 12117871"/>
                <a:gd name="connsiteY1629" fmla="*/ 3924391 h 6072780"/>
                <a:gd name="connsiteX1630" fmla="*/ 9713703 w 12117871"/>
                <a:gd name="connsiteY1630" fmla="*/ 3839232 h 6072780"/>
                <a:gd name="connsiteX1631" fmla="*/ 6372301 w 12117871"/>
                <a:gd name="connsiteY1631" fmla="*/ 3839232 h 6072780"/>
                <a:gd name="connsiteX1632" fmla="*/ 6333031 w 12117871"/>
                <a:gd name="connsiteY1632" fmla="*/ 3925746 h 6072780"/>
                <a:gd name="connsiteX1633" fmla="*/ 6371549 w 12117871"/>
                <a:gd name="connsiteY1633" fmla="*/ 4006692 h 6072780"/>
                <a:gd name="connsiteX1634" fmla="*/ 6409464 w 12117871"/>
                <a:gd name="connsiteY1634" fmla="*/ 3924391 h 6072780"/>
                <a:gd name="connsiteX1635" fmla="*/ 6372301 w 12117871"/>
                <a:gd name="connsiteY1635" fmla="*/ 3839232 h 6072780"/>
                <a:gd name="connsiteX1636" fmla="*/ 5784617 w 12117871"/>
                <a:gd name="connsiteY1636" fmla="*/ 3839232 h 6072780"/>
                <a:gd name="connsiteX1637" fmla="*/ 5745350 w 12117871"/>
                <a:gd name="connsiteY1637" fmla="*/ 3925746 h 6072780"/>
                <a:gd name="connsiteX1638" fmla="*/ 5783865 w 12117871"/>
                <a:gd name="connsiteY1638" fmla="*/ 4006692 h 6072780"/>
                <a:gd name="connsiteX1639" fmla="*/ 5821781 w 12117871"/>
                <a:gd name="connsiteY1639" fmla="*/ 3924391 h 6072780"/>
                <a:gd name="connsiteX1640" fmla="*/ 5784617 w 12117871"/>
                <a:gd name="connsiteY1640" fmla="*/ 3839232 h 6072780"/>
                <a:gd name="connsiteX1641" fmla="*/ 5091629 w 12117871"/>
                <a:gd name="connsiteY1641" fmla="*/ 3839232 h 6072780"/>
                <a:gd name="connsiteX1642" fmla="*/ 5052358 w 12117871"/>
                <a:gd name="connsiteY1642" fmla="*/ 3925746 h 6072780"/>
                <a:gd name="connsiteX1643" fmla="*/ 5090877 w 12117871"/>
                <a:gd name="connsiteY1643" fmla="*/ 4006692 h 6072780"/>
                <a:gd name="connsiteX1644" fmla="*/ 5128792 w 12117871"/>
                <a:gd name="connsiteY1644" fmla="*/ 3924391 h 6072780"/>
                <a:gd name="connsiteX1645" fmla="*/ 5091629 w 12117871"/>
                <a:gd name="connsiteY1645" fmla="*/ 3839232 h 6072780"/>
                <a:gd name="connsiteX1646" fmla="*/ 3837392 w 12117871"/>
                <a:gd name="connsiteY1646" fmla="*/ 3839232 h 6072780"/>
                <a:gd name="connsiteX1647" fmla="*/ 3798122 w 12117871"/>
                <a:gd name="connsiteY1647" fmla="*/ 3925746 h 6072780"/>
                <a:gd name="connsiteX1648" fmla="*/ 3836640 w 12117871"/>
                <a:gd name="connsiteY1648" fmla="*/ 4006692 h 6072780"/>
                <a:gd name="connsiteX1649" fmla="*/ 3874555 w 12117871"/>
                <a:gd name="connsiteY1649" fmla="*/ 3924391 h 6072780"/>
                <a:gd name="connsiteX1650" fmla="*/ 3837392 w 12117871"/>
                <a:gd name="connsiteY1650" fmla="*/ 3839232 h 6072780"/>
                <a:gd name="connsiteX1651" fmla="*/ 3614881 w 12117871"/>
                <a:gd name="connsiteY1651" fmla="*/ 3839232 h 6072780"/>
                <a:gd name="connsiteX1652" fmla="*/ 3575611 w 12117871"/>
                <a:gd name="connsiteY1652" fmla="*/ 3925746 h 6072780"/>
                <a:gd name="connsiteX1653" fmla="*/ 3614130 w 12117871"/>
                <a:gd name="connsiteY1653" fmla="*/ 4006692 h 6072780"/>
                <a:gd name="connsiteX1654" fmla="*/ 3652044 w 12117871"/>
                <a:gd name="connsiteY1654" fmla="*/ 3924391 h 6072780"/>
                <a:gd name="connsiteX1655" fmla="*/ 3614881 w 12117871"/>
                <a:gd name="connsiteY1655" fmla="*/ 3839232 h 6072780"/>
                <a:gd name="connsiteX1656" fmla="*/ 10438235 w 12117871"/>
                <a:gd name="connsiteY1656" fmla="*/ 3811398 h 6072780"/>
                <a:gd name="connsiteX1657" fmla="*/ 10453141 w 12117871"/>
                <a:gd name="connsiteY1657" fmla="*/ 3811398 h 6072780"/>
                <a:gd name="connsiteX1658" fmla="*/ 10453141 w 12117871"/>
                <a:gd name="connsiteY1658" fmla="*/ 4034378 h 6072780"/>
                <a:gd name="connsiteX1659" fmla="*/ 10417853 w 12117871"/>
                <a:gd name="connsiteY1659" fmla="*/ 4034378 h 6072780"/>
                <a:gd name="connsiteX1660" fmla="*/ 10417853 w 12117871"/>
                <a:gd name="connsiteY1660" fmla="*/ 3854594 h 6072780"/>
                <a:gd name="connsiteX1661" fmla="*/ 10397244 w 12117871"/>
                <a:gd name="connsiteY1661" fmla="*/ 3866230 h 6072780"/>
                <a:gd name="connsiteX1662" fmla="*/ 10372071 w 12117871"/>
                <a:gd name="connsiteY1662" fmla="*/ 3874672 h 6072780"/>
                <a:gd name="connsiteX1663" fmla="*/ 10372071 w 12117871"/>
                <a:gd name="connsiteY1663" fmla="*/ 3844556 h 6072780"/>
                <a:gd name="connsiteX1664" fmla="*/ 10389106 w 12117871"/>
                <a:gd name="connsiteY1664" fmla="*/ 3838472 h 6072780"/>
                <a:gd name="connsiteX1665" fmla="*/ 10405305 w 12117871"/>
                <a:gd name="connsiteY1665" fmla="*/ 3831323 h 6072780"/>
                <a:gd name="connsiteX1666" fmla="*/ 10421428 w 12117871"/>
                <a:gd name="connsiteY1666" fmla="*/ 3822501 h 6072780"/>
                <a:gd name="connsiteX1667" fmla="*/ 10438235 w 12117871"/>
                <a:gd name="connsiteY1667" fmla="*/ 3811398 h 6072780"/>
                <a:gd name="connsiteX1668" fmla="*/ 12062430 w 12117871"/>
                <a:gd name="connsiteY1668" fmla="*/ 3811397 h 6072780"/>
                <a:gd name="connsiteX1669" fmla="*/ 12077336 w 12117871"/>
                <a:gd name="connsiteY1669" fmla="*/ 3811397 h 6072780"/>
                <a:gd name="connsiteX1670" fmla="*/ 12077336 w 12117871"/>
                <a:gd name="connsiteY1670" fmla="*/ 4034377 h 6072780"/>
                <a:gd name="connsiteX1671" fmla="*/ 12042048 w 12117871"/>
                <a:gd name="connsiteY1671" fmla="*/ 4034377 h 6072780"/>
                <a:gd name="connsiteX1672" fmla="*/ 12042048 w 12117871"/>
                <a:gd name="connsiteY1672" fmla="*/ 3854593 h 6072780"/>
                <a:gd name="connsiteX1673" fmla="*/ 12021439 w 12117871"/>
                <a:gd name="connsiteY1673" fmla="*/ 3866229 h 6072780"/>
                <a:gd name="connsiteX1674" fmla="*/ 11996266 w 12117871"/>
                <a:gd name="connsiteY1674" fmla="*/ 3874671 h 6072780"/>
                <a:gd name="connsiteX1675" fmla="*/ 11996266 w 12117871"/>
                <a:gd name="connsiteY1675" fmla="*/ 3844555 h 6072780"/>
                <a:gd name="connsiteX1676" fmla="*/ 12013301 w 12117871"/>
                <a:gd name="connsiteY1676" fmla="*/ 3838471 h 6072780"/>
                <a:gd name="connsiteX1677" fmla="*/ 12029500 w 12117871"/>
                <a:gd name="connsiteY1677" fmla="*/ 3831322 h 6072780"/>
                <a:gd name="connsiteX1678" fmla="*/ 12045623 w 12117871"/>
                <a:gd name="connsiteY1678" fmla="*/ 3822500 h 6072780"/>
                <a:gd name="connsiteX1679" fmla="*/ 12062430 w 12117871"/>
                <a:gd name="connsiteY1679" fmla="*/ 3811397 h 6072780"/>
                <a:gd name="connsiteX1680" fmla="*/ 11875949 w 12117871"/>
                <a:gd name="connsiteY1680" fmla="*/ 3811397 h 6072780"/>
                <a:gd name="connsiteX1681" fmla="*/ 11947116 w 12117871"/>
                <a:gd name="connsiteY1681" fmla="*/ 3921984 h 6072780"/>
                <a:gd name="connsiteX1682" fmla="*/ 11927030 w 12117871"/>
                <a:gd name="connsiteY1682" fmla="*/ 4005564 h 6072780"/>
                <a:gd name="connsiteX1683" fmla="*/ 11870833 w 12117871"/>
                <a:gd name="connsiteY1683" fmla="*/ 4034377 h 6072780"/>
                <a:gd name="connsiteX1684" fmla="*/ 11818248 w 12117871"/>
                <a:gd name="connsiteY1684" fmla="*/ 4006843 h 6072780"/>
                <a:gd name="connsiteX1685" fmla="*/ 11799365 w 12117871"/>
                <a:gd name="connsiteY1685" fmla="*/ 3927250 h 6072780"/>
                <a:gd name="connsiteX1686" fmla="*/ 11819075 w 12117871"/>
                <a:gd name="connsiteY1686" fmla="*/ 3840736 h 6072780"/>
                <a:gd name="connsiteX1687" fmla="*/ 11875949 w 12117871"/>
                <a:gd name="connsiteY1687" fmla="*/ 3811397 h 6072780"/>
                <a:gd name="connsiteX1688" fmla="*/ 11190803 w 12117871"/>
                <a:gd name="connsiteY1688" fmla="*/ 3811397 h 6072780"/>
                <a:gd name="connsiteX1689" fmla="*/ 11261970 w 12117871"/>
                <a:gd name="connsiteY1689" fmla="*/ 3921984 h 6072780"/>
                <a:gd name="connsiteX1690" fmla="*/ 11241884 w 12117871"/>
                <a:gd name="connsiteY1690" fmla="*/ 4005564 h 6072780"/>
                <a:gd name="connsiteX1691" fmla="*/ 11185687 w 12117871"/>
                <a:gd name="connsiteY1691" fmla="*/ 4034377 h 6072780"/>
                <a:gd name="connsiteX1692" fmla="*/ 11133102 w 12117871"/>
                <a:gd name="connsiteY1692" fmla="*/ 4006843 h 6072780"/>
                <a:gd name="connsiteX1693" fmla="*/ 11114219 w 12117871"/>
                <a:gd name="connsiteY1693" fmla="*/ 3927250 h 6072780"/>
                <a:gd name="connsiteX1694" fmla="*/ 11133929 w 12117871"/>
                <a:gd name="connsiteY1694" fmla="*/ 3840736 h 6072780"/>
                <a:gd name="connsiteX1695" fmla="*/ 11190803 w 12117871"/>
                <a:gd name="connsiteY1695" fmla="*/ 3811397 h 6072780"/>
                <a:gd name="connsiteX1696" fmla="*/ 10143427 w 12117871"/>
                <a:gd name="connsiteY1696" fmla="*/ 3811397 h 6072780"/>
                <a:gd name="connsiteX1697" fmla="*/ 10158333 w 12117871"/>
                <a:gd name="connsiteY1697" fmla="*/ 3811397 h 6072780"/>
                <a:gd name="connsiteX1698" fmla="*/ 10158333 w 12117871"/>
                <a:gd name="connsiteY1698" fmla="*/ 4034377 h 6072780"/>
                <a:gd name="connsiteX1699" fmla="*/ 10123045 w 12117871"/>
                <a:gd name="connsiteY1699" fmla="*/ 4034377 h 6072780"/>
                <a:gd name="connsiteX1700" fmla="*/ 10123045 w 12117871"/>
                <a:gd name="connsiteY1700" fmla="*/ 3854593 h 6072780"/>
                <a:gd name="connsiteX1701" fmla="*/ 10102436 w 12117871"/>
                <a:gd name="connsiteY1701" fmla="*/ 3866229 h 6072780"/>
                <a:gd name="connsiteX1702" fmla="*/ 10077263 w 12117871"/>
                <a:gd name="connsiteY1702" fmla="*/ 3874671 h 6072780"/>
                <a:gd name="connsiteX1703" fmla="*/ 10077263 w 12117871"/>
                <a:gd name="connsiteY1703" fmla="*/ 3844555 h 6072780"/>
                <a:gd name="connsiteX1704" fmla="*/ 10094298 w 12117871"/>
                <a:gd name="connsiteY1704" fmla="*/ 3838471 h 6072780"/>
                <a:gd name="connsiteX1705" fmla="*/ 10110497 w 12117871"/>
                <a:gd name="connsiteY1705" fmla="*/ 3831322 h 6072780"/>
                <a:gd name="connsiteX1706" fmla="*/ 10126620 w 12117871"/>
                <a:gd name="connsiteY1706" fmla="*/ 3822500 h 6072780"/>
                <a:gd name="connsiteX1707" fmla="*/ 10143427 w 12117871"/>
                <a:gd name="connsiteY1707" fmla="*/ 3811397 h 6072780"/>
                <a:gd name="connsiteX1708" fmla="*/ 9937869 w 12117871"/>
                <a:gd name="connsiteY1708" fmla="*/ 3811397 h 6072780"/>
                <a:gd name="connsiteX1709" fmla="*/ 10009036 w 12117871"/>
                <a:gd name="connsiteY1709" fmla="*/ 3921984 h 6072780"/>
                <a:gd name="connsiteX1710" fmla="*/ 9988950 w 12117871"/>
                <a:gd name="connsiteY1710" fmla="*/ 4005564 h 6072780"/>
                <a:gd name="connsiteX1711" fmla="*/ 9932753 w 12117871"/>
                <a:gd name="connsiteY1711" fmla="*/ 4034377 h 6072780"/>
                <a:gd name="connsiteX1712" fmla="*/ 9880168 w 12117871"/>
                <a:gd name="connsiteY1712" fmla="*/ 4006843 h 6072780"/>
                <a:gd name="connsiteX1713" fmla="*/ 9861285 w 12117871"/>
                <a:gd name="connsiteY1713" fmla="*/ 3927250 h 6072780"/>
                <a:gd name="connsiteX1714" fmla="*/ 9880995 w 12117871"/>
                <a:gd name="connsiteY1714" fmla="*/ 3840736 h 6072780"/>
                <a:gd name="connsiteX1715" fmla="*/ 9937869 w 12117871"/>
                <a:gd name="connsiteY1715" fmla="*/ 3811397 h 6072780"/>
                <a:gd name="connsiteX1716" fmla="*/ 9715358 w 12117871"/>
                <a:gd name="connsiteY1716" fmla="*/ 3811397 h 6072780"/>
                <a:gd name="connsiteX1717" fmla="*/ 9786525 w 12117871"/>
                <a:gd name="connsiteY1717" fmla="*/ 3921984 h 6072780"/>
                <a:gd name="connsiteX1718" fmla="*/ 9766439 w 12117871"/>
                <a:gd name="connsiteY1718" fmla="*/ 4005564 h 6072780"/>
                <a:gd name="connsiteX1719" fmla="*/ 9710242 w 12117871"/>
                <a:gd name="connsiteY1719" fmla="*/ 4034377 h 6072780"/>
                <a:gd name="connsiteX1720" fmla="*/ 9657657 w 12117871"/>
                <a:gd name="connsiteY1720" fmla="*/ 4006843 h 6072780"/>
                <a:gd name="connsiteX1721" fmla="*/ 9638774 w 12117871"/>
                <a:gd name="connsiteY1721" fmla="*/ 3927250 h 6072780"/>
                <a:gd name="connsiteX1722" fmla="*/ 9658484 w 12117871"/>
                <a:gd name="connsiteY1722" fmla="*/ 3840736 h 6072780"/>
                <a:gd name="connsiteX1723" fmla="*/ 9715358 w 12117871"/>
                <a:gd name="connsiteY1723" fmla="*/ 3811397 h 6072780"/>
                <a:gd name="connsiteX1724" fmla="*/ 9557012 w 12117871"/>
                <a:gd name="connsiteY1724" fmla="*/ 3811397 h 6072780"/>
                <a:gd name="connsiteX1725" fmla="*/ 9571918 w 12117871"/>
                <a:gd name="connsiteY1725" fmla="*/ 3811397 h 6072780"/>
                <a:gd name="connsiteX1726" fmla="*/ 9571918 w 12117871"/>
                <a:gd name="connsiteY1726" fmla="*/ 4034377 h 6072780"/>
                <a:gd name="connsiteX1727" fmla="*/ 9536630 w 12117871"/>
                <a:gd name="connsiteY1727" fmla="*/ 4034377 h 6072780"/>
                <a:gd name="connsiteX1728" fmla="*/ 9536630 w 12117871"/>
                <a:gd name="connsiteY1728" fmla="*/ 3854593 h 6072780"/>
                <a:gd name="connsiteX1729" fmla="*/ 9516021 w 12117871"/>
                <a:gd name="connsiteY1729" fmla="*/ 3866229 h 6072780"/>
                <a:gd name="connsiteX1730" fmla="*/ 9490848 w 12117871"/>
                <a:gd name="connsiteY1730" fmla="*/ 3874671 h 6072780"/>
                <a:gd name="connsiteX1731" fmla="*/ 9490848 w 12117871"/>
                <a:gd name="connsiteY1731" fmla="*/ 3844555 h 6072780"/>
                <a:gd name="connsiteX1732" fmla="*/ 9507883 w 12117871"/>
                <a:gd name="connsiteY1732" fmla="*/ 3838471 h 6072780"/>
                <a:gd name="connsiteX1733" fmla="*/ 9524082 w 12117871"/>
                <a:gd name="connsiteY1733" fmla="*/ 3831322 h 6072780"/>
                <a:gd name="connsiteX1734" fmla="*/ 9540205 w 12117871"/>
                <a:gd name="connsiteY1734" fmla="*/ 3822500 h 6072780"/>
                <a:gd name="connsiteX1735" fmla="*/ 9557012 w 12117871"/>
                <a:gd name="connsiteY1735" fmla="*/ 3811397 h 6072780"/>
                <a:gd name="connsiteX1736" fmla="*/ 9254256 w 12117871"/>
                <a:gd name="connsiteY1736" fmla="*/ 3811397 h 6072780"/>
                <a:gd name="connsiteX1737" fmla="*/ 9269162 w 12117871"/>
                <a:gd name="connsiteY1737" fmla="*/ 3811397 h 6072780"/>
                <a:gd name="connsiteX1738" fmla="*/ 9269162 w 12117871"/>
                <a:gd name="connsiteY1738" fmla="*/ 4034377 h 6072780"/>
                <a:gd name="connsiteX1739" fmla="*/ 9233874 w 12117871"/>
                <a:gd name="connsiteY1739" fmla="*/ 4034377 h 6072780"/>
                <a:gd name="connsiteX1740" fmla="*/ 9233874 w 12117871"/>
                <a:gd name="connsiteY1740" fmla="*/ 3854593 h 6072780"/>
                <a:gd name="connsiteX1741" fmla="*/ 9213265 w 12117871"/>
                <a:gd name="connsiteY1741" fmla="*/ 3866229 h 6072780"/>
                <a:gd name="connsiteX1742" fmla="*/ 9188092 w 12117871"/>
                <a:gd name="connsiteY1742" fmla="*/ 3874671 h 6072780"/>
                <a:gd name="connsiteX1743" fmla="*/ 9188092 w 12117871"/>
                <a:gd name="connsiteY1743" fmla="*/ 3844555 h 6072780"/>
                <a:gd name="connsiteX1744" fmla="*/ 9205127 w 12117871"/>
                <a:gd name="connsiteY1744" fmla="*/ 3838471 h 6072780"/>
                <a:gd name="connsiteX1745" fmla="*/ 9221326 w 12117871"/>
                <a:gd name="connsiteY1745" fmla="*/ 3831322 h 6072780"/>
                <a:gd name="connsiteX1746" fmla="*/ 9237449 w 12117871"/>
                <a:gd name="connsiteY1746" fmla="*/ 3822500 h 6072780"/>
                <a:gd name="connsiteX1747" fmla="*/ 9254256 w 12117871"/>
                <a:gd name="connsiteY1747" fmla="*/ 3811397 h 6072780"/>
                <a:gd name="connsiteX1748" fmla="*/ 8744915 w 12117871"/>
                <a:gd name="connsiteY1748" fmla="*/ 3811397 h 6072780"/>
                <a:gd name="connsiteX1749" fmla="*/ 8759821 w 12117871"/>
                <a:gd name="connsiteY1749" fmla="*/ 3811397 h 6072780"/>
                <a:gd name="connsiteX1750" fmla="*/ 8759821 w 12117871"/>
                <a:gd name="connsiteY1750" fmla="*/ 4034377 h 6072780"/>
                <a:gd name="connsiteX1751" fmla="*/ 8724533 w 12117871"/>
                <a:gd name="connsiteY1751" fmla="*/ 4034377 h 6072780"/>
                <a:gd name="connsiteX1752" fmla="*/ 8724533 w 12117871"/>
                <a:gd name="connsiteY1752" fmla="*/ 3854593 h 6072780"/>
                <a:gd name="connsiteX1753" fmla="*/ 8703924 w 12117871"/>
                <a:gd name="connsiteY1753" fmla="*/ 3866229 h 6072780"/>
                <a:gd name="connsiteX1754" fmla="*/ 8678751 w 12117871"/>
                <a:gd name="connsiteY1754" fmla="*/ 3874671 h 6072780"/>
                <a:gd name="connsiteX1755" fmla="*/ 8678751 w 12117871"/>
                <a:gd name="connsiteY1755" fmla="*/ 3844555 h 6072780"/>
                <a:gd name="connsiteX1756" fmla="*/ 8695786 w 12117871"/>
                <a:gd name="connsiteY1756" fmla="*/ 3838471 h 6072780"/>
                <a:gd name="connsiteX1757" fmla="*/ 8711985 w 12117871"/>
                <a:gd name="connsiteY1757" fmla="*/ 3831322 h 6072780"/>
                <a:gd name="connsiteX1758" fmla="*/ 8728108 w 12117871"/>
                <a:gd name="connsiteY1758" fmla="*/ 3822500 h 6072780"/>
                <a:gd name="connsiteX1759" fmla="*/ 8744915 w 12117871"/>
                <a:gd name="connsiteY1759" fmla="*/ 3811397 h 6072780"/>
                <a:gd name="connsiteX1760" fmla="*/ 7851748 w 12117871"/>
                <a:gd name="connsiteY1760" fmla="*/ 3811397 h 6072780"/>
                <a:gd name="connsiteX1761" fmla="*/ 7866654 w 12117871"/>
                <a:gd name="connsiteY1761" fmla="*/ 3811397 h 6072780"/>
                <a:gd name="connsiteX1762" fmla="*/ 7866654 w 12117871"/>
                <a:gd name="connsiteY1762" fmla="*/ 4034377 h 6072780"/>
                <a:gd name="connsiteX1763" fmla="*/ 7831366 w 12117871"/>
                <a:gd name="connsiteY1763" fmla="*/ 4034377 h 6072780"/>
                <a:gd name="connsiteX1764" fmla="*/ 7831366 w 12117871"/>
                <a:gd name="connsiteY1764" fmla="*/ 3854593 h 6072780"/>
                <a:gd name="connsiteX1765" fmla="*/ 7810757 w 12117871"/>
                <a:gd name="connsiteY1765" fmla="*/ 3866229 h 6072780"/>
                <a:gd name="connsiteX1766" fmla="*/ 7785584 w 12117871"/>
                <a:gd name="connsiteY1766" fmla="*/ 3874671 h 6072780"/>
                <a:gd name="connsiteX1767" fmla="*/ 7785584 w 12117871"/>
                <a:gd name="connsiteY1767" fmla="*/ 3844555 h 6072780"/>
                <a:gd name="connsiteX1768" fmla="*/ 7802619 w 12117871"/>
                <a:gd name="connsiteY1768" fmla="*/ 3838471 h 6072780"/>
                <a:gd name="connsiteX1769" fmla="*/ 7818818 w 12117871"/>
                <a:gd name="connsiteY1769" fmla="*/ 3831322 h 6072780"/>
                <a:gd name="connsiteX1770" fmla="*/ 7834941 w 12117871"/>
                <a:gd name="connsiteY1770" fmla="*/ 3822500 h 6072780"/>
                <a:gd name="connsiteX1771" fmla="*/ 7851748 w 12117871"/>
                <a:gd name="connsiteY1771" fmla="*/ 3811397 h 6072780"/>
                <a:gd name="connsiteX1772" fmla="*/ 7413731 w 12117871"/>
                <a:gd name="connsiteY1772" fmla="*/ 3811397 h 6072780"/>
                <a:gd name="connsiteX1773" fmla="*/ 7428637 w 12117871"/>
                <a:gd name="connsiteY1773" fmla="*/ 3811397 h 6072780"/>
                <a:gd name="connsiteX1774" fmla="*/ 7428637 w 12117871"/>
                <a:gd name="connsiteY1774" fmla="*/ 4034377 h 6072780"/>
                <a:gd name="connsiteX1775" fmla="*/ 7393349 w 12117871"/>
                <a:gd name="connsiteY1775" fmla="*/ 4034377 h 6072780"/>
                <a:gd name="connsiteX1776" fmla="*/ 7393349 w 12117871"/>
                <a:gd name="connsiteY1776" fmla="*/ 3854593 h 6072780"/>
                <a:gd name="connsiteX1777" fmla="*/ 7372740 w 12117871"/>
                <a:gd name="connsiteY1777" fmla="*/ 3866229 h 6072780"/>
                <a:gd name="connsiteX1778" fmla="*/ 7347567 w 12117871"/>
                <a:gd name="connsiteY1778" fmla="*/ 3874671 h 6072780"/>
                <a:gd name="connsiteX1779" fmla="*/ 7347567 w 12117871"/>
                <a:gd name="connsiteY1779" fmla="*/ 3844555 h 6072780"/>
                <a:gd name="connsiteX1780" fmla="*/ 7364602 w 12117871"/>
                <a:gd name="connsiteY1780" fmla="*/ 3838471 h 6072780"/>
                <a:gd name="connsiteX1781" fmla="*/ 7380801 w 12117871"/>
                <a:gd name="connsiteY1781" fmla="*/ 3831322 h 6072780"/>
                <a:gd name="connsiteX1782" fmla="*/ 7396924 w 12117871"/>
                <a:gd name="connsiteY1782" fmla="*/ 3822500 h 6072780"/>
                <a:gd name="connsiteX1783" fmla="*/ 7413731 w 12117871"/>
                <a:gd name="connsiteY1783" fmla="*/ 3811397 h 6072780"/>
                <a:gd name="connsiteX1784" fmla="*/ 7015147 w 12117871"/>
                <a:gd name="connsiteY1784" fmla="*/ 3811397 h 6072780"/>
                <a:gd name="connsiteX1785" fmla="*/ 7030053 w 12117871"/>
                <a:gd name="connsiteY1785" fmla="*/ 3811397 h 6072780"/>
                <a:gd name="connsiteX1786" fmla="*/ 7030053 w 12117871"/>
                <a:gd name="connsiteY1786" fmla="*/ 4034377 h 6072780"/>
                <a:gd name="connsiteX1787" fmla="*/ 6994765 w 12117871"/>
                <a:gd name="connsiteY1787" fmla="*/ 4034377 h 6072780"/>
                <a:gd name="connsiteX1788" fmla="*/ 6994765 w 12117871"/>
                <a:gd name="connsiteY1788" fmla="*/ 3854593 h 6072780"/>
                <a:gd name="connsiteX1789" fmla="*/ 6974156 w 12117871"/>
                <a:gd name="connsiteY1789" fmla="*/ 3866229 h 6072780"/>
                <a:gd name="connsiteX1790" fmla="*/ 6948983 w 12117871"/>
                <a:gd name="connsiteY1790" fmla="*/ 3874671 h 6072780"/>
                <a:gd name="connsiteX1791" fmla="*/ 6948983 w 12117871"/>
                <a:gd name="connsiteY1791" fmla="*/ 3844555 h 6072780"/>
                <a:gd name="connsiteX1792" fmla="*/ 6966018 w 12117871"/>
                <a:gd name="connsiteY1792" fmla="*/ 3838471 h 6072780"/>
                <a:gd name="connsiteX1793" fmla="*/ 6982217 w 12117871"/>
                <a:gd name="connsiteY1793" fmla="*/ 3831322 h 6072780"/>
                <a:gd name="connsiteX1794" fmla="*/ 6998340 w 12117871"/>
                <a:gd name="connsiteY1794" fmla="*/ 3822500 h 6072780"/>
                <a:gd name="connsiteX1795" fmla="*/ 7015147 w 12117871"/>
                <a:gd name="connsiteY1795" fmla="*/ 3811397 h 6072780"/>
                <a:gd name="connsiteX1796" fmla="*/ 6727931 w 12117871"/>
                <a:gd name="connsiteY1796" fmla="*/ 3811397 h 6072780"/>
                <a:gd name="connsiteX1797" fmla="*/ 6742837 w 12117871"/>
                <a:gd name="connsiteY1797" fmla="*/ 3811397 h 6072780"/>
                <a:gd name="connsiteX1798" fmla="*/ 6742837 w 12117871"/>
                <a:gd name="connsiteY1798" fmla="*/ 4034377 h 6072780"/>
                <a:gd name="connsiteX1799" fmla="*/ 6707549 w 12117871"/>
                <a:gd name="connsiteY1799" fmla="*/ 4034377 h 6072780"/>
                <a:gd name="connsiteX1800" fmla="*/ 6707549 w 12117871"/>
                <a:gd name="connsiteY1800" fmla="*/ 3854593 h 6072780"/>
                <a:gd name="connsiteX1801" fmla="*/ 6686940 w 12117871"/>
                <a:gd name="connsiteY1801" fmla="*/ 3866229 h 6072780"/>
                <a:gd name="connsiteX1802" fmla="*/ 6661767 w 12117871"/>
                <a:gd name="connsiteY1802" fmla="*/ 3874671 h 6072780"/>
                <a:gd name="connsiteX1803" fmla="*/ 6661767 w 12117871"/>
                <a:gd name="connsiteY1803" fmla="*/ 3844555 h 6072780"/>
                <a:gd name="connsiteX1804" fmla="*/ 6678802 w 12117871"/>
                <a:gd name="connsiteY1804" fmla="*/ 3838471 h 6072780"/>
                <a:gd name="connsiteX1805" fmla="*/ 6695001 w 12117871"/>
                <a:gd name="connsiteY1805" fmla="*/ 3831322 h 6072780"/>
                <a:gd name="connsiteX1806" fmla="*/ 6711124 w 12117871"/>
                <a:gd name="connsiteY1806" fmla="*/ 3822500 h 6072780"/>
                <a:gd name="connsiteX1807" fmla="*/ 6727931 w 12117871"/>
                <a:gd name="connsiteY1807" fmla="*/ 3811397 h 6072780"/>
                <a:gd name="connsiteX1808" fmla="*/ 6584323 w 12117871"/>
                <a:gd name="connsiteY1808" fmla="*/ 3811397 h 6072780"/>
                <a:gd name="connsiteX1809" fmla="*/ 6599229 w 12117871"/>
                <a:gd name="connsiteY1809" fmla="*/ 3811397 h 6072780"/>
                <a:gd name="connsiteX1810" fmla="*/ 6599229 w 12117871"/>
                <a:gd name="connsiteY1810" fmla="*/ 4034377 h 6072780"/>
                <a:gd name="connsiteX1811" fmla="*/ 6563941 w 12117871"/>
                <a:gd name="connsiteY1811" fmla="*/ 4034377 h 6072780"/>
                <a:gd name="connsiteX1812" fmla="*/ 6563941 w 12117871"/>
                <a:gd name="connsiteY1812" fmla="*/ 3854593 h 6072780"/>
                <a:gd name="connsiteX1813" fmla="*/ 6543332 w 12117871"/>
                <a:gd name="connsiteY1813" fmla="*/ 3866229 h 6072780"/>
                <a:gd name="connsiteX1814" fmla="*/ 6518159 w 12117871"/>
                <a:gd name="connsiteY1814" fmla="*/ 3874671 h 6072780"/>
                <a:gd name="connsiteX1815" fmla="*/ 6518159 w 12117871"/>
                <a:gd name="connsiteY1815" fmla="*/ 3844555 h 6072780"/>
                <a:gd name="connsiteX1816" fmla="*/ 6535194 w 12117871"/>
                <a:gd name="connsiteY1816" fmla="*/ 3838471 h 6072780"/>
                <a:gd name="connsiteX1817" fmla="*/ 6551393 w 12117871"/>
                <a:gd name="connsiteY1817" fmla="*/ 3831322 h 6072780"/>
                <a:gd name="connsiteX1818" fmla="*/ 6567516 w 12117871"/>
                <a:gd name="connsiteY1818" fmla="*/ 3822500 h 6072780"/>
                <a:gd name="connsiteX1819" fmla="*/ 6584323 w 12117871"/>
                <a:gd name="connsiteY1819" fmla="*/ 3811397 h 6072780"/>
                <a:gd name="connsiteX1820" fmla="*/ 6373956 w 12117871"/>
                <a:gd name="connsiteY1820" fmla="*/ 3811397 h 6072780"/>
                <a:gd name="connsiteX1821" fmla="*/ 6445123 w 12117871"/>
                <a:gd name="connsiteY1821" fmla="*/ 3921984 h 6072780"/>
                <a:gd name="connsiteX1822" fmla="*/ 6425037 w 12117871"/>
                <a:gd name="connsiteY1822" fmla="*/ 4005564 h 6072780"/>
                <a:gd name="connsiteX1823" fmla="*/ 6368840 w 12117871"/>
                <a:gd name="connsiteY1823" fmla="*/ 4034377 h 6072780"/>
                <a:gd name="connsiteX1824" fmla="*/ 6316255 w 12117871"/>
                <a:gd name="connsiteY1824" fmla="*/ 4006843 h 6072780"/>
                <a:gd name="connsiteX1825" fmla="*/ 6297372 w 12117871"/>
                <a:gd name="connsiteY1825" fmla="*/ 3927250 h 6072780"/>
                <a:gd name="connsiteX1826" fmla="*/ 6317082 w 12117871"/>
                <a:gd name="connsiteY1826" fmla="*/ 3840736 h 6072780"/>
                <a:gd name="connsiteX1827" fmla="*/ 6373956 w 12117871"/>
                <a:gd name="connsiteY1827" fmla="*/ 3811397 h 6072780"/>
                <a:gd name="connsiteX1828" fmla="*/ 5975659 w 12117871"/>
                <a:gd name="connsiteY1828" fmla="*/ 3811397 h 6072780"/>
                <a:gd name="connsiteX1829" fmla="*/ 5990568 w 12117871"/>
                <a:gd name="connsiteY1829" fmla="*/ 3811397 h 6072780"/>
                <a:gd name="connsiteX1830" fmla="*/ 5990568 w 12117871"/>
                <a:gd name="connsiteY1830" fmla="*/ 4034377 h 6072780"/>
                <a:gd name="connsiteX1831" fmla="*/ 5955278 w 12117871"/>
                <a:gd name="connsiteY1831" fmla="*/ 4034377 h 6072780"/>
                <a:gd name="connsiteX1832" fmla="*/ 5955278 w 12117871"/>
                <a:gd name="connsiteY1832" fmla="*/ 3854593 h 6072780"/>
                <a:gd name="connsiteX1833" fmla="*/ 5934669 w 12117871"/>
                <a:gd name="connsiteY1833" fmla="*/ 3866229 h 6072780"/>
                <a:gd name="connsiteX1834" fmla="*/ 5909498 w 12117871"/>
                <a:gd name="connsiteY1834" fmla="*/ 3874671 h 6072780"/>
                <a:gd name="connsiteX1835" fmla="*/ 5909498 w 12117871"/>
                <a:gd name="connsiteY1835" fmla="*/ 3844555 h 6072780"/>
                <a:gd name="connsiteX1836" fmla="*/ 5926531 w 12117871"/>
                <a:gd name="connsiteY1836" fmla="*/ 3838471 h 6072780"/>
                <a:gd name="connsiteX1837" fmla="*/ 5942730 w 12117871"/>
                <a:gd name="connsiteY1837" fmla="*/ 3831322 h 6072780"/>
                <a:gd name="connsiteX1838" fmla="*/ 5958852 w 12117871"/>
                <a:gd name="connsiteY1838" fmla="*/ 3822500 h 6072780"/>
                <a:gd name="connsiteX1839" fmla="*/ 5975659 w 12117871"/>
                <a:gd name="connsiteY1839" fmla="*/ 3811397 h 6072780"/>
                <a:gd name="connsiteX1840" fmla="*/ 5786272 w 12117871"/>
                <a:gd name="connsiteY1840" fmla="*/ 3811397 h 6072780"/>
                <a:gd name="connsiteX1841" fmla="*/ 5857440 w 12117871"/>
                <a:gd name="connsiteY1841" fmla="*/ 3921984 h 6072780"/>
                <a:gd name="connsiteX1842" fmla="*/ 5837355 w 12117871"/>
                <a:gd name="connsiteY1842" fmla="*/ 4005564 h 6072780"/>
                <a:gd name="connsiteX1843" fmla="*/ 5781158 w 12117871"/>
                <a:gd name="connsiteY1843" fmla="*/ 4034377 h 6072780"/>
                <a:gd name="connsiteX1844" fmla="*/ 5728572 w 12117871"/>
                <a:gd name="connsiteY1844" fmla="*/ 4006843 h 6072780"/>
                <a:gd name="connsiteX1845" fmla="*/ 5709690 w 12117871"/>
                <a:gd name="connsiteY1845" fmla="*/ 3927250 h 6072780"/>
                <a:gd name="connsiteX1846" fmla="*/ 5729400 w 12117871"/>
                <a:gd name="connsiteY1846" fmla="*/ 3840736 h 6072780"/>
                <a:gd name="connsiteX1847" fmla="*/ 5786272 w 12117871"/>
                <a:gd name="connsiteY1847" fmla="*/ 3811397 h 6072780"/>
                <a:gd name="connsiteX1848" fmla="*/ 5093284 w 12117871"/>
                <a:gd name="connsiteY1848" fmla="*/ 3811397 h 6072780"/>
                <a:gd name="connsiteX1849" fmla="*/ 5164451 w 12117871"/>
                <a:gd name="connsiteY1849" fmla="*/ 3921984 h 6072780"/>
                <a:gd name="connsiteX1850" fmla="*/ 5144364 w 12117871"/>
                <a:gd name="connsiteY1850" fmla="*/ 4005564 h 6072780"/>
                <a:gd name="connsiteX1851" fmla="*/ 5088168 w 12117871"/>
                <a:gd name="connsiteY1851" fmla="*/ 4034377 h 6072780"/>
                <a:gd name="connsiteX1852" fmla="*/ 5035583 w 12117871"/>
                <a:gd name="connsiteY1852" fmla="*/ 4006843 h 6072780"/>
                <a:gd name="connsiteX1853" fmla="*/ 5016700 w 12117871"/>
                <a:gd name="connsiteY1853" fmla="*/ 3927250 h 6072780"/>
                <a:gd name="connsiteX1854" fmla="*/ 5036410 w 12117871"/>
                <a:gd name="connsiteY1854" fmla="*/ 3840736 h 6072780"/>
                <a:gd name="connsiteX1855" fmla="*/ 5093284 w 12117871"/>
                <a:gd name="connsiteY1855" fmla="*/ 3811397 h 6072780"/>
                <a:gd name="connsiteX1856" fmla="*/ 4694968 w 12117871"/>
                <a:gd name="connsiteY1856" fmla="*/ 3811397 h 6072780"/>
                <a:gd name="connsiteX1857" fmla="*/ 4709876 w 12117871"/>
                <a:gd name="connsiteY1857" fmla="*/ 3811397 h 6072780"/>
                <a:gd name="connsiteX1858" fmla="*/ 4709876 w 12117871"/>
                <a:gd name="connsiteY1858" fmla="*/ 4034377 h 6072780"/>
                <a:gd name="connsiteX1859" fmla="*/ 4674589 w 12117871"/>
                <a:gd name="connsiteY1859" fmla="*/ 4034377 h 6072780"/>
                <a:gd name="connsiteX1860" fmla="*/ 4674589 w 12117871"/>
                <a:gd name="connsiteY1860" fmla="*/ 3854593 h 6072780"/>
                <a:gd name="connsiteX1861" fmla="*/ 4653978 w 12117871"/>
                <a:gd name="connsiteY1861" fmla="*/ 3866229 h 6072780"/>
                <a:gd name="connsiteX1862" fmla="*/ 4628805 w 12117871"/>
                <a:gd name="connsiteY1862" fmla="*/ 3874671 h 6072780"/>
                <a:gd name="connsiteX1863" fmla="*/ 4628805 w 12117871"/>
                <a:gd name="connsiteY1863" fmla="*/ 3844555 h 6072780"/>
                <a:gd name="connsiteX1864" fmla="*/ 4645841 w 12117871"/>
                <a:gd name="connsiteY1864" fmla="*/ 3838471 h 6072780"/>
                <a:gd name="connsiteX1865" fmla="*/ 4662040 w 12117871"/>
                <a:gd name="connsiteY1865" fmla="*/ 3831322 h 6072780"/>
                <a:gd name="connsiteX1866" fmla="*/ 4678162 w 12117871"/>
                <a:gd name="connsiteY1866" fmla="*/ 3822500 h 6072780"/>
                <a:gd name="connsiteX1867" fmla="*/ 4694968 w 12117871"/>
                <a:gd name="connsiteY1867" fmla="*/ 3811397 h 6072780"/>
                <a:gd name="connsiteX1868" fmla="*/ 4345906 w 12117871"/>
                <a:gd name="connsiteY1868" fmla="*/ 3811397 h 6072780"/>
                <a:gd name="connsiteX1869" fmla="*/ 4360813 w 12117871"/>
                <a:gd name="connsiteY1869" fmla="*/ 3811397 h 6072780"/>
                <a:gd name="connsiteX1870" fmla="*/ 4360813 w 12117871"/>
                <a:gd name="connsiteY1870" fmla="*/ 4034377 h 6072780"/>
                <a:gd name="connsiteX1871" fmla="*/ 4325525 w 12117871"/>
                <a:gd name="connsiteY1871" fmla="*/ 4034377 h 6072780"/>
                <a:gd name="connsiteX1872" fmla="*/ 4325525 w 12117871"/>
                <a:gd name="connsiteY1872" fmla="*/ 3854593 h 6072780"/>
                <a:gd name="connsiteX1873" fmla="*/ 4304915 w 12117871"/>
                <a:gd name="connsiteY1873" fmla="*/ 3866229 h 6072780"/>
                <a:gd name="connsiteX1874" fmla="*/ 4279743 w 12117871"/>
                <a:gd name="connsiteY1874" fmla="*/ 3874671 h 6072780"/>
                <a:gd name="connsiteX1875" fmla="*/ 4279743 w 12117871"/>
                <a:gd name="connsiteY1875" fmla="*/ 3844555 h 6072780"/>
                <a:gd name="connsiteX1876" fmla="*/ 4296778 w 12117871"/>
                <a:gd name="connsiteY1876" fmla="*/ 3838471 h 6072780"/>
                <a:gd name="connsiteX1877" fmla="*/ 4312977 w 12117871"/>
                <a:gd name="connsiteY1877" fmla="*/ 3831322 h 6072780"/>
                <a:gd name="connsiteX1878" fmla="*/ 4329099 w 12117871"/>
                <a:gd name="connsiteY1878" fmla="*/ 3822500 h 6072780"/>
                <a:gd name="connsiteX1879" fmla="*/ 4345906 w 12117871"/>
                <a:gd name="connsiteY1879" fmla="*/ 3811397 h 6072780"/>
                <a:gd name="connsiteX1880" fmla="*/ 3839047 w 12117871"/>
                <a:gd name="connsiteY1880" fmla="*/ 3811397 h 6072780"/>
                <a:gd name="connsiteX1881" fmla="*/ 3910214 w 12117871"/>
                <a:gd name="connsiteY1881" fmla="*/ 3921984 h 6072780"/>
                <a:gd name="connsiteX1882" fmla="*/ 3890128 w 12117871"/>
                <a:gd name="connsiteY1882" fmla="*/ 4005564 h 6072780"/>
                <a:gd name="connsiteX1883" fmla="*/ 3833931 w 12117871"/>
                <a:gd name="connsiteY1883" fmla="*/ 4034377 h 6072780"/>
                <a:gd name="connsiteX1884" fmla="*/ 3781346 w 12117871"/>
                <a:gd name="connsiteY1884" fmla="*/ 4006843 h 6072780"/>
                <a:gd name="connsiteX1885" fmla="*/ 3762464 w 12117871"/>
                <a:gd name="connsiteY1885" fmla="*/ 3927250 h 6072780"/>
                <a:gd name="connsiteX1886" fmla="*/ 3782173 w 12117871"/>
                <a:gd name="connsiteY1886" fmla="*/ 3840736 h 6072780"/>
                <a:gd name="connsiteX1887" fmla="*/ 3839047 w 12117871"/>
                <a:gd name="connsiteY1887" fmla="*/ 3811397 h 6072780"/>
                <a:gd name="connsiteX1888" fmla="*/ 3616537 w 12117871"/>
                <a:gd name="connsiteY1888" fmla="*/ 3811397 h 6072780"/>
                <a:gd name="connsiteX1889" fmla="*/ 3687703 w 12117871"/>
                <a:gd name="connsiteY1889" fmla="*/ 3921984 h 6072780"/>
                <a:gd name="connsiteX1890" fmla="*/ 3667617 w 12117871"/>
                <a:gd name="connsiteY1890" fmla="*/ 4005564 h 6072780"/>
                <a:gd name="connsiteX1891" fmla="*/ 3611420 w 12117871"/>
                <a:gd name="connsiteY1891" fmla="*/ 4034377 h 6072780"/>
                <a:gd name="connsiteX1892" fmla="*/ 3558835 w 12117871"/>
                <a:gd name="connsiteY1892" fmla="*/ 4006843 h 6072780"/>
                <a:gd name="connsiteX1893" fmla="*/ 3539952 w 12117871"/>
                <a:gd name="connsiteY1893" fmla="*/ 3927250 h 6072780"/>
                <a:gd name="connsiteX1894" fmla="*/ 3559662 w 12117871"/>
                <a:gd name="connsiteY1894" fmla="*/ 3840736 h 6072780"/>
                <a:gd name="connsiteX1895" fmla="*/ 3616537 w 12117871"/>
                <a:gd name="connsiteY1895" fmla="*/ 3811397 h 6072780"/>
                <a:gd name="connsiteX1896" fmla="*/ 3454863 w 12117871"/>
                <a:gd name="connsiteY1896" fmla="*/ 3811397 h 6072780"/>
                <a:gd name="connsiteX1897" fmla="*/ 3469768 w 12117871"/>
                <a:gd name="connsiteY1897" fmla="*/ 3811397 h 6072780"/>
                <a:gd name="connsiteX1898" fmla="*/ 3469768 w 12117871"/>
                <a:gd name="connsiteY1898" fmla="*/ 4034377 h 6072780"/>
                <a:gd name="connsiteX1899" fmla="*/ 3434481 w 12117871"/>
                <a:gd name="connsiteY1899" fmla="*/ 4034377 h 6072780"/>
                <a:gd name="connsiteX1900" fmla="*/ 3434481 w 12117871"/>
                <a:gd name="connsiteY1900" fmla="*/ 3854593 h 6072780"/>
                <a:gd name="connsiteX1901" fmla="*/ 3413872 w 12117871"/>
                <a:gd name="connsiteY1901" fmla="*/ 3866229 h 6072780"/>
                <a:gd name="connsiteX1902" fmla="*/ 3388698 w 12117871"/>
                <a:gd name="connsiteY1902" fmla="*/ 3874671 h 6072780"/>
                <a:gd name="connsiteX1903" fmla="*/ 3388698 w 12117871"/>
                <a:gd name="connsiteY1903" fmla="*/ 3844555 h 6072780"/>
                <a:gd name="connsiteX1904" fmla="*/ 3405734 w 12117871"/>
                <a:gd name="connsiteY1904" fmla="*/ 3838471 h 6072780"/>
                <a:gd name="connsiteX1905" fmla="*/ 3421933 w 12117871"/>
                <a:gd name="connsiteY1905" fmla="*/ 3831322 h 6072780"/>
                <a:gd name="connsiteX1906" fmla="*/ 3438054 w 12117871"/>
                <a:gd name="connsiteY1906" fmla="*/ 3822500 h 6072780"/>
                <a:gd name="connsiteX1907" fmla="*/ 3454863 w 12117871"/>
                <a:gd name="connsiteY1907" fmla="*/ 3811397 h 6072780"/>
                <a:gd name="connsiteX1908" fmla="*/ 3158682 w 12117871"/>
                <a:gd name="connsiteY1908" fmla="*/ 3811397 h 6072780"/>
                <a:gd name="connsiteX1909" fmla="*/ 3173587 w 12117871"/>
                <a:gd name="connsiteY1909" fmla="*/ 3811397 h 6072780"/>
                <a:gd name="connsiteX1910" fmla="*/ 3173587 w 12117871"/>
                <a:gd name="connsiteY1910" fmla="*/ 4034377 h 6072780"/>
                <a:gd name="connsiteX1911" fmla="*/ 3138299 w 12117871"/>
                <a:gd name="connsiteY1911" fmla="*/ 4034377 h 6072780"/>
                <a:gd name="connsiteX1912" fmla="*/ 3138299 w 12117871"/>
                <a:gd name="connsiteY1912" fmla="*/ 3854593 h 6072780"/>
                <a:gd name="connsiteX1913" fmla="*/ 3117690 w 12117871"/>
                <a:gd name="connsiteY1913" fmla="*/ 3866229 h 6072780"/>
                <a:gd name="connsiteX1914" fmla="*/ 3092517 w 12117871"/>
                <a:gd name="connsiteY1914" fmla="*/ 3874671 h 6072780"/>
                <a:gd name="connsiteX1915" fmla="*/ 3092517 w 12117871"/>
                <a:gd name="connsiteY1915" fmla="*/ 3844555 h 6072780"/>
                <a:gd name="connsiteX1916" fmla="*/ 3109553 w 12117871"/>
                <a:gd name="connsiteY1916" fmla="*/ 3838471 h 6072780"/>
                <a:gd name="connsiteX1917" fmla="*/ 3125751 w 12117871"/>
                <a:gd name="connsiteY1917" fmla="*/ 3831322 h 6072780"/>
                <a:gd name="connsiteX1918" fmla="*/ 3141875 w 12117871"/>
                <a:gd name="connsiteY1918" fmla="*/ 3822500 h 6072780"/>
                <a:gd name="connsiteX1919" fmla="*/ 3158682 w 12117871"/>
                <a:gd name="connsiteY1919" fmla="*/ 3811397 h 6072780"/>
                <a:gd name="connsiteX1920" fmla="*/ 2783382 w 12117871"/>
                <a:gd name="connsiteY1920" fmla="*/ 3811397 h 6072780"/>
                <a:gd name="connsiteX1921" fmla="*/ 2798288 w 12117871"/>
                <a:gd name="connsiteY1921" fmla="*/ 3811397 h 6072780"/>
                <a:gd name="connsiteX1922" fmla="*/ 2798288 w 12117871"/>
                <a:gd name="connsiteY1922" fmla="*/ 4034377 h 6072780"/>
                <a:gd name="connsiteX1923" fmla="*/ 2763000 w 12117871"/>
                <a:gd name="connsiteY1923" fmla="*/ 4034377 h 6072780"/>
                <a:gd name="connsiteX1924" fmla="*/ 2763000 w 12117871"/>
                <a:gd name="connsiteY1924" fmla="*/ 3854593 h 6072780"/>
                <a:gd name="connsiteX1925" fmla="*/ 2742391 w 12117871"/>
                <a:gd name="connsiteY1925" fmla="*/ 3866229 h 6072780"/>
                <a:gd name="connsiteX1926" fmla="*/ 2717219 w 12117871"/>
                <a:gd name="connsiteY1926" fmla="*/ 3874671 h 6072780"/>
                <a:gd name="connsiteX1927" fmla="*/ 2717219 w 12117871"/>
                <a:gd name="connsiteY1927" fmla="*/ 3844555 h 6072780"/>
                <a:gd name="connsiteX1928" fmla="*/ 2734253 w 12117871"/>
                <a:gd name="connsiteY1928" fmla="*/ 3838471 h 6072780"/>
                <a:gd name="connsiteX1929" fmla="*/ 2750453 w 12117871"/>
                <a:gd name="connsiteY1929" fmla="*/ 3831322 h 6072780"/>
                <a:gd name="connsiteX1930" fmla="*/ 2766576 w 12117871"/>
                <a:gd name="connsiteY1930" fmla="*/ 3822500 h 6072780"/>
                <a:gd name="connsiteX1931" fmla="*/ 2783382 w 12117871"/>
                <a:gd name="connsiteY1931" fmla="*/ 3811397 h 6072780"/>
                <a:gd name="connsiteX1932" fmla="*/ 2489154 w 12117871"/>
                <a:gd name="connsiteY1932" fmla="*/ 3811397 h 6072780"/>
                <a:gd name="connsiteX1933" fmla="*/ 2504060 w 12117871"/>
                <a:gd name="connsiteY1933" fmla="*/ 3811397 h 6072780"/>
                <a:gd name="connsiteX1934" fmla="*/ 2504060 w 12117871"/>
                <a:gd name="connsiteY1934" fmla="*/ 4034377 h 6072780"/>
                <a:gd name="connsiteX1935" fmla="*/ 2468772 w 12117871"/>
                <a:gd name="connsiteY1935" fmla="*/ 4034377 h 6072780"/>
                <a:gd name="connsiteX1936" fmla="*/ 2468772 w 12117871"/>
                <a:gd name="connsiteY1936" fmla="*/ 3854593 h 6072780"/>
                <a:gd name="connsiteX1937" fmla="*/ 2448163 w 12117871"/>
                <a:gd name="connsiteY1937" fmla="*/ 3866229 h 6072780"/>
                <a:gd name="connsiteX1938" fmla="*/ 2422990 w 12117871"/>
                <a:gd name="connsiteY1938" fmla="*/ 3874671 h 6072780"/>
                <a:gd name="connsiteX1939" fmla="*/ 2422990 w 12117871"/>
                <a:gd name="connsiteY1939" fmla="*/ 3844555 h 6072780"/>
                <a:gd name="connsiteX1940" fmla="*/ 2440025 w 12117871"/>
                <a:gd name="connsiteY1940" fmla="*/ 3838471 h 6072780"/>
                <a:gd name="connsiteX1941" fmla="*/ 2456224 w 12117871"/>
                <a:gd name="connsiteY1941" fmla="*/ 3831322 h 6072780"/>
                <a:gd name="connsiteX1942" fmla="*/ 2472346 w 12117871"/>
                <a:gd name="connsiteY1942" fmla="*/ 3822500 h 6072780"/>
                <a:gd name="connsiteX1943" fmla="*/ 2489154 w 12117871"/>
                <a:gd name="connsiteY1943" fmla="*/ 3811397 h 6072780"/>
                <a:gd name="connsiteX1944" fmla="*/ 1599916 w 12117871"/>
                <a:gd name="connsiteY1944" fmla="*/ 3811397 h 6072780"/>
                <a:gd name="connsiteX1945" fmla="*/ 1614822 w 12117871"/>
                <a:gd name="connsiteY1945" fmla="*/ 3811397 h 6072780"/>
                <a:gd name="connsiteX1946" fmla="*/ 1614822 w 12117871"/>
                <a:gd name="connsiteY1946" fmla="*/ 4034377 h 6072780"/>
                <a:gd name="connsiteX1947" fmla="*/ 1579534 w 12117871"/>
                <a:gd name="connsiteY1947" fmla="*/ 4034377 h 6072780"/>
                <a:gd name="connsiteX1948" fmla="*/ 1579534 w 12117871"/>
                <a:gd name="connsiteY1948" fmla="*/ 3854593 h 6072780"/>
                <a:gd name="connsiteX1949" fmla="*/ 1558925 w 12117871"/>
                <a:gd name="connsiteY1949" fmla="*/ 3866229 h 6072780"/>
                <a:gd name="connsiteX1950" fmla="*/ 1533752 w 12117871"/>
                <a:gd name="connsiteY1950" fmla="*/ 3874671 h 6072780"/>
                <a:gd name="connsiteX1951" fmla="*/ 1533752 w 12117871"/>
                <a:gd name="connsiteY1951" fmla="*/ 3844555 h 6072780"/>
                <a:gd name="connsiteX1952" fmla="*/ 1550787 w 12117871"/>
                <a:gd name="connsiteY1952" fmla="*/ 3838471 h 6072780"/>
                <a:gd name="connsiteX1953" fmla="*/ 1566986 w 12117871"/>
                <a:gd name="connsiteY1953" fmla="*/ 3831322 h 6072780"/>
                <a:gd name="connsiteX1954" fmla="*/ 1583109 w 12117871"/>
                <a:gd name="connsiteY1954" fmla="*/ 3822500 h 6072780"/>
                <a:gd name="connsiteX1955" fmla="*/ 1599916 w 12117871"/>
                <a:gd name="connsiteY1955" fmla="*/ 3811397 h 6072780"/>
                <a:gd name="connsiteX1956" fmla="*/ 1302202 w 12117871"/>
                <a:gd name="connsiteY1956" fmla="*/ 3811397 h 6072780"/>
                <a:gd name="connsiteX1957" fmla="*/ 1317108 w 12117871"/>
                <a:gd name="connsiteY1957" fmla="*/ 3811397 h 6072780"/>
                <a:gd name="connsiteX1958" fmla="*/ 1317108 w 12117871"/>
                <a:gd name="connsiteY1958" fmla="*/ 4034377 h 6072780"/>
                <a:gd name="connsiteX1959" fmla="*/ 1281820 w 12117871"/>
                <a:gd name="connsiteY1959" fmla="*/ 4034377 h 6072780"/>
                <a:gd name="connsiteX1960" fmla="*/ 1281820 w 12117871"/>
                <a:gd name="connsiteY1960" fmla="*/ 3854593 h 6072780"/>
                <a:gd name="connsiteX1961" fmla="*/ 1261211 w 12117871"/>
                <a:gd name="connsiteY1961" fmla="*/ 3866229 h 6072780"/>
                <a:gd name="connsiteX1962" fmla="*/ 1236038 w 12117871"/>
                <a:gd name="connsiteY1962" fmla="*/ 3874671 h 6072780"/>
                <a:gd name="connsiteX1963" fmla="*/ 1236038 w 12117871"/>
                <a:gd name="connsiteY1963" fmla="*/ 3844555 h 6072780"/>
                <a:gd name="connsiteX1964" fmla="*/ 1253073 w 12117871"/>
                <a:gd name="connsiteY1964" fmla="*/ 3838471 h 6072780"/>
                <a:gd name="connsiteX1965" fmla="*/ 1269272 w 12117871"/>
                <a:gd name="connsiteY1965" fmla="*/ 3831322 h 6072780"/>
                <a:gd name="connsiteX1966" fmla="*/ 1285395 w 12117871"/>
                <a:gd name="connsiteY1966" fmla="*/ 3822500 h 6072780"/>
                <a:gd name="connsiteX1967" fmla="*/ 1302202 w 12117871"/>
                <a:gd name="connsiteY1967" fmla="*/ 3811397 h 6072780"/>
                <a:gd name="connsiteX1968" fmla="*/ 927321 w 12117871"/>
                <a:gd name="connsiteY1968" fmla="*/ 3811397 h 6072780"/>
                <a:gd name="connsiteX1969" fmla="*/ 942227 w 12117871"/>
                <a:gd name="connsiteY1969" fmla="*/ 3811397 h 6072780"/>
                <a:gd name="connsiteX1970" fmla="*/ 942227 w 12117871"/>
                <a:gd name="connsiteY1970" fmla="*/ 4034377 h 6072780"/>
                <a:gd name="connsiteX1971" fmla="*/ 906939 w 12117871"/>
                <a:gd name="connsiteY1971" fmla="*/ 4034377 h 6072780"/>
                <a:gd name="connsiteX1972" fmla="*/ 906939 w 12117871"/>
                <a:gd name="connsiteY1972" fmla="*/ 3854593 h 6072780"/>
                <a:gd name="connsiteX1973" fmla="*/ 886330 w 12117871"/>
                <a:gd name="connsiteY1973" fmla="*/ 3866229 h 6072780"/>
                <a:gd name="connsiteX1974" fmla="*/ 861157 w 12117871"/>
                <a:gd name="connsiteY1974" fmla="*/ 3874671 h 6072780"/>
                <a:gd name="connsiteX1975" fmla="*/ 861157 w 12117871"/>
                <a:gd name="connsiteY1975" fmla="*/ 3844555 h 6072780"/>
                <a:gd name="connsiteX1976" fmla="*/ 878192 w 12117871"/>
                <a:gd name="connsiteY1976" fmla="*/ 3838471 h 6072780"/>
                <a:gd name="connsiteX1977" fmla="*/ 894391 w 12117871"/>
                <a:gd name="connsiteY1977" fmla="*/ 3831322 h 6072780"/>
                <a:gd name="connsiteX1978" fmla="*/ 910514 w 12117871"/>
                <a:gd name="connsiteY1978" fmla="*/ 3822500 h 6072780"/>
                <a:gd name="connsiteX1979" fmla="*/ 927321 w 12117871"/>
                <a:gd name="connsiteY1979" fmla="*/ 3811397 h 6072780"/>
                <a:gd name="connsiteX1980" fmla="*/ 778464 w 12117871"/>
                <a:gd name="connsiteY1980" fmla="*/ 3811397 h 6072780"/>
                <a:gd name="connsiteX1981" fmla="*/ 793370 w 12117871"/>
                <a:gd name="connsiteY1981" fmla="*/ 3811397 h 6072780"/>
                <a:gd name="connsiteX1982" fmla="*/ 793370 w 12117871"/>
                <a:gd name="connsiteY1982" fmla="*/ 4034377 h 6072780"/>
                <a:gd name="connsiteX1983" fmla="*/ 758082 w 12117871"/>
                <a:gd name="connsiteY1983" fmla="*/ 4034377 h 6072780"/>
                <a:gd name="connsiteX1984" fmla="*/ 758082 w 12117871"/>
                <a:gd name="connsiteY1984" fmla="*/ 3854593 h 6072780"/>
                <a:gd name="connsiteX1985" fmla="*/ 737473 w 12117871"/>
                <a:gd name="connsiteY1985" fmla="*/ 3866229 h 6072780"/>
                <a:gd name="connsiteX1986" fmla="*/ 712300 w 12117871"/>
                <a:gd name="connsiteY1986" fmla="*/ 3874671 h 6072780"/>
                <a:gd name="connsiteX1987" fmla="*/ 712300 w 12117871"/>
                <a:gd name="connsiteY1987" fmla="*/ 3844555 h 6072780"/>
                <a:gd name="connsiteX1988" fmla="*/ 729335 w 12117871"/>
                <a:gd name="connsiteY1988" fmla="*/ 3838471 h 6072780"/>
                <a:gd name="connsiteX1989" fmla="*/ 745535 w 12117871"/>
                <a:gd name="connsiteY1989" fmla="*/ 3831322 h 6072780"/>
                <a:gd name="connsiteX1990" fmla="*/ 761657 w 12117871"/>
                <a:gd name="connsiteY1990" fmla="*/ 3822500 h 6072780"/>
                <a:gd name="connsiteX1991" fmla="*/ 778464 w 12117871"/>
                <a:gd name="connsiteY1991" fmla="*/ 3811397 h 6072780"/>
                <a:gd name="connsiteX1992" fmla="*/ 629607 w 12117871"/>
                <a:gd name="connsiteY1992" fmla="*/ 3811397 h 6072780"/>
                <a:gd name="connsiteX1993" fmla="*/ 644513 w 12117871"/>
                <a:gd name="connsiteY1993" fmla="*/ 3811397 h 6072780"/>
                <a:gd name="connsiteX1994" fmla="*/ 644513 w 12117871"/>
                <a:gd name="connsiteY1994" fmla="*/ 4034377 h 6072780"/>
                <a:gd name="connsiteX1995" fmla="*/ 609225 w 12117871"/>
                <a:gd name="connsiteY1995" fmla="*/ 4034377 h 6072780"/>
                <a:gd name="connsiteX1996" fmla="*/ 609225 w 12117871"/>
                <a:gd name="connsiteY1996" fmla="*/ 3854593 h 6072780"/>
                <a:gd name="connsiteX1997" fmla="*/ 588616 w 12117871"/>
                <a:gd name="connsiteY1997" fmla="*/ 3866229 h 6072780"/>
                <a:gd name="connsiteX1998" fmla="*/ 563443 w 12117871"/>
                <a:gd name="connsiteY1998" fmla="*/ 3874671 h 6072780"/>
                <a:gd name="connsiteX1999" fmla="*/ 563443 w 12117871"/>
                <a:gd name="connsiteY1999" fmla="*/ 3844555 h 6072780"/>
                <a:gd name="connsiteX2000" fmla="*/ 580478 w 12117871"/>
                <a:gd name="connsiteY2000" fmla="*/ 3838471 h 6072780"/>
                <a:gd name="connsiteX2001" fmla="*/ 596677 w 12117871"/>
                <a:gd name="connsiteY2001" fmla="*/ 3831322 h 6072780"/>
                <a:gd name="connsiteX2002" fmla="*/ 612800 w 12117871"/>
                <a:gd name="connsiteY2002" fmla="*/ 3822500 h 6072780"/>
                <a:gd name="connsiteX2003" fmla="*/ 629607 w 12117871"/>
                <a:gd name="connsiteY2003" fmla="*/ 3811397 h 6072780"/>
                <a:gd name="connsiteX2004" fmla="*/ 480750 w 12117871"/>
                <a:gd name="connsiteY2004" fmla="*/ 3811397 h 6072780"/>
                <a:gd name="connsiteX2005" fmla="*/ 495656 w 12117871"/>
                <a:gd name="connsiteY2005" fmla="*/ 3811397 h 6072780"/>
                <a:gd name="connsiteX2006" fmla="*/ 495656 w 12117871"/>
                <a:gd name="connsiteY2006" fmla="*/ 4034377 h 6072780"/>
                <a:gd name="connsiteX2007" fmla="*/ 460368 w 12117871"/>
                <a:gd name="connsiteY2007" fmla="*/ 4034377 h 6072780"/>
                <a:gd name="connsiteX2008" fmla="*/ 460368 w 12117871"/>
                <a:gd name="connsiteY2008" fmla="*/ 3854593 h 6072780"/>
                <a:gd name="connsiteX2009" fmla="*/ 439759 w 12117871"/>
                <a:gd name="connsiteY2009" fmla="*/ 3866229 h 6072780"/>
                <a:gd name="connsiteX2010" fmla="*/ 414586 w 12117871"/>
                <a:gd name="connsiteY2010" fmla="*/ 3874671 h 6072780"/>
                <a:gd name="connsiteX2011" fmla="*/ 414586 w 12117871"/>
                <a:gd name="connsiteY2011" fmla="*/ 3844555 h 6072780"/>
                <a:gd name="connsiteX2012" fmla="*/ 431621 w 12117871"/>
                <a:gd name="connsiteY2012" fmla="*/ 3838471 h 6072780"/>
                <a:gd name="connsiteX2013" fmla="*/ 447821 w 12117871"/>
                <a:gd name="connsiteY2013" fmla="*/ 3831322 h 6072780"/>
                <a:gd name="connsiteX2014" fmla="*/ 463943 w 12117871"/>
                <a:gd name="connsiteY2014" fmla="*/ 3822500 h 6072780"/>
                <a:gd name="connsiteX2015" fmla="*/ 480750 w 12117871"/>
                <a:gd name="connsiteY2015" fmla="*/ 3811397 h 6072780"/>
                <a:gd name="connsiteX2016" fmla="*/ 11874294 w 12117871"/>
                <a:gd name="connsiteY2016" fmla="*/ 3510985 h 6072780"/>
                <a:gd name="connsiteX2017" fmla="*/ 11835024 w 12117871"/>
                <a:gd name="connsiteY2017" fmla="*/ 3597499 h 6072780"/>
                <a:gd name="connsiteX2018" fmla="*/ 11873542 w 12117871"/>
                <a:gd name="connsiteY2018" fmla="*/ 3678445 h 6072780"/>
                <a:gd name="connsiteX2019" fmla="*/ 11911457 w 12117871"/>
                <a:gd name="connsiteY2019" fmla="*/ 3596144 h 6072780"/>
                <a:gd name="connsiteX2020" fmla="*/ 11874294 w 12117871"/>
                <a:gd name="connsiteY2020" fmla="*/ 3510985 h 6072780"/>
                <a:gd name="connsiteX2021" fmla="*/ 11189148 w 12117871"/>
                <a:gd name="connsiteY2021" fmla="*/ 3510985 h 6072780"/>
                <a:gd name="connsiteX2022" fmla="*/ 11149878 w 12117871"/>
                <a:gd name="connsiteY2022" fmla="*/ 3597499 h 6072780"/>
                <a:gd name="connsiteX2023" fmla="*/ 11188396 w 12117871"/>
                <a:gd name="connsiteY2023" fmla="*/ 3678445 h 6072780"/>
                <a:gd name="connsiteX2024" fmla="*/ 11226311 w 12117871"/>
                <a:gd name="connsiteY2024" fmla="*/ 3596144 h 6072780"/>
                <a:gd name="connsiteX2025" fmla="*/ 11189148 w 12117871"/>
                <a:gd name="connsiteY2025" fmla="*/ 3510985 h 6072780"/>
                <a:gd name="connsiteX2026" fmla="*/ 9936214 w 12117871"/>
                <a:gd name="connsiteY2026" fmla="*/ 3510985 h 6072780"/>
                <a:gd name="connsiteX2027" fmla="*/ 9896944 w 12117871"/>
                <a:gd name="connsiteY2027" fmla="*/ 3597499 h 6072780"/>
                <a:gd name="connsiteX2028" fmla="*/ 9935462 w 12117871"/>
                <a:gd name="connsiteY2028" fmla="*/ 3678445 h 6072780"/>
                <a:gd name="connsiteX2029" fmla="*/ 9973377 w 12117871"/>
                <a:gd name="connsiteY2029" fmla="*/ 3596144 h 6072780"/>
                <a:gd name="connsiteX2030" fmla="*/ 9936214 w 12117871"/>
                <a:gd name="connsiteY2030" fmla="*/ 3510985 h 6072780"/>
                <a:gd name="connsiteX2031" fmla="*/ 9713703 w 12117871"/>
                <a:gd name="connsiteY2031" fmla="*/ 3510985 h 6072780"/>
                <a:gd name="connsiteX2032" fmla="*/ 9674433 w 12117871"/>
                <a:gd name="connsiteY2032" fmla="*/ 3597499 h 6072780"/>
                <a:gd name="connsiteX2033" fmla="*/ 9712951 w 12117871"/>
                <a:gd name="connsiteY2033" fmla="*/ 3678445 h 6072780"/>
                <a:gd name="connsiteX2034" fmla="*/ 9750866 w 12117871"/>
                <a:gd name="connsiteY2034" fmla="*/ 3596144 h 6072780"/>
                <a:gd name="connsiteX2035" fmla="*/ 9713703 w 12117871"/>
                <a:gd name="connsiteY2035" fmla="*/ 3510985 h 6072780"/>
                <a:gd name="connsiteX2036" fmla="*/ 6372301 w 12117871"/>
                <a:gd name="connsiteY2036" fmla="*/ 3510985 h 6072780"/>
                <a:gd name="connsiteX2037" fmla="*/ 6333031 w 12117871"/>
                <a:gd name="connsiteY2037" fmla="*/ 3597499 h 6072780"/>
                <a:gd name="connsiteX2038" fmla="*/ 6371549 w 12117871"/>
                <a:gd name="connsiteY2038" fmla="*/ 3678445 h 6072780"/>
                <a:gd name="connsiteX2039" fmla="*/ 6409464 w 12117871"/>
                <a:gd name="connsiteY2039" fmla="*/ 3596144 h 6072780"/>
                <a:gd name="connsiteX2040" fmla="*/ 6372301 w 12117871"/>
                <a:gd name="connsiteY2040" fmla="*/ 3510985 h 6072780"/>
                <a:gd name="connsiteX2041" fmla="*/ 5784617 w 12117871"/>
                <a:gd name="connsiteY2041" fmla="*/ 3510985 h 6072780"/>
                <a:gd name="connsiteX2042" fmla="*/ 5745350 w 12117871"/>
                <a:gd name="connsiteY2042" fmla="*/ 3597499 h 6072780"/>
                <a:gd name="connsiteX2043" fmla="*/ 5783865 w 12117871"/>
                <a:gd name="connsiteY2043" fmla="*/ 3678445 h 6072780"/>
                <a:gd name="connsiteX2044" fmla="*/ 5821781 w 12117871"/>
                <a:gd name="connsiteY2044" fmla="*/ 3596144 h 6072780"/>
                <a:gd name="connsiteX2045" fmla="*/ 5784617 w 12117871"/>
                <a:gd name="connsiteY2045" fmla="*/ 3510985 h 6072780"/>
                <a:gd name="connsiteX2046" fmla="*/ 5091629 w 12117871"/>
                <a:gd name="connsiteY2046" fmla="*/ 3510985 h 6072780"/>
                <a:gd name="connsiteX2047" fmla="*/ 5052358 w 12117871"/>
                <a:gd name="connsiteY2047" fmla="*/ 3597499 h 6072780"/>
                <a:gd name="connsiteX2048" fmla="*/ 5090877 w 12117871"/>
                <a:gd name="connsiteY2048" fmla="*/ 3678445 h 6072780"/>
                <a:gd name="connsiteX2049" fmla="*/ 5128792 w 12117871"/>
                <a:gd name="connsiteY2049" fmla="*/ 3596144 h 6072780"/>
                <a:gd name="connsiteX2050" fmla="*/ 5091629 w 12117871"/>
                <a:gd name="connsiteY2050" fmla="*/ 3510985 h 6072780"/>
                <a:gd name="connsiteX2051" fmla="*/ 3837392 w 12117871"/>
                <a:gd name="connsiteY2051" fmla="*/ 3510985 h 6072780"/>
                <a:gd name="connsiteX2052" fmla="*/ 3798122 w 12117871"/>
                <a:gd name="connsiteY2052" fmla="*/ 3597499 h 6072780"/>
                <a:gd name="connsiteX2053" fmla="*/ 3836640 w 12117871"/>
                <a:gd name="connsiteY2053" fmla="*/ 3678445 h 6072780"/>
                <a:gd name="connsiteX2054" fmla="*/ 3874555 w 12117871"/>
                <a:gd name="connsiteY2054" fmla="*/ 3596144 h 6072780"/>
                <a:gd name="connsiteX2055" fmla="*/ 3837392 w 12117871"/>
                <a:gd name="connsiteY2055" fmla="*/ 3510985 h 6072780"/>
                <a:gd name="connsiteX2056" fmla="*/ 3614881 w 12117871"/>
                <a:gd name="connsiteY2056" fmla="*/ 3510985 h 6072780"/>
                <a:gd name="connsiteX2057" fmla="*/ 3575611 w 12117871"/>
                <a:gd name="connsiteY2057" fmla="*/ 3597499 h 6072780"/>
                <a:gd name="connsiteX2058" fmla="*/ 3614130 w 12117871"/>
                <a:gd name="connsiteY2058" fmla="*/ 3678445 h 6072780"/>
                <a:gd name="connsiteX2059" fmla="*/ 3652044 w 12117871"/>
                <a:gd name="connsiteY2059" fmla="*/ 3596144 h 6072780"/>
                <a:gd name="connsiteX2060" fmla="*/ 3614881 w 12117871"/>
                <a:gd name="connsiteY2060" fmla="*/ 3510985 h 6072780"/>
                <a:gd name="connsiteX2061" fmla="*/ 10438235 w 12117871"/>
                <a:gd name="connsiteY2061" fmla="*/ 3487024 h 6072780"/>
                <a:gd name="connsiteX2062" fmla="*/ 10453141 w 12117871"/>
                <a:gd name="connsiteY2062" fmla="*/ 3487024 h 6072780"/>
                <a:gd name="connsiteX2063" fmla="*/ 10453141 w 12117871"/>
                <a:gd name="connsiteY2063" fmla="*/ 3710004 h 6072780"/>
                <a:gd name="connsiteX2064" fmla="*/ 10417853 w 12117871"/>
                <a:gd name="connsiteY2064" fmla="*/ 3710004 h 6072780"/>
                <a:gd name="connsiteX2065" fmla="*/ 10417853 w 12117871"/>
                <a:gd name="connsiteY2065" fmla="*/ 3530220 h 6072780"/>
                <a:gd name="connsiteX2066" fmla="*/ 10397244 w 12117871"/>
                <a:gd name="connsiteY2066" fmla="*/ 3541856 h 6072780"/>
                <a:gd name="connsiteX2067" fmla="*/ 10372071 w 12117871"/>
                <a:gd name="connsiteY2067" fmla="*/ 3550298 h 6072780"/>
                <a:gd name="connsiteX2068" fmla="*/ 10372071 w 12117871"/>
                <a:gd name="connsiteY2068" fmla="*/ 3520182 h 6072780"/>
                <a:gd name="connsiteX2069" fmla="*/ 10389106 w 12117871"/>
                <a:gd name="connsiteY2069" fmla="*/ 3514098 h 6072780"/>
                <a:gd name="connsiteX2070" fmla="*/ 10405305 w 12117871"/>
                <a:gd name="connsiteY2070" fmla="*/ 3506949 h 6072780"/>
                <a:gd name="connsiteX2071" fmla="*/ 10421428 w 12117871"/>
                <a:gd name="connsiteY2071" fmla="*/ 3498127 h 6072780"/>
                <a:gd name="connsiteX2072" fmla="*/ 10438235 w 12117871"/>
                <a:gd name="connsiteY2072" fmla="*/ 3487024 h 6072780"/>
                <a:gd name="connsiteX2073" fmla="*/ 12062430 w 12117871"/>
                <a:gd name="connsiteY2073" fmla="*/ 3487023 h 6072780"/>
                <a:gd name="connsiteX2074" fmla="*/ 12077336 w 12117871"/>
                <a:gd name="connsiteY2074" fmla="*/ 3487023 h 6072780"/>
                <a:gd name="connsiteX2075" fmla="*/ 12077336 w 12117871"/>
                <a:gd name="connsiteY2075" fmla="*/ 3710003 h 6072780"/>
                <a:gd name="connsiteX2076" fmla="*/ 12042048 w 12117871"/>
                <a:gd name="connsiteY2076" fmla="*/ 3710003 h 6072780"/>
                <a:gd name="connsiteX2077" fmla="*/ 12042048 w 12117871"/>
                <a:gd name="connsiteY2077" fmla="*/ 3530219 h 6072780"/>
                <a:gd name="connsiteX2078" fmla="*/ 12021439 w 12117871"/>
                <a:gd name="connsiteY2078" fmla="*/ 3541855 h 6072780"/>
                <a:gd name="connsiteX2079" fmla="*/ 11996266 w 12117871"/>
                <a:gd name="connsiteY2079" fmla="*/ 3550297 h 6072780"/>
                <a:gd name="connsiteX2080" fmla="*/ 11996266 w 12117871"/>
                <a:gd name="connsiteY2080" fmla="*/ 3520181 h 6072780"/>
                <a:gd name="connsiteX2081" fmla="*/ 12013301 w 12117871"/>
                <a:gd name="connsiteY2081" fmla="*/ 3514097 h 6072780"/>
                <a:gd name="connsiteX2082" fmla="*/ 12029500 w 12117871"/>
                <a:gd name="connsiteY2082" fmla="*/ 3506948 h 6072780"/>
                <a:gd name="connsiteX2083" fmla="*/ 12045623 w 12117871"/>
                <a:gd name="connsiteY2083" fmla="*/ 3498126 h 6072780"/>
                <a:gd name="connsiteX2084" fmla="*/ 12062430 w 12117871"/>
                <a:gd name="connsiteY2084" fmla="*/ 3487023 h 6072780"/>
                <a:gd name="connsiteX2085" fmla="*/ 10143427 w 12117871"/>
                <a:gd name="connsiteY2085" fmla="*/ 3487023 h 6072780"/>
                <a:gd name="connsiteX2086" fmla="*/ 10158333 w 12117871"/>
                <a:gd name="connsiteY2086" fmla="*/ 3487023 h 6072780"/>
                <a:gd name="connsiteX2087" fmla="*/ 10158333 w 12117871"/>
                <a:gd name="connsiteY2087" fmla="*/ 3710003 h 6072780"/>
                <a:gd name="connsiteX2088" fmla="*/ 10123045 w 12117871"/>
                <a:gd name="connsiteY2088" fmla="*/ 3710003 h 6072780"/>
                <a:gd name="connsiteX2089" fmla="*/ 10123045 w 12117871"/>
                <a:gd name="connsiteY2089" fmla="*/ 3530219 h 6072780"/>
                <a:gd name="connsiteX2090" fmla="*/ 10102436 w 12117871"/>
                <a:gd name="connsiteY2090" fmla="*/ 3541855 h 6072780"/>
                <a:gd name="connsiteX2091" fmla="*/ 10077263 w 12117871"/>
                <a:gd name="connsiteY2091" fmla="*/ 3550297 h 6072780"/>
                <a:gd name="connsiteX2092" fmla="*/ 10077263 w 12117871"/>
                <a:gd name="connsiteY2092" fmla="*/ 3520181 h 6072780"/>
                <a:gd name="connsiteX2093" fmla="*/ 10094298 w 12117871"/>
                <a:gd name="connsiteY2093" fmla="*/ 3514097 h 6072780"/>
                <a:gd name="connsiteX2094" fmla="*/ 10110497 w 12117871"/>
                <a:gd name="connsiteY2094" fmla="*/ 3506948 h 6072780"/>
                <a:gd name="connsiteX2095" fmla="*/ 10126620 w 12117871"/>
                <a:gd name="connsiteY2095" fmla="*/ 3498126 h 6072780"/>
                <a:gd name="connsiteX2096" fmla="*/ 10143427 w 12117871"/>
                <a:gd name="connsiteY2096" fmla="*/ 3487023 h 6072780"/>
                <a:gd name="connsiteX2097" fmla="*/ 9557012 w 12117871"/>
                <a:gd name="connsiteY2097" fmla="*/ 3487023 h 6072780"/>
                <a:gd name="connsiteX2098" fmla="*/ 9571918 w 12117871"/>
                <a:gd name="connsiteY2098" fmla="*/ 3487023 h 6072780"/>
                <a:gd name="connsiteX2099" fmla="*/ 9571918 w 12117871"/>
                <a:gd name="connsiteY2099" fmla="*/ 3710003 h 6072780"/>
                <a:gd name="connsiteX2100" fmla="*/ 9536630 w 12117871"/>
                <a:gd name="connsiteY2100" fmla="*/ 3710003 h 6072780"/>
                <a:gd name="connsiteX2101" fmla="*/ 9536630 w 12117871"/>
                <a:gd name="connsiteY2101" fmla="*/ 3530219 h 6072780"/>
                <a:gd name="connsiteX2102" fmla="*/ 9516021 w 12117871"/>
                <a:gd name="connsiteY2102" fmla="*/ 3541855 h 6072780"/>
                <a:gd name="connsiteX2103" fmla="*/ 9490848 w 12117871"/>
                <a:gd name="connsiteY2103" fmla="*/ 3550297 h 6072780"/>
                <a:gd name="connsiteX2104" fmla="*/ 9490848 w 12117871"/>
                <a:gd name="connsiteY2104" fmla="*/ 3520181 h 6072780"/>
                <a:gd name="connsiteX2105" fmla="*/ 9507883 w 12117871"/>
                <a:gd name="connsiteY2105" fmla="*/ 3514097 h 6072780"/>
                <a:gd name="connsiteX2106" fmla="*/ 9524082 w 12117871"/>
                <a:gd name="connsiteY2106" fmla="*/ 3506948 h 6072780"/>
                <a:gd name="connsiteX2107" fmla="*/ 9540205 w 12117871"/>
                <a:gd name="connsiteY2107" fmla="*/ 3498126 h 6072780"/>
                <a:gd name="connsiteX2108" fmla="*/ 9557012 w 12117871"/>
                <a:gd name="connsiteY2108" fmla="*/ 3487023 h 6072780"/>
                <a:gd name="connsiteX2109" fmla="*/ 9254256 w 12117871"/>
                <a:gd name="connsiteY2109" fmla="*/ 3487023 h 6072780"/>
                <a:gd name="connsiteX2110" fmla="*/ 9269162 w 12117871"/>
                <a:gd name="connsiteY2110" fmla="*/ 3487023 h 6072780"/>
                <a:gd name="connsiteX2111" fmla="*/ 9269162 w 12117871"/>
                <a:gd name="connsiteY2111" fmla="*/ 3710003 h 6072780"/>
                <a:gd name="connsiteX2112" fmla="*/ 9233874 w 12117871"/>
                <a:gd name="connsiteY2112" fmla="*/ 3710003 h 6072780"/>
                <a:gd name="connsiteX2113" fmla="*/ 9233874 w 12117871"/>
                <a:gd name="connsiteY2113" fmla="*/ 3530219 h 6072780"/>
                <a:gd name="connsiteX2114" fmla="*/ 9213265 w 12117871"/>
                <a:gd name="connsiteY2114" fmla="*/ 3541855 h 6072780"/>
                <a:gd name="connsiteX2115" fmla="*/ 9188092 w 12117871"/>
                <a:gd name="connsiteY2115" fmla="*/ 3550297 h 6072780"/>
                <a:gd name="connsiteX2116" fmla="*/ 9188092 w 12117871"/>
                <a:gd name="connsiteY2116" fmla="*/ 3520181 h 6072780"/>
                <a:gd name="connsiteX2117" fmla="*/ 9205127 w 12117871"/>
                <a:gd name="connsiteY2117" fmla="*/ 3514097 h 6072780"/>
                <a:gd name="connsiteX2118" fmla="*/ 9221326 w 12117871"/>
                <a:gd name="connsiteY2118" fmla="*/ 3506948 h 6072780"/>
                <a:gd name="connsiteX2119" fmla="*/ 9237449 w 12117871"/>
                <a:gd name="connsiteY2119" fmla="*/ 3498126 h 6072780"/>
                <a:gd name="connsiteX2120" fmla="*/ 9254256 w 12117871"/>
                <a:gd name="connsiteY2120" fmla="*/ 3487023 h 6072780"/>
                <a:gd name="connsiteX2121" fmla="*/ 8744915 w 12117871"/>
                <a:gd name="connsiteY2121" fmla="*/ 3487023 h 6072780"/>
                <a:gd name="connsiteX2122" fmla="*/ 8759821 w 12117871"/>
                <a:gd name="connsiteY2122" fmla="*/ 3487023 h 6072780"/>
                <a:gd name="connsiteX2123" fmla="*/ 8759821 w 12117871"/>
                <a:gd name="connsiteY2123" fmla="*/ 3710003 h 6072780"/>
                <a:gd name="connsiteX2124" fmla="*/ 8724533 w 12117871"/>
                <a:gd name="connsiteY2124" fmla="*/ 3710003 h 6072780"/>
                <a:gd name="connsiteX2125" fmla="*/ 8724533 w 12117871"/>
                <a:gd name="connsiteY2125" fmla="*/ 3530219 h 6072780"/>
                <a:gd name="connsiteX2126" fmla="*/ 8703924 w 12117871"/>
                <a:gd name="connsiteY2126" fmla="*/ 3541855 h 6072780"/>
                <a:gd name="connsiteX2127" fmla="*/ 8678751 w 12117871"/>
                <a:gd name="connsiteY2127" fmla="*/ 3550297 h 6072780"/>
                <a:gd name="connsiteX2128" fmla="*/ 8678751 w 12117871"/>
                <a:gd name="connsiteY2128" fmla="*/ 3520181 h 6072780"/>
                <a:gd name="connsiteX2129" fmla="*/ 8695786 w 12117871"/>
                <a:gd name="connsiteY2129" fmla="*/ 3514097 h 6072780"/>
                <a:gd name="connsiteX2130" fmla="*/ 8711985 w 12117871"/>
                <a:gd name="connsiteY2130" fmla="*/ 3506948 h 6072780"/>
                <a:gd name="connsiteX2131" fmla="*/ 8728108 w 12117871"/>
                <a:gd name="connsiteY2131" fmla="*/ 3498126 h 6072780"/>
                <a:gd name="connsiteX2132" fmla="*/ 8744915 w 12117871"/>
                <a:gd name="connsiteY2132" fmla="*/ 3487023 h 6072780"/>
                <a:gd name="connsiteX2133" fmla="*/ 7851748 w 12117871"/>
                <a:gd name="connsiteY2133" fmla="*/ 3487023 h 6072780"/>
                <a:gd name="connsiteX2134" fmla="*/ 7866654 w 12117871"/>
                <a:gd name="connsiteY2134" fmla="*/ 3487023 h 6072780"/>
                <a:gd name="connsiteX2135" fmla="*/ 7866654 w 12117871"/>
                <a:gd name="connsiteY2135" fmla="*/ 3710003 h 6072780"/>
                <a:gd name="connsiteX2136" fmla="*/ 7831366 w 12117871"/>
                <a:gd name="connsiteY2136" fmla="*/ 3710003 h 6072780"/>
                <a:gd name="connsiteX2137" fmla="*/ 7831366 w 12117871"/>
                <a:gd name="connsiteY2137" fmla="*/ 3530219 h 6072780"/>
                <a:gd name="connsiteX2138" fmla="*/ 7810757 w 12117871"/>
                <a:gd name="connsiteY2138" fmla="*/ 3541855 h 6072780"/>
                <a:gd name="connsiteX2139" fmla="*/ 7785584 w 12117871"/>
                <a:gd name="connsiteY2139" fmla="*/ 3550297 h 6072780"/>
                <a:gd name="connsiteX2140" fmla="*/ 7785584 w 12117871"/>
                <a:gd name="connsiteY2140" fmla="*/ 3520181 h 6072780"/>
                <a:gd name="connsiteX2141" fmla="*/ 7802619 w 12117871"/>
                <a:gd name="connsiteY2141" fmla="*/ 3514097 h 6072780"/>
                <a:gd name="connsiteX2142" fmla="*/ 7818818 w 12117871"/>
                <a:gd name="connsiteY2142" fmla="*/ 3506948 h 6072780"/>
                <a:gd name="connsiteX2143" fmla="*/ 7834941 w 12117871"/>
                <a:gd name="connsiteY2143" fmla="*/ 3498126 h 6072780"/>
                <a:gd name="connsiteX2144" fmla="*/ 7851748 w 12117871"/>
                <a:gd name="connsiteY2144" fmla="*/ 3487023 h 6072780"/>
                <a:gd name="connsiteX2145" fmla="*/ 7413731 w 12117871"/>
                <a:gd name="connsiteY2145" fmla="*/ 3487023 h 6072780"/>
                <a:gd name="connsiteX2146" fmla="*/ 7428637 w 12117871"/>
                <a:gd name="connsiteY2146" fmla="*/ 3487023 h 6072780"/>
                <a:gd name="connsiteX2147" fmla="*/ 7428637 w 12117871"/>
                <a:gd name="connsiteY2147" fmla="*/ 3710003 h 6072780"/>
                <a:gd name="connsiteX2148" fmla="*/ 7393349 w 12117871"/>
                <a:gd name="connsiteY2148" fmla="*/ 3710003 h 6072780"/>
                <a:gd name="connsiteX2149" fmla="*/ 7393349 w 12117871"/>
                <a:gd name="connsiteY2149" fmla="*/ 3530219 h 6072780"/>
                <a:gd name="connsiteX2150" fmla="*/ 7372740 w 12117871"/>
                <a:gd name="connsiteY2150" fmla="*/ 3541855 h 6072780"/>
                <a:gd name="connsiteX2151" fmla="*/ 7347567 w 12117871"/>
                <a:gd name="connsiteY2151" fmla="*/ 3550297 h 6072780"/>
                <a:gd name="connsiteX2152" fmla="*/ 7347567 w 12117871"/>
                <a:gd name="connsiteY2152" fmla="*/ 3520181 h 6072780"/>
                <a:gd name="connsiteX2153" fmla="*/ 7364602 w 12117871"/>
                <a:gd name="connsiteY2153" fmla="*/ 3514097 h 6072780"/>
                <a:gd name="connsiteX2154" fmla="*/ 7380801 w 12117871"/>
                <a:gd name="connsiteY2154" fmla="*/ 3506948 h 6072780"/>
                <a:gd name="connsiteX2155" fmla="*/ 7396924 w 12117871"/>
                <a:gd name="connsiteY2155" fmla="*/ 3498126 h 6072780"/>
                <a:gd name="connsiteX2156" fmla="*/ 7413731 w 12117871"/>
                <a:gd name="connsiteY2156" fmla="*/ 3487023 h 6072780"/>
                <a:gd name="connsiteX2157" fmla="*/ 7015147 w 12117871"/>
                <a:gd name="connsiteY2157" fmla="*/ 3487023 h 6072780"/>
                <a:gd name="connsiteX2158" fmla="*/ 7030053 w 12117871"/>
                <a:gd name="connsiteY2158" fmla="*/ 3487023 h 6072780"/>
                <a:gd name="connsiteX2159" fmla="*/ 7030053 w 12117871"/>
                <a:gd name="connsiteY2159" fmla="*/ 3710003 h 6072780"/>
                <a:gd name="connsiteX2160" fmla="*/ 6994765 w 12117871"/>
                <a:gd name="connsiteY2160" fmla="*/ 3710003 h 6072780"/>
                <a:gd name="connsiteX2161" fmla="*/ 6994765 w 12117871"/>
                <a:gd name="connsiteY2161" fmla="*/ 3530219 h 6072780"/>
                <a:gd name="connsiteX2162" fmla="*/ 6974156 w 12117871"/>
                <a:gd name="connsiteY2162" fmla="*/ 3541855 h 6072780"/>
                <a:gd name="connsiteX2163" fmla="*/ 6948983 w 12117871"/>
                <a:gd name="connsiteY2163" fmla="*/ 3550297 h 6072780"/>
                <a:gd name="connsiteX2164" fmla="*/ 6948983 w 12117871"/>
                <a:gd name="connsiteY2164" fmla="*/ 3520181 h 6072780"/>
                <a:gd name="connsiteX2165" fmla="*/ 6966018 w 12117871"/>
                <a:gd name="connsiteY2165" fmla="*/ 3514097 h 6072780"/>
                <a:gd name="connsiteX2166" fmla="*/ 6982217 w 12117871"/>
                <a:gd name="connsiteY2166" fmla="*/ 3506948 h 6072780"/>
                <a:gd name="connsiteX2167" fmla="*/ 6998340 w 12117871"/>
                <a:gd name="connsiteY2167" fmla="*/ 3498126 h 6072780"/>
                <a:gd name="connsiteX2168" fmla="*/ 7015147 w 12117871"/>
                <a:gd name="connsiteY2168" fmla="*/ 3487023 h 6072780"/>
                <a:gd name="connsiteX2169" fmla="*/ 6727931 w 12117871"/>
                <a:gd name="connsiteY2169" fmla="*/ 3487023 h 6072780"/>
                <a:gd name="connsiteX2170" fmla="*/ 6742837 w 12117871"/>
                <a:gd name="connsiteY2170" fmla="*/ 3487023 h 6072780"/>
                <a:gd name="connsiteX2171" fmla="*/ 6742837 w 12117871"/>
                <a:gd name="connsiteY2171" fmla="*/ 3710003 h 6072780"/>
                <a:gd name="connsiteX2172" fmla="*/ 6707549 w 12117871"/>
                <a:gd name="connsiteY2172" fmla="*/ 3710003 h 6072780"/>
                <a:gd name="connsiteX2173" fmla="*/ 6707549 w 12117871"/>
                <a:gd name="connsiteY2173" fmla="*/ 3530219 h 6072780"/>
                <a:gd name="connsiteX2174" fmla="*/ 6686940 w 12117871"/>
                <a:gd name="connsiteY2174" fmla="*/ 3541855 h 6072780"/>
                <a:gd name="connsiteX2175" fmla="*/ 6661767 w 12117871"/>
                <a:gd name="connsiteY2175" fmla="*/ 3550297 h 6072780"/>
                <a:gd name="connsiteX2176" fmla="*/ 6661767 w 12117871"/>
                <a:gd name="connsiteY2176" fmla="*/ 3520181 h 6072780"/>
                <a:gd name="connsiteX2177" fmla="*/ 6678802 w 12117871"/>
                <a:gd name="connsiteY2177" fmla="*/ 3514097 h 6072780"/>
                <a:gd name="connsiteX2178" fmla="*/ 6695001 w 12117871"/>
                <a:gd name="connsiteY2178" fmla="*/ 3506948 h 6072780"/>
                <a:gd name="connsiteX2179" fmla="*/ 6711124 w 12117871"/>
                <a:gd name="connsiteY2179" fmla="*/ 3498126 h 6072780"/>
                <a:gd name="connsiteX2180" fmla="*/ 6727931 w 12117871"/>
                <a:gd name="connsiteY2180" fmla="*/ 3487023 h 6072780"/>
                <a:gd name="connsiteX2181" fmla="*/ 6584323 w 12117871"/>
                <a:gd name="connsiteY2181" fmla="*/ 3487023 h 6072780"/>
                <a:gd name="connsiteX2182" fmla="*/ 6599229 w 12117871"/>
                <a:gd name="connsiteY2182" fmla="*/ 3487023 h 6072780"/>
                <a:gd name="connsiteX2183" fmla="*/ 6599229 w 12117871"/>
                <a:gd name="connsiteY2183" fmla="*/ 3710003 h 6072780"/>
                <a:gd name="connsiteX2184" fmla="*/ 6563941 w 12117871"/>
                <a:gd name="connsiteY2184" fmla="*/ 3710003 h 6072780"/>
                <a:gd name="connsiteX2185" fmla="*/ 6563941 w 12117871"/>
                <a:gd name="connsiteY2185" fmla="*/ 3530219 h 6072780"/>
                <a:gd name="connsiteX2186" fmla="*/ 6543332 w 12117871"/>
                <a:gd name="connsiteY2186" fmla="*/ 3541855 h 6072780"/>
                <a:gd name="connsiteX2187" fmla="*/ 6518159 w 12117871"/>
                <a:gd name="connsiteY2187" fmla="*/ 3550297 h 6072780"/>
                <a:gd name="connsiteX2188" fmla="*/ 6518159 w 12117871"/>
                <a:gd name="connsiteY2188" fmla="*/ 3520181 h 6072780"/>
                <a:gd name="connsiteX2189" fmla="*/ 6535194 w 12117871"/>
                <a:gd name="connsiteY2189" fmla="*/ 3514097 h 6072780"/>
                <a:gd name="connsiteX2190" fmla="*/ 6551393 w 12117871"/>
                <a:gd name="connsiteY2190" fmla="*/ 3506948 h 6072780"/>
                <a:gd name="connsiteX2191" fmla="*/ 6567516 w 12117871"/>
                <a:gd name="connsiteY2191" fmla="*/ 3498126 h 6072780"/>
                <a:gd name="connsiteX2192" fmla="*/ 6584323 w 12117871"/>
                <a:gd name="connsiteY2192" fmla="*/ 3487023 h 6072780"/>
                <a:gd name="connsiteX2193" fmla="*/ 5975659 w 12117871"/>
                <a:gd name="connsiteY2193" fmla="*/ 3487023 h 6072780"/>
                <a:gd name="connsiteX2194" fmla="*/ 5990568 w 12117871"/>
                <a:gd name="connsiteY2194" fmla="*/ 3487023 h 6072780"/>
                <a:gd name="connsiteX2195" fmla="*/ 5990568 w 12117871"/>
                <a:gd name="connsiteY2195" fmla="*/ 3710003 h 6072780"/>
                <a:gd name="connsiteX2196" fmla="*/ 5955278 w 12117871"/>
                <a:gd name="connsiteY2196" fmla="*/ 3710003 h 6072780"/>
                <a:gd name="connsiteX2197" fmla="*/ 5955278 w 12117871"/>
                <a:gd name="connsiteY2197" fmla="*/ 3530219 h 6072780"/>
                <a:gd name="connsiteX2198" fmla="*/ 5934669 w 12117871"/>
                <a:gd name="connsiteY2198" fmla="*/ 3541855 h 6072780"/>
                <a:gd name="connsiteX2199" fmla="*/ 5909498 w 12117871"/>
                <a:gd name="connsiteY2199" fmla="*/ 3550297 h 6072780"/>
                <a:gd name="connsiteX2200" fmla="*/ 5909498 w 12117871"/>
                <a:gd name="connsiteY2200" fmla="*/ 3520181 h 6072780"/>
                <a:gd name="connsiteX2201" fmla="*/ 5926531 w 12117871"/>
                <a:gd name="connsiteY2201" fmla="*/ 3514097 h 6072780"/>
                <a:gd name="connsiteX2202" fmla="*/ 5942730 w 12117871"/>
                <a:gd name="connsiteY2202" fmla="*/ 3506948 h 6072780"/>
                <a:gd name="connsiteX2203" fmla="*/ 5958852 w 12117871"/>
                <a:gd name="connsiteY2203" fmla="*/ 3498126 h 6072780"/>
                <a:gd name="connsiteX2204" fmla="*/ 5975659 w 12117871"/>
                <a:gd name="connsiteY2204" fmla="*/ 3487023 h 6072780"/>
                <a:gd name="connsiteX2205" fmla="*/ 4694968 w 12117871"/>
                <a:gd name="connsiteY2205" fmla="*/ 3487023 h 6072780"/>
                <a:gd name="connsiteX2206" fmla="*/ 4709876 w 12117871"/>
                <a:gd name="connsiteY2206" fmla="*/ 3487023 h 6072780"/>
                <a:gd name="connsiteX2207" fmla="*/ 4709876 w 12117871"/>
                <a:gd name="connsiteY2207" fmla="*/ 3710003 h 6072780"/>
                <a:gd name="connsiteX2208" fmla="*/ 4674589 w 12117871"/>
                <a:gd name="connsiteY2208" fmla="*/ 3710003 h 6072780"/>
                <a:gd name="connsiteX2209" fmla="*/ 4674589 w 12117871"/>
                <a:gd name="connsiteY2209" fmla="*/ 3530219 h 6072780"/>
                <a:gd name="connsiteX2210" fmla="*/ 4653978 w 12117871"/>
                <a:gd name="connsiteY2210" fmla="*/ 3541855 h 6072780"/>
                <a:gd name="connsiteX2211" fmla="*/ 4628805 w 12117871"/>
                <a:gd name="connsiteY2211" fmla="*/ 3550297 h 6072780"/>
                <a:gd name="connsiteX2212" fmla="*/ 4628805 w 12117871"/>
                <a:gd name="connsiteY2212" fmla="*/ 3520181 h 6072780"/>
                <a:gd name="connsiteX2213" fmla="*/ 4645841 w 12117871"/>
                <a:gd name="connsiteY2213" fmla="*/ 3514097 h 6072780"/>
                <a:gd name="connsiteX2214" fmla="*/ 4662040 w 12117871"/>
                <a:gd name="connsiteY2214" fmla="*/ 3506948 h 6072780"/>
                <a:gd name="connsiteX2215" fmla="*/ 4678162 w 12117871"/>
                <a:gd name="connsiteY2215" fmla="*/ 3498126 h 6072780"/>
                <a:gd name="connsiteX2216" fmla="*/ 4694968 w 12117871"/>
                <a:gd name="connsiteY2216" fmla="*/ 3487023 h 6072780"/>
                <a:gd name="connsiteX2217" fmla="*/ 4345906 w 12117871"/>
                <a:gd name="connsiteY2217" fmla="*/ 3487023 h 6072780"/>
                <a:gd name="connsiteX2218" fmla="*/ 4360813 w 12117871"/>
                <a:gd name="connsiteY2218" fmla="*/ 3487023 h 6072780"/>
                <a:gd name="connsiteX2219" fmla="*/ 4360813 w 12117871"/>
                <a:gd name="connsiteY2219" fmla="*/ 3710003 h 6072780"/>
                <a:gd name="connsiteX2220" fmla="*/ 4325525 w 12117871"/>
                <a:gd name="connsiteY2220" fmla="*/ 3710003 h 6072780"/>
                <a:gd name="connsiteX2221" fmla="*/ 4325525 w 12117871"/>
                <a:gd name="connsiteY2221" fmla="*/ 3530219 h 6072780"/>
                <a:gd name="connsiteX2222" fmla="*/ 4304915 w 12117871"/>
                <a:gd name="connsiteY2222" fmla="*/ 3541855 h 6072780"/>
                <a:gd name="connsiteX2223" fmla="*/ 4279743 w 12117871"/>
                <a:gd name="connsiteY2223" fmla="*/ 3550297 h 6072780"/>
                <a:gd name="connsiteX2224" fmla="*/ 4279743 w 12117871"/>
                <a:gd name="connsiteY2224" fmla="*/ 3520181 h 6072780"/>
                <a:gd name="connsiteX2225" fmla="*/ 4296778 w 12117871"/>
                <a:gd name="connsiteY2225" fmla="*/ 3514097 h 6072780"/>
                <a:gd name="connsiteX2226" fmla="*/ 4312977 w 12117871"/>
                <a:gd name="connsiteY2226" fmla="*/ 3506948 h 6072780"/>
                <a:gd name="connsiteX2227" fmla="*/ 4329099 w 12117871"/>
                <a:gd name="connsiteY2227" fmla="*/ 3498126 h 6072780"/>
                <a:gd name="connsiteX2228" fmla="*/ 4345906 w 12117871"/>
                <a:gd name="connsiteY2228" fmla="*/ 3487023 h 6072780"/>
                <a:gd name="connsiteX2229" fmla="*/ 3454863 w 12117871"/>
                <a:gd name="connsiteY2229" fmla="*/ 3487023 h 6072780"/>
                <a:gd name="connsiteX2230" fmla="*/ 3469768 w 12117871"/>
                <a:gd name="connsiteY2230" fmla="*/ 3487023 h 6072780"/>
                <a:gd name="connsiteX2231" fmla="*/ 3469768 w 12117871"/>
                <a:gd name="connsiteY2231" fmla="*/ 3710003 h 6072780"/>
                <a:gd name="connsiteX2232" fmla="*/ 3434481 w 12117871"/>
                <a:gd name="connsiteY2232" fmla="*/ 3710003 h 6072780"/>
                <a:gd name="connsiteX2233" fmla="*/ 3434481 w 12117871"/>
                <a:gd name="connsiteY2233" fmla="*/ 3530219 h 6072780"/>
                <a:gd name="connsiteX2234" fmla="*/ 3413872 w 12117871"/>
                <a:gd name="connsiteY2234" fmla="*/ 3541855 h 6072780"/>
                <a:gd name="connsiteX2235" fmla="*/ 3388698 w 12117871"/>
                <a:gd name="connsiteY2235" fmla="*/ 3550297 h 6072780"/>
                <a:gd name="connsiteX2236" fmla="*/ 3388698 w 12117871"/>
                <a:gd name="connsiteY2236" fmla="*/ 3520181 h 6072780"/>
                <a:gd name="connsiteX2237" fmla="*/ 3405734 w 12117871"/>
                <a:gd name="connsiteY2237" fmla="*/ 3514097 h 6072780"/>
                <a:gd name="connsiteX2238" fmla="*/ 3421933 w 12117871"/>
                <a:gd name="connsiteY2238" fmla="*/ 3506948 h 6072780"/>
                <a:gd name="connsiteX2239" fmla="*/ 3438054 w 12117871"/>
                <a:gd name="connsiteY2239" fmla="*/ 3498126 h 6072780"/>
                <a:gd name="connsiteX2240" fmla="*/ 3454863 w 12117871"/>
                <a:gd name="connsiteY2240" fmla="*/ 3487023 h 6072780"/>
                <a:gd name="connsiteX2241" fmla="*/ 3158682 w 12117871"/>
                <a:gd name="connsiteY2241" fmla="*/ 3487023 h 6072780"/>
                <a:gd name="connsiteX2242" fmla="*/ 3173587 w 12117871"/>
                <a:gd name="connsiteY2242" fmla="*/ 3487023 h 6072780"/>
                <a:gd name="connsiteX2243" fmla="*/ 3173587 w 12117871"/>
                <a:gd name="connsiteY2243" fmla="*/ 3710003 h 6072780"/>
                <a:gd name="connsiteX2244" fmla="*/ 3138299 w 12117871"/>
                <a:gd name="connsiteY2244" fmla="*/ 3710003 h 6072780"/>
                <a:gd name="connsiteX2245" fmla="*/ 3138299 w 12117871"/>
                <a:gd name="connsiteY2245" fmla="*/ 3530219 h 6072780"/>
                <a:gd name="connsiteX2246" fmla="*/ 3117690 w 12117871"/>
                <a:gd name="connsiteY2246" fmla="*/ 3541855 h 6072780"/>
                <a:gd name="connsiteX2247" fmla="*/ 3092517 w 12117871"/>
                <a:gd name="connsiteY2247" fmla="*/ 3550297 h 6072780"/>
                <a:gd name="connsiteX2248" fmla="*/ 3092517 w 12117871"/>
                <a:gd name="connsiteY2248" fmla="*/ 3520181 h 6072780"/>
                <a:gd name="connsiteX2249" fmla="*/ 3109553 w 12117871"/>
                <a:gd name="connsiteY2249" fmla="*/ 3514097 h 6072780"/>
                <a:gd name="connsiteX2250" fmla="*/ 3125751 w 12117871"/>
                <a:gd name="connsiteY2250" fmla="*/ 3506948 h 6072780"/>
                <a:gd name="connsiteX2251" fmla="*/ 3141875 w 12117871"/>
                <a:gd name="connsiteY2251" fmla="*/ 3498126 h 6072780"/>
                <a:gd name="connsiteX2252" fmla="*/ 3158682 w 12117871"/>
                <a:gd name="connsiteY2252" fmla="*/ 3487023 h 6072780"/>
                <a:gd name="connsiteX2253" fmla="*/ 2783382 w 12117871"/>
                <a:gd name="connsiteY2253" fmla="*/ 3487023 h 6072780"/>
                <a:gd name="connsiteX2254" fmla="*/ 2798288 w 12117871"/>
                <a:gd name="connsiteY2254" fmla="*/ 3487023 h 6072780"/>
                <a:gd name="connsiteX2255" fmla="*/ 2798288 w 12117871"/>
                <a:gd name="connsiteY2255" fmla="*/ 3710003 h 6072780"/>
                <a:gd name="connsiteX2256" fmla="*/ 2763000 w 12117871"/>
                <a:gd name="connsiteY2256" fmla="*/ 3710003 h 6072780"/>
                <a:gd name="connsiteX2257" fmla="*/ 2763000 w 12117871"/>
                <a:gd name="connsiteY2257" fmla="*/ 3530219 h 6072780"/>
                <a:gd name="connsiteX2258" fmla="*/ 2742391 w 12117871"/>
                <a:gd name="connsiteY2258" fmla="*/ 3541855 h 6072780"/>
                <a:gd name="connsiteX2259" fmla="*/ 2717219 w 12117871"/>
                <a:gd name="connsiteY2259" fmla="*/ 3550297 h 6072780"/>
                <a:gd name="connsiteX2260" fmla="*/ 2717219 w 12117871"/>
                <a:gd name="connsiteY2260" fmla="*/ 3520181 h 6072780"/>
                <a:gd name="connsiteX2261" fmla="*/ 2734253 w 12117871"/>
                <a:gd name="connsiteY2261" fmla="*/ 3514097 h 6072780"/>
                <a:gd name="connsiteX2262" fmla="*/ 2750453 w 12117871"/>
                <a:gd name="connsiteY2262" fmla="*/ 3506948 h 6072780"/>
                <a:gd name="connsiteX2263" fmla="*/ 2766576 w 12117871"/>
                <a:gd name="connsiteY2263" fmla="*/ 3498126 h 6072780"/>
                <a:gd name="connsiteX2264" fmla="*/ 2783382 w 12117871"/>
                <a:gd name="connsiteY2264" fmla="*/ 3487023 h 6072780"/>
                <a:gd name="connsiteX2265" fmla="*/ 2489154 w 12117871"/>
                <a:gd name="connsiteY2265" fmla="*/ 3487023 h 6072780"/>
                <a:gd name="connsiteX2266" fmla="*/ 2504060 w 12117871"/>
                <a:gd name="connsiteY2266" fmla="*/ 3487023 h 6072780"/>
                <a:gd name="connsiteX2267" fmla="*/ 2504060 w 12117871"/>
                <a:gd name="connsiteY2267" fmla="*/ 3710003 h 6072780"/>
                <a:gd name="connsiteX2268" fmla="*/ 2468772 w 12117871"/>
                <a:gd name="connsiteY2268" fmla="*/ 3710003 h 6072780"/>
                <a:gd name="connsiteX2269" fmla="*/ 2468772 w 12117871"/>
                <a:gd name="connsiteY2269" fmla="*/ 3530219 h 6072780"/>
                <a:gd name="connsiteX2270" fmla="*/ 2448163 w 12117871"/>
                <a:gd name="connsiteY2270" fmla="*/ 3541855 h 6072780"/>
                <a:gd name="connsiteX2271" fmla="*/ 2422990 w 12117871"/>
                <a:gd name="connsiteY2271" fmla="*/ 3550297 h 6072780"/>
                <a:gd name="connsiteX2272" fmla="*/ 2422990 w 12117871"/>
                <a:gd name="connsiteY2272" fmla="*/ 3520181 h 6072780"/>
                <a:gd name="connsiteX2273" fmla="*/ 2440025 w 12117871"/>
                <a:gd name="connsiteY2273" fmla="*/ 3514097 h 6072780"/>
                <a:gd name="connsiteX2274" fmla="*/ 2456224 w 12117871"/>
                <a:gd name="connsiteY2274" fmla="*/ 3506948 h 6072780"/>
                <a:gd name="connsiteX2275" fmla="*/ 2472346 w 12117871"/>
                <a:gd name="connsiteY2275" fmla="*/ 3498126 h 6072780"/>
                <a:gd name="connsiteX2276" fmla="*/ 2489154 w 12117871"/>
                <a:gd name="connsiteY2276" fmla="*/ 3487023 h 6072780"/>
                <a:gd name="connsiteX2277" fmla="*/ 1599916 w 12117871"/>
                <a:gd name="connsiteY2277" fmla="*/ 3487023 h 6072780"/>
                <a:gd name="connsiteX2278" fmla="*/ 1614822 w 12117871"/>
                <a:gd name="connsiteY2278" fmla="*/ 3487023 h 6072780"/>
                <a:gd name="connsiteX2279" fmla="*/ 1614822 w 12117871"/>
                <a:gd name="connsiteY2279" fmla="*/ 3710003 h 6072780"/>
                <a:gd name="connsiteX2280" fmla="*/ 1579534 w 12117871"/>
                <a:gd name="connsiteY2280" fmla="*/ 3710003 h 6072780"/>
                <a:gd name="connsiteX2281" fmla="*/ 1579534 w 12117871"/>
                <a:gd name="connsiteY2281" fmla="*/ 3530219 h 6072780"/>
                <a:gd name="connsiteX2282" fmla="*/ 1558925 w 12117871"/>
                <a:gd name="connsiteY2282" fmla="*/ 3541855 h 6072780"/>
                <a:gd name="connsiteX2283" fmla="*/ 1533752 w 12117871"/>
                <a:gd name="connsiteY2283" fmla="*/ 3550297 h 6072780"/>
                <a:gd name="connsiteX2284" fmla="*/ 1533752 w 12117871"/>
                <a:gd name="connsiteY2284" fmla="*/ 3520181 h 6072780"/>
                <a:gd name="connsiteX2285" fmla="*/ 1550787 w 12117871"/>
                <a:gd name="connsiteY2285" fmla="*/ 3514097 h 6072780"/>
                <a:gd name="connsiteX2286" fmla="*/ 1566986 w 12117871"/>
                <a:gd name="connsiteY2286" fmla="*/ 3506948 h 6072780"/>
                <a:gd name="connsiteX2287" fmla="*/ 1583109 w 12117871"/>
                <a:gd name="connsiteY2287" fmla="*/ 3498126 h 6072780"/>
                <a:gd name="connsiteX2288" fmla="*/ 1599916 w 12117871"/>
                <a:gd name="connsiteY2288" fmla="*/ 3487023 h 6072780"/>
                <a:gd name="connsiteX2289" fmla="*/ 1302202 w 12117871"/>
                <a:gd name="connsiteY2289" fmla="*/ 3487023 h 6072780"/>
                <a:gd name="connsiteX2290" fmla="*/ 1317108 w 12117871"/>
                <a:gd name="connsiteY2290" fmla="*/ 3487023 h 6072780"/>
                <a:gd name="connsiteX2291" fmla="*/ 1317108 w 12117871"/>
                <a:gd name="connsiteY2291" fmla="*/ 3710003 h 6072780"/>
                <a:gd name="connsiteX2292" fmla="*/ 1281820 w 12117871"/>
                <a:gd name="connsiteY2292" fmla="*/ 3710003 h 6072780"/>
                <a:gd name="connsiteX2293" fmla="*/ 1281820 w 12117871"/>
                <a:gd name="connsiteY2293" fmla="*/ 3530219 h 6072780"/>
                <a:gd name="connsiteX2294" fmla="*/ 1261211 w 12117871"/>
                <a:gd name="connsiteY2294" fmla="*/ 3541855 h 6072780"/>
                <a:gd name="connsiteX2295" fmla="*/ 1236038 w 12117871"/>
                <a:gd name="connsiteY2295" fmla="*/ 3550297 h 6072780"/>
                <a:gd name="connsiteX2296" fmla="*/ 1236038 w 12117871"/>
                <a:gd name="connsiteY2296" fmla="*/ 3520181 h 6072780"/>
                <a:gd name="connsiteX2297" fmla="*/ 1253073 w 12117871"/>
                <a:gd name="connsiteY2297" fmla="*/ 3514097 h 6072780"/>
                <a:gd name="connsiteX2298" fmla="*/ 1269272 w 12117871"/>
                <a:gd name="connsiteY2298" fmla="*/ 3506948 h 6072780"/>
                <a:gd name="connsiteX2299" fmla="*/ 1285395 w 12117871"/>
                <a:gd name="connsiteY2299" fmla="*/ 3498126 h 6072780"/>
                <a:gd name="connsiteX2300" fmla="*/ 1302202 w 12117871"/>
                <a:gd name="connsiteY2300" fmla="*/ 3487023 h 6072780"/>
                <a:gd name="connsiteX2301" fmla="*/ 927321 w 12117871"/>
                <a:gd name="connsiteY2301" fmla="*/ 3487023 h 6072780"/>
                <a:gd name="connsiteX2302" fmla="*/ 942227 w 12117871"/>
                <a:gd name="connsiteY2302" fmla="*/ 3487023 h 6072780"/>
                <a:gd name="connsiteX2303" fmla="*/ 942227 w 12117871"/>
                <a:gd name="connsiteY2303" fmla="*/ 3710003 h 6072780"/>
                <a:gd name="connsiteX2304" fmla="*/ 906939 w 12117871"/>
                <a:gd name="connsiteY2304" fmla="*/ 3710003 h 6072780"/>
                <a:gd name="connsiteX2305" fmla="*/ 906939 w 12117871"/>
                <a:gd name="connsiteY2305" fmla="*/ 3530219 h 6072780"/>
                <a:gd name="connsiteX2306" fmla="*/ 886330 w 12117871"/>
                <a:gd name="connsiteY2306" fmla="*/ 3541855 h 6072780"/>
                <a:gd name="connsiteX2307" fmla="*/ 861157 w 12117871"/>
                <a:gd name="connsiteY2307" fmla="*/ 3550297 h 6072780"/>
                <a:gd name="connsiteX2308" fmla="*/ 861157 w 12117871"/>
                <a:gd name="connsiteY2308" fmla="*/ 3520181 h 6072780"/>
                <a:gd name="connsiteX2309" fmla="*/ 878192 w 12117871"/>
                <a:gd name="connsiteY2309" fmla="*/ 3514097 h 6072780"/>
                <a:gd name="connsiteX2310" fmla="*/ 894391 w 12117871"/>
                <a:gd name="connsiteY2310" fmla="*/ 3506948 h 6072780"/>
                <a:gd name="connsiteX2311" fmla="*/ 910514 w 12117871"/>
                <a:gd name="connsiteY2311" fmla="*/ 3498126 h 6072780"/>
                <a:gd name="connsiteX2312" fmla="*/ 927321 w 12117871"/>
                <a:gd name="connsiteY2312" fmla="*/ 3487023 h 6072780"/>
                <a:gd name="connsiteX2313" fmla="*/ 778464 w 12117871"/>
                <a:gd name="connsiteY2313" fmla="*/ 3487023 h 6072780"/>
                <a:gd name="connsiteX2314" fmla="*/ 793370 w 12117871"/>
                <a:gd name="connsiteY2314" fmla="*/ 3487023 h 6072780"/>
                <a:gd name="connsiteX2315" fmla="*/ 793370 w 12117871"/>
                <a:gd name="connsiteY2315" fmla="*/ 3710003 h 6072780"/>
                <a:gd name="connsiteX2316" fmla="*/ 758082 w 12117871"/>
                <a:gd name="connsiteY2316" fmla="*/ 3710003 h 6072780"/>
                <a:gd name="connsiteX2317" fmla="*/ 758082 w 12117871"/>
                <a:gd name="connsiteY2317" fmla="*/ 3530219 h 6072780"/>
                <a:gd name="connsiteX2318" fmla="*/ 737473 w 12117871"/>
                <a:gd name="connsiteY2318" fmla="*/ 3541855 h 6072780"/>
                <a:gd name="connsiteX2319" fmla="*/ 712300 w 12117871"/>
                <a:gd name="connsiteY2319" fmla="*/ 3550297 h 6072780"/>
                <a:gd name="connsiteX2320" fmla="*/ 712300 w 12117871"/>
                <a:gd name="connsiteY2320" fmla="*/ 3520181 h 6072780"/>
                <a:gd name="connsiteX2321" fmla="*/ 729335 w 12117871"/>
                <a:gd name="connsiteY2321" fmla="*/ 3514097 h 6072780"/>
                <a:gd name="connsiteX2322" fmla="*/ 745535 w 12117871"/>
                <a:gd name="connsiteY2322" fmla="*/ 3506948 h 6072780"/>
                <a:gd name="connsiteX2323" fmla="*/ 761657 w 12117871"/>
                <a:gd name="connsiteY2323" fmla="*/ 3498126 h 6072780"/>
                <a:gd name="connsiteX2324" fmla="*/ 778464 w 12117871"/>
                <a:gd name="connsiteY2324" fmla="*/ 3487023 h 6072780"/>
                <a:gd name="connsiteX2325" fmla="*/ 629607 w 12117871"/>
                <a:gd name="connsiteY2325" fmla="*/ 3487023 h 6072780"/>
                <a:gd name="connsiteX2326" fmla="*/ 644513 w 12117871"/>
                <a:gd name="connsiteY2326" fmla="*/ 3487023 h 6072780"/>
                <a:gd name="connsiteX2327" fmla="*/ 644513 w 12117871"/>
                <a:gd name="connsiteY2327" fmla="*/ 3710003 h 6072780"/>
                <a:gd name="connsiteX2328" fmla="*/ 609225 w 12117871"/>
                <a:gd name="connsiteY2328" fmla="*/ 3710003 h 6072780"/>
                <a:gd name="connsiteX2329" fmla="*/ 609225 w 12117871"/>
                <a:gd name="connsiteY2329" fmla="*/ 3530219 h 6072780"/>
                <a:gd name="connsiteX2330" fmla="*/ 588616 w 12117871"/>
                <a:gd name="connsiteY2330" fmla="*/ 3541855 h 6072780"/>
                <a:gd name="connsiteX2331" fmla="*/ 563443 w 12117871"/>
                <a:gd name="connsiteY2331" fmla="*/ 3550297 h 6072780"/>
                <a:gd name="connsiteX2332" fmla="*/ 563443 w 12117871"/>
                <a:gd name="connsiteY2332" fmla="*/ 3520181 h 6072780"/>
                <a:gd name="connsiteX2333" fmla="*/ 580478 w 12117871"/>
                <a:gd name="connsiteY2333" fmla="*/ 3514097 h 6072780"/>
                <a:gd name="connsiteX2334" fmla="*/ 596677 w 12117871"/>
                <a:gd name="connsiteY2334" fmla="*/ 3506948 h 6072780"/>
                <a:gd name="connsiteX2335" fmla="*/ 612800 w 12117871"/>
                <a:gd name="connsiteY2335" fmla="*/ 3498126 h 6072780"/>
                <a:gd name="connsiteX2336" fmla="*/ 629607 w 12117871"/>
                <a:gd name="connsiteY2336" fmla="*/ 3487023 h 6072780"/>
                <a:gd name="connsiteX2337" fmla="*/ 480750 w 12117871"/>
                <a:gd name="connsiteY2337" fmla="*/ 3487023 h 6072780"/>
                <a:gd name="connsiteX2338" fmla="*/ 495656 w 12117871"/>
                <a:gd name="connsiteY2338" fmla="*/ 3487023 h 6072780"/>
                <a:gd name="connsiteX2339" fmla="*/ 495656 w 12117871"/>
                <a:gd name="connsiteY2339" fmla="*/ 3710003 h 6072780"/>
                <a:gd name="connsiteX2340" fmla="*/ 460368 w 12117871"/>
                <a:gd name="connsiteY2340" fmla="*/ 3710003 h 6072780"/>
                <a:gd name="connsiteX2341" fmla="*/ 460368 w 12117871"/>
                <a:gd name="connsiteY2341" fmla="*/ 3530219 h 6072780"/>
                <a:gd name="connsiteX2342" fmla="*/ 439759 w 12117871"/>
                <a:gd name="connsiteY2342" fmla="*/ 3541855 h 6072780"/>
                <a:gd name="connsiteX2343" fmla="*/ 414586 w 12117871"/>
                <a:gd name="connsiteY2343" fmla="*/ 3550297 h 6072780"/>
                <a:gd name="connsiteX2344" fmla="*/ 414586 w 12117871"/>
                <a:gd name="connsiteY2344" fmla="*/ 3520181 h 6072780"/>
                <a:gd name="connsiteX2345" fmla="*/ 431621 w 12117871"/>
                <a:gd name="connsiteY2345" fmla="*/ 3514097 h 6072780"/>
                <a:gd name="connsiteX2346" fmla="*/ 447821 w 12117871"/>
                <a:gd name="connsiteY2346" fmla="*/ 3506948 h 6072780"/>
                <a:gd name="connsiteX2347" fmla="*/ 463943 w 12117871"/>
                <a:gd name="connsiteY2347" fmla="*/ 3498126 h 6072780"/>
                <a:gd name="connsiteX2348" fmla="*/ 480750 w 12117871"/>
                <a:gd name="connsiteY2348" fmla="*/ 3487023 h 6072780"/>
                <a:gd name="connsiteX2349" fmla="*/ 11875949 w 12117871"/>
                <a:gd name="connsiteY2349" fmla="*/ 3483150 h 6072780"/>
                <a:gd name="connsiteX2350" fmla="*/ 11947116 w 12117871"/>
                <a:gd name="connsiteY2350" fmla="*/ 3593737 h 6072780"/>
                <a:gd name="connsiteX2351" fmla="*/ 11927030 w 12117871"/>
                <a:gd name="connsiteY2351" fmla="*/ 3677317 h 6072780"/>
                <a:gd name="connsiteX2352" fmla="*/ 11870833 w 12117871"/>
                <a:gd name="connsiteY2352" fmla="*/ 3706130 h 6072780"/>
                <a:gd name="connsiteX2353" fmla="*/ 11818248 w 12117871"/>
                <a:gd name="connsiteY2353" fmla="*/ 3678596 h 6072780"/>
                <a:gd name="connsiteX2354" fmla="*/ 11799365 w 12117871"/>
                <a:gd name="connsiteY2354" fmla="*/ 3599003 h 6072780"/>
                <a:gd name="connsiteX2355" fmla="*/ 11819075 w 12117871"/>
                <a:gd name="connsiteY2355" fmla="*/ 3512489 h 6072780"/>
                <a:gd name="connsiteX2356" fmla="*/ 11875949 w 12117871"/>
                <a:gd name="connsiteY2356" fmla="*/ 3483150 h 6072780"/>
                <a:gd name="connsiteX2357" fmla="*/ 11190803 w 12117871"/>
                <a:gd name="connsiteY2357" fmla="*/ 3483150 h 6072780"/>
                <a:gd name="connsiteX2358" fmla="*/ 11261970 w 12117871"/>
                <a:gd name="connsiteY2358" fmla="*/ 3593737 h 6072780"/>
                <a:gd name="connsiteX2359" fmla="*/ 11241884 w 12117871"/>
                <a:gd name="connsiteY2359" fmla="*/ 3677317 h 6072780"/>
                <a:gd name="connsiteX2360" fmla="*/ 11185687 w 12117871"/>
                <a:gd name="connsiteY2360" fmla="*/ 3706130 h 6072780"/>
                <a:gd name="connsiteX2361" fmla="*/ 11133102 w 12117871"/>
                <a:gd name="connsiteY2361" fmla="*/ 3678596 h 6072780"/>
                <a:gd name="connsiteX2362" fmla="*/ 11114219 w 12117871"/>
                <a:gd name="connsiteY2362" fmla="*/ 3599003 h 6072780"/>
                <a:gd name="connsiteX2363" fmla="*/ 11133929 w 12117871"/>
                <a:gd name="connsiteY2363" fmla="*/ 3512489 h 6072780"/>
                <a:gd name="connsiteX2364" fmla="*/ 11190803 w 12117871"/>
                <a:gd name="connsiteY2364" fmla="*/ 3483150 h 6072780"/>
                <a:gd name="connsiteX2365" fmla="*/ 9937869 w 12117871"/>
                <a:gd name="connsiteY2365" fmla="*/ 3483150 h 6072780"/>
                <a:gd name="connsiteX2366" fmla="*/ 10009036 w 12117871"/>
                <a:gd name="connsiteY2366" fmla="*/ 3593737 h 6072780"/>
                <a:gd name="connsiteX2367" fmla="*/ 9988950 w 12117871"/>
                <a:gd name="connsiteY2367" fmla="*/ 3677317 h 6072780"/>
                <a:gd name="connsiteX2368" fmla="*/ 9932753 w 12117871"/>
                <a:gd name="connsiteY2368" fmla="*/ 3706130 h 6072780"/>
                <a:gd name="connsiteX2369" fmla="*/ 9880168 w 12117871"/>
                <a:gd name="connsiteY2369" fmla="*/ 3678596 h 6072780"/>
                <a:gd name="connsiteX2370" fmla="*/ 9861285 w 12117871"/>
                <a:gd name="connsiteY2370" fmla="*/ 3599003 h 6072780"/>
                <a:gd name="connsiteX2371" fmla="*/ 9880995 w 12117871"/>
                <a:gd name="connsiteY2371" fmla="*/ 3512489 h 6072780"/>
                <a:gd name="connsiteX2372" fmla="*/ 9937869 w 12117871"/>
                <a:gd name="connsiteY2372" fmla="*/ 3483150 h 6072780"/>
                <a:gd name="connsiteX2373" fmla="*/ 9715358 w 12117871"/>
                <a:gd name="connsiteY2373" fmla="*/ 3483150 h 6072780"/>
                <a:gd name="connsiteX2374" fmla="*/ 9786525 w 12117871"/>
                <a:gd name="connsiteY2374" fmla="*/ 3593737 h 6072780"/>
                <a:gd name="connsiteX2375" fmla="*/ 9766439 w 12117871"/>
                <a:gd name="connsiteY2375" fmla="*/ 3677317 h 6072780"/>
                <a:gd name="connsiteX2376" fmla="*/ 9710242 w 12117871"/>
                <a:gd name="connsiteY2376" fmla="*/ 3706130 h 6072780"/>
                <a:gd name="connsiteX2377" fmla="*/ 9657657 w 12117871"/>
                <a:gd name="connsiteY2377" fmla="*/ 3678596 h 6072780"/>
                <a:gd name="connsiteX2378" fmla="*/ 9638774 w 12117871"/>
                <a:gd name="connsiteY2378" fmla="*/ 3599003 h 6072780"/>
                <a:gd name="connsiteX2379" fmla="*/ 9658484 w 12117871"/>
                <a:gd name="connsiteY2379" fmla="*/ 3512489 h 6072780"/>
                <a:gd name="connsiteX2380" fmla="*/ 9715358 w 12117871"/>
                <a:gd name="connsiteY2380" fmla="*/ 3483150 h 6072780"/>
                <a:gd name="connsiteX2381" fmla="*/ 6373956 w 12117871"/>
                <a:gd name="connsiteY2381" fmla="*/ 3483150 h 6072780"/>
                <a:gd name="connsiteX2382" fmla="*/ 6445123 w 12117871"/>
                <a:gd name="connsiteY2382" fmla="*/ 3593737 h 6072780"/>
                <a:gd name="connsiteX2383" fmla="*/ 6425037 w 12117871"/>
                <a:gd name="connsiteY2383" fmla="*/ 3677317 h 6072780"/>
                <a:gd name="connsiteX2384" fmla="*/ 6368840 w 12117871"/>
                <a:gd name="connsiteY2384" fmla="*/ 3706130 h 6072780"/>
                <a:gd name="connsiteX2385" fmla="*/ 6316255 w 12117871"/>
                <a:gd name="connsiteY2385" fmla="*/ 3678596 h 6072780"/>
                <a:gd name="connsiteX2386" fmla="*/ 6297372 w 12117871"/>
                <a:gd name="connsiteY2386" fmla="*/ 3599003 h 6072780"/>
                <a:gd name="connsiteX2387" fmla="*/ 6317082 w 12117871"/>
                <a:gd name="connsiteY2387" fmla="*/ 3512489 h 6072780"/>
                <a:gd name="connsiteX2388" fmla="*/ 6373956 w 12117871"/>
                <a:gd name="connsiteY2388" fmla="*/ 3483150 h 6072780"/>
                <a:gd name="connsiteX2389" fmla="*/ 5786272 w 12117871"/>
                <a:gd name="connsiteY2389" fmla="*/ 3483150 h 6072780"/>
                <a:gd name="connsiteX2390" fmla="*/ 5857440 w 12117871"/>
                <a:gd name="connsiteY2390" fmla="*/ 3593737 h 6072780"/>
                <a:gd name="connsiteX2391" fmla="*/ 5837355 w 12117871"/>
                <a:gd name="connsiteY2391" fmla="*/ 3677317 h 6072780"/>
                <a:gd name="connsiteX2392" fmla="*/ 5781158 w 12117871"/>
                <a:gd name="connsiteY2392" fmla="*/ 3706130 h 6072780"/>
                <a:gd name="connsiteX2393" fmla="*/ 5728572 w 12117871"/>
                <a:gd name="connsiteY2393" fmla="*/ 3678596 h 6072780"/>
                <a:gd name="connsiteX2394" fmla="*/ 5709690 w 12117871"/>
                <a:gd name="connsiteY2394" fmla="*/ 3599003 h 6072780"/>
                <a:gd name="connsiteX2395" fmla="*/ 5729400 w 12117871"/>
                <a:gd name="connsiteY2395" fmla="*/ 3512489 h 6072780"/>
                <a:gd name="connsiteX2396" fmla="*/ 5786272 w 12117871"/>
                <a:gd name="connsiteY2396" fmla="*/ 3483150 h 6072780"/>
                <a:gd name="connsiteX2397" fmla="*/ 5093284 w 12117871"/>
                <a:gd name="connsiteY2397" fmla="*/ 3483150 h 6072780"/>
                <a:gd name="connsiteX2398" fmla="*/ 5164451 w 12117871"/>
                <a:gd name="connsiteY2398" fmla="*/ 3593737 h 6072780"/>
                <a:gd name="connsiteX2399" fmla="*/ 5144364 w 12117871"/>
                <a:gd name="connsiteY2399" fmla="*/ 3677317 h 6072780"/>
                <a:gd name="connsiteX2400" fmla="*/ 5088168 w 12117871"/>
                <a:gd name="connsiteY2400" fmla="*/ 3706130 h 6072780"/>
                <a:gd name="connsiteX2401" fmla="*/ 5035583 w 12117871"/>
                <a:gd name="connsiteY2401" fmla="*/ 3678596 h 6072780"/>
                <a:gd name="connsiteX2402" fmla="*/ 5016700 w 12117871"/>
                <a:gd name="connsiteY2402" fmla="*/ 3599003 h 6072780"/>
                <a:gd name="connsiteX2403" fmla="*/ 5036410 w 12117871"/>
                <a:gd name="connsiteY2403" fmla="*/ 3512489 h 6072780"/>
                <a:gd name="connsiteX2404" fmla="*/ 5093284 w 12117871"/>
                <a:gd name="connsiteY2404" fmla="*/ 3483150 h 6072780"/>
                <a:gd name="connsiteX2405" fmla="*/ 3839047 w 12117871"/>
                <a:gd name="connsiteY2405" fmla="*/ 3483150 h 6072780"/>
                <a:gd name="connsiteX2406" fmla="*/ 3910214 w 12117871"/>
                <a:gd name="connsiteY2406" fmla="*/ 3593737 h 6072780"/>
                <a:gd name="connsiteX2407" fmla="*/ 3890128 w 12117871"/>
                <a:gd name="connsiteY2407" fmla="*/ 3677317 h 6072780"/>
                <a:gd name="connsiteX2408" fmla="*/ 3833931 w 12117871"/>
                <a:gd name="connsiteY2408" fmla="*/ 3706130 h 6072780"/>
                <a:gd name="connsiteX2409" fmla="*/ 3781346 w 12117871"/>
                <a:gd name="connsiteY2409" fmla="*/ 3678596 h 6072780"/>
                <a:gd name="connsiteX2410" fmla="*/ 3762464 w 12117871"/>
                <a:gd name="connsiteY2410" fmla="*/ 3599003 h 6072780"/>
                <a:gd name="connsiteX2411" fmla="*/ 3782173 w 12117871"/>
                <a:gd name="connsiteY2411" fmla="*/ 3512489 h 6072780"/>
                <a:gd name="connsiteX2412" fmla="*/ 3839047 w 12117871"/>
                <a:gd name="connsiteY2412" fmla="*/ 3483150 h 6072780"/>
                <a:gd name="connsiteX2413" fmla="*/ 3616537 w 12117871"/>
                <a:gd name="connsiteY2413" fmla="*/ 3483150 h 6072780"/>
                <a:gd name="connsiteX2414" fmla="*/ 3687703 w 12117871"/>
                <a:gd name="connsiteY2414" fmla="*/ 3593737 h 6072780"/>
                <a:gd name="connsiteX2415" fmla="*/ 3667617 w 12117871"/>
                <a:gd name="connsiteY2415" fmla="*/ 3677317 h 6072780"/>
                <a:gd name="connsiteX2416" fmla="*/ 3611420 w 12117871"/>
                <a:gd name="connsiteY2416" fmla="*/ 3706130 h 6072780"/>
                <a:gd name="connsiteX2417" fmla="*/ 3558835 w 12117871"/>
                <a:gd name="connsiteY2417" fmla="*/ 3678596 h 6072780"/>
                <a:gd name="connsiteX2418" fmla="*/ 3539952 w 12117871"/>
                <a:gd name="connsiteY2418" fmla="*/ 3599003 h 6072780"/>
                <a:gd name="connsiteX2419" fmla="*/ 3559662 w 12117871"/>
                <a:gd name="connsiteY2419" fmla="*/ 3512489 h 6072780"/>
                <a:gd name="connsiteX2420" fmla="*/ 3616537 w 12117871"/>
                <a:gd name="connsiteY2420" fmla="*/ 3483150 h 6072780"/>
                <a:gd name="connsiteX2421" fmla="*/ 11868817 w 12117871"/>
                <a:gd name="connsiteY2421" fmla="*/ 3137996 h 6072780"/>
                <a:gd name="connsiteX2422" fmla="*/ 11829547 w 12117871"/>
                <a:gd name="connsiteY2422" fmla="*/ 3224510 h 6072780"/>
                <a:gd name="connsiteX2423" fmla="*/ 11868065 w 12117871"/>
                <a:gd name="connsiteY2423" fmla="*/ 3305457 h 6072780"/>
                <a:gd name="connsiteX2424" fmla="*/ 11905980 w 12117871"/>
                <a:gd name="connsiteY2424" fmla="*/ 3223156 h 6072780"/>
                <a:gd name="connsiteX2425" fmla="*/ 11868817 w 12117871"/>
                <a:gd name="connsiteY2425" fmla="*/ 3137996 h 6072780"/>
                <a:gd name="connsiteX2426" fmla="*/ 11181652 w 12117871"/>
                <a:gd name="connsiteY2426" fmla="*/ 3137996 h 6072780"/>
                <a:gd name="connsiteX2427" fmla="*/ 11142382 w 12117871"/>
                <a:gd name="connsiteY2427" fmla="*/ 3224510 h 6072780"/>
                <a:gd name="connsiteX2428" fmla="*/ 11180900 w 12117871"/>
                <a:gd name="connsiteY2428" fmla="*/ 3305457 h 6072780"/>
                <a:gd name="connsiteX2429" fmla="*/ 11218815 w 12117871"/>
                <a:gd name="connsiteY2429" fmla="*/ 3223156 h 6072780"/>
                <a:gd name="connsiteX2430" fmla="*/ 11181652 w 12117871"/>
                <a:gd name="connsiteY2430" fmla="*/ 3137996 h 6072780"/>
                <a:gd name="connsiteX2431" fmla="*/ 9924166 w 12117871"/>
                <a:gd name="connsiteY2431" fmla="*/ 3137996 h 6072780"/>
                <a:gd name="connsiteX2432" fmla="*/ 9884896 w 12117871"/>
                <a:gd name="connsiteY2432" fmla="*/ 3224510 h 6072780"/>
                <a:gd name="connsiteX2433" fmla="*/ 9923414 w 12117871"/>
                <a:gd name="connsiteY2433" fmla="*/ 3305457 h 6072780"/>
                <a:gd name="connsiteX2434" fmla="*/ 9961329 w 12117871"/>
                <a:gd name="connsiteY2434" fmla="*/ 3223156 h 6072780"/>
                <a:gd name="connsiteX2435" fmla="*/ 9924166 w 12117871"/>
                <a:gd name="connsiteY2435" fmla="*/ 3137996 h 6072780"/>
                <a:gd name="connsiteX2436" fmla="*/ 9707272 w 12117871"/>
                <a:gd name="connsiteY2436" fmla="*/ 3137996 h 6072780"/>
                <a:gd name="connsiteX2437" fmla="*/ 9668002 w 12117871"/>
                <a:gd name="connsiteY2437" fmla="*/ 3224510 h 6072780"/>
                <a:gd name="connsiteX2438" fmla="*/ 9706520 w 12117871"/>
                <a:gd name="connsiteY2438" fmla="*/ 3305457 h 6072780"/>
                <a:gd name="connsiteX2439" fmla="*/ 9744435 w 12117871"/>
                <a:gd name="connsiteY2439" fmla="*/ 3223156 h 6072780"/>
                <a:gd name="connsiteX2440" fmla="*/ 9707272 w 12117871"/>
                <a:gd name="connsiteY2440" fmla="*/ 3137996 h 6072780"/>
                <a:gd name="connsiteX2441" fmla="*/ 6330265 w 12117871"/>
                <a:gd name="connsiteY2441" fmla="*/ 3137996 h 6072780"/>
                <a:gd name="connsiteX2442" fmla="*/ 6290995 w 12117871"/>
                <a:gd name="connsiteY2442" fmla="*/ 3224510 h 6072780"/>
                <a:gd name="connsiteX2443" fmla="*/ 6329513 w 12117871"/>
                <a:gd name="connsiteY2443" fmla="*/ 3305457 h 6072780"/>
                <a:gd name="connsiteX2444" fmla="*/ 6367428 w 12117871"/>
                <a:gd name="connsiteY2444" fmla="*/ 3223156 h 6072780"/>
                <a:gd name="connsiteX2445" fmla="*/ 6330265 w 12117871"/>
                <a:gd name="connsiteY2445" fmla="*/ 3137996 h 6072780"/>
                <a:gd name="connsiteX2446" fmla="*/ 6148770 w 12117871"/>
                <a:gd name="connsiteY2446" fmla="*/ 3137996 h 6072780"/>
                <a:gd name="connsiteX2447" fmla="*/ 6109500 w 12117871"/>
                <a:gd name="connsiteY2447" fmla="*/ 3224510 h 6072780"/>
                <a:gd name="connsiteX2448" fmla="*/ 6148018 w 12117871"/>
                <a:gd name="connsiteY2448" fmla="*/ 3305457 h 6072780"/>
                <a:gd name="connsiteX2449" fmla="*/ 6185933 w 12117871"/>
                <a:gd name="connsiteY2449" fmla="*/ 3223156 h 6072780"/>
                <a:gd name="connsiteX2450" fmla="*/ 6148770 w 12117871"/>
                <a:gd name="connsiteY2450" fmla="*/ 3137996 h 6072780"/>
                <a:gd name="connsiteX2451" fmla="*/ 5817313 w 12117871"/>
                <a:gd name="connsiteY2451" fmla="*/ 3137996 h 6072780"/>
                <a:gd name="connsiteX2452" fmla="*/ 5778043 w 12117871"/>
                <a:gd name="connsiteY2452" fmla="*/ 3224510 h 6072780"/>
                <a:gd name="connsiteX2453" fmla="*/ 5816561 w 12117871"/>
                <a:gd name="connsiteY2453" fmla="*/ 3305457 h 6072780"/>
                <a:gd name="connsiteX2454" fmla="*/ 5854477 w 12117871"/>
                <a:gd name="connsiteY2454" fmla="*/ 3223156 h 6072780"/>
                <a:gd name="connsiteX2455" fmla="*/ 5817313 w 12117871"/>
                <a:gd name="connsiteY2455" fmla="*/ 3137996 h 6072780"/>
                <a:gd name="connsiteX2456" fmla="*/ 5117746 w 12117871"/>
                <a:gd name="connsiteY2456" fmla="*/ 3137996 h 6072780"/>
                <a:gd name="connsiteX2457" fmla="*/ 5078476 w 12117871"/>
                <a:gd name="connsiteY2457" fmla="*/ 3224510 h 6072780"/>
                <a:gd name="connsiteX2458" fmla="*/ 5116994 w 12117871"/>
                <a:gd name="connsiteY2458" fmla="*/ 3305457 h 6072780"/>
                <a:gd name="connsiteX2459" fmla="*/ 5154909 w 12117871"/>
                <a:gd name="connsiteY2459" fmla="*/ 3223156 h 6072780"/>
                <a:gd name="connsiteX2460" fmla="*/ 5117746 w 12117871"/>
                <a:gd name="connsiteY2460" fmla="*/ 3137996 h 6072780"/>
                <a:gd name="connsiteX2461" fmla="*/ 3857235 w 12117871"/>
                <a:gd name="connsiteY2461" fmla="*/ 3137996 h 6072780"/>
                <a:gd name="connsiteX2462" fmla="*/ 3817965 w 12117871"/>
                <a:gd name="connsiteY2462" fmla="*/ 3224510 h 6072780"/>
                <a:gd name="connsiteX2463" fmla="*/ 3856483 w 12117871"/>
                <a:gd name="connsiteY2463" fmla="*/ 3305457 h 6072780"/>
                <a:gd name="connsiteX2464" fmla="*/ 3894397 w 12117871"/>
                <a:gd name="connsiteY2464" fmla="*/ 3223156 h 6072780"/>
                <a:gd name="connsiteX2465" fmla="*/ 3857235 w 12117871"/>
                <a:gd name="connsiteY2465" fmla="*/ 3137996 h 6072780"/>
                <a:gd name="connsiteX2466" fmla="*/ 3640341 w 12117871"/>
                <a:gd name="connsiteY2466" fmla="*/ 3137996 h 6072780"/>
                <a:gd name="connsiteX2467" fmla="*/ 3601072 w 12117871"/>
                <a:gd name="connsiteY2467" fmla="*/ 3224510 h 6072780"/>
                <a:gd name="connsiteX2468" fmla="*/ 3639589 w 12117871"/>
                <a:gd name="connsiteY2468" fmla="*/ 3305457 h 6072780"/>
                <a:gd name="connsiteX2469" fmla="*/ 3677504 w 12117871"/>
                <a:gd name="connsiteY2469" fmla="*/ 3223156 h 6072780"/>
                <a:gd name="connsiteX2470" fmla="*/ 3640341 w 12117871"/>
                <a:gd name="connsiteY2470" fmla="*/ 3137996 h 6072780"/>
                <a:gd name="connsiteX2471" fmla="*/ 273451 w 12117871"/>
                <a:gd name="connsiteY2471" fmla="*/ 3137996 h 6072780"/>
                <a:gd name="connsiteX2472" fmla="*/ 234181 w 12117871"/>
                <a:gd name="connsiteY2472" fmla="*/ 3224510 h 6072780"/>
                <a:gd name="connsiteX2473" fmla="*/ 272699 w 12117871"/>
                <a:gd name="connsiteY2473" fmla="*/ 3305457 h 6072780"/>
                <a:gd name="connsiteX2474" fmla="*/ 310614 w 12117871"/>
                <a:gd name="connsiteY2474" fmla="*/ 3223156 h 6072780"/>
                <a:gd name="connsiteX2475" fmla="*/ 273451 w 12117871"/>
                <a:gd name="connsiteY2475" fmla="*/ 3137996 h 6072780"/>
                <a:gd name="connsiteX2476" fmla="*/ 74929 w 12117871"/>
                <a:gd name="connsiteY2476" fmla="*/ 3137996 h 6072780"/>
                <a:gd name="connsiteX2477" fmla="*/ 35659 w 12117871"/>
                <a:gd name="connsiteY2477" fmla="*/ 3224510 h 6072780"/>
                <a:gd name="connsiteX2478" fmla="*/ 74177 w 12117871"/>
                <a:gd name="connsiteY2478" fmla="*/ 3305457 h 6072780"/>
                <a:gd name="connsiteX2479" fmla="*/ 112092 w 12117871"/>
                <a:gd name="connsiteY2479" fmla="*/ 3223156 h 6072780"/>
                <a:gd name="connsiteX2480" fmla="*/ 74929 w 12117871"/>
                <a:gd name="connsiteY2480" fmla="*/ 3137996 h 6072780"/>
                <a:gd name="connsiteX2481" fmla="*/ 12088449 w 12117871"/>
                <a:gd name="connsiteY2481" fmla="*/ 3110161 h 6072780"/>
                <a:gd name="connsiteX2482" fmla="*/ 12103355 w 12117871"/>
                <a:gd name="connsiteY2482" fmla="*/ 3110161 h 6072780"/>
                <a:gd name="connsiteX2483" fmla="*/ 12103355 w 12117871"/>
                <a:gd name="connsiteY2483" fmla="*/ 3333141 h 6072780"/>
                <a:gd name="connsiteX2484" fmla="*/ 12068067 w 12117871"/>
                <a:gd name="connsiteY2484" fmla="*/ 3333141 h 6072780"/>
                <a:gd name="connsiteX2485" fmla="*/ 12068067 w 12117871"/>
                <a:gd name="connsiteY2485" fmla="*/ 3153358 h 6072780"/>
                <a:gd name="connsiteX2486" fmla="*/ 12047458 w 12117871"/>
                <a:gd name="connsiteY2486" fmla="*/ 3164993 h 6072780"/>
                <a:gd name="connsiteX2487" fmla="*/ 12022285 w 12117871"/>
                <a:gd name="connsiteY2487" fmla="*/ 3173435 h 6072780"/>
                <a:gd name="connsiteX2488" fmla="*/ 12022285 w 12117871"/>
                <a:gd name="connsiteY2488" fmla="*/ 3143319 h 6072780"/>
                <a:gd name="connsiteX2489" fmla="*/ 12039320 w 12117871"/>
                <a:gd name="connsiteY2489" fmla="*/ 3137235 h 6072780"/>
                <a:gd name="connsiteX2490" fmla="*/ 12055519 w 12117871"/>
                <a:gd name="connsiteY2490" fmla="*/ 3130086 h 6072780"/>
                <a:gd name="connsiteX2491" fmla="*/ 12071642 w 12117871"/>
                <a:gd name="connsiteY2491" fmla="*/ 3121265 h 6072780"/>
                <a:gd name="connsiteX2492" fmla="*/ 12088449 w 12117871"/>
                <a:gd name="connsiteY2492" fmla="*/ 3110161 h 6072780"/>
                <a:gd name="connsiteX2493" fmla="*/ 11870472 w 12117871"/>
                <a:gd name="connsiteY2493" fmla="*/ 3110161 h 6072780"/>
                <a:gd name="connsiteX2494" fmla="*/ 11941639 w 12117871"/>
                <a:gd name="connsiteY2494" fmla="*/ 3220749 h 6072780"/>
                <a:gd name="connsiteX2495" fmla="*/ 11921553 w 12117871"/>
                <a:gd name="connsiteY2495" fmla="*/ 3304328 h 6072780"/>
                <a:gd name="connsiteX2496" fmla="*/ 11865356 w 12117871"/>
                <a:gd name="connsiteY2496" fmla="*/ 3333141 h 6072780"/>
                <a:gd name="connsiteX2497" fmla="*/ 11812771 w 12117871"/>
                <a:gd name="connsiteY2497" fmla="*/ 3305607 h 6072780"/>
                <a:gd name="connsiteX2498" fmla="*/ 11793888 w 12117871"/>
                <a:gd name="connsiteY2498" fmla="*/ 3226015 h 6072780"/>
                <a:gd name="connsiteX2499" fmla="*/ 11813598 w 12117871"/>
                <a:gd name="connsiteY2499" fmla="*/ 3139501 h 6072780"/>
                <a:gd name="connsiteX2500" fmla="*/ 11870472 w 12117871"/>
                <a:gd name="connsiteY2500" fmla="*/ 3110161 h 6072780"/>
                <a:gd name="connsiteX2501" fmla="*/ 11183307 w 12117871"/>
                <a:gd name="connsiteY2501" fmla="*/ 3110161 h 6072780"/>
                <a:gd name="connsiteX2502" fmla="*/ 11254474 w 12117871"/>
                <a:gd name="connsiteY2502" fmla="*/ 3220749 h 6072780"/>
                <a:gd name="connsiteX2503" fmla="*/ 11234388 w 12117871"/>
                <a:gd name="connsiteY2503" fmla="*/ 3304328 h 6072780"/>
                <a:gd name="connsiteX2504" fmla="*/ 11178191 w 12117871"/>
                <a:gd name="connsiteY2504" fmla="*/ 3333141 h 6072780"/>
                <a:gd name="connsiteX2505" fmla="*/ 11125606 w 12117871"/>
                <a:gd name="connsiteY2505" fmla="*/ 3305607 h 6072780"/>
                <a:gd name="connsiteX2506" fmla="*/ 11106723 w 12117871"/>
                <a:gd name="connsiteY2506" fmla="*/ 3226015 h 6072780"/>
                <a:gd name="connsiteX2507" fmla="*/ 11126433 w 12117871"/>
                <a:gd name="connsiteY2507" fmla="*/ 3139501 h 6072780"/>
                <a:gd name="connsiteX2508" fmla="*/ 11183307 w 12117871"/>
                <a:gd name="connsiteY2508" fmla="*/ 3110161 h 6072780"/>
                <a:gd name="connsiteX2509" fmla="*/ 10794576 w 12117871"/>
                <a:gd name="connsiteY2509" fmla="*/ 3110161 h 6072780"/>
                <a:gd name="connsiteX2510" fmla="*/ 10809482 w 12117871"/>
                <a:gd name="connsiteY2510" fmla="*/ 3110161 h 6072780"/>
                <a:gd name="connsiteX2511" fmla="*/ 10809482 w 12117871"/>
                <a:gd name="connsiteY2511" fmla="*/ 3333141 h 6072780"/>
                <a:gd name="connsiteX2512" fmla="*/ 10774194 w 12117871"/>
                <a:gd name="connsiteY2512" fmla="*/ 3333141 h 6072780"/>
                <a:gd name="connsiteX2513" fmla="*/ 10774194 w 12117871"/>
                <a:gd name="connsiteY2513" fmla="*/ 3153358 h 6072780"/>
                <a:gd name="connsiteX2514" fmla="*/ 10753585 w 12117871"/>
                <a:gd name="connsiteY2514" fmla="*/ 3164993 h 6072780"/>
                <a:gd name="connsiteX2515" fmla="*/ 10728412 w 12117871"/>
                <a:gd name="connsiteY2515" fmla="*/ 3173435 h 6072780"/>
                <a:gd name="connsiteX2516" fmla="*/ 10728412 w 12117871"/>
                <a:gd name="connsiteY2516" fmla="*/ 3143319 h 6072780"/>
                <a:gd name="connsiteX2517" fmla="*/ 10745447 w 12117871"/>
                <a:gd name="connsiteY2517" fmla="*/ 3137235 h 6072780"/>
                <a:gd name="connsiteX2518" fmla="*/ 10761646 w 12117871"/>
                <a:gd name="connsiteY2518" fmla="*/ 3130086 h 6072780"/>
                <a:gd name="connsiteX2519" fmla="*/ 10777769 w 12117871"/>
                <a:gd name="connsiteY2519" fmla="*/ 3121265 h 6072780"/>
                <a:gd name="connsiteX2520" fmla="*/ 10794576 w 12117871"/>
                <a:gd name="connsiteY2520" fmla="*/ 3110161 h 6072780"/>
                <a:gd name="connsiteX2521" fmla="*/ 10431054 w 12117871"/>
                <a:gd name="connsiteY2521" fmla="*/ 3110161 h 6072780"/>
                <a:gd name="connsiteX2522" fmla="*/ 10445960 w 12117871"/>
                <a:gd name="connsiteY2522" fmla="*/ 3110161 h 6072780"/>
                <a:gd name="connsiteX2523" fmla="*/ 10445960 w 12117871"/>
                <a:gd name="connsiteY2523" fmla="*/ 3333141 h 6072780"/>
                <a:gd name="connsiteX2524" fmla="*/ 10410672 w 12117871"/>
                <a:gd name="connsiteY2524" fmla="*/ 3333141 h 6072780"/>
                <a:gd name="connsiteX2525" fmla="*/ 10410672 w 12117871"/>
                <a:gd name="connsiteY2525" fmla="*/ 3153358 h 6072780"/>
                <a:gd name="connsiteX2526" fmla="*/ 10390063 w 12117871"/>
                <a:gd name="connsiteY2526" fmla="*/ 3164993 h 6072780"/>
                <a:gd name="connsiteX2527" fmla="*/ 10364890 w 12117871"/>
                <a:gd name="connsiteY2527" fmla="*/ 3173435 h 6072780"/>
                <a:gd name="connsiteX2528" fmla="*/ 10364890 w 12117871"/>
                <a:gd name="connsiteY2528" fmla="*/ 3143319 h 6072780"/>
                <a:gd name="connsiteX2529" fmla="*/ 10381925 w 12117871"/>
                <a:gd name="connsiteY2529" fmla="*/ 3137235 h 6072780"/>
                <a:gd name="connsiteX2530" fmla="*/ 10398124 w 12117871"/>
                <a:gd name="connsiteY2530" fmla="*/ 3130086 h 6072780"/>
                <a:gd name="connsiteX2531" fmla="*/ 10414247 w 12117871"/>
                <a:gd name="connsiteY2531" fmla="*/ 3121265 h 6072780"/>
                <a:gd name="connsiteX2532" fmla="*/ 10431054 w 12117871"/>
                <a:gd name="connsiteY2532" fmla="*/ 3110161 h 6072780"/>
                <a:gd name="connsiteX2533" fmla="*/ 10132191 w 12117871"/>
                <a:gd name="connsiteY2533" fmla="*/ 3110161 h 6072780"/>
                <a:gd name="connsiteX2534" fmla="*/ 10147097 w 12117871"/>
                <a:gd name="connsiteY2534" fmla="*/ 3110161 h 6072780"/>
                <a:gd name="connsiteX2535" fmla="*/ 10147097 w 12117871"/>
                <a:gd name="connsiteY2535" fmla="*/ 3333141 h 6072780"/>
                <a:gd name="connsiteX2536" fmla="*/ 10111809 w 12117871"/>
                <a:gd name="connsiteY2536" fmla="*/ 3333141 h 6072780"/>
                <a:gd name="connsiteX2537" fmla="*/ 10111809 w 12117871"/>
                <a:gd name="connsiteY2537" fmla="*/ 3153358 h 6072780"/>
                <a:gd name="connsiteX2538" fmla="*/ 10091200 w 12117871"/>
                <a:gd name="connsiteY2538" fmla="*/ 3164993 h 6072780"/>
                <a:gd name="connsiteX2539" fmla="*/ 10066027 w 12117871"/>
                <a:gd name="connsiteY2539" fmla="*/ 3173435 h 6072780"/>
                <a:gd name="connsiteX2540" fmla="*/ 10066027 w 12117871"/>
                <a:gd name="connsiteY2540" fmla="*/ 3143319 h 6072780"/>
                <a:gd name="connsiteX2541" fmla="*/ 10083062 w 12117871"/>
                <a:gd name="connsiteY2541" fmla="*/ 3137235 h 6072780"/>
                <a:gd name="connsiteX2542" fmla="*/ 10099261 w 12117871"/>
                <a:gd name="connsiteY2542" fmla="*/ 3130086 h 6072780"/>
                <a:gd name="connsiteX2543" fmla="*/ 10115384 w 12117871"/>
                <a:gd name="connsiteY2543" fmla="*/ 3121265 h 6072780"/>
                <a:gd name="connsiteX2544" fmla="*/ 10132191 w 12117871"/>
                <a:gd name="connsiteY2544" fmla="*/ 3110161 h 6072780"/>
                <a:gd name="connsiteX2545" fmla="*/ 9925821 w 12117871"/>
                <a:gd name="connsiteY2545" fmla="*/ 3110161 h 6072780"/>
                <a:gd name="connsiteX2546" fmla="*/ 9996988 w 12117871"/>
                <a:gd name="connsiteY2546" fmla="*/ 3220749 h 6072780"/>
                <a:gd name="connsiteX2547" fmla="*/ 9976902 w 12117871"/>
                <a:gd name="connsiteY2547" fmla="*/ 3304328 h 6072780"/>
                <a:gd name="connsiteX2548" fmla="*/ 9920705 w 12117871"/>
                <a:gd name="connsiteY2548" fmla="*/ 3333141 h 6072780"/>
                <a:gd name="connsiteX2549" fmla="*/ 9868120 w 12117871"/>
                <a:gd name="connsiteY2549" fmla="*/ 3305607 h 6072780"/>
                <a:gd name="connsiteX2550" fmla="*/ 9849237 w 12117871"/>
                <a:gd name="connsiteY2550" fmla="*/ 3226015 h 6072780"/>
                <a:gd name="connsiteX2551" fmla="*/ 9868947 w 12117871"/>
                <a:gd name="connsiteY2551" fmla="*/ 3139501 h 6072780"/>
                <a:gd name="connsiteX2552" fmla="*/ 9925821 w 12117871"/>
                <a:gd name="connsiteY2552" fmla="*/ 3110161 h 6072780"/>
                <a:gd name="connsiteX2553" fmla="*/ 9708927 w 12117871"/>
                <a:gd name="connsiteY2553" fmla="*/ 3110161 h 6072780"/>
                <a:gd name="connsiteX2554" fmla="*/ 9780094 w 12117871"/>
                <a:gd name="connsiteY2554" fmla="*/ 3220749 h 6072780"/>
                <a:gd name="connsiteX2555" fmla="*/ 9760008 w 12117871"/>
                <a:gd name="connsiteY2555" fmla="*/ 3304328 h 6072780"/>
                <a:gd name="connsiteX2556" fmla="*/ 9703811 w 12117871"/>
                <a:gd name="connsiteY2556" fmla="*/ 3333141 h 6072780"/>
                <a:gd name="connsiteX2557" fmla="*/ 9651226 w 12117871"/>
                <a:gd name="connsiteY2557" fmla="*/ 3305607 h 6072780"/>
                <a:gd name="connsiteX2558" fmla="*/ 9632343 w 12117871"/>
                <a:gd name="connsiteY2558" fmla="*/ 3226015 h 6072780"/>
                <a:gd name="connsiteX2559" fmla="*/ 9652053 w 12117871"/>
                <a:gd name="connsiteY2559" fmla="*/ 3139501 h 6072780"/>
                <a:gd name="connsiteX2560" fmla="*/ 9708927 w 12117871"/>
                <a:gd name="connsiteY2560" fmla="*/ 3110161 h 6072780"/>
                <a:gd name="connsiteX2561" fmla="*/ 9539026 w 12117871"/>
                <a:gd name="connsiteY2561" fmla="*/ 3110161 h 6072780"/>
                <a:gd name="connsiteX2562" fmla="*/ 9553932 w 12117871"/>
                <a:gd name="connsiteY2562" fmla="*/ 3110161 h 6072780"/>
                <a:gd name="connsiteX2563" fmla="*/ 9553932 w 12117871"/>
                <a:gd name="connsiteY2563" fmla="*/ 3333141 h 6072780"/>
                <a:gd name="connsiteX2564" fmla="*/ 9518644 w 12117871"/>
                <a:gd name="connsiteY2564" fmla="*/ 3333141 h 6072780"/>
                <a:gd name="connsiteX2565" fmla="*/ 9518644 w 12117871"/>
                <a:gd name="connsiteY2565" fmla="*/ 3153358 h 6072780"/>
                <a:gd name="connsiteX2566" fmla="*/ 9498035 w 12117871"/>
                <a:gd name="connsiteY2566" fmla="*/ 3164993 h 6072780"/>
                <a:gd name="connsiteX2567" fmla="*/ 9472862 w 12117871"/>
                <a:gd name="connsiteY2567" fmla="*/ 3173435 h 6072780"/>
                <a:gd name="connsiteX2568" fmla="*/ 9472862 w 12117871"/>
                <a:gd name="connsiteY2568" fmla="*/ 3143319 h 6072780"/>
                <a:gd name="connsiteX2569" fmla="*/ 9489897 w 12117871"/>
                <a:gd name="connsiteY2569" fmla="*/ 3137235 h 6072780"/>
                <a:gd name="connsiteX2570" fmla="*/ 9506096 w 12117871"/>
                <a:gd name="connsiteY2570" fmla="*/ 3130086 h 6072780"/>
                <a:gd name="connsiteX2571" fmla="*/ 9522219 w 12117871"/>
                <a:gd name="connsiteY2571" fmla="*/ 3121265 h 6072780"/>
                <a:gd name="connsiteX2572" fmla="*/ 9539026 w 12117871"/>
                <a:gd name="connsiteY2572" fmla="*/ 3110161 h 6072780"/>
                <a:gd name="connsiteX2573" fmla="*/ 9240163 w 12117871"/>
                <a:gd name="connsiteY2573" fmla="*/ 3110161 h 6072780"/>
                <a:gd name="connsiteX2574" fmla="*/ 9255069 w 12117871"/>
                <a:gd name="connsiteY2574" fmla="*/ 3110161 h 6072780"/>
                <a:gd name="connsiteX2575" fmla="*/ 9255069 w 12117871"/>
                <a:gd name="connsiteY2575" fmla="*/ 3333141 h 6072780"/>
                <a:gd name="connsiteX2576" fmla="*/ 9219781 w 12117871"/>
                <a:gd name="connsiteY2576" fmla="*/ 3333141 h 6072780"/>
                <a:gd name="connsiteX2577" fmla="*/ 9219781 w 12117871"/>
                <a:gd name="connsiteY2577" fmla="*/ 3153358 h 6072780"/>
                <a:gd name="connsiteX2578" fmla="*/ 9199172 w 12117871"/>
                <a:gd name="connsiteY2578" fmla="*/ 3164993 h 6072780"/>
                <a:gd name="connsiteX2579" fmla="*/ 9173999 w 12117871"/>
                <a:gd name="connsiteY2579" fmla="*/ 3173435 h 6072780"/>
                <a:gd name="connsiteX2580" fmla="*/ 9173999 w 12117871"/>
                <a:gd name="connsiteY2580" fmla="*/ 3143319 h 6072780"/>
                <a:gd name="connsiteX2581" fmla="*/ 9191034 w 12117871"/>
                <a:gd name="connsiteY2581" fmla="*/ 3137235 h 6072780"/>
                <a:gd name="connsiteX2582" fmla="*/ 9207233 w 12117871"/>
                <a:gd name="connsiteY2582" fmla="*/ 3130086 h 6072780"/>
                <a:gd name="connsiteX2583" fmla="*/ 9223356 w 12117871"/>
                <a:gd name="connsiteY2583" fmla="*/ 3121265 h 6072780"/>
                <a:gd name="connsiteX2584" fmla="*/ 9240163 w 12117871"/>
                <a:gd name="connsiteY2584" fmla="*/ 3110161 h 6072780"/>
                <a:gd name="connsiteX2585" fmla="*/ 8864744 w 12117871"/>
                <a:gd name="connsiteY2585" fmla="*/ 3110161 h 6072780"/>
                <a:gd name="connsiteX2586" fmla="*/ 8879650 w 12117871"/>
                <a:gd name="connsiteY2586" fmla="*/ 3110161 h 6072780"/>
                <a:gd name="connsiteX2587" fmla="*/ 8879650 w 12117871"/>
                <a:gd name="connsiteY2587" fmla="*/ 3333141 h 6072780"/>
                <a:gd name="connsiteX2588" fmla="*/ 8844362 w 12117871"/>
                <a:gd name="connsiteY2588" fmla="*/ 3333141 h 6072780"/>
                <a:gd name="connsiteX2589" fmla="*/ 8844362 w 12117871"/>
                <a:gd name="connsiteY2589" fmla="*/ 3153358 h 6072780"/>
                <a:gd name="connsiteX2590" fmla="*/ 8823753 w 12117871"/>
                <a:gd name="connsiteY2590" fmla="*/ 3164993 h 6072780"/>
                <a:gd name="connsiteX2591" fmla="*/ 8798580 w 12117871"/>
                <a:gd name="connsiteY2591" fmla="*/ 3173435 h 6072780"/>
                <a:gd name="connsiteX2592" fmla="*/ 8798580 w 12117871"/>
                <a:gd name="connsiteY2592" fmla="*/ 3143319 h 6072780"/>
                <a:gd name="connsiteX2593" fmla="*/ 8815615 w 12117871"/>
                <a:gd name="connsiteY2593" fmla="*/ 3137235 h 6072780"/>
                <a:gd name="connsiteX2594" fmla="*/ 8831814 w 12117871"/>
                <a:gd name="connsiteY2594" fmla="*/ 3130086 h 6072780"/>
                <a:gd name="connsiteX2595" fmla="*/ 8847937 w 12117871"/>
                <a:gd name="connsiteY2595" fmla="*/ 3121265 h 6072780"/>
                <a:gd name="connsiteX2596" fmla="*/ 8864744 w 12117871"/>
                <a:gd name="connsiteY2596" fmla="*/ 3110161 h 6072780"/>
                <a:gd name="connsiteX2597" fmla="*/ 8714738 w 12117871"/>
                <a:gd name="connsiteY2597" fmla="*/ 3110161 h 6072780"/>
                <a:gd name="connsiteX2598" fmla="*/ 8729644 w 12117871"/>
                <a:gd name="connsiteY2598" fmla="*/ 3110161 h 6072780"/>
                <a:gd name="connsiteX2599" fmla="*/ 8729644 w 12117871"/>
                <a:gd name="connsiteY2599" fmla="*/ 3333141 h 6072780"/>
                <a:gd name="connsiteX2600" fmla="*/ 8694356 w 12117871"/>
                <a:gd name="connsiteY2600" fmla="*/ 3333141 h 6072780"/>
                <a:gd name="connsiteX2601" fmla="*/ 8694356 w 12117871"/>
                <a:gd name="connsiteY2601" fmla="*/ 3153358 h 6072780"/>
                <a:gd name="connsiteX2602" fmla="*/ 8673747 w 12117871"/>
                <a:gd name="connsiteY2602" fmla="*/ 3164993 h 6072780"/>
                <a:gd name="connsiteX2603" fmla="*/ 8648574 w 12117871"/>
                <a:gd name="connsiteY2603" fmla="*/ 3173435 h 6072780"/>
                <a:gd name="connsiteX2604" fmla="*/ 8648574 w 12117871"/>
                <a:gd name="connsiteY2604" fmla="*/ 3143319 h 6072780"/>
                <a:gd name="connsiteX2605" fmla="*/ 8665609 w 12117871"/>
                <a:gd name="connsiteY2605" fmla="*/ 3137235 h 6072780"/>
                <a:gd name="connsiteX2606" fmla="*/ 8681808 w 12117871"/>
                <a:gd name="connsiteY2606" fmla="*/ 3130086 h 6072780"/>
                <a:gd name="connsiteX2607" fmla="*/ 8697931 w 12117871"/>
                <a:gd name="connsiteY2607" fmla="*/ 3121265 h 6072780"/>
                <a:gd name="connsiteX2608" fmla="*/ 8714738 w 12117871"/>
                <a:gd name="connsiteY2608" fmla="*/ 3110161 h 6072780"/>
                <a:gd name="connsiteX2609" fmla="*/ 8565881 w 12117871"/>
                <a:gd name="connsiteY2609" fmla="*/ 3110161 h 6072780"/>
                <a:gd name="connsiteX2610" fmla="*/ 8580787 w 12117871"/>
                <a:gd name="connsiteY2610" fmla="*/ 3110161 h 6072780"/>
                <a:gd name="connsiteX2611" fmla="*/ 8580787 w 12117871"/>
                <a:gd name="connsiteY2611" fmla="*/ 3333141 h 6072780"/>
                <a:gd name="connsiteX2612" fmla="*/ 8545499 w 12117871"/>
                <a:gd name="connsiteY2612" fmla="*/ 3333141 h 6072780"/>
                <a:gd name="connsiteX2613" fmla="*/ 8545499 w 12117871"/>
                <a:gd name="connsiteY2613" fmla="*/ 3153358 h 6072780"/>
                <a:gd name="connsiteX2614" fmla="*/ 8524890 w 12117871"/>
                <a:gd name="connsiteY2614" fmla="*/ 3164993 h 6072780"/>
                <a:gd name="connsiteX2615" fmla="*/ 8499717 w 12117871"/>
                <a:gd name="connsiteY2615" fmla="*/ 3173435 h 6072780"/>
                <a:gd name="connsiteX2616" fmla="*/ 8499717 w 12117871"/>
                <a:gd name="connsiteY2616" fmla="*/ 3143319 h 6072780"/>
                <a:gd name="connsiteX2617" fmla="*/ 8516752 w 12117871"/>
                <a:gd name="connsiteY2617" fmla="*/ 3137235 h 6072780"/>
                <a:gd name="connsiteX2618" fmla="*/ 8532951 w 12117871"/>
                <a:gd name="connsiteY2618" fmla="*/ 3130086 h 6072780"/>
                <a:gd name="connsiteX2619" fmla="*/ 8549074 w 12117871"/>
                <a:gd name="connsiteY2619" fmla="*/ 3121265 h 6072780"/>
                <a:gd name="connsiteX2620" fmla="*/ 8565881 w 12117871"/>
                <a:gd name="connsiteY2620" fmla="*/ 3110161 h 6072780"/>
                <a:gd name="connsiteX2621" fmla="*/ 7821713 w 12117871"/>
                <a:gd name="connsiteY2621" fmla="*/ 3110161 h 6072780"/>
                <a:gd name="connsiteX2622" fmla="*/ 7836619 w 12117871"/>
                <a:gd name="connsiteY2622" fmla="*/ 3110161 h 6072780"/>
                <a:gd name="connsiteX2623" fmla="*/ 7836619 w 12117871"/>
                <a:gd name="connsiteY2623" fmla="*/ 3333141 h 6072780"/>
                <a:gd name="connsiteX2624" fmla="*/ 7801331 w 12117871"/>
                <a:gd name="connsiteY2624" fmla="*/ 3333141 h 6072780"/>
                <a:gd name="connsiteX2625" fmla="*/ 7801331 w 12117871"/>
                <a:gd name="connsiteY2625" fmla="*/ 3153358 h 6072780"/>
                <a:gd name="connsiteX2626" fmla="*/ 7780722 w 12117871"/>
                <a:gd name="connsiteY2626" fmla="*/ 3164993 h 6072780"/>
                <a:gd name="connsiteX2627" fmla="*/ 7755549 w 12117871"/>
                <a:gd name="connsiteY2627" fmla="*/ 3173435 h 6072780"/>
                <a:gd name="connsiteX2628" fmla="*/ 7755549 w 12117871"/>
                <a:gd name="connsiteY2628" fmla="*/ 3143319 h 6072780"/>
                <a:gd name="connsiteX2629" fmla="*/ 7772584 w 12117871"/>
                <a:gd name="connsiteY2629" fmla="*/ 3137235 h 6072780"/>
                <a:gd name="connsiteX2630" fmla="*/ 7788783 w 12117871"/>
                <a:gd name="connsiteY2630" fmla="*/ 3130086 h 6072780"/>
                <a:gd name="connsiteX2631" fmla="*/ 7804906 w 12117871"/>
                <a:gd name="connsiteY2631" fmla="*/ 3121265 h 6072780"/>
                <a:gd name="connsiteX2632" fmla="*/ 7821713 w 12117871"/>
                <a:gd name="connsiteY2632" fmla="*/ 3110161 h 6072780"/>
                <a:gd name="connsiteX2633" fmla="*/ 7671707 w 12117871"/>
                <a:gd name="connsiteY2633" fmla="*/ 3110161 h 6072780"/>
                <a:gd name="connsiteX2634" fmla="*/ 7686613 w 12117871"/>
                <a:gd name="connsiteY2634" fmla="*/ 3110161 h 6072780"/>
                <a:gd name="connsiteX2635" fmla="*/ 7686613 w 12117871"/>
                <a:gd name="connsiteY2635" fmla="*/ 3333141 h 6072780"/>
                <a:gd name="connsiteX2636" fmla="*/ 7651325 w 12117871"/>
                <a:gd name="connsiteY2636" fmla="*/ 3333141 h 6072780"/>
                <a:gd name="connsiteX2637" fmla="*/ 7651325 w 12117871"/>
                <a:gd name="connsiteY2637" fmla="*/ 3153358 h 6072780"/>
                <a:gd name="connsiteX2638" fmla="*/ 7630716 w 12117871"/>
                <a:gd name="connsiteY2638" fmla="*/ 3164993 h 6072780"/>
                <a:gd name="connsiteX2639" fmla="*/ 7605543 w 12117871"/>
                <a:gd name="connsiteY2639" fmla="*/ 3173435 h 6072780"/>
                <a:gd name="connsiteX2640" fmla="*/ 7605543 w 12117871"/>
                <a:gd name="connsiteY2640" fmla="*/ 3143319 h 6072780"/>
                <a:gd name="connsiteX2641" fmla="*/ 7622578 w 12117871"/>
                <a:gd name="connsiteY2641" fmla="*/ 3137235 h 6072780"/>
                <a:gd name="connsiteX2642" fmla="*/ 7638777 w 12117871"/>
                <a:gd name="connsiteY2642" fmla="*/ 3130086 h 6072780"/>
                <a:gd name="connsiteX2643" fmla="*/ 7654900 w 12117871"/>
                <a:gd name="connsiteY2643" fmla="*/ 3121265 h 6072780"/>
                <a:gd name="connsiteX2644" fmla="*/ 7671707 w 12117871"/>
                <a:gd name="connsiteY2644" fmla="*/ 3110161 h 6072780"/>
                <a:gd name="connsiteX2645" fmla="*/ 7373993 w 12117871"/>
                <a:gd name="connsiteY2645" fmla="*/ 3110161 h 6072780"/>
                <a:gd name="connsiteX2646" fmla="*/ 7388899 w 12117871"/>
                <a:gd name="connsiteY2646" fmla="*/ 3110161 h 6072780"/>
                <a:gd name="connsiteX2647" fmla="*/ 7388899 w 12117871"/>
                <a:gd name="connsiteY2647" fmla="*/ 3333141 h 6072780"/>
                <a:gd name="connsiteX2648" fmla="*/ 7353611 w 12117871"/>
                <a:gd name="connsiteY2648" fmla="*/ 3333141 h 6072780"/>
                <a:gd name="connsiteX2649" fmla="*/ 7353611 w 12117871"/>
                <a:gd name="connsiteY2649" fmla="*/ 3153358 h 6072780"/>
                <a:gd name="connsiteX2650" fmla="*/ 7333002 w 12117871"/>
                <a:gd name="connsiteY2650" fmla="*/ 3164993 h 6072780"/>
                <a:gd name="connsiteX2651" fmla="*/ 7307829 w 12117871"/>
                <a:gd name="connsiteY2651" fmla="*/ 3173435 h 6072780"/>
                <a:gd name="connsiteX2652" fmla="*/ 7307829 w 12117871"/>
                <a:gd name="connsiteY2652" fmla="*/ 3143319 h 6072780"/>
                <a:gd name="connsiteX2653" fmla="*/ 7324864 w 12117871"/>
                <a:gd name="connsiteY2653" fmla="*/ 3137235 h 6072780"/>
                <a:gd name="connsiteX2654" fmla="*/ 7341063 w 12117871"/>
                <a:gd name="connsiteY2654" fmla="*/ 3130086 h 6072780"/>
                <a:gd name="connsiteX2655" fmla="*/ 7357186 w 12117871"/>
                <a:gd name="connsiteY2655" fmla="*/ 3121265 h 6072780"/>
                <a:gd name="connsiteX2656" fmla="*/ 7373993 w 12117871"/>
                <a:gd name="connsiteY2656" fmla="*/ 3110161 h 6072780"/>
                <a:gd name="connsiteX2657" fmla="*/ 6993038 w 12117871"/>
                <a:gd name="connsiteY2657" fmla="*/ 3110161 h 6072780"/>
                <a:gd name="connsiteX2658" fmla="*/ 7007944 w 12117871"/>
                <a:gd name="connsiteY2658" fmla="*/ 3110161 h 6072780"/>
                <a:gd name="connsiteX2659" fmla="*/ 7007944 w 12117871"/>
                <a:gd name="connsiteY2659" fmla="*/ 3333141 h 6072780"/>
                <a:gd name="connsiteX2660" fmla="*/ 6972656 w 12117871"/>
                <a:gd name="connsiteY2660" fmla="*/ 3333141 h 6072780"/>
                <a:gd name="connsiteX2661" fmla="*/ 6972656 w 12117871"/>
                <a:gd name="connsiteY2661" fmla="*/ 3153358 h 6072780"/>
                <a:gd name="connsiteX2662" fmla="*/ 6952047 w 12117871"/>
                <a:gd name="connsiteY2662" fmla="*/ 3164993 h 6072780"/>
                <a:gd name="connsiteX2663" fmla="*/ 6926874 w 12117871"/>
                <a:gd name="connsiteY2663" fmla="*/ 3173435 h 6072780"/>
                <a:gd name="connsiteX2664" fmla="*/ 6926874 w 12117871"/>
                <a:gd name="connsiteY2664" fmla="*/ 3143319 h 6072780"/>
                <a:gd name="connsiteX2665" fmla="*/ 6943909 w 12117871"/>
                <a:gd name="connsiteY2665" fmla="*/ 3137235 h 6072780"/>
                <a:gd name="connsiteX2666" fmla="*/ 6960108 w 12117871"/>
                <a:gd name="connsiteY2666" fmla="*/ 3130086 h 6072780"/>
                <a:gd name="connsiteX2667" fmla="*/ 6976231 w 12117871"/>
                <a:gd name="connsiteY2667" fmla="*/ 3121265 h 6072780"/>
                <a:gd name="connsiteX2668" fmla="*/ 6993038 w 12117871"/>
                <a:gd name="connsiteY2668" fmla="*/ 3110161 h 6072780"/>
                <a:gd name="connsiteX2669" fmla="*/ 6843032 w 12117871"/>
                <a:gd name="connsiteY2669" fmla="*/ 3110161 h 6072780"/>
                <a:gd name="connsiteX2670" fmla="*/ 6857938 w 12117871"/>
                <a:gd name="connsiteY2670" fmla="*/ 3110161 h 6072780"/>
                <a:gd name="connsiteX2671" fmla="*/ 6857938 w 12117871"/>
                <a:gd name="connsiteY2671" fmla="*/ 3333141 h 6072780"/>
                <a:gd name="connsiteX2672" fmla="*/ 6822650 w 12117871"/>
                <a:gd name="connsiteY2672" fmla="*/ 3333141 h 6072780"/>
                <a:gd name="connsiteX2673" fmla="*/ 6822650 w 12117871"/>
                <a:gd name="connsiteY2673" fmla="*/ 3153358 h 6072780"/>
                <a:gd name="connsiteX2674" fmla="*/ 6802041 w 12117871"/>
                <a:gd name="connsiteY2674" fmla="*/ 3164993 h 6072780"/>
                <a:gd name="connsiteX2675" fmla="*/ 6776868 w 12117871"/>
                <a:gd name="connsiteY2675" fmla="*/ 3173435 h 6072780"/>
                <a:gd name="connsiteX2676" fmla="*/ 6776868 w 12117871"/>
                <a:gd name="connsiteY2676" fmla="*/ 3143319 h 6072780"/>
                <a:gd name="connsiteX2677" fmla="*/ 6793903 w 12117871"/>
                <a:gd name="connsiteY2677" fmla="*/ 3137235 h 6072780"/>
                <a:gd name="connsiteX2678" fmla="*/ 6810102 w 12117871"/>
                <a:gd name="connsiteY2678" fmla="*/ 3130086 h 6072780"/>
                <a:gd name="connsiteX2679" fmla="*/ 6826225 w 12117871"/>
                <a:gd name="connsiteY2679" fmla="*/ 3121265 h 6072780"/>
                <a:gd name="connsiteX2680" fmla="*/ 6843032 w 12117871"/>
                <a:gd name="connsiteY2680" fmla="*/ 3110161 h 6072780"/>
                <a:gd name="connsiteX2681" fmla="*/ 6694175 w 12117871"/>
                <a:gd name="connsiteY2681" fmla="*/ 3110161 h 6072780"/>
                <a:gd name="connsiteX2682" fmla="*/ 6709081 w 12117871"/>
                <a:gd name="connsiteY2682" fmla="*/ 3110161 h 6072780"/>
                <a:gd name="connsiteX2683" fmla="*/ 6709081 w 12117871"/>
                <a:gd name="connsiteY2683" fmla="*/ 3333141 h 6072780"/>
                <a:gd name="connsiteX2684" fmla="*/ 6673793 w 12117871"/>
                <a:gd name="connsiteY2684" fmla="*/ 3333141 h 6072780"/>
                <a:gd name="connsiteX2685" fmla="*/ 6673793 w 12117871"/>
                <a:gd name="connsiteY2685" fmla="*/ 3153358 h 6072780"/>
                <a:gd name="connsiteX2686" fmla="*/ 6653184 w 12117871"/>
                <a:gd name="connsiteY2686" fmla="*/ 3164993 h 6072780"/>
                <a:gd name="connsiteX2687" fmla="*/ 6628011 w 12117871"/>
                <a:gd name="connsiteY2687" fmla="*/ 3173435 h 6072780"/>
                <a:gd name="connsiteX2688" fmla="*/ 6628011 w 12117871"/>
                <a:gd name="connsiteY2688" fmla="*/ 3143319 h 6072780"/>
                <a:gd name="connsiteX2689" fmla="*/ 6645046 w 12117871"/>
                <a:gd name="connsiteY2689" fmla="*/ 3137235 h 6072780"/>
                <a:gd name="connsiteX2690" fmla="*/ 6661245 w 12117871"/>
                <a:gd name="connsiteY2690" fmla="*/ 3130086 h 6072780"/>
                <a:gd name="connsiteX2691" fmla="*/ 6677368 w 12117871"/>
                <a:gd name="connsiteY2691" fmla="*/ 3121265 h 6072780"/>
                <a:gd name="connsiteX2692" fmla="*/ 6694175 w 12117871"/>
                <a:gd name="connsiteY2692" fmla="*/ 3110161 h 6072780"/>
                <a:gd name="connsiteX2693" fmla="*/ 6545318 w 12117871"/>
                <a:gd name="connsiteY2693" fmla="*/ 3110161 h 6072780"/>
                <a:gd name="connsiteX2694" fmla="*/ 6560224 w 12117871"/>
                <a:gd name="connsiteY2694" fmla="*/ 3110161 h 6072780"/>
                <a:gd name="connsiteX2695" fmla="*/ 6560224 w 12117871"/>
                <a:gd name="connsiteY2695" fmla="*/ 3333141 h 6072780"/>
                <a:gd name="connsiteX2696" fmla="*/ 6524936 w 12117871"/>
                <a:gd name="connsiteY2696" fmla="*/ 3333141 h 6072780"/>
                <a:gd name="connsiteX2697" fmla="*/ 6524936 w 12117871"/>
                <a:gd name="connsiteY2697" fmla="*/ 3153358 h 6072780"/>
                <a:gd name="connsiteX2698" fmla="*/ 6504327 w 12117871"/>
                <a:gd name="connsiteY2698" fmla="*/ 3164993 h 6072780"/>
                <a:gd name="connsiteX2699" fmla="*/ 6479154 w 12117871"/>
                <a:gd name="connsiteY2699" fmla="*/ 3173435 h 6072780"/>
                <a:gd name="connsiteX2700" fmla="*/ 6479154 w 12117871"/>
                <a:gd name="connsiteY2700" fmla="*/ 3143319 h 6072780"/>
                <a:gd name="connsiteX2701" fmla="*/ 6496189 w 12117871"/>
                <a:gd name="connsiteY2701" fmla="*/ 3137235 h 6072780"/>
                <a:gd name="connsiteX2702" fmla="*/ 6512388 w 12117871"/>
                <a:gd name="connsiteY2702" fmla="*/ 3130086 h 6072780"/>
                <a:gd name="connsiteX2703" fmla="*/ 6528511 w 12117871"/>
                <a:gd name="connsiteY2703" fmla="*/ 3121265 h 6072780"/>
                <a:gd name="connsiteX2704" fmla="*/ 6545318 w 12117871"/>
                <a:gd name="connsiteY2704" fmla="*/ 3110161 h 6072780"/>
                <a:gd name="connsiteX2705" fmla="*/ 6331920 w 12117871"/>
                <a:gd name="connsiteY2705" fmla="*/ 3110161 h 6072780"/>
                <a:gd name="connsiteX2706" fmla="*/ 6403087 w 12117871"/>
                <a:gd name="connsiteY2706" fmla="*/ 3220749 h 6072780"/>
                <a:gd name="connsiteX2707" fmla="*/ 6383001 w 12117871"/>
                <a:gd name="connsiteY2707" fmla="*/ 3304328 h 6072780"/>
                <a:gd name="connsiteX2708" fmla="*/ 6326804 w 12117871"/>
                <a:gd name="connsiteY2708" fmla="*/ 3333141 h 6072780"/>
                <a:gd name="connsiteX2709" fmla="*/ 6274219 w 12117871"/>
                <a:gd name="connsiteY2709" fmla="*/ 3305607 h 6072780"/>
                <a:gd name="connsiteX2710" fmla="*/ 6255336 w 12117871"/>
                <a:gd name="connsiteY2710" fmla="*/ 3226015 h 6072780"/>
                <a:gd name="connsiteX2711" fmla="*/ 6275046 w 12117871"/>
                <a:gd name="connsiteY2711" fmla="*/ 3139501 h 6072780"/>
                <a:gd name="connsiteX2712" fmla="*/ 6331920 w 12117871"/>
                <a:gd name="connsiteY2712" fmla="*/ 3110161 h 6072780"/>
                <a:gd name="connsiteX2713" fmla="*/ 6150425 w 12117871"/>
                <a:gd name="connsiteY2713" fmla="*/ 3110161 h 6072780"/>
                <a:gd name="connsiteX2714" fmla="*/ 6221592 w 12117871"/>
                <a:gd name="connsiteY2714" fmla="*/ 3220749 h 6072780"/>
                <a:gd name="connsiteX2715" fmla="*/ 6201506 w 12117871"/>
                <a:gd name="connsiteY2715" fmla="*/ 3304328 h 6072780"/>
                <a:gd name="connsiteX2716" fmla="*/ 6145309 w 12117871"/>
                <a:gd name="connsiteY2716" fmla="*/ 3333141 h 6072780"/>
                <a:gd name="connsiteX2717" fmla="*/ 6092724 w 12117871"/>
                <a:gd name="connsiteY2717" fmla="*/ 3305607 h 6072780"/>
                <a:gd name="connsiteX2718" fmla="*/ 6073841 w 12117871"/>
                <a:gd name="connsiteY2718" fmla="*/ 3226015 h 6072780"/>
                <a:gd name="connsiteX2719" fmla="*/ 6093551 w 12117871"/>
                <a:gd name="connsiteY2719" fmla="*/ 3139501 h 6072780"/>
                <a:gd name="connsiteX2720" fmla="*/ 6150425 w 12117871"/>
                <a:gd name="connsiteY2720" fmla="*/ 3110161 h 6072780"/>
                <a:gd name="connsiteX2721" fmla="*/ 6019293 w 12117871"/>
                <a:gd name="connsiteY2721" fmla="*/ 3110161 h 6072780"/>
                <a:gd name="connsiteX2722" fmla="*/ 6034201 w 12117871"/>
                <a:gd name="connsiteY2722" fmla="*/ 3110161 h 6072780"/>
                <a:gd name="connsiteX2723" fmla="*/ 6034201 w 12117871"/>
                <a:gd name="connsiteY2723" fmla="*/ 3333141 h 6072780"/>
                <a:gd name="connsiteX2724" fmla="*/ 5998911 w 12117871"/>
                <a:gd name="connsiteY2724" fmla="*/ 3333141 h 6072780"/>
                <a:gd name="connsiteX2725" fmla="*/ 5998911 w 12117871"/>
                <a:gd name="connsiteY2725" fmla="*/ 3153358 h 6072780"/>
                <a:gd name="connsiteX2726" fmla="*/ 5978302 w 12117871"/>
                <a:gd name="connsiteY2726" fmla="*/ 3164993 h 6072780"/>
                <a:gd name="connsiteX2727" fmla="*/ 5953129 w 12117871"/>
                <a:gd name="connsiteY2727" fmla="*/ 3173435 h 6072780"/>
                <a:gd name="connsiteX2728" fmla="*/ 5953129 w 12117871"/>
                <a:gd name="connsiteY2728" fmla="*/ 3143319 h 6072780"/>
                <a:gd name="connsiteX2729" fmla="*/ 5970164 w 12117871"/>
                <a:gd name="connsiteY2729" fmla="*/ 3137235 h 6072780"/>
                <a:gd name="connsiteX2730" fmla="*/ 5986363 w 12117871"/>
                <a:gd name="connsiteY2730" fmla="*/ 3130086 h 6072780"/>
                <a:gd name="connsiteX2731" fmla="*/ 6002488 w 12117871"/>
                <a:gd name="connsiteY2731" fmla="*/ 3121265 h 6072780"/>
                <a:gd name="connsiteX2732" fmla="*/ 6019293 w 12117871"/>
                <a:gd name="connsiteY2732" fmla="*/ 3110161 h 6072780"/>
                <a:gd name="connsiteX2733" fmla="*/ 5818968 w 12117871"/>
                <a:gd name="connsiteY2733" fmla="*/ 3110161 h 6072780"/>
                <a:gd name="connsiteX2734" fmla="*/ 5890135 w 12117871"/>
                <a:gd name="connsiteY2734" fmla="*/ 3220749 h 6072780"/>
                <a:gd name="connsiteX2735" fmla="*/ 5870048 w 12117871"/>
                <a:gd name="connsiteY2735" fmla="*/ 3304328 h 6072780"/>
                <a:gd name="connsiteX2736" fmla="*/ 5813852 w 12117871"/>
                <a:gd name="connsiteY2736" fmla="*/ 3333141 h 6072780"/>
                <a:gd name="connsiteX2737" fmla="*/ 5761266 w 12117871"/>
                <a:gd name="connsiteY2737" fmla="*/ 3305607 h 6072780"/>
                <a:gd name="connsiteX2738" fmla="*/ 5742384 w 12117871"/>
                <a:gd name="connsiteY2738" fmla="*/ 3226015 h 6072780"/>
                <a:gd name="connsiteX2739" fmla="*/ 5762094 w 12117871"/>
                <a:gd name="connsiteY2739" fmla="*/ 3139501 h 6072780"/>
                <a:gd name="connsiteX2740" fmla="*/ 5818968 w 12117871"/>
                <a:gd name="connsiteY2740" fmla="*/ 3110161 h 6072780"/>
                <a:gd name="connsiteX2741" fmla="*/ 5119401 w 12117871"/>
                <a:gd name="connsiteY2741" fmla="*/ 3110161 h 6072780"/>
                <a:gd name="connsiteX2742" fmla="*/ 5190567 w 12117871"/>
                <a:gd name="connsiteY2742" fmla="*/ 3220749 h 6072780"/>
                <a:gd name="connsiteX2743" fmla="*/ 5170483 w 12117871"/>
                <a:gd name="connsiteY2743" fmla="*/ 3304328 h 6072780"/>
                <a:gd name="connsiteX2744" fmla="*/ 5114285 w 12117871"/>
                <a:gd name="connsiteY2744" fmla="*/ 3333141 h 6072780"/>
                <a:gd name="connsiteX2745" fmla="*/ 5061701 w 12117871"/>
                <a:gd name="connsiteY2745" fmla="*/ 3305607 h 6072780"/>
                <a:gd name="connsiteX2746" fmla="*/ 5042817 w 12117871"/>
                <a:gd name="connsiteY2746" fmla="*/ 3226015 h 6072780"/>
                <a:gd name="connsiteX2747" fmla="*/ 5062526 w 12117871"/>
                <a:gd name="connsiteY2747" fmla="*/ 3139501 h 6072780"/>
                <a:gd name="connsiteX2748" fmla="*/ 5119401 w 12117871"/>
                <a:gd name="connsiteY2748" fmla="*/ 3110161 h 6072780"/>
                <a:gd name="connsiteX2749" fmla="*/ 4734951 w 12117871"/>
                <a:gd name="connsiteY2749" fmla="*/ 3110161 h 6072780"/>
                <a:gd name="connsiteX2750" fmla="*/ 4749856 w 12117871"/>
                <a:gd name="connsiteY2750" fmla="*/ 3110161 h 6072780"/>
                <a:gd name="connsiteX2751" fmla="*/ 4749856 w 12117871"/>
                <a:gd name="connsiteY2751" fmla="*/ 3333141 h 6072780"/>
                <a:gd name="connsiteX2752" fmla="*/ 4714569 w 12117871"/>
                <a:gd name="connsiteY2752" fmla="*/ 3333141 h 6072780"/>
                <a:gd name="connsiteX2753" fmla="*/ 4714569 w 12117871"/>
                <a:gd name="connsiteY2753" fmla="*/ 3153358 h 6072780"/>
                <a:gd name="connsiteX2754" fmla="*/ 4693960 w 12117871"/>
                <a:gd name="connsiteY2754" fmla="*/ 3164993 h 6072780"/>
                <a:gd name="connsiteX2755" fmla="*/ 4668786 w 12117871"/>
                <a:gd name="connsiteY2755" fmla="*/ 3173435 h 6072780"/>
                <a:gd name="connsiteX2756" fmla="*/ 4668786 w 12117871"/>
                <a:gd name="connsiteY2756" fmla="*/ 3143319 h 6072780"/>
                <a:gd name="connsiteX2757" fmla="*/ 4685822 w 12117871"/>
                <a:gd name="connsiteY2757" fmla="*/ 3137235 h 6072780"/>
                <a:gd name="connsiteX2758" fmla="*/ 4702020 w 12117871"/>
                <a:gd name="connsiteY2758" fmla="*/ 3130086 h 6072780"/>
                <a:gd name="connsiteX2759" fmla="*/ 4718143 w 12117871"/>
                <a:gd name="connsiteY2759" fmla="*/ 3121265 h 6072780"/>
                <a:gd name="connsiteX2760" fmla="*/ 4734951 w 12117871"/>
                <a:gd name="connsiteY2760" fmla="*/ 3110161 h 6072780"/>
                <a:gd name="connsiteX2761" fmla="*/ 4377441 w 12117871"/>
                <a:gd name="connsiteY2761" fmla="*/ 3110161 h 6072780"/>
                <a:gd name="connsiteX2762" fmla="*/ 4392346 w 12117871"/>
                <a:gd name="connsiteY2762" fmla="*/ 3110161 h 6072780"/>
                <a:gd name="connsiteX2763" fmla="*/ 4392346 w 12117871"/>
                <a:gd name="connsiteY2763" fmla="*/ 3333141 h 6072780"/>
                <a:gd name="connsiteX2764" fmla="*/ 4357058 w 12117871"/>
                <a:gd name="connsiteY2764" fmla="*/ 3333141 h 6072780"/>
                <a:gd name="connsiteX2765" fmla="*/ 4357058 w 12117871"/>
                <a:gd name="connsiteY2765" fmla="*/ 3153358 h 6072780"/>
                <a:gd name="connsiteX2766" fmla="*/ 4336449 w 12117871"/>
                <a:gd name="connsiteY2766" fmla="*/ 3164993 h 6072780"/>
                <a:gd name="connsiteX2767" fmla="*/ 4311276 w 12117871"/>
                <a:gd name="connsiteY2767" fmla="*/ 3173435 h 6072780"/>
                <a:gd name="connsiteX2768" fmla="*/ 4311276 w 12117871"/>
                <a:gd name="connsiteY2768" fmla="*/ 3143319 h 6072780"/>
                <a:gd name="connsiteX2769" fmla="*/ 4328311 w 12117871"/>
                <a:gd name="connsiteY2769" fmla="*/ 3137235 h 6072780"/>
                <a:gd name="connsiteX2770" fmla="*/ 4344510 w 12117871"/>
                <a:gd name="connsiteY2770" fmla="*/ 3130086 h 6072780"/>
                <a:gd name="connsiteX2771" fmla="*/ 4360634 w 12117871"/>
                <a:gd name="connsiteY2771" fmla="*/ 3121265 h 6072780"/>
                <a:gd name="connsiteX2772" fmla="*/ 4377441 w 12117871"/>
                <a:gd name="connsiteY2772" fmla="*/ 3110161 h 6072780"/>
                <a:gd name="connsiteX2773" fmla="*/ 4078579 w 12117871"/>
                <a:gd name="connsiteY2773" fmla="*/ 3110161 h 6072780"/>
                <a:gd name="connsiteX2774" fmla="*/ 4093484 w 12117871"/>
                <a:gd name="connsiteY2774" fmla="*/ 3110161 h 6072780"/>
                <a:gd name="connsiteX2775" fmla="*/ 4093484 w 12117871"/>
                <a:gd name="connsiteY2775" fmla="*/ 3333141 h 6072780"/>
                <a:gd name="connsiteX2776" fmla="*/ 4058197 w 12117871"/>
                <a:gd name="connsiteY2776" fmla="*/ 3333141 h 6072780"/>
                <a:gd name="connsiteX2777" fmla="*/ 4058197 w 12117871"/>
                <a:gd name="connsiteY2777" fmla="*/ 3153358 h 6072780"/>
                <a:gd name="connsiteX2778" fmla="*/ 4037588 w 12117871"/>
                <a:gd name="connsiteY2778" fmla="*/ 3164993 h 6072780"/>
                <a:gd name="connsiteX2779" fmla="*/ 4012416 w 12117871"/>
                <a:gd name="connsiteY2779" fmla="*/ 3173435 h 6072780"/>
                <a:gd name="connsiteX2780" fmla="*/ 4012416 w 12117871"/>
                <a:gd name="connsiteY2780" fmla="*/ 3143319 h 6072780"/>
                <a:gd name="connsiteX2781" fmla="*/ 4029449 w 12117871"/>
                <a:gd name="connsiteY2781" fmla="*/ 3137235 h 6072780"/>
                <a:gd name="connsiteX2782" fmla="*/ 4045649 w 12117871"/>
                <a:gd name="connsiteY2782" fmla="*/ 3130086 h 6072780"/>
                <a:gd name="connsiteX2783" fmla="*/ 4061772 w 12117871"/>
                <a:gd name="connsiteY2783" fmla="*/ 3121265 h 6072780"/>
                <a:gd name="connsiteX2784" fmla="*/ 4078579 w 12117871"/>
                <a:gd name="connsiteY2784" fmla="*/ 3110161 h 6072780"/>
                <a:gd name="connsiteX2785" fmla="*/ 3858890 w 12117871"/>
                <a:gd name="connsiteY2785" fmla="*/ 3110161 h 6072780"/>
                <a:gd name="connsiteX2786" fmla="*/ 3930057 w 12117871"/>
                <a:gd name="connsiteY2786" fmla="*/ 3220749 h 6072780"/>
                <a:gd name="connsiteX2787" fmla="*/ 3909971 w 12117871"/>
                <a:gd name="connsiteY2787" fmla="*/ 3304328 h 6072780"/>
                <a:gd name="connsiteX2788" fmla="*/ 3853774 w 12117871"/>
                <a:gd name="connsiteY2788" fmla="*/ 3333141 h 6072780"/>
                <a:gd name="connsiteX2789" fmla="*/ 3801189 w 12117871"/>
                <a:gd name="connsiteY2789" fmla="*/ 3305607 h 6072780"/>
                <a:gd name="connsiteX2790" fmla="*/ 3782306 w 12117871"/>
                <a:gd name="connsiteY2790" fmla="*/ 3226015 h 6072780"/>
                <a:gd name="connsiteX2791" fmla="*/ 3802016 w 12117871"/>
                <a:gd name="connsiteY2791" fmla="*/ 3139501 h 6072780"/>
                <a:gd name="connsiteX2792" fmla="*/ 3858890 w 12117871"/>
                <a:gd name="connsiteY2792" fmla="*/ 3110161 h 6072780"/>
                <a:gd name="connsiteX2793" fmla="*/ 3641996 w 12117871"/>
                <a:gd name="connsiteY2793" fmla="*/ 3110161 h 6072780"/>
                <a:gd name="connsiteX2794" fmla="*/ 3713163 w 12117871"/>
                <a:gd name="connsiteY2794" fmla="*/ 3220749 h 6072780"/>
                <a:gd name="connsiteX2795" fmla="*/ 3693077 w 12117871"/>
                <a:gd name="connsiteY2795" fmla="*/ 3304328 h 6072780"/>
                <a:gd name="connsiteX2796" fmla="*/ 3636881 w 12117871"/>
                <a:gd name="connsiteY2796" fmla="*/ 3333141 h 6072780"/>
                <a:gd name="connsiteX2797" fmla="*/ 3584295 w 12117871"/>
                <a:gd name="connsiteY2797" fmla="*/ 3305607 h 6072780"/>
                <a:gd name="connsiteX2798" fmla="*/ 3565413 w 12117871"/>
                <a:gd name="connsiteY2798" fmla="*/ 3226015 h 6072780"/>
                <a:gd name="connsiteX2799" fmla="*/ 3585122 w 12117871"/>
                <a:gd name="connsiteY2799" fmla="*/ 3139501 h 6072780"/>
                <a:gd name="connsiteX2800" fmla="*/ 3641996 w 12117871"/>
                <a:gd name="connsiteY2800" fmla="*/ 3110161 h 6072780"/>
                <a:gd name="connsiteX2801" fmla="*/ 3482114 w 12117871"/>
                <a:gd name="connsiteY2801" fmla="*/ 3110161 h 6072780"/>
                <a:gd name="connsiteX2802" fmla="*/ 3497021 w 12117871"/>
                <a:gd name="connsiteY2802" fmla="*/ 3110161 h 6072780"/>
                <a:gd name="connsiteX2803" fmla="*/ 3497021 w 12117871"/>
                <a:gd name="connsiteY2803" fmla="*/ 3333141 h 6072780"/>
                <a:gd name="connsiteX2804" fmla="*/ 3461732 w 12117871"/>
                <a:gd name="connsiteY2804" fmla="*/ 3333141 h 6072780"/>
                <a:gd name="connsiteX2805" fmla="*/ 3461732 w 12117871"/>
                <a:gd name="connsiteY2805" fmla="*/ 3153358 h 6072780"/>
                <a:gd name="connsiteX2806" fmla="*/ 3441123 w 12117871"/>
                <a:gd name="connsiteY2806" fmla="*/ 3164993 h 6072780"/>
                <a:gd name="connsiteX2807" fmla="*/ 3415951 w 12117871"/>
                <a:gd name="connsiteY2807" fmla="*/ 3173435 h 6072780"/>
                <a:gd name="connsiteX2808" fmla="*/ 3415951 w 12117871"/>
                <a:gd name="connsiteY2808" fmla="*/ 3143319 h 6072780"/>
                <a:gd name="connsiteX2809" fmla="*/ 3432986 w 12117871"/>
                <a:gd name="connsiteY2809" fmla="*/ 3137235 h 6072780"/>
                <a:gd name="connsiteX2810" fmla="*/ 3449184 w 12117871"/>
                <a:gd name="connsiteY2810" fmla="*/ 3130086 h 6072780"/>
                <a:gd name="connsiteX2811" fmla="*/ 3465307 w 12117871"/>
                <a:gd name="connsiteY2811" fmla="*/ 3121265 h 6072780"/>
                <a:gd name="connsiteX2812" fmla="*/ 3482114 w 12117871"/>
                <a:gd name="connsiteY2812" fmla="*/ 3110161 h 6072780"/>
                <a:gd name="connsiteX2813" fmla="*/ 3183252 w 12117871"/>
                <a:gd name="connsiteY2813" fmla="*/ 3110161 h 6072780"/>
                <a:gd name="connsiteX2814" fmla="*/ 3198157 w 12117871"/>
                <a:gd name="connsiteY2814" fmla="*/ 3110161 h 6072780"/>
                <a:gd name="connsiteX2815" fmla="*/ 3198157 w 12117871"/>
                <a:gd name="connsiteY2815" fmla="*/ 3333141 h 6072780"/>
                <a:gd name="connsiteX2816" fmla="*/ 3162870 w 12117871"/>
                <a:gd name="connsiteY2816" fmla="*/ 3333141 h 6072780"/>
                <a:gd name="connsiteX2817" fmla="*/ 3162870 w 12117871"/>
                <a:gd name="connsiteY2817" fmla="*/ 3153358 h 6072780"/>
                <a:gd name="connsiteX2818" fmla="*/ 3142260 w 12117871"/>
                <a:gd name="connsiteY2818" fmla="*/ 3164993 h 6072780"/>
                <a:gd name="connsiteX2819" fmla="*/ 3117087 w 12117871"/>
                <a:gd name="connsiteY2819" fmla="*/ 3173435 h 6072780"/>
                <a:gd name="connsiteX2820" fmla="*/ 3117087 w 12117871"/>
                <a:gd name="connsiteY2820" fmla="*/ 3143319 h 6072780"/>
                <a:gd name="connsiteX2821" fmla="*/ 3134122 w 12117871"/>
                <a:gd name="connsiteY2821" fmla="*/ 3137235 h 6072780"/>
                <a:gd name="connsiteX2822" fmla="*/ 3150322 w 12117871"/>
                <a:gd name="connsiteY2822" fmla="*/ 3130086 h 6072780"/>
                <a:gd name="connsiteX2823" fmla="*/ 3166445 w 12117871"/>
                <a:gd name="connsiteY2823" fmla="*/ 3121265 h 6072780"/>
                <a:gd name="connsiteX2824" fmla="*/ 3183252 w 12117871"/>
                <a:gd name="connsiteY2824" fmla="*/ 3110161 h 6072780"/>
                <a:gd name="connsiteX2825" fmla="*/ 2804036 w 12117871"/>
                <a:gd name="connsiteY2825" fmla="*/ 3110161 h 6072780"/>
                <a:gd name="connsiteX2826" fmla="*/ 2818942 w 12117871"/>
                <a:gd name="connsiteY2826" fmla="*/ 3110161 h 6072780"/>
                <a:gd name="connsiteX2827" fmla="*/ 2818942 w 12117871"/>
                <a:gd name="connsiteY2827" fmla="*/ 3333141 h 6072780"/>
                <a:gd name="connsiteX2828" fmla="*/ 2783655 w 12117871"/>
                <a:gd name="connsiteY2828" fmla="*/ 3333141 h 6072780"/>
                <a:gd name="connsiteX2829" fmla="*/ 2783655 w 12117871"/>
                <a:gd name="connsiteY2829" fmla="*/ 3153358 h 6072780"/>
                <a:gd name="connsiteX2830" fmla="*/ 2763045 w 12117871"/>
                <a:gd name="connsiteY2830" fmla="*/ 3164993 h 6072780"/>
                <a:gd name="connsiteX2831" fmla="*/ 2737872 w 12117871"/>
                <a:gd name="connsiteY2831" fmla="*/ 3173435 h 6072780"/>
                <a:gd name="connsiteX2832" fmla="*/ 2737872 w 12117871"/>
                <a:gd name="connsiteY2832" fmla="*/ 3143319 h 6072780"/>
                <a:gd name="connsiteX2833" fmla="*/ 2754907 w 12117871"/>
                <a:gd name="connsiteY2833" fmla="*/ 3137235 h 6072780"/>
                <a:gd name="connsiteX2834" fmla="*/ 2771106 w 12117871"/>
                <a:gd name="connsiteY2834" fmla="*/ 3130086 h 6072780"/>
                <a:gd name="connsiteX2835" fmla="*/ 2787229 w 12117871"/>
                <a:gd name="connsiteY2835" fmla="*/ 3121265 h 6072780"/>
                <a:gd name="connsiteX2836" fmla="*/ 2804036 w 12117871"/>
                <a:gd name="connsiteY2836" fmla="*/ 3110161 h 6072780"/>
                <a:gd name="connsiteX2837" fmla="*/ 2654030 w 12117871"/>
                <a:gd name="connsiteY2837" fmla="*/ 3110161 h 6072780"/>
                <a:gd name="connsiteX2838" fmla="*/ 2668936 w 12117871"/>
                <a:gd name="connsiteY2838" fmla="*/ 3110161 h 6072780"/>
                <a:gd name="connsiteX2839" fmla="*/ 2668936 w 12117871"/>
                <a:gd name="connsiteY2839" fmla="*/ 3333141 h 6072780"/>
                <a:gd name="connsiteX2840" fmla="*/ 2633648 w 12117871"/>
                <a:gd name="connsiteY2840" fmla="*/ 3333141 h 6072780"/>
                <a:gd name="connsiteX2841" fmla="*/ 2633648 w 12117871"/>
                <a:gd name="connsiteY2841" fmla="*/ 3153358 h 6072780"/>
                <a:gd name="connsiteX2842" fmla="*/ 2613039 w 12117871"/>
                <a:gd name="connsiteY2842" fmla="*/ 3164993 h 6072780"/>
                <a:gd name="connsiteX2843" fmla="*/ 2587866 w 12117871"/>
                <a:gd name="connsiteY2843" fmla="*/ 3173435 h 6072780"/>
                <a:gd name="connsiteX2844" fmla="*/ 2587866 w 12117871"/>
                <a:gd name="connsiteY2844" fmla="*/ 3143319 h 6072780"/>
                <a:gd name="connsiteX2845" fmla="*/ 2604901 w 12117871"/>
                <a:gd name="connsiteY2845" fmla="*/ 3137235 h 6072780"/>
                <a:gd name="connsiteX2846" fmla="*/ 2621100 w 12117871"/>
                <a:gd name="connsiteY2846" fmla="*/ 3130086 h 6072780"/>
                <a:gd name="connsiteX2847" fmla="*/ 2637223 w 12117871"/>
                <a:gd name="connsiteY2847" fmla="*/ 3121265 h 6072780"/>
                <a:gd name="connsiteX2848" fmla="*/ 2654030 w 12117871"/>
                <a:gd name="connsiteY2848" fmla="*/ 3110161 h 6072780"/>
                <a:gd name="connsiteX2849" fmla="*/ 2505173 w 12117871"/>
                <a:gd name="connsiteY2849" fmla="*/ 3110161 h 6072780"/>
                <a:gd name="connsiteX2850" fmla="*/ 2520079 w 12117871"/>
                <a:gd name="connsiteY2850" fmla="*/ 3110161 h 6072780"/>
                <a:gd name="connsiteX2851" fmla="*/ 2520079 w 12117871"/>
                <a:gd name="connsiteY2851" fmla="*/ 3333141 h 6072780"/>
                <a:gd name="connsiteX2852" fmla="*/ 2484791 w 12117871"/>
                <a:gd name="connsiteY2852" fmla="*/ 3333141 h 6072780"/>
                <a:gd name="connsiteX2853" fmla="*/ 2484791 w 12117871"/>
                <a:gd name="connsiteY2853" fmla="*/ 3153358 h 6072780"/>
                <a:gd name="connsiteX2854" fmla="*/ 2464183 w 12117871"/>
                <a:gd name="connsiteY2854" fmla="*/ 3164993 h 6072780"/>
                <a:gd name="connsiteX2855" fmla="*/ 2439009 w 12117871"/>
                <a:gd name="connsiteY2855" fmla="*/ 3173435 h 6072780"/>
                <a:gd name="connsiteX2856" fmla="*/ 2439009 w 12117871"/>
                <a:gd name="connsiteY2856" fmla="*/ 3143319 h 6072780"/>
                <a:gd name="connsiteX2857" fmla="*/ 2456044 w 12117871"/>
                <a:gd name="connsiteY2857" fmla="*/ 3137235 h 6072780"/>
                <a:gd name="connsiteX2858" fmla="*/ 2472243 w 12117871"/>
                <a:gd name="connsiteY2858" fmla="*/ 3130086 h 6072780"/>
                <a:gd name="connsiteX2859" fmla="*/ 2488366 w 12117871"/>
                <a:gd name="connsiteY2859" fmla="*/ 3121265 h 6072780"/>
                <a:gd name="connsiteX2860" fmla="*/ 2505173 w 12117871"/>
                <a:gd name="connsiteY2860" fmla="*/ 3110161 h 6072780"/>
                <a:gd name="connsiteX2861" fmla="*/ 1749921 w 12117871"/>
                <a:gd name="connsiteY2861" fmla="*/ 3110161 h 6072780"/>
                <a:gd name="connsiteX2862" fmla="*/ 1764827 w 12117871"/>
                <a:gd name="connsiteY2862" fmla="*/ 3110161 h 6072780"/>
                <a:gd name="connsiteX2863" fmla="*/ 1764827 w 12117871"/>
                <a:gd name="connsiteY2863" fmla="*/ 3333141 h 6072780"/>
                <a:gd name="connsiteX2864" fmla="*/ 1729539 w 12117871"/>
                <a:gd name="connsiteY2864" fmla="*/ 3333141 h 6072780"/>
                <a:gd name="connsiteX2865" fmla="*/ 1729539 w 12117871"/>
                <a:gd name="connsiteY2865" fmla="*/ 3153358 h 6072780"/>
                <a:gd name="connsiteX2866" fmla="*/ 1708930 w 12117871"/>
                <a:gd name="connsiteY2866" fmla="*/ 3164993 h 6072780"/>
                <a:gd name="connsiteX2867" fmla="*/ 1683757 w 12117871"/>
                <a:gd name="connsiteY2867" fmla="*/ 3173435 h 6072780"/>
                <a:gd name="connsiteX2868" fmla="*/ 1683757 w 12117871"/>
                <a:gd name="connsiteY2868" fmla="*/ 3143319 h 6072780"/>
                <a:gd name="connsiteX2869" fmla="*/ 1700792 w 12117871"/>
                <a:gd name="connsiteY2869" fmla="*/ 3137235 h 6072780"/>
                <a:gd name="connsiteX2870" fmla="*/ 1716991 w 12117871"/>
                <a:gd name="connsiteY2870" fmla="*/ 3130086 h 6072780"/>
                <a:gd name="connsiteX2871" fmla="*/ 1733114 w 12117871"/>
                <a:gd name="connsiteY2871" fmla="*/ 3121265 h 6072780"/>
                <a:gd name="connsiteX2872" fmla="*/ 1749921 w 12117871"/>
                <a:gd name="connsiteY2872" fmla="*/ 3110161 h 6072780"/>
                <a:gd name="connsiteX2873" fmla="*/ 1599915 w 12117871"/>
                <a:gd name="connsiteY2873" fmla="*/ 3110161 h 6072780"/>
                <a:gd name="connsiteX2874" fmla="*/ 1614821 w 12117871"/>
                <a:gd name="connsiteY2874" fmla="*/ 3110161 h 6072780"/>
                <a:gd name="connsiteX2875" fmla="*/ 1614821 w 12117871"/>
                <a:gd name="connsiteY2875" fmla="*/ 3333141 h 6072780"/>
                <a:gd name="connsiteX2876" fmla="*/ 1579533 w 12117871"/>
                <a:gd name="connsiteY2876" fmla="*/ 3333141 h 6072780"/>
                <a:gd name="connsiteX2877" fmla="*/ 1579533 w 12117871"/>
                <a:gd name="connsiteY2877" fmla="*/ 3153358 h 6072780"/>
                <a:gd name="connsiteX2878" fmla="*/ 1558924 w 12117871"/>
                <a:gd name="connsiteY2878" fmla="*/ 3164993 h 6072780"/>
                <a:gd name="connsiteX2879" fmla="*/ 1533751 w 12117871"/>
                <a:gd name="connsiteY2879" fmla="*/ 3173435 h 6072780"/>
                <a:gd name="connsiteX2880" fmla="*/ 1533751 w 12117871"/>
                <a:gd name="connsiteY2880" fmla="*/ 3143319 h 6072780"/>
                <a:gd name="connsiteX2881" fmla="*/ 1550786 w 12117871"/>
                <a:gd name="connsiteY2881" fmla="*/ 3137235 h 6072780"/>
                <a:gd name="connsiteX2882" fmla="*/ 1566985 w 12117871"/>
                <a:gd name="connsiteY2882" fmla="*/ 3130086 h 6072780"/>
                <a:gd name="connsiteX2883" fmla="*/ 1583108 w 12117871"/>
                <a:gd name="connsiteY2883" fmla="*/ 3121265 h 6072780"/>
                <a:gd name="connsiteX2884" fmla="*/ 1599915 w 12117871"/>
                <a:gd name="connsiteY2884" fmla="*/ 3110161 h 6072780"/>
                <a:gd name="connsiteX2885" fmla="*/ 1302201 w 12117871"/>
                <a:gd name="connsiteY2885" fmla="*/ 3110161 h 6072780"/>
                <a:gd name="connsiteX2886" fmla="*/ 1317107 w 12117871"/>
                <a:gd name="connsiteY2886" fmla="*/ 3110161 h 6072780"/>
                <a:gd name="connsiteX2887" fmla="*/ 1317107 w 12117871"/>
                <a:gd name="connsiteY2887" fmla="*/ 3333141 h 6072780"/>
                <a:gd name="connsiteX2888" fmla="*/ 1281819 w 12117871"/>
                <a:gd name="connsiteY2888" fmla="*/ 3333141 h 6072780"/>
                <a:gd name="connsiteX2889" fmla="*/ 1281819 w 12117871"/>
                <a:gd name="connsiteY2889" fmla="*/ 3153358 h 6072780"/>
                <a:gd name="connsiteX2890" fmla="*/ 1261210 w 12117871"/>
                <a:gd name="connsiteY2890" fmla="*/ 3164993 h 6072780"/>
                <a:gd name="connsiteX2891" fmla="*/ 1236037 w 12117871"/>
                <a:gd name="connsiteY2891" fmla="*/ 3173435 h 6072780"/>
                <a:gd name="connsiteX2892" fmla="*/ 1236037 w 12117871"/>
                <a:gd name="connsiteY2892" fmla="*/ 3143319 h 6072780"/>
                <a:gd name="connsiteX2893" fmla="*/ 1253072 w 12117871"/>
                <a:gd name="connsiteY2893" fmla="*/ 3137235 h 6072780"/>
                <a:gd name="connsiteX2894" fmla="*/ 1269271 w 12117871"/>
                <a:gd name="connsiteY2894" fmla="*/ 3130086 h 6072780"/>
                <a:gd name="connsiteX2895" fmla="*/ 1285394 w 12117871"/>
                <a:gd name="connsiteY2895" fmla="*/ 3121265 h 6072780"/>
                <a:gd name="connsiteX2896" fmla="*/ 1302201 w 12117871"/>
                <a:gd name="connsiteY2896" fmla="*/ 3110161 h 6072780"/>
                <a:gd name="connsiteX2897" fmla="*/ 927321 w 12117871"/>
                <a:gd name="connsiteY2897" fmla="*/ 3110161 h 6072780"/>
                <a:gd name="connsiteX2898" fmla="*/ 942227 w 12117871"/>
                <a:gd name="connsiteY2898" fmla="*/ 3110161 h 6072780"/>
                <a:gd name="connsiteX2899" fmla="*/ 942227 w 12117871"/>
                <a:gd name="connsiteY2899" fmla="*/ 3333141 h 6072780"/>
                <a:gd name="connsiteX2900" fmla="*/ 906939 w 12117871"/>
                <a:gd name="connsiteY2900" fmla="*/ 3333141 h 6072780"/>
                <a:gd name="connsiteX2901" fmla="*/ 906939 w 12117871"/>
                <a:gd name="connsiteY2901" fmla="*/ 3153358 h 6072780"/>
                <a:gd name="connsiteX2902" fmla="*/ 886330 w 12117871"/>
                <a:gd name="connsiteY2902" fmla="*/ 3164993 h 6072780"/>
                <a:gd name="connsiteX2903" fmla="*/ 861157 w 12117871"/>
                <a:gd name="connsiteY2903" fmla="*/ 3173435 h 6072780"/>
                <a:gd name="connsiteX2904" fmla="*/ 861157 w 12117871"/>
                <a:gd name="connsiteY2904" fmla="*/ 3143319 h 6072780"/>
                <a:gd name="connsiteX2905" fmla="*/ 878192 w 12117871"/>
                <a:gd name="connsiteY2905" fmla="*/ 3137235 h 6072780"/>
                <a:gd name="connsiteX2906" fmla="*/ 894391 w 12117871"/>
                <a:gd name="connsiteY2906" fmla="*/ 3130086 h 6072780"/>
                <a:gd name="connsiteX2907" fmla="*/ 910514 w 12117871"/>
                <a:gd name="connsiteY2907" fmla="*/ 3121265 h 6072780"/>
                <a:gd name="connsiteX2908" fmla="*/ 927321 w 12117871"/>
                <a:gd name="connsiteY2908" fmla="*/ 3110161 h 6072780"/>
                <a:gd name="connsiteX2909" fmla="*/ 778464 w 12117871"/>
                <a:gd name="connsiteY2909" fmla="*/ 3110161 h 6072780"/>
                <a:gd name="connsiteX2910" fmla="*/ 793370 w 12117871"/>
                <a:gd name="connsiteY2910" fmla="*/ 3110161 h 6072780"/>
                <a:gd name="connsiteX2911" fmla="*/ 793370 w 12117871"/>
                <a:gd name="connsiteY2911" fmla="*/ 3333141 h 6072780"/>
                <a:gd name="connsiteX2912" fmla="*/ 758082 w 12117871"/>
                <a:gd name="connsiteY2912" fmla="*/ 3333141 h 6072780"/>
                <a:gd name="connsiteX2913" fmla="*/ 758082 w 12117871"/>
                <a:gd name="connsiteY2913" fmla="*/ 3153358 h 6072780"/>
                <a:gd name="connsiteX2914" fmla="*/ 737473 w 12117871"/>
                <a:gd name="connsiteY2914" fmla="*/ 3164993 h 6072780"/>
                <a:gd name="connsiteX2915" fmla="*/ 712300 w 12117871"/>
                <a:gd name="connsiteY2915" fmla="*/ 3173435 h 6072780"/>
                <a:gd name="connsiteX2916" fmla="*/ 712300 w 12117871"/>
                <a:gd name="connsiteY2916" fmla="*/ 3143319 h 6072780"/>
                <a:gd name="connsiteX2917" fmla="*/ 729335 w 12117871"/>
                <a:gd name="connsiteY2917" fmla="*/ 3137235 h 6072780"/>
                <a:gd name="connsiteX2918" fmla="*/ 745534 w 12117871"/>
                <a:gd name="connsiteY2918" fmla="*/ 3130086 h 6072780"/>
                <a:gd name="connsiteX2919" fmla="*/ 761657 w 12117871"/>
                <a:gd name="connsiteY2919" fmla="*/ 3121265 h 6072780"/>
                <a:gd name="connsiteX2920" fmla="*/ 778464 w 12117871"/>
                <a:gd name="connsiteY2920" fmla="*/ 3110161 h 6072780"/>
                <a:gd name="connsiteX2921" fmla="*/ 629607 w 12117871"/>
                <a:gd name="connsiteY2921" fmla="*/ 3110161 h 6072780"/>
                <a:gd name="connsiteX2922" fmla="*/ 644513 w 12117871"/>
                <a:gd name="connsiteY2922" fmla="*/ 3110161 h 6072780"/>
                <a:gd name="connsiteX2923" fmla="*/ 644513 w 12117871"/>
                <a:gd name="connsiteY2923" fmla="*/ 3333141 h 6072780"/>
                <a:gd name="connsiteX2924" fmla="*/ 609225 w 12117871"/>
                <a:gd name="connsiteY2924" fmla="*/ 3333141 h 6072780"/>
                <a:gd name="connsiteX2925" fmla="*/ 609225 w 12117871"/>
                <a:gd name="connsiteY2925" fmla="*/ 3153358 h 6072780"/>
                <a:gd name="connsiteX2926" fmla="*/ 588616 w 12117871"/>
                <a:gd name="connsiteY2926" fmla="*/ 3164993 h 6072780"/>
                <a:gd name="connsiteX2927" fmla="*/ 563443 w 12117871"/>
                <a:gd name="connsiteY2927" fmla="*/ 3173435 h 6072780"/>
                <a:gd name="connsiteX2928" fmla="*/ 563443 w 12117871"/>
                <a:gd name="connsiteY2928" fmla="*/ 3143319 h 6072780"/>
                <a:gd name="connsiteX2929" fmla="*/ 580478 w 12117871"/>
                <a:gd name="connsiteY2929" fmla="*/ 3137235 h 6072780"/>
                <a:gd name="connsiteX2930" fmla="*/ 596677 w 12117871"/>
                <a:gd name="connsiteY2930" fmla="*/ 3130086 h 6072780"/>
                <a:gd name="connsiteX2931" fmla="*/ 612800 w 12117871"/>
                <a:gd name="connsiteY2931" fmla="*/ 3121265 h 6072780"/>
                <a:gd name="connsiteX2932" fmla="*/ 629607 w 12117871"/>
                <a:gd name="connsiteY2932" fmla="*/ 3110161 h 6072780"/>
                <a:gd name="connsiteX2933" fmla="*/ 480750 w 12117871"/>
                <a:gd name="connsiteY2933" fmla="*/ 3110161 h 6072780"/>
                <a:gd name="connsiteX2934" fmla="*/ 495656 w 12117871"/>
                <a:gd name="connsiteY2934" fmla="*/ 3110161 h 6072780"/>
                <a:gd name="connsiteX2935" fmla="*/ 495656 w 12117871"/>
                <a:gd name="connsiteY2935" fmla="*/ 3333141 h 6072780"/>
                <a:gd name="connsiteX2936" fmla="*/ 460368 w 12117871"/>
                <a:gd name="connsiteY2936" fmla="*/ 3333141 h 6072780"/>
                <a:gd name="connsiteX2937" fmla="*/ 460368 w 12117871"/>
                <a:gd name="connsiteY2937" fmla="*/ 3153358 h 6072780"/>
                <a:gd name="connsiteX2938" fmla="*/ 439759 w 12117871"/>
                <a:gd name="connsiteY2938" fmla="*/ 3164993 h 6072780"/>
                <a:gd name="connsiteX2939" fmla="*/ 414586 w 12117871"/>
                <a:gd name="connsiteY2939" fmla="*/ 3173435 h 6072780"/>
                <a:gd name="connsiteX2940" fmla="*/ 414586 w 12117871"/>
                <a:gd name="connsiteY2940" fmla="*/ 3143319 h 6072780"/>
                <a:gd name="connsiteX2941" fmla="*/ 431621 w 12117871"/>
                <a:gd name="connsiteY2941" fmla="*/ 3137235 h 6072780"/>
                <a:gd name="connsiteX2942" fmla="*/ 447820 w 12117871"/>
                <a:gd name="connsiteY2942" fmla="*/ 3130086 h 6072780"/>
                <a:gd name="connsiteX2943" fmla="*/ 463943 w 12117871"/>
                <a:gd name="connsiteY2943" fmla="*/ 3121265 h 6072780"/>
                <a:gd name="connsiteX2944" fmla="*/ 480750 w 12117871"/>
                <a:gd name="connsiteY2944" fmla="*/ 3110161 h 6072780"/>
                <a:gd name="connsiteX2945" fmla="*/ 275106 w 12117871"/>
                <a:gd name="connsiteY2945" fmla="*/ 3110161 h 6072780"/>
                <a:gd name="connsiteX2946" fmla="*/ 346273 w 12117871"/>
                <a:gd name="connsiteY2946" fmla="*/ 3220749 h 6072780"/>
                <a:gd name="connsiteX2947" fmla="*/ 326187 w 12117871"/>
                <a:gd name="connsiteY2947" fmla="*/ 3304328 h 6072780"/>
                <a:gd name="connsiteX2948" fmla="*/ 269990 w 12117871"/>
                <a:gd name="connsiteY2948" fmla="*/ 3333141 h 6072780"/>
                <a:gd name="connsiteX2949" fmla="*/ 217405 w 12117871"/>
                <a:gd name="connsiteY2949" fmla="*/ 3305607 h 6072780"/>
                <a:gd name="connsiteX2950" fmla="*/ 198522 w 12117871"/>
                <a:gd name="connsiteY2950" fmla="*/ 3226015 h 6072780"/>
                <a:gd name="connsiteX2951" fmla="*/ 218232 w 12117871"/>
                <a:gd name="connsiteY2951" fmla="*/ 3139501 h 6072780"/>
                <a:gd name="connsiteX2952" fmla="*/ 275106 w 12117871"/>
                <a:gd name="connsiteY2952" fmla="*/ 3110161 h 6072780"/>
                <a:gd name="connsiteX2953" fmla="*/ 76584 w 12117871"/>
                <a:gd name="connsiteY2953" fmla="*/ 3110161 h 6072780"/>
                <a:gd name="connsiteX2954" fmla="*/ 147751 w 12117871"/>
                <a:gd name="connsiteY2954" fmla="*/ 3220749 h 6072780"/>
                <a:gd name="connsiteX2955" fmla="*/ 127665 w 12117871"/>
                <a:gd name="connsiteY2955" fmla="*/ 3304328 h 6072780"/>
                <a:gd name="connsiteX2956" fmla="*/ 71468 w 12117871"/>
                <a:gd name="connsiteY2956" fmla="*/ 3333141 h 6072780"/>
                <a:gd name="connsiteX2957" fmla="*/ 18883 w 12117871"/>
                <a:gd name="connsiteY2957" fmla="*/ 3305607 h 6072780"/>
                <a:gd name="connsiteX2958" fmla="*/ 0 w 12117871"/>
                <a:gd name="connsiteY2958" fmla="*/ 3226015 h 6072780"/>
                <a:gd name="connsiteX2959" fmla="*/ 19710 w 12117871"/>
                <a:gd name="connsiteY2959" fmla="*/ 3139501 h 6072780"/>
                <a:gd name="connsiteX2960" fmla="*/ 76584 w 12117871"/>
                <a:gd name="connsiteY2960" fmla="*/ 3110161 h 6072780"/>
                <a:gd name="connsiteX2961" fmla="*/ 10090194 w 12117871"/>
                <a:gd name="connsiteY2961" fmla="*/ 2836964 h 6072780"/>
                <a:gd name="connsiteX2962" fmla="*/ 10050924 w 12117871"/>
                <a:gd name="connsiteY2962" fmla="*/ 2923478 h 6072780"/>
                <a:gd name="connsiteX2963" fmla="*/ 10089442 w 12117871"/>
                <a:gd name="connsiteY2963" fmla="*/ 3004425 h 6072780"/>
                <a:gd name="connsiteX2964" fmla="*/ 10127357 w 12117871"/>
                <a:gd name="connsiteY2964" fmla="*/ 2922124 h 6072780"/>
                <a:gd name="connsiteX2965" fmla="*/ 10090194 w 12117871"/>
                <a:gd name="connsiteY2965" fmla="*/ 2836964 h 6072780"/>
                <a:gd name="connsiteX2966" fmla="*/ 9869271 w 12117871"/>
                <a:gd name="connsiteY2966" fmla="*/ 2836964 h 6072780"/>
                <a:gd name="connsiteX2967" fmla="*/ 9830001 w 12117871"/>
                <a:gd name="connsiteY2967" fmla="*/ 2923478 h 6072780"/>
                <a:gd name="connsiteX2968" fmla="*/ 9868519 w 12117871"/>
                <a:gd name="connsiteY2968" fmla="*/ 3004425 h 6072780"/>
                <a:gd name="connsiteX2969" fmla="*/ 9906434 w 12117871"/>
                <a:gd name="connsiteY2969" fmla="*/ 2922124 h 6072780"/>
                <a:gd name="connsiteX2970" fmla="*/ 9869271 w 12117871"/>
                <a:gd name="connsiteY2970" fmla="*/ 2836964 h 6072780"/>
                <a:gd name="connsiteX2971" fmla="*/ 9207610 w 12117871"/>
                <a:gd name="connsiteY2971" fmla="*/ 2836964 h 6072780"/>
                <a:gd name="connsiteX2972" fmla="*/ 9168340 w 12117871"/>
                <a:gd name="connsiteY2972" fmla="*/ 2923478 h 6072780"/>
                <a:gd name="connsiteX2973" fmla="*/ 9206858 w 12117871"/>
                <a:gd name="connsiteY2973" fmla="*/ 3004425 h 6072780"/>
                <a:gd name="connsiteX2974" fmla="*/ 9244773 w 12117871"/>
                <a:gd name="connsiteY2974" fmla="*/ 2922124 h 6072780"/>
                <a:gd name="connsiteX2975" fmla="*/ 9207610 w 12117871"/>
                <a:gd name="connsiteY2975" fmla="*/ 2836964 h 6072780"/>
                <a:gd name="connsiteX2976" fmla="*/ 8986687 w 12117871"/>
                <a:gd name="connsiteY2976" fmla="*/ 2836964 h 6072780"/>
                <a:gd name="connsiteX2977" fmla="*/ 8947417 w 12117871"/>
                <a:gd name="connsiteY2977" fmla="*/ 2923478 h 6072780"/>
                <a:gd name="connsiteX2978" fmla="*/ 8985935 w 12117871"/>
                <a:gd name="connsiteY2978" fmla="*/ 3004425 h 6072780"/>
                <a:gd name="connsiteX2979" fmla="*/ 9023850 w 12117871"/>
                <a:gd name="connsiteY2979" fmla="*/ 2922124 h 6072780"/>
                <a:gd name="connsiteX2980" fmla="*/ 8986687 w 12117871"/>
                <a:gd name="connsiteY2980" fmla="*/ 2836964 h 6072780"/>
                <a:gd name="connsiteX2981" fmla="*/ 6137225 w 12117871"/>
                <a:gd name="connsiteY2981" fmla="*/ 2836964 h 6072780"/>
                <a:gd name="connsiteX2982" fmla="*/ 6097955 w 12117871"/>
                <a:gd name="connsiteY2982" fmla="*/ 2923478 h 6072780"/>
                <a:gd name="connsiteX2983" fmla="*/ 6136473 w 12117871"/>
                <a:gd name="connsiteY2983" fmla="*/ 3004425 h 6072780"/>
                <a:gd name="connsiteX2984" fmla="*/ 6174388 w 12117871"/>
                <a:gd name="connsiteY2984" fmla="*/ 2922124 h 6072780"/>
                <a:gd name="connsiteX2985" fmla="*/ 6137225 w 12117871"/>
                <a:gd name="connsiteY2985" fmla="*/ 2836964 h 6072780"/>
                <a:gd name="connsiteX2986" fmla="*/ 4034143 w 12117871"/>
                <a:gd name="connsiteY2986" fmla="*/ 2836964 h 6072780"/>
                <a:gd name="connsiteX2987" fmla="*/ 3994873 w 12117871"/>
                <a:gd name="connsiteY2987" fmla="*/ 2923478 h 6072780"/>
                <a:gd name="connsiteX2988" fmla="*/ 4033391 w 12117871"/>
                <a:gd name="connsiteY2988" fmla="*/ 3004425 h 6072780"/>
                <a:gd name="connsiteX2989" fmla="*/ 4071306 w 12117871"/>
                <a:gd name="connsiteY2989" fmla="*/ 2922124 h 6072780"/>
                <a:gd name="connsiteX2990" fmla="*/ 4034143 w 12117871"/>
                <a:gd name="connsiteY2990" fmla="*/ 2836964 h 6072780"/>
                <a:gd name="connsiteX2991" fmla="*/ 3813220 w 12117871"/>
                <a:gd name="connsiteY2991" fmla="*/ 2836964 h 6072780"/>
                <a:gd name="connsiteX2992" fmla="*/ 3773950 w 12117871"/>
                <a:gd name="connsiteY2992" fmla="*/ 2923478 h 6072780"/>
                <a:gd name="connsiteX2993" fmla="*/ 3812467 w 12117871"/>
                <a:gd name="connsiteY2993" fmla="*/ 3004425 h 6072780"/>
                <a:gd name="connsiteX2994" fmla="*/ 3850383 w 12117871"/>
                <a:gd name="connsiteY2994" fmla="*/ 2922124 h 6072780"/>
                <a:gd name="connsiteX2995" fmla="*/ 3813220 w 12117871"/>
                <a:gd name="connsiteY2995" fmla="*/ 2836964 h 6072780"/>
                <a:gd name="connsiteX2996" fmla="*/ 3151560 w 12117871"/>
                <a:gd name="connsiteY2996" fmla="*/ 2836964 h 6072780"/>
                <a:gd name="connsiteX2997" fmla="*/ 3112290 w 12117871"/>
                <a:gd name="connsiteY2997" fmla="*/ 2923478 h 6072780"/>
                <a:gd name="connsiteX2998" fmla="*/ 3150807 w 12117871"/>
                <a:gd name="connsiteY2998" fmla="*/ 3004425 h 6072780"/>
                <a:gd name="connsiteX2999" fmla="*/ 3188723 w 12117871"/>
                <a:gd name="connsiteY2999" fmla="*/ 2922124 h 6072780"/>
                <a:gd name="connsiteX3000" fmla="*/ 3151560 w 12117871"/>
                <a:gd name="connsiteY3000" fmla="*/ 2836964 h 6072780"/>
                <a:gd name="connsiteX3001" fmla="*/ 2930637 w 12117871"/>
                <a:gd name="connsiteY3001" fmla="*/ 2836964 h 6072780"/>
                <a:gd name="connsiteX3002" fmla="*/ 2891367 w 12117871"/>
                <a:gd name="connsiteY3002" fmla="*/ 2923478 h 6072780"/>
                <a:gd name="connsiteX3003" fmla="*/ 2929884 w 12117871"/>
                <a:gd name="connsiteY3003" fmla="*/ 3004425 h 6072780"/>
                <a:gd name="connsiteX3004" fmla="*/ 2967800 w 12117871"/>
                <a:gd name="connsiteY3004" fmla="*/ 2922124 h 6072780"/>
                <a:gd name="connsiteX3005" fmla="*/ 2930637 w 12117871"/>
                <a:gd name="connsiteY3005" fmla="*/ 2836964 h 6072780"/>
                <a:gd name="connsiteX3006" fmla="*/ 78039 w 12117871"/>
                <a:gd name="connsiteY3006" fmla="*/ 2834954 h 6072780"/>
                <a:gd name="connsiteX3007" fmla="*/ 38769 w 12117871"/>
                <a:gd name="connsiteY3007" fmla="*/ 2921468 h 6072780"/>
                <a:gd name="connsiteX3008" fmla="*/ 77287 w 12117871"/>
                <a:gd name="connsiteY3008" fmla="*/ 3002415 h 6072780"/>
                <a:gd name="connsiteX3009" fmla="*/ 115202 w 12117871"/>
                <a:gd name="connsiteY3009" fmla="*/ 2920114 h 6072780"/>
                <a:gd name="connsiteX3010" fmla="*/ 78039 w 12117871"/>
                <a:gd name="connsiteY3010" fmla="*/ 2834954 h 6072780"/>
                <a:gd name="connsiteX3011" fmla="*/ 11918627 w 12117871"/>
                <a:gd name="connsiteY3011" fmla="*/ 2809130 h 6072780"/>
                <a:gd name="connsiteX3012" fmla="*/ 11933533 w 12117871"/>
                <a:gd name="connsiteY3012" fmla="*/ 2809130 h 6072780"/>
                <a:gd name="connsiteX3013" fmla="*/ 11933533 w 12117871"/>
                <a:gd name="connsiteY3013" fmla="*/ 3032110 h 6072780"/>
                <a:gd name="connsiteX3014" fmla="*/ 11898245 w 12117871"/>
                <a:gd name="connsiteY3014" fmla="*/ 3032110 h 6072780"/>
                <a:gd name="connsiteX3015" fmla="*/ 11898245 w 12117871"/>
                <a:gd name="connsiteY3015" fmla="*/ 2852327 h 6072780"/>
                <a:gd name="connsiteX3016" fmla="*/ 11877636 w 12117871"/>
                <a:gd name="connsiteY3016" fmla="*/ 2863962 h 6072780"/>
                <a:gd name="connsiteX3017" fmla="*/ 11852463 w 12117871"/>
                <a:gd name="connsiteY3017" fmla="*/ 2872404 h 6072780"/>
                <a:gd name="connsiteX3018" fmla="*/ 11852463 w 12117871"/>
                <a:gd name="connsiteY3018" fmla="*/ 2842288 h 6072780"/>
                <a:gd name="connsiteX3019" fmla="*/ 11869498 w 12117871"/>
                <a:gd name="connsiteY3019" fmla="*/ 2836204 h 6072780"/>
                <a:gd name="connsiteX3020" fmla="*/ 11885697 w 12117871"/>
                <a:gd name="connsiteY3020" fmla="*/ 2829055 h 6072780"/>
                <a:gd name="connsiteX3021" fmla="*/ 11901820 w 12117871"/>
                <a:gd name="connsiteY3021" fmla="*/ 2820234 h 6072780"/>
                <a:gd name="connsiteX3022" fmla="*/ 11918627 w 12117871"/>
                <a:gd name="connsiteY3022" fmla="*/ 2809130 h 6072780"/>
                <a:gd name="connsiteX3023" fmla="*/ 11535759 w 12117871"/>
                <a:gd name="connsiteY3023" fmla="*/ 2809130 h 6072780"/>
                <a:gd name="connsiteX3024" fmla="*/ 11550665 w 12117871"/>
                <a:gd name="connsiteY3024" fmla="*/ 2809130 h 6072780"/>
                <a:gd name="connsiteX3025" fmla="*/ 11550665 w 12117871"/>
                <a:gd name="connsiteY3025" fmla="*/ 3032110 h 6072780"/>
                <a:gd name="connsiteX3026" fmla="*/ 11515377 w 12117871"/>
                <a:gd name="connsiteY3026" fmla="*/ 3032110 h 6072780"/>
                <a:gd name="connsiteX3027" fmla="*/ 11515377 w 12117871"/>
                <a:gd name="connsiteY3027" fmla="*/ 2852327 h 6072780"/>
                <a:gd name="connsiteX3028" fmla="*/ 11494768 w 12117871"/>
                <a:gd name="connsiteY3028" fmla="*/ 2863962 h 6072780"/>
                <a:gd name="connsiteX3029" fmla="*/ 11469595 w 12117871"/>
                <a:gd name="connsiteY3029" fmla="*/ 2872404 h 6072780"/>
                <a:gd name="connsiteX3030" fmla="*/ 11469595 w 12117871"/>
                <a:gd name="connsiteY3030" fmla="*/ 2842288 h 6072780"/>
                <a:gd name="connsiteX3031" fmla="*/ 11486630 w 12117871"/>
                <a:gd name="connsiteY3031" fmla="*/ 2836204 h 6072780"/>
                <a:gd name="connsiteX3032" fmla="*/ 11502829 w 12117871"/>
                <a:gd name="connsiteY3032" fmla="*/ 2829055 h 6072780"/>
                <a:gd name="connsiteX3033" fmla="*/ 11518952 w 12117871"/>
                <a:gd name="connsiteY3033" fmla="*/ 2820234 h 6072780"/>
                <a:gd name="connsiteX3034" fmla="*/ 11535759 w 12117871"/>
                <a:gd name="connsiteY3034" fmla="*/ 2809130 h 6072780"/>
                <a:gd name="connsiteX3035" fmla="*/ 11391633 w 12117871"/>
                <a:gd name="connsiteY3035" fmla="*/ 2809130 h 6072780"/>
                <a:gd name="connsiteX3036" fmla="*/ 11406539 w 12117871"/>
                <a:gd name="connsiteY3036" fmla="*/ 2809130 h 6072780"/>
                <a:gd name="connsiteX3037" fmla="*/ 11406539 w 12117871"/>
                <a:gd name="connsiteY3037" fmla="*/ 3032110 h 6072780"/>
                <a:gd name="connsiteX3038" fmla="*/ 11371251 w 12117871"/>
                <a:gd name="connsiteY3038" fmla="*/ 3032110 h 6072780"/>
                <a:gd name="connsiteX3039" fmla="*/ 11371251 w 12117871"/>
                <a:gd name="connsiteY3039" fmla="*/ 2852327 h 6072780"/>
                <a:gd name="connsiteX3040" fmla="*/ 11350642 w 12117871"/>
                <a:gd name="connsiteY3040" fmla="*/ 2863962 h 6072780"/>
                <a:gd name="connsiteX3041" fmla="*/ 11325469 w 12117871"/>
                <a:gd name="connsiteY3041" fmla="*/ 2872404 h 6072780"/>
                <a:gd name="connsiteX3042" fmla="*/ 11325469 w 12117871"/>
                <a:gd name="connsiteY3042" fmla="*/ 2842288 h 6072780"/>
                <a:gd name="connsiteX3043" fmla="*/ 11342504 w 12117871"/>
                <a:gd name="connsiteY3043" fmla="*/ 2836204 h 6072780"/>
                <a:gd name="connsiteX3044" fmla="*/ 11358703 w 12117871"/>
                <a:gd name="connsiteY3044" fmla="*/ 2829055 h 6072780"/>
                <a:gd name="connsiteX3045" fmla="*/ 11374826 w 12117871"/>
                <a:gd name="connsiteY3045" fmla="*/ 2820234 h 6072780"/>
                <a:gd name="connsiteX3046" fmla="*/ 11391633 w 12117871"/>
                <a:gd name="connsiteY3046" fmla="*/ 2809130 h 6072780"/>
                <a:gd name="connsiteX3047" fmla="*/ 11247508 w 12117871"/>
                <a:gd name="connsiteY3047" fmla="*/ 2809130 h 6072780"/>
                <a:gd name="connsiteX3048" fmla="*/ 11262414 w 12117871"/>
                <a:gd name="connsiteY3048" fmla="*/ 2809130 h 6072780"/>
                <a:gd name="connsiteX3049" fmla="*/ 11262414 w 12117871"/>
                <a:gd name="connsiteY3049" fmla="*/ 3032110 h 6072780"/>
                <a:gd name="connsiteX3050" fmla="*/ 11227126 w 12117871"/>
                <a:gd name="connsiteY3050" fmla="*/ 3032110 h 6072780"/>
                <a:gd name="connsiteX3051" fmla="*/ 11227126 w 12117871"/>
                <a:gd name="connsiteY3051" fmla="*/ 2852327 h 6072780"/>
                <a:gd name="connsiteX3052" fmla="*/ 11206517 w 12117871"/>
                <a:gd name="connsiteY3052" fmla="*/ 2863962 h 6072780"/>
                <a:gd name="connsiteX3053" fmla="*/ 11181344 w 12117871"/>
                <a:gd name="connsiteY3053" fmla="*/ 2872404 h 6072780"/>
                <a:gd name="connsiteX3054" fmla="*/ 11181344 w 12117871"/>
                <a:gd name="connsiteY3054" fmla="*/ 2842288 h 6072780"/>
                <a:gd name="connsiteX3055" fmla="*/ 11198379 w 12117871"/>
                <a:gd name="connsiteY3055" fmla="*/ 2836204 h 6072780"/>
                <a:gd name="connsiteX3056" fmla="*/ 11214578 w 12117871"/>
                <a:gd name="connsiteY3056" fmla="*/ 2829055 h 6072780"/>
                <a:gd name="connsiteX3057" fmla="*/ 11230701 w 12117871"/>
                <a:gd name="connsiteY3057" fmla="*/ 2820234 h 6072780"/>
                <a:gd name="connsiteX3058" fmla="*/ 11247508 w 12117871"/>
                <a:gd name="connsiteY3058" fmla="*/ 2809130 h 6072780"/>
                <a:gd name="connsiteX3059" fmla="*/ 11103383 w 12117871"/>
                <a:gd name="connsiteY3059" fmla="*/ 2809130 h 6072780"/>
                <a:gd name="connsiteX3060" fmla="*/ 11118289 w 12117871"/>
                <a:gd name="connsiteY3060" fmla="*/ 2809130 h 6072780"/>
                <a:gd name="connsiteX3061" fmla="*/ 11118289 w 12117871"/>
                <a:gd name="connsiteY3061" fmla="*/ 3032110 h 6072780"/>
                <a:gd name="connsiteX3062" fmla="*/ 11083001 w 12117871"/>
                <a:gd name="connsiteY3062" fmla="*/ 3032110 h 6072780"/>
                <a:gd name="connsiteX3063" fmla="*/ 11083001 w 12117871"/>
                <a:gd name="connsiteY3063" fmla="*/ 2852327 h 6072780"/>
                <a:gd name="connsiteX3064" fmla="*/ 11062392 w 12117871"/>
                <a:gd name="connsiteY3064" fmla="*/ 2863962 h 6072780"/>
                <a:gd name="connsiteX3065" fmla="*/ 11037219 w 12117871"/>
                <a:gd name="connsiteY3065" fmla="*/ 2872404 h 6072780"/>
                <a:gd name="connsiteX3066" fmla="*/ 11037219 w 12117871"/>
                <a:gd name="connsiteY3066" fmla="*/ 2842288 h 6072780"/>
                <a:gd name="connsiteX3067" fmla="*/ 11054254 w 12117871"/>
                <a:gd name="connsiteY3067" fmla="*/ 2836204 h 6072780"/>
                <a:gd name="connsiteX3068" fmla="*/ 11070453 w 12117871"/>
                <a:gd name="connsiteY3068" fmla="*/ 2829055 h 6072780"/>
                <a:gd name="connsiteX3069" fmla="*/ 11086576 w 12117871"/>
                <a:gd name="connsiteY3069" fmla="*/ 2820234 h 6072780"/>
                <a:gd name="connsiteX3070" fmla="*/ 11103383 w 12117871"/>
                <a:gd name="connsiteY3070" fmla="*/ 2809130 h 6072780"/>
                <a:gd name="connsiteX3071" fmla="*/ 10959258 w 12117871"/>
                <a:gd name="connsiteY3071" fmla="*/ 2809130 h 6072780"/>
                <a:gd name="connsiteX3072" fmla="*/ 10974164 w 12117871"/>
                <a:gd name="connsiteY3072" fmla="*/ 2809130 h 6072780"/>
                <a:gd name="connsiteX3073" fmla="*/ 10974164 w 12117871"/>
                <a:gd name="connsiteY3073" fmla="*/ 3032110 h 6072780"/>
                <a:gd name="connsiteX3074" fmla="*/ 10938876 w 12117871"/>
                <a:gd name="connsiteY3074" fmla="*/ 3032110 h 6072780"/>
                <a:gd name="connsiteX3075" fmla="*/ 10938876 w 12117871"/>
                <a:gd name="connsiteY3075" fmla="*/ 2852327 h 6072780"/>
                <a:gd name="connsiteX3076" fmla="*/ 10918267 w 12117871"/>
                <a:gd name="connsiteY3076" fmla="*/ 2863962 h 6072780"/>
                <a:gd name="connsiteX3077" fmla="*/ 10893094 w 12117871"/>
                <a:gd name="connsiteY3077" fmla="*/ 2872404 h 6072780"/>
                <a:gd name="connsiteX3078" fmla="*/ 10893094 w 12117871"/>
                <a:gd name="connsiteY3078" fmla="*/ 2842288 h 6072780"/>
                <a:gd name="connsiteX3079" fmla="*/ 10910129 w 12117871"/>
                <a:gd name="connsiteY3079" fmla="*/ 2836204 h 6072780"/>
                <a:gd name="connsiteX3080" fmla="*/ 10926328 w 12117871"/>
                <a:gd name="connsiteY3080" fmla="*/ 2829055 h 6072780"/>
                <a:gd name="connsiteX3081" fmla="*/ 10942451 w 12117871"/>
                <a:gd name="connsiteY3081" fmla="*/ 2820234 h 6072780"/>
                <a:gd name="connsiteX3082" fmla="*/ 10959258 w 12117871"/>
                <a:gd name="connsiteY3082" fmla="*/ 2809130 h 6072780"/>
                <a:gd name="connsiteX3083" fmla="*/ 10571025 w 12117871"/>
                <a:gd name="connsiteY3083" fmla="*/ 2809130 h 6072780"/>
                <a:gd name="connsiteX3084" fmla="*/ 10585931 w 12117871"/>
                <a:gd name="connsiteY3084" fmla="*/ 2809130 h 6072780"/>
                <a:gd name="connsiteX3085" fmla="*/ 10585931 w 12117871"/>
                <a:gd name="connsiteY3085" fmla="*/ 3032110 h 6072780"/>
                <a:gd name="connsiteX3086" fmla="*/ 10550643 w 12117871"/>
                <a:gd name="connsiteY3086" fmla="*/ 3032110 h 6072780"/>
                <a:gd name="connsiteX3087" fmla="*/ 10550643 w 12117871"/>
                <a:gd name="connsiteY3087" fmla="*/ 2852327 h 6072780"/>
                <a:gd name="connsiteX3088" fmla="*/ 10530034 w 12117871"/>
                <a:gd name="connsiteY3088" fmla="*/ 2863962 h 6072780"/>
                <a:gd name="connsiteX3089" fmla="*/ 10504861 w 12117871"/>
                <a:gd name="connsiteY3089" fmla="*/ 2872404 h 6072780"/>
                <a:gd name="connsiteX3090" fmla="*/ 10504861 w 12117871"/>
                <a:gd name="connsiteY3090" fmla="*/ 2842288 h 6072780"/>
                <a:gd name="connsiteX3091" fmla="*/ 10521896 w 12117871"/>
                <a:gd name="connsiteY3091" fmla="*/ 2836204 h 6072780"/>
                <a:gd name="connsiteX3092" fmla="*/ 10538095 w 12117871"/>
                <a:gd name="connsiteY3092" fmla="*/ 2829055 h 6072780"/>
                <a:gd name="connsiteX3093" fmla="*/ 10554218 w 12117871"/>
                <a:gd name="connsiteY3093" fmla="*/ 2820234 h 6072780"/>
                <a:gd name="connsiteX3094" fmla="*/ 10571025 w 12117871"/>
                <a:gd name="connsiteY3094" fmla="*/ 2809130 h 6072780"/>
                <a:gd name="connsiteX3095" fmla="*/ 10304917 w 12117871"/>
                <a:gd name="connsiteY3095" fmla="*/ 2809130 h 6072780"/>
                <a:gd name="connsiteX3096" fmla="*/ 10319823 w 12117871"/>
                <a:gd name="connsiteY3096" fmla="*/ 2809130 h 6072780"/>
                <a:gd name="connsiteX3097" fmla="*/ 10319823 w 12117871"/>
                <a:gd name="connsiteY3097" fmla="*/ 3032110 h 6072780"/>
                <a:gd name="connsiteX3098" fmla="*/ 10284535 w 12117871"/>
                <a:gd name="connsiteY3098" fmla="*/ 3032110 h 6072780"/>
                <a:gd name="connsiteX3099" fmla="*/ 10284535 w 12117871"/>
                <a:gd name="connsiteY3099" fmla="*/ 2852327 h 6072780"/>
                <a:gd name="connsiteX3100" fmla="*/ 10263926 w 12117871"/>
                <a:gd name="connsiteY3100" fmla="*/ 2863962 h 6072780"/>
                <a:gd name="connsiteX3101" fmla="*/ 10238753 w 12117871"/>
                <a:gd name="connsiteY3101" fmla="*/ 2872404 h 6072780"/>
                <a:gd name="connsiteX3102" fmla="*/ 10238753 w 12117871"/>
                <a:gd name="connsiteY3102" fmla="*/ 2842288 h 6072780"/>
                <a:gd name="connsiteX3103" fmla="*/ 10255788 w 12117871"/>
                <a:gd name="connsiteY3103" fmla="*/ 2836204 h 6072780"/>
                <a:gd name="connsiteX3104" fmla="*/ 10271987 w 12117871"/>
                <a:gd name="connsiteY3104" fmla="*/ 2829055 h 6072780"/>
                <a:gd name="connsiteX3105" fmla="*/ 10288110 w 12117871"/>
                <a:gd name="connsiteY3105" fmla="*/ 2820234 h 6072780"/>
                <a:gd name="connsiteX3106" fmla="*/ 10304917 w 12117871"/>
                <a:gd name="connsiteY3106" fmla="*/ 2809130 h 6072780"/>
                <a:gd name="connsiteX3107" fmla="*/ 9693318 w 12117871"/>
                <a:gd name="connsiteY3107" fmla="*/ 2809130 h 6072780"/>
                <a:gd name="connsiteX3108" fmla="*/ 9708224 w 12117871"/>
                <a:gd name="connsiteY3108" fmla="*/ 2809130 h 6072780"/>
                <a:gd name="connsiteX3109" fmla="*/ 9708224 w 12117871"/>
                <a:gd name="connsiteY3109" fmla="*/ 3032110 h 6072780"/>
                <a:gd name="connsiteX3110" fmla="*/ 9672936 w 12117871"/>
                <a:gd name="connsiteY3110" fmla="*/ 3032110 h 6072780"/>
                <a:gd name="connsiteX3111" fmla="*/ 9672936 w 12117871"/>
                <a:gd name="connsiteY3111" fmla="*/ 2852327 h 6072780"/>
                <a:gd name="connsiteX3112" fmla="*/ 9652327 w 12117871"/>
                <a:gd name="connsiteY3112" fmla="*/ 2863962 h 6072780"/>
                <a:gd name="connsiteX3113" fmla="*/ 9627154 w 12117871"/>
                <a:gd name="connsiteY3113" fmla="*/ 2872404 h 6072780"/>
                <a:gd name="connsiteX3114" fmla="*/ 9627154 w 12117871"/>
                <a:gd name="connsiteY3114" fmla="*/ 2842288 h 6072780"/>
                <a:gd name="connsiteX3115" fmla="*/ 9644189 w 12117871"/>
                <a:gd name="connsiteY3115" fmla="*/ 2836204 h 6072780"/>
                <a:gd name="connsiteX3116" fmla="*/ 9660388 w 12117871"/>
                <a:gd name="connsiteY3116" fmla="*/ 2829055 h 6072780"/>
                <a:gd name="connsiteX3117" fmla="*/ 9676511 w 12117871"/>
                <a:gd name="connsiteY3117" fmla="*/ 2820234 h 6072780"/>
                <a:gd name="connsiteX3118" fmla="*/ 9693318 w 12117871"/>
                <a:gd name="connsiteY3118" fmla="*/ 2809130 h 6072780"/>
                <a:gd name="connsiteX3119" fmla="*/ 9427209 w 12117871"/>
                <a:gd name="connsiteY3119" fmla="*/ 2809130 h 6072780"/>
                <a:gd name="connsiteX3120" fmla="*/ 9442115 w 12117871"/>
                <a:gd name="connsiteY3120" fmla="*/ 2809130 h 6072780"/>
                <a:gd name="connsiteX3121" fmla="*/ 9442115 w 12117871"/>
                <a:gd name="connsiteY3121" fmla="*/ 3032110 h 6072780"/>
                <a:gd name="connsiteX3122" fmla="*/ 9406827 w 12117871"/>
                <a:gd name="connsiteY3122" fmla="*/ 3032110 h 6072780"/>
                <a:gd name="connsiteX3123" fmla="*/ 9406827 w 12117871"/>
                <a:gd name="connsiteY3123" fmla="*/ 2852327 h 6072780"/>
                <a:gd name="connsiteX3124" fmla="*/ 9386218 w 12117871"/>
                <a:gd name="connsiteY3124" fmla="*/ 2863962 h 6072780"/>
                <a:gd name="connsiteX3125" fmla="*/ 9361045 w 12117871"/>
                <a:gd name="connsiteY3125" fmla="*/ 2872404 h 6072780"/>
                <a:gd name="connsiteX3126" fmla="*/ 9361045 w 12117871"/>
                <a:gd name="connsiteY3126" fmla="*/ 2842288 h 6072780"/>
                <a:gd name="connsiteX3127" fmla="*/ 9378080 w 12117871"/>
                <a:gd name="connsiteY3127" fmla="*/ 2836204 h 6072780"/>
                <a:gd name="connsiteX3128" fmla="*/ 9394279 w 12117871"/>
                <a:gd name="connsiteY3128" fmla="*/ 2829055 h 6072780"/>
                <a:gd name="connsiteX3129" fmla="*/ 9410402 w 12117871"/>
                <a:gd name="connsiteY3129" fmla="*/ 2820234 h 6072780"/>
                <a:gd name="connsiteX3130" fmla="*/ 9427209 w 12117871"/>
                <a:gd name="connsiteY3130" fmla="*/ 2809130 h 6072780"/>
                <a:gd name="connsiteX3131" fmla="*/ 8820862 w 12117871"/>
                <a:gd name="connsiteY3131" fmla="*/ 2809130 h 6072780"/>
                <a:gd name="connsiteX3132" fmla="*/ 8835768 w 12117871"/>
                <a:gd name="connsiteY3132" fmla="*/ 2809130 h 6072780"/>
                <a:gd name="connsiteX3133" fmla="*/ 8835768 w 12117871"/>
                <a:gd name="connsiteY3133" fmla="*/ 3032110 h 6072780"/>
                <a:gd name="connsiteX3134" fmla="*/ 8800480 w 12117871"/>
                <a:gd name="connsiteY3134" fmla="*/ 3032110 h 6072780"/>
                <a:gd name="connsiteX3135" fmla="*/ 8800480 w 12117871"/>
                <a:gd name="connsiteY3135" fmla="*/ 2852327 h 6072780"/>
                <a:gd name="connsiteX3136" fmla="*/ 8779871 w 12117871"/>
                <a:gd name="connsiteY3136" fmla="*/ 2863962 h 6072780"/>
                <a:gd name="connsiteX3137" fmla="*/ 8754698 w 12117871"/>
                <a:gd name="connsiteY3137" fmla="*/ 2872404 h 6072780"/>
                <a:gd name="connsiteX3138" fmla="*/ 8754698 w 12117871"/>
                <a:gd name="connsiteY3138" fmla="*/ 2842288 h 6072780"/>
                <a:gd name="connsiteX3139" fmla="*/ 8771733 w 12117871"/>
                <a:gd name="connsiteY3139" fmla="*/ 2836204 h 6072780"/>
                <a:gd name="connsiteX3140" fmla="*/ 8787932 w 12117871"/>
                <a:gd name="connsiteY3140" fmla="*/ 2829055 h 6072780"/>
                <a:gd name="connsiteX3141" fmla="*/ 8804055 w 12117871"/>
                <a:gd name="connsiteY3141" fmla="*/ 2820234 h 6072780"/>
                <a:gd name="connsiteX3142" fmla="*/ 8820862 w 12117871"/>
                <a:gd name="connsiteY3142" fmla="*/ 2809130 h 6072780"/>
                <a:gd name="connsiteX3143" fmla="*/ 8554754 w 12117871"/>
                <a:gd name="connsiteY3143" fmla="*/ 2809130 h 6072780"/>
                <a:gd name="connsiteX3144" fmla="*/ 8569660 w 12117871"/>
                <a:gd name="connsiteY3144" fmla="*/ 2809130 h 6072780"/>
                <a:gd name="connsiteX3145" fmla="*/ 8569660 w 12117871"/>
                <a:gd name="connsiteY3145" fmla="*/ 3032110 h 6072780"/>
                <a:gd name="connsiteX3146" fmla="*/ 8534372 w 12117871"/>
                <a:gd name="connsiteY3146" fmla="*/ 3032110 h 6072780"/>
                <a:gd name="connsiteX3147" fmla="*/ 8534372 w 12117871"/>
                <a:gd name="connsiteY3147" fmla="*/ 2852327 h 6072780"/>
                <a:gd name="connsiteX3148" fmla="*/ 8513763 w 12117871"/>
                <a:gd name="connsiteY3148" fmla="*/ 2863962 h 6072780"/>
                <a:gd name="connsiteX3149" fmla="*/ 8488590 w 12117871"/>
                <a:gd name="connsiteY3149" fmla="*/ 2872404 h 6072780"/>
                <a:gd name="connsiteX3150" fmla="*/ 8488590 w 12117871"/>
                <a:gd name="connsiteY3150" fmla="*/ 2842288 h 6072780"/>
                <a:gd name="connsiteX3151" fmla="*/ 8505625 w 12117871"/>
                <a:gd name="connsiteY3151" fmla="*/ 2836204 h 6072780"/>
                <a:gd name="connsiteX3152" fmla="*/ 8521824 w 12117871"/>
                <a:gd name="connsiteY3152" fmla="*/ 2829055 h 6072780"/>
                <a:gd name="connsiteX3153" fmla="*/ 8537947 w 12117871"/>
                <a:gd name="connsiteY3153" fmla="*/ 2820234 h 6072780"/>
                <a:gd name="connsiteX3154" fmla="*/ 8554754 w 12117871"/>
                <a:gd name="connsiteY3154" fmla="*/ 2809130 h 6072780"/>
                <a:gd name="connsiteX3155" fmla="*/ 8142986 w 12117871"/>
                <a:gd name="connsiteY3155" fmla="*/ 2809130 h 6072780"/>
                <a:gd name="connsiteX3156" fmla="*/ 8157893 w 12117871"/>
                <a:gd name="connsiteY3156" fmla="*/ 2809130 h 6072780"/>
                <a:gd name="connsiteX3157" fmla="*/ 8157893 w 12117871"/>
                <a:gd name="connsiteY3157" fmla="*/ 3032110 h 6072780"/>
                <a:gd name="connsiteX3158" fmla="*/ 8122605 w 12117871"/>
                <a:gd name="connsiteY3158" fmla="*/ 3032110 h 6072780"/>
                <a:gd name="connsiteX3159" fmla="*/ 8122605 w 12117871"/>
                <a:gd name="connsiteY3159" fmla="*/ 2852327 h 6072780"/>
                <a:gd name="connsiteX3160" fmla="*/ 8101995 w 12117871"/>
                <a:gd name="connsiteY3160" fmla="*/ 2863962 h 6072780"/>
                <a:gd name="connsiteX3161" fmla="*/ 8076823 w 12117871"/>
                <a:gd name="connsiteY3161" fmla="*/ 2872404 h 6072780"/>
                <a:gd name="connsiteX3162" fmla="*/ 8076823 w 12117871"/>
                <a:gd name="connsiteY3162" fmla="*/ 2842288 h 6072780"/>
                <a:gd name="connsiteX3163" fmla="*/ 8093858 w 12117871"/>
                <a:gd name="connsiteY3163" fmla="*/ 2836204 h 6072780"/>
                <a:gd name="connsiteX3164" fmla="*/ 8110057 w 12117871"/>
                <a:gd name="connsiteY3164" fmla="*/ 2829055 h 6072780"/>
                <a:gd name="connsiteX3165" fmla="*/ 8126179 w 12117871"/>
                <a:gd name="connsiteY3165" fmla="*/ 2820234 h 6072780"/>
                <a:gd name="connsiteX3166" fmla="*/ 8142986 w 12117871"/>
                <a:gd name="connsiteY3166" fmla="*/ 2809130 h 6072780"/>
                <a:gd name="connsiteX3167" fmla="*/ 8009932 w 12117871"/>
                <a:gd name="connsiteY3167" fmla="*/ 2809130 h 6072780"/>
                <a:gd name="connsiteX3168" fmla="*/ 8024839 w 12117871"/>
                <a:gd name="connsiteY3168" fmla="*/ 2809130 h 6072780"/>
                <a:gd name="connsiteX3169" fmla="*/ 8024839 w 12117871"/>
                <a:gd name="connsiteY3169" fmla="*/ 3032110 h 6072780"/>
                <a:gd name="connsiteX3170" fmla="*/ 7989551 w 12117871"/>
                <a:gd name="connsiteY3170" fmla="*/ 3032110 h 6072780"/>
                <a:gd name="connsiteX3171" fmla="*/ 7989551 w 12117871"/>
                <a:gd name="connsiteY3171" fmla="*/ 2852327 h 6072780"/>
                <a:gd name="connsiteX3172" fmla="*/ 7968941 w 12117871"/>
                <a:gd name="connsiteY3172" fmla="*/ 2863962 h 6072780"/>
                <a:gd name="connsiteX3173" fmla="*/ 7943769 w 12117871"/>
                <a:gd name="connsiteY3173" fmla="*/ 2872404 h 6072780"/>
                <a:gd name="connsiteX3174" fmla="*/ 7943769 w 12117871"/>
                <a:gd name="connsiteY3174" fmla="*/ 2842288 h 6072780"/>
                <a:gd name="connsiteX3175" fmla="*/ 7960804 w 12117871"/>
                <a:gd name="connsiteY3175" fmla="*/ 2836204 h 6072780"/>
                <a:gd name="connsiteX3176" fmla="*/ 7977003 w 12117871"/>
                <a:gd name="connsiteY3176" fmla="*/ 2829055 h 6072780"/>
                <a:gd name="connsiteX3177" fmla="*/ 7993125 w 12117871"/>
                <a:gd name="connsiteY3177" fmla="*/ 2820234 h 6072780"/>
                <a:gd name="connsiteX3178" fmla="*/ 8009932 w 12117871"/>
                <a:gd name="connsiteY3178" fmla="*/ 2809130 h 6072780"/>
                <a:gd name="connsiteX3179" fmla="*/ 7876878 w 12117871"/>
                <a:gd name="connsiteY3179" fmla="*/ 2809130 h 6072780"/>
                <a:gd name="connsiteX3180" fmla="*/ 7891785 w 12117871"/>
                <a:gd name="connsiteY3180" fmla="*/ 2809130 h 6072780"/>
                <a:gd name="connsiteX3181" fmla="*/ 7891785 w 12117871"/>
                <a:gd name="connsiteY3181" fmla="*/ 3032110 h 6072780"/>
                <a:gd name="connsiteX3182" fmla="*/ 7856497 w 12117871"/>
                <a:gd name="connsiteY3182" fmla="*/ 3032110 h 6072780"/>
                <a:gd name="connsiteX3183" fmla="*/ 7856497 w 12117871"/>
                <a:gd name="connsiteY3183" fmla="*/ 2852327 h 6072780"/>
                <a:gd name="connsiteX3184" fmla="*/ 7835887 w 12117871"/>
                <a:gd name="connsiteY3184" fmla="*/ 2863962 h 6072780"/>
                <a:gd name="connsiteX3185" fmla="*/ 7810715 w 12117871"/>
                <a:gd name="connsiteY3185" fmla="*/ 2872404 h 6072780"/>
                <a:gd name="connsiteX3186" fmla="*/ 7810715 w 12117871"/>
                <a:gd name="connsiteY3186" fmla="*/ 2842288 h 6072780"/>
                <a:gd name="connsiteX3187" fmla="*/ 7827750 w 12117871"/>
                <a:gd name="connsiteY3187" fmla="*/ 2836204 h 6072780"/>
                <a:gd name="connsiteX3188" fmla="*/ 7843949 w 12117871"/>
                <a:gd name="connsiteY3188" fmla="*/ 2829055 h 6072780"/>
                <a:gd name="connsiteX3189" fmla="*/ 7860071 w 12117871"/>
                <a:gd name="connsiteY3189" fmla="*/ 2820234 h 6072780"/>
                <a:gd name="connsiteX3190" fmla="*/ 7876878 w 12117871"/>
                <a:gd name="connsiteY3190" fmla="*/ 2809130 h 6072780"/>
                <a:gd name="connsiteX3191" fmla="*/ 7734266 w 12117871"/>
                <a:gd name="connsiteY3191" fmla="*/ 2809130 h 6072780"/>
                <a:gd name="connsiteX3192" fmla="*/ 7749173 w 12117871"/>
                <a:gd name="connsiteY3192" fmla="*/ 2809130 h 6072780"/>
                <a:gd name="connsiteX3193" fmla="*/ 7749173 w 12117871"/>
                <a:gd name="connsiteY3193" fmla="*/ 3032110 h 6072780"/>
                <a:gd name="connsiteX3194" fmla="*/ 7713885 w 12117871"/>
                <a:gd name="connsiteY3194" fmla="*/ 3032110 h 6072780"/>
                <a:gd name="connsiteX3195" fmla="*/ 7713885 w 12117871"/>
                <a:gd name="connsiteY3195" fmla="*/ 2852327 h 6072780"/>
                <a:gd name="connsiteX3196" fmla="*/ 7693275 w 12117871"/>
                <a:gd name="connsiteY3196" fmla="*/ 2863962 h 6072780"/>
                <a:gd name="connsiteX3197" fmla="*/ 7668103 w 12117871"/>
                <a:gd name="connsiteY3197" fmla="*/ 2872404 h 6072780"/>
                <a:gd name="connsiteX3198" fmla="*/ 7668103 w 12117871"/>
                <a:gd name="connsiteY3198" fmla="*/ 2842288 h 6072780"/>
                <a:gd name="connsiteX3199" fmla="*/ 7685138 w 12117871"/>
                <a:gd name="connsiteY3199" fmla="*/ 2836204 h 6072780"/>
                <a:gd name="connsiteX3200" fmla="*/ 7701337 w 12117871"/>
                <a:gd name="connsiteY3200" fmla="*/ 2829055 h 6072780"/>
                <a:gd name="connsiteX3201" fmla="*/ 7717459 w 12117871"/>
                <a:gd name="connsiteY3201" fmla="*/ 2820234 h 6072780"/>
                <a:gd name="connsiteX3202" fmla="*/ 7734266 w 12117871"/>
                <a:gd name="connsiteY3202" fmla="*/ 2809130 h 6072780"/>
                <a:gd name="connsiteX3203" fmla="*/ 6986928 w 12117871"/>
                <a:gd name="connsiteY3203" fmla="*/ 2809130 h 6072780"/>
                <a:gd name="connsiteX3204" fmla="*/ 7001834 w 12117871"/>
                <a:gd name="connsiteY3204" fmla="*/ 2809130 h 6072780"/>
                <a:gd name="connsiteX3205" fmla="*/ 7001834 w 12117871"/>
                <a:gd name="connsiteY3205" fmla="*/ 3032110 h 6072780"/>
                <a:gd name="connsiteX3206" fmla="*/ 6966546 w 12117871"/>
                <a:gd name="connsiteY3206" fmla="*/ 3032110 h 6072780"/>
                <a:gd name="connsiteX3207" fmla="*/ 6966546 w 12117871"/>
                <a:gd name="connsiteY3207" fmla="*/ 2852327 h 6072780"/>
                <a:gd name="connsiteX3208" fmla="*/ 6945937 w 12117871"/>
                <a:gd name="connsiteY3208" fmla="*/ 2863962 h 6072780"/>
                <a:gd name="connsiteX3209" fmla="*/ 6920764 w 12117871"/>
                <a:gd name="connsiteY3209" fmla="*/ 2872404 h 6072780"/>
                <a:gd name="connsiteX3210" fmla="*/ 6920764 w 12117871"/>
                <a:gd name="connsiteY3210" fmla="*/ 2842288 h 6072780"/>
                <a:gd name="connsiteX3211" fmla="*/ 6937799 w 12117871"/>
                <a:gd name="connsiteY3211" fmla="*/ 2836204 h 6072780"/>
                <a:gd name="connsiteX3212" fmla="*/ 6953998 w 12117871"/>
                <a:gd name="connsiteY3212" fmla="*/ 2829055 h 6072780"/>
                <a:gd name="connsiteX3213" fmla="*/ 6970121 w 12117871"/>
                <a:gd name="connsiteY3213" fmla="*/ 2820234 h 6072780"/>
                <a:gd name="connsiteX3214" fmla="*/ 6986928 w 12117871"/>
                <a:gd name="connsiteY3214" fmla="*/ 2809130 h 6072780"/>
                <a:gd name="connsiteX3215" fmla="*/ 6842802 w 12117871"/>
                <a:gd name="connsiteY3215" fmla="*/ 2809130 h 6072780"/>
                <a:gd name="connsiteX3216" fmla="*/ 6857708 w 12117871"/>
                <a:gd name="connsiteY3216" fmla="*/ 2809130 h 6072780"/>
                <a:gd name="connsiteX3217" fmla="*/ 6857708 w 12117871"/>
                <a:gd name="connsiteY3217" fmla="*/ 3032110 h 6072780"/>
                <a:gd name="connsiteX3218" fmla="*/ 6822420 w 12117871"/>
                <a:gd name="connsiteY3218" fmla="*/ 3032110 h 6072780"/>
                <a:gd name="connsiteX3219" fmla="*/ 6822420 w 12117871"/>
                <a:gd name="connsiteY3219" fmla="*/ 2852327 h 6072780"/>
                <a:gd name="connsiteX3220" fmla="*/ 6801811 w 12117871"/>
                <a:gd name="connsiteY3220" fmla="*/ 2863962 h 6072780"/>
                <a:gd name="connsiteX3221" fmla="*/ 6776638 w 12117871"/>
                <a:gd name="connsiteY3221" fmla="*/ 2872404 h 6072780"/>
                <a:gd name="connsiteX3222" fmla="*/ 6776638 w 12117871"/>
                <a:gd name="connsiteY3222" fmla="*/ 2842288 h 6072780"/>
                <a:gd name="connsiteX3223" fmla="*/ 6793673 w 12117871"/>
                <a:gd name="connsiteY3223" fmla="*/ 2836204 h 6072780"/>
                <a:gd name="connsiteX3224" fmla="*/ 6809872 w 12117871"/>
                <a:gd name="connsiteY3224" fmla="*/ 2829055 h 6072780"/>
                <a:gd name="connsiteX3225" fmla="*/ 6825995 w 12117871"/>
                <a:gd name="connsiteY3225" fmla="*/ 2820234 h 6072780"/>
                <a:gd name="connsiteX3226" fmla="*/ 6842802 w 12117871"/>
                <a:gd name="connsiteY3226" fmla="*/ 2809130 h 6072780"/>
                <a:gd name="connsiteX3227" fmla="*/ 5862574 w 12117871"/>
                <a:gd name="connsiteY3227" fmla="*/ 2809130 h 6072780"/>
                <a:gd name="connsiteX3228" fmla="*/ 5877481 w 12117871"/>
                <a:gd name="connsiteY3228" fmla="*/ 2809130 h 6072780"/>
                <a:gd name="connsiteX3229" fmla="*/ 5877481 w 12117871"/>
                <a:gd name="connsiteY3229" fmla="*/ 3032110 h 6072780"/>
                <a:gd name="connsiteX3230" fmla="*/ 5842193 w 12117871"/>
                <a:gd name="connsiteY3230" fmla="*/ 3032110 h 6072780"/>
                <a:gd name="connsiteX3231" fmla="*/ 5842193 w 12117871"/>
                <a:gd name="connsiteY3231" fmla="*/ 2852327 h 6072780"/>
                <a:gd name="connsiteX3232" fmla="*/ 5821582 w 12117871"/>
                <a:gd name="connsiteY3232" fmla="*/ 2863962 h 6072780"/>
                <a:gd name="connsiteX3233" fmla="*/ 5796410 w 12117871"/>
                <a:gd name="connsiteY3233" fmla="*/ 2872404 h 6072780"/>
                <a:gd name="connsiteX3234" fmla="*/ 5796410 w 12117871"/>
                <a:gd name="connsiteY3234" fmla="*/ 2842288 h 6072780"/>
                <a:gd name="connsiteX3235" fmla="*/ 5813446 w 12117871"/>
                <a:gd name="connsiteY3235" fmla="*/ 2836204 h 6072780"/>
                <a:gd name="connsiteX3236" fmla="*/ 5829644 w 12117871"/>
                <a:gd name="connsiteY3236" fmla="*/ 2829055 h 6072780"/>
                <a:gd name="connsiteX3237" fmla="*/ 5845767 w 12117871"/>
                <a:gd name="connsiteY3237" fmla="*/ 2820234 h 6072780"/>
                <a:gd name="connsiteX3238" fmla="*/ 5862574 w 12117871"/>
                <a:gd name="connsiteY3238" fmla="*/ 2809130 h 6072780"/>
                <a:gd name="connsiteX3239" fmla="*/ 5479705 w 12117871"/>
                <a:gd name="connsiteY3239" fmla="*/ 2809130 h 6072780"/>
                <a:gd name="connsiteX3240" fmla="*/ 5494614 w 12117871"/>
                <a:gd name="connsiteY3240" fmla="*/ 2809130 h 6072780"/>
                <a:gd name="connsiteX3241" fmla="*/ 5494614 w 12117871"/>
                <a:gd name="connsiteY3241" fmla="*/ 3032110 h 6072780"/>
                <a:gd name="connsiteX3242" fmla="*/ 5459325 w 12117871"/>
                <a:gd name="connsiteY3242" fmla="*/ 3032110 h 6072780"/>
                <a:gd name="connsiteX3243" fmla="*/ 5459325 w 12117871"/>
                <a:gd name="connsiteY3243" fmla="*/ 2852327 h 6072780"/>
                <a:gd name="connsiteX3244" fmla="*/ 5438715 w 12117871"/>
                <a:gd name="connsiteY3244" fmla="*/ 2863962 h 6072780"/>
                <a:gd name="connsiteX3245" fmla="*/ 5413543 w 12117871"/>
                <a:gd name="connsiteY3245" fmla="*/ 2872404 h 6072780"/>
                <a:gd name="connsiteX3246" fmla="*/ 5413543 w 12117871"/>
                <a:gd name="connsiteY3246" fmla="*/ 2842288 h 6072780"/>
                <a:gd name="connsiteX3247" fmla="*/ 5430578 w 12117871"/>
                <a:gd name="connsiteY3247" fmla="*/ 2836204 h 6072780"/>
                <a:gd name="connsiteX3248" fmla="*/ 5446777 w 12117871"/>
                <a:gd name="connsiteY3248" fmla="*/ 2829055 h 6072780"/>
                <a:gd name="connsiteX3249" fmla="*/ 5462899 w 12117871"/>
                <a:gd name="connsiteY3249" fmla="*/ 2820234 h 6072780"/>
                <a:gd name="connsiteX3250" fmla="*/ 5479705 w 12117871"/>
                <a:gd name="connsiteY3250" fmla="*/ 2809130 h 6072780"/>
                <a:gd name="connsiteX3251" fmla="*/ 5335580 w 12117871"/>
                <a:gd name="connsiteY3251" fmla="*/ 2809130 h 6072780"/>
                <a:gd name="connsiteX3252" fmla="*/ 5350487 w 12117871"/>
                <a:gd name="connsiteY3252" fmla="*/ 2809130 h 6072780"/>
                <a:gd name="connsiteX3253" fmla="*/ 5350487 w 12117871"/>
                <a:gd name="connsiteY3253" fmla="*/ 3032110 h 6072780"/>
                <a:gd name="connsiteX3254" fmla="*/ 5315200 w 12117871"/>
                <a:gd name="connsiteY3254" fmla="*/ 3032110 h 6072780"/>
                <a:gd name="connsiteX3255" fmla="*/ 5315200 w 12117871"/>
                <a:gd name="connsiteY3255" fmla="*/ 2852327 h 6072780"/>
                <a:gd name="connsiteX3256" fmla="*/ 5294589 w 12117871"/>
                <a:gd name="connsiteY3256" fmla="*/ 2863962 h 6072780"/>
                <a:gd name="connsiteX3257" fmla="*/ 5269417 w 12117871"/>
                <a:gd name="connsiteY3257" fmla="*/ 2872404 h 6072780"/>
                <a:gd name="connsiteX3258" fmla="*/ 5269417 w 12117871"/>
                <a:gd name="connsiteY3258" fmla="*/ 2842288 h 6072780"/>
                <a:gd name="connsiteX3259" fmla="*/ 5286452 w 12117871"/>
                <a:gd name="connsiteY3259" fmla="*/ 2836204 h 6072780"/>
                <a:gd name="connsiteX3260" fmla="*/ 5302652 w 12117871"/>
                <a:gd name="connsiteY3260" fmla="*/ 2829055 h 6072780"/>
                <a:gd name="connsiteX3261" fmla="*/ 5318773 w 12117871"/>
                <a:gd name="connsiteY3261" fmla="*/ 2820234 h 6072780"/>
                <a:gd name="connsiteX3262" fmla="*/ 5335580 w 12117871"/>
                <a:gd name="connsiteY3262" fmla="*/ 2809130 h 6072780"/>
                <a:gd name="connsiteX3263" fmla="*/ 5191455 w 12117871"/>
                <a:gd name="connsiteY3263" fmla="*/ 2809130 h 6072780"/>
                <a:gd name="connsiteX3264" fmla="*/ 5206362 w 12117871"/>
                <a:gd name="connsiteY3264" fmla="*/ 2809130 h 6072780"/>
                <a:gd name="connsiteX3265" fmla="*/ 5206362 w 12117871"/>
                <a:gd name="connsiteY3265" fmla="*/ 3032110 h 6072780"/>
                <a:gd name="connsiteX3266" fmla="*/ 5171074 w 12117871"/>
                <a:gd name="connsiteY3266" fmla="*/ 3032110 h 6072780"/>
                <a:gd name="connsiteX3267" fmla="*/ 5171074 w 12117871"/>
                <a:gd name="connsiteY3267" fmla="*/ 2852327 h 6072780"/>
                <a:gd name="connsiteX3268" fmla="*/ 5150464 w 12117871"/>
                <a:gd name="connsiteY3268" fmla="*/ 2863962 h 6072780"/>
                <a:gd name="connsiteX3269" fmla="*/ 5125292 w 12117871"/>
                <a:gd name="connsiteY3269" fmla="*/ 2872404 h 6072780"/>
                <a:gd name="connsiteX3270" fmla="*/ 5125292 w 12117871"/>
                <a:gd name="connsiteY3270" fmla="*/ 2842288 h 6072780"/>
                <a:gd name="connsiteX3271" fmla="*/ 5142326 w 12117871"/>
                <a:gd name="connsiteY3271" fmla="*/ 2836204 h 6072780"/>
                <a:gd name="connsiteX3272" fmla="*/ 5158526 w 12117871"/>
                <a:gd name="connsiteY3272" fmla="*/ 2829055 h 6072780"/>
                <a:gd name="connsiteX3273" fmla="*/ 5174648 w 12117871"/>
                <a:gd name="connsiteY3273" fmla="*/ 2820234 h 6072780"/>
                <a:gd name="connsiteX3274" fmla="*/ 5191455 w 12117871"/>
                <a:gd name="connsiteY3274" fmla="*/ 2809130 h 6072780"/>
                <a:gd name="connsiteX3275" fmla="*/ 5047330 w 12117871"/>
                <a:gd name="connsiteY3275" fmla="*/ 2809130 h 6072780"/>
                <a:gd name="connsiteX3276" fmla="*/ 5062237 w 12117871"/>
                <a:gd name="connsiteY3276" fmla="*/ 2809130 h 6072780"/>
                <a:gd name="connsiteX3277" fmla="*/ 5062237 w 12117871"/>
                <a:gd name="connsiteY3277" fmla="*/ 3032110 h 6072780"/>
                <a:gd name="connsiteX3278" fmla="*/ 5026949 w 12117871"/>
                <a:gd name="connsiteY3278" fmla="*/ 3032110 h 6072780"/>
                <a:gd name="connsiteX3279" fmla="*/ 5026949 w 12117871"/>
                <a:gd name="connsiteY3279" fmla="*/ 2852327 h 6072780"/>
                <a:gd name="connsiteX3280" fmla="*/ 5006339 w 12117871"/>
                <a:gd name="connsiteY3280" fmla="*/ 2863962 h 6072780"/>
                <a:gd name="connsiteX3281" fmla="*/ 4981168 w 12117871"/>
                <a:gd name="connsiteY3281" fmla="*/ 2872404 h 6072780"/>
                <a:gd name="connsiteX3282" fmla="*/ 4981168 w 12117871"/>
                <a:gd name="connsiteY3282" fmla="*/ 2842288 h 6072780"/>
                <a:gd name="connsiteX3283" fmla="*/ 4998201 w 12117871"/>
                <a:gd name="connsiteY3283" fmla="*/ 2836204 h 6072780"/>
                <a:gd name="connsiteX3284" fmla="*/ 5014401 w 12117871"/>
                <a:gd name="connsiteY3284" fmla="*/ 2829055 h 6072780"/>
                <a:gd name="connsiteX3285" fmla="*/ 5030524 w 12117871"/>
                <a:gd name="connsiteY3285" fmla="*/ 2820234 h 6072780"/>
                <a:gd name="connsiteX3286" fmla="*/ 5047330 w 12117871"/>
                <a:gd name="connsiteY3286" fmla="*/ 2809130 h 6072780"/>
                <a:gd name="connsiteX3287" fmla="*/ 4903206 w 12117871"/>
                <a:gd name="connsiteY3287" fmla="*/ 2809130 h 6072780"/>
                <a:gd name="connsiteX3288" fmla="*/ 4918113 w 12117871"/>
                <a:gd name="connsiteY3288" fmla="*/ 2809130 h 6072780"/>
                <a:gd name="connsiteX3289" fmla="*/ 4918113 w 12117871"/>
                <a:gd name="connsiteY3289" fmla="*/ 3032110 h 6072780"/>
                <a:gd name="connsiteX3290" fmla="*/ 4882824 w 12117871"/>
                <a:gd name="connsiteY3290" fmla="*/ 3032110 h 6072780"/>
                <a:gd name="connsiteX3291" fmla="*/ 4882824 w 12117871"/>
                <a:gd name="connsiteY3291" fmla="*/ 2852327 h 6072780"/>
                <a:gd name="connsiteX3292" fmla="*/ 4862214 w 12117871"/>
                <a:gd name="connsiteY3292" fmla="*/ 2863962 h 6072780"/>
                <a:gd name="connsiteX3293" fmla="*/ 4837041 w 12117871"/>
                <a:gd name="connsiteY3293" fmla="*/ 2872404 h 6072780"/>
                <a:gd name="connsiteX3294" fmla="*/ 4837041 w 12117871"/>
                <a:gd name="connsiteY3294" fmla="*/ 2842288 h 6072780"/>
                <a:gd name="connsiteX3295" fmla="*/ 4854077 w 12117871"/>
                <a:gd name="connsiteY3295" fmla="*/ 2836204 h 6072780"/>
                <a:gd name="connsiteX3296" fmla="*/ 4870276 w 12117871"/>
                <a:gd name="connsiteY3296" fmla="*/ 2829055 h 6072780"/>
                <a:gd name="connsiteX3297" fmla="*/ 4886398 w 12117871"/>
                <a:gd name="connsiteY3297" fmla="*/ 2820234 h 6072780"/>
                <a:gd name="connsiteX3298" fmla="*/ 4903206 w 12117871"/>
                <a:gd name="connsiteY3298" fmla="*/ 2809130 h 6072780"/>
                <a:gd name="connsiteX3299" fmla="*/ 4514973 w 12117871"/>
                <a:gd name="connsiteY3299" fmla="*/ 2809130 h 6072780"/>
                <a:gd name="connsiteX3300" fmla="*/ 4529879 w 12117871"/>
                <a:gd name="connsiteY3300" fmla="*/ 2809130 h 6072780"/>
                <a:gd name="connsiteX3301" fmla="*/ 4529879 w 12117871"/>
                <a:gd name="connsiteY3301" fmla="*/ 3032110 h 6072780"/>
                <a:gd name="connsiteX3302" fmla="*/ 4494591 w 12117871"/>
                <a:gd name="connsiteY3302" fmla="*/ 3032110 h 6072780"/>
                <a:gd name="connsiteX3303" fmla="*/ 4494591 w 12117871"/>
                <a:gd name="connsiteY3303" fmla="*/ 2852327 h 6072780"/>
                <a:gd name="connsiteX3304" fmla="*/ 4473982 w 12117871"/>
                <a:gd name="connsiteY3304" fmla="*/ 2863962 h 6072780"/>
                <a:gd name="connsiteX3305" fmla="*/ 4448809 w 12117871"/>
                <a:gd name="connsiteY3305" fmla="*/ 2872404 h 6072780"/>
                <a:gd name="connsiteX3306" fmla="*/ 4448809 w 12117871"/>
                <a:gd name="connsiteY3306" fmla="*/ 2842288 h 6072780"/>
                <a:gd name="connsiteX3307" fmla="*/ 4465844 w 12117871"/>
                <a:gd name="connsiteY3307" fmla="*/ 2836204 h 6072780"/>
                <a:gd name="connsiteX3308" fmla="*/ 4482043 w 12117871"/>
                <a:gd name="connsiteY3308" fmla="*/ 2829055 h 6072780"/>
                <a:gd name="connsiteX3309" fmla="*/ 4498166 w 12117871"/>
                <a:gd name="connsiteY3309" fmla="*/ 2820234 h 6072780"/>
                <a:gd name="connsiteX3310" fmla="*/ 4514973 w 12117871"/>
                <a:gd name="connsiteY3310" fmla="*/ 2809130 h 6072780"/>
                <a:gd name="connsiteX3311" fmla="*/ 4248864 w 12117871"/>
                <a:gd name="connsiteY3311" fmla="*/ 2809130 h 6072780"/>
                <a:gd name="connsiteX3312" fmla="*/ 4263771 w 12117871"/>
                <a:gd name="connsiteY3312" fmla="*/ 2809130 h 6072780"/>
                <a:gd name="connsiteX3313" fmla="*/ 4263771 w 12117871"/>
                <a:gd name="connsiteY3313" fmla="*/ 3032110 h 6072780"/>
                <a:gd name="connsiteX3314" fmla="*/ 4228483 w 12117871"/>
                <a:gd name="connsiteY3314" fmla="*/ 3032110 h 6072780"/>
                <a:gd name="connsiteX3315" fmla="*/ 4228483 w 12117871"/>
                <a:gd name="connsiteY3315" fmla="*/ 2852327 h 6072780"/>
                <a:gd name="connsiteX3316" fmla="*/ 4207874 w 12117871"/>
                <a:gd name="connsiteY3316" fmla="*/ 2863962 h 6072780"/>
                <a:gd name="connsiteX3317" fmla="*/ 4182701 w 12117871"/>
                <a:gd name="connsiteY3317" fmla="*/ 2872404 h 6072780"/>
                <a:gd name="connsiteX3318" fmla="*/ 4182701 w 12117871"/>
                <a:gd name="connsiteY3318" fmla="*/ 2842288 h 6072780"/>
                <a:gd name="connsiteX3319" fmla="*/ 4199736 w 12117871"/>
                <a:gd name="connsiteY3319" fmla="*/ 2836204 h 6072780"/>
                <a:gd name="connsiteX3320" fmla="*/ 4215934 w 12117871"/>
                <a:gd name="connsiteY3320" fmla="*/ 2829055 h 6072780"/>
                <a:gd name="connsiteX3321" fmla="*/ 4232057 w 12117871"/>
                <a:gd name="connsiteY3321" fmla="*/ 2820234 h 6072780"/>
                <a:gd name="connsiteX3322" fmla="*/ 4248864 w 12117871"/>
                <a:gd name="connsiteY3322" fmla="*/ 2809130 h 6072780"/>
                <a:gd name="connsiteX3323" fmla="*/ 3637267 w 12117871"/>
                <a:gd name="connsiteY3323" fmla="*/ 2809130 h 6072780"/>
                <a:gd name="connsiteX3324" fmla="*/ 3652173 w 12117871"/>
                <a:gd name="connsiteY3324" fmla="*/ 2809130 h 6072780"/>
                <a:gd name="connsiteX3325" fmla="*/ 3652173 w 12117871"/>
                <a:gd name="connsiteY3325" fmla="*/ 3032110 h 6072780"/>
                <a:gd name="connsiteX3326" fmla="*/ 3616885 w 12117871"/>
                <a:gd name="connsiteY3326" fmla="*/ 3032110 h 6072780"/>
                <a:gd name="connsiteX3327" fmla="*/ 3616885 w 12117871"/>
                <a:gd name="connsiteY3327" fmla="*/ 2852327 h 6072780"/>
                <a:gd name="connsiteX3328" fmla="*/ 3596276 w 12117871"/>
                <a:gd name="connsiteY3328" fmla="*/ 2863962 h 6072780"/>
                <a:gd name="connsiteX3329" fmla="*/ 3571102 w 12117871"/>
                <a:gd name="connsiteY3329" fmla="*/ 2872404 h 6072780"/>
                <a:gd name="connsiteX3330" fmla="*/ 3571102 w 12117871"/>
                <a:gd name="connsiteY3330" fmla="*/ 2842288 h 6072780"/>
                <a:gd name="connsiteX3331" fmla="*/ 3588139 w 12117871"/>
                <a:gd name="connsiteY3331" fmla="*/ 2836204 h 6072780"/>
                <a:gd name="connsiteX3332" fmla="*/ 3604337 w 12117871"/>
                <a:gd name="connsiteY3332" fmla="*/ 2829055 h 6072780"/>
                <a:gd name="connsiteX3333" fmla="*/ 3620459 w 12117871"/>
                <a:gd name="connsiteY3333" fmla="*/ 2820234 h 6072780"/>
                <a:gd name="connsiteX3334" fmla="*/ 3637267 w 12117871"/>
                <a:gd name="connsiteY3334" fmla="*/ 2809130 h 6072780"/>
                <a:gd name="connsiteX3335" fmla="*/ 3371159 w 12117871"/>
                <a:gd name="connsiteY3335" fmla="*/ 2809130 h 6072780"/>
                <a:gd name="connsiteX3336" fmla="*/ 3386065 w 12117871"/>
                <a:gd name="connsiteY3336" fmla="*/ 2809130 h 6072780"/>
                <a:gd name="connsiteX3337" fmla="*/ 3386065 w 12117871"/>
                <a:gd name="connsiteY3337" fmla="*/ 3032110 h 6072780"/>
                <a:gd name="connsiteX3338" fmla="*/ 3350777 w 12117871"/>
                <a:gd name="connsiteY3338" fmla="*/ 3032110 h 6072780"/>
                <a:gd name="connsiteX3339" fmla="*/ 3350777 w 12117871"/>
                <a:gd name="connsiteY3339" fmla="*/ 2852327 h 6072780"/>
                <a:gd name="connsiteX3340" fmla="*/ 3330168 w 12117871"/>
                <a:gd name="connsiteY3340" fmla="*/ 2863962 h 6072780"/>
                <a:gd name="connsiteX3341" fmla="*/ 3304995 w 12117871"/>
                <a:gd name="connsiteY3341" fmla="*/ 2872404 h 6072780"/>
                <a:gd name="connsiteX3342" fmla="*/ 3304995 w 12117871"/>
                <a:gd name="connsiteY3342" fmla="*/ 2842288 h 6072780"/>
                <a:gd name="connsiteX3343" fmla="*/ 3322030 w 12117871"/>
                <a:gd name="connsiteY3343" fmla="*/ 2836204 h 6072780"/>
                <a:gd name="connsiteX3344" fmla="*/ 3338229 w 12117871"/>
                <a:gd name="connsiteY3344" fmla="*/ 2829055 h 6072780"/>
                <a:gd name="connsiteX3345" fmla="*/ 3354351 w 12117871"/>
                <a:gd name="connsiteY3345" fmla="*/ 2820234 h 6072780"/>
                <a:gd name="connsiteX3346" fmla="*/ 3371159 w 12117871"/>
                <a:gd name="connsiteY3346" fmla="*/ 2809130 h 6072780"/>
                <a:gd name="connsiteX3347" fmla="*/ 2764812 w 12117871"/>
                <a:gd name="connsiteY3347" fmla="*/ 2809130 h 6072780"/>
                <a:gd name="connsiteX3348" fmla="*/ 2779718 w 12117871"/>
                <a:gd name="connsiteY3348" fmla="*/ 2809130 h 6072780"/>
                <a:gd name="connsiteX3349" fmla="*/ 2779718 w 12117871"/>
                <a:gd name="connsiteY3349" fmla="*/ 3032110 h 6072780"/>
                <a:gd name="connsiteX3350" fmla="*/ 2744430 w 12117871"/>
                <a:gd name="connsiteY3350" fmla="*/ 3032110 h 6072780"/>
                <a:gd name="connsiteX3351" fmla="*/ 2744430 w 12117871"/>
                <a:gd name="connsiteY3351" fmla="*/ 2852327 h 6072780"/>
                <a:gd name="connsiteX3352" fmla="*/ 2723821 w 12117871"/>
                <a:gd name="connsiteY3352" fmla="*/ 2863962 h 6072780"/>
                <a:gd name="connsiteX3353" fmla="*/ 2698648 w 12117871"/>
                <a:gd name="connsiteY3353" fmla="*/ 2872404 h 6072780"/>
                <a:gd name="connsiteX3354" fmla="*/ 2698648 w 12117871"/>
                <a:gd name="connsiteY3354" fmla="*/ 2842288 h 6072780"/>
                <a:gd name="connsiteX3355" fmla="*/ 2715683 w 12117871"/>
                <a:gd name="connsiteY3355" fmla="*/ 2836204 h 6072780"/>
                <a:gd name="connsiteX3356" fmla="*/ 2731882 w 12117871"/>
                <a:gd name="connsiteY3356" fmla="*/ 2829055 h 6072780"/>
                <a:gd name="connsiteX3357" fmla="*/ 2748004 w 12117871"/>
                <a:gd name="connsiteY3357" fmla="*/ 2820234 h 6072780"/>
                <a:gd name="connsiteX3358" fmla="*/ 2764812 w 12117871"/>
                <a:gd name="connsiteY3358" fmla="*/ 2809130 h 6072780"/>
                <a:gd name="connsiteX3359" fmla="*/ 2498704 w 12117871"/>
                <a:gd name="connsiteY3359" fmla="*/ 2809130 h 6072780"/>
                <a:gd name="connsiteX3360" fmla="*/ 2513610 w 12117871"/>
                <a:gd name="connsiteY3360" fmla="*/ 2809130 h 6072780"/>
                <a:gd name="connsiteX3361" fmla="*/ 2513610 w 12117871"/>
                <a:gd name="connsiteY3361" fmla="*/ 3032110 h 6072780"/>
                <a:gd name="connsiteX3362" fmla="*/ 2478322 w 12117871"/>
                <a:gd name="connsiteY3362" fmla="*/ 3032110 h 6072780"/>
                <a:gd name="connsiteX3363" fmla="*/ 2478322 w 12117871"/>
                <a:gd name="connsiteY3363" fmla="*/ 2852327 h 6072780"/>
                <a:gd name="connsiteX3364" fmla="*/ 2457713 w 12117871"/>
                <a:gd name="connsiteY3364" fmla="*/ 2863962 h 6072780"/>
                <a:gd name="connsiteX3365" fmla="*/ 2432540 w 12117871"/>
                <a:gd name="connsiteY3365" fmla="*/ 2872404 h 6072780"/>
                <a:gd name="connsiteX3366" fmla="*/ 2432540 w 12117871"/>
                <a:gd name="connsiteY3366" fmla="*/ 2842288 h 6072780"/>
                <a:gd name="connsiteX3367" fmla="*/ 2449575 w 12117871"/>
                <a:gd name="connsiteY3367" fmla="*/ 2836204 h 6072780"/>
                <a:gd name="connsiteX3368" fmla="*/ 2465774 w 12117871"/>
                <a:gd name="connsiteY3368" fmla="*/ 2829055 h 6072780"/>
                <a:gd name="connsiteX3369" fmla="*/ 2481896 w 12117871"/>
                <a:gd name="connsiteY3369" fmla="*/ 2820234 h 6072780"/>
                <a:gd name="connsiteX3370" fmla="*/ 2498704 w 12117871"/>
                <a:gd name="connsiteY3370" fmla="*/ 2809130 h 6072780"/>
                <a:gd name="connsiteX3371" fmla="*/ 2086937 w 12117871"/>
                <a:gd name="connsiteY3371" fmla="*/ 2809130 h 6072780"/>
                <a:gd name="connsiteX3372" fmla="*/ 2101843 w 12117871"/>
                <a:gd name="connsiteY3372" fmla="*/ 2809130 h 6072780"/>
                <a:gd name="connsiteX3373" fmla="*/ 2101843 w 12117871"/>
                <a:gd name="connsiteY3373" fmla="*/ 3032110 h 6072780"/>
                <a:gd name="connsiteX3374" fmla="*/ 2066555 w 12117871"/>
                <a:gd name="connsiteY3374" fmla="*/ 3032110 h 6072780"/>
                <a:gd name="connsiteX3375" fmla="*/ 2066555 w 12117871"/>
                <a:gd name="connsiteY3375" fmla="*/ 2852327 h 6072780"/>
                <a:gd name="connsiteX3376" fmla="*/ 2045946 w 12117871"/>
                <a:gd name="connsiteY3376" fmla="*/ 2863962 h 6072780"/>
                <a:gd name="connsiteX3377" fmla="*/ 2020773 w 12117871"/>
                <a:gd name="connsiteY3377" fmla="*/ 2872404 h 6072780"/>
                <a:gd name="connsiteX3378" fmla="*/ 2020773 w 12117871"/>
                <a:gd name="connsiteY3378" fmla="*/ 2842288 h 6072780"/>
                <a:gd name="connsiteX3379" fmla="*/ 2037808 w 12117871"/>
                <a:gd name="connsiteY3379" fmla="*/ 2836204 h 6072780"/>
                <a:gd name="connsiteX3380" fmla="*/ 2054007 w 12117871"/>
                <a:gd name="connsiteY3380" fmla="*/ 2829055 h 6072780"/>
                <a:gd name="connsiteX3381" fmla="*/ 2070129 w 12117871"/>
                <a:gd name="connsiteY3381" fmla="*/ 2820234 h 6072780"/>
                <a:gd name="connsiteX3382" fmla="*/ 2086937 w 12117871"/>
                <a:gd name="connsiteY3382" fmla="*/ 2809130 h 6072780"/>
                <a:gd name="connsiteX3383" fmla="*/ 1953883 w 12117871"/>
                <a:gd name="connsiteY3383" fmla="*/ 2809130 h 6072780"/>
                <a:gd name="connsiteX3384" fmla="*/ 1968789 w 12117871"/>
                <a:gd name="connsiteY3384" fmla="*/ 2809130 h 6072780"/>
                <a:gd name="connsiteX3385" fmla="*/ 1968789 w 12117871"/>
                <a:gd name="connsiteY3385" fmla="*/ 3032110 h 6072780"/>
                <a:gd name="connsiteX3386" fmla="*/ 1933501 w 12117871"/>
                <a:gd name="connsiteY3386" fmla="*/ 3032110 h 6072780"/>
                <a:gd name="connsiteX3387" fmla="*/ 1933501 w 12117871"/>
                <a:gd name="connsiteY3387" fmla="*/ 2852327 h 6072780"/>
                <a:gd name="connsiteX3388" fmla="*/ 1912892 w 12117871"/>
                <a:gd name="connsiteY3388" fmla="*/ 2863962 h 6072780"/>
                <a:gd name="connsiteX3389" fmla="*/ 1887719 w 12117871"/>
                <a:gd name="connsiteY3389" fmla="*/ 2872404 h 6072780"/>
                <a:gd name="connsiteX3390" fmla="*/ 1887719 w 12117871"/>
                <a:gd name="connsiteY3390" fmla="*/ 2842288 h 6072780"/>
                <a:gd name="connsiteX3391" fmla="*/ 1904754 w 12117871"/>
                <a:gd name="connsiteY3391" fmla="*/ 2836204 h 6072780"/>
                <a:gd name="connsiteX3392" fmla="*/ 1920953 w 12117871"/>
                <a:gd name="connsiteY3392" fmla="*/ 2829055 h 6072780"/>
                <a:gd name="connsiteX3393" fmla="*/ 1937075 w 12117871"/>
                <a:gd name="connsiteY3393" fmla="*/ 2820234 h 6072780"/>
                <a:gd name="connsiteX3394" fmla="*/ 1953883 w 12117871"/>
                <a:gd name="connsiteY3394" fmla="*/ 2809130 h 6072780"/>
                <a:gd name="connsiteX3395" fmla="*/ 1820829 w 12117871"/>
                <a:gd name="connsiteY3395" fmla="*/ 2809130 h 6072780"/>
                <a:gd name="connsiteX3396" fmla="*/ 1835735 w 12117871"/>
                <a:gd name="connsiteY3396" fmla="*/ 2809130 h 6072780"/>
                <a:gd name="connsiteX3397" fmla="*/ 1835735 w 12117871"/>
                <a:gd name="connsiteY3397" fmla="*/ 3032110 h 6072780"/>
                <a:gd name="connsiteX3398" fmla="*/ 1800447 w 12117871"/>
                <a:gd name="connsiteY3398" fmla="*/ 3032110 h 6072780"/>
                <a:gd name="connsiteX3399" fmla="*/ 1800447 w 12117871"/>
                <a:gd name="connsiteY3399" fmla="*/ 2852327 h 6072780"/>
                <a:gd name="connsiteX3400" fmla="*/ 1779838 w 12117871"/>
                <a:gd name="connsiteY3400" fmla="*/ 2863962 h 6072780"/>
                <a:gd name="connsiteX3401" fmla="*/ 1754665 w 12117871"/>
                <a:gd name="connsiteY3401" fmla="*/ 2872404 h 6072780"/>
                <a:gd name="connsiteX3402" fmla="*/ 1754665 w 12117871"/>
                <a:gd name="connsiteY3402" fmla="*/ 2842288 h 6072780"/>
                <a:gd name="connsiteX3403" fmla="*/ 1771700 w 12117871"/>
                <a:gd name="connsiteY3403" fmla="*/ 2836204 h 6072780"/>
                <a:gd name="connsiteX3404" fmla="*/ 1787899 w 12117871"/>
                <a:gd name="connsiteY3404" fmla="*/ 2829055 h 6072780"/>
                <a:gd name="connsiteX3405" fmla="*/ 1804022 w 12117871"/>
                <a:gd name="connsiteY3405" fmla="*/ 2820234 h 6072780"/>
                <a:gd name="connsiteX3406" fmla="*/ 1820829 w 12117871"/>
                <a:gd name="connsiteY3406" fmla="*/ 2809130 h 6072780"/>
                <a:gd name="connsiteX3407" fmla="*/ 1678217 w 12117871"/>
                <a:gd name="connsiteY3407" fmla="*/ 2809130 h 6072780"/>
                <a:gd name="connsiteX3408" fmla="*/ 1693123 w 12117871"/>
                <a:gd name="connsiteY3408" fmla="*/ 2809130 h 6072780"/>
                <a:gd name="connsiteX3409" fmla="*/ 1693123 w 12117871"/>
                <a:gd name="connsiteY3409" fmla="*/ 3032110 h 6072780"/>
                <a:gd name="connsiteX3410" fmla="*/ 1657835 w 12117871"/>
                <a:gd name="connsiteY3410" fmla="*/ 3032110 h 6072780"/>
                <a:gd name="connsiteX3411" fmla="*/ 1657835 w 12117871"/>
                <a:gd name="connsiteY3411" fmla="*/ 2852327 h 6072780"/>
                <a:gd name="connsiteX3412" fmla="*/ 1637226 w 12117871"/>
                <a:gd name="connsiteY3412" fmla="*/ 2863962 h 6072780"/>
                <a:gd name="connsiteX3413" fmla="*/ 1612053 w 12117871"/>
                <a:gd name="connsiteY3413" fmla="*/ 2872404 h 6072780"/>
                <a:gd name="connsiteX3414" fmla="*/ 1612053 w 12117871"/>
                <a:gd name="connsiteY3414" fmla="*/ 2842288 h 6072780"/>
                <a:gd name="connsiteX3415" fmla="*/ 1629088 w 12117871"/>
                <a:gd name="connsiteY3415" fmla="*/ 2836204 h 6072780"/>
                <a:gd name="connsiteX3416" fmla="*/ 1645287 w 12117871"/>
                <a:gd name="connsiteY3416" fmla="*/ 2829055 h 6072780"/>
                <a:gd name="connsiteX3417" fmla="*/ 1661410 w 12117871"/>
                <a:gd name="connsiteY3417" fmla="*/ 2820234 h 6072780"/>
                <a:gd name="connsiteX3418" fmla="*/ 1678217 w 12117871"/>
                <a:gd name="connsiteY3418" fmla="*/ 2809130 h 6072780"/>
                <a:gd name="connsiteX3419" fmla="*/ 922825 w 12117871"/>
                <a:gd name="connsiteY3419" fmla="*/ 2809130 h 6072780"/>
                <a:gd name="connsiteX3420" fmla="*/ 937731 w 12117871"/>
                <a:gd name="connsiteY3420" fmla="*/ 2809130 h 6072780"/>
                <a:gd name="connsiteX3421" fmla="*/ 937731 w 12117871"/>
                <a:gd name="connsiteY3421" fmla="*/ 3032110 h 6072780"/>
                <a:gd name="connsiteX3422" fmla="*/ 902443 w 12117871"/>
                <a:gd name="connsiteY3422" fmla="*/ 3032110 h 6072780"/>
                <a:gd name="connsiteX3423" fmla="*/ 902443 w 12117871"/>
                <a:gd name="connsiteY3423" fmla="*/ 2852327 h 6072780"/>
                <a:gd name="connsiteX3424" fmla="*/ 881834 w 12117871"/>
                <a:gd name="connsiteY3424" fmla="*/ 2863962 h 6072780"/>
                <a:gd name="connsiteX3425" fmla="*/ 856661 w 12117871"/>
                <a:gd name="connsiteY3425" fmla="*/ 2872404 h 6072780"/>
                <a:gd name="connsiteX3426" fmla="*/ 856661 w 12117871"/>
                <a:gd name="connsiteY3426" fmla="*/ 2842288 h 6072780"/>
                <a:gd name="connsiteX3427" fmla="*/ 873696 w 12117871"/>
                <a:gd name="connsiteY3427" fmla="*/ 2836204 h 6072780"/>
                <a:gd name="connsiteX3428" fmla="*/ 889895 w 12117871"/>
                <a:gd name="connsiteY3428" fmla="*/ 2829055 h 6072780"/>
                <a:gd name="connsiteX3429" fmla="*/ 906018 w 12117871"/>
                <a:gd name="connsiteY3429" fmla="*/ 2820234 h 6072780"/>
                <a:gd name="connsiteX3430" fmla="*/ 922825 w 12117871"/>
                <a:gd name="connsiteY3430" fmla="*/ 2809130 h 6072780"/>
                <a:gd name="connsiteX3431" fmla="*/ 789771 w 12117871"/>
                <a:gd name="connsiteY3431" fmla="*/ 2809130 h 6072780"/>
                <a:gd name="connsiteX3432" fmla="*/ 804677 w 12117871"/>
                <a:gd name="connsiteY3432" fmla="*/ 2809130 h 6072780"/>
                <a:gd name="connsiteX3433" fmla="*/ 804677 w 12117871"/>
                <a:gd name="connsiteY3433" fmla="*/ 3032110 h 6072780"/>
                <a:gd name="connsiteX3434" fmla="*/ 769389 w 12117871"/>
                <a:gd name="connsiteY3434" fmla="*/ 3032110 h 6072780"/>
                <a:gd name="connsiteX3435" fmla="*/ 769389 w 12117871"/>
                <a:gd name="connsiteY3435" fmla="*/ 2852327 h 6072780"/>
                <a:gd name="connsiteX3436" fmla="*/ 748780 w 12117871"/>
                <a:gd name="connsiteY3436" fmla="*/ 2863962 h 6072780"/>
                <a:gd name="connsiteX3437" fmla="*/ 723607 w 12117871"/>
                <a:gd name="connsiteY3437" fmla="*/ 2872404 h 6072780"/>
                <a:gd name="connsiteX3438" fmla="*/ 723607 w 12117871"/>
                <a:gd name="connsiteY3438" fmla="*/ 2842288 h 6072780"/>
                <a:gd name="connsiteX3439" fmla="*/ 740642 w 12117871"/>
                <a:gd name="connsiteY3439" fmla="*/ 2836204 h 6072780"/>
                <a:gd name="connsiteX3440" fmla="*/ 756841 w 12117871"/>
                <a:gd name="connsiteY3440" fmla="*/ 2829055 h 6072780"/>
                <a:gd name="connsiteX3441" fmla="*/ 772964 w 12117871"/>
                <a:gd name="connsiteY3441" fmla="*/ 2820234 h 6072780"/>
                <a:gd name="connsiteX3442" fmla="*/ 789771 w 12117871"/>
                <a:gd name="connsiteY3442" fmla="*/ 2809130 h 6072780"/>
                <a:gd name="connsiteX3443" fmla="*/ 10091849 w 12117871"/>
                <a:gd name="connsiteY3443" fmla="*/ 2809129 h 6072780"/>
                <a:gd name="connsiteX3444" fmla="*/ 10163016 w 12117871"/>
                <a:gd name="connsiteY3444" fmla="*/ 2919717 h 6072780"/>
                <a:gd name="connsiteX3445" fmla="*/ 10142930 w 12117871"/>
                <a:gd name="connsiteY3445" fmla="*/ 3003296 h 6072780"/>
                <a:gd name="connsiteX3446" fmla="*/ 10086733 w 12117871"/>
                <a:gd name="connsiteY3446" fmla="*/ 3032109 h 6072780"/>
                <a:gd name="connsiteX3447" fmla="*/ 10034148 w 12117871"/>
                <a:gd name="connsiteY3447" fmla="*/ 3004575 h 6072780"/>
                <a:gd name="connsiteX3448" fmla="*/ 10015265 w 12117871"/>
                <a:gd name="connsiteY3448" fmla="*/ 2924983 h 6072780"/>
                <a:gd name="connsiteX3449" fmla="*/ 10034975 w 12117871"/>
                <a:gd name="connsiteY3449" fmla="*/ 2838469 h 6072780"/>
                <a:gd name="connsiteX3450" fmla="*/ 10091849 w 12117871"/>
                <a:gd name="connsiteY3450" fmla="*/ 2809129 h 6072780"/>
                <a:gd name="connsiteX3451" fmla="*/ 9870926 w 12117871"/>
                <a:gd name="connsiteY3451" fmla="*/ 2809129 h 6072780"/>
                <a:gd name="connsiteX3452" fmla="*/ 9942093 w 12117871"/>
                <a:gd name="connsiteY3452" fmla="*/ 2919717 h 6072780"/>
                <a:gd name="connsiteX3453" fmla="*/ 9922007 w 12117871"/>
                <a:gd name="connsiteY3453" fmla="*/ 3003296 h 6072780"/>
                <a:gd name="connsiteX3454" fmla="*/ 9865810 w 12117871"/>
                <a:gd name="connsiteY3454" fmla="*/ 3032109 h 6072780"/>
                <a:gd name="connsiteX3455" fmla="*/ 9813225 w 12117871"/>
                <a:gd name="connsiteY3455" fmla="*/ 3004575 h 6072780"/>
                <a:gd name="connsiteX3456" fmla="*/ 9794342 w 12117871"/>
                <a:gd name="connsiteY3456" fmla="*/ 2924983 h 6072780"/>
                <a:gd name="connsiteX3457" fmla="*/ 9814052 w 12117871"/>
                <a:gd name="connsiteY3457" fmla="*/ 2838469 h 6072780"/>
                <a:gd name="connsiteX3458" fmla="*/ 9870926 w 12117871"/>
                <a:gd name="connsiteY3458" fmla="*/ 2809129 h 6072780"/>
                <a:gd name="connsiteX3459" fmla="*/ 9209265 w 12117871"/>
                <a:gd name="connsiteY3459" fmla="*/ 2809129 h 6072780"/>
                <a:gd name="connsiteX3460" fmla="*/ 9280432 w 12117871"/>
                <a:gd name="connsiteY3460" fmla="*/ 2919717 h 6072780"/>
                <a:gd name="connsiteX3461" fmla="*/ 9260346 w 12117871"/>
                <a:gd name="connsiteY3461" fmla="*/ 3003296 h 6072780"/>
                <a:gd name="connsiteX3462" fmla="*/ 9204149 w 12117871"/>
                <a:gd name="connsiteY3462" fmla="*/ 3032109 h 6072780"/>
                <a:gd name="connsiteX3463" fmla="*/ 9151564 w 12117871"/>
                <a:gd name="connsiteY3463" fmla="*/ 3004575 h 6072780"/>
                <a:gd name="connsiteX3464" fmla="*/ 9132681 w 12117871"/>
                <a:gd name="connsiteY3464" fmla="*/ 2924983 h 6072780"/>
                <a:gd name="connsiteX3465" fmla="*/ 9152391 w 12117871"/>
                <a:gd name="connsiteY3465" fmla="*/ 2838469 h 6072780"/>
                <a:gd name="connsiteX3466" fmla="*/ 9209265 w 12117871"/>
                <a:gd name="connsiteY3466" fmla="*/ 2809129 h 6072780"/>
                <a:gd name="connsiteX3467" fmla="*/ 8988342 w 12117871"/>
                <a:gd name="connsiteY3467" fmla="*/ 2809129 h 6072780"/>
                <a:gd name="connsiteX3468" fmla="*/ 9059509 w 12117871"/>
                <a:gd name="connsiteY3468" fmla="*/ 2919717 h 6072780"/>
                <a:gd name="connsiteX3469" fmla="*/ 9039423 w 12117871"/>
                <a:gd name="connsiteY3469" fmla="*/ 3003296 h 6072780"/>
                <a:gd name="connsiteX3470" fmla="*/ 8983226 w 12117871"/>
                <a:gd name="connsiteY3470" fmla="*/ 3032109 h 6072780"/>
                <a:gd name="connsiteX3471" fmla="*/ 8930641 w 12117871"/>
                <a:gd name="connsiteY3471" fmla="*/ 3004575 h 6072780"/>
                <a:gd name="connsiteX3472" fmla="*/ 8911758 w 12117871"/>
                <a:gd name="connsiteY3472" fmla="*/ 2924983 h 6072780"/>
                <a:gd name="connsiteX3473" fmla="*/ 8931468 w 12117871"/>
                <a:gd name="connsiteY3473" fmla="*/ 2838469 h 6072780"/>
                <a:gd name="connsiteX3474" fmla="*/ 8988342 w 12117871"/>
                <a:gd name="connsiteY3474" fmla="*/ 2809129 h 6072780"/>
                <a:gd name="connsiteX3475" fmla="*/ 6138880 w 12117871"/>
                <a:gd name="connsiteY3475" fmla="*/ 2809129 h 6072780"/>
                <a:gd name="connsiteX3476" fmla="*/ 6210047 w 12117871"/>
                <a:gd name="connsiteY3476" fmla="*/ 2919717 h 6072780"/>
                <a:gd name="connsiteX3477" fmla="*/ 6189961 w 12117871"/>
                <a:gd name="connsiteY3477" fmla="*/ 3003296 h 6072780"/>
                <a:gd name="connsiteX3478" fmla="*/ 6133764 w 12117871"/>
                <a:gd name="connsiteY3478" fmla="*/ 3032109 h 6072780"/>
                <a:gd name="connsiteX3479" fmla="*/ 6081179 w 12117871"/>
                <a:gd name="connsiteY3479" fmla="*/ 3004575 h 6072780"/>
                <a:gd name="connsiteX3480" fmla="*/ 6062296 w 12117871"/>
                <a:gd name="connsiteY3480" fmla="*/ 2924983 h 6072780"/>
                <a:gd name="connsiteX3481" fmla="*/ 6082006 w 12117871"/>
                <a:gd name="connsiteY3481" fmla="*/ 2838469 h 6072780"/>
                <a:gd name="connsiteX3482" fmla="*/ 6138880 w 12117871"/>
                <a:gd name="connsiteY3482" fmla="*/ 2809129 h 6072780"/>
                <a:gd name="connsiteX3483" fmla="*/ 4035798 w 12117871"/>
                <a:gd name="connsiteY3483" fmla="*/ 2809129 h 6072780"/>
                <a:gd name="connsiteX3484" fmla="*/ 4106965 w 12117871"/>
                <a:gd name="connsiteY3484" fmla="*/ 2919717 h 6072780"/>
                <a:gd name="connsiteX3485" fmla="*/ 4086879 w 12117871"/>
                <a:gd name="connsiteY3485" fmla="*/ 3003296 h 6072780"/>
                <a:gd name="connsiteX3486" fmla="*/ 4030682 w 12117871"/>
                <a:gd name="connsiteY3486" fmla="*/ 3032109 h 6072780"/>
                <a:gd name="connsiteX3487" fmla="*/ 3978097 w 12117871"/>
                <a:gd name="connsiteY3487" fmla="*/ 3004575 h 6072780"/>
                <a:gd name="connsiteX3488" fmla="*/ 3959214 w 12117871"/>
                <a:gd name="connsiteY3488" fmla="*/ 2924983 h 6072780"/>
                <a:gd name="connsiteX3489" fmla="*/ 3978924 w 12117871"/>
                <a:gd name="connsiteY3489" fmla="*/ 2838469 h 6072780"/>
                <a:gd name="connsiteX3490" fmla="*/ 4035798 w 12117871"/>
                <a:gd name="connsiteY3490" fmla="*/ 2809129 h 6072780"/>
                <a:gd name="connsiteX3491" fmla="*/ 3814874 w 12117871"/>
                <a:gd name="connsiteY3491" fmla="*/ 2809129 h 6072780"/>
                <a:gd name="connsiteX3492" fmla="*/ 3886042 w 12117871"/>
                <a:gd name="connsiteY3492" fmla="*/ 2919717 h 6072780"/>
                <a:gd name="connsiteX3493" fmla="*/ 3865956 w 12117871"/>
                <a:gd name="connsiteY3493" fmla="*/ 3003296 h 6072780"/>
                <a:gd name="connsiteX3494" fmla="*/ 3809759 w 12117871"/>
                <a:gd name="connsiteY3494" fmla="*/ 3032109 h 6072780"/>
                <a:gd name="connsiteX3495" fmla="*/ 3757174 w 12117871"/>
                <a:gd name="connsiteY3495" fmla="*/ 3004575 h 6072780"/>
                <a:gd name="connsiteX3496" fmla="*/ 3738291 w 12117871"/>
                <a:gd name="connsiteY3496" fmla="*/ 2924983 h 6072780"/>
                <a:gd name="connsiteX3497" fmla="*/ 3758001 w 12117871"/>
                <a:gd name="connsiteY3497" fmla="*/ 2838469 h 6072780"/>
                <a:gd name="connsiteX3498" fmla="*/ 3814874 w 12117871"/>
                <a:gd name="connsiteY3498" fmla="*/ 2809129 h 6072780"/>
                <a:gd name="connsiteX3499" fmla="*/ 3153215 w 12117871"/>
                <a:gd name="connsiteY3499" fmla="*/ 2809129 h 6072780"/>
                <a:gd name="connsiteX3500" fmla="*/ 3224382 w 12117871"/>
                <a:gd name="connsiteY3500" fmla="*/ 2919717 h 6072780"/>
                <a:gd name="connsiteX3501" fmla="*/ 3204296 w 12117871"/>
                <a:gd name="connsiteY3501" fmla="*/ 3003296 h 6072780"/>
                <a:gd name="connsiteX3502" fmla="*/ 3148099 w 12117871"/>
                <a:gd name="connsiteY3502" fmla="*/ 3032109 h 6072780"/>
                <a:gd name="connsiteX3503" fmla="*/ 3095514 w 12117871"/>
                <a:gd name="connsiteY3503" fmla="*/ 3004575 h 6072780"/>
                <a:gd name="connsiteX3504" fmla="*/ 3076631 w 12117871"/>
                <a:gd name="connsiteY3504" fmla="*/ 2924983 h 6072780"/>
                <a:gd name="connsiteX3505" fmla="*/ 3096341 w 12117871"/>
                <a:gd name="connsiteY3505" fmla="*/ 2838469 h 6072780"/>
                <a:gd name="connsiteX3506" fmla="*/ 3153215 w 12117871"/>
                <a:gd name="connsiteY3506" fmla="*/ 2809129 h 6072780"/>
                <a:gd name="connsiteX3507" fmla="*/ 2932291 w 12117871"/>
                <a:gd name="connsiteY3507" fmla="*/ 2809129 h 6072780"/>
                <a:gd name="connsiteX3508" fmla="*/ 3003459 w 12117871"/>
                <a:gd name="connsiteY3508" fmla="*/ 2919717 h 6072780"/>
                <a:gd name="connsiteX3509" fmla="*/ 2983373 w 12117871"/>
                <a:gd name="connsiteY3509" fmla="*/ 3003296 h 6072780"/>
                <a:gd name="connsiteX3510" fmla="*/ 2927176 w 12117871"/>
                <a:gd name="connsiteY3510" fmla="*/ 3032109 h 6072780"/>
                <a:gd name="connsiteX3511" fmla="*/ 2874591 w 12117871"/>
                <a:gd name="connsiteY3511" fmla="*/ 3004575 h 6072780"/>
                <a:gd name="connsiteX3512" fmla="*/ 2855708 w 12117871"/>
                <a:gd name="connsiteY3512" fmla="*/ 2924983 h 6072780"/>
                <a:gd name="connsiteX3513" fmla="*/ 2875418 w 12117871"/>
                <a:gd name="connsiteY3513" fmla="*/ 2838469 h 6072780"/>
                <a:gd name="connsiteX3514" fmla="*/ 2932291 w 12117871"/>
                <a:gd name="connsiteY3514" fmla="*/ 2809129 h 6072780"/>
                <a:gd name="connsiteX3515" fmla="*/ 79694 w 12117871"/>
                <a:gd name="connsiteY3515" fmla="*/ 2807119 h 6072780"/>
                <a:gd name="connsiteX3516" fmla="*/ 150861 w 12117871"/>
                <a:gd name="connsiteY3516" fmla="*/ 2917707 h 6072780"/>
                <a:gd name="connsiteX3517" fmla="*/ 130775 w 12117871"/>
                <a:gd name="connsiteY3517" fmla="*/ 3001286 h 6072780"/>
                <a:gd name="connsiteX3518" fmla="*/ 74578 w 12117871"/>
                <a:gd name="connsiteY3518" fmla="*/ 3030099 h 6072780"/>
                <a:gd name="connsiteX3519" fmla="*/ 21993 w 12117871"/>
                <a:gd name="connsiteY3519" fmla="*/ 3002565 h 6072780"/>
                <a:gd name="connsiteX3520" fmla="*/ 3110 w 12117871"/>
                <a:gd name="connsiteY3520" fmla="*/ 2922973 h 6072780"/>
                <a:gd name="connsiteX3521" fmla="*/ 22820 w 12117871"/>
                <a:gd name="connsiteY3521" fmla="*/ 2836459 h 6072780"/>
                <a:gd name="connsiteX3522" fmla="*/ 79694 w 12117871"/>
                <a:gd name="connsiteY3522" fmla="*/ 2807119 h 6072780"/>
                <a:gd name="connsiteX3523" fmla="*/ 9131180 w 12117871"/>
                <a:gd name="connsiteY3523" fmla="*/ 2508571 h 6072780"/>
                <a:gd name="connsiteX3524" fmla="*/ 9091910 w 12117871"/>
                <a:gd name="connsiteY3524" fmla="*/ 2595085 h 6072780"/>
                <a:gd name="connsiteX3525" fmla="*/ 9130428 w 12117871"/>
                <a:gd name="connsiteY3525" fmla="*/ 2676032 h 6072780"/>
                <a:gd name="connsiteX3526" fmla="*/ 9168343 w 12117871"/>
                <a:gd name="connsiteY3526" fmla="*/ 2593731 h 6072780"/>
                <a:gd name="connsiteX3527" fmla="*/ 9131180 w 12117871"/>
                <a:gd name="connsiteY3527" fmla="*/ 2508571 h 6072780"/>
                <a:gd name="connsiteX3528" fmla="*/ 8789423 w 12117871"/>
                <a:gd name="connsiteY3528" fmla="*/ 2508571 h 6072780"/>
                <a:gd name="connsiteX3529" fmla="*/ 8750153 w 12117871"/>
                <a:gd name="connsiteY3529" fmla="*/ 2595085 h 6072780"/>
                <a:gd name="connsiteX3530" fmla="*/ 8788671 w 12117871"/>
                <a:gd name="connsiteY3530" fmla="*/ 2676032 h 6072780"/>
                <a:gd name="connsiteX3531" fmla="*/ 8826586 w 12117871"/>
                <a:gd name="connsiteY3531" fmla="*/ 2593731 h 6072780"/>
                <a:gd name="connsiteX3532" fmla="*/ 8789423 w 12117871"/>
                <a:gd name="connsiteY3532" fmla="*/ 2508571 h 6072780"/>
                <a:gd name="connsiteX3533" fmla="*/ 8088021 w 12117871"/>
                <a:gd name="connsiteY3533" fmla="*/ 2508571 h 6072780"/>
                <a:gd name="connsiteX3534" fmla="*/ 8048751 w 12117871"/>
                <a:gd name="connsiteY3534" fmla="*/ 2595085 h 6072780"/>
                <a:gd name="connsiteX3535" fmla="*/ 8087269 w 12117871"/>
                <a:gd name="connsiteY3535" fmla="*/ 2676032 h 6072780"/>
                <a:gd name="connsiteX3536" fmla="*/ 8125184 w 12117871"/>
                <a:gd name="connsiteY3536" fmla="*/ 2593731 h 6072780"/>
                <a:gd name="connsiteX3537" fmla="*/ 8088021 w 12117871"/>
                <a:gd name="connsiteY3537" fmla="*/ 2508571 h 6072780"/>
                <a:gd name="connsiteX3538" fmla="*/ 6829532 w 12117871"/>
                <a:gd name="connsiteY3538" fmla="*/ 2508571 h 6072780"/>
                <a:gd name="connsiteX3539" fmla="*/ 6790262 w 12117871"/>
                <a:gd name="connsiteY3539" fmla="*/ 2595085 h 6072780"/>
                <a:gd name="connsiteX3540" fmla="*/ 6828780 w 12117871"/>
                <a:gd name="connsiteY3540" fmla="*/ 2676032 h 6072780"/>
                <a:gd name="connsiteX3541" fmla="*/ 6866695 w 12117871"/>
                <a:gd name="connsiteY3541" fmla="*/ 2593731 h 6072780"/>
                <a:gd name="connsiteX3542" fmla="*/ 6829532 w 12117871"/>
                <a:gd name="connsiteY3542" fmla="*/ 2508571 h 6072780"/>
                <a:gd name="connsiteX3543" fmla="*/ 6616438 w 12117871"/>
                <a:gd name="connsiteY3543" fmla="*/ 2508571 h 6072780"/>
                <a:gd name="connsiteX3544" fmla="*/ 6577168 w 12117871"/>
                <a:gd name="connsiteY3544" fmla="*/ 2595085 h 6072780"/>
                <a:gd name="connsiteX3545" fmla="*/ 6615686 w 12117871"/>
                <a:gd name="connsiteY3545" fmla="*/ 2676032 h 6072780"/>
                <a:gd name="connsiteX3546" fmla="*/ 6653601 w 12117871"/>
                <a:gd name="connsiteY3546" fmla="*/ 2593731 h 6072780"/>
                <a:gd name="connsiteX3547" fmla="*/ 6616438 w 12117871"/>
                <a:gd name="connsiteY3547" fmla="*/ 2508571 h 6072780"/>
                <a:gd name="connsiteX3548" fmla="*/ 3070764 w 12117871"/>
                <a:gd name="connsiteY3548" fmla="*/ 2508571 h 6072780"/>
                <a:gd name="connsiteX3549" fmla="*/ 3031494 w 12117871"/>
                <a:gd name="connsiteY3549" fmla="*/ 2595085 h 6072780"/>
                <a:gd name="connsiteX3550" fmla="*/ 3070012 w 12117871"/>
                <a:gd name="connsiteY3550" fmla="*/ 2676032 h 6072780"/>
                <a:gd name="connsiteX3551" fmla="*/ 3107927 w 12117871"/>
                <a:gd name="connsiteY3551" fmla="*/ 2593731 h 6072780"/>
                <a:gd name="connsiteX3552" fmla="*/ 3070764 w 12117871"/>
                <a:gd name="connsiteY3552" fmla="*/ 2508571 h 6072780"/>
                <a:gd name="connsiteX3553" fmla="*/ 2723961 w 12117871"/>
                <a:gd name="connsiteY3553" fmla="*/ 2508571 h 6072780"/>
                <a:gd name="connsiteX3554" fmla="*/ 2684691 w 12117871"/>
                <a:gd name="connsiteY3554" fmla="*/ 2595085 h 6072780"/>
                <a:gd name="connsiteX3555" fmla="*/ 2723209 w 12117871"/>
                <a:gd name="connsiteY3555" fmla="*/ 2676032 h 6072780"/>
                <a:gd name="connsiteX3556" fmla="*/ 2761124 w 12117871"/>
                <a:gd name="connsiteY3556" fmla="*/ 2593731 h 6072780"/>
                <a:gd name="connsiteX3557" fmla="*/ 2723961 w 12117871"/>
                <a:gd name="connsiteY3557" fmla="*/ 2508571 h 6072780"/>
                <a:gd name="connsiteX3558" fmla="*/ 2032595 w 12117871"/>
                <a:gd name="connsiteY3558" fmla="*/ 2508571 h 6072780"/>
                <a:gd name="connsiteX3559" fmla="*/ 1993326 w 12117871"/>
                <a:gd name="connsiteY3559" fmla="*/ 2595085 h 6072780"/>
                <a:gd name="connsiteX3560" fmla="*/ 2031843 w 12117871"/>
                <a:gd name="connsiteY3560" fmla="*/ 2676032 h 6072780"/>
                <a:gd name="connsiteX3561" fmla="*/ 2069759 w 12117871"/>
                <a:gd name="connsiteY3561" fmla="*/ 2593731 h 6072780"/>
                <a:gd name="connsiteX3562" fmla="*/ 2032595 w 12117871"/>
                <a:gd name="connsiteY3562" fmla="*/ 2508571 h 6072780"/>
                <a:gd name="connsiteX3563" fmla="*/ 777389 w 12117871"/>
                <a:gd name="connsiteY3563" fmla="*/ 2508571 h 6072780"/>
                <a:gd name="connsiteX3564" fmla="*/ 738119 w 12117871"/>
                <a:gd name="connsiteY3564" fmla="*/ 2595085 h 6072780"/>
                <a:gd name="connsiteX3565" fmla="*/ 776637 w 12117871"/>
                <a:gd name="connsiteY3565" fmla="*/ 2676032 h 6072780"/>
                <a:gd name="connsiteX3566" fmla="*/ 814552 w 12117871"/>
                <a:gd name="connsiteY3566" fmla="*/ 2593731 h 6072780"/>
                <a:gd name="connsiteX3567" fmla="*/ 777389 w 12117871"/>
                <a:gd name="connsiteY3567" fmla="*/ 2508571 h 6072780"/>
                <a:gd name="connsiteX3568" fmla="*/ 556789 w 12117871"/>
                <a:gd name="connsiteY3568" fmla="*/ 2508571 h 6072780"/>
                <a:gd name="connsiteX3569" fmla="*/ 517519 w 12117871"/>
                <a:gd name="connsiteY3569" fmla="*/ 2595085 h 6072780"/>
                <a:gd name="connsiteX3570" fmla="*/ 556037 w 12117871"/>
                <a:gd name="connsiteY3570" fmla="*/ 2676032 h 6072780"/>
                <a:gd name="connsiteX3571" fmla="*/ 593952 w 12117871"/>
                <a:gd name="connsiteY3571" fmla="*/ 2593731 h 6072780"/>
                <a:gd name="connsiteX3572" fmla="*/ 556789 w 12117871"/>
                <a:gd name="connsiteY3572" fmla="*/ 2508571 h 6072780"/>
                <a:gd name="connsiteX3573" fmla="*/ 12035876 w 12117871"/>
                <a:gd name="connsiteY3573" fmla="*/ 2480736 h 6072780"/>
                <a:gd name="connsiteX3574" fmla="*/ 12050782 w 12117871"/>
                <a:gd name="connsiteY3574" fmla="*/ 2480736 h 6072780"/>
                <a:gd name="connsiteX3575" fmla="*/ 12050782 w 12117871"/>
                <a:gd name="connsiteY3575" fmla="*/ 2703716 h 6072780"/>
                <a:gd name="connsiteX3576" fmla="*/ 12015494 w 12117871"/>
                <a:gd name="connsiteY3576" fmla="*/ 2703716 h 6072780"/>
                <a:gd name="connsiteX3577" fmla="*/ 12015494 w 12117871"/>
                <a:gd name="connsiteY3577" fmla="*/ 2523933 h 6072780"/>
                <a:gd name="connsiteX3578" fmla="*/ 11994885 w 12117871"/>
                <a:gd name="connsiteY3578" fmla="*/ 2535568 h 6072780"/>
                <a:gd name="connsiteX3579" fmla="*/ 11969712 w 12117871"/>
                <a:gd name="connsiteY3579" fmla="*/ 2544010 h 6072780"/>
                <a:gd name="connsiteX3580" fmla="*/ 11969712 w 12117871"/>
                <a:gd name="connsiteY3580" fmla="*/ 2513894 h 6072780"/>
                <a:gd name="connsiteX3581" fmla="*/ 11986747 w 12117871"/>
                <a:gd name="connsiteY3581" fmla="*/ 2507810 h 6072780"/>
                <a:gd name="connsiteX3582" fmla="*/ 12002946 w 12117871"/>
                <a:gd name="connsiteY3582" fmla="*/ 2500661 h 6072780"/>
                <a:gd name="connsiteX3583" fmla="*/ 12019069 w 12117871"/>
                <a:gd name="connsiteY3583" fmla="*/ 2491839 h 6072780"/>
                <a:gd name="connsiteX3584" fmla="*/ 12035876 w 12117871"/>
                <a:gd name="connsiteY3584" fmla="*/ 2480736 h 6072780"/>
                <a:gd name="connsiteX3585" fmla="*/ 11663311 w 12117871"/>
                <a:gd name="connsiteY3585" fmla="*/ 2480736 h 6072780"/>
                <a:gd name="connsiteX3586" fmla="*/ 11678217 w 12117871"/>
                <a:gd name="connsiteY3586" fmla="*/ 2480736 h 6072780"/>
                <a:gd name="connsiteX3587" fmla="*/ 11678217 w 12117871"/>
                <a:gd name="connsiteY3587" fmla="*/ 2703716 h 6072780"/>
                <a:gd name="connsiteX3588" fmla="*/ 11642929 w 12117871"/>
                <a:gd name="connsiteY3588" fmla="*/ 2703716 h 6072780"/>
                <a:gd name="connsiteX3589" fmla="*/ 11642929 w 12117871"/>
                <a:gd name="connsiteY3589" fmla="*/ 2523933 h 6072780"/>
                <a:gd name="connsiteX3590" fmla="*/ 11622320 w 12117871"/>
                <a:gd name="connsiteY3590" fmla="*/ 2535568 h 6072780"/>
                <a:gd name="connsiteX3591" fmla="*/ 11597147 w 12117871"/>
                <a:gd name="connsiteY3591" fmla="*/ 2544010 h 6072780"/>
                <a:gd name="connsiteX3592" fmla="*/ 11597147 w 12117871"/>
                <a:gd name="connsiteY3592" fmla="*/ 2513894 h 6072780"/>
                <a:gd name="connsiteX3593" fmla="*/ 11614182 w 12117871"/>
                <a:gd name="connsiteY3593" fmla="*/ 2507810 h 6072780"/>
                <a:gd name="connsiteX3594" fmla="*/ 11630381 w 12117871"/>
                <a:gd name="connsiteY3594" fmla="*/ 2500661 h 6072780"/>
                <a:gd name="connsiteX3595" fmla="*/ 11646504 w 12117871"/>
                <a:gd name="connsiteY3595" fmla="*/ 2491839 h 6072780"/>
                <a:gd name="connsiteX3596" fmla="*/ 11663311 w 12117871"/>
                <a:gd name="connsiteY3596" fmla="*/ 2480736 h 6072780"/>
                <a:gd name="connsiteX3597" fmla="*/ 11513338 w 12117871"/>
                <a:gd name="connsiteY3597" fmla="*/ 2480736 h 6072780"/>
                <a:gd name="connsiteX3598" fmla="*/ 11528244 w 12117871"/>
                <a:gd name="connsiteY3598" fmla="*/ 2480736 h 6072780"/>
                <a:gd name="connsiteX3599" fmla="*/ 11528244 w 12117871"/>
                <a:gd name="connsiteY3599" fmla="*/ 2703716 h 6072780"/>
                <a:gd name="connsiteX3600" fmla="*/ 11492956 w 12117871"/>
                <a:gd name="connsiteY3600" fmla="*/ 2703716 h 6072780"/>
                <a:gd name="connsiteX3601" fmla="*/ 11492956 w 12117871"/>
                <a:gd name="connsiteY3601" fmla="*/ 2523933 h 6072780"/>
                <a:gd name="connsiteX3602" fmla="*/ 11472347 w 12117871"/>
                <a:gd name="connsiteY3602" fmla="*/ 2535568 h 6072780"/>
                <a:gd name="connsiteX3603" fmla="*/ 11447174 w 12117871"/>
                <a:gd name="connsiteY3603" fmla="*/ 2544010 h 6072780"/>
                <a:gd name="connsiteX3604" fmla="*/ 11447174 w 12117871"/>
                <a:gd name="connsiteY3604" fmla="*/ 2513894 h 6072780"/>
                <a:gd name="connsiteX3605" fmla="*/ 11464209 w 12117871"/>
                <a:gd name="connsiteY3605" fmla="*/ 2507810 h 6072780"/>
                <a:gd name="connsiteX3606" fmla="*/ 11480408 w 12117871"/>
                <a:gd name="connsiteY3606" fmla="*/ 2500661 h 6072780"/>
                <a:gd name="connsiteX3607" fmla="*/ 11496531 w 12117871"/>
                <a:gd name="connsiteY3607" fmla="*/ 2491839 h 6072780"/>
                <a:gd name="connsiteX3608" fmla="*/ 11513338 w 12117871"/>
                <a:gd name="connsiteY3608" fmla="*/ 2480736 h 6072780"/>
                <a:gd name="connsiteX3609" fmla="*/ 11363365 w 12117871"/>
                <a:gd name="connsiteY3609" fmla="*/ 2480736 h 6072780"/>
                <a:gd name="connsiteX3610" fmla="*/ 11378271 w 12117871"/>
                <a:gd name="connsiteY3610" fmla="*/ 2480736 h 6072780"/>
                <a:gd name="connsiteX3611" fmla="*/ 11378271 w 12117871"/>
                <a:gd name="connsiteY3611" fmla="*/ 2703716 h 6072780"/>
                <a:gd name="connsiteX3612" fmla="*/ 11342983 w 12117871"/>
                <a:gd name="connsiteY3612" fmla="*/ 2703716 h 6072780"/>
                <a:gd name="connsiteX3613" fmla="*/ 11342983 w 12117871"/>
                <a:gd name="connsiteY3613" fmla="*/ 2523933 h 6072780"/>
                <a:gd name="connsiteX3614" fmla="*/ 11322374 w 12117871"/>
                <a:gd name="connsiteY3614" fmla="*/ 2535568 h 6072780"/>
                <a:gd name="connsiteX3615" fmla="*/ 11297201 w 12117871"/>
                <a:gd name="connsiteY3615" fmla="*/ 2544010 h 6072780"/>
                <a:gd name="connsiteX3616" fmla="*/ 11297201 w 12117871"/>
                <a:gd name="connsiteY3616" fmla="*/ 2513894 h 6072780"/>
                <a:gd name="connsiteX3617" fmla="*/ 11314236 w 12117871"/>
                <a:gd name="connsiteY3617" fmla="*/ 2507810 h 6072780"/>
                <a:gd name="connsiteX3618" fmla="*/ 11330435 w 12117871"/>
                <a:gd name="connsiteY3618" fmla="*/ 2500661 h 6072780"/>
                <a:gd name="connsiteX3619" fmla="*/ 11346558 w 12117871"/>
                <a:gd name="connsiteY3619" fmla="*/ 2491839 h 6072780"/>
                <a:gd name="connsiteX3620" fmla="*/ 11363365 w 12117871"/>
                <a:gd name="connsiteY3620" fmla="*/ 2480736 h 6072780"/>
                <a:gd name="connsiteX3621" fmla="*/ 10620407 w 12117871"/>
                <a:gd name="connsiteY3621" fmla="*/ 2480736 h 6072780"/>
                <a:gd name="connsiteX3622" fmla="*/ 10635313 w 12117871"/>
                <a:gd name="connsiteY3622" fmla="*/ 2480736 h 6072780"/>
                <a:gd name="connsiteX3623" fmla="*/ 10635313 w 12117871"/>
                <a:gd name="connsiteY3623" fmla="*/ 2703716 h 6072780"/>
                <a:gd name="connsiteX3624" fmla="*/ 10600025 w 12117871"/>
                <a:gd name="connsiteY3624" fmla="*/ 2703716 h 6072780"/>
                <a:gd name="connsiteX3625" fmla="*/ 10600025 w 12117871"/>
                <a:gd name="connsiteY3625" fmla="*/ 2523933 h 6072780"/>
                <a:gd name="connsiteX3626" fmla="*/ 10579416 w 12117871"/>
                <a:gd name="connsiteY3626" fmla="*/ 2535568 h 6072780"/>
                <a:gd name="connsiteX3627" fmla="*/ 10554243 w 12117871"/>
                <a:gd name="connsiteY3627" fmla="*/ 2544010 h 6072780"/>
                <a:gd name="connsiteX3628" fmla="*/ 10554243 w 12117871"/>
                <a:gd name="connsiteY3628" fmla="*/ 2513894 h 6072780"/>
                <a:gd name="connsiteX3629" fmla="*/ 10571278 w 12117871"/>
                <a:gd name="connsiteY3629" fmla="*/ 2507810 h 6072780"/>
                <a:gd name="connsiteX3630" fmla="*/ 10587477 w 12117871"/>
                <a:gd name="connsiteY3630" fmla="*/ 2500661 h 6072780"/>
                <a:gd name="connsiteX3631" fmla="*/ 10603600 w 12117871"/>
                <a:gd name="connsiteY3631" fmla="*/ 2491839 h 6072780"/>
                <a:gd name="connsiteX3632" fmla="*/ 10620407 w 12117871"/>
                <a:gd name="connsiteY3632" fmla="*/ 2480736 h 6072780"/>
                <a:gd name="connsiteX3633" fmla="*/ 10469278 w 12117871"/>
                <a:gd name="connsiteY3633" fmla="*/ 2480736 h 6072780"/>
                <a:gd name="connsiteX3634" fmla="*/ 10484184 w 12117871"/>
                <a:gd name="connsiteY3634" fmla="*/ 2480736 h 6072780"/>
                <a:gd name="connsiteX3635" fmla="*/ 10484184 w 12117871"/>
                <a:gd name="connsiteY3635" fmla="*/ 2703716 h 6072780"/>
                <a:gd name="connsiteX3636" fmla="*/ 10448896 w 12117871"/>
                <a:gd name="connsiteY3636" fmla="*/ 2703716 h 6072780"/>
                <a:gd name="connsiteX3637" fmla="*/ 10448896 w 12117871"/>
                <a:gd name="connsiteY3637" fmla="*/ 2523933 h 6072780"/>
                <a:gd name="connsiteX3638" fmla="*/ 10428287 w 12117871"/>
                <a:gd name="connsiteY3638" fmla="*/ 2535568 h 6072780"/>
                <a:gd name="connsiteX3639" fmla="*/ 10403114 w 12117871"/>
                <a:gd name="connsiteY3639" fmla="*/ 2544010 h 6072780"/>
                <a:gd name="connsiteX3640" fmla="*/ 10403114 w 12117871"/>
                <a:gd name="connsiteY3640" fmla="*/ 2513894 h 6072780"/>
                <a:gd name="connsiteX3641" fmla="*/ 10420149 w 12117871"/>
                <a:gd name="connsiteY3641" fmla="*/ 2507810 h 6072780"/>
                <a:gd name="connsiteX3642" fmla="*/ 10436348 w 12117871"/>
                <a:gd name="connsiteY3642" fmla="*/ 2500661 h 6072780"/>
                <a:gd name="connsiteX3643" fmla="*/ 10452471 w 12117871"/>
                <a:gd name="connsiteY3643" fmla="*/ 2491839 h 6072780"/>
                <a:gd name="connsiteX3644" fmla="*/ 10469278 w 12117871"/>
                <a:gd name="connsiteY3644" fmla="*/ 2480736 h 6072780"/>
                <a:gd name="connsiteX3645" fmla="*/ 10169331 w 12117871"/>
                <a:gd name="connsiteY3645" fmla="*/ 2480736 h 6072780"/>
                <a:gd name="connsiteX3646" fmla="*/ 10184237 w 12117871"/>
                <a:gd name="connsiteY3646" fmla="*/ 2480736 h 6072780"/>
                <a:gd name="connsiteX3647" fmla="*/ 10184237 w 12117871"/>
                <a:gd name="connsiteY3647" fmla="*/ 2703716 h 6072780"/>
                <a:gd name="connsiteX3648" fmla="*/ 10148949 w 12117871"/>
                <a:gd name="connsiteY3648" fmla="*/ 2703716 h 6072780"/>
                <a:gd name="connsiteX3649" fmla="*/ 10148949 w 12117871"/>
                <a:gd name="connsiteY3649" fmla="*/ 2523933 h 6072780"/>
                <a:gd name="connsiteX3650" fmla="*/ 10128340 w 12117871"/>
                <a:gd name="connsiteY3650" fmla="*/ 2535568 h 6072780"/>
                <a:gd name="connsiteX3651" fmla="*/ 10103167 w 12117871"/>
                <a:gd name="connsiteY3651" fmla="*/ 2544010 h 6072780"/>
                <a:gd name="connsiteX3652" fmla="*/ 10103167 w 12117871"/>
                <a:gd name="connsiteY3652" fmla="*/ 2513894 h 6072780"/>
                <a:gd name="connsiteX3653" fmla="*/ 10120202 w 12117871"/>
                <a:gd name="connsiteY3653" fmla="*/ 2507810 h 6072780"/>
                <a:gd name="connsiteX3654" fmla="*/ 10136401 w 12117871"/>
                <a:gd name="connsiteY3654" fmla="*/ 2500661 h 6072780"/>
                <a:gd name="connsiteX3655" fmla="*/ 10152524 w 12117871"/>
                <a:gd name="connsiteY3655" fmla="*/ 2491839 h 6072780"/>
                <a:gd name="connsiteX3656" fmla="*/ 10169331 w 12117871"/>
                <a:gd name="connsiteY3656" fmla="*/ 2480736 h 6072780"/>
                <a:gd name="connsiteX3657" fmla="*/ 9784303 w 12117871"/>
                <a:gd name="connsiteY3657" fmla="*/ 2480736 h 6072780"/>
                <a:gd name="connsiteX3658" fmla="*/ 9799209 w 12117871"/>
                <a:gd name="connsiteY3658" fmla="*/ 2480736 h 6072780"/>
                <a:gd name="connsiteX3659" fmla="*/ 9799209 w 12117871"/>
                <a:gd name="connsiteY3659" fmla="*/ 2703716 h 6072780"/>
                <a:gd name="connsiteX3660" fmla="*/ 9763921 w 12117871"/>
                <a:gd name="connsiteY3660" fmla="*/ 2703716 h 6072780"/>
                <a:gd name="connsiteX3661" fmla="*/ 9763921 w 12117871"/>
                <a:gd name="connsiteY3661" fmla="*/ 2523933 h 6072780"/>
                <a:gd name="connsiteX3662" fmla="*/ 9743312 w 12117871"/>
                <a:gd name="connsiteY3662" fmla="*/ 2535568 h 6072780"/>
                <a:gd name="connsiteX3663" fmla="*/ 9718139 w 12117871"/>
                <a:gd name="connsiteY3663" fmla="*/ 2544010 h 6072780"/>
                <a:gd name="connsiteX3664" fmla="*/ 9718139 w 12117871"/>
                <a:gd name="connsiteY3664" fmla="*/ 2513894 h 6072780"/>
                <a:gd name="connsiteX3665" fmla="*/ 9735174 w 12117871"/>
                <a:gd name="connsiteY3665" fmla="*/ 2507810 h 6072780"/>
                <a:gd name="connsiteX3666" fmla="*/ 9751373 w 12117871"/>
                <a:gd name="connsiteY3666" fmla="*/ 2500661 h 6072780"/>
                <a:gd name="connsiteX3667" fmla="*/ 9767496 w 12117871"/>
                <a:gd name="connsiteY3667" fmla="*/ 2491839 h 6072780"/>
                <a:gd name="connsiteX3668" fmla="*/ 9784303 w 12117871"/>
                <a:gd name="connsiteY3668" fmla="*/ 2480736 h 6072780"/>
                <a:gd name="connsiteX3669" fmla="*/ 9633174 w 12117871"/>
                <a:gd name="connsiteY3669" fmla="*/ 2480736 h 6072780"/>
                <a:gd name="connsiteX3670" fmla="*/ 9648080 w 12117871"/>
                <a:gd name="connsiteY3670" fmla="*/ 2480736 h 6072780"/>
                <a:gd name="connsiteX3671" fmla="*/ 9648080 w 12117871"/>
                <a:gd name="connsiteY3671" fmla="*/ 2703716 h 6072780"/>
                <a:gd name="connsiteX3672" fmla="*/ 9612792 w 12117871"/>
                <a:gd name="connsiteY3672" fmla="*/ 2703716 h 6072780"/>
                <a:gd name="connsiteX3673" fmla="*/ 9612792 w 12117871"/>
                <a:gd name="connsiteY3673" fmla="*/ 2523933 h 6072780"/>
                <a:gd name="connsiteX3674" fmla="*/ 9592183 w 12117871"/>
                <a:gd name="connsiteY3674" fmla="*/ 2535568 h 6072780"/>
                <a:gd name="connsiteX3675" fmla="*/ 9567010 w 12117871"/>
                <a:gd name="connsiteY3675" fmla="*/ 2544010 h 6072780"/>
                <a:gd name="connsiteX3676" fmla="*/ 9567010 w 12117871"/>
                <a:gd name="connsiteY3676" fmla="*/ 2513894 h 6072780"/>
                <a:gd name="connsiteX3677" fmla="*/ 9584045 w 12117871"/>
                <a:gd name="connsiteY3677" fmla="*/ 2507810 h 6072780"/>
                <a:gd name="connsiteX3678" fmla="*/ 9600244 w 12117871"/>
                <a:gd name="connsiteY3678" fmla="*/ 2500661 h 6072780"/>
                <a:gd name="connsiteX3679" fmla="*/ 9616367 w 12117871"/>
                <a:gd name="connsiteY3679" fmla="*/ 2491839 h 6072780"/>
                <a:gd name="connsiteX3680" fmla="*/ 9633174 w 12117871"/>
                <a:gd name="connsiteY3680" fmla="*/ 2480736 h 6072780"/>
                <a:gd name="connsiteX3681" fmla="*/ 9483201 w 12117871"/>
                <a:gd name="connsiteY3681" fmla="*/ 2480736 h 6072780"/>
                <a:gd name="connsiteX3682" fmla="*/ 9498107 w 12117871"/>
                <a:gd name="connsiteY3682" fmla="*/ 2480736 h 6072780"/>
                <a:gd name="connsiteX3683" fmla="*/ 9498107 w 12117871"/>
                <a:gd name="connsiteY3683" fmla="*/ 2703716 h 6072780"/>
                <a:gd name="connsiteX3684" fmla="*/ 9462819 w 12117871"/>
                <a:gd name="connsiteY3684" fmla="*/ 2703716 h 6072780"/>
                <a:gd name="connsiteX3685" fmla="*/ 9462819 w 12117871"/>
                <a:gd name="connsiteY3685" fmla="*/ 2523933 h 6072780"/>
                <a:gd name="connsiteX3686" fmla="*/ 9442210 w 12117871"/>
                <a:gd name="connsiteY3686" fmla="*/ 2535568 h 6072780"/>
                <a:gd name="connsiteX3687" fmla="*/ 9417037 w 12117871"/>
                <a:gd name="connsiteY3687" fmla="*/ 2544010 h 6072780"/>
                <a:gd name="connsiteX3688" fmla="*/ 9417037 w 12117871"/>
                <a:gd name="connsiteY3688" fmla="*/ 2513894 h 6072780"/>
                <a:gd name="connsiteX3689" fmla="*/ 9434072 w 12117871"/>
                <a:gd name="connsiteY3689" fmla="*/ 2507810 h 6072780"/>
                <a:gd name="connsiteX3690" fmla="*/ 9450271 w 12117871"/>
                <a:gd name="connsiteY3690" fmla="*/ 2500661 h 6072780"/>
                <a:gd name="connsiteX3691" fmla="*/ 9466394 w 12117871"/>
                <a:gd name="connsiteY3691" fmla="*/ 2491839 h 6072780"/>
                <a:gd name="connsiteX3692" fmla="*/ 9483201 w 12117871"/>
                <a:gd name="connsiteY3692" fmla="*/ 2480736 h 6072780"/>
                <a:gd name="connsiteX3693" fmla="*/ 9333228 w 12117871"/>
                <a:gd name="connsiteY3693" fmla="*/ 2480736 h 6072780"/>
                <a:gd name="connsiteX3694" fmla="*/ 9348134 w 12117871"/>
                <a:gd name="connsiteY3694" fmla="*/ 2480736 h 6072780"/>
                <a:gd name="connsiteX3695" fmla="*/ 9348134 w 12117871"/>
                <a:gd name="connsiteY3695" fmla="*/ 2703716 h 6072780"/>
                <a:gd name="connsiteX3696" fmla="*/ 9312846 w 12117871"/>
                <a:gd name="connsiteY3696" fmla="*/ 2703716 h 6072780"/>
                <a:gd name="connsiteX3697" fmla="*/ 9312846 w 12117871"/>
                <a:gd name="connsiteY3697" fmla="*/ 2523933 h 6072780"/>
                <a:gd name="connsiteX3698" fmla="*/ 9292237 w 12117871"/>
                <a:gd name="connsiteY3698" fmla="*/ 2535568 h 6072780"/>
                <a:gd name="connsiteX3699" fmla="*/ 9267064 w 12117871"/>
                <a:gd name="connsiteY3699" fmla="*/ 2544010 h 6072780"/>
                <a:gd name="connsiteX3700" fmla="*/ 9267064 w 12117871"/>
                <a:gd name="connsiteY3700" fmla="*/ 2513894 h 6072780"/>
                <a:gd name="connsiteX3701" fmla="*/ 9284099 w 12117871"/>
                <a:gd name="connsiteY3701" fmla="*/ 2507810 h 6072780"/>
                <a:gd name="connsiteX3702" fmla="*/ 9300298 w 12117871"/>
                <a:gd name="connsiteY3702" fmla="*/ 2500661 h 6072780"/>
                <a:gd name="connsiteX3703" fmla="*/ 9316421 w 12117871"/>
                <a:gd name="connsiteY3703" fmla="*/ 2491839 h 6072780"/>
                <a:gd name="connsiteX3704" fmla="*/ 9333228 w 12117871"/>
                <a:gd name="connsiteY3704" fmla="*/ 2480736 h 6072780"/>
                <a:gd name="connsiteX3705" fmla="*/ 9132835 w 12117871"/>
                <a:gd name="connsiteY3705" fmla="*/ 2480736 h 6072780"/>
                <a:gd name="connsiteX3706" fmla="*/ 9204002 w 12117871"/>
                <a:gd name="connsiteY3706" fmla="*/ 2591324 h 6072780"/>
                <a:gd name="connsiteX3707" fmla="*/ 9183916 w 12117871"/>
                <a:gd name="connsiteY3707" fmla="*/ 2674903 h 6072780"/>
                <a:gd name="connsiteX3708" fmla="*/ 9127719 w 12117871"/>
                <a:gd name="connsiteY3708" fmla="*/ 2703716 h 6072780"/>
                <a:gd name="connsiteX3709" fmla="*/ 9075134 w 12117871"/>
                <a:gd name="connsiteY3709" fmla="*/ 2676182 h 6072780"/>
                <a:gd name="connsiteX3710" fmla="*/ 9056251 w 12117871"/>
                <a:gd name="connsiteY3710" fmla="*/ 2596590 h 6072780"/>
                <a:gd name="connsiteX3711" fmla="*/ 9075961 w 12117871"/>
                <a:gd name="connsiteY3711" fmla="*/ 2510075 h 6072780"/>
                <a:gd name="connsiteX3712" fmla="*/ 9132835 w 12117871"/>
                <a:gd name="connsiteY3712" fmla="*/ 2480736 h 6072780"/>
                <a:gd name="connsiteX3713" fmla="*/ 9001759 w 12117871"/>
                <a:gd name="connsiteY3713" fmla="*/ 2480736 h 6072780"/>
                <a:gd name="connsiteX3714" fmla="*/ 9016665 w 12117871"/>
                <a:gd name="connsiteY3714" fmla="*/ 2480736 h 6072780"/>
                <a:gd name="connsiteX3715" fmla="*/ 9016665 w 12117871"/>
                <a:gd name="connsiteY3715" fmla="*/ 2703716 h 6072780"/>
                <a:gd name="connsiteX3716" fmla="*/ 8981377 w 12117871"/>
                <a:gd name="connsiteY3716" fmla="*/ 2703716 h 6072780"/>
                <a:gd name="connsiteX3717" fmla="*/ 8981377 w 12117871"/>
                <a:gd name="connsiteY3717" fmla="*/ 2523933 h 6072780"/>
                <a:gd name="connsiteX3718" fmla="*/ 8960768 w 12117871"/>
                <a:gd name="connsiteY3718" fmla="*/ 2535568 h 6072780"/>
                <a:gd name="connsiteX3719" fmla="*/ 8935595 w 12117871"/>
                <a:gd name="connsiteY3719" fmla="*/ 2544010 h 6072780"/>
                <a:gd name="connsiteX3720" fmla="*/ 8935595 w 12117871"/>
                <a:gd name="connsiteY3720" fmla="*/ 2513894 h 6072780"/>
                <a:gd name="connsiteX3721" fmla="*/ 8952630 w 12117871"/>
                <a:gd name="connsiteY3721" fmla="*/ 2507810 h 6072780"/>
                <a:gd name="connsiteX3722" fmla="*/ 8968829 w 12117871"/>
                <a:gd name="connsiteY3722" fmla="*/ 2500661 h 6072780"/>
                <a:gd name="connsiteX3723" fmla="*/ 8984952 w 12117871"/>
                <a:gd name="connsiteY3723" fmla="*/ 2491839 h 6072780"/>
                <a:gd name="connsiteX3724" fmla="*/ 9001759 w 12117871"/>
                <a:gd name="connsiteY3724" fmla="*/ 2480736 h 6072780"/>
                <a:gd name="connsiteX3725" fmla="*/ 8791078 w 12117871"/>
                <a:gd name="connsiteY3725" fmla="*/ 2480736 h 6072780"/>
                <a:gd name="connsiteX3726" fmla="*/ 8862245 w 12117871"/>
                <a:gd name="connsiteY3726" fmla="*/ 2591324 h 6072780"/>
                <a:gd name="connsiteX3727" fmla="*/ 8842159 w 12117871"/>
                <a:gd name="connsiteY3727" fmla="*/ 2674903 h 6072780"/>
                <a:gd name="connsiteX3728" fmla="*/ 8785962 w 12117871"/>
                <a:gd name="connsiteY3728" fmla="*/ 2703716 h 6072780"/>
                <a:gd name="connsiteX3729" fmla="*/ 8733377 w 12117871"/>
                <a:gd name="connsiteY3729" fmla="*/ 2676182 h 6072780"/>
                <a:gd name="connsiteX3730" fmla="*/ 8714494 w 12117871"/>
                <a:gd name="connsiteY3730" fmla="*/ 2596590 h 6072780"/>
                <a:gd name="connsiteX3731" fmla="*/ 8734204 w 12117871"/>
                <a:gd name="connsiteY3731" fmla="*/ 2510075 h 6072780"/>
                <a:gd name="connsiteX3732" fmla="*/ 8791078 w 12117871"/>
                <a:gd name="connsiteY3732" fmla="*/ 2480736 h 6072780"/>
                <a:gd name="connsiteX3733" fmla="*/ 8089676 w 12117871"/>
                <a:gd name="connsiteY3733" fmla="*/ 2480736 h 6072780"/>
                <a:gd name="connsiteX3734" fmla="*/ 8160843 w 12117871"/>
                <a:gd name="connsiteY3734" fmla="*/ 2591324 h 6072780"/>
                <a:gd name="connsiteX3735" fmla="*/ 8140757 w 12117871"/>
                <a:gd name="connsiteY3735" fmla="*/ 2674903 h 6072780"/>
                <a:gd name="connsiteX3736" fmla="*/ 8084560 w 12117871"/>
                <a:gd name="connsiteY3736" fmla="*/ 2703716 h 6072780"/>
                <a:gd name="connsiteX3737" fmla="*/ 8031975 w 12117871"/>
                <a:gd name="connsiteY3737" fmla="*/ 2676182 h 6072780"/>
                <a:gd name="connsiteX3738" fmla="*/ 8013092 w 12117871"/>
                <a:gd name="connsiteY3738" fmla="*/ 2596590 h 6072780"/>
                <a:gd name="connsiteX3739" fmla="*/ 8032802 w 12117871"/>
                <a:gd name="connsiteY3739" fmla="*/ 2510075 h 6072780"/>
                <a:gd name="connsiteX3740" fmla="*/ 8089676 w 12117871"/>
                <a:gd name="connsiteY3740" fmla="*/ 2480736 h 6072780"/>
                <a:gd name="connsiteX3741" fmla="*/ 7710515 w 12117871"/>
                <a:gd name="connsiteY3741" fmla="*/ 2480736 h 6072780"/>
                <a:gd name="connsiteX3742" fmla="*/ 7725421 w 12117871"/>
                <a:gd name="connsiteY3742" fmla="*/ 2480736 h 6072780"/>
                <a:gd name="connsiteX3743" fmla="*/ 7725421 w 12117871"/>
                <a:gd name="connsiteY3743" fmla="*/ 2703716 h 6072780"/>
                <a:gd name="connsiteX3744" fmla="*/ 7690133 w 12117871"/>
                <a:gd name="connsiteY3744" fmla="*/ 2703716 h 6072780"/>
                <a:gd name="connsiteX3745" fmla="*/ 7690133 w 12117871"/>
                <a:gd name="connsiteY3745" fmla="*/ 2523933 h 6072780"/>
                <a:gd name="connsiteX3746" fmla="*/ 7669524 w 12117871"/>
                <a:gd name="connsiteY3746" fmla="*/ 2535568 h 6072780"/>
                <a:gd name="connsiteX3747" fmla="*/ 7644351 w 12117871"/>
                <a:gd name="connsiteY3747" fmla="*/ 2544010 h 6072780"/>
                <a:gd name="connsiteX3748" fmla="*/ 7644351 w 12117871"/>
                <a:gd name="connsiteY3748" fmla="*/ 2513894 h 6072780"/>
                <a:gd name="connsiteX3749" fmla="*/ 7661386 w 12117871"/>
                <a:gd name="connsiteY3749" fmla="*/ 2507810 h 6072780"/>
                <a:gd name="connsiteX3750" fmla="*/ 7677585 w 12117871"/>
                <a:gd name="connsiteY3750" fmla="*/ 2500661 h 6072780"/>
                <a:gd name="connsiteX3751" fmla="*/ 7693708 w 12117871"/>
                <a:gd name="connsiteY3751" fmla="*/ 2491839 h 6072780"/>
                <a:gd name="connsiteX3752" fmla="*/ 7710515 w 12117871"/>
                <a:gd name="connsiteY3752" fmla="*/ 2480736 h 6072780"/>
                <a:gd name="connsiteX3753" fmla="*/ 7348573 w 12117871"/>
                <a:gd name="connsiteY3753" fmla="*/ 2480736 h 6072780"/>
                <a:gd name="connsiteX3754" fmla="*/ 7363479 w 12117871"/>
                <a:gd name="connsiteY3754" fmla="*/ 2480736 h 6072780"/>
                <a:gd name="connsiteX3755" fmla="*/ 7363479 w 12117871"/>
                <a:gd name="connsiteY3755" fmla="*/ 2703716 h 6072780"/>
                <a:gd name="connsiteX3756" fmla="*/ 7328191 w 12117871"/>
                <a:gd name="connsiteY3756" fmla="*/ 2703716 h 6072780"/>
                <a:gd name="connsiteX3757" fmla="*/ 7328191 w 12117871"/>
                <a:gd name="connsiteY3757" fmla="*/ 2523933 h 6072780"/>
                <a:gd name="connsiteX3758" fmla="*/ 7307582 w 12117871"/>
                <a:gd name="connsiteY3758" fmla="*/ 2535568 h 6072780"/>
                <a:gd name="connsiteX3759" fmla="*/ 7282409 w 12117871"/>
                <a:gd name="connsiteY3759" fmla="*/ 2544010 h 6072780"/>
                <a:gd name="connsiteX3760" fmla="*/ 7282409 w 12117871"/>
                <a:gd name="connsiteY3760" fmla="*/ 2513894 h 6072780"/>
                <a:gd name="connsiteX3761" fmla="*/ 7299444 w 12117871"/>
                <a:gd name="connsiteY3761" fmla="*/ 2507810 h 6072780"/>
                <a:gd name="connsiteX3762" fmla="*/ 7315643 w 12117871"/>
                <a:gd name="connsiteY3762" fmla="*/ 2500661 h 6072780"/>
                <a:gd name="connsiteX3763" fmla="*/ 7331766 w 12117871"/>
                <a:gd name="connsiteY3763" fmla="*/ 2491839 h 6072780"/>
                <a:gd name="connsiteX3764" fmla="*/ 7348573 w 12117871"/>
                <a:gd name="connsiteY3764" fmla="*/ 2480736 h 6072780"/>
                <a:gd name="connsiteX3765" fmla="*/ 7048627 w 12117871"/>
                <a:gd name="connsiteY3765" fmla="*/ 2480736 h 6072780"/>
                <a:gd name="connsiteX3766" fmla="*/ 7063533 w 12117871"/>
                <a:gd name="connsiteY3766" fmla="*/ 2480736 h 6072780"/>
                <a:gd name="connsiteX3767" fmla="*/ 7063533 w 12117871"/>
                <a:gd name="connsiteY3767" fmla="*/ 2703716 h 6072780"/>
                <a:gd name="connsiteX3768" fmla="*/ 7028245 w 12117871"/>
                <a:gd name="connsiteY3768" fmla="*/ 2703716 h 6072780"/>
                <a:gd name="connsiteX3769" fmla="*/ 7028245 w 12117871"/>
                <a:gd name="connsiteY3769" fmla="*/ 2523933 h 6072780"/>
                <a:gd name="connsiteX3770" fmla="*/ 7007636 w 12117871"/>
                <a:gd name="connsiteY3770" fmla="*/ 2535568 h 6072780"/>
                <a:gd name="connsiteX3771" fmla="*/ 6982463 w 12117871"/>
                <a:gd name="connsiteY3771" fmla="*/ 2544010 h 6072780"/>
                <a:gd name="connsiteX3772" fmla="*/ 6982463 w 12117871"/>
                <a:gd name="connsiteY3772" fmla="*/ 2513894 h 6072780"/>
                <a:gd name="connsiteX3773" fmla="*/ 6999498 w 12117871"/>
                <a:gd name="connsiteY3773" fmla="*/ 2507810 h 6072780"/>
                <a:gd name="connsiteX3774" fmla="*/ 7015697 w 12117871"/>
                <a:gd name="connsiteY3774" fmla="*/ 2500661 h 6072780"/>
                <a:gd name="connsiteX3775" fmla="*/ 7031820 w 12117871"/>
                <a:gd name="connsiteY3775" fmla="*/ 2491839 h 6072780"/>
                <a:gd name="connsiteX3776" fmla="*/ 7048627 w 12117871"/>
                <a:gd name="connsiteY3776" fmla="*/ 2480736 h 6072780"/>
                <a:gd name="connsiteX3777" fmla="*/ 6831187 w 12117871"/>
                <a:gd name="connsiteY3777" fmla="*/ 2480736 h 6072780"/>
                <a:gd name="connsiteX3778" fmla="*/ 6902354 w 12117871"/>
                <a:gd name="connsiteY3778" fmla="*/ 2591324 h 6072780"/>
                <a:gd name="connsiteX3779" fmla="*/ 6882268 w 12117871"/>
                <a:gd name="connsiteY3779" fmla="*/ 2674903 h 6072780"/>
                <a:gd name="connsiteX3780" fmla="*/ 6826071 w 12117871"/>
                <a:gd name="connsiteY3780" fmla="*/ 2703716 h 6072780"/>
                <a:gd name="connsiteX3781" fmla="*/ 6773486 w 12117871"/>
                <a:gd name="connsiteY3781" fmla="*/ 2676182 h 6072780"/>
                <a:gd name="connsiteX3782" fmla="*/ 6754603 w 12117871"/>
                <a:gd name="connsiteY3782" fmla="*/ 2596590 h 6072780"/>
                <a:gd name="connsiteX3783" fmla="*/ 6774313 w 12117871"/>
                <a:gd name="connsiteY3783" fmla="*/ 2510075 h 6072780"/>
                <a:gd name="connsiteX3784" fmla="*/ 6831187 w 12117871"/>
                <a:gd name="connsiteY3784" fmla="*/ 2480736 h 6072780"/>
                <a:gd name="connsiteX3785" fmla="*/ 6618093 w 12117871"/>
                <a:gd name="connsiteY3785" fmla="*/ 2480736 h 6072780"/>
                <a:gd name="connsiteX3786" fmla="*/ 6689260 w 12117871"/>
                <a:gd name="connsiteY3786" fmla="*/ 2591324 h 6072780"/>
                <a:gd name="connsiteX3787" fmla="*/ 6669174 w 12117871"/>
                <a:gd name="connsiteY3787" fmla="*/ 2674903 h 6072780"/>
                <a:gd name="connsiteX3788" fmla="*/ 6612977 w 12117871"/>
                <a:gd name="connsiteY3788" fmla="*/ 2703716 h 6072780"/>
                <a:gd name="connsiteX3789" fmla="*/ 6560392 w 12117871"/>
                <a:gd name="connsiteY3789" fmla="*/ 2676182 h 6072780"/>
                <a:gd name="connsiteX3790" fmla="*/ 6541509 w 12117871"/>
                <a:gd name="connsiteY3790" fmla="*/ 2596590 h 6072780"/>
                <a:gd name="connsiteX3791" fmla="*/ 6561219 w 12117871"/>
                <a:gd name="connsiteY3791" fmla="*/ 2510075 h 6072780"/>
                <a:gd name="connsiteX3792" fmla="*/ 6618093 w 12117871"/>
                <a:gd name="connsiteY3792" fmla="*/ 2480736 h 6072780"/>
                <a:gd name="connsiteX3793" fmla="*/ 6456544 w 12117871"/>
                <a:gd name="connsiteY3793" fmla="*/ 2480736 h 6072780"/>
                <a:gd name="connsiteX3794" fmla="*/ 6471450 w 12117871"/>
                <a:gd name="connsiteY3794" fmla="*/ 2480736 h 6072780"/>
                <a:gd name="connsiteX3795" fmla="*/ 6471450 w 12117871"/>
                <a:gd name="connsiteY3795" fmla="*/ 2703716 h 6072780"/>
                <a:gd name="connsiteX3796" fmla="*/ 6436162 w 12117871"/>
                <a:gd name="connsiteY3796" fmla="*/ 2703716 h 6072780"/>
                <a:gd name="connsiteX3797" fmla="*/ 6436162 w 12117871"/>
                <a:gd name="connsiteY3797" fmla="*/ 2523933 h 6072780"/>
                <a:gd name="connsiteX3798" fmla="*/ 6415553 w 12117871"/>
                <a:gd name="connsiteY3798" fmla="*/ 2535568 h 6072780"/>
                <a:gd name="connsiteX3799" fmla="*/ 6390380 w 12117871"/>
                <a:gd name="connsiteY3799" fmla="*/ 2544010 h 6072780"/>
                <a:gd name="connsiteX3800" fmla="*/ 6390380 w 12117871"/>
                <a:gd name="connsiteY3800" fmla="*/ 2513894 h 6072780"/>
                <a:gd name="connsiteX3801" fmla="*/ 6407415 w 12117871"/>
                <a:gd name="connsiteY3801" fmla="*/ 2507810 h 6072780"/>
                <a:gd name="connsiteX3802" fmla="*/ 6423614 w 12117871"/>
                <a:gd name="connsiteY3802" fmla="*/ 2500661 h 6072780"/>
                <a:gd name="connsiteX3803" fmla="*/ 6439737 w 12117871"/>
                <a:gd name="connsiteY3803" fmla="*/ 2491839 h 6072780"/>
                <a:gd name="connsiteX3804" fmla="*/ 6456544 w 12117871"/>
                <a:gd name="connsiteY3804" fmla="*/ 2480736 h 6072780"/>
                <a:gd name="connsiteX3805" fmla="*/ 6156598 w 12117871"/>
                <a:gd name="connsiteY3805" fmla="*/ 2480736 h 6072780"/>
                <a:gd name="connsiteX3806" fmla="*/ 6171504 w 12117871"/>
                <a:gd name="connsiteY3806" fmla="*/ 2480736 h 6072780"/>
                <a:gd name="connsiteX3807" fmla="*/ 6171504 w 12117871"/>
                <a:gd name="connsiteY3807" fmla="*/ 2703716 h 6072780"/>
                <a:gd name="connsiteX3808" fmla="*/ 6136216 w 12117871"/>
                <a:gd name="connsiteY3808" fmla="*/ 2703716 h 6072780"/>
                <a:gd name="connsiteX3809" fmla="*/ 6136216 w 12117871"/>
                <a:gd name="connsiteY3809" fmla="*/ 2523933 h 6072780"/>
                <a:gd name="connsiteX3810" fmla="*/ 6115607 w 12117871"/>
                <a:gd name="connsiteY3810" fmla="*/ 2535568 h 6072780"/>
                <a:gd name="connsiteX3811" fmla="*/ 6090434 w 12117871"/>
                <a:gd name="connsiteY3811" fmla="*/ 2544010 h 6072780"/>
                <a:gd name="connsiteX3812" fmla="*/ 6090434 w 12117871"/>
                <a:gd name="connsiteY3812" fmla="*/ 2513894 h 6072780"/>
                <a:gd name="connsiteX3813" fmla="*/ 6107469 w 12117871"/>
                <a:gd name="connsiteY3813" fmla="*/ 2507810 h 6072780"/>
                <a:gd name="connsiteX3814" fmla="*/ 6123668 w 12117871"/>
                <a:gd name="connsiteY3814" fmla="*/ 2500661 h 6072780"/>
                <a:gd name="connsiteX3815" fmla="*/ 6139791 w 12117871"/>
                <a:gd name="connsiteY3815" fmla="*/ 2491839 h 6072780"/>
                <a:gd name="connsiteX3816" fmla="*/ 6156598 w 12117871"/>
                <a:gd name="connsiteY3816" fmla="*/ 2480736 h 6072780"/>
                <a:gd name="connsiteX3817" fmla="*/ 5973070 w 12117871"/>
                <a:gd name="connsiteY3817" fmla="*/ 2480736 h 6072780"/>
                <a:gd name="connsiteX3818" fmla="*/ 5987976 w 12117871"/>
                <a:gd name="connsiteY3818" fmla="*/ 2480736 h 6072780"/>
                <a:gd name="connsiteX3819" fmla="*/ 5987976 w 12117871"/>
                <a:gd name="connsiteY3819" fmla="*/ 2703716 h 6072780"/>
                <a:gd name="connsiteX3820" fmla="*/ 5952688 w 12117871"/>
                <a:gd name="connsiteY3820" fmla="*/ 2703716 h 6072780"/>
                <a:gd name="connsiteX3821" fmla="*/ 5952688 w 12117871"/>
                <a:gd name="connsiteY3821" fmla="*/ 2523933 h 6072780"/>
                <a:gd name="connsiteX3822" fmla="*/ 5932078 w 12117871"/>
                <a:gd name="connsiteY3822" fmla="*/ 2535568 h 6072780"/>
                <a:gd name="connsiteX3823" fmla="*/ 5906905 w 12117871"/>
                <a:gd name="connsiteY3823" fmla="*/ 2544010 h 6072780"/>
                <a:gd name="connsiteX3824" fmla="*/ 5906905 w 12117871"/>
                <a:gd name="connsiteY3824" fmla="*/ 2513894 h 6072780"/>
                <a:gd name="connsiteX3825" fmla="*/ 5923941 w 12117871"/>
                <a:gd name="connsiteY3825" fmla="*/ 2507810 h 6072780"/>
                <a:gd name="connsiteX3826" fmla="*/ 5940139 w 12117871"/>
                <a:gd name="connsiteY3826" fmla="*/ 2500661 h 6072780"/>
                <a:gd name="connsiteX3827" fmla="*/ 5956262 w 12117871"/>
                <a:gd name="connsiteY3827" fmla="*/ 2491839 h 6072780"/>
                <a:gd name="connsiteX3828" fmla="*/ 5973070 w 12117871"/>
                <a:gd name="connsiteY3828" fmla="*/ 2480736 h 6072780"/>
                <a:gd name="connsiteX3829" fmla="*/ 5605408 w 12117871"/>
                <a:gd name="connsiteY3829" fmla="*/ 2480736 h 6072780"/>
                <a:gd name="connsiteX3830" fmla="*/ 5620313 w 12117871"/>
                <a:gd name="connsiteY3830" fmla="*/ 2480736 h 6072780"/>
                <a:gd name="connsiteX3831" fmla="*/ 5620313 w 12117871"/>
                <a:gd name="connsiteY3831" fmla="*/ 2703716 h 6072780"/>
                <a:gd name="connsiteX3832" fmla="*/ 5585026 w 12117871"/>
                <a:gd name="connsiteY3832" fmla="*/ 2703716 h 6072780"/>
                <a:gd name="connsiteX3833" fmla="*/ 5585026 w 12117871"/>
                <a:gd name="connsiteY3833" fmla="*/ 2523933 h 6072780"/>
                <a:gd name="connsiteX3834" fmla="*/ 5564417 w 12117871"/>
                <a:gd name="connsiteY3834" fmla="*/ 2535568 h 6072780"/>
                <a:gd name="connsiteX3835" fmla="*/ 5539244 w 12117871"/>
                <a:gd name="connsiteY3835" fmla="*/ 2544010 h 6072780"/>
                <a:gd name="connsiteX3836" fmla="*/ 5539244 w 12117871"/>
                <a:gd name="connsiteY3836" fmla="*/ 2513894 h 6072780"/>
                <a:gd name="connsiteX3837" fmla="*/ 5556279 w 12117871"/>
                <a:gd name="connsiteY3837" fmla="*/ 2507810 h 6072780"/>
                <a:gd name="connsiteX3838" fmla="*/ 5572478 w 12117871"/>
                <a:gd name="connsiteY3838" fmla="*/ 2500661 h 6072780"/>
                <a:gd name="connsiteX3839" fmla="*/ 5588600 w 12117871"/>
                <a:gd name="connsiteY3839" fmla="*/ 2491839 h 6072780"/>
                <a:gd name="connsiteX3840" fmla="*/ 5605408 w 12117871"/>
                <a:gd name="connsiteY3840" fmla="*/ 2480736 h 6072780"/>
                <a:gd name="connsiteX3841" fmla="*/ 5455435 w 12117871"/>
                <a:gd name="connsiteY3841" fmla="*/ 2480736 h 6072780"/>
                <a:gd name="connsiteX3842" fmla="*/ 5470341 w 12117871"/>
                <a:gd name="connsiteY3842" fmla="*/ 2480736 h 6072780"/>
                <a:gd name="connsiteX3843" fmla="*/ 5470341 w 12117871"/>
                <a:gd name="connsiteY3843" fmla="*/ 2703716 h 6072780"/>
                <a:gd name="connsiteX3844" fmla="*/ 5435053 w 12117871"/>
                <a:gd name="connsiteY3844" fmla="*/ 2703716 h 6072780"/>
                <a:gd name="connsiteX3845" fmla="*/ 5435053 w 12117871"/>
                <a:gd name="connsiteY3845" fmla="*/ 2523933 h 6072780"/>
                <a:gd name="connsiteX3846" fmla="*/ 5414443 w 12117871"/>
                <a:gd name="connsiteY3846" fmla="*/ 2535568 h 6072780"/>
                <a:gd name="connsiteX3847" fmla="*/ 5389271 w 12117871"/>
                <a:gd name="connsiteY3847" fmla="*/ 2544010 h 6072780"/>
                <a:gd name="connsiteX3848" fmla="*/ 5389271 w 12117871"/>
                <a:gd name="connsiteY3848" fmla="*/ 2513894 h 6072780"/>
                <a:gd name="connsiteX3849" fmla="*/ 5406306 w 12117871"/>
                <a:gd name="connsiteY3849" fmla="*/ 2507810 h 6072780"/>
                <a:gd name="connsiteX3850" fmla="*/ 5422505 w 12117871"/>
                <a:gd name="connsiteY3850" fmla="*/ 2500661 h 6072780"/>
                <a:gd name="connsiteX3851" fmla="*/ 5438628 w 12117871"/>
                <a:gd name="connsiteY3851" fmla="*/ 2491839 h 6072780"/>
                <a:gd name="connsiteX3852" fmla="*/ 5455435 w 12117871"/>
                <a:gd name="connsiteY3852" fmla="*/ 2480736 h 6072780"/>
                <a:gd name="connsiteX3853" fmla="*/ 5305462 w 12117871"/>
                <a:gd name="connsiteY3853" fmla="*/ 2480736 h 6072780"/>
                <a:gd name="connsiteX3854" fmla="*/ 5320368 w 12117871"/>
                <a:gd name="connsiteY3854" fmla="*/ 2480736 h 6072780"/>
                <a:gd name="connsiteX3855" fmla="*/ 5320368 w 12117871"/>
                <a:gd name="connsiteY3855" fmla="*/ 2703716 h 6072780"/>
                <a:gd name="connsiteX3856" fmla="*/ 5285079 w 12117871"/>
                <a:gd name="connsiteY3856" fmla="*/ 2703716 h 6072780"/>
                <a:gd name="connsiteX3857" fmla="*/ 5285079 w 12117871"/>
                <a:gd name="connsiteY3857" fmla="*/ 2523933 h 6072780"/>
                <a:gd name="connsiteX3858" fmla="*/ 5264471 w 12117871"/>
                <a:gd name="connsiteY3858" fmla="*/ 2535568 h 6072780"/>
                <a:gd name="connsiteX3859" fmla="*/ 5239298 w 12117871"/>
                <a:gd name="connsiteY3859" fmla="*/ 2544010 h 6072780"/>
                <a:gd name="connsiteX3860" fmla="*/ 5239298 w 12117871"/>
                <a:gd name="connsiteY3860" fmla="*/ 2513894 h 6072780"/>
                <a:gd name="connsiteX3861" fmla="*/ 5256333 w 12117871"/>
                <a:gd name="connsiteY3861" fmla="*/ 2507810 h 6072780"/>
                <a:gd name="connsiteX3862" fmla="*/ 5272532 w 12117871"/>
                <a:gd name="connsiteY3862" fmla="*/ 2500661 h 6072780"/>
                <a:gd name="connsiteX3863" fmla="*/ 5288656 w 12117871"/>
                <a:gd name="connsiteY3863" fmla="*/ 2491839 h 6072780"/>
                <a:gd name="connsiteX3864" fmla="*/ 5305462 w 12117871"/>
                <a:gd name="connsiteY3864" fmla="*/ 2480736 h 6072780"/>
                <a:gd name="connsiteX3865" fmla="*/ 4556784 w 12117871"/>
                <a:gd name="connsiteY3865" fmla="*/ 2480736 h 6072780"/>
                <a:gd name="connsiteX3866" fmla="*/ 4571690 w 12117871"/>
                <a:gd name="connsiteY3866" fmla="*/ 2480736 h 6072780"/>
                <a:gd name="connsiteX3867" fmla="*/ 4571690 w 12117871"/>
                <a:gd name="connsiteY3867" fmla="*/ 2703716 h 6072780"/>
                <a:gd name="connsiteX3868" fmla="*/ 4536402 w 12117871"/>
                <a:gd name="connsiteY3868" fmla="*/ 2703716 h 6072780"/>
                <a:gd name="connsiteX3869" fmla="*/ 4536402 w 12117871"/>
                <a:gd name="connsiteY3869" fmla="*/ 2523933 h 6072780"/>
                <a:gd name="connsiteX3870" fmla="*/ 4515793 w 12117871"/>
                <a:gd name="connsiteY3870" fmla="*/ 2535568 h 6072780"/>
                <a:gd name="connsiteX3871" fmla="*/ 4490620 w 12117871"/>
                <a:gd name="connsiteY3871" fmla="*/ 2544010 h 6072780"/>
                <a:gd name="connsiteX3872" fmla="*/ 4490620 w 12117871"/>
                <a:gd name="connsiteY3872" fmla="*/ 2513894 h 6072780"/>
                <a:gd name="connsiteX3873" fmla="*/ 4507655 w 12117871"/>
                <a:gd name="connsiteY3873" fmla="*/ 2507810 h 6072780"/>
                <a:gd name="connsiteX3874" fmla="*/ 4523854 w 12117871"/>
                <a:gd name="connsiteY3874" fmla="*/ 2500661 h 6072780"/>
                <a:gd name="connsiteX3875" fmla="*/ 4539977 w 12117871"/>
                <a:gd name="connsiteY3875" fmla="*/ 2491839 h 6072780"/>
                <a:gd name="connsiteX3876" fmla="*/ 4556784 w 12117871"/>
                <a:gd name="connsiteY3876" fmla="*/ 2480736 h 6072780"/>
                <a:gd name="connsiteX3877" fmla="*/ 4406811 w 12117871"/>
                <a:gd name="connsiteY3877" fmla="*/ 2480736 h 6072780"/>
                <a:gd name="connsiteX3878" fmla="*/ 4421716 w 12117871"/>
                <a:gd name="connsiteY3878" fmla="*/ 2480736 h 6072780"/>
                <a:gd name="connsiteX3879" fmla="*/ 4421716 w 12117871"/>
                <a:gd name="connsiteY3879" fmla="*/ 2703716 h 6072780"/>
                <a:gd name="connsiteX3880" fmla="*/ 4386429 w 12117871"/>
                <a:gd name="connsiteY3880" fmla="*/ 2703716 h 6072780"/>
                <a:gd name="connsiteX3881" fmla="*/ 4386429 w 12117871"/>
                <a:gd name="connsiteY3881" fmla="*/ 2523933 h 6072780"/>
                <a:gd name="connsiteX3882" fmla="*/ 4365820 w 12117871"/>
                <a:gd name="connsiteY3882" fmla="*/ 2535568 h 6072780"/>
                <a:gd name="connsiteX3883" fmla="*/ 4340647 w 12117871"/>
                <a:gd name="connsiteY3883" fmla="*/ 2544010 h 6072780"/>
                <a:gd name="connsiteX3884" fmla="*/ 4340647 w 12117871"/>
                <a:gd name="connsiteY3884" fmla="*/ 2513894 h 6072780"/>
                <a:gd name="connsiteX3885" fmla="*/ 4357682 w 12117871"/>
                <a:gd name="connsiteY3885" fmla="*/ 2507810 h 6072780"/>
                <a:gd name="connsiteX3886" fmla="*/ 4373881 w 12117871"/>
                <a:gd name="connsiteY3886" fmla="*/ 2500661 h 6072780"/>
                <a:gd name="connsiteX3887" fmla="*/ 4390004 w 12117871"/>
                <a:gd name="connsiteY3887" fmla="*/ 2491839 h 6072780"/>
                <a:gd name="connsiteX3888" fmla="*/ 4406811 w 12117871"/>
                <a:gd name="connsiteY3888" fmla="*/ 2480736 h 6072780"/>
                <a:gd name="connsiteX3889" fmla="*/ 4106866 w 12117871"/>
                <a:gd name="connsiteY3889" fmla="*/ 2480736 h 6072780"/>
                <a:gd name="connsiteX3890" fmla="*/ 4121772 w 12117871"/>
                <a:gd name="connsiteY3890" fmla="*/ 2480736 h 6072780"/>
                <a:gd name="connsiteX3891" fmla="*/ 4121772 w 12117871"/>
                <a:gd name="connsiteY3891" fmla="*/ 2703716 h 6072780"/>
                <a:gd name="connsiteX3892" fmla="*/ 4086484 w 12117871"/>
                <a:gd name="connsiteY3892" fmla="*/ 2703716 h 6072780"/>
                <a:gd name="connsiteX3893" fmla="*/ 4086484 w 12117871"/>
                <a:gd name="connsiteY3893" fmla="*/ 2523933 h 6072780"/>
                <a:gd name="connsiteX3894" fmla="*/ 4065875 w 12117871"/>
                <a:gd name="connsiteY3894" fmla="*/ 2535568 h 6072780"/>
                <a:gd name="connsiteX3895" fmla="*/ 4040701 w 12117871"/>
                <a:gd name="connsiteY3895" fmla="*/ 2544010 h 6072780"/>
                <a:gd name="connsiteX3896" fmla="*/ 4040701 w 12117871"/>
                <a:gd name="connsiteY3896" fmla="*/ 2513894 h 6072780"/>
                <a:gd name="connsiteX3897" fmla="*/ 4057737 w 12117871"/>
                <a:gd name="connsiteY3897" fmla="*/ 2507810 h 6072780"/>
                <a:gd name="connsiteX3898" fmla="*/ 4073936 w 12117871"/>
                <a:gd name="connsiteY3898" fmla="*/ 2500661 h 6072780"/>
                <a:gd name="connsiteX3899" fmla="*/ 4090059 w 12117871"/>
                <a:gd name="connsiteY3899" fmla="*/ 2491839 h 6072780"/>
                <a:gd name="connsiteX3900" fmla="*/ 4106866 w 12117871"/>
                <a:gd name="connsiteY3900" fmla="*/ 2480736 h 6072780"/>
                <a:gd name="connsiteX3901" fmla="*/ 3726275 w 12117871"/>
                <a:gd name="connsiteY3901" fmla="*/ 2480736 h 6072780"/>
                <a:gd name="connsiteX3902" fmla="*/ 3741181 w 12117871"/>
                <a:gd name="connsiteY3902" fmla="*/ 2480736 h 6072780"/>
                <a:gd name="connsiteX3903" fmla="*/ 3741181 w 12117871"/>
                <a:gd name="connsiteY3903" fmla="*/ 2703716 h 6072780"/>
                <a:gd name="connsiteX3904" fmla="*/ 3705893 w 12117871"/>
                <a:gd name="connsiteY3904" fmla="*/ 2703716 h 6072780"/>
                <a:gd name="connsiteX3905" fmla="*/ 3705893 w 12117871"/>
                <a:gd name="connsiteY3905" fmla="*/ 2523933 h 6072780"/>
                <a:gd name="connsiteX3906" fmla="*/ 3685283 w 12117871"/>
                <a:gd name="connsiteY3906" fmla="*/ 2535568 h 6072780"/>
                <a:gd name="connsiteX3907" fmla="*/ 3660111 w 12117871"/>
                <a:gd name="connsiteY3907" fmla="*/ 2544010 h 6072780"/>
                <a:gd name="connsiteX3908" fmla="*/ 3660111 w 12117871"/>
                <a:gd name="connsiteY3908" fmla="*/ 2513894 h 6072780"/>
                <a:gd name="connsiteX3909" fmla="*/ 3677146 w 12117871"/>
                <a:gd name="connsiteY3909" fmla="*/ 2507810 h 6072780"/>
                <a:gd name="connsiteX3910" fmla="*/ 3693344 w 12117871"/>
                <a:gd name="connsiteY3910" fmla="*/ 2500661 h 6072780"/>
                <a:gd name="connsiteX3911" fmla="*/ 3709468 w 12117871"/>
                <a:gd name="connsiteY3911" fmla="*/ 2491839 h 6072780"/>
                <a:gd name="connsiteX3912" fmla="*/ 3726275 w 12117871"/>
                <a:gd name="connsiteY3912" fmla="*/ 2480736 h 6072780"/>
                <a:gd name="connsiteX3913" fmla="*/ 3576301 w 12117871"/>
                <a:gd name="connsiteY3913" fmla="*/ 2480736 h 6072780"/>
                <a:gd name="connsiteX3914" fmla="*/ 3591208 w 12117871"/>
                <a:gd name="connsiteY3914" fmla="*/ 2480736 h 6072780"/>
                <a:gd name="connsiteX3915" fmla="*/ 3591208 w 12117871"/>
                <a:gd name="connsiteY3915" fmla="*/ 2703716 h 6072780"/>
                <a:gd name="connsiteX3916" fmla="*/ 3555920 w 12117871"/>
                <a:gd name="connsiteY3916" fmla="*/ 2703716 h 6072780"/>
                <a:gd name="connsiteX3917" fmla="*/ 3555920 w 12117871"/>
                <a:gd name="connsiteY3917" fmla="*/ 2523933 h 6072780"/>
                <a:gd name="connsiteX3918" fmla="*/ 3535311 w 12117871"/>
                <a:gd name="connsiteY3918" fmla="*/ 2535568 h 6072780"/>
                <a:gd name="connsiteX3919" fmla="*/ 3510138 w 12117871"/>
                <a:gd name="connsiteY3919" fmla="*/ 2544010 h 6072780"/>
                <a:gd name="connsiteX3920" fmla="*/ 3510138 w 12117871"/>
                <a:gd name="connsiteY3920" fmla="*/ 2513894 h 6072780"/>
                <a:gd name="connsiteX3921" fmla="*/ 3527173 w 12117871"/>
                <a:gd name="connsiteY3921" fmla="*/ 2507810 h 6072780"/>
                <a:gd name="connsiteX3922" fmla="*/ 3543372 w 12117871"/>
                <a:gd name="connsiteY3922" fmla="*/ 2500661 h 6072780"/>
                <a:gd name="connsiteX3923" fmla="*/ 3559494 w 12117871"/>
                <a:gd name="connsiteY3923" fmla="*/ 2491839 h 6072780"/>
                <a:gd name="connsiteX3924" fmla="*/ 3576301 w 12117871"/>
                <a:gd name="connsiteY3924" fmla="*/ 2480736 h 6072780"/>
                <a:gd name="connsiteX3925" fmla="*/ 3426329 w 12117871"/>
                <a:gd name="connsiteY3925" fmla="*/ 2480736 h 6072780"/>
                <a:gd name="connsiteX3926" fmla="*/ 3441235 w 12117871"/>
                <a:gd name="connsiteY3926" fmla="*/ 2480736 h 6072780"/>
                <a:gd name="connsiteX3927" fmla="*/ 3441235 w 12117871"/>
                <a:gd name="connsiteY3927" fmla="*/ 2703716 h 6072780"/>
                <a:gd name="connsiteX3928" fmla="*/ 3405947 w 12117871"/>
                <a:gd name="connsiteY3928" fmla="*/ 2703716 h 6072780"/>
                <a:gd name="connsiteX3929" fmla="*/ 3405947 w 12117871"/>
                <a:gd name="connsiteY3929" fmla="*/ 2523933 h 6072780"/>
                <a:gd name="connsiteX3930" fmla="*/ 3385338 w 12117871"/>
                <a:gd name="connsiteY3930" fmla="*/ 2535568 h 6072780"/>
                <a:gd name="connsiteX3931" fmla="*/ 3360165 w 12117871"/>
                <a:gd name="connsiteY3931" fmla="*/ 2544010 h 6072780"/>
                <a:gd name="connsiteX3932" fmla="*/ 3360165 w 12117871"/>
                <a:gd name="connsiteY3932" fmla="*/ 2513894 h 6072780"/>
                <a:gd name="connsiteX3933" fmla="*/ 3377200 w 12117871"/>
                <a:gd name="connsiteY3933" fmla="*/ 2507810 h 6072780"/>
                <a:gd name="connsiteX3934" fmla="*/ 3393399 w 12117871"/>
                <a:gd name="connsiteY3934" fmla="*/ 2500661 h 6072780"/>
                <a:gd name="connsiteX3935" fmla="*/ 3409521 w 12117871"/>
                <a:gd name="connsiteY3935" fmla="*/ 2491839 h 6072780"/>
                <a:gd name="connsiteX3936" fmla="*/ 3426329 w 12117871"/>
                <a:gd name="connsiteY3936" fmla="*/ 2480736 h 6072780"/>
                <a:gd name="connsiteX3937" fmla="*/ 3276356 w 12117871"/>
                <a:gd name="connsiteY3937" fmla="*/ 2480736 h 6072780"/>
                <a:gd name="connsiteX3938" fmla="*/ 3291262 w 12117871"/>
                <a:gd name="connsiteY3938" fmla="*/ 2480736 h 6072780"/>
                <a:gd name="connsiteX3939" fmla="*/ 3291262 w 12117871"/>
                <a:gd name="connsiteY3939" fmla="*/ 2703716 h 6072780"/>
                <a:gd name="connsiteX3940" fmla="*/ 3255974 w 12117871"/>
                <a:gd name="connsiteY3940" fmla="*/ 2703716 h 6072780"/>
                <a:gd name="connsiteX3941" fmla="*/ 3255974 w 12117871"/>
                <a:gd name="connsiteY3941" fmla="*/ 2523933 h 6072780"/>
                <a:gd name="connsiteX3942" fmla="*/ 3235365 w 12117871"/>
                <a:gd name="connsiteY3942" fmla="*/ 2535568 h 6072780"/>
                <a:gd name="connsiteX3943" fmla="*/ 3210192 w 12117871"/>
                <a:gd name="connsiteY3943" fmla="*/ 2544010 h 6072780"/>
                <a:gd name="connsiteX3944" fmla="*/ 3210192 w 12117871"/>
                <a:gd name="connsiteY3944" fmla="*/ 2513894 h 6072780"/>
                <a:gd name="connsiteX3945" fmla="*/ 3227227 w 12117871"/>
                <a:gd name="connsiteY3945" fmla="*/ 2507810 h 6072780"/>
                <a:gd name="connsiteX3946" fmla="*/ 3243426 w 12117871"/>
                <a:gd name="connsiteY3946" fmla="*/ 2500661 h 6072780"/>
                <a:gd name="connsiteX3947" fmla="*/ 3259549 w 12117871"/>
                <a:gd name="connsiteY3947" fmla="*/ 2491839 h 6072780"/>
                <a:gd name="connsiteX3948" fmla="*/ 3276356 w 12117871"/>
                <a:gd name="connsiteY3948" fmla="*/ 2480736 h 6072780"/>
                <a:gd name="connsiteX3949" fmla="*/ 3072419 w 12117871"/>
                <a:gd name="connsiteY3949" fmla="*/ 2480736 h 6072780"/>
                <a:gd name="connsiteX3950" fmla="*/ 3143586 w 12117871"/>
                <a:gd name="connsiteY3950" fmla="*/ 2591324 h 6072780"/>
                <a:gd name="connsiteX3951" fmla="*/ 3123500 w 12117871"/>
                <a:gd name="connsiteY3951" fmla="*/ 2674903 h 6072780"/>
                <a:gd name="connsiteX3952" fmla="*/ 3067303 w 12117871"/>
                <a:gd name="connsiteY3952" fmla="*/ 2703716 h 6072780"/>
                <a:gd name="connsiteX3953" fmla="*/ 3014718 w 12117871"/>
                <a:gd name="connsiteY3953" fmla="*/ 2676182 h 6072780"/>
                <a:gd name="connsiteX3954" fmla="*/ 2995835 w 12117871"/>
                <a:gd name="connsiteY3954" fmla="*/ 2596590 h 6072780"/>
                <a:gd name="connsiteX3955" fmla="*/ 3015545 w 12117871"/>
                <a:gd name="connsiteY3955" fmla="*/ 2510075 h 6072780"/>
                <a:gd name="connsiteX3956" fmla="*/ 3072419 w 12117871"/>
                <a:gd name="connsiteY3956" fmla="*/ 2480736 h 6072780"/>
                <a:gd name="connsiteX3957" fmla="*/ 2942173 w 12117871"/>
                <a:gd name="connsiteY3957" fmla="*/ 2480736 h 6072780"/>
                <a:gd name="connsiteX3958" fmla="*/ 2957079 w 12117871"/>
                <a:gd name="connsiteY3958" fmla="*/ 2480736 h 6072780"/>
                <a:gd name="connsiteX3959" fmla="*/ 2957079 w 12117871"/>
                <a:gd name="connsiteY3959" fmla="*/ 2703716 h 6072780"/>
                <a:gd name="connsiteX3960" fmla="*/ 2921791 w 12117871"/>
                <a:gd name="connsiteY3960" fmla="*/ 2703716 h 6072780"/>
                <a:gd name="connsiteX3961" fmla="*/ 2921791 w 12117871"/>
                <a:gd name="connsiteY3961" fmla="*/ 2523933 h 6072780"/>
                <a:gd name="connsiteX3962" fmla="*/ 2901182 w 12117871"/>
                <a:gd name="connsiteY3962" fmla="*/ 2535568 h 6072780"/>
                <a:gd name="connsiteX3963" fmla="*/ 2876008 w 12117871"/>
                <a:gd name="connsiteY3963" fmla="*/ 2544010 h 6072780"/>
                <a:gd name="connsiteX3964" fmla="*/ 2876008 w 12117871"/>
                <a:gd name="connsiteY3964" fmla="*/ 2513894 h 6072780"/>
                <a:gd name="connsiteX3965" fmla="*/ 2893044 w 12117871"/>
                <a:gd name="connsiteY3965" fmla="*/ 2507810 h 6072780"/>
                <a:gd name="connsiteX3966" fmla="*/ 2909242 w 12117871"/>
                <a:gd name="connsiteY3966" fmla="*/ 2500661 h 6072780"/>
                <a:gd name="connsiteX3967" fmla="*/ 2925366 w 12117871"/>
                <a:gd name="connsiteY3967" fmla="*/ 2491839 h 6072780"/>
                <a:gd name="connsiteX3968" fmla="*/ 2942173 w 12117871"/>
                <a:gd name="connsiteY3968" fmla="*/ 2480736 h 6072780"/>
                <a:gd name="connsiteX3969" fmla="*/ 2725616 w 12117871"/>
                <a:gd name="connsiteY3969" fmla="*/ 2480736 h 6072780"/>
                <a:gd name="connsiteX3970" fmla="*/ 2796783 w 12117871"/>
                <a:gd name="connsiteY3970" fmla="*/ 2591324 h 6072780"/>
                <a:gd name="connsiteX3971" fmla="*/ 2776697 w 12117871"/>
                <a:gd name="connsiteY3971" fmla="*/ 2674903 h 6072780"/>
                <a:gd name="connsiteX3972" fmla="*/ 2720500 w 12117871"/>
                <a:gd name="connsiteY3972" fmla="*/ 2703716 h 6072780"/>
                <a:gd name="connsiteX3973" fmla="*/ 2667915 w 12117871"/>
                <a:gd name="connsiteY3973" fmla="*/ 2676182 h 6072780"/>
                <a:gd name="connsiteX3974" fmla="*/ 2649032 w 12117871"/>
                <a:gd name="connsiteY3974" fmla="*/ 2596590 h 6072780"/>
                <a:gd name="connsiteX3975" fmla="*/ 2668742 w 12117871"/>
                <a:gd name="connsiteY3975" fmla="*/ 2510075 h 6072780"/>
                <a:gd name="connsiteX3976" fmla="*/ 2725616 w 12117871"/>
                <a:gd name="connsiteY3976" fmla="*/ 2480736 h 6072780"/>
                <a:gd name="connsiteX3977" fmla="*/ 2034250 w 12117871"/>
                <a:gd name="connsiteY3977" fmla="*/ 2480736 h 6072780"/>
                <a:gd name="connsiteX3978" fmla="*/ 2105417 w 12117871"/>
                <a:gd name="connsiteY3978" fmla="*/ 2591324 h 6072780"/>
                <a:gd name="connsiteX3979" fmla="*/ 2085332 w 12117871"/>
                <a:gd name="connsiteY3979" fmla="*/ 2674903 h 6072780"/>
                <a:gd name="connsiteX3980" fmla="*/ 2029134 w 12117871"/>
                <a:gd name="connsiteY3980" fmla="*/ 2703716 h 6072780"/>
                <a:gd name="connsiteX3981" fmla="*/ 1976549 w 12117871"/>
                <a:gd name="connsiteY3981" fmla="*/ 2676182 h 6072780"/>
                <a:gd name="connsiteX3982" fmla="*/ 1957666 w 12117871"/>
                <a:gd name="connsiteY3982" fmla="*/ 2596590 h 6072780"/>
                <a:gd name="connsiteX3983" fmla="*/ 1977376 w 12117871"/>
                <a:gd name="connsiteY3983" fmla="*/ 2510075 h 6072780"/>
                <a:gd name="connsiteX3984" fmla="*/ 2034250 w 12117871"/>
                <a:gd name="connsiteY3984" fmla="*/ 2480736 h 6072780"/>
                <a:gd name="connsiteX3985" fmla="*/ 1661890 w 12117871"/>
                <a:gd name="connsiteY3985" fmla="*/ 2480736 h 6072780"/>
                <a:gd name="connsiteX3986" fmla="*/ 1676796 w 12117871"/>
                <a:gd name="connsiteY3986" fmla="*/ 2480736 h 6072780"/>
                <a:gd name="connsiteX3987" fmla="*/ 1676796 w 12117871"/>
                <a:gd name="connsiteY3987" fmla="*/ 2703716 h 6072780"/>
                <a:gd name="connsiteX3988" fmla="*/ 1641507 w 12117871"/>
                <a:gd name="connsiteY3988" fmla="*/ 2703716 h 6072780"/>
                <a:gd name="connsiteX3989" fmla="*/ 1641507 w 12117871"/>
                <a:gd name="connsiteY3989" fmla="*/ 2523933 h 6072780"/>
                <a:gd name="connsiteX3990" fmla="*/ 1620898 w 12117871"/>
                <a:gd name="connsiteY3990" fmla="*/ 2535568 h 6072780"/>
                <a:gd name="connsiteX3991" fmla="*/ 1595726 w 12117871"/>
                <a:gd name="connsiteY3991" fmla="*/ 2544010 h 6072780"/>
                <a:gd name="connsiteX3992" fmla="*/ 1595726 w 12117871"/>
                <a:gd name="connsiteY3992" fmla="*/ 2513894 h 6072780"/>
                <a:gd name="connsiteX3993" fmla="*/ 1612761 w 12117871"/>
                <a:gd name="connsiteY3993" fmla="*/ 2507810 h 6072780"/>
                <a:gd name="connsiteX3994" fmla="*/ 1628960 w 12117871"/>
                <a:gd name="connsiteY3994" fmla="*/ 2500661 h 6072780"/>
                <a:gd name="connsiteX3995" fmla="*/ 1645083 w 12117871"/>
                <a:gd name="connsiteY3995" fmla="*/ 2491839 h 6072780"/>
                <a:gd name="connsiteX3996" fmla="*/ 1661890 w 12117871"/>
                <a:gd name="connsiteY3996" fmla="*/ 2480736 h 6072780"/>
                <a:gd name="connsiteX3997" fmla="*/ 1285224 w 12117871"/>
                <a:gd name="connsiteY3997" fmla="*/ 2480736 h 6072780"/>
                <a:gd name="connsiteX3998" fmla="*/ 1300130 w 12117871"/>
                <a:gd name="connsiteY3998" fmla="*/ 2480736 h 6072780"/>
                <a:gd name="connsiteX3999" fmla="*/ 1300130 w 12117871"/>
                <a:gd name="connsiteY3999" fmla="*/ 2703716 h 6072780"/>
                <a:gd name="connsiteX4000" fmla="*/ 1264841 w 12117871"/>
                <a:gd name="connsiteY4000" fmla="*/ 2703716 h 6072780"/>
                <a:gd name="connsiteX4001" fmla="*/ 1264841 w 12117871"/>
                <a:gd name="connsiteY4001" fmla="*/ 2523933 h 6072780"/>
                <a:gd name="connsiteX4002" fmla="*/ 1244232 w 12117871"/>
                <a:gd name="connsiteY4002" fmla="*/ 2535568 h 6072780"/>
                <a:gd name="connsiteX4003" fmla="*/ 1219060 w 12117871"/>
                <a:gd name="connsiteY4003" fmla="*/ 2544010 h 6072780"/>
                <a:gd name="connsiteX4004" fmla="*/ 1219060 w 12117871"/>
                <a:gd name="connsiteY4004" fmla="*/ 2513894 h 6072780"/>
                <a:gd name="connsiteX4005" fmla="*/ 1236094 w 12117871"/>
                <a:gd name="connsiteY4005" fmla="*/ 2507810 h 6072780"/>
                <a:gd name="connsiteX4006" fmla="*/ 1252294 w 12117871"/>
                <a:gd name="connsiteY4006" fmla="*/ 2500661 h 6072780"/>
                <a:gd name="connsiteX4007" fmla="*/ 1268416 w 12117871"/>
                <a:gd name="connsiteY4007" fmla="*/ 2491839 h 6072780"/>
                <a:gd name="connsiteX4008" fmla="*/ 1285224 w 12117871"/>
                <a:gd name="connsiteY4008" fmla="*/ 2480736 h 6072780"/>
                <a:gd name="connsiteX4009" fmla="*/ 985278 w 12117871"/>
                <a:gd name="connsiteY4009" fmla="*/ 2480736 h 6072780"/>
                <a:gd name="connsiteX4010" fmla="*/ 1000183 w 12117871"/>
                <a:gd name="connsiteY4010" fmla="*/ 2480736 h 6072780"/>
                <a:gd name="connsiteX4011" fmla="*/ 1000183 w 12117871"/>
                <a:gd name="connsiteY4011" fmla="*/ 2703716 h 6072780"/>
                <a:gd name="connsiteX4012" fmla="*/ 964896 w 12117871"/>
                <a:gd name="connsiteY4012" fmla="*/ 2703716 h 6072780"/>
                <a:gd name="connsiteX4013" fmla="*/ 964896 w 12117871"/>
                <a:gd name="connsiteY4013" fmla="*/ 2523933 h 6072780"/>
                <a:gd name="connsiteX4014" fmla="*/ 944286 w 12117871"/>
                <a:gd name="connsiteY4014" fmla="*/ 2535568 h 6072780"/>
                <a:gd name="connsiteX4015" fmla="*/ 919114 w 12117871"/>
                <a:gd name="connsiteY4015" fmla="*/ 2544010 h 6072780"/>
                <a:gd name="connsiteX4016" fmla="*/ 919114 w 12117871"/>
                <a:gd name="connsiteY4016" fmla="*/ 2513894 h 6072780"/>
                <a:gd name="connsiteX4017" fmla="*/ 936149 w 12117871"/>
                <a:gd name="connsiteY4017" fmla="*/ 2507810 h 6072780"/>
                <a:gd name="connsiteX4018" fmla="*/ 952348 w 12117871"/>
                <a:gd name="connsiteY4018" fmla="*/ 2500661 h 6072780"/>
                <a:gd name="connsiteX4019" fmla="*/ 968471 w 12117871"/>
                <a:gd name="connsiteY4019" fmla="*/ 2491839 h 6072780"/>
                <a:gd name="connsiteX4020" fmla="*/ 985278 w 12117871"/>
                <a:gd name="connsiteY4020" fmla="*/ 2480736 h 6072780"/>
                <a:gd name="connsiteX4021" fmla="*/ 779044 w 12117871"/>
                <a:gd name="connsiteY4021" fmla="*/ 2480736 h 6072780"/>
                <a:gd name="connsiteX4022" fmla="*/ 850211 w 12117871"/>
                <a:gd name="connsiteY4022" fmla="*/ 2591324 h 6072780"/>
                <a:gd name="connsiteX4023" fmla="*/ 830125 w 12117871"/>
                <a:gd name="connsiteY4023" fmla="*/ 2674903 h 6072780"/>
                <a:gd name="connsiteX4024" fmla="*/ 773928 w 12117871"/>
                <a:gd name="connsiteY4024" fmla="*/ 2703716 h 6072780"/>
                <a:gd name="connsiteX4025" fmla="*/ 721343 w 12117871"/>
                <a:gd name="connsiteY4025" fmla="*/ 2676182 h 6072780"/>
                <a:gd name="connsiteX4026" fmla="*/ 702460 w 12117871"/>
                <a:gd name="connsiteY4026" fmla="*/ 2596590 h 6072780"/>
                <a:gd name="connsiteX4027" fmla="*/ 722170 w 12117871"/>
                <a:gd name="connsiteY4027" fmla="*/ 2510075 h 6072780"/>
                <a:gd name="connsiteX4028" fmla="*/ 779044 w 12117871"/>
                <a:gd name="connsiteY4028" fmla="*/ 2480736 h 6072780"/>
                <a:gd name="connsiteX4029" fmla="*/ 558444 w 12117871"/>
                <a:gd name="connsiteY4029" fmla="*/ 2480736 h 6072780"/>
                <a:gd name="connsiteX4030" fmla="*/ 629611 w 12117871"/>
                <a:gd name="connsiteY4030" fmla="*/ 2591324 h 6072780"/>
                <a:gd name="connsiteX4031" fmla="*/ 609525 w 12117871"/>
                <a:gd name="connsiteY4031" fmla="*/ 2674903 h 6072780"/>
                <a:gd name="connsiteX4032" fmla="*/ 553328 w 12117871"/>
                <a:gd name="connsiteY4032" fmla="*/ 2703716 h 6072780"/>
                <a:gd name="connsiteX4033" fmla="*/ 500742 w 12117871"/>
                <a:gd name="connsiteY4033" fmla="*/ 2676182 h 6072780"/>
                <a:gd name="connsiteX4034" fmla="*/ 481860 w 12117871"/>
                <a:gd name="connsiteY4034" fmla="*/ 2596590 h 6072780"/>
                <a:gd name="connsiteX4035" fmla="*/ 501570 w 12117871"/>
                <a:gd name="connsiteY4035" fmla="*/ 2510075 h 6072780"/>
                <a:gd name="connsiteX4036" fmla="*/ 558444 w 12117871"/>
                <a:gd name="connsiteY4036" fmla="*/ 2480736 h 6072780"/>
                <a:gd name="connsiteX4037" fmla="*/ 391282 w 12117871"/>
                <a:gd name="connsiteY4037" fmla="*/ 2480736 h 6072780"/>
                <a:gd name="connsiteX4038" fmla="*/ 406188 w 12117871"/>
                <a:gd name="connsiteY4038" fmla="*/ 2480736 h 6072780"/>
                <a:gd name="connsiteX4039" fmla="*/ 406188 w 12117871"/>
                <a:gd name="connsiteY4039" fmla="*/ 2703716 h 6072780"/>
                <a:gd name="connsiteX4040" fmla="*/ 370900 w 12117871"/>
                <a:gd name="connsiteY4040" fmla="*/ 2703716 h 6072780"/>
                <a:gd name="connsiteX4041" fmla="*/ 370900 w 12117871"/>
                <a:gd name="connsiteY4041" fmla="*/ 2523933 h 6072780"/>
                <a:gd name="connsiteX4042" fmla="*/ 350291 w 12117871"/>
                <a:gd name="connsiteY4042" fmla="*/ 2535568 h 6072780"/>
                <a:gd name="connsiteX4043" fmla="*/ 325118 w 12117871"/>
                <a:gd name="connsiteY4043" fmla="*/ 2544010 h 6072780"/>
                <a:gd name="connsiteX4044" fmla="*/ 325118 w 12117871"/>
                <a:gd name="connsiteY4044" fmla="*/ 2513894 h 6072780"/>
                <a:gd name="connsiteX4045" fmla="*/ 342153 w 12117871"/>
                <a:gd name="connsiteY4045" fmla="*/ 2507810 h 6072780"/>
                <a:gd name="connsiteX4046" fmla="*/ 358352 w 12117871"/>
                <a:gd name="connsiteY4046" fmla="*/ 2500661 h 6072780"/>
                <a:gd name="connsiteX4047" fmla="*/ 374475 w 12117871"/>
                <a:gd name="connsiteY4047" fmla="*/ 2491839 h 6072780"/>
                <a:gd name="connsiteX4048" fmla="*/ 391282 w 12117871"/>
                <a:gd name="connsiteY4048" fmla="*/ 2480736 h 6072780"/>
                <a:gd name="connsiteX4049" fmla="*/ 91336 w 12117871"/>
                <a:gd name="connsiteY4049" fmla="*/ 2480736 h 6072780"/>
                <a:gd name="connsiteX4050" fmla="*/ 106242 w 12117871"/>
                <a:gd name="connsiteY4050" fmla="*/ 2480736 h 6072780"/>
                <a:gd name="connsiteX4051" fmla="*/ 106242 w 12117871"/>
                <a:gd name="connsiteY4051" fmla="*/ 2703716 h 6072780"/>
                <a:gd name="connsiteX4052" fmla="*/ 70954 w 12117871"/>
                <a:gd name="connsiteY4052" fmla="*/ 2703716 h 6072780"/>
                <a:gd name="connsiteX4053" fmla="*/ 70954 w 12117871"/>
                <a:gd name="connsiteY4053" fmla="*/ 2523933 h 6072780"/>
                <a:gd name="connsiteX4054" fmla="*/ 50345 w 12117871"/>
                <a:gd name="connsiteY4054" fmla="*/ 2535568 h 6072780"/>
                <a:gd name="connsiteX4055" fmla="*/ 25172 w 12117871"/>
                <a:gd name="connsiteY4055" fmla="*/ 2544010 h 6072780"/>
                <a:gd name="connsiteX4056" fmla="*/ 25172 w 12117871"/>
                <a:gd name="connsiteY4056" fmla="*/ 2513894 h 6072780"/>
                <a:gd name="connsiteX4057" fmla="*/ 42207 w 12117871"/>
                <a:gd name="connsiteY4057" fmla="*/ 2507810 h 6072780"/>
                <a:gd name="connsiteX4058" fmla="*/ 58406 w 12117871"/>
                <a:gd name="connsiteY4058" fmla="*/ 2500661 h 6072780"/>
                <a:gd name="connsiteX4059" fmla="*/ 74529 w 12117871"/>
                <a:gd name="connsiteY4059" fmla="*/ 2491839 h 6072780"/>
                <a:gd name="connsiteX4060" fmla="*/ 91336 w 12117871"/>
                <a:gd name="connsiteY4060" fmla="*/ 2480736 h 6072780"/>
                <a:gd name="connsiteX4061" fmla="*/ 11987506 w 12117871"/>
                <a:gd name="connsiteY4061" fmla="*/ 2204600 h 6072780"/>
                <a:gd name="connsiteX4062" fmla="*/ 11948236 w 12117871"/>
                <a:gd name="connsiteY4062" fmla="*/ 2291114 h 6072780"/>
                <a:gd name="connsiteX4063" fmla="*/ 11986754 w 12117871"/>
                <a:gd name="connsiteY4063" fmla="*/ 2372061 h 6072780"/>
                <a:gd name="connsiteX4064" fmla="*/ 12024669 w 12117871"/>
                <a:gd name="connsiteY4064" fmla="*/ 2289760 h 6072780"/>
                <a:gd name="connsiteX4065" fmla="*/ 11987506 w 12117871"/>
                <a:gd name="connsiteY4065" fmla="*/ 2204600 h 6072780"/>
                <a:gd name="connsiteX4066" fmla="*/ 11770996 w 12117871"/>
                <a:gd name="connsiteY4066" fmla="*/ 2204600 h 6072780"/>
                <a:gd name="connsiteX4067" fmla="*/ 11731726 w 12117871"/>
                <a:gd name="connsiteY4067" fmla="*/ 2291114 h 6072780"/>
                <a:gd name="connsiteX4068" fmla="*/ 11770244 w 12117871"/>
                <a:gd name="connsiteY4068" fmla="*/ 2372061 h 6072780"/>
                <a:gd name="connsiteX4069" fmla="*/ 11808159 w 12117871"/>
                <a:gd name="connsiteY4069" fmla="*/ 2289760 h 6072780"/>
                <a:gd name="connsiteX4070" fmla="*/ 11770996 w 12117871"/>
                <a:gd name="connsiteY4070" fmla="*/ 2204600 h 6072780"/>
                <a:gd name="connsiteX4071" fmla="*/ 6976208 w 12117871"/>
                <a:gd name="connsiteY4071" fmla="*/ 2204600 h 6072780"/>
                <a:gd name="connsiteX4072" fmla="*/ 6936938 w 12117871"/>
                <a:gd name="connsiteY4072" fmla="*/ 2291114 h 6072780"/>
                <a:gd name="connsiteX4073" fmla="*/ 6975456 w 12117871"/>
                <a:gd name="connsiteY4073" fmla="*/ 2372061 h 6072780"/>
                <a:gd name="connsiteX4074" fmla="*/ 7013371 w 12117871"/>
                <a:gd name="connsiteY4074" fmla="*/ 2289760 h 6072780"/>
                <a:gd name="connsiteX4075" fmla="*/ 6976208 w 12117871"/>
                <a:gd name="connsiteY4075" fmla="*/ 2204600 h 6072780"/>
                <a:gd name="connsiteX4076" fmla="*/ 6759698 w 12117871"/>
                <a:gd name="connsiteY4076" fmla="*/ 2204600 h 6072780"/>
                <a:gd name="connsiteX4077" fmla="*/ 6720428 w 12117871"/>
                <a:gd name="connsiteY4077" fmla="*/ 2291114 h 6072780"/>
                <a:gd name="connsiteX4078" fmla="*/ 6758946 w 12117871"/>
                <a:gd name="connsiteY4078" fmla="*/ 2372061 h 6072780"/>
                <a:gd name="connsiteX4079" fmla="*/ 6796861 w 12117871"/>
                <a:gd name="connsiteY4079" fmla="*/ 2289760 h 6072780"/>
                <a:gd name="connsiteX4080" fmla="*/ 6759698 w 12117871"/>
                <a:gd name="connsiteY4080" fmla="*/ 2204600 h 6072780"/>
                <a:gd name="connsiteX4081" fmla="*/ 6141921 w 12117871"/>
                <a:gd name="connsiteY4081" fmla="*/ 2204600 h 6072780"/>
                <a:gd name="connsiteX4082" fmla="*/ 6102651 w 12117871"/>
                <a:gd name="connsiteY4082" fmla="*/ 2291114 h 6072780"/>
                <a:gd name="connsiteX4083" fmla="*/ 6141169 w 12117871"/>
                <a:gd name="connsiteY4083" fmla="*/ 2372061 h 6072780"/>
                <a:gd name="connsiteX4084" fmla="*/ 6179084 w 12117871"/>
                <a:gd name="connsiteY4084" fmla="*/ 2289760 h 6072780"/>
                <a:gd name="connsiteX4085" fmla="*/ 6141921 w 12117871"/>
                <a:gd name="connsiteY4085" fmla="*/ 2204600 h 6072780"/>
                <a:gd name="connsiteX4086" fmla="*/ 5925411 w 12117871"/>
                <a:gd name="connsiteY4086" fmla="*/ 2204600 h 6072780"/>
                <a:gd name="connsiteX4087" fmla="*/ 5886141 w 12117871"/>
                <a:gd name="connsiteY4087" fmla="*/ 2291114 h 6072780"/>
                <a:gd name="connsiteX4088" fmla="*/ 5924659 w 12117871"/>
                <a:gd name="connsiteY4088" fmla="*/ 2372061 h 6072780"/>
                <a:gd name="connsiteX4089" fmla="*/ 5962574 w 12117871"/>
                <a:gd name="connsiteY4089" fmla="*/ 2289760 h 6072780"/>
                <a:gd name="connsiteX4090" fmla="*/ 5925411 w 12117871"/>
                <a:gd name="connsiteY4090" fmla="*/ 2204600 h 6072780"/>
                <a:gd name="connsiteX4091" fmla="*/ 5701303 w 12117871"/>
                <a:gd name="connsiteY4091" fmla="*/ 2204600 h 6072780"/>
                <a:gd name="connsiteX4092" fmla="*/ 5662035 w 12117871"/>
                <a:gd name="connsiteY4092" fmla="*/ 2291114 h 6072780"/>
                <a:gd name="connsiteX4093" fmla="*/ 5700551 w 12117871"/>
                <a:gd name="connsiteY4093" fmla="*/ 2372061 h 6072780"/>
                <a:gd name="connsiteX4094" fmla="*/ 5738467 w 12117871"/>
                <a:gd name="connsiteY4094" fmla="*/ 2289760 h 6072780"/>
                <a:gd name="connsiteX4095" fmla="*/ 5701303 w 12117871"/>
                <a:gd name="connsiteY4095" fmla="*/ 2204600 h 6072780"/>
                <a:gd name="connsiteX4096" fmla="*/ 923326 w 12117871"/>
                <a:gd name="connsiteY4096" fmla="*/ 2204600 h 6072780"/>
                <a:gd name="connsiteX4097" fmla="*/ 884056 w 12117871"/>
                <a:gd name="connsiteY4097" fmla="*/ 2291114 h 6072780"/>
                <a:gd name="connsiteX4098" fmla="*/ 922574 w 12117871"/>
                <a:gd name="connsiteY4098" fmla="*/ 2372061 h 6072780"/>
                <a:gd name="connsiteX4099" fmla="*/ 960489 w 12117871"/>
                <a:gd name="connsiteY4099" fmla="*/ 2289760 h 6072780"/>
                <a:gd name="connsiteX4100" fmla="*/ 923326 w 12117871"/>
                <a:gd name="connsiteY4100" fmla="*/ 2204600 h 6072780"/>
                <a:gd name="connsiteX4101" fmla="*/ 707049 w 12117871"/>
                <a:gd name="connsiteY4101" fmla="*/ 2204600 h 6072780"/>
                <a:gd name="connsiteX4102" fmla="*/ 667781 w 12117871"/>
                <a:gd name="connsiteY4102" fmla="*/ 2291114 h 6072780"/>
                <a:gd name="connsiteX4103" fmla="*/ 706298 w 12117871"/>
                <a:gd name="connsiteY4103" fmla="*/ 2372061 h 6072780"/>
                <a:gd name="connsiteX4104" fmla="*/ 744214 w 12117871"/>
                <a:gd name="connsiteY4104" fmla="*/ 2289760 h 6072780"/>
                <a:gd name="connsiteX4105" fmla="*/ 707049 w 12117871"/>
                <a:gd name="connsiteY4105" fmla="*/ 2204600 h 6072780"/>
                <a:gd name="connsiteX4106" fmla="*/ 85445 w 12117871"/>
                <a:gd name="connsiteY4106" fmla="*/ 2204600 h 6072780"/>
                <a:gd name="connsiteX4107" fmla="*/ 46174 w 12117871"/>
                <a:gd name="connsiteY4107" fmla="*/ 2291114 h 6072780"/>
                <a:gd name="connsiteX4108" fmla="*/ 84690 w 12117871"/>
                <a:gd name="connsiteY4108" fmla="*/ 2372061 h 6072780"/>
                <a:gd name="connsiteX4109" fmla="*/ 122606 w 12117871"/>
                <a:gd name="connsiteY4109" fmla="*/ 2289760 h 6072780"/>
                <a:gd name="connsiteX4110" fmla="*/ 85445 w 12117871"/>
                <a:gd name="connsiteY4110" fmla="*/ 2204600 h 6072780"/>
                <a:gd name="connsiteX4111" fmla="*/ 11989161 w 12117871"/>
                <a:gd name="connsiteY4111" fmla="*/ 2176765 h 6072780"/>
                <a:gd name="connsiteX4112" fmla="*/ 12060328 w 12117871"/>
                <a:gd name="connsiteY4112" fmla="*/ 2287352 h 6072780"/>
                <a:gd name="connsiteX4113" fmla="*/ 12040242 w 12117871"/>
                <a:gd name="connsiteY4113" fmla="*/ 2370932 h 6072780"/>
                <a:gd name="connsiteX4114" fmla="*/ 11984045 w 12117871"/>
                <a:gd name="connsiteY4114" fmla="*/ 2399745 h 6072780"/>
                <a:gd name="connsiteX4115" fmla="*/ 11931460 w 12117871"/>
                <a:gd name="connsiteY4115" fmla="*/ 2372211 h 6072780"/>
                <a:gd name="connsiteX4116" fmla="*/ 11912577 w 12117871"/>
                <a:gd name="connsiteY4116" fmla="*/ 2292619 h 6072780"/>
                <a:gd name="connsiteX4117" fmla="*/ 11932287 w 12117871"/>
                <a:gd name="connsiteY4117" fmla="*/ 2206104 h 6072780"/>
                <a:gd name="connsiteX4118" fmla="*/ 11989161 w 12117871"/>
                <a:gd name="connsiteY4118" fmla="*/ 2176765 h 6072780"/>
                <a:gd name="connsiteX4119" fmla="*/ 11772651 w 12117871"/>
                <a:gd name="connsiteY4119" fmla="*/ 2176765 h 6072780"/>
                <a:gd name="connsiteX4120" fmla="*/ 11843818 w 12117871"/>
                <a:gd name="connsiteY4120" fmla="*/ 2287352 h 6072780"/>
                <a:gd name="connsiteX4121" fmla="*/ 11823732 w 12117871"/>
                <a:gd name="connsiteY4121" fmla="*/ 2370932 h 6072780"/>
                <a:gd name="connsiteX4122" fmla="*/ 11767535 w 12117871"/>
                <a:gd name="connsiteY4122" fmla="*/ 2399745 h 6072780"/>
                <a:gd name="connsiteX4123" fmla="*/ 11714950 w 12117871"/>
                <a:gd name="connsiteY4123" fmla="*/ 2372211 h 6072780"/>
                <a:gd name="connsiteX4124" fmla="*/ 11696067 w 12117871"/>
                <a:gd name="connsiteY4124" fmla="*/ 2292619 h 6072780"/>
                <a:gd name="connsiteX4125" fmla="*/ 11715777 w 12117871"/>
                <a:gd name="connsiteY4125" fmla="*/ 2206104 h 6072780"/>
                <a:gd name="connsiteX4126" fmla="*/ 11772651 w 12117871"/>
                <a:gd name="connsiteY4126" fmla="*/ 2176765 h 6072780"/>
                <a:gd name="connsiteX4127" fmla="*/ 11621096 w 12117871"/>
                <a:gd name="connsiteY4127" fmla="*/ 2176765 h 6072780"/>
                <a:gd name="connsiteX4128" fmla="*/ 11636002 w 12117871"/>
                <a:gd name="connsiteY4128" fmla="*/ 2176765 h 6072780"/>
                <a:gd name="connsiteX4129" fmla="*/ 11636002 w 12117871"/>
                <a:gd name="connsiteY4129" fmla="*/ 2399745 h 6072780"/>
                <a:gd name="connsiteX4130" fmla="*/ 11600714 w 12117871"/>
                <a:gd name="connsiteY4130" fmla="*/ 2399745 h 6072780"/>
                <a:gd name="connsiteX4131" fmla="*/ 11600714 w 12117871"/>
                <a:gd name="connsiteY4131" fmla="*/ 2219962 h 6072780"/>
                <a:gd name="connsiteX4132" fmla="*/ 11580105 w 12117871"/>
                <a:gd name="connsiteY4132" fmla="*/ 2231597 h 6072780"/>
                <a:gd name="connsiteX4133" fmla="*/ 11554932 w 12117871"/>
                <a:gd name="connsiteY4133" fmla="*/ 2240039 h 6072780"/>
                <a:gd name="connsiteX4134" fmla="*/ 11554932 w 12117871"/>
                <a:gd name="connsiteY4134" fmla="*/ 2209923 h 6072780"/>
                <a:gd name="connsiteX4135" fmla="*/ 11571967 w 12117871"/>
                <a:gd name="connsiteY4135" fmla="*/ 2203839 h 6072780"/>
                <a:gd name="connsiteX4136" fmla="*/ 11588166 w 12117871"/>
                <a:gd name="connsiteY4136" fmla="*/ 2196690 h 6072780"/>
                <a:gd name="connsiteX4137" fmla="*/ 11604289 w 12117871"/>
                <a:gd name="connsiteY4137" fmla="*/ 2187868 h 6072780"/>
                <a:gd name="connsiteX4138" fmla="*/ 11621096 w 12117871"/>
                <a:gd name="connsiteY4138" fmla="*/ 2176765 h 6072780"/>
                <a:gd name="connsiteX4139" fmla="*/ 11318321 w 12117871"/>
                <a:gd name="connsiteY4139" fmla="*/ 2176765 h 6072780"/>
                <a:gd name="connsiteX4140" fmla="*/ 11333227 w 12117871"/>
                <a:gd name="connsiteY4140" fmla="*/ 2176765 h 6072780"/>
                <a:gd name="connsiteX4141" fmla="*/ 11333227 w 12117871"/>
                <a:gd name="connsiteY4141" fmla="*/ 2399745 h 6072780"/>
                <a:gd name="connsiteX4142" fmla="*/ 11297939 w 12117871"/>
                <a:gd name="connsiteY4142" fmla="*/ 2399745 h 6072780"/>
                <a:gd name="connsiteX4143" fmla="*/ 11297939 w 12117871"/>
                <a:gd name="connsiteY4143" fmla="*/ 2219962 h 6072780"/>
                <a:gd name="connsiteX4144" fmla="*/ 11277330 w 12117871"/>
                <a:gd name="connsiteY4144" fmla="*/ 2231597 h 6072780"/>
                <a:gd name="connsiteX4145" fmla="*/ 11252157 w 12117871"/>
                <a:gd name="connsiteY4145" fmla="*/ 2240039 h 6072780"/>
                <a:gd name="connsiteX4146" fmla="*/ 11252157 w 12117871"/>
                <a:gd name="connsiteY4146" fmla="*/ 2209923 h 6072780"/>
                <a:gd name="connsiteX4147" fmla="*/ 11269192 w 12117871"/>
                <a:gd name="connsiteY4147" fmla="*/ 2203839 h 6072780"/>
                <a:gd name="connsiteX4148" fmla="*/ 11285391 w 12117871"/>
                <a:gd name="connsiteY4148" fmla="*/ 2196690 h 6072780"/>
                <a:gd name="connsiteX4149" fmla="*/ 11301514 w 12117871"/>
                <a:gd name="connsiteY4149" fmla="*/ 2187868 h 6072780"/>
                <a:gd name="connsiteX4150" fmla="*/ 11318321 w 12117871"/>
                <a:gd name="connsiteY4150" fmla="*/ 2176765 h 6072780"/>
                <a:gd name="connsiteX4151" fmla="*/ 10941157 w 12117871"/>
                <a:gd name="connsiteY4151" fmla="*/ 2176765 h 6072780"/>
                <a:gd name="connsiteX4152" fmla="*/ 10956063 w 12117871"/>
                <a:gd name="connsiteY4152" fmla="*/ 2176765 h 6072780"/>
                <a:gd name="connsiteX4153" fmla="*/ 10956063 w 12117871"/>
                <a:gd name="connsiteY4153" fmla="*/ 2399745 h 6072780"/>
                <a:gd name="connsiteX4154" fmla="*/ 10920775 w 12117871"/>
                <a:gd name="connsiteY4154" fmla="*/ 2399745 h 6072780"/>
                <a:gd name="connsiteX4155" fmla="*/ 10920775 w 12117871"/>
                <a:gd name="connsiteY4155" fmla="*/ 2219962 h 6072780"/>
                <a:gd name="connsiteX4156" fmla="*/ 10900166 w 12117871"/>
                <a:gd name="connsiteY4156" fmla="*/ 2231597 h 6072780"/>
                <a:gd name="connsiteX4157" fmla="*/ 10874993 w 12117871"/>
                <a:gd name="connsiteY4157" fmla="*/ 2240039 h 6072780"/>
                <a:gd name="connsiteX4158" fmla="*/ 10874993 w 12117871"/>
                <a:gd name="connsiteY4158" fmla="*/ 2209923 h 6072780"/>
                <a:gd name="connsiteX4159" fmla="*/ 10892028 w 12117871"/>
                <a:gd name="connsiteY4159" fmla="*/ 2203839 h 6072780"/>
                <a:gd name="connsiteX4160" fmla="*/ 10908227 w 12117871"/>
                <a:gd name="connsiteY4160" fmla="*/ 2196690 h 6072780"/>
                <a:gd name="connsiteX4161" fmla="*/ 10924350 w 12117871"/>
                <a:gd name="connsiteY4161" fmla="*/ 2187868 h 6072780"/>
                <a:gd name="connsiteX4162" fmla="*/ 10941157 w 12117871"/>
                <a:gd name="connsiteY4162" fmla="*/ 2176765 h 6072780"/>
                <a:gd name="connsiteX4163" fmla="*/ 10792300 w 12117871"/>
                <a:gd name="connsiteY4163" fmla="*/ 2176765 h 6072780"/>
                <a:gd name="connsiteX4164" fmla="*/ 10807206 w 12117871"/>
                <a:gd name="connsiteY4164" fmla="*/ 2176765 h 6072780"/>
                <a:gd name="connsiteX4165" fmla="*/ 10807206 w 12117871"/>
                <a:gd name="connsiteY4165" fmla="*/ 2399745 h 6072780"/>
                <a:gd name="connsiteX4166" fmla="*/ 10771918 w 12117871"/>
                <a:gd name="connsiteY4166" fmla="*/ 2399745 h 6072780"/>
                <a:gd name="connsiteX4167" fmla="*/ 10771918 w 12117871"/>
                <a:gd name="connsiteY4167" fmla="*/ 2219962 h 6072780"/>
                <a:gd name="connsiteX4168" fmla="*/ 10751309 w 12117871"/>
                <a:gd name="connsiteY4168" fmla="*/ 2231597 h 6072780"/>
                <a:gd name="connsiteX4169" fmla="*/ 10726136 w 12117871"/>
                <a:gd name="connsiteY4169" fmla="*/ 2240039 h 6072780"/>
                <a:gd name="connsiteX4170" fmla="*/ 10726136 w 12117871"/>
                <a:gd name="connsiteY4170" fmla="*/ 2209923 h 6072780"/>
                <a:gd name="connsiteX4171" fmla="*/ 10743171 w 12117871"/>
                <a:gd name="connsiteY4171" fmla="*/ 2203839 h 6072780"/>
                <a:gd name="connsiteX4172" fmla="*/ 10759370 w 12117871"/>
                <a:gd name="connsiteY4172" fmla="*/ 2196690 h 6072780"/>
                <a:gd name="connsiteX4173" fmla="*/ 10775493 w 12117871"/>
                <a:gd name="connsiteY4173" fmla="*/ 2187868 h 6072780"/>
                <a:gd name="connsiteX4174" fmla="*/ 10792300 w 12117871"/>
                <a:gd name="connsiteY4174" fmla="*/ 2176765 h 6072780"/>
                <a:gd name="connsiteX4175" fmla="*/ 10638382 w 12117871"/>
                <a:gd name="connsiteY4175" fmla="*/ 2176765 h 6072780"/>
                <a:gd name="connsiteX4176" fmla="*/ 10653288 w 12117871"/>
                <a:gd name="connsiteY4176" fmla="*/ 2176765 h 6072780"/>
                <a:gd name="connsiteX4177" fmla="*/ 10653288 w 12117871"/>
                <a:gd name="connsiteY4177" fmla="*/ 2399745 h 6072780"/>
                <a:gd name="connsiteX4178" fmla="*/ 10618000 w 12117871"/>
                <a:gd name="connsiteY4178" fmla="*/ 2399745 h 6072780"/>
                <a:gd name="connsiteX4179" fmla="*/ 10618000 w 12117871"/>
                <a:gd name="connsiteY4179" fmla="*/ 2219962 h 6072780"/>
                <a:gd name="connsiteX4180" fmla="*/ 10597391 w 12117871"/>
                <a:gd name="connsiteY4180" fmla="*/ 2231597 h 6072780"/>
                <a:gd name="connsiteX4181" fmla="*/ 10572218 w 12117871"/>
                <a:gd name="connsiteY4181" fmla="*/ 2240039 h 6072780"/>
                <a:gd name="connsiteX4182" fmla="*/ 10572218 w 12117871"/>
                <a:gd name="connsiteY4182" fmla="*/ 2209923 h 6072780"/>
                <a:gd name="connsiteX4183" fmla="*/ 10589253 w 12117871"/>
                <a:gd name="connsiteY4183" fmla="*/ 2203839 h 6072780"/>
                <a:gd name="connsiteX4184" fmla="*/ 10605452 w 12117871"/>
                <a:gd name="connsiteY4184" fmla="*/ 2196690 h 6072780"/>
                <a:gd name="connsiteX4185" fmla="*/ 10621575 w 12117871"/>
                <a:gd name="connsiteY4185" fmla="*/ 2187868 h 6072780"/>
                <a:gd name="connsiteX4186" fmla="*/ 10638382 w 12117871"/>
                <a:gd name="connsiteY4186" fmla="*/ 2176765 h 6072780"/>
                <a:gd name="connsiteX4187" fmla="*/ 10489525 w 12117871"/>
                <a:gd name="connsiteY4187" fmla="*/ 2176765 h 6072780"/>
                <a:gd name="connsiteX4188" fmla="*/ 10504431 w 12117871"/>
                <a:gd name="connsiteY4188" fmla="*/ 2176765 h 6072780"/>
                <a:gd name="connsiteX4189" fmla="*/ 10504431 w 12117871"/>
                <a:gd name="connsiteY4189" fmla="*/ 2399745 h 6072780"/>
                <a:gd name="connsiteX4190" fmla="*/ 10469143 w 12117871"/>
                <a:gd name="connsiteY4190" fmla="*/ 2399745 h 6072780"/>
                <a:gd name="connsiteX4191" fmla="*/ 10469143 w 12117871"/>
                <a:gd name="connsiteY4191" fmla="*/ 2219962 h 6072780"/>
                <a:gd name="connsiteX4192" fmla="*/ 10448534 w 12117871"/>
                <a:gd name="connsiteY4192" fmla="*/ 2231597 h 6072780"/>
                <a:gd name="connsiteX4193" fmla="*/ 10423361 w 12117871"/>
                <a:gd name="connsiteY4193" fmla="*/ 2240039 h 6072780"/>
                <a:gd name="connsiteX4194" fmla="*/ 10423361 w 12117871"/>
                <a:gd name="connsiteY4194" fmla="*/ 2209923 h 6072780"/>
                <a:gd name="connsiteX4195" fmla="*/ 10440396 w 12117871"/>
                <a:gd name="connsiteY4195" fmla="*/ 2203839 h 6072780"/>
                <a:gd name="connsiteX4196" fmla="*/ 10456595 w 12117871"/>
                <a:gd name="connsiteY4196" fmla="*/ 2196690 h 6072780"/>
                <a:gd name="connsiteX4197" fmla="*/ 10472718 w 12117871"/>
                <a:gd name="connsiteY4197" fmla="*/ 2187868 h 6072780"/>
                <a:gd name="connsiteX4198" fmla="*/ 10489525 w 12117871"/>
                <a:gd name="connsiteY4198" fmla="*/ 2176765 h 6072780"/>
                <a:gd name="connsiteX4199" fmla="*/ 9768134 w 12117871"/>
                <a:gd name="connsiteY4199" fmla="*/ 2176765 h 6072780"/>
                <a:gd name="connsiteX4200" fmla="*/ 9783040 w 12117871"/>
                <a:gd name="connsiteY4200" fmla="*/ 2176765 h 6072780"/>
                <a:gd name="connsiteX4201" fmla="*/ 9783040 w 12117871"/>
                <a:gd name="connsiteY4201" fmla="*/ 2399745 h 6072780"/>
                <a:gd name="connsiteX4202" fmla="*/ 9747752 w 12117871"/>
                <a:gd name="connsiteY4202" fmla="*/ 2399745 h 6072780"/>
                <a:gd name="connsiteX4203" fmla="*/ 9747752 w 12117871"/>
                <a:gd name="connsiteY4203" fmla="*/ 2219962 h 6072780"/>
                <a:gd name="connsiteX4204" fmla="*/ 9727143 w 12117871"/>
                <a:gd name="connsiteY4204" fmla="*/ 2231597 h 6072780"/>
                <a:gd name="connsiteX4205" fmla="*/ 9701970 w 12117871"/>
                <a:gd name="connsiteY4205" fmla="*/ 2240039 h 6072780"/>
                <a:gd name="connsiteX4206" fmla="*/ 9701970 w 12117871"/>
                <a:gd name="connsiteY4206" fmla="*/ 2209923 h 6072780"/>
                <a:gd name="connsiteX4207" fmla="*/ 9719005 w 12117871"/>
                <a:gd name="connsiteY4207" fmla="*/ 2203839 h 6072780"/>
                <a:gd name="connsiteX4208" fmla="*/ 9735204 w 12117871"/>
                <a:gd name="connsiteY4208" fmla="*/ 2196690 h 6072780"/>
                <a:gd name="connsiteX4209" fmla="*/ 9751327 w 12117871"/>
                <a:gd name="connsiteY4209" fmla="*/ 2187868 h 6072780"/>
                <a:gd name="connsiteX4210" fmla="*/ 9768134 w 12117871"/>
                <a:gd name="connsiteY4210" fmla="*/ 2176765 h 6072780"/>
                <a:gd name="connsiteX4211" fmla="*/ 9619277 w 12117871"/>
                <a:gd name="connsiteY4211" fmla="*/ 2176765 h 6072780"/>
                <a:gd name="connsiteX4212" fmla="*/ 9634183 w 12117871"/>
                <a:gd name="connsiteY4212" fmla="*/ 2176765 h 6072780"/>
                <a:gd name="connsiteX4213" fmla="*/ 9634183 w 12117871"/>
                <a:gd name="connsiteY4213" fmla="*/ 2399745 h 6072780"/>
                <a:gd name="connsiteX4214" fmla="*/ 9598895 w 12117871"/>
                <a:gd name="connsiteY4214" fmla="*/ 2399745 h 6072780"/>
                <a:gd name="connsiteX4215" fmla="*/ 9598895 w 12117871"/>
                <a:gd name="connsiteY4215" fmla="*/ 2219962 h 6072780"/>
                <a:gd name="connsiteX4216" fmla="*/ 9578286 w 12117871"/>
                <a:gd name="connsiteY4216" fmla="*/ 2231597 h 6072780"/>
                <a:gd name="connsiteX4217" fmla="*/ 9553113 w 12117871"/>
                <a:gd name="connsiteY4217" fmla="*/ 2240039 h 6072780"/>
                <a:gd name="connsiteX4218" fmla="*/ 9553113 w 12117871"/>
                <a:gd name="connsiteY4218" fmla="*/ 2209923 h 6072780"/>
                <a:gd name="connsiteX4219" fmla="*/ 9570148 w 12117871"/>
                <a:gd name="connsiteY4219" fmla="*/ 2203839 h 6072780"/>
                <a:gd name="connsiteX4220" fmla="*/ 9586347 w 12117871"/>
                <a:gd name="connsiteY4220" fmla="*/ 2196690 h 6072780"/>
                <a:gd name="connsiteX4221" fmla="*/ 9602470 w 12117871"/>
                <a:gd name="connsiteY4221" fmla="*/ 2187868 h 6072780"/>
                <a:gd name="connsiteX4222" fmla="*/ 9619277 w 12117871"/>
                <a:gd name="connsiteY4222" fmla="*/ 2176765 h 6072780"/>
                <a:gd name="connsiteX4223" fmla="*/ 8816172 w 12117871"/>
                <a:gd name="connsiteY4223" fmla="*/ 2176765 h 6072780"/>
                <a:gd name="connsiteX4224" fmla="*/ 8831078 w 12117871"/>
                <a:gd name="connsiteY4224" fmla="*/ 2176765 h 6072780"/>
                <a:gd name="connsiteX4225" fmla="*/ 8831078 w 12117871"/>
                <a:gd name="connsiteY4225" fmla="*/ 2399745 h 6072780"/>
                <a:gd name="connsiteX4226" fmla="*/ 8795790 w 12117871"/>
                <a:gd name="connsiteY4226" fmla="*/ 2399745 h 6072780"/>
                <a:gd name="connsiteX4227" fmla="*/ 8795790 w 12117871"/>
                <a:gd name="connsiteY4227" fmla="*/ 2219962 h 6072780"/>
                <a:gd name="connsiteX4228" fmla="*/ 8775181 w 12117871"/>
                <a:gd name="connsiteY4228" fmla="*/ 2231597 h 6072780"/>
                <a:gd name="connsiteX4229" fmla="*/ 8750008 w 12117871"/>
                <a:gd name="connsiteY4229" fmla="*/ 2240039 h 6072780"/>
                <a:gd name="connsiteX4230" fmla="*/ 8750008 w 12117871"/>
                <a:gd name="connsiteY4230" fmla="*/ 2209923 h 6072780"/>
                <a:gd name="connsiteX4231" fmla="*/ 8767043 w 12117871"/>
                <a:gd name="connsiteY4231" fmla="*/ 2203839 h 6072780"/>
                <a:gd name="connsiteX4232" fmla="*/ 8783242 w 12117871"/>
                <a:gd name="connsiteY4232" fmla="*/ 2196690 h 6072780"/>
                <a:gd name="connsiteX4233" fmla="*/ 8799365 w 12117871"/>
                <a:gd name="connsiteY4233" fmla="*/ 2187868 h 6072780"/>
                <a:gd name="connsiteX4234" fmla="*/ 8816172 w 12117871"/>
                <a:gd name="connsiteY4234" fmla="*/ 2176765 h 6072780"/>
                <a:gd name="connsiteX4235" fmla="*/ 8437565 w 12117871"/>
                <a:gd name="connsiteY4235" fmla="*/ 2176765 h 6072780"/>
                <a:gd name="connsiteX4236" fmla="*/ 8452471 w 12117871"/>
                <a:gd name="connsiteY4236" fmla="*/ 2176765 h 6072780"/>
                <a:gd name="connsiteX4237" fmla="*/ 8452471 w 12117871"/>
                <a:gd name="connsiteY4237" fmla="*/ 2399745 h 6072780"/>
                <a:gd name="connsiteX4238" fmla="*/ 8417183 w 12117871"/>
                <a:gd name="connsiteY4238" fmla="*/ 2399745 h 6072780"/>
                <a:gd name="connsiteX4239" fmla="*/ 8417183 w 12117871"/>
                <a:gd name="connsiteY4239" fmla="*/ 2219962 h 6072780"/>
                <a:gd name="connsiteX4240" fmla="*/ 8396574 w 12117871"/>
                <a:gd name="connsiteY4240" fmla="*/ 2231597 h 6072780"/>
                <a:gd name="connsiteX4241" fmla="*/ 8371401 w 12117871"/>
                <a:gd name="connsiteY4241" fmla="*/ 2240039 h 6072780"/>
                <a:gd name="connsiteX4242" fmla="*/ 8371401 w 12117871"/>
                <a:gd name="connsiteY4242" fmla="*/ 2209923 h 6072780"/>
                <a:gd name="connsiteX4243" fmla="*/ 8388436 w 12117871"/>
                <a:gd name="connsiteY4243" fmla="*/ 2203839 h 6072780"/>
                <a:gd name="connsiteX4244" fmla="*/ 8404635 w 12117871"/>
                <a:gd name="connsiteY4244" fmla="*/ 2196690 h 6072780"/>
                <a:gd name="connsiteX4245" fmla="*/ 8420758 w 12117871"/>
                <a:gd name="connsiteY4245" fmla="*/ 2187868 h 6072780"/>
                <a:gd name="connsiteX4246" fmla="*/ 8437565 w 12117871"/>
                <a:gd name="connsiteY4246" fmla="*/ 2176765 h 6072780"/>
                <a:gd name="connsiteX4247" fmla="*/ 8288708 w 12117871"/>
                <a:gd name="connsiteY4247" fmla="*/ 2176765 h 6072780"/>
                <a:gd name="connsiteX4248" fmla="*/ 8303614 w 12117871"/>
                <a:gd name="connsiteY4248" fmla="*/ 2176765 h 6072780"/>
                <a:gd name="connsiteX4249" fmla="*/ 8303614 w 12117871"/>
                <a:gd name="connsiteY4249" fmla="*/ 2399745 h 6072780"/>
                <a:gd name="connsiteX4250" fmla="*/ 8268326 w 12117871"/>
                <a:gd name="connsiteY4250" fmla="*/ 2399745 h 6072780"/>
                <a:gd name="connsiteX4251" fmla="*/ 8268326 w 12117871"/>
                <a:gd name="connsiteY4251" fmla="*/ 2219962 h 6072780"/>
                <a:gd name="connsiteX4252" fmla="*/ 8247717 w 12117871"/>
                <a:gd name="connsiteY4252" fmla="*/ 2231597 h 6072780"/>
                <a:gd name="connsiteX4253" fmla="*/ 8222544 w 12117871"/>
                <a:gd name="connsiteY4253" fmla="*/ 2240039 h 6072780"/>
                <a:gd name="connsiteX4254" fmla="*/ 8222544 w 12117871"/>
                <a:gd name="connsiteY4254" fmla="*/ 2209923 h 6072780"/>
                <a:gd name="connsiteX4255" fmla="*/ 8239579 w 12117871"/>
                <a:gd name="connsiteY4255" fmla="*/ 2203839 h 6072780"/>
                <a:gd name="connsiteX4256" fmla="*/ 8255778 w 12117871"/>
                <a:gd name="connsiteY4256" fmla="*/ 2196690 h 6072780"/>
                <a:gd name="connsiteX4257" fmla="*/ 8271901 w 12117871"/>
                <a:gd name="connsiteY4257" fmla="*/ 2187868 h 6072780"/>
                <a:gd name="connsiteX4258" fmla="*/ 8288708 w 12117871"/>
                <a:gd name="connsiteY4258" fmla="*/ 2176765 h 6072780"/>
                <a:gd name="connsiteX4259" fmla="*/ 8134790 w 12117871"/>
                <a:gd name="connsiteY4259" fmla="*/ 2176765 h 6072780"/>
                <a:gd name="connsiteX4260" fmla="*/ 8149696 w 12117871"/>
                <a:gd name="connsiteY4260" fmla="*/ 2176765 h 6072780"/>
                <a:gd name="connsiteX4261" fmla="*/ 8149696 w 12117871"/>
                <a:gd name="connsiteY4261" fmla="*/ 2399745 h 6072780"/>
                <a:gd name="connsiteX4262" fmla="*/ 8114408 w 12117871"/>
                <a:gd name="connsiteY4262" fmla="*/ 2399745 h 6072780"/>
                <a:gd name="connsiteX4263" fmla="*/ 8114408 w 12117871"/>
                <a:gd name="connsiteY4263" fmla="*/ 2219962 h 6072780"/>
                <a:gd name="connsiteX4264" fmla="*/ 8093799 w 12117871"/>
                <a:gd name="connsiteY4264" fmla="*/ 2231597 h 6072780"/>
                <a:gd name="connsiteX4265" fmla="*/ 8068626 w 12117871"/>
                <a:gd name="connsiteY4265" fmla="*/ 2240039 h 6072780"/>
                <a:gd name="connsiteX4266" fmla="*/ 8068626 w 12117871"/>
                <a:gd name="connsiteY4266" fmla="*/ 2209923 h 6072780"/>
                <a:gd name="connsiteX4267" fmla="*/ 8085661 w 12117871"/>
                <a:gd name="connsiteY4267" fmla="*/ 2203839 h 6072780"/>
                <a:gd name="connsiteX4268" fmla="*/ 8101860 w 12117871"/>
                <a:gd name="connsiteY4268" fmla="*/ 2196690 h 6072780"/>
                <a:gd name="connsiteX4269" fmla="*/ 8117983 w 12117871"/>
                <a:gd name="connsiteY4269" fmla="*/ 2187868 h 6072780"/>
                <a:gd name="connsiteX4270" fmla="*/ 8134790 w 12117871"/>
                <a:gd name="connsiteY4270" fmla="*/ 2176765 h 6072780"/>
                <a:gd name="connsiteX4271" fmla="*/ 7985933 w 12117871"/>
                <a:gd name="connsiteY4271" fmla="*/ 2176765 h 6072780"/>
                <a:gd name="connsiteX4272" fmla="*/ 8000839 w 12117871"/>
                <a:gd name="connsiteY4272" fmla="*/ 2176765 h 6072780"/>
                <a:gd name="connsiteX4273" fmla="*/ 8000839 w 12117871"/>
                <a:gd name="connsiteY4273" fmla="*/ 2399745 h 6072780"/>
                <a:gd name="connsiteX4274" fmla="*/ 7965551 w 12117871"/>
                <a:gd name="connsiteY4274" fmla="*/ 2399745 h 6072780"/>
                <a:gd name="connsiteX4275" fmla="*/ 7965551 w 12117871"/>
                <a:gd name="connsiteY4275" fmla="*/ 2219962 h 6072780"/>
                <a:gd name="connsiteX4276" fmla="*/ 7944942 w 12117871"/>
                <a:gd name="connsiteY4276" fmla="*/ 2231597 h 6072780"/>
                <a:gd name="connsiteX4277" fmla="*/ 7919769 w 12117871"/>
                <a:gd name="connsiteY4277" fmla="*/ 2240039 h 6072780"/>
                <a:gd name="connsiteX4278" fmla="*/ 7919769 w 12117871"/>
                <a:gd name="connsiteY4278" fmla="*/ 2209923 h 6072780"/>
                <a:gd name="connsiteX4279" fmla="*/ 7936804 w 12117871"/>
                <a:gd name="connsiteY4279" fmla="*/ 2203839 h 6072780"/>
                <a:gd name="connsiteX4280" fmla="*/ 7953003 w 12117871"/>
                <a:gd name="connsiteY4280" fmla="*/ 2196690 h 6072780"/>
                <a:gd name="connsiteX4281" fmla="*/ 7969126 w 12117871"/>
                <a:gd name="connsiteY4281" fmla="*/ 2187868 h 6072780"/>
                <a:gd name="connsiteX4282" fmla="*/ 7985933 w 12117871"/>
                <a:gd name="connsiteY4282" fmla="*/ 2176765 h 6072780"/>
                <a:gd name="connsiteX4283" fmla="*/ 7837076 w 12117871"/>
                <a:gd name="connsiteY4283" fmla="*/ 2176765 h 6072780"/>
                <a:gd name="connsiteX4284" fmla="*/ 7851982 w 12117871"/>
                <a:gd name="connsiteY4284" fmla="*/ 2176765 h 6072780"/>
                <a:gd name="connsiteX4285" fmla="*/ 7851982 w 12117871"/>
                <a:gd name="connsiteY4285" fmla="*/ 2399745 h 6072780"/>
                <a:gd name="connsiteX4286" fmla="*/ 7816694 w 12117871"/>
                <a:gd name="connsiteY4286" fmla="*/ 2399745 h 6072780"/>
                <a:gd name="connsiteX4287" fmla="*/ 7816694 w 12117871"/>
                <a:gd name="connsiteY4287" fmla="*/ 2219962 h 6072780"/>
                <a:gd name="connsiteX4288" fmla="*/ 7796085 w 12117871"/>
                <a:gd name="connsiteY4288" fmla="*/ 2231597 h 6072780"/>
                <a:gd name="connsiteX4289" fmla="*/ 7770912 w 12117871"/>
                <a:gd name="connsiteY4289" fmla="*/ 2240039 h 6072780"/>
                <a:gd name="connsiteX4290" fmla="*/ 7770912 w 12117871"/>
                <a:gd name="connsiteY4290" fmla="*/ 2209923 h 6072780"/>
                <a:gd name="connsiteX4291" fmla="*/ 7787947 w 12117871"/>
                <a:gd name="connsiteY4291" fmla="*/ 2203839 h 6072780"/>
                <a:gd name="connsiteX4292" fmla="*/ 7804146 w 12117871"/>
                <a:gd name="connsiteY4292" fmla="*/ 2196690 h 6072780"/>
                <a:gd name="connsiteX4293" fmla="*/ 7820269 w 12117871"/>
                <a:gd name="connsiteY4293" fmla="*/ 2187868 h 6072780"/>
                <a:gd name="connsiteX4294" fmla="*/ 7837076 w 12117871"/>
                <a:gd name="connsiteY4294" fmla="*/ 2176765 h 6072780"/>
                <a:gd name="connsiteX4295" fmla="*/ 7484989 w 12117871"/>
                <a:gd name="connsiteY4295" fmla="*/ 2176765 h 6072780"/>
                <a:gd name="connsiteX4296" fmla="*/ 7499895 w 12117871"/>
                <a:gd name="connsiteY4296" fmla="*/ 2176765 h 6072780"/>
                <a:gd name="connsiteX4297" fmla="*/ 7499895 w 12117871"/>
                <a:gd name="connsiteY4297" fmla="*/ 2399745 h 6072780"/>
                <a:gd name="connsiteX4298" fmla="*/ 7464607 w 12117871"/>
                <a:gd name="connsiteY4298" fmla="*/ 2399745 h 6072780"/>
                <a:gd name="connsiteX4299" fmla="*/ 7464607 w 12117871"/>
                <a:gd name="connsiteY4299" fmla="*/ 2219962 h 6072780"/>
                <a:gd name="connsiteX4300" fmla="*/ 7443998 w 12117871"/>
                <a:gd name="connsiteY4300" fmla="*/ 2231597 h 6072780"/>
                <a:gd name="connsiteX4301" fmla="*/ 7418825 w 12117871"/>
                <a:gd name="connsiteY4301" fmla="*/ 2240039 h 6072780"/>
                <a:gd name="connsiteX4302" fmla="*/ 7418825 w 12117871"/>
                <a:gd name="connsiteY4302" fmla="*/ 2209923 h 6072780"/>
                <a:gd name="connsiteX4303" fmla="*/ 7435860 w 12117871"/>
                <a:gd name="connsiteY4303" fmla="*/ 2203839 h 6072780"/>
                <a:gd name="connsiteX4304" fmla="*/ 7452059 w 12117871"/>
                <a:gd name="connsiteY4304" fmla="*/ 2196690 h 6072780"/>
                <a:gd name="connsiteX4305" fmla="*/ 7468182 w 12117871"/>
                <a:gd name="connsiteY4305" fmla="*/ 2187868 h 6072780"/>
                <a:gd name="connsiteX4306" fmla="*/ 7484989 w 12117871"/>
                <a:gd name="connsiteY4306" fmla="*/ 2176765 h 6072780"/>
                <a:gd name="connsiteX4307" fmla="*/ 7187275 w 12117871"/>
                <a:gd name="connsiteY4307" fmla="*/ 2176765 h 6072780"/>
                <a:gd name="connsiteX4308" fmla="*/ 7202181 w 12117871"/>
                <a:gd name="connsiteY4308" fmla="*/ 2176765 h 6072780"/>
                <a:gd name="connsiteX4309" fmla="*/ 7202181 w 12117871"/>
                <a:gd name="connsiteY4309" fmla="*/ 2399745 h 6072780"/>
                <a:gd name="connsiteX4310" fmla="*/ 7166893 w 12117871"/>
                <a:gd name="connsiteY4310" fmla="*/ 2399745 h 6072780"/>
                <a:gd name="connsiteX4311" fmla="*/ 7166893 w 12117871"/>
                <a:gd name="connsiteY4311" fmla="*/ 2219962 h 6072780"/>
                <a:gd name="connsiteX4312" fmla="*/ 7146284 w 12117871"/>
                <a:gd name="connsiteY4312" fmla="*/ 2231597 h 6072780"/>
                <a:gd name="connsiteX4313" fmla="*/ 7121111 w 12117871"/>
                <a:gd name="connsiteY4313" fmla="*/ 2240039 h 6072780"/>
                <a:gd name="connsiteX4314" fmla="*/ 7121111 w 12117871"/>
                <a:gd name="connsiteY4314" fmla="*/ 2209923 h 6072780"/>
                <a:gd name="connsiteX4315" fmla="*/ 7138146 w 12117871"/>
                <a:gd name="connsiteY4315" fmla="*/ 2203839 h 6072780"/>
                <a:gd name="connsiteX4316" fmla="*/ 7154345 w 12117871"/>
                <a:gd name="connsiteY4316" fmla="*/ 2196690 h 6072780"/>
                <a:gd name="connsiteX4317" fmla="*/ 7170468 w 12117871"/>
                <a:gd name="connsiteY4317" fmla="*/ 2187868 h 6072780"/>
                <a:gd name="connsiteX4318" fmla="*/ 7187275 w 12117871"/>
                <a:gd name="connsiteY4318" fmla="*/ 2176765 h 6072780"/>
                <a:gd name="connsiteX4319" fmla="*/ 6977863 w 12117871"/>
                <a:gd name="connsiteY4319" fmla="*/ 2176765 h 6072780"/>
                <a:gd name="connsiteX4320" fmla="*/ 7049030 w 12117871"/>
                <a:gd name="connsiteY4320" fmla="*/ 2287352 h 6072780"/>
                <a:gd name="connsiteX4321" fmla="*/ 7028944 w 12117871"/>
                <a:gd name="connsiteY4321" fmla="*/ 2370932 h 6072780"/>
                <a:gd name="connsiteX4322" fmla="*/ 6972747 w 12117871"/>
                <a:gd name="connsiteY4322" fmla="*/ 2399745 h 6072780"/>
                <a:gd name="connsiteX4323" fmla="*/ 6920162 w 12117871"/>
                <a:gd name="connsiteY4323" fmla="*/ 2372211 h 6072780"/>
                <a:gd name="connsiteX4324" fmla="*/ 6901279 w 12117871"/>
                <a:gd name="connsiteY4324" fmla="*/ 2292619 h 6072780"/>
                <a:gd name="connsiteX4325" fmla="*/ 6920989 w 12117871"/>
                <a:gd name="connsiteY4325" fmla="*/ 2206104 h 6072780"/>
                <a:gd name="connsiteX4326" fmla="*/ 6977863 w 12117871"/>
                <a:gd name="connsiteY4326" fmla="*/ 2176765 h 6072780"/>
                <a:gd name="connsiteX4327" fmla="*/ 6761353 w 12117871"/>
                <a:gd name="connsiteY4327" fmla="*/ 2176765 h 6072780"/>
                <a:gd name="connsiteX4328" fmla="*/ 6832520 w 12117871"/>
                <a:gd name="connsiteY4328" fmla="*/ 2287352 h 6072780"/>
                <a:gd name="connsiteX4329" fmla="*/ 6812434 w 12117871"/>
                <a:gd name="connsiteY4329" fmla="*/ 2370932 h 6072780"/>
                <a:gd name="connsiteX4330" fmla="*/ 6756237 w 12117871"/>
                <a:gd name="connsiteY4330" fmla="*/ 2399745 h 6072780"/>
                <a:gd name="connsiteX4331" fmla="*/ 6703652 w 12117871"/>
                <a:gd name="connsiteY4331" fmla="*/ 2372211 h 6072780"/>
                <a:gd name="connsiteX4332" fmla="*/ 6684769 w 12117871"/>
                <a:gd name="connsiteY4332" fmla="*/ 2292619 h 6072780"/>
                <a:gd name="connsiteX4333" fmla="*/ 6704479 w 12117871"/>
                <a:gd name="connsiteY4333" fmla="*/ 2206104 h 6072780"/>
                <a:gd name="connsiteX4334" fmla="*/ 6761353 w 12117871"/>
                <a:gd name="connsiteY4334" fmla="*/ 2176765 h 6072780"/>
                <a:gd name="connsiteX4335" fmla="*/ 6615046 w 12117871"/>
                <a:gd name="connsiteY4335" fmla="*/ 2176765 h 6072780"/>
                <a:gd name="connsiteX4336" fmla="*/ 6629952 w 12117871"/>
                <a:gd name="connsiteY4336" fmla="*/ 2176765 h 6072780"/>
                <a:gd name="connsiteX4337" fmla="*/ 6629952 w 12117871"/>
                <a:gd name="connsiteY4337" fmla="*/ 2399745 h 6072780"/>
                <a:gd name="connsiteX4338" fmla="*/ 6594664 w 12117871"/>
                <a:gd name="connsiteY4338" fmla="*/ 2399745 h 6072780"/>
                <a:gd name="connsiteX4339" fmla="*/ 6594664 w 12117871"/>
                <a:gd name="connsiteY4339" fmla="*/ 2219962 h 6072780"/>
                <a:gd name="connsiteX4340" fmla="*/ 6574055 w 12117871"/>
                <a:gd name="connsiteY4340" fmla="*/ 2231597 h 6072780"/>
                <a:gd name="connsiteX4341" fmla="*/ 6548882 w 12117871"/>
                <a:gd name="connsiteY4341" fmla="*/ 2240039 h 6072780"/>
                <a:gd name="connsiteX4342" fmla="*/ 6548882 w 12117871"/>
                <a:gd name="connsiteY4342" fmla="*/ 2209923 h 6072780"/>
                <a:gd name="connsiteX4343" fmla="*/ 6565917 w 12117871"/>
                <a:gd name="connsiteY4343" fmla="*/ 2203839 h 6072780"/>
                <a:gd name="connsiteX4344" fmla="*/ 6582116 w 12117871"/>
                <a:gd name="connsiteY4344" fmla="*/ 2196690 h 6072780"/>
                <a:gd name="connsiteX4345" fmla="*/ 6598239 w 12117871"/>
                <a:gd name="connsiteY4345" fmla="*/ 2187868 h 6072780"/>
                <a:gd name="connsiteX4346" fmla="*/ 6615046 w 12117871"/>
                <a:gd name="connsiteY4346" fmla="*/ 2176765 h 6072780"/>
                <a:gd name="connsiteX4347" fmla="*/ 6317332 w 12117871"/>
                <a:gd name="connsiteY4347" fmla="*/ 2176765 h 6072780"/>
                <a:gd name="connsiteX4348" fmla="*/ 6332238 w 12117871"/>
                <a:gd name="connsiteY4348" fmla="*/ 2176765 h 6072780"/>
                <a:gd name="connsiteX4349" fmla="*/ 6332238 w 12117871"/>
                <a:gd name="connsiteY4349" fmla="*/ 2399745 h 6072780"/>
                <a:gd name="connsiteX4350" fmla="*/ 6296950 w 12117871"/>
                <a:gd name="connsiteY4350" fmla="*/ 2399745 h 6072780"/>
                <a:gd name="connsiteX4351" fmla="*/ 6296950 w 12117871"/>
                <a:gd name="connsiteY4351" fmla="*/ 2219962 h 6072780"/>
                <a:gd name="connsiteX4352" fmla="*/ 6276341 w 12117871"/>
                <a:gd name="connsiteY4352" fmla="*/ 2231597 h 6072780"/>
                <a:gd name="connsiteX4353" fmla="*/ 6251168 w 12117871"/>
                <a:gd name="connsiteY4353" fmla="*/ 2240039 h 6072780"/>
                <a:gd name="connsiteX4354" fmla="*/ 6251168 w 12117871"/>
                <a:gd name="connsiteY4354" fmla="*/ 2209923 h 6072780"/>
                <a:gd name="connsiteX4355" fmla="*/ 6268203 w 12117871"/>
                <a:gd name="connsiteY4355" fmla="*/ 2203839 h 6072780"/>
                <a:gd name="connsiteX4356" fmla="*/ 6284402 w 12117871"/>
                <a:gd name="connsiteY4356" fmla="*/ 2196690 h 6072780"/>
                <a:gd name="connsiteX4357" fmla="*/ 6300525 w 12117871"/>
                <a:gd name="connsiteY4357" fmla="*/ 2187868 h 6072780"/>
                <a:gd name="connsiteX4358" fmla="*/ 6317332 w 12117871"/>
                <a:gd name="connsiteY4358" fmla="*/ 2176765 h 6072780"/>
                <a:gd name="connsiteX4359" fmla="*/ 6143576 w 12117871"/>
                <a:gd name="connsiteY4359" fmla="*/ 2176765 h 6072780"/>
                <a:gd name="connsiteX4360" fmla="*/ 6214743 w 12117871"/>
                <a:gd name="connsiteY4360" fmla="*/ 2287352 h 6072780"/>
                <a:gd name="connsiteX4361" fmla="*/ 6194657 w 12117871"/>
                <a:gd name="connsiteY4361" fmla="*/ 2370932 h 6072780"/>
                <a:gd name="connsiteX4362" fmla="*/ 6138460 w 12117871"/>
                <a:gd name="connsiteY4362" fmla="*/ 2399745 h 6072780"/>
                <a:gd name="connsiteX4363" fmla="*/ 6085875 w 12117871"/>
                <a:gd name="connsiteY4363" fmla="*/ 2372211 h 6072780"/>
                <a:gd name="connsiteX4364" fmla="*/ 6066992 w 12117871"/>
                <a:gd name="connsiteY4364" fmla="*/ 2292619 h 6072780"/>
                <a:gd name="connsiteX4365" fmla="*/ 6086702 w 12117871"/>
                <a:gd name="connsiteY4365" fmla="*/ 2206104 h 6072780"/>
                <a:gd name="connsiteX4366" fmla="*/ 6143576 w 12117871"/>
                <a:gd name="connsiteY4366" fmla="*/ 2176765 h 6072780"/>
                <a:gd name="connsiteX4367" fmla="*/ 5927066 w 12117871"/>
                <a:gd name="connsiteY4367" fmla="*/ 2176765 h 6072780"/>
                <a:gd name="connsiteX4368" fmla="*/ 5998233 w 12117871"/>
                <a:gd name="connsiteY4368" fmla="*/ 2287352 h 6072780"/>
                <a:gd name="connsiteX4369" fmla="*/ 5978148 w 12117871"/>
                <a:gd name="connsiteY4369" fmla="*/ 2370932 h 6072780"/>
                <a:gd name="connsiteX4370" fmla="*/ 5921951 w 12117871"/>
                <a:gd name="connsiteY4370" fmla="*/ 2399745 h 6072780"/>
                <a:gd name="connsiteX4371" fmla="*/ 5869364 w 12117871"/>
                <a:gd name="connsiteY4371" fmla="*/ 2372211 h 6072780"/>
                <a:gd name="connsiteX4372" fmla="*/ 5850483 w 12117871"/>
                <a:gd name="connsiteY4372" fmla="*/ 2292619 h 6072780"/>
                <a:gd name="connsiteX4373" fmla="*/ 5870192 w 12117871"/>
                <a:gd name="connsiteY4373" fmla="*/ 2206104 h 6072780"/>
                <a:gd name="connsiteX4374" fmla="*/ 5927066 w 12117871"/>
                <a:gd name="connsiteY4374" fmla="*/ 2176765 h 6072780"/>
                <a:gd name="connsiteX4375" fmla="*/ 5702958 w 12117871"/>
                <a:gd name="connsiteY4375" fmla="*/ 2176765 h 6072780"/>
                <a:gd name="connsiteX4376" fmla="*/ 5774126 w 12117871"/>
                <a:gd name="connsiteY4376" fmla="*/ 2287352 h 6072780"/>
                <a:gd name="connsiteX4377" fmla="*/ 5754041 w 12117871"/>
                <a:gd name="connsiteY4377" fmla="*/ 2370932 h 6072780"/>
                <a:gd name="connsiteX4378" fmla="*/ 5697845 w 12117871"/>
                <a:gd name="connsiteY4378" fmla="*/ 2399745 h 6072780"/>
                <a:gd name="connsiteX4379" fmla="*/ 5645258 w 12117871"/>
                <a:gd name="connsiteY4379" fmla="*/ 2372211 h 6072780"/>
                <a:gd name="connsiteX4380" fmla="*/ 5626376 w 12117871"/>
                <a:gd name="connsiteY4380" fmla="*/ 2292619 h 6072780"/>
                <a:gd name="connsiteX4381" fmla="*/ 5646086 w 12117871"/>
                <a:gd name="connsiteY4381" fmla="*/ 2206104 h 6072780"/>
                <a:gd name="connsiteX4382" fmla="*/ 5702958 w 12117871"/>
                <a:gd name="connsiteY4382" fmla="*/ 2176765 h 6072780"/>
                <a:gd name="connsiteX4383" fmla="*/ 5545678 w 12117871"/>
                <a:gd name="connsiteY4383" fmla="*/ 2176765 h 6072780"/>
                <a:gd name="connsiteX4384" fmla="*/ 5560587 w 12117871"/>
                <a:gd name="connsiteY4384" fmla="*/ 2176765 h 6072780"/>
                <a:gd name="connsiteX4385" fmla="*/ 5560587 w 12117871"/>
                <a:gd name="connsiteY4385" fmla="*/ 2399745 h 6072780"/>
                <a:gd name="connsiteX4386" fmla="*/ 5525299 w 12117871"/>
                <a:gd name="connsiteY4386" fmla="*/ 2399745 h 6072780"/>
                <a:gd name="connsiteX4387" fmla="*/ 5525299 w 12117871"/>
                <a:gd name="connsiteY4387" fmla="*/ 2219962 h 6072780"/>
                <a:gd name="connsiteX4388" fmla="*/ 5504689 w 12117871"/>
                <a:gd name="connsiteY4388" fmla="*/ 2231597 h 6072780"/>
                <a:gd name="connsiteX4389" fmla="*/ 5479516 w 12117871"/>
                <a:gd name="connsiteY4389" fmla="*/ 2240039 h 6072780"/>
                <a:gd name="connsiteX4390" fmla="*/ 5479516 w 12117871"/>
                <a:gd name="connsiteY4390" fmla="*/ 2209923 h 6072780"/>
                <a:gd name="connsiteX4391" fmla="*/ 5496550 w 12117871"/>
                <a:gd name="connsiteY4391" fmla="*/ 2203839 h 6072780"/>
                <a:gd name="connsiteX4392" fmla="*/ 5512750 w 12117871"/>
                <a:gd name="connsiteY4392" fmla="*/ 2196690 h 6072780"/>
                <a:gd name="connsiteX4393" fmla="*/ 5528872 w 12117871"/>
                <a:gd name="connsiteY4393" fmla="*/ 2187868 h 6072780"/>
                <a:gd name="connsiteX4394" fmla="*/ 5545678 w 12117871"/>
                <a:gd name="connsiteY4394" fmla="*/ 2176765 h 6072780"/>
                <a:gd name="connsiteX4395" fmla="*/ 5247965 w 12117871"/>
                <a:gd name="connsiteY4395" fmla="*/ 2176765 h 6072780"/>
                <a:gd name="connsiteX4396" fmla="*/ 5262872 w 12117871"/>
                <a:gd name="connsiteY4396" fmla="*/ 2176765 h 6072780"/>
                <a:gd name="connsiteX4397" fmla="*/ 5262872 w 12117871"/>
                <a:gd name="connsiteY4397" fmla="*/ 2399745 h 6072780"/>
                <a:gd name="connsiteX4398" fmla="*/ 5227584 w 12117871"/>
                <a:gd name="connsiteY4398" fmla="*/ 2399745 h 6072780"/>
                <a:gd name="connsiteX4399" fmla="*/ 5227584 w 12117871"/>
                <a:gd name="connsiteY4399" fmla="*/ 2219962 h 6072780"/>
                <a:gd name="connsiteX4400" fmla="*/ 5206974 w 12117871"/>
                <a:gd name="connsiteY4400" fmla="*/ 2231597 h 6072780"/>
                <a:gd name="connsiteX4401" fmla="*/ 5181802 w 12117871"/>
                <a:gd name="connsiteY4401" fmla="*/ 2240039 h 6072780"/>
                <a:gd name="connsiteX4402" fmla="*/ 5181802 w 12117871"/>
                <a:gd name="connsiteY4402" fmla="*/ 2209923 h 6072780"/>
                <a:gd name="connsiteX4403" fmla="*/ 5198836 w 12117871"/>
                <a:gd name="connsiteY4403" fmla="*/ 2203839 h 6072780"/>
                <a:gd name="connsiteX4404" fmla="*/ 5215036 w 12117871"/>
                <a:gd name="connsiteY4404" fmla="*/ 2196690 h 6072780"/>
                <a:gd name="connsiteX4405" fmla="*/ 5231158 w 12117871"/>
                <a:gd name="connsiteY4405" fmla="*/ 2187868 h 6072780"/>
                <a:gd name="connsiteX4406" fmla="*/ 5247965 w 12117871"/>
                <a:gd name="connsiteY4406" fmla="*/ 2176765 h 6072780"/>
                <a:gd name="connsiteX4407" fmla="*/ 4873220 w 12117871"/>
                <a:gd name="connsiteY4407" fmla="*/ 2176765 h 6072780"/>
                <a:gd name="connsiteX4408" fmla="*/ 4888126 w 12117871"/>
                <a:gd name="connsiteY4408" fmla="*/ 2176765 h 6072780"/>
                <a:gd name="connsiteX4409" fmla="*/ 4888126 w 12117871"/>
                <a:gd name="connsiteY4409" fmla="*/ 2399745 h 6072780"/>
                <a:gd name="connsiteX4410" fmla="*/ 4852838 w 12117871"/>
                <a:gd name="connsiteY4410" fmla="*/ 2399745 h 6072780"/>
                <a:gd name="connsiteX4411" fmla="*/ 4852838 w 12117871"/>
                <a:gd name="connsiteY4411" fmla="*/ 2219962 h 6072780"/>
                <a:gd name="connsiteX4412" fmla="*/ 4832228 w 12117871"/>
                <a:gd name="connsiteY4412" fmla="*/ 2231597 h 6072780"/>
                <a:gd name="connsiteX4413" fmla="*/ 4807057 w 12117871"/>
                <a:gd name="connsiteY4413" fmla="*/ 2240039 h 6072780"/>
                <a:gd name="connsiteX4414" fmla="*/ 4807057 w 12117871"/>
                <a:gd name="connsiteY4414" fmla="*/ 2209923 h 6072780"/>
                <a:gd name="connsiteX4415" fmla="*/ 4824092 w 12117871"/>
                <a:gd name="connsiteY4415" fmla="*/ 2203839 h 6072780"/>
                <a:gd name="connsiteX4416" fmla="*/ 4840292 w 12117871"/>
                <a:gd name="connsiteY4416" fmla="*/ 2196690 h 6072780"/>
                <a:gd name="connsiteX4417" fmla="*/ 4856413 w 12117871"/>
                <a:gd name="connsiteY4417" fmla="*/ 2187868 h 6072780"/>
                <a:gd name="connsiteX4418" fmla="*/ 4873220 w 12117871"/>
                <a:gd name="connsiteY4418" fmla="*/ 2176765 h 6072780"/>
                <a:gd name="connsiteX4419" fmla="*/ 4729612 w 12117871"/>
                <a:gd name="connsiteY4419" fmla="*/ 2176765 h 6072780"/>
                <a:gd name="connsiteX4420" fmla="*/ 4744518 w 12117871"/>
                <a:gd name="connsiteY4420" fmla="*/ 2176765 h 6072780"/>
                <a:gd name="connsiteX4421" fmla="*/ 4744518 w 12117871"/>
                <a:gd name="connsiteY4421" fmla="*/ 2399745 h 6072780"/>
                <a:gd name="connsiteX4422" fmla="*/ 4709230 w 12117871"/>
                <a:gd name="connsiteY4422" fmla="*/ 2399745 h 6072780"/>
                <a:gd name="connsiteX4423" fmla="*/ 4709230 w 12117871"/>
                <a:gd name="connsiteY4423" fmla="*/ 2219962 h 6072780"/>
                <a:gd name="connsiteX4424" fmla="*/ 4688621 w 12117871"/>
                <a:gd name="connsiteY4424" fmla="*/ 2231597 h 6072780"/>
                <a:gd name="connsiteX4425" fmla="*/ 4663449 w 12117871"/>
                <a:gd name="connsiteY4425" fmla="*/ 2240039 h 6072780"/>
                <a:gd name="connsiteX4426" fmla="*/ 4663449 w 12117871"/>
                <a:gd name="connsiteY4426" fmla="*/ 2209923 h 6072780"/>
                <a:gd name="connsiteX4427" fmla="*/ 4680483 w 12117871"/>
                <a:gd name="connsiteY4427" fmla="*/ 2203839 h 6072780"/>
                <a:gd name="connsiteX4428" fmla="*/ 4696683 w 12117871"/>
                <a:gd name="connsiteY4428" fmla="*/ 2196690 h 6072780"/>
                <a:gd name="connsiteX4429" fmla="*/ 4712804 w 12117871"/>
                <a:gd name="connsiteY4429" fmla="*/ 2187868 h 6072780"/>
                <a:gd name="connsiteX4430" fmla="*/ 4729612 w 12117871"/>
                <a:gd name="connsiteY4430" fmla="*/ 2176765 h 6072780"/>
                <a:gd name="connsiteX4431" fmla="*/ 4586004 w 12117871"/>
                <a:gd name="connsiteY4431" fmla="*/ 2176765 h 6072780"/>
                <a:gd name="connsiteX4432" fmla="*/ 4600910 w 12117871"/>
                <a:gd name="connsiteY4432" fmla="*/ 2176765 h 6072780"/>
                <a:gd name="connsiteX4433" fmla="*/ 4600910 w 12117871"/>
                <a:gd name="connsiteY4433" fmla="*/ 2399745 h 6072780"/>
                <a:gd name="connsiteX4434" fmla="*/ 4565622 w 12117871"/>
                <a:gd name="connsiteY4434" fmla="*/ 2399745 h 6072780"/>
                <a:gd name="connsiteX4435" fmla="*/ 4565622 w 12117871"/>
                <a:gd name="connsiteY4435" fmla="*/ 2219962 h 6072780"/>
                <a:gd name="connsiteX4436" fmla="*/ 4545013 w 12117871"/>
                <a:gd name="connsiteY4436" fmla="*/ 2231597 h 6072780"/>
                <a:gd name="connsiteX4437" fmla="*/ 4519841 w 12117871"/>
                <a:gd name="connsiteY4437" fmla="*/ 2240039 h 6072780"/>
                <a:gd name="connsiteX4438" fmla="*/ 4519841 w 12117871"/>
                <a:gd name="connsiteY4438" fmla="*/ 2209923 h 6072780"/>
                <a:gd name="connsiteX4439" fmla="*/ 4536875 w 12117871"/>
                <a:gd name="connsiteY4439" fmla="*/ 2203839 h 6072780"/>
                <a:gd name="connsiteX4440" fmla="*/ 4553076 w 12117871"/>
                <a:gd name="connsiteY4440" fmla="*/ 2196690 h 6072780"/>
                <a:gd name="connsiteX4441" fmla="*/ 4569196 w 12117871"/>
                <a:gd name="connsiteY4441" fmla="*/ 2187868 h 6072780"/>
                <a:gd name="connsiteX4442" fmla="*/ 4586004 w 12117871"/>
                <a:gd name="connsiteY4442" fmla="*/ 2176765 h 6072780"/>
                <a:gd name="connsiteX4443" fmla="*/ 4442396 w 12117871"/>
                <a:gd name="connsiteY4443" fmla="*/ 2176765 h 6072780"/>
                <a:gd name="connsiteX4444" fmla="*/ 4457303 w 12117871"/>
                <a:gd name="connsiteY4444" fmla="*/ 2176765 h 6072780"/>
                <a:gd name="connsiteX4445" fmla="*/ 4457303 w 12117871"/>
                <a:gd name="connsiteY4445" fmla="*/ 2399745 h 6072780"/>
                <a:gd name="connsiteX4446" fmla="*/ 4422014 w 12117871"/>
                <a:gd name="connsiteY4446" fmla="*/ 2399745 h 6072780"/>
                <a:gd name="connsiteX4447" fmla="*/ 4422014 w 12117871"/>
                <a:gd name="connsiteY4447" fmla="*/ 2219962 h 6072780"/>
                <a:gd name="connsiteX4448" fmla="*/ 4401405 w 12117871"/>
                <a:gd name="connsiteY4448" fmla="*/ 2231597 h 6072780"/>
                <a:gd name="connsiteX4449" fmla="*/ 4376233 w 12117871"/>
                <a:gd name="connsiteY4449" fmla="*/ 2240039 h 6072780"/>
                <a:gd name="connsiteX4450" fmla="*/ 4376233 w 12117871"/>
                <a:gd name="connsiteY4450" fmla="*/ 2209923 h 6072780"/>
                <a:gd name="connsiteX4451" fmla="*/ 4393267 w 12117871"/>
                <a:gd name="connsiteY4451" fmla="*/ 2203839 h 6072780"/>
                <a:gd name="connsiteX4452" fmla="*/ 4409467 w 12117871"/>
                <a:gd name="connsiteY4452" fmla="*/ 2196690 h 6072780"/>
                <a:gd name="connsiteX4453" fmla="*/ 4425590 w 12117871"/>
                <a:gd name="connsiteY4453" fmla="*/ 2187868 h 6072780"/>
                <a:gd name="connsiteX4454" fmla="*/ 4442396 w 12117871"/>
                <a:gd name="connsiteY4454" fmla="*/ 2176765 h 6072780"/>
                <a:gd name="connsiteX4455" fmla="*/ 3702228 w 12117871"/>
                <a:gd name="connsiteY4455" fmla="*/ 2176765 h 6072780"/>
                <a:gd name="connsiteX4456" fmla="*/ 3717133 w 12117871"/>
                <a:gd name="connsiteY4456" fmla="*/ 2176765 h 6072780"/>
                <a:gd name="connsiteX4457" fmla="*/ 3717133 w 12117871"/>
                <a:gd name="connsiteY4457" fmla="*/ 2399745 h 6072780"/>
                <a:gd name="connsiteX4458" fmla="*/ 3681845 w 12117871"/>
                <a:gd name="connsiteY4458" fmla="*/ 2399745 h 6072780"/>
                <a:gd name="connsiteX4459" fmla="*/ 3681845 w 12117871"/>
                <a:gd name="connsiteY4459" fmla="*/ 2219962 h 6072780"/>
                <a:gd name="connsiteX4460" fmla="*/ 3661236 w 12117871"/>
                <a:gd name="connsiteY4460" fmla="*/ 2231597 h 6072780"/>
                <a:gd name="connsiteX4461" fmla="*/ 3636063 w 12117871"/>
                <a:gd name="connsiteY4461" fmla="*/ 2240039 h 6072780"/>
                <a:gd name="connsiteX4462" fmla="*/ 3636063 w 12117871"/>
                <a:gd name="connsiteY4462" fmla="*/ 2209923 h 6072780"/>
                <a:gd name="connsiteX4463" fmla="*/ 3653098 w 12117871"/>
                <a:gd name="connsiteY4463" fmla="*/ 2203839 h 6072780"/>
                <a:gd name="connsiteX4464" fmla="*/ 3669298 w 12117871"/>
                <a:gd name="connsiteY4464" fmla="*/ 2196690 h 6072780"/>
                <a:gd name="connsiteX4465" fmla="*/ 3685419 w 12117871"/>
                <a:gd name="connsiteY4465" fmla="*/ 2187868 h 6072780"/>
                <a:gd name="connsiteX4466" fmla="*/ 3702228 w 12117871"/>
                <a:gd name="connsiteY4466" fmla="*/ 2176765 h 6072780"/>
                <a:gd name="connsiteX4467" fmla="*/ 3553371 w 12117871"/>
                <a:gd name="connsiteY4467" fmla="*/ 2176765 h 6072780"/>
                <a:gd name="connsiteX4468" fmla="*/ 3568277 w 12117871"/>
                <a:gd name="connsiteY4468" fmla="*/ 2176765 h 6072780"/>
                <a:gd name="connsiteX4469" fmla="*/ 3568277 w 12117871"/>
                <a:gd name="connsiteY4469" fmla="*/ 2399745 h 6072780"/>
                <a:gd name="connsiteX4470" fmla="*/ 3532989 w 12117871"/>
                <a:gd name="connsiteY4470" fmla="*/ 2399745 h 6072780"/>
                <a:gd name="connsiteX4471" fmla="*/ 3532989 w 12117871"/>
                <a:gd name="connsiteY4471" fmla="*/ 2219962 h 6072780"/>
                <a:gd name="connsiteX4472" fmla="*/ 3512380 w 12117871"/>
                <a:gd name="connsiteY4472" fmla="*/ 2231597 h 6072780"/>
                <a:gd name="connsiteX4473" fmla="*/ 3487206 w 12117871"/>
                <a:gd name="connsiteY4473" fmla="*/ 2240039 h 6072780"/>
                <a:gd name="connsiteX4474" fmla="*/ 3487206 w 12117871"/>
                <a:gd name="connsiteY4474" fmla="*/ 2209923 h 6072780"/>
                <a:gd name="connsiteX4475" fmla="*/ 3504242 w 12117871"/>
                <a:gd name="connsiteY4475" fmla="*/ 2203839 h 6072780"/>
                <a:gd name="connsiteX4476" fmla="*/ 3520441 w 12117871"/>
                <a:gd name="connsiteY4476" fmla="*/ 2196690 h 6072780"/>
                <a:gd name="connsiteX4477" fmla="*/ 3536563 w 12117871"/>
                <a:gd name="connsiteY4477" fmla="*/ 2187868 h 6072780"/>
                <a:gd name="connsiteX4478" fmla="*/ 3553371 w 12117871"/>
                <a:gd name="connsiteY4478" fmla="*/ 2176765 h 6072780"/>
                <a:gd name="connsiteX4479" fmla="*/ 2748702 w 12117871"/>
                <a:gd name="connsiteY4479" fmla="*/ 2176765 h 6072780"/>
                <a:gd name="connsiteX4480" fmla="*/ 2763608 w 12117871"/>
                <a:gd name="connsiteY4480" fmla="*/ 2176765 h 6072780"/>
                <a:gd name="connsiteX4481" fmla="*/ 2763608 w 12117871"/>
                <a:gd name="connsiteY4481" fmla="*/ 2399745 h 6072780"/>
                <a:gd name="connsiteX4482" fmla="*/ 2728321 w 12117871"/>
                <a:gd name="connsiteY4482" fmla="*/ 2399745 h 6072780"/>
                <a:gd name="connsiteX4483" fmla="*/ 2728321 w 12117871"/>
                <a:gd name="connsiteY4483" fmla="*/ 2219962 h 6072780"/>
                <a:gd name="connsiteX4484" fmla="*/ 2707711 w 12117871"/>
                <a:gd name="connsiteY4484" fmla="*/ 2231597 h 6072780"/>
                <a:gd name="connsiteX4485" fmla="*/ 2682538 w 12117871"/>
                <a:gd name="connsiteY4485" fmla="*/ 2240039 h 6072780"/>
                <a:gd name="connsiteX4486" fmla="*/ 2682538 w 12117871"/>
                <a:gd name="connsiteY4486" fmla="*/ 2209923 h 6072780"/>
                <a:gd name="connsiteX4487" fmla="*/ 2699574 w 12117871"/>
                <a:gd name="connsiteY4487" fmla="*/ 2203839 h 6072780"/>
                <a:gd name="connsiteX4488" fmla="*/ 2715773 w 12117871"/>
                <a:gd name="connsiteY4488" fmla="*/ 2196690 h 6072780"/>
                <a:gd name="connsiteX4489" fmla="*/ 2731895 w 12117871"/>
                <a:gd name="connsiteY4489" fmla="*/ 2187868 h 6072780"/>
                <a:gd name="connsiteX4490" fmla="*/ 2748702 w 12117871"/>
                <a:gd name="connsiteY4490" fmla="*/ 2176765 h 6072780"/>
                <a:gd name="connsiteX4491" fmla="*/ 2355943 w 12117871"/>
                <a:gd name="connsiteY4491" fmla="*/ 2176765 h 6072780"/>
                <a:gd name="connsiteX4492" fmla="*/ 2370850 w 12117871"/>
                <a:gd name="connsiteY4492" fmla="*/ 2176765 h 6072780"/>
                <a:gd name="connsiteX4493" fmla="*/ 2370850 w 12117871"/>
                <a:gd name="connsiteY4493" fmla="*/ 2399745 h 6072780"/>
                <a:gd name="connsiteX4494" fmla="*/ 2335562 w 12117871"/>
                <a:gd name="connsiteY4494" fmla="*/ 2399745 h 6072780"/>
                <a:gd name="connsiteX4495" fmla="*/ 2335562 w 12117871"/>
                <a:gd name="connsiteY4495" fmla="*/ 2219962 h 6072780"/>
                <a:gd name="connsiteX4496" fmla="*/ 2314952 w 12117871"/>
                <a:gd name="connsiteY4496" fmla="*/ 2231597 h 6072780"/>
                <a:gd name="connsiteX4497" fmla="*/ 2289780 w 12117871"/>
                <a:gd name="connsiteY4497" fmla="*/ 2240039 h 6072780"/>
                <a:gd name="connsiteX4498" fmla="*/ 2289780 w 12117871"/>
                <a:gd name="connsiteY4498" fmla="*/ 2209923 h 6072780"/>
                <a:gd name="connsiteX4499" fmla="*/ 2306815 w 12117871"/>
                <a:gd name="connsiteY4499" fmla="*/ 2203839 h 6072780"/>
                <a:gd name="connsiteX4500" fmla="*/ 2323013 w 12117871"/>
                <a:gd name="connsiteY4500" fmla="*/ 2196690 h 6072780"/>
                <a:gd name="connsiteX4501" fmla="*/ 2339135 w 12117871"/>
                <a:gd name="connsiteY4501" fmla="*/ 2187868 h 6072780"/>
                <a:gd name="connsiteX4502" fmla="*/ 2355943 w 12117871"/>
                <a:gd name="connsiteY4502" fmla="*/ 2176765 h 6072780"/>
                <a:gd name="connsiteX4503" fmla="*/ 2212336 w 12117871"/>
                <a:gd name="connsiteY4503" fmla="*/ 2176765 h 6072780"/>
                <a:gd name="connsiteX4504" fmla="*/ 2227242 w 12117871"/>
                <a:gd name="connsiteY4504" fmla="*/ 2176765 h 6072780"/>
                <a:gd name="connsiteX4505" fmla="*/ 2227242 w 12117871"/>
                <a:gd name="connsiteY4505" fmla="*/ 2399745 h 6072780"/>
                <a:gd name="connsiteX4506" fmla="*/ 2191954 w 12117871"/>
                <a:gd name="connsiteY4506" fmla="*/ 2399745 h 6072780"/>
                <a:gd name="connsiteX4507" fmla="*/ 2191954 w 12117871"/>
                <a:gd name="connsiteY4507" fmla="*/ 2219962 h 6072780"/>
                <a:gd name="connsiteX4508" fmla="*/ 2171344 w 12117871"/>
                <a:gd name="connsiteY4508" fmla="*/ 2231597 h 6072780"/>
                <a:gd name="connsiteX4509" fmla="*/ 2146172 w 12117871"/>
                <a:gd name="connsiteY4509" fmla="*/ 2240039 h 6072780"/>
                <a:gd name="connsiteX4510" fmla="*/ 2146172 w 12117871"/>
                <a:gd name="connsiteY4510" fmla="*/ 2209923 h 6072780"/>
                <a:gd name="connsiteX4511" fmla="*/ 2163206 w 12117871"/>
                <a:gd name="connsiteY4511" fmla="*/ 2203839 h 6072780"/>
                <a:gd name="connsiteX4512" fmla="*/ 2179406 w 12117871"/>
                <a:gd name="connsiteY4512" fmla="*/ 2196690 h 6072780"/>
                <a:gd name="connsiteX4513" fmla="*/ 2195528 w 12117871"/>
                <a:gd name="connsiteY4513" fmla="*/ 2187868 h 6072780"/>
                <a:gd name="connsiteX4514" fmla="*/ 2212336 w 12117871"/>
                <a:gd name="connsiteY4514" fmla="*/ 2176765 h 6072780"/>
                <a:gd name="connsiteX4515" fmla="*/ 2068726 w 12117871"/>
                <a:gd name="connsiteY4515" fmla="*/ 2176765 h 6072780"/>
                <a:gd name="connsiteX4516" fmla="*/ 2083633 w 12117871"/>
                <a:gd name="connsiteY4516" fmla="*/ 2176765 h 6072780"/>
                <a:gd name="connsiteX4517" fmla="*/ 2083633 w 12117871"/>
                <a:gd name="connsiteY4517" fmla="*/ 2399745 h 6072780"/>
                <a:gd name="connsiteX4518" fmla="*/ 2048345 w 12117871"/>
                <a:gd name="connsiteY4518" fmla="*/ 2399745 h 6072780"/>
                <a:gd name="connsiteX4519" fmla="*/ 2048345 w 12117871"/>
                <a:gd name="connsiteY4519" fmla="*/ 2219962 h 6072780"/>
                <a:gd name="connsiteX4520" fmla="*/ 2027735 w 12117871"/>
                <a:gd name="connsiteY4520" fmla="*/ 2231597 h 6072780"/>
                <a:gd name="connsiteX4521" fmla="*/ 2002563 w 12117871"/>
                <a:gd name="connsiteY4521" fmla="*/ 2240039 h 6072780"/>
                <a:gd name="connsiteX4522" fmla="*/ 2002563 w 12117871"/>
                <a:gd name="connsiteY4522" fmla="*/ 2209923 h 6072780"/>
                <a:gd name="connsiteX4523" fmla="*/ 2019598 w 12117871"/>
                <a:gd name="connsiteY4523" fmla="*/ 2203839 h 6072780"/>
                <a:gd name="connsiteX4524" fmla="*/ 2035796 w 12117871"/>
                <a:gd name="connsiteY4524" fmla="*/ 2196690 h 6072780"/>
                <a:gd name="connsiteX4525" fmla="*/ 2051918 w 12117871"/>
                <a:gd name="connsiteY4525" fmla="*/ 2187868 h 6072780"/>
                <a:gd name="connsiteX4526" fmla="*/ 2068726 w 12117871"/>
                <a:gd name="connsiteY4526" fmla="*/ 2176765 h 6072780"/>
                <a:gd name="connsiteX4527" fmla="*/ 1925119 w 12117871"/>
                <a:gd name="connsiteY4527" fmla="*/ 2176765 h 6072780"/>
                <a:gd name="connsiteX4528" fmla="*/ 1940025 w 12117871"/>
                <a:gd name="connsiteY4528" fmla="*/ 2176765 h 6072780"/>
                <a:gd name="connsiteX4529" fmla="*/ 1940025 w 12117871"/>
                <a:gd name="connsiteY4529" fmla="*/ 2399745 h 6072780"/>
                <a:gd name="connsiteX4530" fmla="*/ 1904738 w 12117871"/>
                <a:gd name="connsiteY4530" fmla="*/ 2399745 h 6072780"/>
                <a:gd name="connsiteX4531" fmla="*/ 1904738 w 12117871"/>
                <a:gd name="connsiteY4531" fmla="*/ 2219962 h 6072780"/>
                <a:gd name="connsiteX4532" fmla="*/ 1884128 w 12117871"/>
                <a:gd name="connsiteY4532" fmla="*/ 2231597 h 6072780"/>
                <a:gd name="connsiteX4533" fmla="*/ 1858955 w 12117871"/>
                <a:gd name="connsiteY4533" fmla="*/ 2240039 h 6072780"/>
                <a:gd name="connsiteX4534" fmla="*/ 1858955 w 12117871"/>
                <a:gd name="connsiteY4534" fmla="*/ 2209923 h 6072780"/>
                <a:gd name="connsiteX4535" fmla="*/ 1875991 w 12117871"/>
                <a:gd name="connsiteY4535" fmla="*/ 2203839 h 6072780"/>
                <a:gd name="connsiteX4536" fmla="*/ 1892190 w 12117871"/>
                <a:gd name="connsiteY4536" fmla="*/ 2196690 h 6072780"/>
                <a:gd name="connsiteX4537" fmla="*/ 1908312 w 12117871"/>
                <a:gd name="connsiteY4537" fmla="*/ 2187868 h 6072780"/>
                <a:gd name="connsiteX4538" fmla="*/ 1925119 w 12117871"/>
                <a:gd name="connsiteY4538" fmla="*/ 2176765 h 6072780"/>
                <a:gd name="connsiteX4539" fmla="*/ 1781511 w 12117871"/>
                <a:gd name="connsiteY4539" fmla="*/ 2176765 h 6072780"/>
                <a:gd name="connsiteX4540" fmla="*/ 1796417 w 12117871"/>
                <a:gd name="connsiteY4540" fmla="*/ 2176765 h 6072780"/>
                <a:gd name="connsiteX4541" fmla="*/ 1796417 w 12117871"/>
                <a:gd name="connsiteY4541" fmla="*/ 2399745 h 6072780"/>
                <a:gd name="connsiteX4542" fmla="*/ 1761130 w 12117871"/>
                <a:gd name="connsiteY4542" fmla="*/ 2399745 h 6072780"/>
                <a:gd name="connsiteX4543" fmla="*/ 1761130 w 12117871"/>
                <a:gd name="connsiteY4543" fmla="*/ 2219962 h 6072780"/>
                <a:gd name="connsiteX4544" fmla="*/ 1740520 w 12117871"/>
                <a:gd name="connsiteY4544" fmla="*/ 2231597 h 6072780"/>
                <a:gd name="connsiteX4545" fmla="*/ 1715347 w 12117871"/>
                <a:gd name="connsiteY4545" fmla="*/ 2240039 h 6072780"/>
                <a:gd name="connsiteX4546" fmla="*/ 1715347 w 12117871"/>
                <a:gd name="connsiteY4546" fmla="*/ 2209923 h 6072780"/>
                <a:gd name="connsiteX4547" fmla="*/ 1732383 w 12117871"/>
                <a:gd name="connsiteY4547" fmla="*/ 2203839 h 6072780"/>
                <a:gd name="connsiteX4548" fmla="*/ 1748582 w 12117871"/>
                <a:gd name="connsiteY4548" fmla="*/ 2196690 h 6072780"/>
                <a:gd name="connsiteX4549" fmla="*/ 1764704 w 12117871"/>
                <a:gd name="connsiteY4549" fmla="*/ 2187868 h 6072780"/>
                <a:gd name="connsiteX4550" fmla="*/ 1781511 w 12117871"/>
                <a:gd name="connsiteY4550" fmla="*/ 2176765 h 6072780"/>
                <a:gd name="connsiteX4551" fmla="*/ 1433813 w 12117871"/>
                <a:gd name="connsiteY4551" fmla="*/ 2176765 h 6072780"/>
                <a:gd name="connsiteX4552" fmla="*/ 1448720 w 12117871"/>
                <a:gd name="connsiteY4552" fmla="*/ 2176765 h 6072780"/>
                <a:gd name="connsiteX4553" fmla="*/ 1448720 w 12117871"/>
                <a:gd name="connsiteY4553" fmla="*/ 2399745 h 6072780"/>
                <a:gd name="connsiteX4554" fmla="*/ 1413432 w 12117871"/>
                <a:gd name="connsiteY4554" fmla="*/ 2399745 h 6072780"/>
                <a:gd name="connsiteX4555" fmla="*/ 1413432 w 12117871"/>
                <a:gd name="connsiteY4555" fmla="*/ 2219962 h 6072780"/>
                <a:gd name="connsiteX4556" fmla="*/ 1392822 w 12117871"/>
                <a:gd name="connsiteY4556" fmla="*/ 2231597 h 6072780"/>
                <a:gd name="connsiteX4557" fmla="*/ 1367650 w 12117871"/>
                <a:gd name="connsiteY4557" fmla="*/ 2240039 h 6072780"/>
                <a:gd name="connsiteX4558" fmla="*/ 1367650 w 12117871"/>
                <a:gd name="connsiteY4558" fmla="*/ 2209923 h 6072780"/>
                <a:gd name="connsiteX4559" fmla="*/ 1384685 w 12117871"/>
                <a:gd name="connsiteY4559" fmla="*/ 2203839 h 6072780"/>
                <a:gd name="connsiteX4560" fmla="*/ 1400884 w 12117871"/>
                <a:gd name="connsiteY4560" fmla="*/ 2196690 h 6072780"/>
                <a:gd name="connsiteX4561" fmla="*/ 1417006 w 12117871"/>
                <a:gd name="connsiteY4561" fmla="*/ 2187868 h 6072780"/>
                <a:gd name="connsiteX4562" fmla="*/ 1433813 w 12117871"/>
                <a:gd name="connsiteY4562" fmla="*/ 2176765 h 6072780"/>
                <a:gd name="connsiteX4563" fmla="*/ 1136100 w 12117871"/>
                <a:gd name="connsiteY4563" fmla="*/ 2176765 h 6072780"/>
                <a:gd name="connsiteX4564" fmla="*/ 1151006 w 12117871"/>
                <a:gd name="connsiteY4564" fmla="*/ 2176765 h 6072780"/>
                <a:gd name="connsiteX4565" fmla="*/ 1151006 w 12117871"/>
                <a:gd name="connsiteY4565" fmla="*/ 2399745 h 6072780"/>
                <a:gd name="connsiteX4566" fmla="*/ 1115718 w 12117871"/>
                <a:gd name="connsiteY4566" fmla="*/ 2399745 h 6072780"/>
                <a:gd name="connsiteX4567" fmla="*/ 1115718 w 12117871"/>
                <a:gd name="connsiteY4567" fmla="*/ 2219962 h 6072780"/>
                <a:gd name="connsiteX4568" fmla="*/ 1095109 w 12117871"/>
                <a:gd name="connsiteY4568" fmla="*/ 2231597 h 6072780"/>
                <a:gd name="connsiteX4569" fmla="*/ 1069936 w 12117871"/>
                <a:gd name="connsiteY4569" fmla="*/ 2240039 h 6072780"/>
                <a:gd name="connsiteX4570" fmla="*/ 1069936 w 12117871"/>
                <a:gd name="connsiteY4570" fmla="*/ 2209923 h 6072780"/>
                <a:gd name="connsiteX4571" fmla="*/ 1086971 w 12117871"/>
                <a:gd name="connsiteY4571" fmla="*/ 2203839 h 6072780"/>
                <a:gd name="connsiteX4572" fmla="*/ 1103170 w 12117871"/>
                <a:gd name="connsiteY4572" fmla="*/ 2196690 h 6072780"/>
                <a:gd name="connsiteX4573" fmla="*/ 1119293 w 12117871"/>
                <a:gd name="connsiteY4573" fmla="*/ 2187868 h 6072780"/>
                <a:gd name="connsiteX4574" fmla="*/ 1136100 w 12117871"/>
                <a:gd name="connsiteY4574" fmla="*/ 2176765 h 6072780"/>
                <a:gd name="connsiteX4575" fmla="*/ 924981 w 12117871"/>
                <a:gd name="connsiteY4575" fmla="*/ 2176765 h 6072780"/>
                <a:gd name="connsiteX4576" fmla="*/ 996148 w 12117871"/>
                <a:gd name="connsiteY4576" fmla="*/ 2287352 h 6072780"/>
                <a:gd name="connsiteX4577" fmla="*/ 976062 w 12117871"/>
                <a:gd name="connsiteY4577" fmla="*/ 2370932 h 6072780"/>
                <a:gd name="connsiteX4578" fmla="*/ 919866 w 12117871"/>
                <a:gd name="connsiteY4578" fmla="*/ 2399745 h 6072780"/>
                <a:gd name="connsiteX4579" fmla="*/ 867279 w 12117871"/>
                <a:gd name="connsiteY4579" fmla="*/ 2372211 h 6072780"/>
                <a:gd name="connsiteX4580" fmla="*/ 848398 w 12117871"/>
                <a:gd name="connsiteY4580" fmla="*/ 2292619 h 6072780"/>
                <a:gd name="connsiteX4581" fmla="*/ 868108 w 12117871"/>
                <a:gd name="connsiteY4581" fmla="*/ 2206104 h 6072780"/>
                <a:gd name="connsiteX4582" fmla="*/ 924981 w 12117871"/>
                <a:gd name="connsiteY4582" fmla="*/ 2176765 h 6072780"/>
                <a:gd name="connsiteX4583" fmla="*/ 708705 w 12117871"/>
                <a:gd name="connsiteY4583" fmla="*/ 2176765 h 6072780"/>
                <a:gd name="connsiteX4584" fmla="*/ 779872 w 12117871"/>
                <a:gd name="connsiteY4584" fmla="*/ 2287352 h 6072780"/>
                <a:gd name="connsiteX4585" fmla="*/ 759785 w 12117871"/>
                <a:gd name="connsiteY4585" fmla="*/ 2370932 h 6072780"/>
                <a:gd name="connsiteX4586" fmla="*/ 703590 w 12117871"/>
                <a:gd name="connsiteY4586" fmla="*/ 2399745 h 6072780"/>
                <a:gd name="connsiteX4587" fmla="*/ 651004 w 12117871"/>
                <a:gd name="connsiteY4587" fmla="*/ 2372211 h 6072780"/>
                <a:gd name="connsiteX4588" fmla="*/ 632122 w 12117871"/>
                <a:gd name="connsiteY4588" fmla="*/ 2292619 h 6072780"/>
                <a:gd name="connsiteX4589" fmla="*/ 651832 w 12117871"/>
                <a:gd name="connsiteY4589" fmla="*/ 2206104 h 6072780"/>
                <a:gd name="connsiteX4590" fmla="*/ 708705 w 12117871"/>
                <a:gd name="connsiteY4590" fmla="*/ 2176765 h 6072780"/>
                <a:gd name="connsiteX4591" fmla="*/ 560572 w 12117871"/>
                <a:gd name="connsiteY4591" fmla="*/ 2176765 h 6072780"/>
                <a:gd name="connsiteX4592" fmla="*/ 575479 w 12117871"/>
                <a:gd name="connsiteY4592" fmla="*/ 2176765 h 6072780"/>
                <a:gd name="connsiteX4593" fmla="*/ 575479 w 12117871"/>
                <a:gd name="connsiteY4593" fmla="*/ 2399745 h 6072780"/>
                <a:gd name="connsiteX4594" fmla="*/ 540191 w 12117871"/>
                <a:gd name="connsiteY4594" fmla="*/ 2399745 h 6072780"/>
                <a:gd name="connsiteX4595" fmla="*/ 540191 w 12117871"/>
                <a:gd name="connsiteY4595" fmla="*/ 2219962 h 6072780"/>
                <a:gd name="connsiteX4596" fmla="*/ 519581 w 12117871"/>
                <a:gd name="connsiteY4596" fmla="*/ 2231597 h 6072780"/>
                <a:gd name="connsiteX4597" fmla="*/ 494409 w 12117871"/>
                <a:gd name="connsiteY4597" fmla="*/ 2240039 h 6072780"/>
                <a:gd name="connsiteX4598" fmla="*/ 494409 w 12117871"/>
                <a:gd name="connsiteY4598" fmla="*/ 2209923 h 6072780"/>
                <a:gd name="connsiteX4599" fmla="*/ 511444 w 12117871"/>
                <a:gd name="connsiteY4599" fmla="*/ 2203839 h 6072780"/>
                <a:gd name="connsiteX4600" fmla="*/ 527643 w 12117871"/>
                <a:gd name="connsiteY4600" fmla="*/ 2196690 h 6072780"/>
                <a:gd name="connsiteX4601" fmla="*/ 543766 w 12117871"/>
                <a:gd name="connsiteY4601" fmla="*/ 2187868 h 6072780"/>
                <a:gd name="connsiteX4602" fmla="*/ 560572 w 12117871"/>
                <a:gd name="connsiteY4602" fmla="*/ 2176765 h 6072780"/>
                <a:gd name="connsiteX4603" fmla="*/ 262859 w 12117871"/>
                <a:gd name="connsiteY4603" fmla="*/ 2176765 h 6072780"/>
                <a:gd name="connsiteX4604" fmla="*/ 277764 w 12117871"/>
                <a:gd name="connsiteY4604" fmla="*/ 2176765 h 6072780"/>
                <a:gd name="connsiteX4605" fmla="*/ 277764 w 12117871"/>
                <a:gd name="connsiteY4605" fmla="*/ 2399745 h 6072780"/>
                <a:gd name="connsiteX4606" fmla="*/ 242478 w 12117871"/>
                <a:gd name="connsiteY4606" fmla="*/ 2399745 h 6072780"/>
                <a:gd name="connsiteX4607" fmla="*/ 242478 w 12117871"/>
                <a:gd name="connsiteY4607" fmla="*/ 2219962 h 6072780"/>
                <a:gd name="connsiteX4608" fmla="*/ 221869 w 12117871"/>
                <a:gd name="connsiteY4608" fmla="*/ 2231597 h 6072780"/>
                <a:gd name="connsiteX4609" fmla="*/ 196695 w 12117871"/>
                <a:gd name="connsiteY4609" fmla="*/ 2240039 h 6072780"/>
                <a:gd name="connsiteX4610" fmla="*/ 196695 w 12117871"/>
                <a:gd name="connsiteY4610" fmla="*/ 2209923 h 6072780"/>
                <a:gd name="connsiteX4611" fmla="*/ 213729 w 12117871"/>
                <a:gd name="connsiteY4611" fmla="*/ 2203839 h 6072780"/>
                <a:gd name="connsiteX4612" fmla="*/ 229928 w 12117871"/>
                <a:gd name="connsiteY4612" fmla="*/ 2196690 h 6072780"/>
                <a:gd name="connsiteX4613" fmla="*/ 246052 w 12117871"/>
                <a:gd name="connsiteY4613" fmla="*/ 2187868 h 6072780"/>
                <a:gd name="connsiteX4614" fmla="*/ 262859 w 12117871"/>
                <a:gd name="connsiteY4614" fmla="*/ 2176765 h 6072780"/>
                <a:gd name="connsiteX4615" fmla="*/ 87099 w 12117871"/>
                <a:gd name="connsiteY4615" fmla="*/ 2176765 h 6072780"/>
                <a:gd name="connsiteX4616" fmla="*/ 158266 w 12117871"/>
                <a:gd name="connsiteY4616" fmla="*/ 2287352 h 6072780"/>
                <a:gd name="connsiteX4617" fmla="*/ 138180 w 12117871"/>
                <a:gd name="connsiteY4617" fmla="*/ 2370932 h 6072780"/>
                <a:gd name="connsiteX4618" fmla="*/ 81984 w 12117871"/>
                <a:gd name="connsiteY4618" fmla="*/ 2399745 h 6072780"/>
                <a:gd name="connsiteX4619" fmla="*/ 29398 w 12117871"/>
                <a:gd name="connsiteY4619" fmla="*/ 2372211 h 6072780"/>
                <a:gd name="connsiteX4620" fmla="*/ 10515 w 12117871"/>
                <a:gd name="connsiteY4620" fmla="*/ 2292619 h 6072780"/>
                <a:gd name="connsiteX4621" fmla="*/ 30225 w 12117871"/>
                <a:gd name="connsiteY4621" fmla="*/ 2206104 h 6072780"/>
                <a:gd name="connsiteX4622" fmla="*/ 87099 w 12117871"/>
                <a:gd name="connsiteY4622" fmla="*/ 2176765 h 6072780"/>
                <a:gd name="connsiteX4623" fmla="*/ 11895120 w 12117871"/>
                <a:gd name="connsiteY4623" fmla="*/ 1870182 h 6072780"/>
                <a:gd name="connsiteX4624" fmla="*/ 11855850 w 12117871"/>
                <a:gd name="connsiteY4624" fmla="*/ 1956697 h 6072780"/>
                <a:gd name="connsiteX4625" fmla="*/ 11894368 w 12117871"/>
                <a:gd name="connsiteY4625" fmla="*/ 2037642 h 6072780"/>
                <a:gd name="connsiteX4626" fmla="*/ 11932283 w 12117871"/>
                <a:gd name="connsiteY4626" fmla="*/ 1955343 h 6072780"/>
                <a:gd name="connsiteX4627" fmla="*/ 11895120 w 12117871"/>
                <a:gd name="connsiteY4627" fmla="*/ 1870182 h 6072780"/>
                <a:gd name="connsiteX4628" fmla="*/ 11188558 w 12117871"/>
                <a:gd name="connsiteY4628" fmla="*/ 1870182 h 6072780"/>
                <a:gd name="connsiteX4629" fmla="*/ 11149288 w 12117871"/>
                <a:gd name="connsiteY4629" fmla="*/ 1956697 h 6072780"/>
                <a:gd name="connsiteX4630" fmla="*/ 11187806 w 12117871"/>
                <a:gd name="connsiteY4630" fmla="*/ 2037642 h 6072780"/>
                <a:gd name="connsiteX4631" fmla="*/ 11225721 w 12117871"/>
                <a:gd name="connsiteY4631" fmla="*/ 1955343 h 6072780"/>
                <a:gd name="connsiteX4632" fmla="*/ 11188558 w 12117871"/>
                <a:gd name="connsiteY4632" fmla="*/ 1870182 h 6072780"/>
                <a:gd name="connsiteX4633" fmla="*/ 9941039 w 12117871"/>
                <a:gd name="connsiteY4633" fmla="*/ 1870182 h 6072780"/>
                <a:gd name="connsiteX4634" fmla="*/ 9901769 w 12117871"/>
                <a:gd name="connsiteY4634" fmla="*/ 1956697 h 6072780"/>
                <a:gd name="connsiteX4635" fmla="*/ 9940287 w 12117871"/>
                <a:gd name="connsiteY4635" fmla="*/ 2037642 h 6072780"/>
                <a:gd name="connsiteX4636" fmla="*/ 9978202 w 12117871"/>
                <a:gd name="connsiteY4636" fmla="*/ 1955343 h 6072780"/>
                <a:gd name="connsiteX4637" fmla="*/ 9941039 w 12117871"/>
                <a:gd name="connsiteY4637" fmla="*/ 1870182 h 6072780"/>
                <a:gd name="connsiteX4638" fmla="*/ 9721595 w 12117871"/>
                <a:gd name="connsiteY4638" fmla="*/ 1870182 h 6072780"/>
                <a:gd name="connsiteX4639" fmla="*/ 9682325 w 12117871"/>
                <a:gd name="connsiteY4639" fmla="*/ 1956697 h 6072780"/>
                <a:gd name="connsiteX4640" fmla="*/ 9720843 w 12117871"/>
                <a:gd name="connsiteY4640" fmla="*/ 2037642 h 6072780"/>
                <a:gd name="connsiteX4641" fmla="*/ 9758758 w 12117871"/>
                <a:gd name="connsiteY4641" fmla="*/ 1955343 h 6072780"/>
                <a:gd name="connsiteX4642" fmla="*/ 9721595 w 12117871"/>
                <a:gd name="connsiteY4642" fmla="*/ 1870182 h 6072780"/>
                <a:gd name="connsiteX4643" fmla="*/ 6366950 w 12117871"/>
                <a:gd name="connsiteY4643" fmla="*/ 1870182 h 6072780"/>
                <a:gd name="connsiteX4644" fmla="*/ 6327680 w 12117871"/>
                <a:gd name="connsiteY4644" fmla="*/ 1956697 h 6072780"/>
                <a:gd name="connsiteX4645" fmla="*/ 6366198 w 12117871"/>
                <a:gd name="connsiteY4645" fmla="*/ 2037642 h 6072780"/>
                <a:gd name="connsiteX4646" fmla="*/ 6404113 w 12117871"/>
                <a:gd name="connsiteY4646" fmla="*/ 1955343 h 6072780"/>
                <a:gd name="connsiteX4647" fmla="*/ 6366950 w 12117871"/>
                <a:gd name="connsiteY4647" fmla="*/ 1870182 h 6072780"/>
                <a:gd name="connsiteX4648" fmla="*/ 5831864 w 12117871"/>
                <a:gd name="connsiteY4648" fmla="*/ 1870182 h 6072780"/>
                <a:gd name="connsiteX4649" fmla="*/ 5792595 w 12117871"/>
                <a:gd name="connsiteY4649" fmla="*/ 1956697 h 6072780"/>
                <a:gd name="connsiteX4650" fmla="*/ 5831113 w 12117871"/>
                <a:gd name="connsiteY4650" fmla="*/ 2037642 h 6072780"/>
                <a:gd name="connsiteX4651" fmla="*/ 5869027 w 12117871"/>
                <a:gd name="connsiteY4651" fmla="*/ 1955343 h 6072780"/>
                <a:gd name="connsiteX4652" fmla="*/ 5831864 w 12117871"/>
                <a:gd name="connsiteY4652" fmla="*/ 1870182 h 6072780"/>
                <a:gd name="connsiteX4653" fmla="*/ 5134215 w 12117871"/>
                <a:gd name="connsiteY4653" fmla="*/ 1870182 h 6072780"/>
                <a:gd name="connsiteX4654" fmla="*/ 5094945 w 12117871"/>
                <a:gd name="connsiteY4654" fmla="*/ 1956697 h 6072780"/>
                <a:gd name="connsiteX4655" fmla="*/ 5133463 w 12117871"/>
                <a:gd name="connsiteY4655" fmla="*/ 2037642 h 6072780"/>
                <a:gd name="connsiteX4656" fmla="*/ 5171378 w 12117871"/>
                <a:gd name="connsiteY4656" fmla="*/ 1955343 h 6072780"/>
                <a:gd name="connsiteX4657" fmla="*/ 5134215 w 12117871"/>
                <a:gd name="connsiteY4657" fmla="*/ 1870182 h 6072780"/>
                <a:gd name="connsiteX4658" fmla="*/ 3882478 w 12117871"/>
                <a:gd name="connsiteY4658" fmla="*/ 1870182 h 6072780"/>
                <a:gd name="connsiteX4659" fmla="*/ 3843208 w 12117871"/>
                <a:gd name="connsiteY4659" fmla="*/ 1956697 h 6072780"/>
                <a:gd name="connsiteX4660" fmla="*/ 3881726 w 12117871"/>
                <a:gd name="connsiteY4660" fmla="*/ 2037642 h 6072780"/>
                <a:gd name="connsiteX4661" fmla="*/ 3919642 w 12117871"/>
                <a:gd name="connsiteY4661" fmla="*/ 1955343 h 6072780"/>
                <a:gd name="connsiteX4662" fmla="*/ 3882478 w 12117871"/>
                <a:gd name="connsiteY4662" fmla="*/ 1870182 h 6072780"/>
                <a:gd name="connsiteX4663" fmla="*/ 3657815 w 12117871"/>
                <a:gd name="connsiteY4663" fmla="*/ 1870182 h 6072780"/>
                <a:gd name="connsiteX4664" fmla="*/ 3618545 w 12117871"/>
                <a:gd name="connsiteY4664" fmla="*/ 1956697 h 6072780"/>
                <a:gd name="connsiteX4665" fmla="*/ 3657061 w 12117871"/>
                <a:gd name="connsiteY4665" fmla="*/ 2037642 h 6072780"/>
                <a:gd name="connsiteX4666" fmla="*/ 3694977 w 12117871"/>
                <a:gd name="connsiteY4666" fmla="*/ 1955343 h 6072780"/>
                <a:gd name="connsiteX4667" fmla="*/ 3657815 w 12117871"/>
                <a:gd name="connsiteY4667" fmla="*/ 1870182 h 6072780"/>
                <a:gd name="connsiteX4668" fmla="*/ 295699 w 12117871"/>
                <a:gd name="connsiteY4668" fmla="*/ 1870182 h 6072780"/>
                <a:gd name="connsiteX4669" fmla="*/ 256429 w 12117871"/>
                <a:gd name="connsiteY4669" fmla="*/ 1956697 h 6072780"/>
                <a:gd name="connsiteX4670" fmla="*/ 294947 w 12117871"/>
                <a:gd name="connsiteY4670" fmla="*/ 2037642 h 6072780"/>
                <a:gd name="connsiteX4671" fmla="*/ 332862 w 12117871"/>
                <a:gd name="connsiteY4671" fmla="*/ 1955343 h 6072780"/>
                <a:gd name="connsiteX4672" fmla="*/ 295699 w 12117871"/>
                <a:gd name="connsiteY4672" fmla="*/ 1870182 h 6072780"/>
                <a:gd name="connsiteX4673" fmla="*/ 12088449 w 12117871"/>
                <a:gd name="connsiteY4673" fmla="*/ 1842348 h 6072780"/>
                <a:gd name="connsiteX4674" fmla="*/ 12103355 w 12117871"/>
                <a:gd name="connsiteY4674" fmla="*/ 1842348 h 6072780"/>
                <a:gd name="connsiteX4675" fmla="*/ 12103355 w 12117871"/>
                <a:gd name="connsiteY4675" fmla="*/ 2065327 h 6072780"/>
                <a:gd name="connsiteX4676" fmla="*/ 12068067 w 12117871"/>
                <a:gd name="connsiteY4676" fmla="*/ 2065327 h 6072780"/>
                <a:gd name="connsiteX4677" fmla="*/ 12068067 w 12117871"/>
                <a:gd name="connsiteY4677" fmla="*/ 1885544 h 6072780"/>
                <a:gd name="connsiteX4678" fmla="*/ 12047458 w 12117871"/>
                <a:gd name="connsiteY4678" fmla="*/ 1897179 h 6072780"/>
                <a:gd name="connsiteX4679" fmla="*/ 12022285 w 12117871"/>
                <a:gd name="connsiteY4679" fmla="*/ 1905622 h 6072780"/>
                <a:gd name="connsiteX4680" fmla="*/ 12022285 w 12117871"/>
                <a:gd name="connsiteY4680" fmla="*/ 1875506 h 6072780"/>
                <a:gd name="connsiteX4681" fmla="*/ 12039320 w 12117871"/>
                <a:gd name="connsiteY4681" fmla="*/ 1869422 h 6072780"/>
                <a:gd name="connsiteX4682" fmla="*/ 12055519 w 12117871"/>
                <a:gd name="connsiteY4682" fmla="*/ 1862273 h 6072780"/>
                <a:gd name="connsiteX4683" fmla="*/ 12071642 w 12117871"/>
                <a:gd name="connsiteY4683" fmla="*/ 1853451 h 6072780"/>
                <a:gd name="connsiteX4684" fmla="*/ 12088449 w 12117871"/>
                <a:gd name="connsiteY4684" fmla="*/ 1842348 h 6072780"/>
                <a:gd name="connsiteX4685" fmla="*/ 11896775 w 12117871"/>
                <a:gd name="connsiteY4685" fmla="*/ 1842348 h 6072780"/>
                <a:gd name="connsiteX4686" fmla="*/ 11967942 w 12117871"/>
                <a:gd name="connsiteY4686" fmla="*/ 1952935 h 6072780"/>
                <a:gd name="connsiteX4687" fmla="*/ 11947856 w 12117871"/>
                <a:gd name="connsiteY4687" fmla="*/ 2036514 h 6072780"/>
                <a:gd name="connsiteX4688" fmla="*/ 11891659 w 12117871"/>
                <a:gd name="connsiteY4688" fmla="*/ 2065327 h 6072780"/>
                <a:gd name="connsiteX4689" fmla="*/ 11839074 w 12117871"/>
                <a:gd name="connsiteY4689" fmla="*/ 2037793 h 6072780"/>
                <a:gd name="connsiteX4690" fmla="*/ 11820191 w 12117871"/>
                <a:gd name="connsiteY4690" fmla="*/ 1958202 h 6072780"/>
                <a:gd name="connsiteX4691" fmla="*/ 11839901 w 12117871"/>
                <a:gd name="connsiteY4691" fmla="*/ 1871686 h 6072780"/>
                <a:gd name="connsiteX4692" fmla="*/ 11896775 w 12117871"/>
                <a:gd name="connsiteY4692" fmla="*/ 1842348 h 6072780"/>
                <a:gd name="connsiteX4693" fmla="*/ 11190213 w 12117871"/>
                <a:gd name="connsiteY4693" fmla="*/ 1842348 h 6072780"/>
                <a:gd name="connsiteX4694" fmla="*/ 11261380 w 12117871"/>
                <a:gd name="connsiteY4694" fmla="*/ 1952935 h 6072780"/>
                <a:gd name="connsiteX4695" fmla="*/ 11241294 w 12117871"/>
                <a:gd name="connsiteY4695" fmla="*/ 2036514 h 6072780"/>
                <a:gd name="connsiteX4696" fmla="*/ 11185097 w 12117871"/>
                <a:gd name="connsiteY4696" fmla="*/ 2065327 h 6072780"/>
                <a:gd name="connsiteX4697" fmla="*/ 11132512 w 12117871"/>
                <a:gd name="connsiteY4697" fmla="*/ 2037793 h 6072780"/>
                <a:gd name="connsiteX4698" fmla="*/ 11113629 w 12117871"/>
                <a:gd name="connsiteY4698" fmla="*/ 1958202 h 6072780"/>
                <a:gd name="connsiteX4699" fmla="*/ 11133339 w 12117871"/>
                <a:gd name="connsiteY4699" fmla="*/ 1871686 h 6072780"/>
                <a:gd name="connsiteX4700" fmla="*/ 11190213 w 12117871"/>
                <a:gd name="connsiteY4700" fmla="*/ 1842348 h 6072780"/>
                <a:gd name="connsiteX4701" fmla="*/ 10816495 w 12117871"/>
                <a:gd name="connsiteY4701" fmla="*/ 1842348 h 6072780"/>
                <a:gd name="connsiteX4702" fmla="*/ 10831401 w 12117871"/>
                <a:gd name="connsiteY4702" fmla="*/ 1842348 h 6072780"/>
                <a:gd name="connsiteX4703" fmla="*/ 10831401 w 12117871"/>
                <a:gd name="connsiteY4703" fmla="*/ 2065327 h 6072780"/>
                <a:gd name="connsiteX4704" fmla="*/ 10796113 w 12117871"/>
                <a:gd name="connsiteY4704" fmla="*/ 2065327 h 6072780"/>
                <a:gd name="connsiteX4705" fmla="*/ 10796113 w 12117871"/>
                <a:gd name="connsiteY4705" fmla="*/ 1885544 h 6072780"/>
                <a:gd name="connsiteX4706" fmla="*/ 10775504 w 12117871"/>
                <a:gd name="connsiteY4706" fmla="*/ 1897179 h 6072780"/>
                <a:gd name="connsiteX4707" fmla="*/ 10750331 w 12117871"/>
                <a:gd name="connsiteY4707" fmla="*/ 1905622 h 6072780"/>
                <a:gd name="connsiteX4708" fmla="*/ 10750331 w 12117871"/>
                <a:gd name="connsiteY4708" fmla="*/ 1875506 h 6072780"/>
                <a:gd name="connsiteX4709" fmla="*/ 10767366 w 12117871"/>
                <a:gd name="connsiteY4709" fmla="*/ 1869422 h 6072780"/>
                <a:gd name="connsiteX4710" fmla="*/ 10783565 w 12117871"/>
                <a:gd name="connsiteY4710" fmla="*/ 1862273 h 6072780"/>
                <a:gd name="connsiteX4711" fmla="*/ 10799688 w 12117871"/>
                <a:gd name="connsiteY4711" fmla="*/ 1853451 h 6072780"/>
                <a:gd name="connsiteX4712" fmla="*/ 10816495 w 12117871"/>
                <a:gd name="connsiteY4712" fmla="*/ 1842348 h 6072780"/>
                <a:gd name="connsiteX4713" fmla="*/ 10444287 w 12117871"/>
                <a:gd name="connsiteY4713" fmla="*/ 1842348 h 6072780"/>
                <a:gd name="connsiteX4714" fmla="*/ 10459193 w 12117871"/>
                <a:gd name="connsiteY4714" fmla="*/ 1842348 h 6072780"/>
                <a:gd name="connsiteX4715" fmla="*/ 10459193 w 12117871"/>
                <a:gd name="connsiteY4715" fmla="*/ 2065327 h 6072780"/>
                <a:gd name="connsiteX4716" fmla="*/ 10423905 w 12117871"/>
                <a:gd name="connsiteY4716" fmla="*/ 2065327 h 6072780"/>
                <a:gd name="connsiteX4717" fmla="*/ 10423905 w 12117871"/>
                <a:gd name="connsiteY4717" fmla="*/ 1885544 h 6072780"/>
                <a:gd name="connsiteX4718" fmla="*/ 10403296 w 12117871"/>
                <a:gd name="connsiteY4718" fmla="*/ 1897179 h 6072780"/>
                <a:gd name="connsiteX4719" fmla="*/ 10378123 w 12117871"/>
                <a:gd name="connsiteY4719" fmla="*/ 1905622 h 6072780"/>
                <a:gd name="connsiteX4720" fmla="*/ 10378123 w 12117871"/>
                <a:gd name="connsiteY4720" fmla="*/ 1875506 h 6072780"/>
                <a:gd name="connsiteX4721" fmla="*/ 10395158 w 12117871"/>
                <a:gd name="connsiteY4721" fmla="*/ 1869422 h 6072780"/>
                <a:gd name="connsiteX4722" fmla="*/ 10411357 w 12117871"/>
                <a:gd name="connsiteY4722" fmla="*/ 1862273 h 6072780"/>
                <a:gd name="connsiteX4723" fmla="*/ 10427480 w 12117871"/>
                <a:gd name="connsiteY4723" fmla="*/ 1853451 h 6072780"/>
                <a:gd name="connsiteX4724" fmla="*/ 10444287 w 12117871"/>
                <a:gd name="connsiteY4724" fmla="*/ 1842348 h 6072780"/>
                <a:gd name="connsiteX4725" fmla="*/ 10157071 w 12117871"/>
                <a:gd name="connsiteY4725" fmla="*/ 1842348 h 6072780"/>
                <a:gd name="connsiteX4726" fmla="*/ 10171977 w 12117871"/>
                <a:gd name="connsiteY4726" fmla="*/ 1842348 h 6072780"/>
                <a:gd name="connsiteX4727" fmla="*/ 10171977 w 12117871"/>
                <a:gd name="connsiteY4727" fmla="*/ 2065327 h 6072780"/>
                <a:gd name="connsiteX4728" fmla="*/ 10136689 w 12117871"/>
                <a:gd name="connsiteY4728" fmla="*/ 2065327 h 6072780"/>
                <a:gd name="connsiteX4729" fmla="*/ 10136689 w 12117871"/>
                <a:gd name="connsiteY4729" fmla="*/ 1885544 h 6072780"/>
                <a:gd name="connsiteX4730" fmla="*/ 10116080 w 12117871"/>
                <a:gd name="connsiteY4730" fmla="*/ 1897179 h 6072780"/>
                <a:gd name="connsiteX4731" fmla="*/ 10090907 w 12117871"/>
                <a:gd name="connsiteY4731" fmla="*/ 1905622 h 6072780"/>
                <a:gd name="connsiteX4732" fmla="*/ 10090907 w 12117871"/>
                <a:gd name="connsiteY4732" fmla="*/ 1875506 h 6072780"/>
                <a:gd name="connsiteX4733" fmla="*/ 10107942 w 12117871"/>
                <a:gd name="connsiteY4733" fmla="*/ 1869422 h 6072780"/>
                <a:gd name="connsiteX4734" fmla="*/ 10124141 w 12117871"/>
                <a:gd name="connsiteY4734" fmla="*/ 1862273 h 6072780"/>
                <a:gd name="connsiteX4735" fmla="*/ 10140264 w 12117871"/>
                <a:gd name="connsiteY4735" fmla="*/ 1853451 h 6072780"/>
                <a:gd name="connsiteX4736" fmla="*/ 10157071 w 12117871"/>
                <a:gd name="connsiteY4736" fmla="*/ 1842348 h 6072780"/>
                <a:gd name="connsiteX4737" fmla="*/ 9942694 w 12117871"/>
                <a:gd name="connsiteY4737" fmla="*/ 1842348 h 6072780"/>
                <a:gd name="connsiteX4738" fmla="*/ 10013861 w 12117871"/>
                <a:gd name="connsiteY4738" fmla="*/ 1952935 h 6072780"/>
                <a:gd name="connsiteX4739" fmla="*/ 9993775 w 12117871"/>
                <a:gd name="connsiteY4739" fmla="*/ 2036514 h 6072780"/>
                <a:gd name="connsiteX4740" fmla="*/ 9937578 w 12117871"/>
                <a:gd name="connsiteY4740" fmla="*/ 2065327 h 6072780"/>
                <a:gd name="connsiteX4741" fmla="*/ 9884993 w 12117871"/>
                <a:gd name="connsiteY4741" fmla="*/ 2037793 h 6072780"/>
                <a:gd name="connsiteX4742" fmla="*/ 9866110 w 12117871"/>
                <a:gd name="connsiteY4742" fmla="*/ 1958202 h 6072780"/>
                <a:gd name="connsiteX4743" fmla="*/ 9885820 w 12117871"/>
                <a:gd name="connsiteY4743" fmla="*/ 1871686 h 6072780"/>
                <a:gd name="connsiteX4744" fmla="*/ 9942694 w 12117871"/>
                <a:gd name="connsiteY4744" fmla="*/ 1842348 h 6072780"/>
                <a:gd name="connsiteX4745" fmla="*/ 9723250 w 12117871"/>
                <a:gd name="connsiteY4745" fmla="*/ 1842348 h 6072780"/>
                <a:gd name="connsiteX4746" fmla="*/ 9794417 w 12117871"/>
                <a:gd name="connsiteY4746" fmla="*/ 1952935 h 6072780"/>
                <a:gd name="connsiteX4747" fmla="*/ 9774331 w 12117871"/>
                <a:gd name="connsiteY4747" fmla="*/ 2036514 h 6072780"/>
                <a:gd name="connsiteX4748" fmla="*/ 9718134 w 12117871"/>
                <a:gd name="connsiteY4748" fmla="*/ 2065327 h 6072780"/>
                <a:gd name="connsiteX4749" fmla="*/ 9665549 w 12117871"/>
                <a:gd name="connsiteY4749" fmla="*/ 2037793 h 6072780"/>
                <a:gd name="connsiteX4750" fmla="*/ 9646666 w 12117871"/>
                <a:gd name="connsiteY4750" fmla="*/ 1958202 h 6072780"/>
                <a:gd name="connsiteX4751" fmla="*/ 9666376 w 12117871"/>
                <a:gd name="connsiteY4751" fmla="*/ 1871686 h 6072780"/>
                <a:gd name="connsiteX4752" fmla="*/ 9723250 w 12117871"/>
                <a:gd name="connsiteY4752" fmla="*/ 1842348 h 6072780"/>
                <a:gd name="connsiteX4753" fmla="*/ 9556263 w 12117871"/>
                <a:gd name="connsiteY4753" fmla="*/ 1842348 h 6072780"/>
                <a:gd name="connsiteX4754" fmla="*/ 9571169 w 12117871"/>
                <a:gd name="connsiteY4754" fmla="*/ 1842348 h 6072780"/>
                <a:gd name="connsiteX4755" fmla="*/ 9571169 w 12117871"/>
                <a:gd name="connsiteY4755" fmla="*/ 2065327 h 6072780"/>
                <a:gd name="connsiteX4756" fmla="*/ 9535881 w 12117871"/>
                <a:gd name="connsiteY4756" fmla="*/ 2065327 h 6072780"/>
                <a:gd name="connsiteX4757" fmla="*/ 9535881 w 12117871"/>
                <a:gd name="connsiteY4757" fmla="*/ 1885544 h 6072780"/>
                <a:gd name="connsiteX4758" fmla="*/ 9515272 w 12117871"/>
                <a:gd name="connsiteY4758" fmla="*/ 1897179 h 6072780"/>
                <a:gd name="connsiteX4759" fmla="*/ 9490099 w 12117871"/>
                <a:gd name="connsiteY4759" fmla="*/ 1905622 h 6072780"/>
                <a:gd name="connsiteX4760" fmla="*/ 9490099 w 12117871"/>
                <a:gd name="connsiteY4760" fmla="*/ 1875506 h 6072780"/>
                <a:gd name="connsiteX4761" fmla="*/ 9507134 w 12117871"/>
                <a:gd name="connsiteY4761" fmla="*/ 1869422 h 6072780"/>
                <a:gd name="connsiteX4762" fmla="*/ 9523333 w 12117871"/>
                <a:gd name="connsiteY4762" fmla="*/ 1862273 h 6072780"/>
                <a:gd name="connsiteX4763" fmla="*/ 9539456 w 12117871"/>
                <a:gd name="connsiteY4763" fmla="*/ 1853451 h 6072780"/>
                <a:gd name="connsiteX4764" fmla="*/ 9556263 w 12117871"/>
                <a:gd name="connsiteY4764" fmla="*/ 1842348 h 6072780"/>
                <a:gd name="connsiteX4765" fmla="*/ 9269047 w 12117871"/>
                <a:gd name="connsiteY4765" fmla="*/ 1842348 h 6072780"/>
                <a:gd name="connsiteX4766" fmla="*/ 9283953 w 12117871"/>
                <a:gd name="connsiteY4766" fmla="*/ 1842348 h 6072780"/>
                <a:gd name="connsiteX4767" fmla="*/ 9283953 w 12117871"/>
                <a:gd name="connsiteY4767" fmla="*/ 2065327 h 6072780"/>
                <a:gd name="connsiteX4768" fmla="*/ 9248665 w 12117871"/>
                <a:gd name="connsiteY4768" fmla="*/ 2065327 h 6072780"/>
                <a:gd name="connsiteX4769" fmla="*/ 9248665 w 12117871"/>
                <a:gd name="connsiteY4769" fmla="*/ 1885544 h 6072780"/>
                <a:gd name="connsiteX4770" fmla="*/ 9228056 w 12117871"/>
                <a:gd name="connsiteY4770" fmla="*/ 1897179 h 6072780"/>
                <a:gd name="connsiteX4771" fmla="*/ 9202883 w 12117871"/>
                <a:gd name="connsiteY4771" fmla="*/ 1905622 h 6072780"/>
                <a:gd name="connsiteX4772" fmla="*/ 9202883 w 12117871"/>
                <a:gd name="connsiteY4772" fmla="*/ 1875506 h 6072780"/>
                <a:gd name="connsiteX4773" fmla="*/ 9219918 w 12117871"/>
                <a:gd name="connsiteY4773" fmla="*/ 1869422 h 6072780"/>
                <a:gd name="connsiteX4774" fmla="*/ 9236117 w 12117871"/>
                <a:gd name="connsiteY4774" fmla="*/ 1862273 h 6072780"/>
                <a:gd name="connsiteX4775" fmla="*/ 9252240 w 12117871"/>
                <a:gd name="connsiteY4775" fmla="*/ 1853451 h 6072780"/>
                <a:gd name="connsiteX4776" fmla="*/ 9269047 w 12117871"/>
                <a:gd name="connsiteY4776" fmla="*/ 1842348 h 6072780"/>
                <a:gd name="connsiteX4777" fmla="*/ 8879256 w 12117871"/>
                <a:gd name="connsiteY4777" fmla="*/ 1842348 h 6072780"/>
                <a:gd name="connsiteX4778" fmla="*/ 8894162 w 12117871"/>
                <a:gd name="connsiteY4778" fmla="*/ 1842348 h 6072780"/>
                <a:gd name="connsiteX4779" fmla="*/ 8894162 w 12117871"/>
                <a:gd name="connsiteY4779" fmla="*/ 2065327 h 6072780"/>
                <a:gd name="connsiteX4780" fmla="*/ 8858874 w 12117871"/>
                <a:gd name="connsiteY4780" fmla="*/ 2065327 h 6072780"/>
                <a:gd name="connsiteX4781" fmla="*/ 8858874 w 12117871"/>
                <a:gd name="connsiteY4781" fmla="*/ 1885544 h 6072780"/>
                <a:gd name="connsiteX4782" fmla="*/ 8838265 w 12117871"/>
                <a:gd name="connsiteY4782" fmla="*/ 1897179 h 6072780"/>
                <a:gd name="connsiteX4783" fmla="*/ 8813092 w 12117871"/>
                <a:gd name="connsiteY4783" fmla="*/ 1905622 h 6072780"/>
                <a:gd name="connsiteX4784" fmla="*/ 8813092 w 12117871"/>
                <a:gd name="connsiteY4784" fmla="*/ 1875506 h 6072780"/>
                <a:gd name="connsiteX4785" fmla="*/ 8830127 w 12117871"/>
                <a:gd name="connsiteY4785" fmla="*/ 1869422 h 6072780"/>
                <a:gd name="connsiteX4786" fmla="*/ 8846326 w 12117871"/>
                <a:gd name="connsiteY4786" fmla="*/ 1862273 h 6072780"/>
                <a:gd name="connsiteX4787" fmla="*/ 8862449 w 12117871"/>
                <a:gd name="connsiteY4787" fmla="*/ 1853451 h 6072780"/>
                <a:gd name="connsiteX4788" fmla="*/ 8879256 w 12117871"/>
                <a:gd name="connsiteY4788" fmla="*/ 1842348 h 6072780"/>
                <a:gd name="connsiteX4789" fmla="*/ 8735648 w 12117871"/>
                <a:gd name="connsiteY4789" fmla="*/ 1842348 h 6072780"/>
                <a:gd name="connsiteX4790" fmla="*/ 8750554 w 12117871"/>
                <a:gd name="connsiteY4790" fmla="*/ 1842348 h 6072780"/>
                <a:gd name="connsiteX4791" fmla="*/ 8750554 w 12117871"/>
                <a:gd name="connsiteY4791" fmla="*/ 2065327 h 6072780"/>
                <a:gd name="connsiteX4792" fmla="*/ 8715266 w 12117871"/>
                <a:gd name="connsiteY4792" fmla="*/ 2065327 h 6072780"/>
                <a:gd name="connsiteX4793" fmla="*/ 8715266 w 12117871"/>
                <a:gd name="connsiteY4793" fmla="*/ 1885544 h 6072780"/>
                <a:gd name="connsiteX4794" fmla="*/ 8694657 w 12117871"/>
                <a:gd name="connsiteY4794" fmla="*/ 1897179 h 6072780"/>
                <a:gd name="connsiteX4795" fmla="*/ 8669484 w 12117871"/>
                <a:gd name="connsiteY4795" fmla="*/ 1905622 h 6072780"/>
                <a:gd name="connsiteX4796" fmla="*/ 8669484 w 12117871"/>
                <a:gd name="connsiteY4796" fmla="*/ 1875506 h 6072780"/>
                <a:gd name="connsiteX4797" fmla="*/ 8686519 w 12117871"/>
                <a:gd name="connsiteY4797" fmla="*/ 1869422 h 6072780"/>
                <a:gd name="connsiteX4798" fmla="*/ 8702718 w 12117871"/>
                <a:gd name="connsiteY4798" fmla="*/ 1862273 h 6072780"/>
                <a:gd name="connsiteX4799" fmla="*/ 8718841 w 12117871"/>
                <a:gd name="connsiteY4799" fmla="*/ 1853451 h 6072780"/>
                <a:gd name="connsiteX4800" fmla="*/ 8735648 w 12117871"/>
                <a:gd name="connsiteY4800" fmla="*/ 1842348 h 6072780"/>
                <a:gd name="connsiteX4801" fmla="*/ 8592040 w 12117871"/>
                <a:gd name="connsiteY4801" fmla="*/ 1842348 h 6072780"/>
                <a:gd name="connsiteX4802" fmla="*/ 8606946 w 12117871"/>
                <a:gd name="connsiteY4802" fmla="*/ 1842348 h 6072780"/>
                <a:gd name="connsiteX4803" fmla="*/ 8606946 w 12117871"/>
                <a:gd name="connsiteY4803" fmla="*/ 2065327 h 6072780"/>
                <a:gd name="connsiteX4804" fmla="*/ 8571658 w 12117871"/>
                <a:gd name="connsiteY4804" fmla="*/ 2065327 h 6072780"/>
                <a:gd name="connsiteX4805" fmla="*/ 8571658 w 12117871"/>
                <a:gd name="connsiteY4805" fmla="*/ 1885544 h 6072780"/>
                <a:gd name="connsiteX4806" fmla="*/ 8551049 w 12117871"/>
                <a:gd name="connsiteY4806" fmla="*/ 1897179 h 6072780"/>
                <a:gd name="connsiteX4807" fmla="*/ 8525876 w 12117871"/>
                <a:gd name="connsiteY4807" fmla="*/ 1905622 h 6072780"/>
                <a:gd name="connsiteX4808" fmla="*/ 8525876 w 12117871"/>
                <a:gd name="connsiteY4808" fmla="*/ 1875506 h 6072780"/>
                <a:gd name="connsiteX4809" fmla="*/ 8542911 w 12117871"/>
                <a:gd name="connsiteY4809" fmla="*/ 1869422 h 6072780"/>
                <a:gd name="connsiteX4810" fmla="*/ 8559110 w 12117871"/>
                <a:gd name="connsiteY4810" fmla="*/ 1862273 h 6072780"/>
                <a:gd name="connsiteX4811" fmla="*/ 8575233 w 12117871"/>
                <a:gd name="connsiteY4811" fmla="*/ 1853451 h 6072780"/>
                <a:gd name="connsiteX4812" fmla="*/ 8592040 w 12117871"/>
                <a:gd name="connsiteY4812" fmla="*/ 1842348 h 6072780"/>
                <a:gd name="connsiteX4813" fmla="*/ 7830039 w 12117871"/>
                <a:gd name="connsiteY4813" fmla="*/ 1842348 h 6072780"/>
                <a:gd name="connsiteX4814" fmla="*/ 7844946 w 12117871"/>
                <a:gd name="connsiteY4814" fmla="*/ 1842348 h 6072780"/>
                <a:gd name="connsiteX4815" fmla="*/ 7844946 w 12117871"/>
                <a:gd name="connsiteY4815" fmla="*/ 2065327 h 6072780"/>
                <a:gd name="connsiteX4816" fmla="*/ 7809658 w 12117871"/>
                <a:gd name="connsiteY4816" fmla="*/ 2065327 h 6072780"/>
                <a:gd name="connsiteX4817" fmla="*/ 7809658 w 12117871"/>
                <a:gd name="connsiteY4817" fmla="*/ 1885544 h 6072780"/>
                <a:gd name="connsiteX4818" fmla="*/ 7789048 w 12117871"/>
                <a:gd name="connsiteY4818" fmla="*/ 1897179 h 6072780"/>
                <a:gd name="connsiteX4819" fmla="*/ 7763876 w 12117871"/>
                <a:gd name="connsiteY4819" fmla="*/ 1905622 h 6072780"/>
                <a:gd name="connsiteX4820" fmla="*/ 7763876 w 12117871"/>
                <a:gd name="connsiteY4820" fmla="*/ 1875506 h 6072780"/>
                <a:gd name="connsiteX4821" fmla="*/ 7780911 w 12117871"/>
                <a:gd name="connsiteY4821" fmla="*/ 1869422 h 6072780"/>
                <a:gd name="connsiteX4822" fmla="*/ 7797110 w 12117871"/>
                <a:gd name="connsiteY4822" fmla="*/ 1862273 h 6072780"/>
                <a:gd name="connsiteX4823" fmla="*/ 7813232 w 12117871"/>
                <a:gd name="connsiteY4823" fmla="*/ 1853451 h 6072780"/>
                <a:gd name="connsiteX4824" fmla="*/ 7830039 w 12117871"/>
                <a:gd name="connsiteY4824" fmla="*/ 1842348 h 6072780"/>
                <a:gd name="connsiteX4825" fmla="*/ 7686431 w 12117871"/>
                <a:gd name="connsiteY4825" fmla="*/ 1842348 h 6072780"/>
                <a:gd name="connsiteX4826" fmla="*/ 7701338 w 12117871"/>
                <a:gd name="connsiteY4826" fmla="*/ 1842348 h 6072780"/>
                <a:gd name="connsiteX4827" fmla="*/ 7701338 w 12117871"/>
                <a:gd name="connsiteY4827" fmla="*/ 2065327 h 6072780"/>
                <a:gd name="connsiteX4828" fmla="*/ 7666050 w 12117871"/>
                <a:gd name="connsiteY4828" fmla="*/ 2065327 h 6072780"/>
                <a:gd name="connsiteX4829" fmla="*/ 7666050 w 12117871"/>
                <a:gd name="connsiteY4829" fmla="*/ 1885544 h 6072780"/>
                <a:gd name="connsiteX4830" fmla="*/ 7645440 w 12117871"/>
                <a:gd name="connsiteY4830" fmla="*/ 1897179 h 6072780"/>
                <a:gd name="connsiteX4831" fmla="*/ 7620268 w 12117871"/>
                <a:gd name="connsiteY4831" fmla="*/ 1905622 h 6072780"/>
                <a:gd name="connsiteX4832" fmla="*/ 7620268 w 12117871"/>
                <a:gd name="connsiteY4832" fmla="*/ 1875506 h 6072780"/>
                <a:gd name="connsiteX4833" fmla="*/ 7637303 w 12117871"/>
                <a:gd name="connsiteY4833" fmla="*/ 1869422 h 6072780"/>
                <a:gd name="connsiteX4834" fmla="*/ 7653502 w 12117871"/>
                <a:gd name="connsiteY4834" fmla="*/ 1862273 h 6072780"/>
                <a:gd name="connsiteX4835" fmla="*/ 7669624 w 12117871"/>
                <a:gd name="connsiteY4835" fmla="*/ 1853451 h 6072780"/>
                <a:gd name="connsiteX4836" fmla="*/ 7686431 w 12117871"/>
                <a:gd name="connsiteY4836" fmla="*/ 1842348 h 6072780"/>
                <a:gd name="connsiteX4837" fmla="*/ 7399215 w 12117871"/>
                <a:gd name="connsiteY4837" fmla="*/ 1842348 h 6072780"/>
                <a:gd name="connsiteX4838" fmla="*/ 7414122 w 12117871"/>
                <a:gd name="connsiteY4838" fmla="*/ 1842348 h 6072780"/>
                <a:gd name="connsiteX4839" fmla="*/ 7414122 w 12117871"/>
                <a:gd name="connsiteY4839" fmla="*/ 2065327 h 6072780"/>
                <a:gd name="connsiteX4840" fmla="*/ 7378834 w 12117871"/>
                <a:gd name="connsiteY4840" fmla="*/ 2065327 h 6072780"/>
                <a:gd name="connsiteX4841" fmla="*/ 7378834 w 12117871"/>
                <a:gd name="connsiteY4841" fmla="*/ 1885544 h 6072780"/>
                <a:gd name="connsiteX4842" fmla="*/ 7358224 w 12117871"/>
                <a:gd name="connsiteY4842" fmla="*/ 1897179 h 6072780"/>
                <a:gd name="connsiteX4843" fmla="*/ 7333052 w 12117871"/>
                <a:gd name="connsiteY4843" fmla="*/ 1905622 h 6072780"/>
                <a:gd name="connsiteX4844" fmla="*/ 7333052 w 12117871"/>
                <a:gd name="connsiteY4844" fmla="*/ 1875506 h 6072780"/>
                <a:gd name="connsiteX4845" fmla="*/ 7350087 w 12117871"/>
                <a:gd name="connsiteY4845" fmla="*/ 1869422 h 6072780"/>
                <a:gd name="connsiteX4846" fmla="*/ 7366286 w 12117871"/>
                <a:gd name="connsiteY4846" fmla="*/ 1862273 h 6072780"/>
                <a:gd name="connsiteX4847" fmla="*/ 7382408 w 12117871"/>
                <a:gd name="connsiteY4847" fmla="*/ 1853451 h 6072780"/>
                <a:gd name="connsiteX4848" fmla="*/ 7399215 w 12117871"/>
                <a:gd name="connsiteY4848" fmla="*/ 1842348 h 6072780"/>
                <a:gd name="connsiteX4849" fmla="*/ 7000631 w 12117871"/>
                <a:gd name="connsiteY4849" fmla="*/ 1842348 h 6072780"/>
                <a:gd name="connsiteX4850" fmla="*/ 7015537 w 12117871"/>
                <a:gd name="connsiteY4850" fmla="*/ 1842348 h 6072780"/>
                <a:gd name="connsiteX4851" fmla="*/ 7015537 w 12117871"/>
                <a:gd name="connsiteY4851" fmla="*/ 2065327 h 6072780"/>
                <a:gd name="connsiteX4852" fmla="*/ 6980249 w 12117871"/>
                <a:gd name="connsiteY4852" fmla="*/ 2065327 h 6072780"/>
                <a:gd name="connsiteX4853" fmla="*/ 6980249 w 12117871"/>
                <a:gd name="connsiteY4853" fmla="*/ 1885544 h 6072780"/>
                <a:gd name="connsiteX4854" fmla="*/ 6959640 w 12117871"/>
                <a:gd name="connsiteY4854" fmla="*/ 1897179 h 6072780"/>
                <a:gd name="connsiteX4855" fmla="*/ 6934467 w 12117871"/>
                <a:gd name="connsiteY4855" fmla="*/ 1905622 h 6072780"/>
                <a:gd name="connsiteX4856" fmla="*/ 6934467 w 12117871"/>
                <a:gd name="connsiteY4856" fmla="*/ 1875506 h 6072780"/>
                <a:gd name="connsiteX4857" fmla="*/ 6951502 w 12117871"/>
                <a:gd name="connsiteY4857" fmla="*/ 1869422 h 6072780"/>
                <a:gd name="connsiteX4858" fmla="*/ 6967701 w 12117871"/>
                <a:gd name="connsiteY4858" fmla="*/ 1862273 h 6072780"/>
                <a:gd name="connsiteX4859" fmla="*/ 6983824 w 12117871"/>
                <a:gd name="connsiteY4859" fmla="*/ 1853451 h 6072780"/>
                <a:gd name="connsiteX4860" fmla="*/ 7000631 w 12117871"/>
                <a:gd name="connsiteY4860" fmla="*/ 1842348 h 6072780"/>
                <a:gd name="connsiteX4861" fmla="*/ 6857023 w 12117871"/>
                <a:gd name="connsiteY4861" fmla="*/ 1842348 h 6072780"/>
                <a:gd name="connsiteX4862" fmla="*/ 6871929 w 12117871"/>
                <a:gd name="connsiteY4862" fmla="*/ 1842348 h 6072780"/>
                <a:gd name="connsiteX4863" fmla="*/ 6871929 w 12117871"/>
                <a:gd name="connsiteY4863" fmla="*/ 2065327 h 6072780"/>
                <a:gd name="connsiteX4864" fmla="*/ 6836641 w 12117871"/>
                <a:gd name="connsiteY4864" fmla="*/ 2065327 h 6072780"/>
                <a:gd name="connsiteX4865" fmla="*/ 6836641 w 12117871"/>
                <a:gd name="connsiteY4865" fmla="*/ 1885544 h 6072780"/>
                <a:gd name="connsiteX4866" fmla="*/ 6816032 w 12117871"/>
                <a:gd name="connsiteY4866" fmla="*/ 1897179 h 6072780"/>
                <a:gd name="connsiteX4867" fmla="*/ 6790859 w 12117871"/>
                <a:gd name="connsiteY4867" fmla="*/ 1905622 h 6072780"/>
                <a:gd name="connsiteX4868" fmla="*/ 6790859 w 12117871"/>
                <a:gd name="connsiteY4868" fmla="*/ 1875506 h 6072780"/>
                <a:gd name="connsiteX4869" fmla="*/ 6807894 w 12117871"/>
                <a:gd name="connsiteY4869" fmla="*/ 1869422 h 6072780"/>
                <a:gd name="connsiteX4870" fmla="*/ 6824093 w 12117871"/>
                <a:gd name="connsiteY4870" fmla="*/ 1862273 h 6072780"/>
                <a:gd name="connsiteX4871" fmla="*/ 6840216 w 12117871"/>
                <a:gd name="connsiteY4871" fmla="*/ 1853451 h 6072780"/>
                <a:gd name="connsiteX4872" fmla="*/ 6857023 w 12117871"/>
                <a:gd name="connsiteY4872" fmla="*/ 1842348 h 6072780"/>
                <a:gd name="connsiteX4873" fmla="*/ 6713415 w 12117871"/>
                <a:gd name="connsiteY4873" fmla="*/ 1842348 h 6072780"/>
                <a:gd name="connsiteX4874" fmla="*/ 6728321 w 12117871"/>
                <a:gd name="connsiteY4874" fmla="*/ 1842348 h 6072780"/>
                <a:gd name="connsiteX4875" fmla="*/ 6728321 w 12117871"/>
                <a:gd name="connsiteY4875" fmla="*/ 2065327 h 6072780"/>
                <a:gd name="connsiteX4876" fmla="*/ 6693033 w 12117871"/>
                <a:gd name="connsiteY4876" fmla="*/ 2065327 h 6072780"/>
                <a:gd name="connsiteX4877" fmla="*/ 6693033 w 12117871"/>
                <a:gd name="connsiteY4877" fmla="*/ 1885544 h 6072780"/>
                <a:gd name="connsiteX4878" fmla="*/ 6672424 w 12117871"/>
                <a:gd name="connsiteY4878" fmla="*/ 1897179 h 6072780"/>
                <a:gd name="connsiteX4879" fmla="*/ 6647251 w 12117871"/>
                <a:gd name="connsiteY4879" fmla="*/ 1905622 h 6072780"/>
                <a:gd name="connsiteX4880" fmla="*/ 6647251 w 12117871"/>
                <a:gd name="connsiteY4880" fmla="*/ 1875506 h 6072780"/>
                <a:gd name="connsiteX4881" fmla="*/ 6664286 w 12117871"/>
                <a:gd name="connsiteY4881" fmla="*/ 1869422 h 6072780"/>
                <a:gd name="connsiteX4882" fmla="*/ 6680485 w 12117871"/>
                <a:gd name="connsiteY4882" fmla="*/ 1862273 h 6072780"/>
                <a:gd name="connsiteX4883" fmla="*/ 6696608 w 12117871"/>
                <a:gd name="connsiteY4883" fmla="*/ 1853451 h 6072780"/>
                <a:gd name="connsiteX4884" fmla="*/ 6713415 w 12117871"/>
                <a:gd name="connsiteY4884" fmla="*/ 1842348 h 6072780"/>
                <a:gd name="connsiteX4885" fmla="*/ 6569807 w 12117871"/>
                <a:gd name="connsiteY4885" fmla="*/ 1842348 h 6072780"/>
                <a:gd name="connsiteX4886" fmla="*/ 6584713 w 12117871"/>
                <a:gd name="connsiteY4886" fmla="*/ 1842348 h 6072780"/>
                <a:gd name="connsiteX4887" fmla="*/ 6584713 w 12117871"/>
                <a:gd name="connsiteY4887" fmla="*/ 2065327 h 6072780"/>
                <a:gd name="connsiteX4888" fmla="*/ 6549425 w 12117871"/>
                <a:gd name="connsiteY4888" fmla="*/ 2065327 h 6072780"/>
                <a:gd name="connsiteX4889" fmla="*/ 6549425 w 12117871"/>
                <a:gd name="connsiteY4889" fmla="*/ 1885544 h 6072780"/>
                <a:gd name="connsiteX4890" fmla="*/ 6528816 w 12117871"/>
                <a:gd name="connsiteY4890" fmla="*/ 1897179 h 6072780"/>
                <a:gd name="connsiteX4891" fmla="*/ 6503643 w 12117871"/>
                <a:gd name="connsiteY4891" fmla="*/ 1905622 h 6072780"/>
                <a:gd name="connsiteX4892" fmla="*/ 6503643 w 12117871"/>
                <a:gd name="connsiteY4892" fmla="*/ 1875506 h 6072780"/>
                <a:gd name="connsiteX4893" fmla="*/ 6520678 w 12117871"/>
                <a:gd name="connsiteY4893" fmla="*/ 1869422 h 6072780"/>
                <a:gd name="connsiteX4894" fmla="*/ 6536877 w 12117871"/>
                <a:gd name="connsiteY4894" fmla="*/ 1862273 h 6072780"/>
                <a:gd name="connsiteX4895" fmla="*/ 6553000 w 12117871"/>
                <a:gd name="connsiteY4895" fmla="*/ 1853451 h 6072780"/>
                <a:gd name="connsiteX4896" fmla="*/ 6569807 w 12117871"/>
                <a:gd name="connsiteY4896" fmla="*/ 1842348 h 6072780"/>
                <a:gd name="connsiteX4897" fmla="*/ 6368605 w 12117871"/>
                <a:gd name="connsiteY4897" fmla="*/ 1842348 h 6072780"/>
                <a:gd name="connsiteX4898" fmla="*/ 6439772 w 12117871"/>
                <a:gd name="connsiteY4898" fmla="*/ 1952935 h 6072780"/>
                <a:gd name="connsiteX4899" fmla="*/ 6419686 w 12117871"/>
                <a:gd name="connsiteY4899" fmla="*/ 2036514 h 6072780"/>
                <a:gd name="connsiteX4900" fmla="*/ 6363489 w 12117871"/>
                <a:gd name="connsiteY4900" fmla="*/ 2065327 h 6072780"/>
                <a:gd name="connsiteX4901" fmla="*/ 6310904 w 12117871"/>
                <a:gd name="connsiteY4901" fmla="*/ 2037793 h 6072780"/>
                <a:gd name="connsiteX4902" fmla="*/ 6292021 w 12117871"/>
                <a:gd name="connsiteY4902" fmla="*/ 1958202 h 6072780"/>
                <a:gd name="connsiteX4903" fmla="*/ 6311731 w 12117871"/>
                <a:gd name="connsiteY4903" fmla="*/ 1871686 h 6072780"/>
                <a:gd name="connsiteX4904" fmla="*/ 6368605 w 12117871"/>
                <a:gd name="connsiteY4904" fmla="*/ 1842348 h 6072780"/>
                <a:gd name="connsiteX4905" fmla="*/ 6033478 w 12117871"/>
                <a:gd name="connsiteY4905" fmla="*/ 1842348 h 6072780"/>
                <a:gd name="connsiteX4906" fmla="*/ 6048383 w 12117871"/>
                <a:gd name="connsiteY4906" fmla="*/ 1842348 h 6072780"/>
                <a:gd name="connsiteX4907" fmla="*/ 6048383 w 12117871"/>
                <a:gd name="connsiteY4907" fmla="*/ 2065327 h 6072780"/>
                <a:gd name="connsiteX4908" fmla="*/ 6013095 w 12117871"/>
                <a:gd name="connsiteY4908" fmla="*/ 2065327 h 6072780"/>
                <a:gd name="connsiteX4909" fmla="*/ 6013095 w 12117871"/>
                <a:gd name="connsiteY4909" fmla="*/ 1885544 h 6072780"/>
                <a:gd name="connsiteX4910" fmla="*/ 5992487 w 12117871"/>
                <a:gd name="connsiteY4910" fmla="*/ 1897179 h 6072780"/>
                <a:gd name="connsiteX4911" fmla="*/ 5967315 w 12117871"/>
                <a:gd name="connsiteY4911" fmla="*/ 1905622 h 6072780"/>
                <a:gd name="connsiteX4912" fmla="*/ 5967315 w 12117871"/>
                <a:gd name="connsiteY4912" fmla="*/ 1875506 h 6072780"/>
                <a:gd name="connsiteX4913" fmla="*/ 5984348 w 12117871"/>
                <a:gd name="connsiteY4913" fmla="*/ 1869422 h 6072780"/>
                <a:gd name="connsiteX4914" fmla="*/ 6000547 w 12117871"/>
                <a:gd name="connsiteY4914" fmla="*/ 1862273 h 6072780"/>
                <a:gd name="connsiteX4915" fmla="*/ 6016670 w 12117871"/>
                <a:gd name="connsiteY4915" fmla="*/ 1853451 h 6072780"/>
                <a:gd name="connsiteX4916" fmla="*/ 6033478 w 12117871"/>
                <a:gd name="connsiteY4916" fmla="*/ 1842348 h 6072780"/>
                <a:gd name="connsiteX4917" fmla="*/ 5833520 w 12117871"/>
                <a:gd name="connsiteY4917" fmla="*/ 1842348 h 6072780"/>
                <a:gd name="connsiteX4918" fmla="*/ 5904686 w 12117871"/>
                <a:gd name="connsiteY4918" fmla="*/ 1952935 h 6072780"/>
                <a:gd name="connsiteX4919" fmla="*/ 5884601 w 12117871"/>
                <a:gd name="connsiteY4919" fmla="*/ 2036514 h 6072780"/>
                <a:gd name="connsiteX4920" fmla="*/ 5828403 w 12117871"/>
                <a:gd name="connsiteY4920" fmla="*/ 2065327 h 6072780"/>
                <a:gd name="connsiteX4921" fmla="*/ 5775818 w 12117871"/>
                <a:gd name="connsiteY4921" fmla="*/ 2037793 h 6072780"/>
                <a:gd name="connsiteX4922" fmla="*/ 5756935 w 12117871"/>
                <a:gd name="connsiteY4922" fmla="*/ 1958202 h 6072780"/>
                <a:gd name="connsiteX4923" fmla="*/ 5776646 w 12117871"/>
                <a:gd name="connsiteY4923" fmla="*/ 1871686 h 6072780"/>
                <a:gd name="connsiteX4924" fmla="*/ 5833520 w 12117871"/>
                <a:gd name="connsiteY4924" fmla="*/ 1842348 h 6072780"/>
                <a:gd name="connsiteX4925" fmla="*/ 5135870 w 12117871"/>
                <a:gd name="connsiteY4925" fmla="*/ 1842348 h 6072780"/>
                <a:gd name="connsiteX4926" fmla="*/ 5207037 w 12117871"/>
                <a:gd name="connsiteY4926" fmla="*/ 1952935 h 6072780"/>
                <a:gd name="connsiteX4927" fmla="*/ 5186950 w 12117871"/>
                <a:gd name="connsiteY4927" fmla="*/ 2036514 h 6072780"/>
                <a:gd name="connsiteX4928" fmla="*/ 5130754 w 12117871"/>
                <a:gd name="connsiteY4928" fmla="*/ 2065327 h 6072780"/>
                <a:gd name="connsiteX4929" fmla="*/ 5078168 w 12117871"/>
                <a:gd name="connsiteY4929" fmla="*/ 2037793 h 6072780"/>
                <a:gd name="connsiteX4930" fmla="*/ 5059286 w 12117871"/>
                <a:gd name="connsiteY4930" fmla="*/ 1958202 h 6072780"/>
                <a:gd name="connsiteX4931" fmla="*/ 5078996 w 12117871"/>
                <a:gd name="connsiteY4931" fmla="*/ 1871686 h 6072780"/>
                <a:gd name="connsiteX4932" fmla="*/ 5135870 w 12117871"/>
                <a:gd name="connsiteY4932" fmla="*/ 1842348 h 6072780"/>
                <a:gd name="connsiteX4933" fmla="*/ 4761526 w 12117871"/>
                <a:gd name="connsiteY4933" fmla="*/ 1842348 h 6072780"/>
                <a:gd name="connsiteX4934" fmla="*/ 4776431 w 12117871"/>
                <a:gd name="connsiteY4934" fmla="*/ 1842348 h 6072780"/>
                <a:gd name="connsiteX4935" fmla="*/ 4776431 w 12117871"/>
                <a:gd name="connsiteY4935" fmla="*/ 2065327 h 6072780"/>
                <a:gd name="connsiteX4936" fmla="*/ 4741143 w 12117871"/>
                <a:gd name="connsiteY4936" fmla="*/ 2065327 h 6072780"/>
                <a:gd name="connsiteX4937" fmla="*/ 4741143 w 12117871"/>
                <a:gd name="connsiteY4937" fmla="*/ 1885544 h 6072780"/>
                <a:gd name="connsiteX4938" fmla="*/ 4720534 w 12117871"/>
                <a:gd name="connsiteY4938" fmla="*/ 1897179 h 6072780"/>
                <a:gd name="connsiteX4939" fmla="*/ 4695361 w 12117871"/>
                <a:gd name="connsiteY4939" fmla="*/ 1905622 h 6072780"/>
                <a:gd name="connsiteX4940" fmla="*/ 4695361 w 12117871"/>
                <a:gd name="connsiteY4940" fmla="*/ 1875506 h 6072780"/>
                <a:gd name="connsiteX4941" fmla="*/ 4712395 w 12117871"/>
                <a:gd name="connsiteY4941" fmla="*/ 1869422 h 6072780"/>
                <a:gd name="connsiteX4942" fmla="*/ 4728594 w 12117871"/>
                <a:gd name="connsiteY4942" fmla="*/ 1862273 h 6072780"/>
                <a:gd name="connsiteX4943" fmla="*/ 4744717 w 12117871"/>
                <a:gd name="connsiteY4943" fmla="*/ 1853451 h 6072780"/>
                <a:gd name="connsiteX4944" fmla="*/ 4761526 w 12117871"/>
                <a:gd name="connsiteY4944" fmla="*/ 1842348 h 6072780"/>
                <a:gd name="connsiteX4945" fmla="*/ 4392240 w 12117871"/>
                <a:gd name="connsiteY4945" fmla="*/ 1842348 h 6072780"/>
                <a:gd name="connsiteX4946" fmla="*/ 4407147 w 12117871"/>
                <a:gd name="connsiteY4946" fmla="*/ 1842348 h 6072780"/>
                <a:gd name="connsiteX4947" fmla="*/ 4407147 w 12117871"/>
                <a:gd name="connsiteY4947" fmla="*/ 2065327 h 6072780"/>
                <a:gd name="connsiteX4948" fmla="*/ 4371860 w 12117871"/>
                <a:gd name="connsiteY4948" fmla="*/ 2065327 h 6072780"/>
                <a:gd name="connsiteX4949" fmla="*/ 4371860 w 12117871"/>
                <a:gd name="connsiteY4949" fmla="*/ 1885544 h 6072780"/>
                <a:gd name="connsiteX4950" fmla="*/ 4351250 w 12117871"/>
                <a:gd name="connsiteY4950" fmla="*/ 1897179 h 6072780"/>
                <a:gd name="connsiteX4951" fmla="*/ 4326077 w 12117871"/>
                <a:gd name="connsiteY4951" fmla="*/ 1905622 h 6072780"/>
                <a:gd name="connsiteX4952" fmla="*/ 4326077 w 12117871"/>
                <a:gd name="connsiteY4952" fmla="*/ 1875506 h 6072780"/>
                <a:gd name="connsiteX4953" fmla="*/ 4343113 w 12117871"/>
                <a:gd name="connsiteY4953" fmla="*/ 1869422 h 6072780"/>
                <a:gd name="connsiteX4954" fmla="*/ 4359312 w 12117871"/>
                <a:gd name="connsiteY4954" fmla="*/ 1862273 h 6072780"/>
                <a:gd name="connsiteX4955" fmla="*/ 4375433 w 12117871"/>
                <a:gd name="connsiteY4955" fmla="*/ 1853451 h 6072780"/>
                <a:gd name="connsiteX4956" fmla="*/ 4392240 w 12117871"/>
                <a:gd name="connsiteY4956" fmla="*/ 1842348 h 6072780"/>
                <a:gd name="connsiteX4957" fmla="*/ 4091705 w 12117871"/>
                <a:gd name="connsiteY4957" fmla="*/ 1842348 h 6072780"/>
                <a:gd name="connsiteX4958" fmla="*/ 4106611 w 12117871"/>
                <a:gd name="connsiteY4958" fmla="*/ 1842348 h 6072780"/>
                <a:gd name="connsiteX4959" fmla="*/ 4106611 w 12117871"/>
                <a:gd name="connsiteY4959" fmla="*/ 2065327 h 6072780"/>
                <a:gd name="connsiteX4960" fmla="*/ 4071322 w 12117871"/>
                <a:gd name="connsiteY4960" fmla="*/ 2065327 h 6072780"/>
                <a:gd name="connsiteX4961" fmla="*/ 4071322 w 12117871"/>
                <a:gd name="connsiteY4961" fmla="*/ 1885544 h 6072780"/>
                <a:gd name="connsiteX4962" fmla="*/ 4050714 w 12117871"/>
                <a:gd name="connsiteY4962" fmla="*/ 1897179 h 6072780"/>
                <a:gd name="connsiteX4963" fmla="*/ 4025540 w 12117871"/>
                <a:gd name="connsiteY4963" fmla="*/ 1905622 h 6072780"/>
                <a:gd name="connsiteX4964" fmla="*/ 4025540 w 12117871"/>
                <a:gd name="connsiteY4964" fmla="*/ 1875506 h 6072780"/>
                <a:gd name="connsiteX4965" fmla="*/ 4042575 w 12117871"/>
                <a:gd name="connsiteY4965" fmla="*/ 1869422 h 6072780"/>
                <a:gd name="connsiteX4966" fmla="*/ 4058774 w 12117871"/>
                <a:gd name="connsiteY4966" fmla="*/ 1862273 h 6072780"/>
                <a:gd name="connsiteX4967" fmla="*/ 4074897 w 12117871"/>
                <a:gd name="connsiteY4967" fmla="*/ 1853451 h 6072780"/>
                <a:gd name="connsiteX4968" fmla="*/ 4091705 w 12117871"/>
                <a:gd name="connsiteY4968" fmla="*/ 1842348 h 6072780"/>
                <a:gd name="connsiteX4969" fmla="*/ 3884133 w 12117871"/>
                <a:gd name="connsiteY4969" fmla="*/ 1842348 h 6072780"/>
                <a:gd name="connsiteX4970" fmla="*/ 3955300 w 12117871"/>
                <a:gd name="connsiteY4970" fmla="*/ 1952935 h 6072780"/>
                <a:gd name="connsiteX4971" fmla="*/ 3935215 w 12117871"/>
                <a:gd name="connsiteY4971" fmla="*/ 2036514 h 6072780"/>
                <a:gd name="connsiteX4972" fmla="*/ 3879017 w 12117871"/>
                <a:gd name="connsiteY4972" fmla="*/ 2065327 h 6072780"/>
                <a:gd name="connsiteX4973" fmla="*/ 3826433 w 12117871"/>
                <a:gd name="connsiteY4973" fmla="*/ 2037793 h 6072780"/>
                <a:gd name="connsiteX4974" fmla="*/ 3807549 w 12117871"/>
                <a:gd name="connsiteY4974" fmla="*/ 1958202 h 6072780"/>
                <a:gd name="connsiteX4975" fmla="*/ 3827259 w 12117871"/>
                <a:gd name="connsiteY4975" fmla="*/ 1871686 h 6072780"/>
                <a:gd name="connsiteX4976" fmla="*/ 3884133 w 12117871"/>
                <a:gd name="connsiteY4976" fmla="*/ 1842348 h 6072780"/>
                <a:gd name="connsiteX4977" fmla="*/ 3659468 w 12117871"/>
                <a:gd name="connsiteY4977" fmla="*/ 1842348 h 6072780"/>
                <a:gd name="connsiteX4978" fmla="*/ 3730636 w 12117871"/>
                <a:gd name="connsiteY4978" fmla="*/ 1952935 h 6072780"/>
                <a:gd name="connsiteX4979" fmla="*/ 3710550 w 12117871"/>
                <a:gd name="connsiteY4979" fmla="*/ 2036514 h 6072780"/>
                <a:gd name="connsiteX4980" fmla="*/ 3654354 w 12117871"/>
                <a:gd name="connsiteY4980" fmla="*/ 2065327 h 6072780"/>
                <a:gd name="connsiteX4981" fmla="*/ 3601769 w 12117871"/>
                <a:gd name="connsiteY4981" fmla="*/ 2037793 h 6072780"/>
                <a:gd name="connsiteX4982" fmla="*/ 3582886 w 12117871"/>
                <a:gd name="connsiteY4982" fmla="*/ 1958202 h 6072780"/>
                <a:gd name="connsiteX4983" fmla="*/ 3602596 w 12117871"/>
                <a:gd name="connsiteY4983" fmla="*/ 1871686 h 6072780"/>
                <a:gd name="connsiteX4984" fmla="*/ 3659468 w 12117871"/>
                <a:gd name="connsiteY4984" fmla="*/ 1842348 h 6072780"/>
                <a:gd name="connsiteX4985" fmla="*/ 3513017 w 12117871"/>
                <a:gd name="connsiteY4985" fmla="*/ 1842348 h 6072780"/>
                <a:gd name="connsiteX4986" fmla="*/ 3527924 w 12117871"/>
                <a:gd name="connsiteY4986" fmla="*/ 1842348 h 6072780"/>
                <a:gd name="connsiteX4987" fmla="*/ 3527924 w 12117871"/>
                <a:gd name="connsiteY4987" fmla="*/ 2065327 h 6072780"/>
                <a:gd name="connsiteX4988" fmla="*/ 3492635 w 12117871"/>
                <a:gd name="connsiteY4988" fmla="*/ 2065327 h 6072780"/>
                <a:gd name="connsiteX4989" fmla="*/ 3492635 w 12117871"/>
                <a:gd name="connsiteY4989" fmla="*/ 1885544 h 6072780"/>
                <a:gd name="connsiteX4990" fmla="*/ 3472027 w 12117871"/>
                <a:gd name="connsiteY4990" fmla="*/ 1897179 h 6072780"/>
                <a:gd name="connsiteX4991" fmla="*/ 3446854 w 12117871"/>
                <a:gd name="connsiteY4991" fmla="*/ 1905622 h 6072780"/>
                <a:gd name="connsiteX4992" fmla="*/ 3446854 w 12117871"/>
                <a:gd name="connsiteY4992" fmla="*/ 1875506 h 6072780"/>
                <a:gd name="connsiteX4993" fmla="*/ 3463889 w 12117871"/>
                <a:gd name="connsiteY4993" fmla="*/ 1869422 h 6072780"/>
                <a:gd name="connsiteX4994" fmla="*/ 3480087 w 12117871"/>
                <a:gd name="connsiteY4994" fmla="*/ 1862273 h 6072780"/>
                <a:gd name="connsiteX4995" fmla="*/ 3496210 w 12117871"/>
                <a:gd name="connsiteY4995" fmla="*/ 1853451 h 6072780"/>
                <a:gd name="connsiteX4996" fmla="*/ 3513017 w 12117871"/>
                <a:gd name="connsiteY4996" fmla="*/ 1842348 h 6072780"/>
                <a:gd name="connsiteX4997" fmla="*/ 3208218 w 12117871"/>
                <a:gd name="connsiteY4997" fmla="*/ 1842348 h 6072780"/>
                <a:gd name="connsiteX4998" fmla="*/ 3223124 w 12117871"/>
                <a:gd name="connsiteY4998" fmla="*/ 1842348 h 6072780"/>
                <a:gd name="connsiteX4999" fmla="*/ 3223124 w 12117871"/>
                <a:gd name="connsiteY4999" fmla="*/ 2065327 h 6072780"/>
                <a:gd name="connsiteX5000" fmla="*/ 3187836 w 12117871"/>
                <a:gd name="connsiteY5000" fmla="*/ 2065327 h 6072780"/>
                <a:gd name="connsiteX5001" fmla="*/ 3187836 w 12117871"/>
                <a:gd name="connsiteY5001" fmla="*/ 1885544 h 6072780"/>
                <a:gd name="connsiteX5002" fmla="*/ 3167227 w 12117871"/>
                <a:gd name="connsiteY5002" fmla="*/ 1897179 h 6072780"/>
                <a:gd name="connsiteX5003" fmla="*/ 3142053 w 12117871"/>
                <a:gd name="connsiteY5003" fmla="*/ 1905622 h 6072780"/>
                <a:gd name="connsiteX5004" fmla="*/ 3142053 w 12117871"/>
                <a:gd name="connsiteY5004" fmla="*/ 1875506 h 6072780"/>
                <a:gd name="connsiteX5005" fmla="*/ 3159089 w 12117871"/>
                <a:gd name="connsiteY5005" fmla="*/ 1869422 h 6072780"/>
                <a:gd name="connsiteX5006" fmla="*/ 3175288 w 12117871"/>
                <a:gd name="connsiteY5006" fmla="*/ 1862273 h 6072780"/>
                <a:gd name="connsiteX5007" fmla="*/ 3191409 w 12117871"/>
                <a:gd name="connsiteY5007" fmla="*/ 1853451 h 6072780"/>
                <a:gd name="connsiteX5008" fmla="*/ 3208218 w 12117871"/>
                <a:gd name="connsiteY5008" fmla="*/ 1842348 h 6072780"/>
                <a:gd name="connsiteX5009" fmla="*/ 2813523 w 12117871"/>
                <a:gd name="connsiteY5009" fmla="*/ 1842348 h 6072780"/>
                <a:gd name="connsiteX5010" fmla="*/ 2828429 w 12117871"/>
                <a:gd name="connsiteY5010" fmla="*/ 1842348 h 6072780"/>
                <a:gd name="connsiteX5011" fmla="*/ 2828429 w 12117871"/>
                <a:gd name="connsiteY5011" fmla="*/ 2065327 h 6072780"/>
                <a:gd name="connsiteX5012" fmla="*/ 2793141 w 12117871"/>
                <a:gd name="connsiteY5012" fmla="*/ 2065327 h 6072780"/>
                <a:gd name="connsiteX5013" fmla="*/ 2793141 w 12117871"/>
                <a:gd name="connsiteY5013" fmla="*/ 1885544 h 6072780"/>
                <a:gd name="connsiteX5014" fmla="*/ 2772531 w 12117871"/>
                <a:gd name="connsiteY5014" fmla="*/ 1897179 h 6072780"/>
                <a:gd name="connsiteX5015" fmla="*/ 2747358 w 12117871"/>
                <a:gd name="connsiteY5015" fmla="*/ 1905622 h 6072780"/>
                <a:gd name="connsiteX5016" fmla="*/ 2747358 w 12117871"/>
                <a:gd name="connsiteY5016" fmla="*/ 1875506 h 6072780"/>
                <a:gd name="connsiteX5017" fmla="*/ 2764394 w 12117871"/>
                <a:gd name="connsiteY5017" fmla="*/ 1869422 h 6072780"/>
                <a:gd name="connsiteX5018" fmla="*/ 2780592 w 12117871"/>
                <a:gd name="connsiteY5018" fmla="*/ 1862273 h 6072780"/>
                <a:gd name="connsiteX5019" fmla="*/ 2796715 w 12117871"/>
                <a:gd name="connsiteY5019" fmla="*/ 1853451 h 6072780"/>
                <a:gd name="connsiteX5020" fmla="*/ 2813523 w 12117871"/>
                <a:gd name="connsiteY5020" fmla="*/ 1842348 h 6072780"/>
                <a:gd name="connsiteX5021" fmla="*/ 2662929 w 12117871"/>
                <a:gd name="connsiteY5021" fmla="*/ 1842348 h 6072780"/>
                <a:gd name="connsiteX5022" fmla="*/ 2677834 w 12117871"/>
                <a:gd name="connsiteY5022" fmla="*/ 1842348 h 6072780"/>
                <a:gd name="connsiteX5023" fmla="*/ 2677834 w 12117871"/>
                <a:gd name="connsiteY5023" fmla="*/ 2065327 h 6072780"/>
                <a:gd name="connsiteX5024" fmla="*/ 2642547 w 12117871"/>
                <a:gd name="connsiteY5024" fmla="*/ 2065327 h 6072780"/>
                <a:gd name="connsiteX5025" fmla="*/ 2642547 w 12117871"/>
                <a:gd name="connsiteY5025" fmla="*/ 1885544 h 6072780"/>
                <a:gd name="connsiteX5026" fmla="*/ 2621937 w 12117871"/>
                <a:gd name="connsiteY5026" fmla="*/ 1897179 h 6072780"/>
                <a:gd name="connsiteX5027" fmla="*/ 2596765 w 12117871"/>
                <a:gd name="connsiteY5027" fmla="*/ 1905622 h 6072780"/>
                <a:gd name="connsiteX5028" fmla="*/ 2596765 w 12117871"/>
                <a:gd name="connsiteY5028" fmla="*/ 1875506 h 6072780"/>
                <a:gd name="connsiteX5029" fmla="*/ 2613800 w 12117871"/>
                <a:gd name="connsiteY5029" fmla="*/ 1869422 h 6072780"/>
                <a:gd name="connsiteX5030" fmla="*/ 2629998 w 12117871"/>
                <a:gd name="connsiteY5030" fmla="*/ 1862273 h 6072780"/>
                <a:gd name="connsiteX5031" fmla="*/ 2646120 w 12117871"/>
                <a:gd name="connsiteY5031" fmla="*/ 1853451 h 6072780"/>
                <a:gd name="connsiteX5032" fmla="*/ 2662929 w 12117871"/>
                <a:gd name="connsiteY5032" fmla="*/ 1842348 h 6072780"/>
                <a:gd name="connsiteX5033" fmla="*/ 2529603 w 12117871"/>
                <a:gd name="connsiteY5033" fmla="*/ 1842348 h 6072780"/>
                <a:gd name="connsiteX5034" fmla="*/ 2544509 w 12117871"/>
                <a:gd name="connsiteY5034" fmla="*/ 1842348 h 6072780"/>
                <a:gd name="connsiteX5035" fmla="*/ 2544509 w 12117871"/>
                <a:gd name="connsiteY5035" fmla="*/ 2065327 h 6072780"/>
                <a:gd name="connsiteX5036" fmla="*/ 2509221 w 12117871"/>
                <a:gd name="connsiteY5036" fmla="*/ 2065327 h 6072780"/>
                <a:gd name="connsiteX5037" fmla="*/ 2509221 w 12117871"/>
                <a:gd name="connsiteY5037" fmla="*/ 1885544 h 6072780"/>
                <a:gd name="connsiteX5038" fmla="*/ 2488613 w 12117871"/>
                <a:gd name="connsiteY5038" fmla="*/ 1897179 h 6072780"/>
                <a:gd name="connsiteX5039" fmla="*/ 2463440 w 12117871"/>
                <a:gd name="connsiteY5039" fmla="*/ 1905622 h 6072780"/>
                <a:gd name="connsiteX5040" fmla="*/ 2463440 w 12117871"/>
                <a:gd name="connsiteY5040" fmla="*/ 1875506 h 6072780"/>
                <a:gd name="connsiteX5041" fmla="*/ 2480475 w 12117871"/>
                <a:gd name="connsiteY5041" fmla="*/ 1869422 h 6072780"/>
                <a:gd name="connsiteX5042" fmla="*/ 2496673 w 12117871"/>
                <a:gd name="connsiteY5042" fmla="*/ 1862273 h 6072780"/>
                <a:gd name="connsiteX5043" fmla="*/ 2512795 w 12117871"/>
                <a:gd name="connsiteY5043" fmla="*/ 1853451 h 6072780"/>
                <a:gd name="connsiteX5044" fmla="*/ 2529603 w 12117871"/>
                <a:gd name="connsiteY5044" fmla="*/ 1842348 h 6072780"/>
                <a:gd name="connsiteX5045" fmla="*/ 1775939 w 12117871"/>
                <a:gd name="connsiteY5045" fmla="*/ 1842348 h 6072780"/>
                <a:gd name="connsiteX5046" fmla="*/ 1790845 w 12117871"/>
                <a:gd name="connsiteY5046" fmla="*/ 1842348 h 6072780"/>
                <a:gd name="connsiteX5047" fmla="*/ 1790845 w 12117871"/>
                <a:gd name="connsiteY5047" fmla="*/ 2065327 h 6072780"/>
                <a:gd name="connsiteX5048" fmla="*/ 1755557 w 12117871"/>
                <a:gd name="connsiteY5048" fmla="*/ 2065327 h 6072780"/>
                <a:gd name="connsiteX5049" fmla="*/ 1755557 w 12117871"/>
                <a:gd name="connsiteY5049" fmla="*/ 1885544 h 6072780"/>
                <a:gd name="connsiteX5050" fmla="*/ 1734948 w 12117871"/>
                <a:gd name="connsiteY5050" fmla="*/ 1897179 h 6072780"/>
                <a:gd name="connsiteX5051" fmla="*/ 1709775 w 12117871"/>
                <a:gd name="connsiteY5051" fmla="*/ 1905622 h 6072780"/>
                <a:gd name="connsiteX5052" fmla="*/ 1709775 w 12117871"/>
                <a:gd name="connsiteY5052" fmla="*/ 1875506 h 6072780"/>
                <a:gd name="connsiteX5053" fmla="*/ 1726810 w 12117871"/>
                <a:gd name="connsiteY5053" fmla="*/ 1869422 h 6072780"/>
                <a:gd name="connsiteX5054" fmla="*/ 1743009 w 12117871"/>
                <a:gd name="connsiteY5054" fmla="*/ 1862273 h 6072780"/>
                <a:gd name="connsiteX5055" fmla="*/ 1759132 w 12117871"/>
                <a:gd name="connsiteY5055" fmla="*/ 1853451 h 6072780"/>
                <a:gd name="connsiteX5056" fmla="*/ 1775939 w 12117871"/>
                <a:gd name="connsiteY5056" fmla="*/ 1842348 h 6072780"/>
                <a:gd name="connsiteX5057" fmla="*/ 1622547 w 12117871"/>
                <a:gd name="connsiteY5057" fmla="*/ 1842348 h 6072780"/>
                <a:gd name="connsiteX5058" fmla="*/ 1637453 w 12117871"/>
                <a:gd name="connsiteY5058" fmla="*/ 1842348 h 6072780"/>
                <a:gd name="connsiteX5059" fmla="*/ 1637453 w 12117871"/>
                <a:gd name="connsiteY5059" fmla="*/ 2065327 h 6072780"/>
                <a:gd name="connsiteX5060" fmla="*/ 1602165 w 12117871"/>
                <a:gd name="connsiteY5060" fmla="*/ 2065327 h 6072780"/>
                <a:gd name="connsiteX5061" fmla="*/ 1602165 w 12117871"/>
                <a:gd name="connsiteY5061" fmla="*/ 1885544 h 6072780"/>
                <a:gd name="connsiteX5062" fmla="*/ 1581556 w 12117871"/>
                <a:gd name="connsiteY5062" fmla="*/ 1897179 h 6072780"/>
                <a:gd name="connsiteX5063" fmla="*/ 1556383 w 12117871"/>
                <a:gd name="connsiteY5063" fmla="*/ 1905622 h 6072780"/>
                <a:gd name="connsiteX5064" fmla="*/ 1556383 w 12117871"/>
                <a:gd name="connsiteY5064" fmla="*/ 1875506 h 6072780"/>
                <a:gd name="connsiteX5065" fmla="*/ 1573418 w 12117871"/>
                <a:gd name="connsiteY5065" fmla="*/ 1869422 h 6072780"/>
                <a:gd name="connsiteX5066" fmla="*/ 1589617 w 12117871"/>
                <a:gd name="connsiteY5066" fmla="*/ 1862273 h 6072780"/>
                <a:gd name="connsiteX5067" fmla="*/ 1605740 w 12117871"/>
                <a:gd name="connsiteY5067" fmla="*/ 1853451 h 6072780"/>
                <a:gd name="connsiteX5068" fmla="*/ 1622547 w 12117871"/>
                <a:gd name="connsiteY5068" fmla="*/ 1842348 h 6072780"/>
                <a:gd name="connsiteX5069" fmla="*/ 1328478 w 12117871"/>
                <a:gd name="connsiteY5069" fmla="*/ 1842348 h 6072780"/>
                <a:gd name="connsiteX5070" fmla="*/ 1343384 w 12117871"/>
                <a:gd name="connsiteY5070" fmla="*/ 1842348 h 6072780"/>
                <a:gd name="connsiteX5071" fmla="*/ 1343384 w 12117871"/>
                <a:gd name="connsiteY5071" fmla="*/ 2065327 h 6072780"/>
                <a:gd name="connsiteX5072" fmla="*/ 1308096 w 12117871"/>
                <a:gd name="connsiteY5072" fmla="*/ 2065327 h 6072780"/>
                <a:gd name="connsiteX5073" fmla="*/ 1308096 w 12117871"/>
                <a:gd name="connsiteY5073" fmla="*/ 1885544 h 6072780"/>
                <a:gd name="connsiteX5074" fmla="*/ 1287487 w 12117871"/>
                <a:gd name="connsiteY5074" fmla="*/ 1897179 h 6072780"/>
                <a:gd name="connsiteX5075" fmla="*/ 1262314 w 12117871"/>
                <a:gd name="connsiteY5075" fmla="*/ 1905622 h 6072780"/>
                <a:gd name="connsiteX5076" fmla="*/ 1262314 w 12117871"/>
                <a:gd name="connsiteY5076" fmla="*/ 1875506 h 6072780"/>
                <a:gd name="connsiteX5077" fmla="*/ 1279349 w 12117871"/>
                <a:gd name="connsiteY5077" fmla="*/ 1869422 h 6072780"/>
                <a:gd name="connsiteX5078" fmla="*/ 1295548 w 12117871"/>
                <a:gd name="connsiteY5078" fmla="*/ 1862273 h 6072780"/>
                <a:gd name="connsiteX5079" fmla="*/ 1311671 w 12117871"/>
                <a:gd name="connsiteY5079" fmla="*/ 1853451 h 6072780"/>
                <a:gd name="connsiteX5080" fmla="*/ 1328478 w 12117871"/>
                <a:gd name="connsiteY5080" fmla="*/ 1842348 h 6072780"/>
                <a:gd name="connsiteX5081" fmla="*/ 953339 w 12117871"/>
                <a:gd name="connsiteY5081" fmla="*/ 1842348 h 6072780"/>
                <a:gd name="connsiteX5082" fmla="*/ 968245 w 12117871"/>
                <a:gd name="connsiteY5082" fmla="*/ 1842348 h 6072780"/>
                <a:gd name="connsiteX5083" fmla="*/ 968245 w 12117871"/>
                <a:gd name="connsiteY5083" fmla="*/ 2065327 h 6072780"/>
                <a:gd name="connsiteX5084" fmla="*/ 932957 w 12117871"/>
                <a:gd name="connsiteY5084" fmla="*/ 2065327 h 6072780"/>
                <a:gd name="connsiteX5085" fmla="*/ 932957 w 12117871"/>
                <a:gd name="connsiteY5085" fmla="*/ 1885544 h 6072780"/>
                <a:gd name="connsiteX5086" fmla="*/ 912348 w 12117871"/>
                <a:gd name="connsiteY5086" fmla="*/ 1897179 h 6072780"/>
                <a:gd name="connsiteX5087" fmla="*/ 887175 w 12117871"/>
                <a:gd name="connsiteY5087" fmla="*/ 1905622 h 6072780"/>
                <a:gd name="connsiteX5088" fmla="*/ 887175 w 12117871"/>
                <a:gd name="connsiteY5088" fmla="*/ 1875506 h 6072780"/>
                <a:gd name="connsiteX5089" fmla="*/ 904210 w 12117871"/>
                <a:gd name="connsiteY5089" fmla="*/ 1869422 h 6072780"/>
                <a:gd name="connsiteX5090" fmla="*/ 920409 w 12117871"/>
                <a:gd name="connsiteY5090" fmla="*/ 1862273 h 6072780"/>
                <a:gd name="connsiteX5091" fmla="*/ 936532 w 12117871"/>
                <a:gd name="connsiteY5091" fmla="*/ 1853451 h 6072780"/>
                <a:gd name="connsiteX5092" fmla="*/ 953339 w 12117871"/>
                <a:gd name="connsiteY5092" fmla="*/ 1842348 h 6072780"/>
                <a:gd name="connsiteX5093" fmla="*/ 804482 w 12117871"/>
                <a:gd name="connsiteY5093" fmla="*/ 1842348 h 6072780"/>
                <a:gd name="connsiteX5094" fmla="*/ 819388 w 12117871"/>
                <a:gd name="connsiteY5094" fmla="*/ 1842348 h 6072780"/>
                <a:gd name="connsiteX5095" fmla="*/ 819388 w 12117871"/>
                <a:gd name="connsiteY5095" fmla="*/ 2065327 h 6072780"/>
                <a:gd name="connsiteX5096" fmla="*/ 784100 w 12117871"/>
                <a:gd name="connsiteY5096" fmla="*/ 2065327 h 6072780"/>
                <a:gd name="connsiteX5097" fmla="*/ 784100 w 12117871"/>
                <a:gd name="connsiteY5097" fmla="*/ 1885544 h 6072780"/>
                <a:gd name="connsiteX5098" fmla="*/ 763491 w 12117871"/>
                <a:gd name="connsiteY5098" fmla="*/ 1897179 h 6072780"/>
                <a:gd name="connsiteX5099" fmla="*/ 738318 w 12117871"/>
                <a:gd name="connsiteY5099" fmla="*/ 1905622 h 6072780"/>
                <a:gd name="connsiteX5100" fmla="*/ 738318 w 12117871"/>
                <a:gd name="connsiteY5100" fmla="*/ 1875506 h 6072780"/>
                <a:gd name="connsiteX5101" fmla="*/ 755353 w 12117871"/>
                <a:gd name="connsiteY5101" fmla="*/ 1869422 h 6072780"/>
                <a:gd name="connsiteX5102" fmla="*/ 771552 w 12117871"/>
                <a:gd name="connsiteY5102" fmla="*/ 1862273 h 6072780"/>
                <a:gd name="connsiteX5103" fmla="*/ 787675 w 12117871"/>
                <a:gd name="connsiteY5103" fmla="*/ 1853451 h 6072780"/>
                <a:gd name="connsiteX5104" fmla="*/ 804482 w 12117871"/>
                <a:gd name="connsiteY5104" fmla="*/ 1842348 h 6072780"/>
                <a:gd name="connsiteX5105" fmla="*/ 655625 w 12117871"/>
                <a:gd name="connsiteY5105" fmla="*/ 1842348 h 6072780"/>
                <a:gd name="connsiteX5106" fmla="*/ 670531 w 12117871"/>
                <a:gd name="connsiteY5106" fmla="*/ 1842348 h 6072780"/>
                <a:gd name="connsiteX5107" fmla="*/ 670531 w 12117871"/>
                <a:gd name="connsiteY5107" fmla="*/ 2065327 h 6072780"/>
                <a:gd name="connsiteX5108" fmla="*/ 635243 w 12117871"/>
                <a:gd name="connsiteY5108" fmla="*/ 2065327 h 6072780"/>
                <a:gd name="connsiteX5109" fmla="*/ 635243 w 12117871"/>
                <a:gd name="connsiteY5109" fmla="*/ 1885544 h 6072780"/>
                <a:gd name="connsiteX5110" fmla="*/ 614634 w 12117871"/>
                <a:gd name="connsiteY5110" fmla="*/ 1897179 h 6072780"/>
                <a:gd name="connsiteX5111" fmla="*/ 589461 w 12117871"/>
                <a:gd name="connsiteY5111" fmla="*/ 1905622 h 6072780"/>
                <a:gd name="connsiteX5112" fmla="*/ 589461 w 12117871"/>
                <a:gd name="connsiteY5112" fmla="*/ 1875506 h 6072780"/>
                <a:gd name="connsiteX5113" fmla="*/ 606496 w 12117871"/>
                <a:gd name="connsiteY5113" fmla="*/ 1869422 h 6072780"/>
                <a:gd name="connsiteX5114" fmla="*/ 622695 w 12117871"/>
                <a:gd name="connsiteY5114" fmla="*/ 1862273 h 6072780"/>
                <a:gd name="connsiteX5115" fmla="*/ 638818 w 12117871"/>
                <a:gd name="connsiteY5115" fmla="*/ 1853451 h 6072780"/>
                <a:gd name="connsiteX5116" fmla="*/ 655625 w 12117871"/>
                <a:gd name="connsiteY5116" fmla="*/ 1842348 h 6072780"/>
                <a:gd name="connsiteX5117" fmla="*/ 506768 w 12117871"/>
                <a:gd name="connsiteY5117" fmla="*/ 1842348 h 6072780"/>
                <a:gd name="connsiteX5118" fmla="*/ 521674 w 12117871"/>
                <a:gd name="connsiteY5118" fmla="*/ 1842348 h 6072780"/>
                <a:gd name="connsiteX5119" fmla="*/ 521674 w 12117871"/>
                <a:gd name="connsiteY5119" fmla="*/ 2065327 h 6072780"/>
                <a:gd name="connsiteX5120" fmla="*/ 486386 w 12117871"/>
                <a:gd name="connsiteY5120" fmla="*/ 2065327 h 6072780"/>
                <a:gd name="connsiteX5121" fmla="*/ 486386 w 12117871"/>
                <a:gd name="connsiteY5121" fmla="*/ 1885544 h 6072780"/>
                <a:gd name="connsiteX5122" fmla="*/ 465777 w 12117871"/>
                <a:gd name="connsiteY5122" fmla="*/ 1897179 h 6072780"/>
                <a:gd name="connsiteX5123" fmla="*/ 440604 w 12117871"/>
                <a:gd name="connsiteY5123" fmla="*/ 1905622 h 6072780"/>
                <a:gd name="connsiteX5124" fmla="*/ 440604 w 12117871"/>
                <a:gd name="connsiteY5124" fmla="*/ 1875506 h 6072780"/>
                <a:gd name="connsiteX5125" fmla="*/ 457639 w 12117871"/>
                <a:gd name="connsiteY5125" fmla="*/ 1869422 h 6072780"/>
                <a:gd name="connsiteX5126" fmla="*/ 473838 w 12117871"/>
                <a:gd name="connsiteY5126" fmla="*/ 1862273 h 6072780"/>
                <a:gd name="connsiteX5127" fmla="*/ 489961 w 12117871"/>
                <a:gd name="connsiteY5127" fmla="*/ 1853451 h 6072780"/>
                <a:gd name="connsiteX5128" fmla="*/ 506768 w 12117871"/>
                <a:gd name="connsiteY5128" fmla="*/ 1842348 h 6072780"/>
                <a:gd name="connsiteX5129" fmla="*/ 297354 w 12117871"/>
                <a:gd name="connsiteY5129" fmla="*/ 1842348 h 6072780"/>
                <a:gd name="connsiteX5130" fmla="*/ 368521 w 12117871"/>
                <a:gd name="connsiteY5130" fmla="*/ 1952935 h 6072780"/>
                <a:gd name="connsiteX5131" fmla="*/ 348435 w 12117871"/>
                <a:gd name="connsiteY5131" fmla="*/ 2036514 h 6072780"/>
                <a:gd name="connsiteX5132" fmla="*/ 292238 w 12117871"/>
                <a:gd name="connsiteY5132" fmla="*/ 2065327 h 6072780"/>
                <a:gd name="connsiteX5133" fmla="*/ 239653 w 12117871"/>
                <a:gd name="connsiteY5133" fmla="*/ 2037793 h 6072780"/>
                <a:gd name="connsiteX5134" fmla="*/ 220770 w 12117871"/>
                <a:gd name="connsiteY5134" fmla="*/ 1958202 h 6072780"/>
                <a:gd name="connsiteX5135" fmla="*/ 240480 w 12117871"/>
                <a:gd name="connsiteY5135" fmla="*/ 1871686 h 6072780"/>
                <a:gd name="connsiteX5136" fmla="*/ 297354 w 12117871"/>
                <a:gd name="connsiteY5136" fmla="*/ 1842348 h 6072780"/>
                <a:gd name="connsiteX5137" fmla="*/ 10090194 w 12117871"/>
                <a:gd name="connsiteY5137" fmla="*/ 1549837 h 6072780"/>
                <a:gd name="connsiteX5138" fmla="*/ 10050924 w 12117871"/>
                <a:gd name="connsiteY5138" fmla="*/ 1636351 h 6072780"/>
                <a:gd name="connsiteX5139" fmla="*/ 10089442 w 12117871"/>
                <a:gd name="connsiteY5139" fmla="*/ 1717298 h 6072780"/>
                <a:gd name="connsiteX5140" fmla="*/ 10127357 w 12117871"/>
                <a:gd name="connsiteY5140" fmla="*/ 1634998 h 6072780"/>
                <a:gd name="connsiteX5141" fmla="*/ 10090194 w 12117871"/>
                <a:gd name="connsiteY5141" fmla="*/ 1549837 h 6072780"/>
                <a:gd name="connsiteX5142" fmla="*/ 9869271 w 12117871"/>
                <a:gd name="connsiteY5142" fmla="*/ 1549837 h 6072780"/>
                <a:gd name="connsiteX5143" fmla="*/ 9830001 w 12117871"/>
                <a:gd name="connsiteY5143" fmla="*/ 1636351 h 6072780"/>
                <a:gd name="connsiteX5144" fmla="*/ 9868519 w 12117871"/>
                <a:gd name="connsiteY5144" fmla="*/ 1717298 h 6072780"/>
                <a:gd name="connsiteX5145" fmla="*/ 9906434 w 12117871"/>
                <a:gd name="connsiteY5145" fmla="*/ 1634998 h 6072780"/>
                <a:gd name="connsiteX5146" fmla="*/ 9869271 w 12117871"/>
                <a:gd name="connsiteY5146" fmla="*/ 1549837 h 6072780"/>
                <a:gd name="connsiteX5147" fmla="*/ 9207611 w 12117871"/>
                <a:gd name="connsiteY5147" fmla="*/ 1549837 h 6072780"/>
                <a:gd name="connsiteX5148" fmla="*/ 9168341 w 12117871"/>
                <a:gd name="connsiteY5148" fmla="*/ 1636351 h 6072780"/>
                <a:gd name="connsiteX5149" fmla="*/ 9206859 w 12117871"/>
                <a:gd name="connsiteY5149" fmla="*/ 1717298 h 6072780"/>
                <a:gd name="connsiteX5150" fmla="*/ 9244774 w 12117871"/>
                <a:gd name="connsiteY5150" fmla="*/ 1634998 h 6072780"/>
                <a:gd name="connsiteX5151" fmla="*/ 9207611 w 12117871"/>
                <a:gd name="connsiteY5151" fmla="*/ 1549837 h 6072780"/>
                <a:gd name="connsiteX5152" fmla="*/ 8986688 w 12117871"/>
                <a:gd name="connsiteY5152" fmla="*/ 1549837 h 6072780"/>
                <a:gd name="connsiteX5153" fmla="*/ 8947418 w 12117871"/>
                <a:gd name="connsiteY5153" fmla="*/ 1636351 h 6072780"/>
                <a:gd name="connsiteX5154" fmla="*/ 8985936 w 12117871"/>
                <a:gd name="connsiteY5154" fmla="*/ 1717298 h 6072780"/>
                <a:gd name="connsiteX5155" fmla="*/ 9023851 w 12117871"/>
                <a:gd name="connsiteY5155" fmla="*/ 1634998 h 6072780"/>
                <a:gd name="connsiteX5156" fmla="*/ 8986688 w 12117871"/>
                <a:gd name="connsiteY5156" fmla="*/ 1549837 h 6072780"/>
                <a:gd name="connsiteX5157" fmla="*/ 4034142 w 12117871"/>
                <a:gd name="connsiteY5157" fmla="*/ 1549837 h 6072780"/>
                <a:gd name="connsiteX5158" fmla="*/ 3994872 w 12117871"/>
                <a:gd name="connsiteY5158" fmla="*/ 1636351 h 6072780"/>
                <a:gd name="connsiteX5159" fmla="*/ 4033390 w 12117871"/>
                <a:gd name="connsiteY5159" fmla="*/ 1717298 h 6072780"/>
                <a:gd name="connsiteX5160" fmla="*/ 4071305 w 12117871"/>
                <a:gd name="connsiteY5160" fmla="*/ 1634998 h 6072780"/>
                <a:gd name="connsiteX5161" fmla="*/ 4034142 w 12117871"/>
                <a:gd name="connsiteY5161" fmla="*/ 1549837 h 6072780"/>
                <a:gd name="connsiteX5162" fmla="*/ 3813219 w 12117871"/>
                <a:gd name="connsiteY5162" fmla="*/ 1549837 h 6072780"/>
                <a:gd name="connsiteX5163" fmla="*/ 3773949 w 12117871"/>
                <a:gd name="connsiteY5163" fmla="*/ 1636351 h 6072780"/>
                <a:gd name="connsiteX5164" fmla="*/ 3812467 w 12117871"/>
                <a:gd name="connsiteY5164" fmla="*/ 1717298 h 6072780"/>
                <a:gd name="connsiteX5165" fmla="*/ 3850382 w 12117871"/>
                <a:gd name="connsiteY5165" fmla="*/ 1634998 h 6072780"/>
                <a:gd name="connsiteX5166" fmla="*/ 3813219 w 12117871"/>
                <a:gd name="connsiteY5166" fmla="*/ 1549837 h 6072780"/>
                <a:gd name="connsiteX5167" fmla="*/ 3151559 w 12117871"/>
                <a:gd name="connsiteY5167" fmla="*/ 1549837 h 6072780"/>
                <a:gd name="connsiteX5168" fmla="*/ 3112289 w 12117871"/>
                <a:gd name="connsiteY5168" fmla="*/ 1636351 h 6072780"/>
                <a:gd name="connsiteX5169" fmla="*/ 3150808 w 12117871"/>
                <a:gd name="connsiteY5169" fmla="*/ 1717298 h 6072780"/>
                <a:gd name="connsiteX5170" fmla="*/ 3188723 w 12117871"/>
                <a:gd name="connsiteY5170" fmla="*/ 1634998 h 6072780"/>
                <a:gd name="connsiteX5171" fmla="*/ 3151559 w 12117871"/>
                <a:gd name="connsiteY5171" fmla="*/ 1549837 h 6072780"/>
                <a:gd name="connsiteX5172" fmla="*/ 2930637 w 12117871"/>
                <a:gd name="connsiteY5172" fmla="*/ 1549837 h 6072780"/>
                <a:gd name="connsiteX5173" fmla="*/ 2891366 w 12117871"/>
                <a:gd name="connsiteY5173" fmla="*/ 1636351 h 6072780"/>
                <a:gd name="connsiteX5174" fmla="*/ 2929884 w 12117871"/>
                <a:gd name="connsiteY5174" fmla="*/ 1717298 h 6072780"/>
                <a:gd name="connsiteX5175" fmla="*/ 2967799 w 12117871"/>
                <a:gd name="connsiteY5175" fmla="*/ 1634998 h 6072780"/>
                <a:gd name="connsiteX5176" fmla="*/ 2930637 w 12117871"/>
                <a:gd name="connsiteY5176" fmla="*/ 1549837 h 6072780"/>
                <a:gd name="connsiteX5177" fmla="*/ 11918627 w 12117871"/>
                <a:gd name="connsiteY5177" fmla="*/ 1522003 h 6072780"/>
                <a:gd name="connsiteX5178" fmla="*/ 11933533 w 12117871"/>
                <a:gd name="connsiteY5178" fmla="*/ 1522003 h 6072780"/>
                <a:gd name="connsiteX5179" fmla="*/ 11933533 w 12117871"/>
                <a:gd name="connsiteY5179" fmla="*/ 1744984 h 6072780"/>
                <a:gd name="connsiteX5180" fmla="*/ 11898245 w 12117871"/>
                <a:gd name="connsiteY5180" fmla="*/ 1744984 h 6072780"/>
                <a:gd name="connsiteX5181" fmla="*/ 11898245 w 12117871"/>
                <a:gd name="connsiteY5181" fmla="*/ 1565200 h 6072780"/>
                <a:gd name="connsiteX5182" fmla="*/ 11877636 w 12117871"/>
                <a:gd name="connsiteY5182" fmla="*/ 1576836 h 6072780"/>
                <a:gd name="connsiteX5183" fmla="*/ 11852463 w 12117871"/>
                <a:gd name="connsiteY5183" fmla="*/ 1585278 h 6072780"/>
                <a:gd name="connsiteX5184" fmla="*/ 11852463 w 12117871"/>
                <a:gd name="connsiteY5184" fmla="*/ 1555161 h 6072780"/>
                <a:gd name="connsiteX5185" fmla="*/ 11869498 w 12117871"/>
                <a:gd name="connsiteY5185" fmla="*/ 1549078 h 6072780"/>
                <a:gd name="connsiteX5186" fmla="*/ 11885697 w 12117871"/>
                <a:gd name="connsiteY5186" fmla="*/ 1541929 h 6072780"/>
                <a:gd name="connsiteX5187" fmla="*/ 11901820 w 12117871"/>
                <a:gd name="connsiteY5187" fmla="*/ 1533106 h 6072780"/>
                <a:gd name="connsiteX5188" fmla="*/ 11918627 w 12117871"/>
                <a:gd name="connsiteY5188" fmla="*/ 1522003 h 6072780"/>
                <a:gd name="connsiteX5189" fmla="*/ 11535759 w 12117871"/>
                <a:gd name="connsiteY5189" fmla="*/ 1522003 h 6072780"/>
                <a:gd name="connsiteX5190" fmla="*/ 11550665 w 12117871"/>
                <a:gd name="connsiteY5190" fmla="*/ 1522003 h 6072780"/>
                <a:gd name="connsiteX5191" fmla="*/ 11550665 w 12117871"/>
                <a:gd name="connsiteY5191" fmla="*/ 1744984 h 6072780"/>
                <a:gd name="connsiteX5192" fmla="*/ 11515377 w 12117871"/>
                <a:gd name="connsiteY5192" fmla="*/ 1744984 h 6072780"/>
                <a:gd name="connsiteX5193" fmla="*/ 11515377 w 12117871"/>
                <a:gd name="connsiteY5193" fmla="*/ 1565200 h 6072780"/>
                <a:gd name="connsiteX5194" fmla="*/ 11494768 w 12117871"/>
                <a:gd name="connsiteY5194" fmla="*/ 1576836 h 6072780"/>
                <a:gd name="connsiteX5195" fmla="*/ 11469595 w 12117871"/>
                <a:gd name="connsiteY5195" fmla="*/ 1585278 h 6072780"/>
                <a:gd name="connsiteX5196" fmla="*/ 11469595 w 12117871"/>
                <a:gd name="connsiteY5196" fmla="*/ 1555161 h 6072780"/>
                <a:gd name="connsiteX5197" fmla="*/ 11486630 w 12117871"/>
                <a:gd name="connsiteY5197" fmla="*/ 1549078 h 6072780"/>
                <a:gd name="connsiteX5198" fmla="*/ 11502829 w 12117871"/>
                <a:gd name="connsiteY5198" fmla="*/ 1541929 h 6072780"/>
                <a:gd name="connsiteX5199" fmla="*/ 11518952 w 12117871"/>
                <a:gd name="connsiteY5199" fmla="*/ 1533106 h 6072780"/>
                <a:gd name="connsiteX5200" fmla="*/ 11535759 w 12117871"/>
                <a:gd name="connsiteY5200" fmla="*/ 1522003 h 6072780"/>
                <a:gd name="connsiteX5201" fmla="*/ 11391633 w 12117871"/>
                <a:gd name="connsiteY5201" fmla="*/ 1522003 h 6072780"/>
                <a:gd name="connsiteX5202" fmla="*/ 11406539 w 12117871"/>
                <a:gd name="connsiteY5202" fmla="*/ 1522003 h 6072780"/>
                <a:gd name="connsiteX5203" fmla="*/ 11406539 w 12117871"/>
                <a:gd name="connsiteY5203" fmla="*/ 1744984 h 6072780"/>
                <a:gd name="connsiteX5204" fmla="*/ 11371251 w 12117871"/>
                <a:gd name="connsiteY5204" fmla="*/ 1744984 h 6072780"/>
                <a:gd name="connsiteX5205" fmla="*/ 11371251 w 12117871"/>
                <a:gd name="connsiteY5205" fmla="*/ 1565200 h 6072780"/>
                <a:gd name="connsiteX5206" fmla="*/ 11350642 w 12117871"/>
                <a:gd name="connsiteY5206" fmla="*/ 1576836 h 6072780"/>
                <a:gd name="connsiteX5207" fmla="*/ 11325469 w 12117871"/>
                <a:gd name="connsiteY5207" fmla="*/ 1585278 h 6072780"/>
                <a:gd name="connsiteX5208" fmla="*/ 11325469 w 12117871"/>
                <a:gd name="connsiteY5208" fmla="*/ 1555161 h 6072780"/>
                <a:gd name="connsiteX5209" fmla="*/ 11342504 w 12117871"/>
                <a:gd name="connsiteY5209" fmla="*/ 1549078 h 6072780"/>
                <a:gd name="connsiteX5210" fmla="*/ 11358703 w 12117871"/>
                <a:gd name="connsiteY5210" fmla="*/ 1541929 h 6072780"/>
                <a:gd name="connsiteX5211" fmla="*/ 11374826 w 12117871"/>
                <a:gd name="connsiteY5211" fmla="*/ 1533106 h 6072780"/>
                <a:gd name="connsiteX5212" fmla="*/ 11391633 w 12117871"/>
                <a:gd name="connsiteY5212" fmla="*/ 1522003 h 6072780"/>
                <a:gd name="connsiteX5213" fmla="*/ 11247508 w 12117871"/>
                <a:gd name="connsiteY5213" fmla="*/ 1522003 h 6072780"/>
                <a:gd name="connsiteX5214" fmla="*/ 11262414 w 12117871"/>
                <a:gd name="connsiteY5214" fmla="*/ 1522003 h 6072780"/>
                <a:gd name="connsiteX5215" fmla="*/ 11262414 w 12117871"/>
                <a:gd name="connsiteY5215" fmla="*/ 1744984 h 6072780"/>
                <a:gd name="connsiteX5216" fmla="*/ 11227126 w 12117871"/>
                <a:gd name="connsiteY5216" fmla="*/ 1744984 h 6072780"/>
                <a:gd name="connsiteX5217" fmla="*/ 11227126 w 12117871"/>
                <a:gd name="connsiteY5217" fmla="*/ 1565200 h 6072780"/>
                <a:gd name="connsiteX5218" fmla="*/ 11206517 w 12117871"/>
                <a:gd name="connsiteY5218" fmla="*/ 1576836 h 6072780"/>
                <a:gd name="connsiteX5219" fmla="*/ 11181344 w 12117871"/>
                <a:gd name="connsiteY5219" fmla="*/ 1585278 h 6072780"/>
                <a:gd name="connsiteX5220" fmla="*/ 11181344 w 12117871"/>
                <a:gd name="connsiteY5220" fmla="*/ 1555161 h 6072780"/>
                <a:gd name="connsiteX5221" fmla="*/ 11198379 w 12117871"/>
                <a:gd name="connsiteY5221" fmla="*/ 1549078 h 6072780"/>
                <a:gd name="connsiteX5222" fmla="*/ 11214578 w 12117871"/>
                <a:gd name="connsiteY5222" fmla="*/ 1541929 h 6072780"/>
                <a:gd name="connsiteX5223" fmla="*/ 11230701 w 12117871"/>
                <a:gd name="connsiteY5223" fmla="*/ 1533106 h 6072780"/>
                <a:gd name="connsiteX5224" fmla="*/ 11247508 w 12117871"/>
                <a:gd name="connsiteY5224" fmla="*/ 1522003 h 6072780"/>
                <a:gd name="connsiteX5225" fmla="*/ 11103383 w 12117871"/>
                <a:gd name="connsiteY5225" fmla="*/ 1522003 h 6072780"/>
                <a:gd name="connsiteX5226" fmla="*/ 11118289 w 12117871"/>
                <a:gd name="connsiteY5226" fmla="*/ 1522003 h 6072780"/>
                <a:gd name="connsiteX5227" fmla="*/ 11118289 w 12117871"/>
                <a:gd name="connsiteY5227" fmla="*/ 1744984 h 6072780"/>
                <a:gd name="connsiteX5228" fmla="*/ 11083001 w 12117871"/>
                <a:gd name="connsiteY5228" fmla="*/ 1744984 h 6072780"/>
                <a:gd name="connsiteX5229" fmla="*/ 11083001 w 12117871"/>
                <a:gd name="connsiteY5229" fmla="*/ 1565200 h 6072780"/>
                <a:gd name="connsiteX5230" fmla="*/ 11062392 w 12117871"/>
                <a:gd name="connsiteY5230" fmla="*/ 1576836 h 6072780"/>
                <a:gd name="connsiteX5231" fmla="*/ 11037219 w 12117871"/>
                <a:gd name="connsiteY5231" fmla="*/ 1585278 h 6072780"/>
                <a:gd name="connsiteX5232" fmla="*/ 11037219 w 12117871"/>
                <a:gd name="connsiteY5232" fmla="*/ 1555161 h 6072780"/>
                <a:gd name="connsiteX5233" fmla="*/ 11054254 w 12117871"/>
                <a:gd name="connsiteY5233" fmla="*/ 1549078 h 6072780"/>
                <a:gd name="connsiteX5234" fmla="*/ 11070453 w 12117871"/>
                <a:gd name="connsiteY5234" fmla="*/ 1541929 h 6072780"/>
                <a:gd name="connsiteX5235" fmla="*/ 11086576 w 12117871"/>
                <a:gd name="connsiteY5235" fmla="*/ 1533106 h 6072780"/>
                <a:gd name="connsiteX5236" fmla="*/ 11103383 w 12117871"/>
                <a:gd name="connsiteY5236" fmla="*/ 1522003 h 6072780"/>
                <a:gd name="connsiteX5237" fmla="*/ 10959258 w 12117871"/>
                <a:gd name="connsiteY5237" fmla="*/ 1522003 h 6072780"/>
                <a:gd name="connsiteX5238" fmla="*/ 10974164 w 12117871"/>
                <a:gd name="connsiteY5238" fmla="*/ 1522003 h 6072780"/>
                <a:gd name="connsiteX5239" fmla="*/ 10974164 w 12117871"/>
                <a:gd name="connsiteY5239" fmla="*/ 1744984 h 6072780"/>
                <a:gd name="connsiteX5240" fmla="*/ 10938876 w 12117871"/>
                <a:gd name="connsiteY5240" fmla="*/ 1744984 h 6072780"/>
                <a:gd name="connsiteX5241" fmla="*/ 10938876 w 12117871"/>
                <a:gd name="connsiteY5241" fmla="*/ 1565200 h 6072780"/>
                <a:gd name="connsiteX5242" fmla="*/ 10918267 w 12117871"/>
                <a:gd name="connsiteY5242" fmla="*/ 1576836 h 6072780"/>
                <a:gd name="connsiteX5243" fmla="*/ 10893094 w 12117871"/>
                <a:gd name="connsiteY5243" fmla="*/ 1585278 h 6072780"/>
                <a:gd name="connsiteX5244" fmla="*/ 10893094 w 12117871"/>
                <a:gd name="connsiteY5244" fmla="*/ 1555161 h 6072780"/>
                <a:gd name="connsiteX5245" fmla="*/ 10910129 w 12117871"/>
                <a:gd name="connsiteY5245" fmla="*/ 1549078 h 6072780"/>
                <a:gd name="connsiteX5246" fmla="*/ 10926328 w 12117871"/>
                <a:gd name="connsiteY5246" fmla="*/ 1541929 h 6072780"/>
                <a:gd name="connsiteX5247" fmla="*/ 10942451 w 12117871"/>
                <a:gd name="connsiteY5247" fmla="*/ 1533106 h 6072780"/>
                <a:gd name="connsiteX5248" fmla="*/ 10959258 w 12117871"/>
                <a:gd name="connsiteY5248" fmla="*/ 1522003 h 6072780"/>
                <a:gd name="connsiteX5249" fmla="*/ 10571025 w 12117871"/>
                <a:gd name="connsiteY5249" fmla="*/ 1522003 h 6072780"/>
                <a:gd name="connsiteX5250" fmla="*/ 10585931 w 12117871"/>
                <a:gd name="connsiteY5250" fmla="*/ 1522003 h 6072780"/>
                <a:gd name="connsiteX5251" fmla="*/ 10585931 w 12117871"/>
                <a:gd name="connsiteY5251" fmla="*/ 1744984 h 6072780"/>
                <a:gd name="connsiteX5252" fmla="*/ 10550643 w 12117871"/>
                <a:gd name="connsiteY5252" fmla="*/ 1744984 h 6072780"/>
                <a:gd name="connsiteX5253" fmla="*/ 10550643 w 12117871"/>
                <a:gd name="connsiteY5253" fmla="*/ 1565200 h 6072780"/>
                <a:gd name="connsiteX5254" fmla="*/ 10530034 w 12117871"/>
                <a:gd name="connsiteY5254" fmla="*/ 1576836 h 6072780"/>
                <a:gd name="connsiteX5255" fmla="*/ 10504861 w 12117871"/>
                <a:gd name="connsiteY5255" fmla="*/ 1585278 h 6072780"/>
                <a:gd name="connsiteX5256" fmla="*/ 10504861 w 12117871"/>
                <a:gd name="connsiteY5256" fmla="*/ 1555161 h 6072780"/>
                <a:gd name="connsiteX5257" fmla="*/ 10521896 w 12117871"/>
                <a:gd name="connsiteY5257" fmla="*/ 1549078 h 6072780"/>
                <a:gd name="connsiteX5258" fmla="*/ 10538095 w 12117871"/>
                <a:gd name="connsiteY5258" fmla="*/ 1541929 h 6072780"/>
                <a:gd name="connsiteX5259" fmla="*/ 10554218 w 12117871"/>
                <a:gd name="connsiteY5259" fmla="*/ 1533106 h 6072780"/>
                <a:gd name="connsiteX5260" fmla="*/ 10571025 w 12117871"/>
                <a:gd name="connsiteY5260" fmla="*/ 1522003 h 6072780"/>
                <a:gd name="connsiteX5261" fmla="*/ 10304917 w 12117871"/>
                <a:gd name="connsiteY5261" fmla="*/ 1522003 h 6072780"/>
                <a:gd name="connsiteX5262" fmla="*/ 10319823 w 12117871"/>
                <a:gd name="connsiteY5262" fmla="*/ 1522003 h 6072780"/>
                <a:gd name="connsiteX5263" fmla="*/ 10319823 w 12117871"/>
                <a:gd name="connsiteY5263" fmla="*/ 1744984 h 6072780"/>
                <a:gd name="connsiteX5264" fmla="*/ 10284535 w 12117871"/>
                <a:gd name="connsiteY5264" fmla="*/ 1744984 h 6072780"/>
                <a:gd name="connsiteX5265" fmla="*/ 10284535 w 12117871"/>
                <a:gd name="connsiteY5265" fmla="*/ 1565200 h 6072780"/>
                <a:gd name="connsiteX5266" fmla="*/ 10263926 w 12117871"/>
                <a:gd name="connsiteY5266" fmla="*/ 1576836 h 6072780"/>
                <a:gd name="connsiteX5267" fmla="*/ 10238753 w 12117871"/>
                <a:gd name="connsiteY5267" fmla="*/ 1585278 h 6072780"/>
                <a:gd name="connsiteX5268" fmla="*/ 10238753 w 12117871"/>
                <a:gd name="connsiteY5268" fmla="*/ 1555161 h 6072780"/>
                <a:gd name="connsiteX5269" fmla="*/ 10255788 w 12117871"/>
                <a:gd name="connsiteY5269" fmla="*/ 1549078 h 6072780"/>
                <a:gd name="connsiteX5270" fmla="*/ 10271987 w 12117871"/>
                <a:gd name="connsiteY5270" fmla="*/ 1541929 h 6072780"/>
                <a:gd name="connsiteX5271" fmla="*/ 10288110 w 12117871"/>
                <a:gd name="connsiteY5271" fmla="*/ 1533106 h 6072780"/>
                <a:gd name="connsiteX5272" fmla="*/ 10304917 w 12117871"/>
                <a:gd name="connsiteY5272" fmla="*/ 1522003 h 6072780"/>
                <a:gd name="connsiteX5273" fmla="*/ 9693318 w 12117871"/>
                <a:gd name="connsiteY5273" fmla="*/ 1522003 h 6072780"/>
                <a:gd name="connsiteX5274" fmla="*/ 9708224 w 12117871"/>
                <a:gd name="connsiteY5274" fmla="*/ 1522003 h 6072780"/>
                <a:gd name="connsiteX5275" fmla="*/ 9708224 w 12117871"/>
                <a:gd name="connsiteY5275" fmla="*/ 1744984 h 6072780"/>
                <a:gd name="connsiteX5276" fmla="*/ 9672936 w 12117871"/>
                <a:gd name="connsiteY5276" fmla="*/ 1744984 h 6072780"/>
                <a:gd name="connsiteX5277" fmla="*/ 9672936 w 12117871"/>
                <a:gd name="connsiteY5277" fmla="*/ 1565200 h 6072780"/>
                <a:gd name="connsiteX5278" fmla="*/ 9652327 w 12117871"/>
                <a:gd name="connsiteY5278" fmla="*/ 1576836 h 6072780"/>
                <a:gd name="connsiteX5279" fmla="*/ 9627154 w 12117871"/>
                <a:gd name="connsiteY5279" fmla="*/ 1585278 h 6072780"/>
                <a:gd name="connsiteX5280" fmla="*/ 9627154 w 12117871"/>
                <a:gd name="connsiteY5280" fmla="*/ 1555161 h 6072780"/>
                <a:gd name="connsiteX5281" fmla="*/ 9644189 w 12117871"/>
                <a:gd name="connsiteY5281" fmla="*/ 1549078 h 6072780"/>
                <a:gd name="connsiteX5282" fmla="*/ 9660388 w 12117871"/>
                <a:gd name="connsiteY5282" fmla="*/ 1541929 h 6072780"/>
                <a:gd name="connsiteX5283" fmla="*/ 9676511 w 12117871"/>
                <a:gd name="connsiteY5283" fmla="*/ 1533106 h 6072780"/>
                <a:gd name="connsiteX5284" fmla="*/ 9693318 w 12117871"/>
                <a:gd name="connsiteY5284" fmla="*/ 1522003 h 6072780"/>
                <a:gd name="connsiteX5285" fmla="*/ 9427210 w 12117871"/>
                <a:gd name="connsiteY5285" fmla="*/ 1522003 h 6072780"/>
                <a:gd name="connsiteX5286" fmla="*/ 9442116 w 12117871"/>
                <a:gd name="connsiteY5286" fmla="*/ 1522003 h 6072780"/>
                <a:gd name="connsiteX5287" fmla="*/ 9442116 w 12117871"/>
                <a:gd name="connsiteY5287" fmla="*/ 1744984 h 6072780"/>
                <a:gd name="connsiteX5288" fmla="*/ 9406828 w 12117871"/>
                <a:gd name="connsiteY5288" fmla="*/ 1744984 h 6072780"/>
                <a:gd name="connsiteX5289" fmla="*/ 9406828 w 12117871"/>
                <a:gd name="connsiteY5289" fmla="*/ 1565200 h 6072780"/>
                <a:gd name="connsiteX5290" fmla="*/ 9386219 w 12117871"/>
                <a:gd name="connsiteY5290" fmla="*/ 1576836 h 6072780"/>
                <a:gd name="connsiteX5291" fmla="*/ 9361046 w 12117871"/>
                <a:gd name="connsiteY5291" fmla="*/ 1585278 h 6072780"/>
                <a:gd name="connsiteX5292" fmla="*/ 9361046 w 12117871"/>
                <a:gd name="connsiteY5292" fmla="*/ 1555161 h 6072780"/>
                <a:gd name="connsiteX5293" fmla="*/ 9378081 w 12117871"/>
                <a:gd name="connsiteY5293" fmla="*/ 1549078 h 6072780"/>
                <a:gd name="connsiteX5294" fmla="*/ 9394280 w 12117871"/>
                <a:gd name="connsiteY5294" fmla="*/ 1541929 h 6072780"/>
                <a:gd name="connsiteX5295" fmla="*/ 9410403 w 12117871"/>
                <a:gd name="connsiteY5295" fmla="*/ 1533106 h 6072780"/>
                <a:gd name="connsiteX5296" fmla="*/ 9427210 w 12117871"/>
                <a:gd name="connsiteY5296" fmla="*/ 1522003 h 6072780"/>
                <a:gd name="connsiteX5297" fmla="*/ 8820863 w 12117871"/>
                <a:gd name="connsiteY5297" fmla="*/ 1522003 h 6072780"/>
                <a:gd name="connsiteX5298" fmla="*/ 8835769 w 12117871"/>
                <a:gd name="connsiteY5298" fmla="*/ 1522003 h 6072780"/>
                <a:gd name="connsiteX5299" fmla="*/ 8835769 w 12117871"/>
                <a:gd name="connsiteY5299" fmla="*/ 1744984 h 6072780"/>
                <a:gd name="connsiteX5300" fmla="*/ 8800481 w 12117871"/>
                <a:gd name="connsiteY5300" fmla="*/ 1744984 h 6072780"/>
                <a:gd name="connsiteX5301" fmla="*/ 8800481 w 12117871"/>
                <a:gd name="connsiteY5301" fmla="*/ 1565200 h 6072780"/>
                <a:gd name="connsiteX5302" fmla="*/ 8779872 w 12117871"/>
                <a:gd name="connsiteY5302" fmla="*/ 1576836 h 6072780"/>
                <a:gd name="connsiteX5303" fmla="*/ 8754699 w 12117871"/>
                <a:gd name="connsiteY5303" fmla="*/ 1585278 h 6072780"/>
                <a:gd name="connsiteX5304" fmla="*/ 8754699 w 12117871"/>
                <a:gd name="connsiteY5304" fmla="*/ 1555161 h 6072780"/>
                <a:gd name="connsiteX5305" fmla="*/ 8771734 w 12117871"/>
                <a:gd name="connsiteY5305" fmla="*/ 1549078 h 6072780"/>
                <a:gd name="connsiteX5306" fmla="*/ 8787933 w 12117871"/>
                <a:gd name="connsiteY5306" fmla="*/ 1541929 h 6072780"/>
                <a:gd name="connsiteX5307" fmla="*/ 8804056 w 12117871"/>
                <a:gd name="connsiteY5307" fmla="*/ 1533106 h 6072780"/>
                <a:gd name="connsiteX5308" fmla="*/ 8820863 w 12117871"/>
                <a:gd name="connsiteY5308" fmla="*/ 1522003 h 6072780"/>
                <a:gd name="connsiteX5309" fmla="*/ 8554755 w 12117871"/>
                <a:gd name="connsiteY5309" fmla="*/ 1522003 h 6072780"/>
                <a:gd name="connsiteX5310" fmla="*/ 8569661 w 12117871"/>
                <a:gd name="connsiteY5310" fmla="*/ 1522003 h 6072780"/>
                <a:gd name="connsiteX5311" fmla="*/ 8569661 w 12117871"/>
                <a:gd name="connsiteY5311" fmla="*/ 1744984 h 6072780"/>
                <a:gd name="connsiteX5312" fmla="*/ 8534373 w 12117871"/>
                <a:gd name="connsiteY5312" fmla="*/ 1744984 h 6072780"/>
                <a:gd name="connsiteX5313" fmla="*/ 8534373 w 12117871"/>
                <a:gd name="connsiteY5313" fmla="*/ 1565200 h 6072780"/>
                <a:gd name="connsiteX5314" fmla="*/ 8513764 w 12117871"/>
                <a:gd name="connsiteY5314" fmla="*/ 1576836 h 6072780"/>
                <a:gd name="connsiteX5315" fmla="*/ 8488591 w 12117871"/>
                <a:gd name="connsiteY5315" fmla="*/ 1585278 h 6072780"/>
                <a:gd name="connsiteX5316" fmla="*/ 8488591 w 12117871"/>
                <a:gd name="connsiteY5316" fmla="*/ 1555161 h 6072780"/>
                <a:gd name="connsiteX5317" fmla="*/ 8505626 w 12117871"/>
                <a:gd name="connsiteY5317" fmla="*/ 1549078 h 6072780"/>
                <a:gd name="connsiteX5318" fmla="*/ 8521825 w 12117871"/>
                <a:gd name="connsiteY5318" fmla="*/ 1541929 h 6072780"/>
                <a:gd name="connsiteX5319" fmla="*/ 8537948 w 12117871"/>
                <a:gd name="connsiteY5319" fmla="*/ 1533106 h 6072780"/>
                <a:gd name="connsiteX5320" fmla="*/ 8554755 w 12117871"/>
                <a:gd name="connsiteY5320" fmla="*/ 1522003 h 6072780"/>
                <a:gd name="connsiteX5321" fmla="*/ 8142987 w 12117871"/>
                <a:gd name="connsiteY5321" fmla="*/ 1522003 h 6072780"/>
                <a:gd name="connsiteX5322" fmla="*/ 8157894 w 12117871"/>
                <a:gd name="connsiteY5322" fmla="*/ 1522003 h 6072780"/>
                <a:gd name="connsiteX5323" fmla="*/ 8157894 w 12117871"/>
                <a:gd name="connsiteY5323" fmla="*/ 1744984 h 6072780"/>
                <a:gd name="connsiteX5324" fmla="*/ 8122606 w 12117871"/>
                <a:gd name="connsiteY5324" fmla="*/ 1744984 h 6072780"/>
                <a:gd name="connsiteX5325" fmla="*/ 8122606 w 12117871"/>
                <a:gd name="connsiteY5325" fmla="*/ 1565200 h 6072780"/>
                <a:gd name="connsiteX5326" fmla="*/ 8101996 w 12117871"/>
                <a:gd name="connsiteY5326" fmla="*/ 1576836 h 6072780"/>
                <a:gd name="connsiteX5327" fmla="*/ 8076824 w 12117871"/>
                <a:gd name="connsiteY5327" fmla="*/ 1585278 h 6072780"/>
                <a:gd name="connsiteX5328" fmla="*/ 8076824 w 12117871"/>
                <a:gd name="connsiteY5328" fmla="*/ 1555161 h 6072780"/>
                <a:gd name="connsiteX5329" fmla="*/ 8093859 w 12117871"/>
                <a:gd name="connsiteY5329" fmla="*/ 1549078 h 6072780"/>
                <a:gd name="connsiteX5330" fmla="*/ 8110058 w 12117871"/>
                <a:gd name="connsiteY5330" fmla="*/ 1541929 h 6072780"/>
                <a:gd name="connsiteX5331" fmla="*/ 8126180 w 12117871"/>
                <a:gd name="connsiteY5331" fmla="*/ 1533106 h 6072780"/>
                <a:gd name="connsiteX5332" fmla="*/ 8142987 w 12117871"/>
                <a:gd name="connsiteY5332" fmla="*/ 1522003 h 6072780"/>
                <a:gd name="connsiteX5333" fmla="*/ 8009933 w 12117871"/>
                <a:gd name="connsiteY5333" fmla="*/ 1522003 h 6072780"/>
                <a:gd name="connsiteX5334" fmla="*/ 8024840 w 12117871"/>
                <a:gd name="connsiteY5334" fmla="*/ 1522003 h 6072780"/>
                <a:gd name="connsiteX5335" fmla="*/ 8024840 w 12117871"/>
                <a:gd name="connsiteY5335" fmla="*/ 1744984 h 6072780"/>
                <a:gd name="connsiteX5336" fmla="*/ 7989552 w 12117871"/>
                <a:gd name="connsiteY5336" fmla="*/ 1744984 h 6072780"/>
                <a:gd name="connsiteX5337" fmla="*/ 7989552 w 12117871"/>
                <a:gd name="connsiteY5337" fmla="*/ 1565200 h 6072780"/>
                <a:gd name="connsiteX5338" fmla="*/ 7968942 w 12117871"/>
                <a:gd name="connsiteY5338" fmla="*/ 1576836 h 6072780"/>
                <a:gd name="connsiteX5339" fmla="*/ 7943770 w 12117871"/>
                <a:gd name="connsiteY5339" fmla="*/ 1585278 h 6072780"/>
                <a:gd name="connsiteX5340" fmla="*/ 7943770 w 12117871"/>
                <a:gd name="connsiteY5340" fmla="*/ 1555161 h 6072780"/>
                <a:gd name="connsiteX5341" fmla="*/ 7960805 w 12117871"/>
                <a:gd name="connsiteY5341" fmla="*/ 1549078 h 6072780"/>
                <a:gd name="connsiteX5342" fmla="*/ 7977004 w 12117871"/>
                <a:gd name="connsiteY5342" fmla="*/ 1541929 h 6072780"/>
                <a:gd name="connsiteX5343" fmla="*/ 7993126 w 12117871"/>
                <a:gd name="connsiteY5343" fmla="*/ 1533106 h 6072780"/>
                <a:gd name="connsiteX5344" fmla="*/ 8009933 w 12117871"/>
                <a:gd name="connsiteY5344" fmla="*/ 1522003 h 6072780"/>
                <a:gd name="connsiteX5345" fmla="*/ 7876879 w 12117871"/>
                <a:gd name="connsiteY5345" fmla="*/ 1522003 h 6072780"/>
                <a:gd name="connsiteX5346" fmla="*/ 7891786 w 12117871"/>
                <a:gd name="connsiteY5346" fmla="*/ 1522003 h 6072780"/>
                <a:gd name="connsiteX5347" fmla="*/ 7891786 w 12117871"/>
                <a:gd name="connsiteY5347" fmla="*/ 1744984 h 6072780"/>
                <a:gd name="connsiteX5348" fmla="*/ 7856498 w 12117871"/>
                <a:gd name="connsiteY5348" fmla="*/ 1744984 h 6072780"/>
                <a:gd name="connsiteX5349" fmla="*/ 7856498 w 12117871"/>
                <a:gd name="connsiteY5349" fmla="*/ 1565200 h 6072780"/>
                <a:gd name="connsiteX5350" fmla="*/ 7835888 w 12117871"/>
                <a:gd name="connsiteY5350" fmla="*/ 1576836 h 6072780"/>
                <a:gd name="connsiteX5351" fmla="*/ 7810716 w 12117871"/>
                <a:gd name="connsiteY5351" fmla="*/ 1585278 h 6072780"/>
                <a:gd name="connsiteX5352" fmla="*/ 7810716 w 12117871"/>
                <a:gd name="connsiteY5352" fmla="*/ 1555161 h 6072780"/>
                <a:gd name="connsiteX5353" fmla="*/ 7827751 w 12117871"/>
                <a:gd name="connsiteY5353" fmla="*/ 1549078 h 6072780"/>
                <a:gd name="connsiteX5354" fmla="*/ 7843950 w 12117871"/>
                <a:gd name="connsiteY5354" fmla="*/ 1541929 h 6072780"/>
                <a:gd name="connsiteX5355" fmla="*/ 7860072 w 12117871"/>
                <a:gd name="connsiteY5355" fmla="*/ 1533106 h 6072780"/>
                <a:gd name="connsiteX5356" fmla="*/ 7876879 w 12117871"/>
                <a:gd name="connsiteY5356" fmla="*/ 1522003 h 6072780"/>
                <a:gd name="connsiteX5357" fmla="*/ 7734267 w 12117871"/>
                <a:gd name="connsiteY5357" fmla="*/ 1522003 h 6072780"/>
                <a:gd name="connsiteX5358" fmla="*/ 7749174 w 12117871"/>
                <a:gd name="connsiteY5358" fmla="*/ 1522003 h 6072780"/>
                <a:gd name="connsiteX5359" fmla="*/ 7749174 w 12117871"/>
                <a:gd name="connsiteY5359" fmla="*/ 1744984 h 6072780"/>
                <a:gd name="connsiteX5360" fmla="*/ 7713886 w 12117871"/>
                <a:gd name="connsiteY5360" fmla="*/ 1744984 h 6072780"/>
                <a:gd name="connsiteX5361" fmla="*/ 7713886 w 12117871"/>
                <a:gd name="connsiteY5361" fmla="*/ 1565200 h 6072780"/>
                <a:gd name="connsiteX5362" fmla="*/ 7693276 w 12117871"/>
                <a:gd name="connsiteY5362" fmla="*/ 1576836 h 6072780"/>
                <a:gd name="connsiteX5363" fmla="*/ 7668104 w 12117871"/>
                <a:gd name="connsiteY5363" fmla="*/ 1585278 h 6072780"/>
                <a:gd name="connsiteX5364" fmla="*/ 7668104 w 12117871"/>
                <a:gd name="connsiteY5364" fmla="*/ 1555161 h 6072780"/>
                <a:gd name="connsiteX5365" fmla="*/ 7685139 w 12117871"/>
                <a:gd name="connsiteY5365" fmla="*/ 1549078 h 6072780"/>
                <a:gd name="connsiteX5366" fmla="*/ 7701338 w 12117871"/>
                <a:gd name="connsiteY5366" fmla="*/ 1541929 h 6072780"/>
                <a:gd name="connsiteX5367" fmla="*/ 7717460 w 12117871"/>
                <a:gd name="connsiteY5367" fmla="*/ 1533106 h 6072780"/>
                <a:gd name="connsiteX5368" fmla="*/ 7734267 w 12117871"/>
                <a:gd name="connsiteY5368" fmla="*/ 1522003 h 6072780"/>
                <a:gd name="connsiteX5369" fmla="*/ 6986927 w 12117871"/>
                <a:gd name="connsiteY5369" fmla="*/ 1522003 h 6072780"/>
                <a:gd name="connsiteX5370" fmla="*/ 7001834 w 12117871"/>
                <a:gd name="connsiteY5370" fmla="*/ 1522003 h 6072780"/>
                <a:gd name="connsiteX5371" fmla="*/ 7001834 w 12117871"/>
                <a:gd name="connsiteY5371" fmla="*/ 1744984 h 6072780"/>
                <a:gd name="connsiteX5372" fmla="*/ 6966546 w 12117871"/>
                <a:gd name="connsiteY5372" fmla="*/ 1744984 h 6072780"/>
                <a:gd name="connsiteX5373" fmla="*/ 6966546 w 12117871"/>
                <a:gd name="connsiteY5373" fmla="*/ 1565200 h 6072780"/>
                <a:gd name="connsiteX5374" fmla="*/ 6945936 w 12117871"/>
                <a:gd name="connsiteY5374" fmla="*/ 1576836 h 6072780"/>
                <a:gd name="connsiteX5375" fmla="*/ 6920764 w 12117871"/>
                <a:gd name="connsiteY5375" fmla="*/ 1585278 h 6072780"/>
                <a:gd name="connsiteX5376" fmla="*/ 6920764 w 12117871"/>
                <a:gd name="connsiteY5376" fmla="*/ 1555161 h 6072780"/>
                <a:gd name="connsiteX5377" fmla="*/ 6937799 w 12117871"/>
                <a:gd name="connsiteY5377" fmla="*/ 1549078 h 6072780"/>
                <a:gd name="connsiteX5378" fmla="*/ 6953998 w 12117871"/>
                <a:gd name="connsiteY5378" fmla="*/ 1541929 h 6072780"/>
                <a:gd name="connsiteX5379" fmla="*/ 6970120 w 12117871"/>
                <a:gd name="connsiteY5379" fmla="*/ 1533106 h 6072780"/>
                <a:gd name="connsiteX5380" fmla="*/ 6986927 w 12117871"/>
                <a:gd name="connsiteY5380" fmla="*/ 1522003 h 6072780"/>
                <a:gd name="connsiteX5381" fmla="*/ 6842801 w 12117871"/>
                <a:gd name="connsiteY5381" fmla="*/ 1522003 h 6072780"/>
                <a:gd name="connsiteX5382" fmla="*/ 6857708 w 12117871"/>
                <a:gd name="connsiteY5382" fmla="*/ 1522003 h 6072780"/>
                <a:gd name="connsiteX5383" fmla="*/ 6857708 w 12117871"/>
                <a:gd name="connsiteY5383" fmla="*/ 1744984 h 6072780"/>
                <a:gd name="connsiteX5384" fmla="*/ 6822420 w 12117871"/>
                <a:gd name="connsiteY5384" fmla="*/ 1744984 h 6072780"/>
                <a:gd name="connsiteX5385" fmla="*/ 6822420 w 12117871"/>
                <a:gd name="connsiteY5385" fmla="*/ 1565200 h 6072780"/>
                <a:gd name="connsiteX5386" fmla="*/ 6801810 w 12117871"/>
                <a:gd name="connsiteY5386" fmla="*/ 1576836 h 6072780"/>
                <a:gd name="connsiteX5387" fmla="*/ 6776638 w 12117871"/>
                <a:gd name="connsiteY5387" fmla="*/ 1585278 h 6072780"/>
                <a:gd name="connsiteX5388" fmla="*/ 6776638 w 12117871"/>
                <a:gd name="connsiteY5388" fmla="*/ 1555161 h 6072780"/>
                <a:gd name="connsiteX5389" fmla="*/ 6793673 w 12117871"/>
                <a:gd name="connsiteY5389" fmla="*/ 1549078 h 6072780"/>
                <a:gd name="connsiteX5390" fmla="*/ 6809872 w 12117871"/>
                <a:gd name="connsiteY5390" fmla="*/ 1541929 h 6072780"/>
                <a:gd name="connsiteX5391" fmla="*/ 6825994 w 12117871"/>
                <a:gd name="connsiteY5391" fmla="*/ 1533106 h 6072780"/>
                <a:gd name="connsiteX5392" fmla="*/ 6842801 w 12117871"/>
                <a:gd name="connsiteY5392" fmla="*/ 1522003 h 6072780"/>
                <a:gd name="connsiteX5393" fmla="*/ 6150824 w 12117871"/>
                <a:gd name="connsiteY5393" fmla="*/ 1522003 h 6072780"/>
                <a:gd name="connsiteX5394" fmla="*/ 6165731 w 12117871"/>
                <a:gd name="connsiteY5394" fmla="*/ 1522003 h 6072780"/>
                <a:gd name="connsiteX5395" fmla="*/ 6165731 w 12117871"/>
                <a:gd name="connsiteY5395" fmla="*/ 1744984 h 6072780"/>
                <a:gd name="connsiteX5396" fmla="*/ 6130443 w 12117871"/>
                <a:gd name="connsiteY5396" fmla="*/ 1744984 h 6072780"/>
                <a:gd name="connsiteX5397" fmla="*/ 6130443 w 12117871"/>
                <a:gd name="connsiteY5397" fmla="*/ 1565200 h 6072780"/>
                <a:gd name="connsiteX5398" fmla="*/ 6109833 w 12117871"/>
                <a:gd name="connsiteY5398" fmla="*/ 1576836 h 6072780"/>
                <a:gd name="connsiteX5399" fmla="*/ 6084661 w 12117871"/>
                <a:gd name="connsiteY5399" fmla="*/ 1585278 h 6072780"/>
                <a:gd name="connsiteX5400" fmla="*/ 6084661 w 12117871"/>
                <a:gd name="connsiteY5400" fmla="*/ 1555161 h 6072780"/>
                <a:gd name="connsiteX5401" fmla="*/ 6101696 w 12117871"/>
                <a:gd name="connsiteY5401" fmla="*/ 1549078 h 6072780"/>
                <a:gd name="connsiteX5402" fmla="*/ 6117895 w 12117871"/>
                <a:gd name="connsiteY5402" fmla="*/ 1541929 h 6072780"/>
                <a:gd name="connsiteX5403" fmla="*/ 6134017 w 12117871"/>
                <a:gd name="connsiteY5403" fmla="*/ 1533106 h 6072780"/>
                <a:gd name="connsiteX5404" fmla="*/ 6150824 w 12117871"/>
                <a:gd name="connsiteY5404" fmla="*/ 1522003 h 6072780"/>
                <a:gd name="connsiteX5405" fmla="*/ 5862574 w 12117871"/>
                <a:gd name="connsiteY5405" fmla="*/ 1522003 h 6072780"/>
                <a:gd name="connsiteX5406" fmla="*/ 5877481 w 12117871"/>
                <a:gd name="connsiteY5406" fmla="*/ 1522003 h 6072780"/>
                <a:gd name="connsiteX5407" fmla="*/ 5877481 w 12117871"/>
                <a:gd name="connsiteY5407" fmla="*/ 1744984 h 6072780"/>
                <a:gd name="connsiteX5408" fmla="*/ 5842193 w 12117871"/>
                <a:gd name="connsiteY5408" fmla="*/ 1744984 h 6072780"/>
                <a:gd name="connsiteX5409" fmla="*/ 5842193 w 12117871"/>
                <a:gd name="connsiteY5409" fmla="*/ 1565200 h 6072780"/>
                <a:gd name="connsiteX5410" fmla="*/ 5821582 w 12117871"/>
                <a:gd name="connsiteY5410" fmla="*/ 1576836 h 6072780"/>
                <a:gd name="connsiteX5411" fmla="*/ 5796410 w 12117871"/>
                <a:gd name="connsiteY5411" fmla="*/ 1585278 h 6072780"/>
                <a:gd name="connsiteX5412" fmla="*/ 5796410 w 12117871"/>
                <a:gd name="connsiteY5412" fmla="*/ 1555161 h 6072780"/>
                <a:gd name="connsiteX5413" fmla="*/ 5813446 w 12117871"/>
                <a:gd name="connsiteY5413" fmla="*/ 1549078 h 6072780"/>
                <a:gd name="connsiteX5414" fmla="*/ 5829644 w 12117871"/>
                <a:gd name="connsiteY5414" fmla="*/ 1541929 h 6072780"/>
                <a:gd name="connsiteX5415" fmla="*/ 5845767 w 12117871"/>
                <a:gd name="connsiteY5415" fmla="*/ 1533106 h 6072780"/>
                <a:gd name="connsiteX5416" fmla="*/ 5862574 w 12117871"/>
                <a:gd name="connsiteY5416" fmla="*/ 1522003 h 6072780"/>
                <a:gd name="connsiteX5417" fmla="*/ 5479705 w 12117871"/>
                <a:gd name="connsiteY5417" fmla="*/ 1522003 h 6072780"/>
                <a:gd name="connsiteX5418" fmla="*/ 5494612 w 12117871"/>
                <a:gd name="connsiteY5418" fmla="*/ 1522003 h 6072780"/>
                <a:gd name="connsiteX5419" fmla="*/ 5494612 w 12117871"/>
                <a:gd name="connsiteY5419" fmla="*/ 1744984 h 6072780"/>
                <a:gd name="connsiteX5420" fmla="*/ 5459325 w 12117871"/>
                <a:gd name="connsiteY5420" fmla="*/ 1744984 h 6072780"/>
                <a:gd name="connsiteX5421" fmla="*/ 5459325 w 12117871"/>
                <a:gd name="connsiteY5421" fmla="*/ 1565200 h 6072780"/>
                <a:gd name="connsiteX5422" fmla="*/ 5438715 w 12117871"/>
                <a:gd name="connsiteY5422" fmla="*/ 1576836 h 6072780"/>
                <a:gd name="connsiteX5423" fmla="*/ 5413543 w 12117871"/>
                <a:gd name="connsiteY5423" fmla="*/ 1585278 h 6072780"/>
                <a:gd name="connsiteX5424" fmla="*/ 5413543 w 12117871"/>
                <a:gd name="connsiteY5424" fmla="*/ 1555161 h 6072780"/>
                <a:gd name="connsiteX5425" fmla="*/ 5430578 w 12117871"/>
                <a:gd name="connsiteY5425" fmla="*/ 1549078 h 6072780"/>
                <a:gd name="connsiteX5426" fmla="*/ 5446777 w 12117871"/>
                <a:gd name="connsiteY5426" fmla="*/ 1541929 h 6072780"/>
                <a:gd name="connsiteX5427" fmla="*/ 5462898 w 12117871"/>
                <a:gd name="connsiteY5427" fmla="*/ 1533106 h 6072780"/>
                <a:gd name="connsiteX5428" fmla="*/ 5479705 w 12117871"/>
                <a:gd name="connsiteY5428" fmla="*/ 1522003 h 6072780"/>
                <a:gd name="connsiteX5429" fmla="*/ 5335580 w 12117871"/>
                <a:gd name="connsiteY5429" fmla="*/ 1522003 h 6072780"/>
                <a:gd name="connsiteX5430" fmla="*/ 5350487 w 12117871"/>
                <a:gd name="connsiteY5430" fmla="*/ 1522003 h 6072780"/>
                <a:gd name="connsiteX5431" fmla="*/ 5350487 w 12117871"/>
                <a:gd name="connsiteY5431" fmla="*/ 1744984 h 6072780"/>
                <a:gd name="connsiteX5432" fmla="*/ 5315199 w 12117871"/>
                <a:gd name="connsiteY5432" fmla="*/ 1744984 h 6072780"/>
                <a:gd name="connsiteX5433" fmla="*/ 5315199 w 12117871"/>
                <a:gd name="connsiteY5433" fmla="*/ 1565200 h 6072780"/>
                <a:gd name="connsiteX5434" fmla="*/ 5294589 w 12117871"/>
                <a:gd name="connsiteY5434" fmla="*/ 1576836 h 6072780"/>
                <a:gd name="connsiteX5435" fmla="*/ 5269417 w 12117871"/>
                <a:gd name="connsiteY5435" fmla="*/ 1585278 h 6072780"/>
                <a:gd name="connsiteX5436" fmla="*/ 5269417 w 12117871"/>
                <a:gd name="connsiteY5436" fmla="*/ 1555161 h 6072780"/>
                <a:gd name="connsiteX5437" fmla="*/ 5286452 w 12117871"/>
                <a:gd name="connsiteY5437" fmla="*/ 1549078 h 6072780"/>
                <a:gd name="connsiteX5438" fmla="*/ 5302650 w 12117871"/>
                <a:gd name="connsiteY5438" fmla="*/ 1541929 h 6072780"/>
                <a:gd name="connsiteX5439" fmla="*/ 5318773 w 12117871"/>
                <a:gd name="connsiteY5439" fmla="*/ 1533106 h 6072780"/>
                <a:gd name="connsiteX5440" fmla="*/ 5335580 w 12117871"/>
                <a:gd name="connsiteY5440" fmla="*/ 1522003 h 6072780"/>
                <a:gd name="connsiteX5441" fmla="*/ 5191455 w 12117871"/>
                <a:gd name="connsiteY5441" fmla="*/ 1522003 h 6072780"/>
                <a:gd name="connsiteX5442" fmla="*/ 5206362 w 12117871"/>
                <a:gd name="connsiteY5442" fmla="*/ 1522003 h 6072780"/>
                <a:gd name="connsiteX5443" fmla="*/ 5206362 w 12117871"/>
                <a:gd name="connsiteY5443" fmla="*/ 1744984 h 6072780"/>
                <a:gd name="connsiteX5444" fmla="*/ 5171074 w 12117871"/>
                <a:gd name="connsiteY5444" fmla="*/ 1744984 h 6072780"/>
                <a:gd name="connsiteX5445" fmla="*/ 5171074 w 12117871"/>
                <a:gd name="connsiteY5445" fmla="*/ 1565200 h 6072780"/>
                <a:gd name="connsiteX5446" fmla="*/ 5150464 w 12117871"/>
                <a:gd name="connsiteY5446" fmla="*/ 1576836 h 6072780"/>
                <a:gd name="connsiteX5447" fmla="*/ 5125291 w 12117871"/>
                <a:gd name="connsiteY5447" fmla="*/ 1585278 h 6072780"/>
                <a:gd name="connsiteX5448" fmla="*/ 5125291 w 12117871"/>
                <a:gd name="connsiteY5448" fmla="*/ 1555161 h 6072780"/>
                <a:gd name="connsiteX5449" fmla="*/ 5142326 w 12117871"/>
                <a:gd name="connsiteY5449" fmla="*/ 1549078 h 6072780"/>
                <a:gd name="connsiteX5450" fmla="*/ 5158526 w 12117871"/>
                <a:gd name="connsiteY5450" fmla="*/ 1541929 h 6072780"/>
                <a:gd name="connsiteX5451" fmla="*/ 5174648 w 12117871"/>
                <a:gd name="connsiteY5451" fmla="*/ 1533106 h 6072780"/>
                <a:gd name="connsiteX5452" fmla="*/ 5191455 w 12117871"/>
                <a:gd name="connsiteY5452" fmla="*/ 1522003 h 6072780"/>
                <a:gd name="connsiteX5453" fmla="*/ 5047329 w 12117871"/>
                <a:gd name="connsiteY5453" fmla="*/ 1522003 h 6072780"/>
                <a:gd name="connsiteX5454" fmla="*/ 5062237 w 12117871"/>
                <a:gd name="connsiteY5454" fmla="*/ 1522003 h 6072780"/>
                <a:gd name="connsiteX5455" fmla="*/ 5062237 w 12117871"/>
                <a:gd name="connsiteY5455" fmla="*/ 1744984 h 6072780"/>
                <a:gd name="connsiteX5456" fmla="*/ 5026949 w 12117871"/>
                <a:gd name="connsiteY5456" fmla="*/ 1744984 h 6072780"/>
                <a:gd name="connsiteX5457" fmla="*/ 5026949 w 12117871"/>
                <a:gd name="connsiteY5457" fmla="*/ 1565200 h 6072780"/>
                <a:gd name="connsiteX5458" fmla="*/ 5006339 w 12117871"/>
                <a:gd name="connsiteY5458" fmla="*/ 1576836 h 6072780"/>
                <a:gd name="connsiteX5459" fmla="*/ 4981166 w 12117871"/>
                <a:gd name="connsiteY5459" fmla="*/ 1585278 h 6072780"/>
                <a:gd name="connsiteX5460" fmla="*/ 4981166 w 12117871"/>
                <a:gd name="connsiteY5460" fmla="*/ 1555161 h 6072780"/>
                <a:gd name="connsiteX5461" fmla="*/ 4998201 w 12117871"/>
                <a:gd name="connsiteY5461" fmla="*/ 1549078 h 6072780"/>
                <a:gd name="connsiteX5462" fmla="*/ 5014401 w 12117871"/>
                <a:gd name="connsiteY5462" fmla="*/ 1541929 h 6072780"/>
                <a:gd name="connsiteX5463" fmla="*/ 5030524 w 12117871"/>
                <a:gd name="connsiteY5463" fmla="*/ 1533106 h 6072780"/>
                <a:gd name="connsiteX5464" fmla="*/ 5047329 w 12117871"/>
                <a:gd name="connsiteY5464" fmla="*/ 1522003 h 6072780"/>
                <a:gd name="connsiteX5465" fmla="*/ 4903204 w 12117871"/>
                <a:gd name="connsiteY5465" fmla="*/ 1522003 h 6072780"/>
                <a:gd name="connsiteX5466" fmla="*/ 4918113 w 12117871"/>
                <a:gd name="connsiteY5466" fmla="*/ 1522003 h 6072780"/>
                <a:gd name="connsiteX5467" fmla="*/ 4918113 w 12117871"/>
                <a:gd name="connsiteY5467" fmla="*/ 1744984 h 6072780"/>
                <a:gd name="connsiteX5468" fmla="*/ 4882824 w 12117871"/>
                <a:gd name="connsiteY5468" fmla="*/ 1744984 h 6072780"/>
                <a:gd name="connsiteX5469" fmla="*/ 4882824 w 12117871"/>
                <a:gd name="connsiteY5469" fmla="*/ 1565200 h 6072780"/>
                <a:gd name="connsiteX5470" fmla="*/ 4862214 w 12117871"/>
                <a:gd name="connsiteY5470" fmla="*/ 1576836 h 6072780"/>
                <a:gd name="connsiteX5471" fmla="*/ 4837041 w 12117871"/>
                <a:gd name="connsiteY5471" fmla="*/ 1585278 h 6072780"/>
                <a:gd name="connsiteX5472" fmla="*/ 4837041 w 12117871"/>
                <a:gd name="connsiteY5472" fmla="*/ 1555161 h 6072780"/>
                <a:gd name="connsiteX5473" fmla="*/ 4854077 w 12117871"/>
                <a:gd name="connsiteY5473" fmla="*/ 1549078 h 6072780"/>
                <a:gd name="connsiteX5474" fmla="*/ 4870276 w 12117871"/>
                <a:gd name="connsiteY5474" fmla="*/ 1541929 h 6072780"/>
                <a:gd name="connsiteX5475" fmla="*/ 4886398 w 12117871"/>
                <a:gd name="connsiteY5475" fmla="*/ 1533106 h 6072780"/>
                <a:gd name="connsiteX5476" fmla="*/ 4903204 w 12117871"/>
                <a:gd name="connsiteY5476" fmla="*/ 1522003 h 6072780"/>
                <a:gd name="connsiteX5477" fmla="*/ 4514973 w 12117871"/>
                <a:gd name="connsiteY5477" fmla="*/ 1522003 h 6072780"/>
                <a:gd name="connsiteX5478" fmla="*/ 4529878 w 12117871"/>
                <a:gd name="connsiteY5478" fmla="*/ 1522003 h 6072780"/>
                <a:gd name="connsiteX5479" fmla="*/ 4529878 w 12117871"/>
                <a:gd name="connsiteY5479" fmla="*/ 1744984 h 6072780"/>
                <a:gd name="connsiteX5480" fmla="*/ 4494591 w 12117871"/>
                <a:gd name="connsiteY5480" fmla="*/ 1744984 h 6072780"/>
                <a:gd name="connsiteX5481" fmla="*/ 4494591 w 12117871"/>
                <a:gd name="connsiteY5481" fmla="*/ 1565200 h 6072780"/>
                <a:gd name="connsiteX5482" fmla="*/ 4473982 w 12117871"/>
                <a:gd name="connsiteY5482" fmla="*/ 1576836 h 6072780"/>
                <a:gd name="connsiteX5483" fmla="*/ 4448809 w 12117871"/>
                <a:gd name="connsiteY5483" fmla="*/ 1585278 h 6072780"/>
                <a:gd name="connsiteX5484" fmla="*/ 4448809 w 12117871"/>
                <a:gd name="connsiteY5484" fmla="*/ 1555161 h 6072780"/>
                <a:gd name="connsiteX5485" fmla="*/ 4465844 w 12117871"/>
                <a:gd name="connsiteY5485" fmla="*/ 1549078 h 6072780"/>
                <a:gd name="connsiteX5486" fmla="*/ 4482043 w 12117871"/>
                <a:gd name="connsiteY5486" fmla="*/ 1541929 h 6072780"/>
                <a:gd name="connsiteX5487" fmla="*/ 4498165 w 12117871"/>
                <a:gd name="connsiteY5487" fmla="*/ 1533106 h 6072780"/>
                <a:gd name="connsiteX5488" fmla="*/ 4514973 w 12117871"/>
                <a:gd name="connsiteY5488" fmla="*/ 1522003 h 6072780"/>
                <a:gd name="connsiteX5489" fmla="*/ 4248864 w 12117871"/>
                <a:gd name="connsiteY5489" fmla="*/ 1522003 h 6072780"/>
                <a:gd name="connsiteX5490" fmla="*/ 4263771 w 12117871"/>
                <a:gd name="connsiteY5490" fmla="*/ 1522003 h 6072780"/>
                <a:gd name="connsiteX5491" fmla="*/ 4263771 w 12117871"/>
                <a:gd name="connsiteY5491" fmla="*/ 1744984 h 6072780"/>
                <a:gd name="connsiteX5492" fmla="*/ 4228482 w 12117871"/>
                <a:gd name="connsiteY5492" fmla="*/ 1744984 h 6072780"/>
                <a:gd name="connsiteX5493" fmla="*/ 4228482 w 12117871"/>
                <a:gd name="connsiteY5493" fmla="*/ 1565200 h 6072780"/>
                <a:gd name="connsiteX5494" fmla="*/ 4207874 w 12117871"/>
                <a:gd name="connsiteY5494" fmla="*/ 1576836 h 6072780"/>
                <a:gd name="connsiteX5495" fmla="*/ 4182701 w 12117871"/>
                <a:gd name="connsiteY5495" fmla="*/ 1585278 h 6072780"/>
                <a:gd name="connsiteX5496" fmla="*/ 4182701 w 12117871"/>
                <a:gd name="connsiteY5496" fmla="*/ 1555161 h 6072780"/>
                <a:gd name="connsiteX5497" fmla="*/ 4199735 w 12117871"/>
                <a:gd name="connsiteY5497" fmla="*/ 1549078 h 6072780"/>
                <a:gd name="connsiteX5498" fmla="*/ 4215934 w 12117871"/>
                <a:gd name="connsiteY5498" fmla="*/ 1541929 h 6072780"/>
                <a:gd name="connsiteX5499" fmla="*/ 4232057 w 12117871"/>
                <a:gd name="connsiteY5499" fmla="*/ 1533106 h 6072780"/>
                <a:gd name="connsiteX5500" fmla="*/ 4248864 w 12117871"/>
                <a:gd name="connsiteY5500" fmla="*/ 1522003 h 6072780"/>
                <a:gd name="connsiteX5501" fmla="*/ 3637266 w 12117871"/>
                <a:gd name="connsiteY5501" fmla="*/ 1522003 h 6072780"/>
                <a:gd name="connsiteX5502" fmla="*/ 3652172 w 12117871"/>
                <a:gd name="connsiteY5502" fmla="*/ 1522003 h 6072780"/>
                <a:gd name="connsiteX5503" fmla="*/ 3652172 w 12117871"/>
                <a:gd name="connsiteY5503" fmla="*/ 1744984 h 6072780"/>
                <a:gd name="connsiteX5504" fmla="*/ 3616884 w 12117871"/>
                <a:gd name="connsiteY5504" fmla="*/ 1744984 h 6072780"/>
                <a:gd name="connsiteX5505" fmla="*/ 3616884 w 12117871"/>
                <a:gd name="connsiteY5505" fmla="*/ 1565200 h 6072780"/>
                <a:gd name="connsiteX5506" fmla="*/ 3596275 w 12117871"/>
                <a:gd name="connsiteY5506" fmla="*/ 1576836 h 6072780"/>
                <a:gd name="connsiteX5507" fmla="*/ 3571102 w 12117871"/>
                <a:gd name="connsiteY5507" fmla="*/ 1585278 h 6072780"/>
                <a:gd name="connsiteX5508" fmla="*/ 3571102 w 12117871"/>
                <a:gd name="connsiteY5508" fmla="*/ 1555161 h 6072780"/>
                <a:gd name="connsiteX5509" fmla="*/ 3588137 w 12117871"/>
                <a:gd name="connsiteY5509" fmla="*/ 1549078 h 6072780"/>
                <a:gd name="connsiteX5510" fmla="*/ 3604336 w 12117871"/>
                <a:gd name="connsiteY5510" fmla="*/ 1541929 h 6072780"/>
                <a:gd name="connsiteX5511" fmla="*/ 3620460 w 12117871"/>
                <a:gd name="connsiteY5511" fmla="*/ 1533106 h 6072780"/>
                <a:gd name="connsiteX5512" fmla="*/ 3637266 w 12117871"/>
                <a:gd name="connsiteY5512" fmla="*/ 1522003 h 6072780"/>
                <a:gd name="connsiteX5513" fmla="*/ 3371159 w 12117871"/>
                <a:gd name="connsiteY5513" fmla="*/ 1522003 h 6072780"/>
                <a:gd name="connsiteX5514" fmla="*/ 3386064 w 12117871"/>
                <a:gd name="connsiteY5514" fmla="*/ 1522003 h 6072780"/>
                <a:gd name="connsiteX5515" fmla="*/ 3386064 w 12117871"/>
                <a:gd name="connsiteY5515" fmla="*/ 1744984 h 6072780"/>
                <a:gd name="connsiteX5516" fmla="*/ 3350777 w 12117871"/>
                <a:gd name="connsiteY5516" fmla="*/ 1744984 h 6072780"/>
                <a:gd name="connsiteX5517" fmla="*/ 3350777 w 12117871"/>
                <a:gd name="connsiteY5517" fmla="*/ 1565200 h 6072780"/>
                <a:gd name="connsiteX5518" fmla="*/ 3330167 w 12117871"/>
                <a:gd name="connsiteY5518" fmla="*/ 1576836 h 6072780"/>
                <a:gd name="connsiteX5519" fmla="*/ 3304994 w 12117871"/>
                <a:gd name="connsiteY5519" fmla="*/ 1585278 h 6072780"/>
                <a:gd name="connsiteX5520" fmla="*/ 3304994 w 12117871"/>
                <a:gd name="connsiteY5520" fmla="*/ 1555161 h 6072780"/>
                <a:gd name="connsiteX5521" fmla="*/ 3322030 w 12117871"/>
                <a:gd name="connsiteY5521" fmla="*/ 1549078 h 6072780"/>
                <a:gd name="connsiteX5522" fmla="*/ 3338229 w 12117871"/>
                <a:gd name="connsiteY5522" fmla="*/ 1541929 h 6072780"/>
                <a:gd name="connsiteX5523" fmla="*/ 3354351 w 12117871"/>
                <a:gd name="connsiteY5523" fmla="*/ 1533106 h 6072780"/>
                <a:gd name="connsiteX5524" fmla="*/ 3371159 w 12117871"/>
                <a:gd name="connsiteY5524" fmla="*/ 1522003 h 6072780"/>
                <a:gd name="connsiteX5525" fmla="*/ 2764811 w 12117871"/>
                <a:gd name="connsiteY5525" fmla="*/ 1522003 h 6072780"/>
                <a:gd name="connsiteX5526" fmla="*/ 2779717 w 12117871"/>
                <a:gd name="connsiteY5526" fmla="*/ 1522003 h 6072780"/>
                <a:gd name="connsiteX5527" fmla="*/ 2779717 w 12117871"/>
                <a:gd name="connsiteY5527" fmla="*/ 1744984 h 6072780"/>
                <a:gd name="connsiteX5528" fmla="*/ 2744429 w 12117871"/>
                <a:gd name="connsiteY5528" fmla="*/ 1744984 h 6072780"/>
                <a:gd name="connsiteX5529" fmla="*/ 2744429 w 12117871"/>
                <a:gd name="connsiteY5529" fmla="*/ 1565200 h 6072780"/>
                <a:gd name="connsiteX5530" fmla="*/ 2723820 w 12117871"/>
                <a:gd name="connsiteY5530" fmla="*/ 1576836 h 6072780"/>
                <a:gd name="connsiteX5531" fmla="*/ 2698648 w 12117871"/>
                <a:gd name="connsiteY5531" fmla="*/ 1585278 h 6072780"/>
                <a:gd name="connsiteX5532" fmla="*/ 2698648 w 12117871"/>
                <a:gd name="connsiteY5532" fmla="*/ 1555161 h 6072780"/>
                <a:gd name="connsiteX5533" fmla="*/ 2715682 w 12117871"/>
                <a:gd name="connsiteY5533" fmla="*/ 1549078 h 6072780"/>
                <a:gd name="connsiteX5534" fmla="*/ 2731881 w 12117871"/>
                <a:gd name="connsiteY5534" fmla="*/ 1541929 h 6072780"/>
                <a:gd name="connsiteX5535" fmla="*/ 2748004 w 12117871"/>
                <a:gd name="connsiteY5535" fmla="*/ 1533106 h 6072780"/>
                <a:gd name="connsiteX5536" fmla="*/ 2764811 w 12117871"/>
                <a:gd name="connsiteY5536" fmla="*/ 1522003 h 6072780"/>
                <a:gd name="connsiteX5537" fmla="*/ 2498703 w 12117871"/>
                <a:gd name="connsiteY5537" fmla="*/ 1522003 h 6072780"/>
                <a:gd name="connsiteX5538" fmla="*/ 2513609 w 12117871"/>
                <a:gd name="connsiteY5538" fmla="*/ 1522003 h 6072780"/>
                <a:gd name="connsiteX5539" fmla="*/ 2513609 w 12117871"/>
                <a:gd name="connsiteY5539" fmla="*/ 1744984 h 6072780"/>
                <a:gd name="connsiteX5540" fmla="*/ 2478321 w 12117871"/>
                <a:gd name="connsiteY5540" fmla="*/ 1744984 h 6072780"/>
                <a:gd name="connsiteX5541" fmla="*/ 2478321 w 12117871"/>
                <a:gd name="connsiteY5541" fmla="*/ 1565200 h 6072780"/>
                <a:gd name="connsiteX5542" fmla="*/ 2457712 w 12117871"/>
                <a:gd name="connsiteY5542" fmla="*/ 1576836 h 6072780"/>
                <a:gd name="connsiteX5543" fmla="*/ 2432539 w 12117871"/>
                <a:gd name="connsiteY5543" fmla="*/ 1585278 h 6072780"/>
                <a:gd name="connsiteX5544" fmla="*/ 2432539 w 12117871"/>
                <a:gd name="connsiteY5544" fmla="*/ 1555161 h 6072780"/>
                <a:gd name="connsiteX5545" fmla="*/ 2449574 w 12117871"/>
                <a:gd name="connsiteY5545" fmla="*/ 1549078 h 6072780"/>
                <a:gd name="connsiteX5546" fmla="*/ 2465773 w 12117871"/>
                <a:gd name="connsiteY5546" fmla="*/ 1541929 h 6072780"/>
                <a:gd name="connsiteX5547" fmla="*/ 2481896 w 12117871"/>
                <a:gd name="connsiteY5547" fmla="*/ 1533106 h 6072780"/>
                <a:gd name="connsiteX5548" fmla="*/ 2498703 w 12117871"/>
                <a:gd name="connsiteY5548" fmla="*/ 1522003 h 6072780"/>
                <a:gd name="connsiteX5549" fmla="*/ 2086936 w 12117871"/>
                <a:gd name="connsiteY5549" fmla="*/ 1522003 h 6072780"/>
                <a:gd name="connsiteX5550" fmla="*/ 2101842 w 12117871"/>
                <a:gd name="connsiteY5550" fmla="*/ 1522003 h 6072780"/>
                <a:gd name="connsiteX5551" fmla="*/ 2101842 w 12117871"/>
                <a:gd name="connsiteY5551" fmla="*/ 1744984 h 6072780"/>
                <a:gd name="connsiteX5552" fmla="*/ 2066554 w 12117871"/>
                <a:gd name="connsiteY5552" fmla="*/ 1744984 h 6072780"/>
                <a:gd name="connsiteX5553" fmla="*/ 2066554 w 12117871"/>
                <a:gd name="connsiteY5553" fmla="*/ 1565200 h 6072780"/>
                <a:gd name="connsiteX5554" fmla="*/ 2045945 w 12117871"/>
                <a:gd name="connsiteY5554" fmla="*/ 1576836 h 6072780"/>
                <a:gd name="connsiteX5555" fmla="*/ 2020772 w 12117871"/>
                <a:gd name="connsiteY5555" fmla="*/ 1585278 h 6072780"/>
                <a:gd name="connsiteX5556" fmla="*/ 2020772 w 12117871"/>
                <a:gd name="connsiteY5556" fmla="*/ 1555161 h 6072780"/>
                <a:gd name="connsiteX5557" fmla="*/ 2037808 w 12117871"/>
                <a:gd name="connsiteY5557" fmla="*/ 1549078 h 6072780"/>
                <a:gd name="connsiteX5558" fmla="*/ 2054006 w 12117871"/>
                <a:gd name="connsiteY5558" fmla="*/ 1541929 h 6072780"/>
                <a:gd name="connsiteX5559" fmla="*/ 2070129 w 12117871"/>
                <a:gd name="connsiteY5559" fmla="*/ 1533106 h 6072780"/>
                <a:gd name="connsiteX5560" fmla="*/ 2086936 w 12117871"/>
                <a:gd name="connsiteY5560" fmla="*/ 1522003 h 6072780"/>
                <a:gd name="connsiteX5561" fmla="*/ 1953882 w 12117871"/>
                <a:gd name="connsiteY5561" fmla="*/ 1522003 h 6072780"/>
                <a:gd name="connsiteX5562" fmla="*/ 1968788 w 12117871"/>
                <a:gd name="connsiteY5562" fmla="*/ 1522003 h 6072780"/>
                <a:gd name="connsiteX5563" fmla="*/ 1968788 w 12117871"/>
                <a:gd name="connsiteY5563" fmla="*/ 1744984 h 6072780"/>
                <a:gd name="connsiteX5564" fmla="*/ 1933501 w 12117871"/>
                <a:gd name="connsiteY5564" fmla="*/ 1744984 h 6072780"/>
                <a:gd name="connsiteX5565" fmla="*/ 1933501 w 12117871"/>
                <a:gd name="connsiteY5565" fmla="*/ 1565200 h 6072780"/>
                <a:gd name="connsiteX5566" fmla="*/ 1912891 w 12117871"/>
                <a:gd name="connsiteY5566" fmla="*/ 1576836 h 6072780"/>
                <a:gd name="connsiteX5567" fmla="*/ 1887718 w 12117871"/>
                <a:gd name="connsiteY5567" fmla="*/ 1585278 h 6072780"/>
                <a:gd name="connsiteX5568" fmla="*/ 1887718 w 12117871"/>
                <a:gd name="connsiteY5568" fmla="*/ 1555161 h 6072780"/>
                <a:gd name="connsiteX5569" fmla="*/ 1904753 w 12117871"/>
                <a:gd name="connsiteY5569" fmla="*/ 1549078 h 6072780"/>
                <a:gd name="connsiteX5570" fmla="*/ 1920952 w 12117871"/>
                <a:gd name="connsiteY5570" fmla="*/ 1541929 h 6072780"/>
                <a:gd name="connsiteX5571" fmla="*/ 1937075 w 12117871"/>
                <a:gd name="connsiteY5571" fmla="*/ 1533106 h 6072780"/>
                <a:gd name="connsiteX5572" fmla="*/ 1953882 w 12117871"/>
                <a:gd name="connsiteY5572" fmla="*/ 1522003 h 6072780"/>
                <a:gd name="connsiteX5573" fmla="*/ 1820828 w 12117871"/>
                <a:gd name="connsiteY5573" fmla="*/ 1522003 h 6072780"/>
                <a:gd name="connsiteX5574" fmla="*/ 1835734 w 12117871"/>
                <a:gd name="connsiteY5574" fmla="*/ 1522003 h 6072780"/>
                <a:gd name="connsiteX5575" fmla="*/ 1835734 w 12117871"/>
                <a:gd name="connsiteY5575" fmla="*/ 1744984 h 6072780"/>
                <a:gd name="connsiteX5576" fmla="*/ 1800447 w 12117871"/>
                <a:gd name="connsiteY5576" fmla="*/ 1744984 h 6072780"/>
                <a:gd name="connsiteX5577" fmla="*/ 1800447 w 12117871"/>
                <a:gd name="connsiteY5577" fmla="*/ 1565200 h 6072780"/>
                <a:gd name="connsiteX5578" fmla="*/ 1779837 w 12117871"/>
                <a:gd name="connsiteY5578" fmla="*/ 1576836 h 6072780"/>
                <a:gd name="connsiteX5579" fmla="*/ 1754664 w 12117871"/>
                <a:gd name="connsiteY5579" fmla="*/ 1585278 h 6072780"/>
                <a:gd name="connsiteX5580" fmla="*/ 1754664 w 12117871"/>
                <a:gd name="connsiteY5580" fmla="*/ 1555161 h 6072780"/>
                <a:gd name="connsiteX5581" fmla="*/ 1771699 w 12117871"/>
                <a:gd name="connsiteY5581" fmla="*/ 1549078 h 6072780"/>
                <a:gd name="connsiteX5582" fmla="*/ 1787898 w 12117871"/>
                <a:gd name="connsiteY5582" fmla="*/ 1541929 h 6072780"/>
                <a:gd name="connsiteX5583" fmla="*/ 1804021 w 12117871"/>
                <a:gd name="connsiteY5583" fmla="*/ 1533106 h 6072780"/>
                <a:gd name="connsiteX5584" fmla="*/ 1820828 w 12117871"/>
                <a:gd name="connsiteY5584" fmla="*/ 1522003 h 6072780"/>
                <a:gd name="connsiteX5585" fmla="*/ 1678216 w 12117871"/>
                <a:gd name="connsiteY5585" fmla="*/ 1522003 h 6072780"/>
                <a:gd name="connsiteX5586" fmla="*/ 1693123 w 12117871"/>
                <a:gd name="connsiteY5586" fmla="*/ 1522003 h 6072780"/>
                <a:gd name="connsiteX5587" fmla="*/ 1693123 w 12117871"/>
                <a:gd name="connsiteY5587" fmla="*/ 1744984 h 6072780"/>
                <a:gd name="connsiteX5588" fmla="*/ 1657834 w 12117871"/>
                <a:gd name="connsiteY5588" fmla="*/ 1744984 h 6072780"/>
                <a:gd name="connsiteX5589" fmla="*/ 1657834 w 12117871"/>
                <a:gd name="connsiteY5589" fmla="*/ 1565200 h 6072780"/>
                <a:gd name="connsiteX5590" fmla="*/ 1637225 w 12117871"/>
                <a:gd name="connsiteY5590" fmla="*/ 1576836 h 6072780"/>
                <a:gd name="connsiteX5591" fmla="*/ 1612053 w 12117871"/>
                <a:gd name="connsiteY5591" fmla="*/ 1585278 h 6072780"/>
                <a:gd name="connsiteX5592" fmla="*/ 1612053 w 12117871"/>
                <a:gd name="connsiteY5592" fmla="*/ 1555161 h 6072780"/>
                <a:gd name="connsiteX5593" fmla="*/ 1629088 w 12117871"/>
                <a:gd name="connsiteY5593" fmla="*/ 1549078 h 6072780"/>
                <a:gd name="connsiteX5594" fmla="*/ 1645287 w 12117871"/>
                <a:gd name="connsiteY5594" fmla="*/ 1541929 h 6072780"/>
                <a:gd name="connsiteX5595" fmla="*/ 1661409 w 12117871"/>
                <a:gd name="connsiteY5595" fmla="*/ 1533106 h 6072780"/>
                <a:gd name="connsiteX5596" fmla="*/ 1678216 w 12117871"/>
                <a:gd name="connsiteY5596" fmla="*/ 1522003 h 6072780"/>
                <a:gd name="connsiteX5597" fmla="*/ 922825 w 12117871"/>
                <a:gd name="connsiteY5597" fmla="*/ 1522003 h 6072780"/>
                <a:gd name="connsiteX5598" fmla="*/ 937731 w 12117871"/>
                <a:gd name="connsiteY5598" fmla="*/ 1522003 h 6072780"/>
                <a:gd name="connsiteX5599" fmla="*/ 937731 w 12117871"/>
                <a:gd name="connsiteY5599" fmla="*/ 1744984 h 6072780"/>
                <a:gd name="connsiteX5600" fmla="*/ 902443 w 12117871"/>
                <a:gd name="connsiteY5600" fmla="*/ 1744984 h 6072780"/>
                <a:gd name="connsiteX5601" fmla="*/ 902443 w 12117871"/>
                <a:gd name="connsiteY5601" fmla="*/ 1565200 h 6072780"/>
                <a:gd name="connsiteX5602" fmla="*/ 881833 w 12117871"/>
                <a:gd name="connsiteY5602" fmla="*/ 1576836 h 6072780"/>
                <a:gd name="connsiteX5603" fmla="*/ 856661 w 12117871"/>
                <a:gd name="connsiteY5603" fmla="*/ 1585278 h 6072780"/>
                <a:gd name="connsiteX5604" fmla="*/ 856661 w 12117871"/>
                <a:gd name="connsiteY5604" fmla="*/ 1555161 h 6072780"/>
                <a:gd name="connsiteX5605" fmla="*/ 873696 w 12117871"/>
                <a:gd name="connsiteY5605" fmla="*/ 1549078 h 6072780"/>
                <a:gd name="connsiteX5606" fmla="*/ 889895 w 12117871"/>
                <a:gd name="connsiteY5606" fmla="*/ 1541929 h 6072780"/>
                <a:gd name="connsiteX5607" fmla="*/ 906017 w 12117871"/>
                <a:gd name="connsiteY5607" fmla="*/ 1533106 h 6072780"/>
                <a:gd name="connsiteX5608" fmla="*/ 922825 w 12117871"/>
                <a:gd name="connsiteY5608" fmla="*/ 1522003 h 6072780"/>
                <a:gd name="connsiteX5609" fmla="*/ 789770 w 12117871"/>
                <a:gd name="connsiteY5609" fmla="*/ 1522003 h 6072780"/>
                <a:gd name="connsiteX5610" fmla="*/ 804677 w 12117871"/>
                <a:gd name="connsiteY5610" fmla="*/ 1522003 h 6072780"/>
                <a:gd name="connsiteX5611" fmla="*/ 804677 w 12117871"/>
                <a:gd name="connsiteY5611" fmla="*/ 1744984 h 6072780"/>
                <a:gd name="connsiteX5612" fmla="*/ 769389 w 12117871"/>
                <a:gd name="connsiteY5612" fmla="*/ 1744984 h 6072780"/>
                <a:gd name="connsiteX5613" fmla="*/ 769389 w 12117871"/>
                <a:gd name="connsiteY5613" fmla="*/ 1565200 h 6072780"/>
                <a:gd name="connsiteX5614" fmla="*/ 748779 w 12117871"/>
                <a:gd name="connsiteY5614" fmla="*/ 1576836 h 6072780"/>
                <a:gd name="connsiteX5615" fmla="*/ 723607 w 12117871"/>
                <a:gd name="connsiteY5615" fmla="*/ 1585278 h 6072780"/>
                <a:gd name="connsiteX5616" fmla="*/ 723607 w 12117871"/>
                <a:gd name="connsiteY5616" fmla="*/ 1555161 h 6072780"/>
                <a:gd name="connsiteX5617" fmla="*/ 740642 w 12117871"/>
                <a:gd name="connsiteY5617" fmla="*/ 1549078 h 6072780"/>
                <a:gd name="connsiteX5618" fmla="*/ 756841 w 12117871"/>
                <a:gd name="connsiteY5618" fmla="*/ 1541929 h 6072780"/>
                <a:gd name="connsiteX5619" fmla="*/ 772963 w 12117871"/>
                <a:gd name="connsiteY5619" fmla="*/ 1533106 h 6072780"/>
                <a:gd name="connsiteX5620" fmla="*/ 789770 w 12117871"/>
                <a:gd name="connsiteY5620" fmla="*/ 1522003 h 6072780"/>
                <a:gd name="connsiteX5621" fmla="*/ 10091849 w 12117871"/>
                <a:gd name="connsiteY5621" fmla="*/ 1522002 h 6072780"/>
                <a:gd name="connsiteX5622" fmla="*/ 10163016 w 12117871"/>
                <a:gd name="connsiteY5622" fmla="*/ 1632590 h 6072780"/>
                <a:gd name="connsiteX5623" fmla="*/ 10142930 w 12117871"/>
                <a:gd name="connsiteY5623" fmla="*/ 1716169 h 6072780"/>
                <a:gd name="connsiteX5624" fmla="*/ 10086733 w 12117871"/>
                <a:gd name="connsiteY5624" fmla="*/ 1744982 h 6072780"/>
                <a:gd name="connsiteX5625" fmla="*/ 10034148 w 12117871"/>
                <a:gd name="connsiteY5625" fmla="*/ 1717449 h 6072780"/>
                <a:gd name="connsiteX5626" fmla="*/ 10015265 w 12117871"/>
                <a:gd name="connsiteY5626" fmla="*/ 1637857 h 6072780"/>
                <a:gd name="connsiteX5627" fmla="*/ 10034975 w 12117871"/>
                <a:gd name="connsiteY5627" fmla="*/ 1551343 h 6072780"/>
                <a:gd name="connsiteX5628" fmla="*/ 10091849 w 12117871"/>
                <a:gd name="connsiteY5628" fmla="*/ 1522002 h 6072780"/>
                <a:gd name="connsiteX5629" fmla="*/ 9870926 w 12117871"/>
                <a:gd name="connsiteY5629" fmla="*/ 1522002 h 6072780"/>
                <a:gd name="connsiteX5630" fmla="*/ 9942093 w 12117871"/>
                <a:gd name="connsiteY5630" fmla="*/ 1632590 h 6072780"/>
                <a:gd name="connsiteX5631" fmla="*/ 9922007 w 12117871"/>
                <a:gd name="connsiteY5631" fmla="*/ 1716169 h 6072780"/>
                <a:gd name="connsiteX5632" fmla="*/ 9865810 w 12117871"/>
                <a:gd name="connsiteY5632" fmla="*/ 1744982 h 6072780"/>
                <a:gd name="connsiteX5633" fmla="*/ 9813225 w 12117871"/>
                <a:gd name="connsiteY5633" fmla="*/ 1717449 h 6072780"/>
                <a:gd name="connsiteX5634" fmla="*/ 9794342 w 12117871"/>
                <a:gd name="connsiteY5634" fmla="*/ 1637857 h 6072780"/>
                <a:gd name="connsiteX5635" fmla="*/ 9814052 w 12117871"/>
                <a:gd name="connsiteY5635" fmla="*/ 1551343 h 6072780"/>
                <a:gd name="connsiteX5636" fmla="*/ 9870926 w 12117871"/>
                <a:gd name="connsiteY5636" fmla="*/ 1522002 h 6072780"/>
                <a:gd name="connsiteX5637" fmla="*/ 9209266 w 12117871"/>
                <a:gd name="connsiteY5637" fmla="*/ 1522002 h 6072780"/>
                <a:gd name="connsiteX5638" fmla="*/ 9280433 w 12117871"/>
                <a:gd name="connsiteY5638" fmla="*/ 1632590 h 6072780"/>
                <a:gd name="connsiteX5639" fmla="*/ 9260347 w 12117871"/>
                <a:gd name="connsiteY5639" fmla="*/ 1716169 h 6072780"/>
                <a:gd name="connsiteX5640" fmla="*/ 9204150 w 12117871"/>
                <a:gd name="connsiteY5640" fmla="*/ 1744982 h 6072780"/>
                <a:gd name="connsiteX5641" fmla="*/ 9151565 w 12117871"/>
                <a:gd name="connsiteY5641" fmla="*/ 1717449 h 6072780"/>
                <a:gd name="connsiteX5642" fmla="*/ 9132682 w 12117871"/>
                <a:gd name="connsiteY5642" fmla="*/ 1637857 h 6072780"/>
                <a:gd name="connsiteX5643" fmla="*/ 9152392 w 12117871"/>
                <a:gd name="connsiteY5643" fmla="*/ 1551343 h 6072780"/>
                <a:gd name="connsiteX5644" fmla="*/ 9209266 w 12117871"/>
                <a:gd name="connsiteY5644" fmla="*/ 1522002 h 6072780"/>
                <a:gd name="connsiteX5645" fmla="*/ 8988343 w 12117871"/>
                <a:gd name="connsiteY5645" fmla="*/ 1522002 h 6072780"/>
                <a:gd name="connsiteX5646" fmla="*/ 9059510 w 12117871"/>
                <a:gd name="connsiteY5646" fmla="*/ 1632590 h 6072780"/>
                <a:gd name="connsiteX5647" fmla="*/ 9039424 w 12117871"/>
                <a:gd name="connsiteY5647" fmla="*/ 1716169 h 6072780"/>
                <a:gd name="connsiteX5648" fmla="*/ 8983227 w 12117871"/>
                <a:gd name="connsiteY5648" fmla="*/ 1744982 h 6072780"/>
                <a:gd name="connsiteX5649" fmla="*/ 8930642 w 12117871"/>
                <a:gd name="connsiteY5649" fmla="*/ 1717449 h 6072780"/>
                <a:gd name="connsiteX5650" fmla="*/ 8911759 w 12117871"/>
                <a:gd name="connsiteY5650" fmla="*/ 1637857 h 6072780"/>
                <a:gd name="connsiteX5651" fmla="*/ 8931469 w 12117871"/>
                <a:gd name="connsiteY5651" fmla="*/ 1551343 h 6072780"/>
                <a:gd name="connsiteX5652" fmla="*/ 8988343 w 12117871"/>
                <a:gd name="connsiteY5652" fmla="*/ 1522002 h 6072780"/>
                <a:gd name="connsiteX5653" fmla="*/ 4035797 w 12117871"/>
                <a:gd name="connsiteY5653" fmla="*/ 1522002 h 6072780"/>
                <a:gd name="connsiteX5654" fmla="*/ 4106964 w 12117871"/>
                <a:gd name="connsiteY5654" fmla="*/ 1632590 h 6072780"/>
                <a:gd name="connsiteX5655" fmla="*/ 4086878 w 12117871"/>
                <a:gd name="connsiteY5655" fmla="*/ 1716169 h 6072780"/>
                <a:gd name="connsiteX5656" fmla="*/ 4030681 w 12117871"/>
                <a:gd name="connsiteY5656" fmla="*/ 1744982 h 6072780"/>
                <a:gd name="connsiteX5657" fmla="*/ 3978096 w 12117871"/>
                <a:gd name="connsiteY5657" fmla="*/ 1717449 h 6072780"/>
                <a:gd name="connsiteX5658" fmla="*/ 3959213 w 12117871"/>
                <a:gd name="connsiteY5658" fmla="*/ 1637857 h 6072780"/>
                <a:gd name="connsiteX5659" fmla="*/ 3978923 w 12117871"/>
                <a:gd name="connsiteY5659" fmla="*/ 1551343 h 6072780"/>
                <a:gd name="connsiteX5660" fmla="*/ 4035797 w 12117871"/>
                <a:gd name="connsiteY5660" fmla="*/ 1522002 h 6072780"/>
                <a:gd name="connsiteX5661" fmla="*/ 3814874 w 12117871"/>
                <a:gd name="connsiteY5661" fmla="*/ 1522002 h 6072780"/>
                <a:gd name="connsiteX5662" fmla="*/ 3886042 w 12117871"/>
                <a:gd name="connsiteY5662" fmla="*/ 1632590 h 6072780"/>
                <a:gd name="connsiteX5663" fmla="*/ 3865955 w 12117871"/>
                <a:gd name="connsiteY5663" fmla="*/ 1716169 h 6072780"/>
                <a:gd name="connsiteX5664" fmla="*/ 3809758 w 12117871"/>
                <a:gd name="connsiteY5664" fmla="*/ 1744982 h 6072780"/>
                <a:gd name="connsiteX5665" fmla="*/ 3757173 w 12117871"/>
                <a:gd name="connsiteY5665" fmla="*/ 1717449 h 6072780"/>
                <a:gd name="connsiteX5666" fmla="*/ 3738290 w 12117871"/>
                <a:gd name="connsiteY5666" fmla="*/ 1637857 h 6072780"/>
                <a:gd name="connsiteX5667" fmla="*/ 3758000 w 12117871"/>
                <a:gd name="connsiteY5667" fmla="*/ 1551343 h 6072780"/>
                <a:gd name="connsiteX5668" fmla="*/ 3814874 w 12117871"/>
                <a:gd name="connsiteY5668" fmla="*/ 1522002 h 6072780"/>
                <a:gd name="connsiteX5669" fmla="*/ 3153215 w 12117871"/>
                <a:gd name="connsiteY5669" fmla="*/ 1522002 h 6072780"/>
                <a:gd name="connsiteX5670" fmla="*/ 3224382 w 12117871"/>
                <a:gd name="connsiteY5670" fmla="*/ 1632590 h 6072780"/>
                <a:gd name="connsiteX5671" fmla="*/ 3204295 w 12117871"/>
                <a:gd name="connsiteY5671" fmla="*/ 1716169 h 6072780"/>
                <a:gd name="connsiteX5672" fmla="*/ 3148098 w 12117871"/>
                <a:gd name="connsiteY5672" fmla="*/ 1744982 h 6072780"/>
                <a:gd name="connsiteX5673" fmla="*/ 3095513 w 12117871"/>
                <a:gd name="connsiteY5673" fmla="*/ 1717449 h 6072780"/>
                <a:gd name="connsiteX5674" fmla="*/ 3076630 w 12117871"/>
                <a:gd name="connsiteY5674" fmla="*/ 1637857 h 6072780"/>
                <a:gd name="connsiteX5675" fmla="*/ 3096340 w 12117871"/>
                <a:gd name="connsiteY5675" fmla="*/ 1551343 h 6072780"/>
                <a:gd name="connsiteX5676" fmla="*/ 3153215 w 12117871"/>
                <a:gd name="connsiteY5676" fmla="*/ 1522002 h 6072780"/>
                <a:gd name="connsiteX5677" fmla="*/ 2932291 w 12117871"/>
                <a:gd name="connsiteY5677" fmla="*/ 1522002 h 6072780"/>
                <a:gd name="connsiteX5678" fmla="*/ 3003458 w 12117871"/>
                <a:gd name="connsiteY5678" fmla="*/ 1632590 h 6072780"/>
                <a:gd name="connsiteX5679" fmla="*/ 2983372 w 12117871"/>
                <a:gd name="connsiteY5679" fmla="*/ 1716169 h 6072780"/>
                <a:gd name="connsiteX5680" fmla="*/ 2927176 w 12117871"/>
                <a:gd name="connsiteY5680" fmla="*/ 1744982 h 6072780"/>
                <a:gd name="connsiteX5681" fmla="*/ 2874590 w 12117871"/>
                <a:gd name="connsiteY5681" fmla="*/ 1717449 h 6072780"/>
                <a:gd name="connsiteX5682" fmla="*/ 2855708 w 12117871"/>
                <a:gd name="connsiteY5682" fmla="*/ 1637857 h 6072780"/>
                <a:gd name="connsiteX5683" fmla="*/ 2875417 w 12117871"/>
                <a:gd name="connsiteY5683" fmla="*/ 1551343 h 6072780"/>
                <a:gd name="connsiteX5684" fmla="*/ 2932291 w 12117871"/>
                <a:gd name="connsiteY5684" fmla="*/ 1522002 h 6072780"/>
                <a:gd name="connsiteX5685" fmla="*/ 111672 w 12117871"/>
                <a:gd name="connsiteY5685" fmla="*/ 1522002 h 6072780"/>
                <a:gd name="connsiteX5686" fmla="*/ 126579 w 12117871"/>
                <a:gd name="connsiteY5686" fmla="*/ 1522002 h 6072780"/>
                <a:gd name="connsiteX5687" fmla="*/ 126579 w 12117871"/>
                <a:gd name="connsiteY5687" fmla="*/ 1744982 h 6072780"/>
                <a:gd name="connsiteX5688" fmla="*/ 91291 w 12117871"/>
                <a:gd name="connsiteY5688" fmla="*/ 1744982 h 6072780"/>
                <a:gd name="connsiteX5689" fmla="*/ 91291 w 12117871"/>
                <a:gd name="connsiteY5689" fmla="*/ 1565199 h 6072780"/>
                <a:gd name="connsiteX5690" fmla="*/ 70681 w 12117871"/>
                <a:gd name="connsiteY5690" fmla="*/ 1576835 h 6072780"/>
                <a:gd name="connsiteX5691" fmla="*/ 45509 w 12117871"/>
                <a:gd name="connsiteY5691" fmla="*/ 1585277 h 6072780"/>
                <a:gd name="connsiteX5692" fmla="*/ 45509 w 12117871"/>
                <a:gd name="connsiteY5692" fmla="*/ 1555160 h 6072780"/>
                <a:gd name="connsiteX5693" fmla="*/ 62544 w 12117871"/>
                <a:gd name="connsiteY5693" fmla="*/ 1549076 h 6072780"/>
                <a:gd name="connsiteX5694" fmla="*/ 78743 w 12117871"/>
                <a:gd name="connsiteY5694" fmla="*/ 1541927 h 6072780"/>
                <a:gd name="connsiteX5695" fmla="*/ 94865 w 12117871"/>
                <a:gd name="connsiteY5695" fmla="*/ 1533105 h 6072780"/>
                <a:gd name="connsiteX5696" fmla="*/ 111672 w 12117871"/>
                <a:gd name="connsiteY5696" fmla="*/ 1522002 h 6072780"/>
                <a:gd name="connsiteX5697" fmla="*/ 9137689 w 12117871"/>
                <a:gd name="connsiteY5697" fmla="*/ 1236534 h 6072780"/>
                <a:gd name="connsiteX5698" fmla="*/ 9098419 w 12117871"/>
                <a:gd name="connsiteY5698" fmla="*/ 1323048 h 6072780"/>
                <a:gd name="connsiteX5699" fmla="*/ 9136937 w 12117871"/>
                <a:gd name="connsiteY5699" fmla="*/ 1403995 h 6072780"/>
                <a:gd name="connsiteX5700" fmla="*/ 9174852 w 12117871"/>
                <a:gd name="connsiteY5700" fmla="*/ 1321695 h 6072780"/>
                <a:gd name="connsiteX5701" fmla="*/ 9137689 w 12117871"/>
                <a:gd name="connsiteY5701" fmla="*/ 1236534 h 6072780"/>
                <a:gd name="connsiteX5702" fmla="*/ 8795932 w 12117871"/>
                <a:gd name="connsiteY5702" fmla="*/ 1236534 h 6072780"/>
                <a:gd name="connsiteX5703" fmla="*/ 8756662 w 12117871"/>
                <a:gd name="connsiteY5703" fmla="*/ 1323048 h 6072780"/>
                <a:gd name="connsiteX5704" fmla="*/ 8795180 w 12117871"/>
                <a:gd name="connsiteY5704" fmla="*/ 1403995 h 6072780"/>
                <a:gd name="connsiteX5705" fmla="*/ 8833095 w 12117871"/>
                <a:gd name="connsiteY5705" fmla="*/ 1321695 h 6072780"/>
                <a:gd name="connsiteX5706" fmla="*/ 8795932 w 12117871"/>
                <a:gd name="connsiteY5706" fmla="*/ 1236534 h 6072780"/>
                <a:gd name="connsiteX5707" fmla="*/ 8094530 w 12117871"/>
                <a:gd name="connsiteY5707" fmla="*/ 1236534 h 6072780"/>
                <a:gd name="connsiteX5708" fmla="*/ 8055260 w 12117871"/>
                <a:gd name="connsiteY5708" fmla="*/ 1323048 h 6072780"/>
                <a:gd name="connsiteX5709" fmla="*/ 8093778 w 12117871"/>
                <a:gd name="connsiteY5709" fmla="*/ 1403995 h 6072780"/>
                <a:gd name="connsiteX5710" fmla="*/ 8131693 w 12117871"/>
                <a:gd name="connsiteY5710" fmla="*/ 1321695 h 6072780"/>
                <a:gd name="connsiteX5711" fmla="*/ 8094530 w 12117871"/>
                <a:gd name="connsiteY5711" fmla="*/ 1236534 h 6072780"/>
                <a:gd name="connsiteX5712" fmla="*/ 6836041 w 12117871"/>
                <a:gd name="connsiteY5712" fmla="*/ 1236534 h 6072780"/>
                <a:gd name="connsiteX5713" fmla="*/ 6796771 w 12117871"/>
                <a:gd name="connsiteY5713" fmla="*/ 1323048 h 6072780"/>
                <a:gd name="connsiteX5714" fmla="*/ 6835289 w 12117871"/>
                <a:gd name="connsiteY5714" fmla="*/ 1403995 h 6072780"/>
                <a:gd name="connsiteX5715" fmla="*/ 6873204 w 12117871"/>
                <a:gd name="connsiteY5715" fmla="*/ 1321695 h 6072780"/>
                <a:gd name="connsiteX5716" fmla="*/ 6836041 w 12117871"/>
                <a:gd name="connsiteY5716" fmla="*/ 1236534 h 6072780"/>
                <a:gd name="connsiteX5717" fmla="*/ 6622947 w 12117871"/>
                <a:gd name="connsiteY5717" fmla="*/ 1236534 h 6072780"/>
                <a:gd name="connsiteX5718" fmla="*/ 6583677 w 12117871"/>
                <a:gd name="connsiteY5718" fmla="*/ 1323048 h 6072780"/>
                <a:gd name="connsiteX5719" fmla="*/ 6622195 w 12117871"/>
                <a:gd name="connsiteY5719" fmla="*/ 1403995 h 6072780"/>
                <a:gd name="connsiteX5720" fmla="*/ 6660110 w 12117871"/>
                <a:gd name="connsiteY5720" fmla="*/ 1321695 h 6072780"/>
                <a:gd name="connsiteX5721" fmla="*/ 6622947 w 12117871"/>
                <a:gd name="connsiteY5721" fmla="*/ 1236534 h 6072780"/>
                <a:gd name="connsiteX5722" fmla="*/ 3077272 w 12117871"/>
                <a:gd name="connsiteY5722" fmla="*/ 1236534 h 6072780"/>
                <a:gd name="connsiteX5723" fmla="*/ 3038002 w 12117871"/>
                <a:gd name="connsiteY5723" fmla="*/ 1323048 h 6072780"/>
                <a:gd name="connsiteX5724" fmla="*/ 3076520 w 12117871"/>
                <a:gd name="connsiteY5724" fmla="*/ 1403995 h 6072780"/>
                <a:gd name="connsiteX5725" fmla="*/ 3114435 w 12117871"/>
                <a:gd name="connsiteY5725" fmla="*/ 1321695 h 6072780"/>
                <a:gd name="connsiteX5726" fmla="*/ 3077272 w 12117871"/>
                <a:gd name="connsiteY5726" fmla="*/ 1236534 h 6072780"/>
                <a:gd name="connsiteX5727" fmla="*/ 2730469 w 12117871"/>
                <a:gd name="connsiteY5727" fmla="*/ 1236534 h 6072780"/>
                <a:gd name="connsiteX5728" fmla="*/ 2691199 w 12117871"/>
                <a:gd name="connsiteY5728" fmla="*/ 1323048 h 6072780"/>
                <a:gd name="connsiteX5729" fmla="*/ 2729717 w 12117871"/>
                <a:gd name="connsiteY5729" fmla="*/ 1403995 h 6072780"/>
                <a:gd name="connsiteX5730" fmla="*/ 2767632 w 12117871"/>
                <a:gd name="connsiteY5730" fmla="*/ 1321695 h 6072780"/>
                <a:gd name="connsiteX5731" fmla="*/ 2730469 w 12117871"/>
                <a:gd name="connsiteY5731" fmla="*/ 1236534 h 6072780"/>
                <a:gd name="connsiteX5732" fmla="*/ 2039104 w 12117871"/>
                <a:gd name="connsiteY5732" fmla="*/ 1236534 h 6072780"/>
                <a:gd name="connsiteX5733" fmla="*/ 1999834 w 12117871"/>
                <a:gd name="connsiteY5733" fmla="*/ 1323048 h 6072780"/>
                <a:gd name="connsiteX5734" fmla="*/ 2038352 w 12117871"/>
                <a:gd name="connsiteY5734" fmla="*/ 1403995 h 6072780"/>
                <a:gd name="connsiteX5735" fmla="*/ 2076267 w 12117871"/>
                <a:gd name="connsiteY5735" fmla="*/ 1321695 h 6072780"/>
                <a:gd name="connsiteX5736" fmla="*/ 2039104 w 12117871"/>
                <a:gd name="connsiteY5736" fmla="*/ 1236534 h 6072780"/>
                <a:gd name="connsiteX5737" fmla="*/ 783897 w 12117871"/>
                <a:gd name="connsiteY5737" fmla="*/ 1236534 h 6072780"/>
                <a:gd name="connsiteX5738" fmla="*/ 744627 w 12117871"/>
                <a:gd name="connsiteY5738" fmla="*/ 1323048 h 6072780"/>
                <a:gd name="connsiteX5739" fmla="*/ 783145 w 12117871"/>
                <a:gd name="connsiteY5739" fmla="*/ 1403995 h 6072780"/>
                <a:gd name="connsiteX5740" fmla="*/ 821060 w 12117871"/>
                <a:gd name="connsiteY5740" fmla="*/ 1321695 h 6072780"/>
                <a:gd name="connsiteX5741" fmla="*/ 783897 w 12117871"/>
                <a:gd name="connsiteY5741" fmla="*/ 1236534 h 6072780"/>
                <a:gd name="connsiteX5742" fmla="*/ 563297 w 12117871"/>
                <a:gd name="connsiteY5742" fmla="*/ 1236534 h 6072780"/>
                <a:gd name="connsiteX5743" fmla="*/ 524027 w 12117871"/>
                <a:gd name="connsiteY5743" fmla="*/ 1323048 h 6072780"/>
                <a:gd name="connsiteX5744" fmla="*/ 562545 w 12117871"/>
                <a:gd name="connsiteY5744" fmla="*/ 1403995 h 6072780"/>
                <a:gd name="connsiteX5745" fmla="*/ 600460 w 12117871"/>
                <a:gd name="connsiteY5745" fmla="*/ 1321695 h 6072780"/>
                <a:gd name="connsiteX5746" fmla="*/ 563297 w 12117871"/>
                <a:gd name="connsiteY5746" fmla="*/ 1236534 h 6072780"/>
                <a:gd name="connsiteX5747" fmla="*/ 12042385 w 12117871"/>
                <a:gd name="connsiteY5747" fmla="*/ 1208700 h 6072780"/>
                <a:gd name="connsiteX5748" fmla="*/ 12057291 w 12117871"/>
                <a:gd name="connsiteY5748" fmla="*/ 1208700 h 6072780"/>
                <a:gd name="connsiteX5749" fmla="*/ 12057291 w 12117871"/>
                <a:gd name="connsiteY5749" fmla="*/ 1431679 h 6072780"/>
                <a:gd name="connsiteX5750" fmla="*/ 12022003 w 12117871"/>
                <a:gd name="connsiteY5750" fmla="*/ 1431679 h 6072780"/>
                <a:gd name="connsiteX5751" fmla="*/ 12022003 w 12117871"/>
                <a:gd name="connsiteY5751" fmla="*/ 1251896 h 6072780"/>
                <a:gd name="connsiteX5752" fmla="*/ 12001394 w 12117871"/>
                <a:gd name="connsiteY5752" fmla="*/ 1263531 h 6072780"/>
                <a:gd name="connsiteX5753" fmla="*/ 11976221 w 12117871"/>
                <a:gd name="connsiteY5753" fmla="*/ 1271973 h 6072780"/>
                <a:gd name="connsiteX5754" fmla="*/ 11976221 w 12117871"/>
                <a:gd name="connsiteY5754" fmla="*/ 1241857 h 6072780"/>
                <a:gd name="connsiteX5755" fmla="*/ 11993256 w 12117871"/>
                <a:gd name="connsiteY5755" fmla="*/ 1235773 h 6072780"/>
                <a:gd name="connsiteX5756" fmla="*/ 12009455 w 12117871"/>
                <a:gd name="connsiteY5756" fmla="*/ 1228624 h 6072780"/>
                <a:gd name="connsiteX5757" fmla="*/ 12025578 w 12117871"/>
                <a:gd name="connsiteY5757" fmla="*/ 1219803 h 6072780"/>
                <a:gd name="connsiteX5758" fmla="*/ 12042385 w 12117871"/>
                <a:gd name="connsiteY5758" fmla="*/ 1208700 h 6072780"/>
                <a:gd name="connsiteX5759" fmla="*/ 11669820 w 12117871"/>
                <a:gd name="connsiteY5759" fmla="*/ 1208700 h 6072780"/>
                <a:gd name="connsiteX5760" fmla="*/ 11684726 w 12117871"/>
                <a:gd name="connsiteY5760" fmla="*/ 1208700 h 6072780"/>
                <a:gd name="connsiteX5761" fmla="*/ 11684726 w 12117871"/>
                <a:gd name="connsiteY5761" fmla="*/ 1431679 h 6072780"/>
                <a:gd name="connsiteX5762" fmla="*/ 11649438 w 12117871"/>
                <a:gd name="connsiteY5762" fmla="*/ 1431679 h 6072780"/>
                <a:gd name="connsiteX5763" fmla="*/ 11649438 w 12117871"/>
                <a:gd name="connsiteY5763" fmla="*/ 1251896 h 6072780"/>
                <a:gd name="connsiteX5764" fmla="*/ 11628829 w 12117871"/>
                <a:gd name="connsiteY5764" fmla="*/ 1263531 h 6072780"/>
                <a:gd name="connsiteX5765" fmla="*/ 11603656 w 12117871"/>
                <a:gd name="connsiteY5765" fmla="*/ 1271973 h 6072780"/>
                <a:gd name="connsiteX5766" fmla="*/ 11603656 w 12117871"/>
                <a:gd name="connsiteY5766" fmla="*/ 1241857 h 6072780"/>
                <a:gd name="connsiteX5767" fmla="*/ 11620691 w 12117871"/>
                <a:gd name="connsiteY5767" fmla="*/ 1235773 h 6072780"/>
                <a:gd name="connsiteX5768" fmla="*/ 11636890 w 12117871"/>
                <a:gd name="connsiteY5768" fmla="*/ 1228624 h 6072780"/>
                <a:gd name="connsiteX5769" fmla="*/ 11653013 w 12117871"/>
                <a:gd name="connsiteY5769" fmla="*/ 1219803 h 6072780"/>
                <a:gd name="connsiteX5770" fmla="*/ 11669820 w 12117871"/>
                <a:gd name="connsiteY5770" fmla="*/ 1208700 h 6072780"/>
                <a:gd name="connsiteX5771" fmla="*/ 11519847 w 12117871"/>
                <a:gd name="connsiteY5771" fmla="*/ 1208700 h 6072780"/>
                <a:gd name="connsiteX5772" fmla="*/ 11534753 w 12117871"/>
                <a:gd name="connsiteY5772" fmla="*/ 1208700 h 6072780"/>
                <a:gd name="connsiteX5773" fmla="*/ 11534753 w 12117871"/>
                <a:gd name="connsiteY5773" fmla="*/ 1431679 h 6072780"/>
                <a:gd name="connsiteX5774" fmla="*/ 11499465 w 12117871"/>
                <a:gd name="connsiteY5774" fmla="*/ 1431679 h 6072780"/>
                <a:gd name="connsiteX5775" fmla="*/ 11499465 w 12117871"/>
                <a:gd name="connsiteY5775" fmla="*/ 1251896 h 6072780"/>
                <a:gd name="connsiteX5776" fmla="*/ 11478856 w 12117871"/>
                <a:gd name="connsiteY5776" fmla="*/ 1263531 h 6072780"/>
                <a:gd name="connsiteX5777" fmla="*/ 11453683 w 12117871"/>
                <a:gd name="connsiteY5777" fmla="*/ 1271973 h 6072780"/>
                <a:gd name="connsiteX5778" fmla="*/ 11453683 w 12117871"/>
                <a:gd name="connsiteY5778" fmla="*/ 1241857 h 6072780"/>
                <a:gd name="connsiteX5779" fmla="*/ 11470718 w 12117871"/>
                <a:gd name="connsiteY5779" fmla="*/ 1235773 h 6072780"/>
                <a:gd name="connsiteX5780" fmla="*/ 11486917 w 12117871"/>
                <a:gd name="connsiteY5780" fmla="*/ 1228624 h 6072780"/>
                <a:gd name="connsiteX5781" fmla="*/ 11503040 w 12117871"/>
                <a:gd name="connsiteY5781" fmla="*/ 1219803 h 6072780"/>
                <a:gd name="connsiteX5782" fmla="*/ 11519847 w 12117871"/>
                <a:gd name="connsiteY5782" fmla="*/ 1208700 h 6072780"/>
                <a:gd name="connsiteX5783" fmla="*/ 11369874 w 12117871"/>
                <a:gd name="connsiteY5783" fmla="*/ 1208700 h 6072780"/>
                <a:gd name="connsiteX5784" fmla="*/ 11384780 w 12117871"/>
                <a:gd name="connsiteY5784" fmla="*/ 1208700 h 6072780"/>
                <a:gd name="connsiteX5785" fmla="*/ 11384780 w 12117871"/>
                <a:gd name="connsiteY5785" fmla="*/ 1431679 h 6072780"/>
                <a:gd name="connsiteX5786" fmla="*/ 11349492 w 12117871"/>
                <a:gd name="connsiteY5786" fmla="*/ 1431679 h 6072780"/>
                <a:gd name="connsiteX5787" fmla="*/ 11349492 w 12117871"/>
                <a:gd name="connsiteY5787" fmla="*/ 1251896 h 6072780"/>
                <a:gd name="connsiteX5788" fmla="*/ 11328883 w 12117871"/>
                <a:gd name="connsiteY5788" fmla="*/ 1263531 h 6072780"/>
                <a:gd name="connsiteX5789" fmla="*/ 11303710 w 12117871"/>
                <a:gd name="connsiteY5789" fmla="*/ 1271973 h 6072780"/>
                <a:gd name="connsiteX5790" fmla="*/ 11303710 w 12117871"/>
                <a:gd name="connsiteY5790" fmla="*/ 1241857 h 6072780"/>
                <a:gd name="connsiteX5791" fmla="*/ 11320745 w 12117871"/>
                <a:gd name="connsiteY5791" fmla="*/ 1235773 h 6072780"/>
                <a:gd name="connsiteX5792" fmla="*/ 11336944 w 12117871"/>
                <a:gd name="connsiteY5792" fmla="*/ 1228624 h 6072780"/>
                <a:gd name="connsiteX5793" fmla="*/ 11353067 w 12117871"/>
                <a:gd name="connsiteY5793" fmla="*/ 1219803 h 6072780"/>
                <a:gd name="connsiteX5794" fmla="*/ 11369874 w 12117871"/>
                <a:gd name="connsiteY5794" fmla="*/ 1208700 h 6072780"/>
                <a:gd name="connsiteX5795" fmla="*/ 10626916 w 12117871"/>
                <a:gd name="connsiteY5795" fmla="*/ 1208700 h 6072780"/>
                <a:gd name="connsiteX5796" fmla="*/ 10641822 w 12117871"/>
                <a:gd name="connsiteY5796" fmla="*/ 1208700 h 6072780"/>
                <a:gd name="connsiteX5797" fmla="*/ 10641822 w 12117871"/>
                <a:gd name="connsiteY5797" fmla="*/ 1431679 h 6072780"/>
                <a:gd name="connsiteX5798" fmla="*/ 10606534 w 12117871"/>
                <a:gd name="connsiteY5798" fmla="*/ 1431679 h 6072780"/>
                <a:gd name="connsiteX5799" fmla="*/ 10606534 w 12117871"/>
                <a:gd name="connsiteY5799" fmla="*/ 1251896 h 6072780"/>
                <a:gd name="connsiteX5800" fmla="*/ 10585925 w 12117871"/>
                <a:gd name="connsiteY5800" fmla="*/ 1263531 h 6072780"/>
                <a:gd name="connsiteX5801" fmla="*/ 10560752 w 12117871"/>
                <a:gd name="connsiteY5801" fmla="*/ 1271973 h 6072780"/>
                <a:gd name="connsiteX5802" fmla="*/ 10560752 w 12117871"/>
                <a:gd name="connsiteY5802" fmla="*/ 1241857 h 6072780"/>
                <a:gd name="connsiteX5803" fmla="*/ 10577787 w 12117871"/>
                <a:gd name="connsiteY5803" fmla="*/ 1235773 h 6072780"/>
                <a:gd name="connsiteX5804" fmla="*/ 10593986 w 12117871"/>
                <a:gd name="connsiteY5804" fmla="*/ 1228624 h 6072780"/>
                <a:gd name="connsiteX5805" fmla="*/ 10610109 w 12117871"/>
                <a:gd name="connsiteY5805" fmla="*/ 1219803 h 6072780"/>
                <a:gd name="connsiteX5806" fmla="*/ 10626916 w 12117871"/>
                <a:gd name="connsiteY5806" fmla="*/ 1208700 h 6072780"/>
                <a:gd name="connsiteX5807" fmla="*/ 10475787 w 12117871"/>
                <a:gd name="connsiteY5807" fmla="*/ 1208700 h 6072780"/>
                <a:gd name="connsiteX5808" fmla="*/ 10490693 w 12117871"/>
                <a:gd name="connsiteY5808" fmla="*/ 1208700 h 6072780"/>
                <a:gd name="connsiteX5809" fmla="*/ 10490693 w 12117871"/>
                <a:gd name="connsiteY5809" fmla="*/ 1431679 h 6072780"/>
                <a:gd name="connsiteX5810" fmla="*/ 10455405 w 12117871"/>
                <a:gd name="connsiteY5810" fmla="*/ 1431679 h 6072780"/>
                <a:gd name="connsiteX5811" fmla="*/ 10455405 w 12117871"/>
                <a:gd name="connsiteY5811" fmla="*/ 1251896 h 6072780"/>
                <a:gd name="connsiteX5812" fmla="*/ 10434796 w 12117871"/>
                <a:gd name="connsiteY5812" fmla="*/ 1263531 h 6072780"/>
                <a:gd name="connsiteX5813" fmla="*/ 10409623 w 12117871"/>
                <a:gd name="connsiteY5813" fmla="*/ 1271973 h 6072780"/>
                <a:gd name="connsiteX5814" fmla="*/ 10409623 w 12117871"/>
                <a:gd name="connsiteY5814" fmla="*/ 1241857 h 6072780"/>
                <a:gd name="connsiteX5815" fmla="*/ 10426658 w 12117871"/>
                <a:gd name="connsiteY5815" fmla="*/ 1235773 h 6072780"/>
                <a:gd name="connsiteX5816" fmla="*/ 10442857 w 12117871"/>
                <a:gd name="connsiteY5816" fmla="*/ 1228624 h 6072780"/>
                <a:gd name="connsiteX5817" fmla="*/ 10458980 w 12117871"/>
                <a:gd name="connsiteY5817" fmla="*/ 1219803 h 6072780"/>
                <a:gd name="connsiteX5818" fmla="*/ 10475787 w 12117871"/>
                <a:gd name="connsiteY5818" fmla="*/ 1208700 h 6072780"/>
                <a:gd name="connsiteX5819" fmla="*/ 10175840 w 12117871"/>
                <a:gd name="connsiteY5819" fmla="*/ 1208700 h 6072780"/>
                <a:gd name="connsiteX5820" fmla="*/ 10190746 w 12117871"/>
                <a:gd name="connsiteY5820" fmla="*/ 1208700 h 6072780"/>
                <a:gd name="connsiteX5821" fmla="*/ 10190746 w 12117871"/>
                <a:gd name="connsiteY5821" fmla="*/ 1431679 h 6072780"/>
                <a:gd name="connsiteX5822" fmla="*/ 10155458 w 12117871"/>
                <a:gd name="connsiteY5822" fmla="*/ 1431679 h 6072780"/>
                <a:gd name="connsiteX5823" fmla="*/ 10155458 w 12117871"/>
                <a:gd name="connsiteY5823" fmla="*/ 1251896 h 6072780"/>
                <a:gd name="connsiteX5824" fmla="*/ 10134849 w 12117871"/>
                <a:gd name="connsiteY5824" fmla="*/ 1263531 h 6072780"/>
                <a:gd name="connsiteX5825" fmla="*/ 10109676 w 12117871"/>
                <a:gd name="connsiteY5825" fmla="*/ 1271973 h 6072780"/>
                <a:gd name="connsiteX5826" fmla="*/ 10109676 w 12117871"/>
                <a:gd name="connsiteY5826" fmla="*/ 1241857 h 6072780"/>
                <a:gd name="connsiteX5827" fmla="*/ 10126711 w 12117871"/>
                <a:gd name="connsiteY5827" fmla="*/ 1235773 h 6072780"/>
                <a:gd name="connsiteX5828" fmla="*/ 10142910 w 12117871"/>
                <a:gd name="connsiteY5828" fmla="*/ 1228624 h 6072780"/>
                <a:gd name="connsiteX5829" fmla="*/ 10159033 w 12117871"/>
                <a:gd name="connsiteY5829" fmla="*/ 1219803 h 6072780"/>
                <a:gd name="connsiteX5830" fmla="*/ 10175840 w 12117871"/>
                <a:gd name="connsiteY5830" fmla="*/ 1208700 h 6072780"/>
                <a:gd name="connsiteX5831" fmla="*/ 9790812 w 12117871"/>
                <a:gd name="connsiteY5831" fmla="*/ 1208700 h 6072780"/>
                <a:gd name="connsiteX5832" fmla="*/ 9805718 w 12117871"/>
                <a:gd name="connsiteY5832" fmla="*/ 1208700 h 6072780"/>
                <a:gd name="connsiteX5833" fmla="*/ 9805718 w 12117871"/>
                <a:gd name="connsiteY5833" fmla="*/ 1431679 h 6072780"/>
                <a:gd name="connsiteX5834" fmla="*/ 9770430 w 12117871"/>
                <a:gd name="connsiteY5834" fmla="*/ 1431679 h 6072780"/>
                <a:gd name="connsiteX5835" fmla="*/ 9770430 w 12117871"/>
                <a:gd name="connsiteY5835" fmla="*/ 1251896 h 6072780"/>
                <a:gd name="connsiteX5836" fmla="*/ 9749821 w 12117871"/>
                <a:gd name="connsiteY5836" fmla="*/ 1263531 h 6072780"/>
                <a:gd name="connsiteX5837" fmla="*/ 9724648 w 12117871"/>
                <a:gd name="connsiteY5837" fmla="*/ 1271973 h 6072780"/>
                <a:gd name="connsiteX5838" fmla="*/ 9724648 w 12117871"/>
                <a:gd name="connsiteY5838" fmla="*/ 1241857 h 6072780"/>
                <a:gd name="connsiteX5839" fmla="*/ 9741683 w 12117871"/>
                <a:gd name="connsiteY5839" fmla="*/ 1235773 h 6072780"/>
                <a:gd name="connsiteX5840" fmla="*/ 9757882 w 12117871"/>
                <a:gd name="connsiteY5840" fmla="*/ 1228624 h 6072780"/>
                <a:gd name="connsiteX5841" fmla="*/ 9774005 w 12117871"/>
                <a:gd name="connsiteY5841" fmla="*/ 1219803 h 6072780"/>
                <a:gd name="connsiteX5842" fmla="*/ 9790812 w 12117871"/>
                <a:gd name="connsiteY5842" fmla="*/ 1208700 h 6072780"/>
                <a:gd name="connsiteX5843" fmla="*/ 9639683 w 12117871"/>
                <a:gd name="connsiteY5843" fmla="*/ 1208700 h 6072780"/>
                <a:gd name="connsiteX5844" fmla="*/ 9654589 w 12117871"/>
                <a:gd name="connsiteY5844" fmla="*/ 1208700 h 6072780"/>
                <a:gd name="connsiteX5845" fmla="*/ 9654589 w 12117871"/>
                <a:gd name="connsiteY5845" fmla="*/ 1431679 h 6072780"/>
                <a:gd name="connsiteX5846" fmla="*/ 9619301 w 12117871"/>
                <a:gd name="connsiteY5846" fmla="*/ 1431679 h 6072780"/>
                <a:gd name="connsiteX5847" fmla="*/ 9619301 w 12117871"/>
                <a:gd name="connsiteY5847" fmla="*/ 1251896 h 6072780"/>
                <a:gd name="connsiteX5848" fmla="*/ 9598692 w 12117871"/>
                <a:gd name="connsiteY5848" fmla="*/ 1263531 h 6072780"/>
                <a:gd name="connsiteX5849" fmla="*/ 9573519 w 12117871"/>
                <a:gd name="connsiteY5849" fmla="*/ 1271973 h 6072780"/>
                <a:gd name="connsiteX5850" fmla="*/ 9573519 w 12117871"/>
                <a:gd name="connsiteY5850" fmla="*/ 1241857 h 6072780"/>
                <a:gd name="connsiteX5851" fmla="*/ 9590554 w 12117871"/>
                <a:gd name="connsiteY5851" fmla="*/ 1235773 h 6072780"/>
                <a:gd name="connsiteX5852" fmla="*/ 9606753 w 12117871"/>
                <a:gd name="connsiteY5852" fmla="*/ 1228624 h 6072780"/>
                <a:gd name="connsiteX5853" fmla="*/ 9622876 w 12117871"/>
                <a:gd name="connsiteY5853" fmla="*/ 1219803 h 6072780"/>
                <a:gd name="connsiteX5854" fmla="*/ 9639683 w 12117871"/>
                <a:gd name="connsiteY5854" fmla="*/ 1208700 h 6072780"/>
                <a:gd name="connsiteX5855" fmla="*/ 9489710 w 12117871"/>
                <a:gd name="connsiteY5855" fmla="*/ 1208700 h 6072780"/>
                <a:gd name="connsiteX5856" fmla="*/ 9504616 w 12117871"/>
                <a:gd name="connsiteY5856" fmla="*/ 1208700 h 6072780"/>
                <a:gd name="connsiteX5857" fmla="*/ 9504616 w 12117871"/>
                <a:gd name="connsiteY5857" fmla="*/ 1431679 h 6072780"/>
                <a:gd name="connsiteX5858" fmla="*/ 9469328 w 12117871"/>
                <a:gd name="connsiteY5858" fmla="*/ 1431679 h 6072780"/>
                <a:gd name="connsiteX5859" fmla="*/ 9469328 w 12117871"/>
                <a:gd name="connsiteY5859" fmla="*/ 1251896 h 6072780"/>
                <a:gd name="connsiteX5860" fmla="*/ 9448719 w 12117871"/>
                <a:gd name="connsiteY5860" fmla="*/ 1263531 h 6072780"/>
                <a:gd name="connsiteX5861" fmla="*/ 9423546 w 12117871"/>
                <a:gd name="connsiteY5861" fmla="*/ 1271973 h 6072780"/>
                <a:gd name="connsiteX5862" fmla="*/ 9423546 w 12117871"/>
                <a:gd name="connsiteY5862" fmla="*/ 1241857 h 6072780"/>
                <a:gd name="connsiteX5863" fmla="*/ 9440581 w 12117871"/>
                <a:gd name="connsiteY5863" fmla="*/ 1235773 h 6072780"/>
                <a:gd name="connsiteX5864" fmla="*/ 9456780 w 12117871"/>
                <a:gd name="connsiteY5864" fmla="*/ 1228624 h 6072780"/>
                <a:gd name="connsiteX5865" fmla="*/ 9472903 w 12117871"/>
                <a:gd name="connsiteY5865" fmla="*/ 1219803 h 6072780"/>
                <a:gd name="connsiteX5866" fmla="*/ 9489710 w 12117871"/>
                <a:gd name="connsiteY5866" fmla="*/ 1208700 h 6072780"/>
                <a:gd name="connsiteX5867" fmla="*/ 9339737 w 12117871"/>
                <a:gd name="connsiteY5867" fmla="*/ 1208700 h 6072780"/>
                <a:gd name="connsiteX5868" fmla="*/ 9354643 w 12117871"/>
                <a:gd name="connsiteY5868" fmla="*/ 1208700 h 6072780"/>
                <a:gd name="connsiteX5869" fmla="*/ 9354643 w 12117871"/>
                <a:gd name="connsiteY5869" fmla="*/ 1431679 h 6072780"/>
                <a:gd name="connsiteX5870" fmla="*/ 9319355 w 12117871"/>
                <a:gd name="connsiteY5870" fmla="*/ 1431679 h 6072780"/>
                <a:gd name="connsiteX5871" fmla="*/ 9319355 w 12117871"/>
                <a:gd name="connsiteY5871" fmla="*/ 1251896 h 6072780"/>
                <a:gd name="connsiteX5872" fmla="*/ 9298746 w 12117871"/>
                <a:gd name="connsiteY5872" fmla="*/ 1263531 h 6072780"/>
                <a:gd name="connsiteX5873" fmla="*/ 9273573 w 12117871"/>
                <a:gd name="connsiteY5873" fmla="*/ 1271973 h 6072780"/>
                <a:gd name="connsiteX5874" fmla="*/ 9273573 w 12117871"/>
                <a:gd name="connsiteY5874" fmla="*/ 1241857 h 6072780"/>
                <a:gd name="connsiteX5875" fmla="*/ 9290608 w 12117871"/>
                <a:gd name="connsiteY5875" fmla="*/ 1235773 h 6072780"/>
                <a:gd name="connsiteX5876" fmla="*/ 9306807 w 12117871"/>
                <a:gd name="connsiteY5876" fmla="*/ 1228624 h 6072780"/>
                <a:gd name="connsiteX5877" fmla="*/ 9322930 w 12117871"/>
                <a:gd name="connsiteY5877" fmla="*/ 1219803 h 6072780"/>
                <a:gd name="connsiteX5878" fmla="*/ 9339737 w 12117871"/>
                <a:gd name="connsiteY5878" fmla="*/ 1208700 h 6072780"/>
                <a:gd name="connsiteX5879" fmla="*/ 9139344 w 12117871"/>
                <a:gd name="connsiteY5879" fmla="*/ 1208700 h 6072780"/>
                <a:gd name="connsiteX5880" fmla="*/ 9210511 w 12117871"/>
                <a:gd name="connsiteY5880" fmla="*/ 1319287 h 6072780"/>
                <a:gd name="connsiteX5881" fmla="*/ 9190425 w 12117871"/>
                <a:gd name="connsiteY5881" fmla="*/ 1402866 h 6072780"/>
                <a:gd name="connsiteX5882" fmla="*/ 9134228 w 12117871"/>
                <a:gd name="connsiteY5882" fmla="*/ 1431679 h 6072780"/>
                <a:gd name="connsiteX5883" fmla="*/ 9081643 w 12117871"/>
                <a:gd name="connsiteY5883" fmla="*/ 1404145 h 6072780"/>
                <a:gd name="connsiteX5884" fmla="*/ 9062760 w 12117871"/>
                <a:gd name="connsiteY5884" fmla="*/ 1324553 h 6072780"/>
                <a:gd name="connsiteX5885" fmla="*/ 9082470 w 12117871"/>
                <a:gd name="connsiteY5885" fmla="*/ 1238039 h 6072780"/>
                <a:gd name="connsiteX5886" fmla="*/ 9139344 w 12117871"/>
                <a:gd name="connsiteY5886" fmla="*/ 1208700 h 6072780"/>
                <a:gd name="connsiteX5887" fmla="*/ 9008268 w 12117871"/>
                <a:gd name="connsiteY5887" fmla="*/ 1208700 h 6072780"/>
                <a:gd name="connsiteX5888" fmla="*/ 9023174 w 12117871"/>
                <a:gd name="connsiteY5888" fmla="*/ 1208700 h 6072780"/>
                <a:gd name="connsiteX5889" fmla="*/ 9023174 w 12117871"/>
                <a:gd name="connsiteY5889" fmla="*/ 1431679 h 6072780"/>
                <a:gd name="connsiteX5890" fmla="*/ 8987886 w 12117871"/>
                <a:gd name="connsiteY5890" fmla="*/ 1431679 h 6072780"/>
                <a:gd name="connsiteX5891" fmla="*/ 8987886 w 12117871"/>
                <a:gd name="connsiteY5891" fmla="*/ 1251896 h 6072780"/>
                <a:gd name="connsiteX5892" fmla="*/ 8967277 w 12117871"/>
                <a:gd name="connsiteY5892" fmla="*/ 1263531 h 6072780"/>
                <a:gd name="connsiteX5893" fmla="*/ 8942104 w 12117871"/>
                <a:gd name="connsiteY5893" fmla="*/ 1271973 h 6072780"/>
                <a:gd name="connsiteX5894" fmla="*/ 8942104 w 12117871"/>
                <a:gd name="connsiteY5894" fmla="*/ 1241857 h 6072780"/>
                <a:gd name="connsiteX5895" fmla="*/ 8959139 w 12117871"/>
                <a:gd name="connsiteY5895" fmla="*/ 1235773 h 6072780"/>
                <a:gd name="connsiteX5896" fmla="*/ 8975338 w 12117871"/>
                <a:gd name="connsiteY5896" fmla="*/ 1228624 h 6072780"/>
                <a:gd name="connsiteX5897" fmla="*/ 8991461 w 12117871"/>
                <a:gd name="connsiteY5897" fmla="*/ 1219803 h 6072780"/>
                <a:gd name="connsiteX5898" fmla="*/ 9008268 w 12117871"/>
                <a:gd name="connsiteY5898" fmla="*/ 1208700 h 6072780"/>
                <a:gd name="connsiteX5899" fmla="*/ 8797587 w 12117871"/>
                <a:gd name="connsiteY5899" fmla="*/ 1208700 h 6072780"/>
                <a:gd name="connsiteX5900" fmla="*/ 8868754 w 12117871"/>
                <a:gd name="connsiteY5900" fmla="*/ 1319287 h 6072780"/>
                <a:gd name="connsiteX5901" fmla="*/ 8848668 w 12117871"/>
                <a:gd name="connsiteY5901" fmla="*/ 1402866 h 6072780"/>
                <a:gd name="connsiteX5902" fmla="*/ 8792471 w 12117871"/>
                <a:gd name="connsiteY5902" fmla="*/ 1431679 h 6072780"/>
                <a:gd name="connsiteX5903" fmla="*/ 8739886 w 12117871"/>
                <a:gd name="connsiteY5903" fmla="*/ 1404145 h 6072780"/>
                <a:gd name="connsiteX5904" fmla="*/ 8721003 w 12117871"/>
                <a:gd name="connsiteY5904" fmla="*/ 1324553 h 6072780"/>
                <a:gd name="connsiteX5905" fmla="*/ 8740713 w 12117871"/>
                <a:gd name="connsiteY5905" fmla="*/ 1238039 h 6072780"/>
                <a:gd name="connsiteX5906" fmla="*/ 8797587 w 12117871"/>
                <a:gd name="connsiteY5906" fmla="*/ 1208700 h 6072780"/>
                <a:gd name="connsiteX5907" fmla="*/ 8096185 w 12117871"/>
                <a:gd name="connsiteY5907" fmla="*/ 1208700 h 6072780"/>
                <a:gd name="connsiteX5908" fmla="*/ 8167352 w 12117871"/>
                <a:gd name="connsiteY5908" fmla="*/ 1319287 h 6072780"/>
                <a:gd name="connsiteX5909" fmla="*/ 8147266 w 12117871"/>
                <a:gd name="connsiteY5909" fmla="*/ 1402866 h 6072780"/>
                <a:gd name="connsiteX5910" fmla="*/ 8091069 w 12117871"/>
                <a:gd name="connsiteY5910" fmla="*/ 1431679 h 6072780"/>
                <a:gd name="connsiteX5911" fmla="*/ 8038484 w 12117871"/>
                <a:gd name="connsiteY5911" fmla="*/ 1404145 h 6072780"/>
                <a:gd name="connsiteX5912" fmla="*/ 8019601 w 12117871"/>
                <a:gd name="connsiteY5912" fmla="*/ 1324553 h 6072780"/>
                <a:gd name="connsiteX5913" fmla="*/ 8039311 w 12117871"/>
                <a:gd name="connsiteY5913" fmla="*/ 1238039 h 6072780"/>
                <a:gd name="connsiteX5914" fmla="*/ 8096185 w 12117871"/>
                <a:gd name="connsiteY5914" fmla="*/ 1208700 h 6072780"/>
                <a:gd name="connsiteX5915" fmla="*/ 7717024 w 12117871"/>
                <a:gd name="connsiteY5915" fmla="*/ 1208700 h 6072780"/>
                <a:gd name="connsiteX5916" fmla="*/ 7731930 w 12117871"/>
                <a:gd name="connsiteY5916" fmla="*/ 1208700 h 6072780"/>
                <a:gd name="connsiteX5917" fmla="*/ 7731930 w 12117871"/>
                <a:gd name="connsiteY5917" fmla="*/ 1431679 h 6072780"/>
                <a:gd name="connsiteX5918" fmla="*/ 7696642 w 12117871"/>
                <a:gd name="connsiteY5918" fmla="*/ 1431679 h 6072780"/>
                <a:gd name="connsiteX5919" fmla="*/ 7696642 w 12117871"/>
                <a:gd name="connsiteY5919" fmla="*/ 1251896 h 6072780"/>
                <a:gd name="connsiteX5920" fmla="*/ 7676033 w 12117871"/>
                <a:gd name="connsiteY5920" fmla="*/ 1263531 h 6072780"/>
                <a:gd name="connsiteX5921" fmla="*/ 7650860 w 12117871"/>
                <a:gd name="connsiteY5921" fmla="*/ 1271973 h 6072780"/>
                <a:gd name="connsiteX5922" fmla="*/ 7650860 w 12117871"/>
                <a:gd name="connsiteY5922" fmla="*/ 1241857 h 6072780"/>
                <a:gd name="connsiteX5923" fmla="*/ 7667895 w 12117871"/>
                <a:gd name="connsiteY5923" fmla="*/ 1235773 h 6072780"/>
                <a:gd name="connsiteX5924" fmla="*/ 7684094 w 12117871"/>
                <a:gd name="connsiteY5924" fmla="*/ 1228624 h 6072780"/>
                <a:gd name="connsiteX5925" fmla="*/ 7700217 w 12117871"/>
                <a:gd name="connsiteY5925" fmla="*/ 1219803 h 6072780"/>
                <a:gd name="connsiteX5926" fmla="*/ 7717024 w 12117871"/>
                <a:gd name="connsiteY5926" fmla="*/ 1208700 h 6072780"/>
                <a:gd name="connsiteX5927" fmla="*/ 7355082 w 12117871"/>
                <a:gd name="connsiteY5927" fmla="*/ 1208700 h 6072780"/>
                <a:gd name="connsiteX5928" fmla="*/ 7369988 w 12117871"/>
                <a:gd name="connsiteY5928" fmla="*/ 1208700 h 6072780"/>
                <a:gd name="connsiteX5929" fmla="*/ 7369988 w 12117871"/>
                <a:gd name="connsiteY5929" fmla="*/ 1431679 h 6072780"/>
                <a:gd name="connsiteX5930" fmla="*/ 7334700 w 12117871"/>
                <a:gd name="connsiteY5930" fmla="*/ 1431679 h 6072780"/>
                <a:gd name="connsiteX5931" fmla="*/ 7334700 w 12117871"/>
                <a:gd name="connsiteY5931" fmla="*/ 1251896 h 6072780"/>
                <a:gd name="connsiteX5932" fmla="*/ 7314091 w 12117871"/>
                <a:gd name="connsiteY5932" fmla="*/ 1263531 h 6072780"/>
                <a:gd name="connsiteX5933" fmla="*/ 7288918 w 12117871"/>
                <a:gd name="connsiteY5933" fmla="*/ 1271973 h 6072780"/>
                <a:gd name="connsiteX5934" fmla="*/ 7288918 w 12117871"/>
                <a:gd name="connsiteY5934" fmla="*/ 1241857 h 6072780"/>
                <a:gd name="connsiteX5935" fmla="*/ 7305953 w 12117871"/>
                <a:gd name="connsiteY5935" fmla="*/ 1235773 h 6072780"/>
                <a:gd name="connsiteX5936" fmla="*/ 7322152 w 12117871"/>
                <a:gd name="connsiteY5936" fmla="*/ 1228624 h 6072780"/>
                <a:gd name="connsiteX5937" fmla="*/ 7338275 w 12117871"/>
                <a:gd name="connsiteY5937" fmla="*/ 1219803 h 6072780"/>
                <a:gd name="connsiteX5938" fmla="*/ 7355082 w 12117871"/>
                <a:gd name="connsiteY5938" fmla="*/ 1208700 h 6072780"/>
                <a:gd name="connsiteX5939" fmla="*/ 7055136 w 12117871"/>
                <a:gd name="connsiteY5939" fmla="*/ 1208700 h 6072780"/>
                <a:gd name="connsiteX5940" fmla="*/ 7070042 w 12117871"/>
                <a:gd name="connsiteY5940" fmla="*/ 1208700 h 6072780"/>
                <a:gd name="connsiteX5941" fmla="*/ 7070042 w 12117871"/>
                <a:gd name="connsiteY5941" fmla="*/ 1431679 h 6072780"/>
                <a:gd name="connsiteX5942" fmla="*/ 7034754 w 12117871"/>
                <a:gd name="connsiteY5942" fmla="*/ 1431679 h 6072780"/>
                <a:gd name="connsiteX5943" fmla="*/ 7034754 w 12117871"/>
                <a:gd name="connsiteY5943" fmla="*/ 1251896 h 6072780"/>
                <a:gd name="connsiteX5944" fmla="*/ 7014145 w 12117871"/>
                <a:gd name="connsiteY5944" fmla="*/ 1263531 h 6072780"/>
                <a:gd name="connsiteX5945" fmla="*/ 6988972 w 12117871"/>
                <a:gd name="connsiteY5945" fmla="*/ 1271973 h 6072780"/>
                <a:gd name="connsiteX5946" fmla="*/ 6988972 w 12117871"/>
                <a:gd name="connsiteY5946" fmla="*/ 1241857 h 6072780"/>
                <a:gd name="connsiteX5947" fmla="*/ 7006007 w 12117871"/>
                <a:gd name="connsiteY5947" fmla="*/ 1235773 h 6072780"/>
                <a:gd name="connsiteX5948" fmla="*/ 7022206 w 12117871"/>
                <a:gd name="connsiteY5948" fmla="*/ 1228624 h 6072780"/>
                <a:gd name="connsiteX5949" fmla="*/ 7038329 w 12117871"/>
                <a:gd name="connsiteY5949" fmla="*/ 1219803 h 6072780"/>
                <a:gd name="connsiteX5950" fmla="*/ 7055136 w 12117871"/>
                <a:gd name="connsiteY5950" fmla="*/ 1208700 h 6072780"/>
                <a:gd name="connsiteX5951" fmla="*/ 6837696 w 12117871"/>
                <a:gd name="connsiteY5951" fmla="*/ 1208700 h 6072780"/>
                <a:gd name="connsiteX5952" fmla="*/ 6908863 w 12117871"/>
                <a:gd name="connsiteY5952" fmla="*/ 1319287 h 6072780"/>
                <a:gd name="connsiteX5953" fmla="*/ 6888777 w 12117871"/>
                <a:gd name="connsiteY5953" fmla="*/ 1402866 h 6072780"/>
                <a:gd name="connsiteX5954" fmla="*/ 6832580 w 12117871"/>
                <a:gd name="connsiteY5954" fmla="*/ 1431679 h 6072780"/>
                <a:gd name="connsiteX5955" fmla="*/ 6779995 w 12117871"/>
                <a:gd name="connsiteY5955" fmla="*/ 1404145 h 6072780"/>
                <a:gd name="connsiteX5956" fmla="*/ 6761112 w 12117871"/>
                <a:gd name="connsiteY5956" fmla="*/ 1324553 h 6072780"/>
                <a:gd name="connsiteX5957" fmla="*/ 6780822 w 12117871"/>
                <a:gd name="connsiteY5957" fmla="*/ 1238039 h 6072780"/>
                <a:gd name="connsiteX5958" fmla="*/ 6837696 w 12117871"/>
                <a:gd name="connsiteY5958" fmla="*/ 1208700 h 6072780"/>
                <a:gd name="connsiteX5959" fmla="*/ 6624602 w 12117871"/>
                <a:gd name="connsiteY5959" fmla="*/ 1208700 h 6072780"/>
                <a:gd name="connsiteX5960" fmla="*/ 6695769 w 12117871"/>
                <a:gd name="connsiteY5960" fmla="*/ 1319287 h 6072780"/>
                <a:gd name="connsiteX5961" fmla="*/ 6675683 w 12117871"/>
                <a:gd name="connsiteY5961" fmla="*/ 1402866 h 6072780"/>
                <a:gd name="connsiteX5962" fmla="*/ 6619486 w 12117871"/>
                <a:gd name="connsiteY5962" fmla="*/ 1431679 h 6072780"/>
                <a:gd name="connsiteX5963" fmla="*/ 6566901 w 12117871"/>
                <a:gd name="connsiteY5963" fmla="*/ 1404145 h 6072780"/>
                <a:gd name="connsiteX5964" fmla="*/ 6548018 w 12117871"/>
                <a:gd name="connsiteY5964" fmla="*/ 1324553 h 6072780"/>
                <a:gd name="connsiteX5965" fmla="*/ 6567728 w 12117871"/>
                <a:gd name="connsiteY5965" fmla="*/ 1238039 h 6072780"/>
                <a:gd name="connsiteX5966" fmla="*/ 6624602 w 12117871"/>
                <a:gd name="connsiteY5966" fmla="*/ 1208700 h 6072780"/>
                <a:gd name="connsiteX5967" fmla="*/ 6463053 w 12117871"/>
                <a:gd name="connsiteY5967" fmla="*/ 1208700 h 6072780"/>
                <a:gd name="connsiteX5968" fmla="*/ 6477959 w 12117871"/>
                <a:gd name="connsiteY5968" fmla="*/ 1208700 h 6072780"/>
                <a:gd name="connsiteX5969" fmla="*/ 6477959 w 12117871"/>
                <a:gd name="connsiteY5969" fmla="*/ 1431679 h 6072780"/>
                <a:gd name="connsiteX5970" fmla="*/ 6442671 w 12117871"/>
                <a:gd name="connsiteY5970" fmla="*/ 1431679 h 6072780"/>
                <a:gd name="connsiteX5971" fmla="*/ 6442671 w 12117871"/>
                <a:gd name="connsiteY5971" fmla="*/ 1251896 h 6072780"/>
                <a:gd name="connsiteX5972" fmla="*/ 6422062 w 12117871"/>
                <a:gd name="connsiteY5972" fmla="*/ 1263531 h 6072780"/>
                <a:gd name="connsiteX5973" fmla="*/ 6396889 w 12117871"/>
                <a:gd name="connsiteY5973" fmla="*/ 1271973 h 6072780"/>
                <a:gd name="connsiteX5974" fmla="*/ 6396889 w 12117871"/>
                <a:gd name="connsiteY5974" fmla="*/ 1241857 h 6072780"/>
                <a:gd name="connsiteX5975" fmla="*/ 6413924 w 12117871"/>
                <a:gd name="connsiteY5975" fmla="*/ 1235773 h 6072780"/>
                <a:gd name="connsiteX5976" fmla="*/ 6430123 w 12117871"/>
                <a:gd name="connsiteY5976" fmla="*/ 1228624 h 6072780"/>
                <a:gd name="connsiteX5977" fmla="*/ 6446246 w 12117871"/>
                <a:gd name="connsiteY5977" fmla="*/ 1219803 h 6072780"/>
                <a:gd name="connsiteX5978" fmla="*/ 6463053 w 12117871"/>
                <a:gd name="connsiteY5978" fmla="*/ 1208700 h 6072780"/>
                <a:gd name="connsiteX5979" fmla="*/ 6163107 w 12117871"/>
                <a:gd name="connsiteY5979" fmla="*/ 1208700 h 6072780"/>
                <a:gd name="connsiteX5980" fmla="*/ 6178013 w 12117871"/>
                <a:gd name="connsiteY5980" fmla="*/ 1208700 h 6072780"/>
                <a:gd name="connsiteX5981" fmla="*/ 6178013 w 12117871"/>
                <a:gd name="connsiteY5981" fmla="*/ 1431679 h 6072780"/>
                <a:gd name="connsiteX5982" fmla="*/ 6142725 w 12117871"/>
                <a:gd name="connsiteY5982" fmla="*/ 1431679 h 6072780"/>
                <a:gd name="connsiteX5983" fmla="*/ 6142725 w 12117871"/>
                <a:gd name="connsiteY5983" fmla="*/ 1251896 h 6072780"/>
                <a:gd name="connsiteX5984" fmla="*/ 6122116 w 12117871"/>
                <a:gd name="connsiteY5984" fmla="*/ 1263531 h 6072780"/>
                <a:gd name="connsiteX5985" fmla="*/ 6096943 w 12117871"/>
                <a:gd name="connsiteY5985" fmla="*/ 1271973 h 6072780"/>
                <a:gd name="connsiteX5986" fmla="*/ 6096943 w 12117871"/>
                <a:gd name="connsiteY5986" fmla="*/ 1241857 h 6072780"/>
                <a:gd name="connsiteX5987" fmla="*/ 6113978 w 12117871"/>
                <a:gd name="connsiteY5987" fmla="*/ 1235773 h 6072780"/>
                <a:gd name="connsiteX5988" fmla="*/ 6130177 w 12117871"/>
                <a:gd name="connsiteY5988" fmla="*/ 1228624 h 6072780"/>
                <a:gd name="connsiteX5989" fmla="*/ 6146300 w 12117871"/>
                <a:gd name="connsiteY5989" fmla="*/ 1219803 h 6072780"/>
                <a:gd name="connsiteX5990" fmla="*/ 6163107 w 12117871"/>
                <a:gd name="connsiteY5990" fmla="*/ 1208700 h 6072780"/>
                <a:gd name="connsiteX5991" fmla="*/ 5979578 w 12117871"/>
                <a:gd name="connsiteY5991" fmla="*/ 1208700 h 6072780"/>
                <a:gd name="connsiteX5992" fmla="*/ 5994484 w 12117871"/>
                <a:gd name="connsiteY5992" fmla="*/ 1208700 h 6072780"/>
                <a:gd name="connsiteX5993" fmla="*/ 5994484 w 12117871"/>
                <a:gd name="connsiteY5993" fmla="*/ 1431679 h 6072780"/>
                <a:gd name="connsiteX5994" fmla="*/ 5959196 w 12117871"/>
                <a:gd name="connsiteY5994" fmla="*/ 1431679 h 6072780"/>
                <a:gd name="connsiteX5995" fmla="*/ 5959196 w 12117871"/>
                <a:gd name="connsiteY5995" fmla="*/ 1251896 h 6072780"/>
                <a:gd name="connsiteX5996" fmla="*/ 5938587 w 12117871"/>
                <a:gd name="connsiteY5996" fmla="*/ 1263531 h 6072780"/>
                <a:gd name="connsiteX5997" fmla="*/ 5913415 w 12117871"/>
                <a:gd name="connsiteY5997" fmla="*/ 1271973 h 6072780"/>
                <a:gd name="connsiteX5998" fmla="*/ 5913415 w 12117871"/>
                <a:gd name="connsiteY5998" fmla="*/ 1241857 h 6072780"/>
                <a:gd name="connsiteX5999" fmla="*/ 5930450 w 12117871"/>
                <a:gd name="connsiteY5999" fmla="*/ 1235773 h 6072780"/>
                <a:gd name="connsiteX6000" fmla="*/ 5946648 w 12117871"/>
                <a:gd name="connsiteY6000" fmla="*/ 1228624 h 6072780"/>
                <a:gd name="connsiteX6001" fmla="*/ 5962771 w 12117871"/>
                <a:gd name="connsiteY6001" fmla="*/ 1219803 h 6072780"/>
                <a:gd name="connsiteX6002" fmla="*/ 5979578 w 12117871"/>
                <a:gd name="connsiteY6002" fmla="*/ 1208700 h 6072780"/>
                <a:gd name="connsiteX6003" fmla="*/ 5611916 w 12117871"/>
                <a:gd name="connsiteY6003" fmla="*/ 1208700 h 6072780"/>
                <a:gd name="connsiteX6004" fmla="*/ 5626822 w 12117871"/>
                <a:gd name="connsiteY6004" fmla="*/ 1208700 h 6072780"/>
                <a:gd name="connsiteX6005" fmla="*/ 5626822 w 12117871"/>
                <a:gd name="connsiteY6005" fmla="*/ 1431679 h 6072780"/>
                <a:gd name="connsiteX6006" fmla="*/ 5591534 w 12117871"/>
                <a:gd name="connsiteY6006" fmla="*/ 1431679 h 6072780"/>
                <a:gd name="connsiteX6007" fmla="*/ 5591534 w 12117871"/>
                <a:gd name="connsiteY6007" fmla="*/ 1251896 h 6072780"/>
                <a:gd name="connsiteX6008" fmla="*/ 5570926 w 12117871"/>
                <a:gd name="connsiteY6008" fmla="*/ 1263531 h 6072780"/>
                <a:gd name="connsiteX6009" fmla="*/ 5545753 w 12117871"/>
                <a:gd name="connsiteY6009" fmla="*/ 1271973 h 6072780"/>
                <a:gd name="connsiteX6010" fmla="*/ 5545753 w 12117871"/>
                <a:gd name="connsiteY6010" fmla="*/ 1241857 h 6072780"/>
                <a:gd name="connsiteX6011" fmla="*/ 5562787 w 12117871"/>
                <a:gd name="connsiteY6011" fmla="*/ 1235773 h 6072780"/>
                <a:gd name="connsiteX6012" fmla="*/ 5578987 w 12117871"/>
                <a:gd name="connsiteY6012" fmla="*/ 1228624 h 6072780"/>
                <a:gd name="connsiteX6013" fmla="*/ 5595109 w 12117871"/>
                <a:gd name="connsiteY6013" fmla="*/ 1219803 h 6072780"/>
                <a:gd name="connsiteX6014" fmla="*/ 5611916 w 12117871"/>
                <a:gd name="connsiteY6014" fmla="*/ 1208700 h 6072780"/>
                <a:gd name="connsiteX6015" fmla="*/ 5461944 w 12117871"/>
                <a:gd name="connsiteY6015" fmla="*/ 1208700 h 6072780"/>
                <a:gd name="connsiteX6016" fmla="*/ 5476850 w 12117871"/>
                <a:gd name="connsiteY6016" fmla="*/ 1208700 h 6072780"/>
                <a:gd name="connsiteX6017" fmla="*/ 5476850 w 12117871"/>
                <a:gd name="connsiteY6017" fmla="*/ 1431679 h 6072780"/>
                <a:gd name="connsiteX6018" fmla="*/ 5441562 w 12117871"/>
                <a:gd name="connsiteY6018" fmla="*/ 1431679 h 6072780"/>
                <a:gd name="connsiteX6019" fmla="*/ 5441562 w 12117871"/>
                <a:gd name="connsiteY6019" fmla="*/ 1251896 h 6072780"/>
                <a:gd name="connsiteX6020" fmla="*/ 5420952 w 12117871"/>
                <a:gd name="connsiteY6020" fmla="*/ 1263531 h 6072780"/>
                <a:gd name="connsiteX6021" fmla="*/ 5395779 w 12117871"/>
                <a:gd name="connsiteY6021" fmla="*/ 1271973 h 6072780"/>
                <a:gd name="connsiteX6022" fmla="*/ 5395779 w 12117871"/>
                <a:gd name="connsiteY6022" fmla="*/ 1241857 h 6072780"/>
                <a:gd name="connsiteX6023" fmla="*/ 5412815 w 12117871"/>
                <a:gd name="connsiteY6023" fmla="*/ 1235773 h 6072780"/>
                <a:gd name="connsiteX6024" fmla="*/ 5429013 w 12117871"/>
                <a:gd name="connsiteY6024" fmla="*/ 1228624 h 6072780"/>
                <a:gd name="connsiteX6025" fmla="*/ 5445137 w 12117871"/>
                <a:gd name="connsiteY6025" fmla="*/ 1219803 h 6072780"/>
                <a:gd name="connsiteX6026" fmla="*/ 5461944 w 12117871"/>
                <a:gd name="connsiteY6026" fmla="*/ 1208700 h 6072780"/>
                <a:gd name="connsiteX6027" fmla="*/ 5311970 w 12117871"/>
                <a:gd name="connsiteY6027" fmla="*/ 1208700 h 6072780"/>
                <a:gd name="connsiteX6028" fmla="*/ 5326877 w 12117871"/>
                <a:gd name="connsiteY6028" fmla="*/ 1208700 h 6072780"/>
                <a:gd name="connsiteX6029" fmla="*/ 5326877 w 12117871"/>
                <a:gd name="connsiteY6029" fmla="*/ 1431679 h 6072780"/>
                <a:gd name="connsiteX6030" fmla="*/ 5291589 w 12117871"/>
                <a:gd name="connsiteY6030" fmla="*/ 1431679 h 6072780"/>
                <a:gd name="connsiteX6031" fmla="*/ 5291589 w 12117871"/>
                <a:gd name="connsiteY6031" fmla="*/ 1251896 h 6072780"/>
                <a:gd name="connsiteX6032" fmla="*/ 5270980 w 12117871"/>
                <a:gd name="connsiteY6032" fmla="*/ 1263531 h 6072780"/>
                <a:gd name="connsiteX6033" fmla="*/ 5245806 w 12117871"/>
                <a:gd name="connsiteY6033" fmla="*/ 1271973 h 6072780"/>
                <a:gd name="connsiteX6034" fmla="*/ 5245806 w 12117871"/>
                <a:gd name="connsiteY6034" fmla="*/ 1241857 h 6072780"/>
                <a:gd name="connsiteX6035" fmla="*/ 5262841 w 12117871"/>
                <a:gd name="connsiteY6035" fmla="*/ 1235773 h 6072780"/>
                <a:gd name="connsiteX6036" fmla="*/ 5279041 w 12117871"/>
                <a:gd name="connsiteY6036" fmla="*/ 1228624 h 6072780"/>
                <a:gd name="connsiteX6037" fmla="*/ 5295163 w 12117871"/>
                <a:gd name="connsiteY6037" fmla="*/ 1219803 h 6072780"/>
                <a:gd name="connsiteX6038" fmla="*/ 5311970 w 12117871"/>
                <a:gd name="connsiteY6038" fmla="*/ 1208700 h 6072780"/>
                <a:gd name="connsiteX6039" fmla="*/ 4563292 w 12117871"/>
                <a:gd name="connsiteY6039" fmla="*/ 1208700 h 6072780"/>
                <a:gd name="connsiteX6040" fmla="*/ 4578199 w 12117871"/>
                <a:gd name="connsiteY6040" fmla="*/ 1208700 h 6072780"/>
                <a:gd name="connsiteX6041" fmla="*/ 4578199 w 12117871"/>
                <a:gd name="connsiteY6041" fmla="*/ 1431679 h 6072780"/>
                <a:gd name="connsiteX6042" fmla="*/ 4542910 w 12117871"/>
                <a:gd name="connsiteY6042" fmla="*/ 1431679 h 6072780"/>
                <a:gd name="connsiteX6043" fmla="*/ 4542910 w 12117871"/>
                <a:gd name="connsiteY6043" fmla="*/ 1251896 h 6072780"/>
                <a:gd name="connsiteX6044" fmla="*/ 4522301 w 12117871"/>
                <a:gd name="connsiteY6044" fmla="*/ 1263531 h 6072780"/>
                <a:gd name="connsiteX6045" fmla="*/ 4497129 w 12117871"/>
                <a:gd name="connsiteY6045" fmla="*/ 1271973 h 6072780"/>
                <a:gd name="connsiteX6046" fmla="*/ 4497129 w 12117871"/>
                <a:gd name="connsiteY6046" fmla="*/ 1241857 h 6072780"/>
                <a:gd name="connsiteX6047" fmla="*/ 4514163 w 12117871"/>
                <a:gd name="connsiteY6047" fmla="*/ 1235773 h 6072780"/>
                <a:gd name="connsiteX6048" fmla="*/ 4530362 w 12117871"/>
                <a:gd name="connsiteY6048" fmla="*/ 1228624 h 6072780"/>
                <a:gd name="connsiteX6049" fmla="*/ 4546485 w 12117871"/>
                <a:gd name="connsiteY6049" fmla="*/ 1219803 h 6072780"/>
                <a:gd name="connsiteX6050" fmla="*/ 4563292 w 12117871"/>
                <a:gd name="connsiteY6050" fmla="*/ 1208700 h 6072780"/>
                <a:gd name="connsiteX6051" fmla="*/ 4413319 w 12117871"/>
                <a:gd name="connsiteY6051" fmla="*/ 1208700 h 6072780"/>
                <a:gd name="connsiteX6052" fmla="*/ 4428226 w 12117871"/>
                <a:gd name="connsiteY6052" fmla="*/ 1208700 h 6072780"/>
                <a:gd name="connsiteX6053" fmla="*/ 4428226 w 12117871"/>
                <a:gd name="connsiteY6053" fmla="*/ 1431679 h 6072780"/>
                <a:gd name="connsiteX6054" fmla="*/ 4392937 w 12117871"/>
                <a:gd name="connsiteY6054" fmla="*/ 1431679 h 6072780"/>
                <a:gd name="connsiteX6055" fmla="*/ 4392937 w 12117871"/>
                <a:gd name="connsiteY6055" fmla="*/ 1251896 h 6072780"/>
                <a:gd name="connsiteX6056" fmla="*/ 4372329 w 12117871"/>
                <a:gd name="connsiteY6056" fmla="*/ 1263531 h 6072780"/>
                <a:gd name="connsiteX6057" fmla="*/ 4347156 w 12117871"/>
                <a:gd name="connsiteY6057" fmla="*/ 1271973 h 6072780"/>
                <a:gd name="connsiteX6058" fmla="*/ 4347156 w 12117871"/>
                <a:gd name="connsiteY6058" fmla="*/ 1241857 h 6072780"/>
                <a:gd name="connsiteX6059" fmla="*/ 4364190 w 12117871"/>
                <a:gd name="connsiteY6059" fmla="*/ 1235773 h 6072780"/>
                <a:gd name="connsiteX6060" fmla="*/ 4380389 w 12117871"/>
                <a:gd name="connsiteY6060" fmla="*/ 1228624 h 6072780"/>
                <a:gd name="connsiteX6061" fmla="*/ 4396513 w 12117871"/>
                <a:gd name="connsiteY6061" fmla="*/ 1219803 h 6072780"/>
                <a:gd name="connsiteX6062" fmla="*/ 4413319 w 12117871"/>
                <a:gd name="connsiteY6062" fmla="*/ 1208700 h 6072780"/>
                <a:gd name="connsiteX6063" fmla="*/ 4113374 w 12117871"/>
                <a:gd name="connsiteY6063" fmla="*/ 1208700 h 6072780"/>
                <a:gd name="connsiteX6064" fmla="*/ 4128280 w 12117871"/>
                <a:gd name="connsiteY6064" fmla="*/ 1208700 h 6072780"/>
                <a:gd name="connsiteX6065" fmla="*/ 4128280 w 12117871"/>
                <a:gd name="connsiteY6065" fmla="*/ 1431679 h 6072780"/>
                <a:gd name="connsiteX6066" fmla="*/ 4092992 w 12117871"/>
                <a:gd name="connsiteY6066" fmla="*/ 1431679 h 6072780"/>
                <a:gd name="connsiteX6067" fmla="*/ 4092992 w 12117871"/>
                <a:gd name="connsiteY6067" fmla="*/ 1251896 h 6072780"/>
                <a:gd name="connsiteX6068" fmla="*/ 4072383 w 12117871"/>
                <a:gd name="connsiteY6068" fmla="*/ 1263531 h 6072780"/>
                <a:gd name="connsiteX6069" fmla="*/ 4047210 w 12117871"/>
                <a:gd name="connsiteY6069" fmla="*/ 1271973 h 6072780"/>
                <a:gd name="connsiteX6070" fmla="*/ 4047210 w 12117871"/>
                <a:gd name="connsiteY6070" fmla="*/ 1241857 h 6072780"/>
                <a:gd name="connsiteX6071" fmla="*/ 4064245 w 12117871"/>
                <a:gd name="connsiteY6071" fmla="*/ 1235773 h 6072780"/>
                <a:gd name="connsiteX6072" fmla="*/ 4080444 w 12117871"/>
                <a:gd name="connsiteY6072" fmla="*/ 1228624 h 6072780"/>
                <a:gd name="connsiteX6073" fmla="*/ 4096567 w 12117871"/>
                <a:gd name="connsiteY6073" fmla="*/ 1219803 h 6072780"/>
                <a:gd name="connsiteX6074" fmla="*/ 4113374 w 12117871"/>
                <a:gd name="connsiteY6074" fmla="*/ 1208700 h 6072780"/>
                <a:gd name="connsiteX6075" fmla="*/ 3732783 w 12117871"/>
                <a:gd name="connsiteY6075" fmla="*/ 1208700 h 6072780"/>
                <a:gd name="connsiteX6076" fmla="*/ 3747689 w 12117871"/>
                <a:gd name="connsiteY6076" fmla="*/ 1208700 h 6072780"/>
                <a:gd name="connsiteX6077" fmla="*/ 3747689 w 12117871"/>
                <a:gd name="connsiteY6077" fmla="*/ 1431679 h 6072780"/>
                <a:gd name="connsiteX6078" fmla="*/ 3712401 w 12117871"/>
                <a:gd name="connsiteY6078" fmla="*/ 1431679 h 6072780"/>
                <a:gd name="connsiteX6079" fmla="*/ 3712401 w 12117871"/>
                <a:gd name="connsiteY6079" fmla="*/ 1251896 h 6072780"/>
                <a:gd name="connsiteX6080" fmla="*/ 3691792 w 12117871"/>
                <a:gd name="connsiteY6080" fmla="*/ 1263531 h 6072780"/>
                <a:gd name="connsiteX6081" fmla="*/ 3666619 w 12117871"/>
                <a:gd name="connsiteY6081" fmla="*/ 1271973 h 6072780"/>
                <a:gd name="connsiteX6082" fmla="*/ 3666619 w 12117871"/>
                <a:gd name="connsiteY6082" fmla="*/ 1241857 h 6072780"/>
                <a:gd name="connsiteX6083" fmla="*/ 3683654 w 12117871"/>
                <a:gd name="connsiteY6083" fmla="*/ 1235773 h 6072780"/>
                <a:gd name="connsiteX6084" fmla="*/ 3699853 w 12117871"/>
                <a:gd name="connsiteY6084" fmla="*/ 1228624 h 6072780"/>
                <a:gd name="connsiteX6085" fmla="*/ 3715976 w 12117871"/>
                <a:gd name="connsiteY6085" fmla="*/ 1219803 h 6072780"/>
                <a:gd name="connsiteX6086" fmla="*/ 3732783 w 12117871"/>
                <a:gd name="connsiteY6086" fmla="*/ 1208700 h 6072780"/>
                <a:gd name="connsiteX6087" fmla="*/ 3582810 w 12117871"/>
                <a:gd name="connsiteY6087" fmla="*/ 1208700 h 6072780"/>
                <a:gd name="connsiteX6088" fmla="*/ 3597716 w 12117871"/>
                <a:gd name="connsiteY6088" fmla="*/ 1208700 h 6072780"/>
                <a:gd name="connsiteX6089" fmla="*/ 3597716 w 12117871"/>
                <a:gd name="connsiteY6089" fmla="*/ 1431679 h 6072780"/>
                <a:gd name="connsiteX6090" fmla="*/ 3562428 w 12117871"/>
                <a:gd name="connsiteY6090" fmla="*/ 1431679 h 6072780"/>
                <a:gd name="connsiteX6091" fmla="*/ 3562428 w 12117871"/>
                <a:gd name="connsiteY6091" fmla="*/ 1251896 h 6072780"/>
                <a:gd name="connsiteX6092" fmla="*/ 3541819 w 12117871"/>
                <a:gd name="connsiteY6092" fmla="*/ 1263531 h 6072780"/>
                <a:gd name="connsiteX6093" fmla="*/ 3516646 w 12117871"/>
                <a:gd name="connsiteY6093" fmla="*/ 1271973 h 6072780"/>
                <a:gd name="connsiteX6094" fmla="*/ 3516646 w 12117871"/>
                <a:gd name="connsiteY6094" fmla="*/ 1241857 h 6072780"/>
                <a:gd name="connsiteX6095" fmla="*/ 3533681 w 12117871"/>
                <a:gd name="connsiteY6095" fmla="*/ 1235773 h 6072780"/>
                <a:gd name="connsiteX6096" fmla="*/ 3549880 w 12117871"/>
                <a:gd name="connsiteY6096" fmla="*/ 1228624 h 6072780"/>
                <a:gd name="connsiteX6097" fmla="*/ 3566003 w 12117871"/>
                <a:gd name="connsiteY6097" fmla="*/ 1219803 h 6072780"/>
                <a:gd name="connsiteX6098" fmla="*/ 3582810 w 12117871"/>
                <a:gd name="connsiteY6098" fmla="*/ 1208700 h 6072780"/>
                <a:gd name="connsiteX6099" fmla="*/ 3432837 w 12117871"/>
                <a:gd name="connsiteY6099" fmla="*/ 1208700 h 6072780"/>
                <a:gd name="connsiteX6100" fmla="*/ 3447743 w 12117871"/>
                <a:gd name="connsiteY6100" fmla="*/ 1208700 h 6072780"/>
                <a:gd name="connsiteX6101" fmla="*/ 3447743 w 12117871"/>
                <a:gd name="connsiteY6101" fmla="*/ 1431679 h 6072780"/>
                <a:gd name="connsiteX6102" fmla="*/ 3412455 w 12117871"/>
                <a:gd name="connsiteY6102" fmla="*/ 1431679 h 6072780"/>
                <a:gd name="connsiteX6103" fmla="*/ 3412455 w 12117871"/>
                <a:gd name="connsiteY6103" fmla="*/ 1251896 h 6072780"/>
                <a:gd name="connsiteX6104" fmla="*/ 3391846 w 12117871"/>
                <a:gd name="connsiteY6104" fmla="*/ 1263531 h 6072780"/>
                <a:gd name="connsiteX6105" fmla="*/ 3366673 w 12117871"/>
                <a:gd name="connsiteY6105" fmla="*/ 1271973 h 6072780"/>
                <a:gd name="connsiteX6106" fmla="*/ 3366673 w 12117871"/>
                <a:gd name="connsiteY6106" fmla="*/ 1241857 h 6072780"/>
                <a:gd name="connsiteX6107" fmla="*/ 3383708 w 12117871"/>
                <a:gd name="connsiteY6107" fmla="*/ 1235773 h 6072780"/>
                <a:gd name="connsiteX6108" fmla="*/ 3399907 w 12117871"/>
                <a:gd name="connsiteY6108" fmla="*/ 1228624 h 6072780"/>
                <a:gd name="connsiteX6109" fmla="*/ 3416030 w 12117871"/>
                <a:gd name="connsiteY6109" fmla="*/ 1219803 h 6072780"/>
                <a:gd name="connsiteX6110" fmla="*/ 3432837 w 12117871"/>
                <a:gd name="connsiteY6110" fmla="*/ 1208700 h 6072780"/>
                <a:gd name="connsiteX6111" fmla="*/ 3282864 w 12117871"/>
                <a:gd name="connsiteY6111" fmla="*/ 1208700 h 6072780"/>
                <a:gd name="connsiteX6112" fmla="*/ 3297770 w 12117871"/>
                <a:gd name="connsiteY6112" fmla="*/ 1208700 h 6072780"/>
                <a:gd name="connsiteX6113" fmla="*/ 3297770 w 12117871"/>
                <a:gd name="connsiteY6113" fmla="*/ 1431679 h 6072780"/>
                <a:gd name="connsiteX6114" fmla="*/ 3262482 w 12117871"/>
                <a:gd name="connsiteY6114" fmla="*/ 1431679 h 6072780"/>
                <a:gd name="connsiteX6115" fmla="*/ 3262482 w 12117871"/>
                <a:gd name="connsiteY6115" fmla="*/ 1251896 h 6072780"/>
                <a:gd name="connsiteX6116" fmla="*/ 3241873 w 12117871"/>
                <a:gd name="connsiteY6116" fmla="*/ 1263531 h 6072780"/>
                <a:gd name="connsiteX6117" fmla="*/ 3216700 w 12117871"/>
                <a:gd name="connsiteY6117" fmla="*/ 1271973 h 6072780"/>
                <a:gd name="connsiteX6118" fmla="*/ 3216700 w 12117871"/>
                <a:gd name="connsiteY6118" fmla="*/ 1241857 h 6072780"/>
                <a:gd name="connsiteX6119" fmla="*/ 3233735 w 12117871"/>
                <a:gd name="connsiteY6119" fmla="*/ 1235773 h 6072780"/>
                <a:gd name="connsiteX6120" fmla="*/ 3249934 w 12117871"/>
                <a:gd name="connsiteY6120" fmla="*/ 1228624 h 6072780"/>
                <a:gd name="connsiteX6121" fmla="*/ 3266057 w 12117871"/>
                <a:gd name="connsiteY6121" fmla="*/ 1219803 h 6072780"/>
                <a:gd name="connsiteX6122" fmla="*/ 3282864 w 12117871"/>
                <a:gd name="connsiteY6122" fmla="*/ 1208700 h 6072780"/>
                <a:gd name="connsiteX6123" fmla="*/ 3078927 w 12117871"/>
                <a:gd name="connsiteY6123" fmla="*/ 1208700 h 6072780"/>
                <a:gd name="connsiteX6124" fmla="*/ 3150094 w 12117871"/>
                <a:gd name="connsiteY6124" fmla="*/ 1319287 h 6072780"/>
                <a:gd name="connsiteX6125" fmla="*/ 3130008 w 12117871"/>
                <a:gd name="connsiteY6125" fmla="*/ 1402866 h 6072780"/>
                <a:gd name="connsiteX6126" fmla="*/ 3073811 w 12117871"/>
                <a:gd name="connsiteY6126" fmla="*/ 1431679 h 6072780"/>
                <a:gd name="connsiteX6127" fmla="*/ 3021226 w 12117871"/>
                <a:gd name="connsiteY6127" fmla="*/ 1404145 h 6072780"/>
                <a:gd name="connsiteX6128" fmla="*/ 3002343 w 12117871"/>
                <a:gd name="connsiteY6128" fmla="*/ 1324553 h 6072780"/>
                <a:gd name="connsiteX6129" fmla="*/ 3022053 w 12117871"/>
                <a:gd name="connsiteY6129" fmla="*/ 1238039 h 6072780"/>
                <a:gd name="connsiteX6130" fmla="*/ 3078927 w 12117871"/>
                <a:gd name="connsiteY6130" fmla="*/ 1208700 h 6072780"/>
                <a:gd name="connsiteX6131" fmla="*/ 2948681 w 12117871"/>
                <a:gd name="connsiteY6131" fmla="*/ 1208700 h 6072780"/>
                <a:gd name="connsiteX6132" fmla="*/ 2963587 w 12117871"/>
                <a:gd name="connsiteY6132" fmla="*/ 1208700 h 6072780"/>
                <a:gd name="connsiteX6133" fmla="*/ 2963587 w 12117871"/>
                <a:gd name="connsiteY6133" fmla="*/ 1431679 h 6072780"/>
                <a:gd name="connsiteX6134" fmla="*/ 2928299 w 12117871"/>
                <a:gd name="connsiteY6134" fmla="*/ 1431679 h 6072780"/>
                <a:gd name="connsiteX6135" fmla="*/ 2928299 w 12117871"/>
                <a:gd name="connsiteY6135" fmla="*/ 1251896 h 6072780"/>
                <a:gd name="connsiteX6136" fmla="*/ 2907690 w 12117871"/>
                <a:gd name="connsiteY6136" fmla="*/ 1263531 h 6072780"/>
                <a:gd name="connsiteX6137" fmla="*/ 2882517 w 12117871"/>
                <a:gd name="connsiteY6137" fmla="*/ 1271973 h 6072780"/>
                <a:gd name="connsiteX6138" fmla="*/ 2882517 w 12117871"/>
                <a:gd name="connsiteY6138" fmla="*/ 1241857 h 6072780"/>
                <a:gd name="connsiteX6139" fmla="*/ 2899552 w 12117871"/>
                <a:gd name="connsiteY6139" fmla="*/ 1235773 h 6072780"/>
                <a:gd name="connsiteX6140" fmla="*/ 2915751 w 12117871"/>
                <a:gd name="connsiteY6140" fmla="*/ 1228624 h 6072780"/>
                <a:gd name="connsiteX6141" fmla="*/ 2931874 w 12117871"/>
                <a:gd name="connsiteY6141" fmla="*/ 1219803 h 6072780"/>
                <a:gd name="connsiteX6142" fmla="*/ 2948681 w 12117871"/>
                <a:gd name="connsiteY6142" fmla="*/ 1208700 h 6072780"/>
                <a:gd name="connsiteX6143" fmla="*/ 2732124 w 12117871"/>
                <a:gd name="connsiteY6143" fmla="*/ 1208700 h 6072780"/>
                <a:gd name="connsiteX6144" fmla="*/ 2803291 w 12117871"/>
                <a:gd name="connsiteY6144" fmla="*/ 1319287 h 6072780"/>
                <a:gd name="connsiteX6145" fmla="*/ 2783205 w 12117871"/>
                <a:gd name="connsiteY6145" fmla="*/ 1402866 h 6072780"/>
                <a:gd name="connsiteX6146" fmla="*/ 2727008 w 12117871"/>
                <a:gd name="connsiteY6146" fmla="*/ 1431679 h 6072780"/>
                <a:gd name="connsiteX6147" fmla="*/ 2674423 w 12117871"/>
                <a:gd name="connsiteY6147" fmla="*/ 1404145 h 6072780"/>
                <a:gd name="connsiteX6148" fmla="*/ 2655540 w 12117871"/>
                <a:gd name="connsiteY6148" fmla="*/ 1324553 h 6072780"/>
                <a:gd name="connsiteX6149" fmla="*/ 2675250 w 12117871"/>
                <a:gd name="connsiteY6149" fmla="*/ 1238039 h 6072780"/>
                <a:gd name="connsiteX6150" fmla="*/ 2732124 w 12117871"/>
                <a:gd name="connsiteY6150" fmla="*/ 1208700 h 6072780"/>
                <a:gd name="connsiteX6151" fmla="*/ 2040759 w 12117871"/>
                <a:gd name="connsiteY6151" fmla="*/ 1208700 h 6072780"/>
                <a:gd name="connsiteX6152" fmla="*/ 2111926 w 12117871"/>
                <a:gd name="connsiteY6152" fmla="*/ 1319287 h 6072780"/>
                <a:gd name="connsiteX6153" fmla="*/ 2091840 w 12117871"/>
                <a:gd name="connsiteY6153" fmla="*/ 1402866 h 6072780"/>
                <a:gd name="connsiteX6154" fmla="*/ 2035643 w 12117871"/>
                <a:gd name="connsiteY6154" fmla="*/ 1431679 h 6072780"/>
                <a:gd name="connsiteX6155" fmla="*/ 1983058 w 12117871"/>
                <a:gd name="connsiteY6155" fmla="*/ 1404145 h 6072780"/>
                <a:gd name="connsiteX6156" fmla="*/ 1964175 w 12117871"/>
                <a:gd name="connsiteY6156" fmla="*/ 1324553 h 6072780"/>
                <a:gd name="connsiteX6157" fmla="*/ 1983885 w 12117871"/>
                <a:gd name="connsiteY6157" fmla="*/ 1238039 h 6072780"/>
                <a:gd name="connsiteX6158" fmla="*/ 2040759 w 12117871"/>
                <a:gd name="connsiteY6158" fmla="*/ 1208700 h 6072780"/>
                <a:gd name="connsiteX6159" fmla="*/ 1668398 w 12117871"/>
                <a:gd name="connsiteY6159" fmla="*/ 1208700 h 6072780"/>
                <a:gd name="connsiteX6160" fmla="*/ 1683304 w 12117871"/>
                <a:gd name="connsiteY6160" fmla="*/ 1208700 h 6072780"/>
                <a:gd name="connsiteX6161" fmla="*/ 1683304 w 12117871"/>
                <a:gd name="connsiteY6161" fmla="*/ 1431679 h 6072780"/>
                <a:gd name="connsiteX6162" fmla="*/ 1648016 w 12117871"/>
                <a:gd name="connsiteY6162" fmla="*/ 1431679 h 6072780"/>
                <a:gd name="connsiteX6163" fmla="*/ 1648016 w 12117871"/>
                <a:gd name="connsiteY6163" fmla="*/ 1251896 h 6072780"/>
                <a:gd name="connsiteX6164" fmla="*/ 1627407 w 12117871"/>
                <a:gd name="connsiteY6164" fmla="*/ 1263531 h 6072780"/>
                <a:gd name="connsiteX6165" fmla="*/ 1602234 w 12117871"/>
                <a:gd name="connsiteY6165" fmla="*/ 1271973 h 6072780"/>
                <a:gd name="connsiteX6166" fmla="*/ 1602234 w 12117871"/>
                <a:gd name="connsiteY6166" fmla="*/ 1241857 h 6072780"/>
                <a:gd name="connsiteX6167" fmla="*/ 1619269 w 12117871"/>
                <a:gd name="connsiteY6167" fmla="*/ 1235773 h 6072780"/>
                <a:gd name="connsiteX6168" fmla="*/ 1635468 w 12117871"/>
                <a:gd name="connsiteY6168" fmla="*/ 1228624 h 6072780"/>
                <a:gd name="connsiteX6169" fmla="*/ 1651591 w 12117871"/>
                <a:gd name="connsiteY6169" fmla="*/ 1219803 h 6072780"/>
                <a:gd name="connsiteX6170" fmla="*/ 1668398 w 12117871"/>
                <a:gd name="connsiteY6170" fmla="*/ 1208700 h 6072780"/>
                <a:gd name="connsiteX6171" fmla="*/ 1291732 w 12117871"/>
                <a:gd name="connsiteY6171" fmla="*/ 1208700 h 6072780"/>
                <a:gd name="connsiteX6172" fmla="*/ 1306638 w 12117871"/>
                <a:gd name="connsiteY6172" fmla="*/ 1208700 h 6072780"/>
                <a:gd name="connsiteX6173" fmla="*/ 1306638 w 12117871"/>
                <a:gd name="connsiteY6173" fmla="*/ 1431679 h 6072780"/>
                <a:gd name="connsiteX6174" fmla="*/ 1271350 w 12117871"/>
                <a:gd name="connsiteY6174" fmla="*/ 1431679 h 6072780"/>
                <a:gd name="connsiteX6175" fmla="*/ 1271350 w 12117871"/>
                <a:gd name="connsiteY6175" fmla="*/ 1251896 h 6072780"/>
                <a:gd name="connsiteX6176" fmla="*/ 1250741 w 12117871"/>
                <a:gd name="connsiteY6176" fmla="*/ 1263531 h 6072780"/>
                <a:gd name="connsiteX6177" fmla="*/ 1225568 w 12117871"/>
                <a:gd name="connsiteY6177" fmla="*/ 1271973 h 6072780"/>
                <a:gd name="connsiteX6178" fmla="*/ 1225568 w 12117871"/>
                <a:gd name="connsiteY6178" fmla="*/ 1241857 h 6072780"/>
                <a:gd name="connsiteX6179" fmla="*/ 1242603 w 12117871"/>
                <a:gd name="connsiteY6179" fmla="*/ 1235773 h 6072780"/>
                <a:gd name="connsiteX6180" fmla="*/ 1258802 w 12117871"/>
                <a:gd name="connsiteY6180" fmla="*/ 1228624 h 6072780"/>
                <a:gd name="connsiteX6181" fmla="*/ 1274925 w 12117871"/>
                <a:gd name="connsiteY6181" fmla="*/ 1219803 h 6072780"/>
                <a:gd name="connsiteX6182" fmla="*/ 1291732 w 12117871"/>
                <a:gd name="connsiteY6182" fmla="*/ 1208700 h 6072780"/>
                <a:gd name="connsiteX6183" fmla="*/ 991786 w 12117871"/>
                <a:gd name="connsiteY6183" fmla="*/ 1208700 h 6072780"/>
                <a:gd name="connsiteX6184" fmla="*/ 1006692 w 12117871"/>
                <a:gd name="connsiteY6184" fmla="*/ 1208700 h 6072780"/>
                <a:gd name="connsiteX6185" fmla="*/ 1006692 w 12117871"/>
                <a:gd name="connsiteY6185" fmla="*/ 1431679 h 6072780"/>
                <a:gd name="connsiteX6186" fmla="*/ 971404 w 12117871"/>
                <a:gd name="connsiteY6186" fmla="*/ 1431679 h 6072780"/>
                <a:gd name="connsiteX6187" fmla="*/ 971404 w 12117871"/>
                <a:gd name="connsiteY6187" fmla="*/ 1251896 h 6072780"/>
                <a:gd name="connsiteX6188" fmla="*/ 950795 w 12117871"/>
                <a:gd name="connsiteY6188" fmla="*/ 1263531 h 6072780"/>
                <a:gd name="connsiteX6189" fmla="*/ 925622 w 12117871"/>
                <a:gd name="connsiteY6189" fmla="*/ 1271973 h 6072780"/>
                <a:gd name="connsiteX6190" fmla="*/ 925622 w 12117871"/>
                <a:gd name="connsiteY6190" fmla="*/ 1241857 h 6072780"/>
                <a:gd name="connsiteX6191" fmla="*/ 942657 w 12117871"/>
                <a:gd name="connsiteY6191" fmla="*/ 1235773 h 6072780"/>
                <a:gd name="connsiteX6192" fmla="*/ 958856 w 12117871"/>
                <a:gd name="connsiteY6192" fmla="*/ 1228624 h 6072780"/>
                <a:gd name="connsiteX6193" fmla="*/ 974979 w 12117871"/>
                <a:gd name="connsiteY6193" fmla="*/ 1219803 h 6072780"/>
                <a:gd name="connsiteX6194" fmla="*/ 991786 w 12117871"/>
                <a:gd name="connsiteY6194" fmla="*/ 1208700 h 6072780"/>
                <a:gd name="connsiteX6195" fmla="*/ 785552 w 12117871"/>
                <a:gd name="connsiteY6195" fmla="*/ 1208700 h 6072780"/>
                <a:gd name="connsiteX6196" fmla="*/ 856719 w 12117871"/>
                <a:gd name="connsiteY6196" fmla="*/ 1319287 h 6072780"/>
                <a:gd name="connsiteX6197" fmla="*/ 836633 w 12117871"/>
                <a:gd name="connsiteY6197" fmla="*/ 1402866 h 6072780"/>
                <a:gd name="connsiteX6198" fmla="*/ 780436 w 12117871"/>
                <a:gd name="connsiteY6198" fmla="*/ 1431679 h 6072780"/>
                <a:gd name="connsiteX6199" fmla="*/ 727851 w 12117871"/>
                <a:gd name="connsiteY6199" fmla="*/ 1404145 h 6072780"/>
                <a:gd name="connsiteX6200" fmla="*/ 708968 w 12117871"/>
                <a:gd name="connsiteY6200" fmla="*/ 1324553 h 6072780"/>
                <a:gd name="connsiteX6201" fmla="*/ 728678 w 12117871"/>
                <a:gd name="connsiteY6201" fmla="*/ 1238039 h 6072780"/>
                <a:gd name="connsiteX6202" fmla="*/ 785552 w 12117871"/>
                <a:gd name="connsiteY6202" fmla="*/ 1208700 h 6072780"/>
                <a:gd name="connsiteX6203" fmla="*/ 564952 w 12117871"/>
                <a:gd name="connsiteY6203" fmla="*/ 1208700 h 6072780"/>
                <a:gd name="connsiteX6204" fmla="*/ 636119 w 12117871"/>
                <a:gd name="connsiteY6204" fmla="*/ 1319287 h 6072780"/>
                <a:gd name="connsiteX6205" fmla="*/ 616033 w 12117871"/>
                <a:gd name="connsiteY6205" fmla="*/ 1402866 h 6072780"/>
                <a:gd name="connsiteX6206" fmla="*/ 559836 w 12117871"/>
                <a:gd name="connsiteY6206" fmla="*/ 1431679 h 6072780"/>
                <a:gd name="connsiteX6207" fmla="*/ 507251 w 12117871"/>
                <a:gd name="connsiteY6207" fmla="*/ 1404145 h 6072780"/>
                <a:gd name="connsiteX6208" fmla="*/ 488368 w 12117871"/>
                <a:gd name="connsiteY6208" fmla="*/ 1324553 h 6072780"/>
                <a:gd name="connsiteX6209" fmla="*/ 508078 w 12117871"/>
                <a:gd name="connsiteY6209" fmla="*/ 1238039 h 6072780"/>
                <a:gd name="connsiteX6210" fmla="*/ 564952 w 12117871"/>
                <a:gd name="connsiteY6210" fmla="*/ 1208700 h 6072780"/>
                <a:gd name="connsiteX6211" fmla="*/ 397790 w 12117871"/>
                <a:gd name="connsiteY6211" fmla="*/ 1208700 h 6072780"/>
                <a:gd name="connsiteX6212" fmla="*/ 412696 w 12117871"/>
                <a:gd name="connsiteY6212" fmla="*/ 1208700 h 6072780"/>
                <a:gd name="connsiteX6213" fmla="*/ 412696 w 12117871"/>
                <a:gd name="connsiteY6213" fmla="*/ 1431679 h 6072780"/>
                <a:gd name="connsiteX6214" fmla="*/ 377408 w 12117871"/>
                <a:gd name="connsiteY6214" fmla="*/ 1431679 h 6072780"/>
                <a:gd name="connsiteX6215" fmla="*/ 377408 w 12117871"/>
                <a:gd name="connsiteY6215" fmla="*/ 1251896 h 6072780"/>
                <a:gd name="connsiteX6216" fmla="*/ 356799 w 12117871"/>
                <a:gd name="connsiteY6216" fmla="*/ 1263531 h 6072780"/>
                <a:gd name="connsiteX6217" fmla="*/ 331626 w 12117871"/>
                <a:gd name="connsiteY6217" fmla="*/ 1271973 h 6072780"/>
                <a:gd name="connsiteX6218" fmla="*/ 331626 w 12117871"/>
                <a:gd name="connsiteY6218" fmla="*/ 1241857 h 6072780"/>
                <a:gd name="connsiteX6219" fmla="*/ 348661 w 12117871"/>
                <a:gd name="connsiteY6219" fmla="*/ 1235773 h 6072780"/>
                <a:gd name="connsiteX6220" fmla="*/ 364860 w 12117871"/>
                <a:gd name="connsiteY6220" fmla="*/ 1228624 h 6072780"/>
                <a:gd name="connsiteX6221" fmla="*/ 380983 w 12117871"/>
                <a:gd name="connsiteY6221" fmla="*/ 1219803 h 6072780"/>
                <a:gd name="connsiteX6222" fmla="*/ 397790 w 12117871"/>
                <a:gd name="connsiteY6222" fmla="*/ 1208700 h 6072780"/>
                <a:gd name="connsiteX6223" fmla="*/ 97844 w 12117871"/>
                <a:gd name="connsiteY6223" fmla="*/ 1208700 h 6072780"/>
                <a:gd name="connsiteX6224" fmla="*/ 112750 w 12117871"/>
                <a:gd name="connsiteY6224" fmla="*/ 1208700 h 6072780"/>
                <a:gd name="connsiteX6225" fmla="*/ 112750 w 12117871"/>
                <a:gd name="connsiteY6225" fmla="*/ 1431679 h 6072780"/>
                <a:gd name="connsiteX6226" fmla="*/ 77462 w 12117871"/>
                <a:gd name="connsiteY6226" fmla="*/ 1431679 h 6072780"/>
                <a:gd name="connsiteX6227" fmla="*/ 77462 w 12117871"/>
                <a:gd name="connsiteY6227" fmla="*/ 1251896 h 6072780"/>
                <a:gd name="connsiteX6228" fmla="*/ 56853 w 12117871"/>
                <a:gd name="connsiteY6228" fmla="*/ 1263531 h 6072780"/>
                <a:gd name="connsiteX6229" fmla="*/ 31680 w 12117871"/>
                <a:gd name="connsiteY6229" fmla="*/ 1271973 h 6072780"/>
                <a:gd name="connsiteX6230" fmla="*/ 31680 w 12117871"/>
                <a:gd name="connsiteY6230" fmla="*/ 1241857 h 6072780"/>
                <a:gd name="connsiteX6231" fmla="*/ 48715 w 12117871"/>
                <a:gd name="connsiteY6231" fmla="*/ 1235773 h 6072780"/>
                <a:gd name="connsiteX6232" fmla="*/ 64914 w 12117871"/>
                <a:gd name="connsiteY6232" fmla="*/ 1228624 h 6072780"/>
                <a:gd name="connsiteX6233" fmla="*/ 81037 w 12117871"/>
                <a:gd name="connsiteY6233" fmla="*/ 1219803 h 6072780"/>
                <a:gd name="connsiteX6234" fmla="*/ 97844 w 12117871"/>
                <a:gd name="connsiteY6234" fmla="*/ 1208700 h 6072780"/>
                <a:gd name="connsiteX6235" fmla="*/ 11990061 w 12117871"/>
                <a:gd name="connsiteY6235" fmla="*/ 942895 h 6072780"/>
                <a:gd name="connsiteX6236" fmla="*/ 11950791 w 12117871"/>
                <a:gd name="connsiteY6236" fmla="*/ 1029409 h 6072780"/>
                <a:gd name="connsiteX6237" fmla="*/ 11989309 w 12117871"/>
                <a:gd name="connsiteY6237" fmla="*/ 1110356 h 6072780"/>
                <a:gd name="connsiteX6238" fmla="*/ 12027224 w 12117871"/>
                <a:gd name="connsiteY6238" fmla="*/ 1028055 h 6072780"/>
                <a:gd name="connsiteX6239" fmla="*/ 11990061 w 12117871"/>
                <a:gd name="connsiteY6239" fmla="*/ 942895 h 6072780"/>
                <a:gd name="connsiteX6240" fmla="*/ 11773551 w 12117871"/>
                <a:gd name="connsiteY6240" fmla="*/ 942895 h 6072780"/>
                <a:gd name="connsiteX6241" fmla="*/ 11734281 w 12117871"/>
                <a:gd name="connsiteY6241" fmla="*/ 1029409 h 6072780"/>
                <a:gd name="connsiteX6242" fmla="*/ 11772799 w 12117871"/>
                <a:gd name="connsiteY6242" fmla="*/ 1110356 h 6072780"/>
                <a:gd name="connsiteX6243" fmla="*/ 11810714 w 12117871"/>
                <a:gd name="connsiteY6243" fmla="*/ 1028055 h 6072780"/>
                <a:gd name="connsiteX6244" fmla="*/ 11773551 w 12117871"/>
                <a:gd name="connsiteY6244" fmla="*/ 942895 h 6072780"/>
                <a:gd name="connsiteX6245" fmla="*/ 6978763 w 12117871"/>
                <a:gd name="connsiteY6245" fmla="*/ 942895 h 6072780"/>
                <a:gd name="connsiteX6246" fmla="*/ 6939493 w 12117871"/>
                <a:gd name="connsiteY6246" fmla="*/ 1029409 h 6072780"/>
                <a:gd name="connsiteX6247" fmla="*/ 6978011 w 12117871"/>
                <a:gd name="connsiteY6247" fmla="*/ 1110356 h 6072780"/>
                <a:gd name="connsiteX6248" fmla="*/ 7015926 w 12117871"/>
                <a:gd name="connsiteY6248" fmla="*/ 1028055 h 6072780"/>
                <a:gd name="connsiteX6249" fmla="*/ 6978763 w 12117871"/>
                <a:gd name="connsiteY6249" fmla="*/ 942895 h 6072780"/>
                <a:gd name="connsiteX6250" fmla="*/ 6762253 w 12117871"/>
                <a:gd name="connsiteY6250" fmla="*/ 942895 h 6072780"/>
                <a:gd name="connsiteX6251" fmla="*/ 6722983 w 12117871"/>
                <a:gd name="connsiteY6251" fmla="*/ 1029409 h 6072780"/>
                <a:gd name="connsiteX6252" fmla="*/ 6761501 w 12117871"/>
                <a:gd name="connsiteY6252" fmla="*/ 1110356 h 6072780"/>
                <a:gd name="connsiteX6253" fmla="*/ 6799416 w 12117871"/>
                <a:gd name="connsiteY6253" fmla="*/ 1028055 h 6072780"/>
                <a:gd name="connsiteX6254" fmla="*/ 6762253 w 12117871"/>
                <a:gd name="connsiteY6254" fmla="*/ 942895 h 6072780"/>
                <a:gd name="connsiteX6255" fmla="*/ 6144476 w 12117871"/>
                <a:gd name="connsiteY6255" fmla="*/ 942895 h 6072780"/>
                <a:gd name="connsiteX6256" fmla="*/ 6105206 w 12117871"/>
                <a:gd name="connsiteY6256" fmla="*/ 1029409 h 6072780"/>
                <a:gd name="connsiteX6257" fmla="*/ 6143724 w 12117871"/>
                <a:gd name="connsiteY6257" fmla="*/ 1110356 h 6072780"/>
                <a:gd name="connsiteX6258" fmla="*/ 6181639 w 12117871"/>
                <a:gd name="connsiteY6258" fmla="*/ 1028055 h 6072780"/>
                <a:gd name="connsiteX6259" fmla="*/ 6144476 w 12117871"/>
                <a:gd name="connsiteY6259" fmla="*/ 942895 h 6072780"/>
                <a:gd name="connsiteX6260" fmla="*/ 5927965 w 12117871"/>
                <a:gd name="connsiteY6260" fmla="*/ 942895 h 6072780"/>
                <a:gd name="connsiteX6261" fmla="*/ 5888696 w 12117871"/>
                <a:gd name="connsiteY6261" fmla="*/ 1029409 h 6072780"/>
                <a:gd name="connsiteX6262" fmla="*/ 5927213 w 12117871"/>
                <a:gd name="connsiteY6262" fmla="*/ 1110356 h 6072780"/>
                <a:gd name="connsiteX6263" fmla="*/ 5965130 w 12117871"/>
                <a:gd name="connsiteY6263" fmla="*/ 1028055 h 6072780"/>
                <a:gd name="connsiteX6264" fmla="*/ 5927965 w 12117871"/>
                <a:gd name="connsiteY6264" fmla="*/ 942895 h 6072780"/>
                <a:gd name="connsiteX6265" fmla="*/ 5703858 w 12117871"/>
                <a:gd name="connsiteY6265" fmla="*/ 942895 h 6072780"/>
                <a:gd name="connsiteX6266" fmla="*/ 5664590 w 12117871"/>
                <a:gd name="connsiteY6266" fmla="*/ 1029409 h 6072780"/>
                <a:gd name="connsiteX6267" fmla="*/ 5703106 w 12117871"/>
                <a:gd name="connsiteY6267" fmla="*/ 1110356 h 6072780"/>
                <a:gd name="connsiteX6268" fmla="*/ 5741022 w 12117871"/>
                <a:gd name="connsiteY6268" fmla="*/ 1028055 h 6072780"/>
                <a:gd name="connsiteX6269" fmla="*/ 5703858 w 12117871"/>
                <a:gd name="connsiteY6269" fmla="*/ 942895 h 6072780"/>
                <a:gd name="connsiteX6270" fmla="*/ 925881 w 12117871"/>
                <a:gd name="connsiteY6270" fmla="*/ 942895 h 6072780"/>
                <a:gd name="connsiteX6271" fmla="*/ 886611 w 12117871"/>
                <a:gd name="connsiteY6271" fmla="*/ 1029409 h 6072780"/>
                <a:gd name="connsiteX6272" fmla="*/ 925129 w 12117871"/>
                <a:gd name="connsiteY6272" fmla="*/ 1110356 h 6072780"/>
                <a:gd name="connsiteX6273" fmla="*/ 963044 w 12117871"/>
                <a:gd name="connsiteY6273" fmla="*/ 1028055 h 6072780"/>
                <a:gd name="connsiteX6274" fmla="*/ 925881 w 12117871"/>
                <a:gd name="connsiteY6274" fmla="*/ 942895 h 6072780"/>
                <a:gd name="connsiteX6275" fmla="*/ 709604 w 12117871"/>
                <a:gd name="connsiteY6275" fmla="*/ 942895 h 6072780"/>
                <a:gd name="connsiteX6276" fmla="*/ 670336 w 12117871"/>
                <a:gd name="connsiteY6276" fmla="*/ 1029409 h 6072780"/>
                <a:gd name="connsiteX6277" fmla="*/ 708853 w 12117871"/>
                <a:gd name="connsiteY6277" fmla="*/ 1110356 h 6072780"/>
                <a:gd name="connsiteX6278" fmla="*/ 746769 w 12117871"/>
                <a:gd name="connsiteY6278" fmla="*/ 1028055 h 6072780"/>
                <a:gd name="connsiteX6279" fmla="*/ 709604 w 12117871"/>
                <a:gd name="connsiteY6279" fmla="*/ 942895 h 6072780"/>
                <a:gd name="connsiteX6280" fmla="*/ 87999 w 12117871"/>
                <a:gd name="connsiteY6280" fmla="*/ 942895 h 6072780"/>
                <a:gd name="connsiteX6281" fmla="*/ 48728 w 12117871"/>
                <a:gd name="connsiteY6281" fmla="*/ 1029409 h 6072780"/>
                <a:gd name="connsiteX6282" fmla="*/ 87245 w 12117871"/>
                <a:gd name="connsiteY6282" fmla="*/ 1110356 h 6072780"/>
                <a:gd name="connsiteX6283" fmla="*/ 125161 w 12117871"/>
                <a:gd name="connsiteY6283" fmla="*/ 1028055 h 6072780"/>
                <a:gd name="connsiteX6284" fmla="*/ 87999 w 12117871"/>
                <a:gd name="connsiteY6284" fmla="*/ 942895 h 6072780"/>
                <a:gd name="connsiteX6285" fmla="*/ 11991716 w 12117871"/>
                <a:gd name="connsiteY6285" fmla="*/ 915060 h 6072780"/>
                <a:gd name="connsiteX6286" fmla="*/ 12062883 w 12117871"/>
                <a:gd name="connsiteY6286" fmla="*/ 1025647 h 6072780"/>
                <a:gd name="connsiteX6287" fmla="*/ 12042797 w 12117871"/>
                <a:gd name="connsiteY6287" fmla="*/ 1109227 h 6072780"/>
                <a:gd name="connsiteX6288" fmla="*/ 11986600 w 12117871"/>
                <a:gd name="connsiteY6288" fmla="*/ 1138040 h 6072780"/>
                <a:gd name="connsiteX6289" fmla="*/ 11934015 w 12117871"/>
                <a:gd name="connsiteY6289" fmla="*/ 1110506 h 6072780"/>
                <a:gd name="connsiteX6290" fmla="*/ 11915132 w 12117871"/>
                <a:gd name="connsiteY6290" fmla="*/ 1030914 h 6072780"/>
                <a:gd name="connsiteX6291" fmla="*/ 11934842 w 12117871"/>
                <a:gd name="connsiteY6291" fmla="*/ 944399 h 6072780"/>
                <a:gd name="connsiteX6292" fmla="*/ 11991716 w 12117871"/>
                <a:gd name="connsiteY6292" fmla="*/ 915060 h 6072780"/>
                <a:gd name="connsiteX6293" fmla="*/ 11775206 w 12117871"/>
                <a:gd name="connsiteY6293" fmla="*/ 915060 h 6072780"/>
                <a:gd name="connsiteX6294" fmla="*/ 11846373 w 12117871"/>
                <a:gd name="connsiteY6294" fmla="*/ 1025647 h 6072780"/>
                <a:gd name="connsiteX6295" fmla="*/ 11826287 w 12117871"/>
                <a:gd name="connsiteY6295" fmla="*/ 1109227 h 6072780"/>
                <a:gd name="connsiteX6296" fmla="*/ 11770090 w 12117871"/>
                <a:gd name="connsiteY6296" fmla="*/ 1138040 h 6072780"/>
                <a:gd name="connsiteX6297" fmla="*/ 11717505 w 12117871"/>
                <a:gd name="connsiteY6297" fmla="*/ 1110506 h 6072780"/>
                <a:gd name="connsiteX6298" fmla="*/ 11698622 w 12117871"/>
                <a:gd name="connsiteY6298" fmla="*/ 1030914 h 6072780"/>
                <a:gd name="connsiteX6299" fmla="*/ 11718332 w 12117871"/>
                <a:gd name="connsiteY6299" fmla="*/ 944399 h 6072780"/>
                <a:gd name="connsiteX6300" fmla="*/ 11775206 w 12117871"/>
                <a:gd name="connsiteY6300" fmla="*/ 915060 h 6072780"/>
                <a:gd name="connsiteX6301" fmla="*/ 11623651 w 12117871"/>
                <a:gd name="connsiteY6301" fmla="*/ 915060 h 6072780"/>
                <a:gd name="connsiteX6302" fmla="*/ 11638557 w 12117871"/>
                <a:gd name="connsiteY6302" fmla="*/ 915060 h 6072780"/>
                <a:gd name="connsiteX6303" fmla="*/ 11638557 w 12117871"/>
                <a:gd name="connsiteY6303" fmla="*/ 1138040 h 6072780"/>
                <a:gd name="connsiteX6304" fmla="*/ 11603269 w 12117871"/>
                <a:gd name="connsiteY6304" fmla="*/ 1138040 h 6072780"/>
                <a:gd name="connsiteX6305" fmla="*/ 11603269 w 12117871"/>
                <a:gd name="connsiteY6305" fmla="*/ 958257 h 6072780"/>
                <a:gd name="connsiteX6306" fmla="*/ 11582660 w 12117871"/>
                <a:gd name="connsiteY6306" fmla="*/ 969892 h 6072780"/>
                <a:gd name="connsiteX6307" fmla="*/ 11557487 w 12117871"/>
                <a:gd name="connsiteY6307" fmla="*/ 978334 h 6072780"/>
                <a:gd name="connsiteX6308" fmla="*/ 11557487 w 12117871"/>
                <a:gd name="connsiteY6308" fmla="*/ 948218 h 6072780"/>
                <a:gd name="connsiteX6309" fmla="*/ 11574522 w 12117871"/>
                <a:gd name="connsiteY6309" fmla="*/ 942134 h 6072780"/>
                <a:gd name="connsiteX6310" fmla="*/ 11590721 w 12117871"/>
                <a:gd name="connsiteY6310" fmla="*/ 934985 h 6072780"/>
                <a:gd name="connsiteX6311" fmla="*/ 11606844 w 12117871"/>
                <a:gd name="connsiteY6311" fmla="*/ 926163 h 6072780"/>
                <a:gd name="connsiteX6312" fmla="*/ 11623651 w 12117871"/>
                <a:gd name="connsiteY6312" fmla="*/ 915060 h 6072780"/>
                <a:gd name="connsiteX6313" fmla="*/ 11320876 w 12117871"/>
                <a:gd name="connsiteY6313" fmla="*/ 915060 h 6072780"/>
                <a:gd name="connsiteX6314" fmla="*/ 11335782 w 12117871"/>
                <a:gd name="connsiteY6314" fmla="*/ 915060 h 6072780"/>
                <a:gd name="connsiteX6315" fmla="*/ 11335782 w 12117871"/>
                <a:gd name="connsiteY6315" fmla="*/ 1138040 h 6072780"/>
                <a:gd name="connsiteX6316" fmla="*/ 11300494 w 12117871"/>
                <a:gd name="connsiteY6316" fmla="*/ 1138040 h 6072780"/>
                <a:gd name="connsiteX6317" fmla="*/ 11300494 w 12117871"/>
                <a:gd name="connsiteY6317" fmla="*/ 958257 h 6072780"/>
                <a:gd name="connsiteX6318" fmla="*/ 11279885 w 12117871"/>
                <a:gd name="connsiteY6318" fmla="*/ 969892 h 6072780"/>
                <a:gd name="connsiteX6319" fmla="*/ 11254712 w 12117871"/>
                <a:gd name="connsiteY6319" fmla="*/ 978334 h 6072780"/>
                <a:gd name="connsiteX6320" fmla="*/ 11254712 w 12117871"/>
                <a:gd name="connsiteY6320" fmla="*/ 948218 h 6072780"/>
                <a:gd name="connsiteX6321" fmla="*/ 11271747 w 12117871"/>
                <a:gd name="connsiteY6321" fmla="*/ 942134 h 6072780"/>
                <a:gd name="connsiteX6322" fmla="*/ 11287946 w 12117871"/>
                <a:gd name="connsiteY6322" fmla="*/ 934985 h 6072780"/>
                <a:gd name="connsiteX6323" fmla="*/ 11304069 w 12117871"/>
                <a:gd name="connsiteY6323" fmla="*/ 926163 h 6072780"/>
                <a:gd name="connsiteX6324" fmla="*/ 11320876 w 12117871"/>
                <a:gd name="connsiteY6324" fmla="*/ 915060 h 6072780"/>
                <a:gd name="connsiteX6325" fmla="*/ 10943712 w 12117871"/>
                <a:gd name="connsiteY6325" fmla="*/ 915060 h 6072780"/>
                <a:gd name="connsiteX6326" fmla="*/ 10958618 w 12117871"/>
                <a:gd name="connsiteY6326" fmla="*/ 915060 h 6072780"/>
                <a:gd name="connsiteX6327" fmla="*/ 10958618 w 12117871"/>
                <a:gd name="connsiteY6327" fmla="*/ 1138040 h 6072780"/>
                <a:gd name="connsiteX6328" fmla="*/ 10923330 w 12117871"/>
                <a:gd name="connsiteY6328" fmla="*/ 1138040 h 6072780"/>
                <a:gd name="connsiteX6329" fmla="*/ 10923330 w 12117871"/>
                <a:gd name="connsiteY6329" fmla="*/ 958257 h 6072780"/>
                <a:gd name="connsiteX6330" fmla="*/ 10902721 w 12117871"/>
                <a:gd name="connsiteY6330" fmla="*/ 969892 h 6072780"/>
                <a:gd name="connsiteX6331" fmla="*/ 10877548 w 12117871"/>
                <a:gd name="connsiteY6331" fmla="*/ 978334 h 6072780"/>
                <a:gd name="connsiteX6332" fmla="*/ 10877548 w 12117871"/>
                <a:gd name="connsiteY6332" fmla="*/ 948218 h 6072780"/>
                <a:gd name="connsiteX6333" fmla="*/ 10894583 w 12117871"/>
                <a:gd name="connsiteY6333" fmla="*/ 942134 h 6072780"/>
                <a:gd name="connsiteX6334" fmla="*/ 10910782 w 12117871"/>
                <a:gd name="connsiteY6334" fmla="*/ 934985 h 6072780"/>
                <a:gd name="connsiteX6335" fmla="*/ 10926905 w 12117871"/>
                <a:gd name="connsiteY6335" fmla="*/ 926163 h 6072780"/>
                <a:gd name="connsiteX6336" fmla="*/ 10943712 w 12117871"/>
                <a:gd name="connsiteY6336" fmla="*/ 915060 h 6072780"/>
                <a:gd name="connsiteX6337" fmla="*/ 10794855 w 12117871"/>
                <a:gd name="connsiteY6337" fmla="*/ 915060 h 6072780"/>
                <a:gd name="connsiteX6338" fmla="*/ 10809761 w 12117871"/>
                <a:gd name="connsiteY6338" fmla="*/ 915060 h 6072780"/>
                <a:gd name="connsiteX6339" fmla="*/ 10809761 w 12117871"/>
                <a:gd name="connsiteY6339" fmla="*/ 1138040 h 6072780"/>
                <a:gd name="connsiteX6340" fmla="*/ 10774473 w 12117871"/>
                <a:gd name="connsiteY6340" fmla="*/ 1138040 h 6072780"/>
                <a:gd name="connsiteX6341" fmla="*/ 10774473 w 12117871"/>
                <a:gd name="connsiteY6341" fmla="*/ 958257 h 6072780"/>
                <a:gd name="connsiteX6342" fmla="*/ 10753864 w 12117871"/>
                <a:gd name="connsiteY6342" fmla="*/ 969892 h 6072780"/>
                <a:gd name="connsiteX6343" fmla="*/ 10728691 w 12117871"/>
                <a:gd name="connsiteY6343" fmla="*/ 978334 h 6072780"/>
                <a:gd name="connsiteX6344" fmla="*/ 10728691 w 12117871"/>
                <a:gd name="connsiteY6344" fmla="*/ 948218 h 6072780"/>
                <a:gd name="connsiteX6345" fmla="*/ 10745726 w 12117871"/>
                <a:gd name="connsiteY6345" fmla="*/ 942134 h 6072780"/>
                <a:gd name="connsiteX6346" fmla="*/ 10761925 w 12117871"/>
                <a:gd name="connsiteY6346" fmla="*/ 934985 h 6072780"/>
                <a:gd name="connsiteX6347" fmla="*/ 10778048 w 12117871"/>
                <a:gd name="connsiteY6347" fmla="*/ 926163 h 6072780"/>
                <a:gd name="connsiteX6348" fmla="*/ 10794855 w 12117871"/>
                <a:gd name="connsiteY6348" fmla="*/ 915060 h 6072780"/>
                <a:gd name="connsiteX6349" fmla="*/ 10640937 w 12117871"/>
                <a:gd name="connsiteY6349" fmla="*/ 915060 h 6072780"/>
                <a:gd name="connsiteX6350" fmla="*/ 10655843 w 12117871"/>
                <a:gd name="connsiteY6350" fmla="*/ 915060 h 6072780"/>
                <a:gd name="connsiteX6351" fmla="*/ 10655843 w 12117871"/>
                <a:gd name="connsiteY6351" fmla="*/ 1138040 h 6072780"/>
                <a:gd name="connsiteX6352" fmla="*/ 10620555 w 12117871"/>
                <a:gd name="connsiteY6352" fmla="*/ 1138040 h 6072780"/>
                <a:gd name="connsiteX6353" fmla="*/ 10620555 w 12117871"/>
                <a:gd name="connsiteY6353" fmla="*/ 958257 h 6072780"/>
                <a:gd name="connsiteX6354" fmla="*/ 10599946 w 12117871"/>
                <a:gd name="connsiteY6354" fmla="*/ 969892 h 6072780"/>
                <a:gd name="connsiteX6355" fmla="*/ 10574773 w 12117871"/>
                <a:gd name="connsiteY6355" fmla="*/ 978334 h 6072780"/>
                <a:gd name="connsiteX6356" fmla="*/ 10574773 w 12117871"/>
                <a:gd name="connsiteY6356" fmla="*/ 948218 h 6072780"/>
                <a:gd name="connsiteX6357" fmla="*/ 10591808 w 12117871"/>
                <a:gd name="connsiteY6357" fmla="*/ 942134 h 6072780"/>
                <a:gd name="connsiteX6358" fmla="*/ 10608007 w 12117871"/>
                <a:gd name="connsiteY6358" fmla="*/ 934985 h 6072780"/>
                <a:gd name="connsiteX6359" fmla="*/ 10624130 w 12117871"/>
                <a:gd name="connsiteY6359" fmla="*/ 926163 h 6072780"/>
                <a:gd name="connsiteX6360" fmla="*/ 10640937 w 12117871"/>
                <a:gd name="connsiteY6360" fmla="*/ 915060 h 6072780"/>
                <a:gd name="connsiteX6361" fmla="*/ 10492080 w 12117871"/>
                <a:gd name="connsiteY6361" fmla="*/ 915060 h 6072780"/>
                <a:gd name="connsiteX6362" fmla="*/ 10506986 w 12117871"/>
                <a:gd name="connsiteY6362" fmla="*/ 915060 h 6072780"/>
                <a:gd name="connsiteX6363" fmla="*/ 10506986 w 12117871"/>
                <a:gd name="connsiteY6363" fmla="*/ 1138040 h 6072780"/>
                <a:gd name="connsiteX6364" fmla="*/ 10471698 w 12117871"/>
                <a:gd name="connsiteY6364" fmla="*/ 1138040 h 6072780"/>
                <a:gd name="connsiteX6365" fmla="*/ 10471698 w 12117871"/>
                <a:gd name="connsiteY6365" fmla="*/ 958257 h 6072780"/>
                <a:gd name="connsiteX6366" fmla="*/ 10451089 w 12117871"/>
                <a:gd name="connsiteY6366" fmla="*/ 969892 h 6072780"/>
                <a:gd name="connsiteX6367" fmla="*/ 10425916 w 12117871"/>
                <a:gd name="connsiteY6367" fmla="*/ 978334 h 6072780"/>
                <a:gd name="connsiteX6368" fmla="*/ 10425916 w 12117871"/>
                <a:gd name="connsiteY6368" fmla="*/ 948218 h 6072780"/>
                <a:gd name="connsiteX6369" fmla="*/ 10442951 w 12117871"/>
                <a:gd name="connsiteY6369" fmla="*/ 942134 h 6072780"/>
                <a:gd name="connsiteX6370" fmla="*/ 10459150 w 12117871"/>
                <a:gd name="connsiteY6370" fmla="*/ 934985 h 6072780"/>
                <a:gd name="connsiteX6371" fmla="*/ 10475273 w 12117871"/>
                <a:gd name="connsiteY6371" fmla="*/ 926163 h 6072780"/>
                <a:gd name="connsiteX6372" fmla="*/ 10492080 w 12117871"/>
                <a:gd name="connsiteY6372" fmla="*/ 915060 h 6072780"/>
                <a:gd name="connsiteX6373" fmla="*/ 9770689 w 12117871"/>
                <a:gd name="connsiteY6373" fmla="*/ 915060 h 6072780"/>
                <a:gd name="connsiteX6374" fmla="*/ 9785595 w 12117871"/>
                <a:gd name="connsiteY6374" fmla="*/ 915060 h 6072780"/>
                <a:gd name="connsiteX6375" fmla="*/ 9785595 w 12117871"/>
                <a:gd name="connsiteY6375" fmla="*/ 1138040 h 6072780"/>
                <a:gd name="connsiteX6376" fmla="*/ 9750307 w 12117871"/>
                <a:gd name="connsiteY6376" fmla="*/ 1138040 h 6072780"/>
                <a:gd name="connsiteX6377" fmla="*/ 9750307 w 12117871"/>
                <a:gd name="connsiteY6377" fmla="*/ 958257 h 6072780"/>
                <a:gd name="connsiteX6378" fmla="*/ 9729698 w 12117871"/>
                <a:gd name="connsiteY6378" fmla="*/ 969892 h 6072780"/>
                <a:gd name="connsiteX6379" fmla="*/ 9704525 w 12117871"/>
                <a:gd name="connsiteY6379" fmla="*/ 978334 h 6072780"/>
                <a:gd name="connsiteX6380" fmla="*/ 9704525 w 12117871"/>
                <a:gd name="connsiteY6380" fmla="*/ 948218 h 6072780"/>
                <a:gd name="connsiteX6381" fmla="*/ 9721560 w 12117871"/>
                <a:gd name="connsiteY6381" fmla="*/ 942134 h 6072780"/>
                <a:gd name="connsiteX6382" fmla="*/ 9737759 w 12117871"/>
                <a:gd name="connsiteY6382" fmla="*/ 934985 h 6072780"/>
                <a:gd name="connsiteX6383" fmla="*/ 9753882 w 12117871"/>
                <a:gd name="connsiteY6383" fmla="*/ 926163 h 6072780"/>
                <a:gd name="connsiteX6384" fmla="*/ 9770689 w 12117871"/>
                <a:gd name="connsiteY6384" fmla="*/ 915060 h 6072780"/>
                <a:gd name="connsiteX6385" fmla="*/ 9621832 w 12117871"/>
                <a:gd name="connsiteY6385" fmla="*/ 915060 h 6072780"/>
                <a:gd name="connsiteX6386" fmla="*/ 9636738 w 12117871"/>
                <a:gd name="connsiteY6386" fmla="*/ 915060 h 6072780"/>
                <a:gd name="connsiteX6387" fmla="*/ 9636738 w 12117871"/>
                <a:gd name="connsiteY6387" fmla="*/ 1138040 h 6072780"/>
                <a:gd name="connsiteX6388" fmla="*/ 9601450 w 12117871"/>
                <a:gd name="connsiteY6388" fmla="*/ 1138040 h 6072780"/>
                <a:gd name="connsiteX6389" fmla="*/ 9601450 w 12117871"/>
                <a:gd name="connsiteY6389" fmla="*/ 958257 h 6072780"/>
                <a:gd name="connsiteX6390" fmla="*/ 9580841 w 12117871"/>
                <a:gd name="connsiteY6390" fmla="*/ 969892 h 6072780"/>
                <a:gd name="connsiteX6391" fmla="*/ 9555668 w 12117871"/>
                <a:gd name="connsiteY6391" fmla="*/ 978334 h 6072780"/>
                <a:gd name="connsiteX6392" fmla="*/ 9555668 w 12117871"/>
                <a:gd name="connsiteY6392" fmla="*/ 948218 h 6072780"/>
                <a:gd name="connsiteX6393" fmla="*/ 9572703 w 12117871"/>
                <a:gd name="connsiteY6393" fmla="*/ 942134 h 6072780"/>
                <a:gd name="connsiteX6394" fmla="*/ 9588902 w 12117871"/>
                <a:gd name="connsiteY6394" fmla="*/ 934985 h 6072780"/>
                <a:gd name="connsiteX6395" fmla="*/ 9605025 w 12117871"/>
                <a:gd name="connsiteY6395" fmla="*/ 926163 h 6072780"/>
                <a:gd name="connsiteX6396" fmla="*/ 9621832 w 12117871"/>
                <a:gd name="connsiteY6396" fmla="*/ 915060 h 6072780"/>
                <a:gd name="connsiteX6397" fmla="*/ 8818727 w 12117871"/>
                <a:gd name="connsiteY6397" fmla="*/ 915060 h 6072780"/>
                <a:gd name="connsiteX6398" fmla="*/ 8833633 w 12117871"/>
                <a:gd name="connsiteY6398" fmla="*/ 915060 h 6072780"/>
                <a:gd name="connsiteX6399" fmla="*/ 8833633 w 12117871"/>
                <a:gd name="connsiteY6399" fmla="*/ 1138040 h 6072780"/>
                <a:gd name="connsiteX6400" fmla="*/ 8798345 w 12117871"/>
                <a:gd name="connsiteY6400" fmla="*/ 1138040 h 6072780"/>
                <a:gd name="connsiteX6401" fmla="*/ 8798345 w 12117871"/>
                <a:gd name="connsiteY6401" fmla="*/ 958257 h 6072780"/>
                <a:gd name="connsiteX6402" fmla="*/ 8777736 w 12117871"/>
                <a:gd name="connsiteY6402" fmla="*/ 969892 h 6072780"/>
                <a:gd name="connsiteX6403" fmla="*/ 8752563 w 12117871"/>
                <a:gd name="connsiteY6403" fmla="*/ 978334 h 6072780"/>
                <a:gd name="connsiteX6404" fmla="*/ 8752563 w 12117871"/>
                <a:gd name="connsiteY6404" fmla="*/ 948218 h 6072780"/>
                <a:gd name="connsiteX6405" fmla="*/ 8769598 w 12117871"/>
                <a:gd name="connsiteY6405" fmla="*/ 942134 h 6072780"/>
                <a:gd name="connsiteX6406" fmla="*/ 8785797 w 12117871"/>
                <a:gd name="connsiteY6406" fmla="*/ 934985 h 6072780"/>
                <a:gd name="connsiteX6407" fmla="*/ 8801920 w 12117871"/>
                <a:gd name="connsiteY6407" fmla="*/ 926163 h 6072780"/>
                <a:gd name="connsiteX6408" fmla="*/ 8818727 w 12117871"/>
                <a:gd name="connsiteY6408" fmla="*/ 915060 h 6072780"/>
                <a:gd name="connsiteX6409" fmla="*/ 8440120 w 12117871"/>
                <a:gd name="connsiteY6409" fmla="*/ 915060 h 6072780"/>
                <a:gd name="connsiteX6410" fmla="*/ 8455026 w 12117871"/>
                <a:gd name="connsiteY6410" fmla="*/ 915060 h 6072780"/>
                <a:gd name="connsiteX6411" fmla="*/ 8455026 w 12117871"/>
                <a:gd name="connsiteY6411" fmla="*/ 1138040 h 6072780"/>
                <a:gd name="connsiteX6412" fmla="*/ 8419738 w 12117871"/>
                <a:gd name="connsiteY6412" fmla="*/ 1138040 h 6072780"/>
                <a:gd name="connsiteX6413" fmla="*/ 8419738 w 12117871"/>
                <a:gd name="connsiteY6413" fmla="*/ 958257 h 6072780"/>
                <a:gd name="connsiteX6414" fmla="*/ 8399129 w 12117871"/>
                <a:gd name="connsiteY6414" fmla="*/ 969892 h 6072780"/>
                <a:gd name="connsiteX6415" fmla="*/ 8373956 w 12117871"/>
                <a:gd name="connsiteY6415" fmla="*/ 978334 h 6072780"/>
                <a:gd name="connsiteX6416" fmla="*/ 8373956 w 12117871"/>
                <a:gd name="connsiteY6416" fmla="*/ 948218 h 6072780"/>
                <a:gd name="connsiteX6417" fmla="*/ 8390991 w 12117871"/>
                <a:gd name="connsiteY6417" fmla="*/ 942134 h 6072780"/>
                <a:gd name="connsiteX6418" fmla="*/ 8407190 w 12117871"/>
                <a:gd name="connsiteY6418" fmla="*/ 934985 h 6072780"/>
                <a:gd name="connsiteX6419" fmla="*/ 8423313 w 12117871"/>
                <a:gd name="connsiteY6419" fmla="*/ 926163 h 6072780"/>
                <a:gd name="connsiteX6420" fmla="*/ 8440120 w 12117871"/>
                <a:gd name="connsiteY6420" fmla="*/ 915060 h 6072780"/>
                <a:gd name="connsiteX6421" fmla="*/ 8291263 w 12117871"/>
                <a:gd name="connsiteY6421" fmla="*/ 915060 h 6072780"/>
                <a:gd name="connsiteX6422" fmla="*/ 8306169 w 12117871"/>
                <a:gd name="connsiteY6422" fmla="*/ 915060 h 6072780"/>
                <a:gd name="connsiteX6423" fmla="*/ 8306169 w 12117871"/>
                <a:gd name="connsiteY6423" fmla="*/ 1138040 h 6072780"/>
                <a:gd name="connsiteX6424" fmla="*/ 8270881 w 12117871"/>
                <a:gd name="connsiteY6424" fmla="*/ 1138040 h 6072780"/>
                <a:gd name="connsiteX6425" fmla="*/ 8270881 w 12117871"/>
                <a:gd name="connsiteY6425" fmla="*/ 958257 h 6072780"/>
                <a:gd name="connsiteX6426" fmla="*/ 8250272 w 12117871"/>
                <a:gd name="connsiteY6426" fmla="*/ 969892 h 6072780"/>
                <a:gd name="connsiteX6427" fmla="*/ 8225099 w 12117871"/>
                <a:gd name="connsiteY6427" fmla="*/ 978334 h 6072780"/>
                <a:gd name="connsiteX6428" fmla="*/ 8225099 w 12117871"/>
                <a:gd name="connsiteY6428" fmla="*/ 948218 h 6072780"/>
                <a:gd name="connsiteX6429" fmla="*/ 8242134 w 12117871"/>
                <a:gd name="connsiteY6429" fmla="*/ 942134 h 6072780"/>
                <a:gd name="connsiteX6430" fmla="*/ 8258333 w 12117871"/>
                <a:gd name="connsiteY6430" fmla="*/ 934985 h 6072780"/>
                <a:gd name="connsiteX6431" fmla="*/ 8274456 w 12117871"/>
                <a:gd name="connsiteY6431" fmla="*/ 926163 h 6072780"/>
                <a:gd name="connsiteX6432" fmla="*/ 8291263 w 12117871"/>
                <a:gd name="connsiteY6432" fmla="*/ 915060 h 6072780"/>
                <a:gd name="connsiteX6433" fmla="*/ 8137345 w 12117871"/>
                <a:gd name="connsiteY6433" fmla="*/ 915060 h 6072780"/>
                <a:gd name="connsiteX6434" fmla="*/ 8152251 w 12117871"/>
                <a:gd name="connsiteY6434" fmla="*/ 915060 h 6072780"/>
                <a:gd name="connsiteX6435" fmla="*/ 8152251 w 12117871"/>
                <a:gd name="connsiteY6435" fmla="*/ 1138040 h 6072780"/>
                <a:gd name="connsiteX6436" fmla="*/ 8116963 w 12117871"/>
                <a:gd name="connsiteY6436" fmla="*/ 1138040 h 6072780"/>
                <a:gd name="connsiteX6437" fmla="*/ 8116963 w 12117871"/>
                <a:gd name="connsiteY6437" fmla="*/ 958257 h 6072780"/>
                <a:gd name="connsiteX6438" fmla="*/ 8096354 w 12117871"/>
                <a:gd name="connsiteY6438" fmla="*/ 969892 h 6072780"/>
                <a:gd name="connsiteX6439" fmla="*/ 8071181 w 12117871"/>
                <a:gd name="connsiteY6439" fmla="*/ 978334 h 6072780"/>
                <a:gd name="connsiteX6440" fmla="*/ 8071181 w 12117871"/>
                <a:gd name="connsiteY6440" fmla="*/ 948218 h 6072780"/>
                <a:gd name="connsiteX6441" fmla="*/ 8088216 w 12117871"/>
                <a:gd name="connsiteY6441" fmla="*/ 942134 h 6072780"/>
                <a:gd name="connsiteX6442" fmla="*/ 8104415 w 12117871"/>
                <a:gd name="connsiteY6442" fmla="*/ 934985 h 6072780"/>
                <a:gd name="connsiteX6443" fmla="*/ 8120538 w 12117871"/>
                <a:gd name="connsiteY6443" fmla="*/ 926163 h 6072780"/>
                <a:gd name="connsiteX6444" fmla="*/ 8137345 w 12117871"/>
                <a:gd name="connsiteY6444" fmla="*/ 915060 h 6072780"/>
                <a:gd name="connsiteX6445" fmla="*/ 7988488 w 12117871"/>
                <a:gd name="connsiteY6445" fmla="*/ 915060 h 6072780"/>
                <a:gd name="connsiteX6446" fmla="*/ 8003394 w 12117871"/>
                <a:gd name="connsiteY6446" fmla="*/ 915060 h 6072780"/>
                <a:gd name="connsiteX6447" fmla="*/ 8003394 w 12117871"/>
                <a:gd name="connsiteY6447" fmla="*/ 1138040 h 6072780"/>
                <a:gd name="connsiteX6448" fmla="*/ 7968106 w 12117871"/>
                <a:gd name="connsiteY6448" fmla="*/ 1138040 h 6072780"/>
                <a:gd name="connsiteX6449" fmla="*/ 7968106 w 12117871"/>
                <a:gd name="connsiteY6449" fmla="*/ 958257 h 6072780"/>
                <a:gd name="connsiteX6450" fmla="*/ 7947497 w 12117871"/>
                <a:gd name="connsiteY6450" fmla="*/ 969892 h 6072780"/>
                <a:gd name="connsiteX6451" fmla="*/ 7922324 w 12117871"/>
                <a:gd name="connsiteY6451" fmla="*/ 978334 h 6072780"/>
                <a:gd name="connsiteX6452" fmla="*/ 7922324 w 12117871"/>
                <a:gd name="connsiteY6452" fmla="*/ 948218 h 6072780"/>
                <a:gd name="connsiteX6453" fmla="*/ 7939359 w 12117871"/>
                <a:gd name="connsiteY6453" fmla="*/ 942134 h 6072780"/>
                <a:gd name="connsiteX6454" fmla="*/ 7955558 w 12117871"/>
                <a:gd name="connsiteY6454" fmla="*/ 934985 h 6072780"/>
                <a:gd name="connsiteX6455" fmla="*/ 7971681 w 12117871"/>
                <a:gd name="connsiteY6455" fmla="*/ 926163 h 6072780"/>
                <a:gd name="connsiteX6456" fmla="*/ 7988488 w 12117871"/>
                <a:gd name="connsiteY6456" fmla="*/ 915060 h 6072780"/>
                <a:gd name="connsiteX6457" fmla="*/ 7839631 w 12117871"/>
                <a:gd name="connsiteY6457" fmla="*/ 915060 h 6072780"/>
                <a:gd name="connsiteX6458" fmla="*/ 7854537 w 12117871"/>
                <a:gd name="connsiteY6458" fmla="*/ 915060 h 6072780"/>
                <a:gd name="connsiteX6459" fmla="*/ 7854537 w 12117871"/>
                <a:gd name="connsiteY6459" fmla="*/ 1138040 h 6072780"/>
                <a:gd name="connsiteX6460" fmla="*/ 7819249 w 12117871"/>
                <a:gd name="connsiteY6460" fmla="*/ 1138040 h 6072780"/>
                <a:gd name="connsiteX6461" fmla="*/ 7819249 w 12117871"/>
                <a:gd name="connsiteY6461" fmla="*/ 958257 h 6072780"/>
                <a:gd name="connsiteX6462" fmla="*/ 7798640 w 12117871"/>
                <a:gd name="connsiteY6462" fmla="*/ 969892 h 6072780"/>
                <a:gd name="connsiteX6463" fmla="*/ 7773467 w 12117871"/>
                <a:gd name="connsiteY6463" fmla="*/ 978334 h 6072780"/>
                <a:gd name="connsiteX6464" fmla="*/ 7773467 w 12117871"/>
                <a:gd name="connsiteY6464" fmla="*/ 948218 h 6072780"/>
                <a:gd name="connsiteX6465" fmla="*/ 7790502 w 12117871"/>
                <a:gd name="connsiteY6465" fmla="*/ 942134 h 6072780"/>
                <a:gd name="connsiteX6466" fmla="*/ 7806701 w 12117871"/>
                <a:gd name="connsiteY6466" fmla="*/ 934985 h 6072780"/>
                <a:gd name="connsiteX6467" fmla="*/ 7822824 w 12117871"/>
                <a:gd name="connsiteY6467" fmla="*/ 926163 h 6072780"/>
                <a:gd name="connsiteX6468" fmla="*/ 7839631 w 12117871"/>
                <a:gd name="connsiteY6468" fmla="*/ 915060 h 6072780"/>
                <a:gd name="connsiteX6469" fmla="*/ 7487544 w 12117871"/>
                <a:gd name="connsiteY6469" fmla="*/ 915060 h 6072780"/>
                <a:gd name="connsiteX6470" fmla="*/ 7502450 w 12117871"/>
                <a:gd name="connsiteY6470" fmla="*/ 915060 h 6072780"/>
                <a:gd name="connsiteX6471" fmla="*/ 7502450 w 12117871"/>
                <a:gd name="connsiteY6471" fmla="*/ 1138040 h 6072780"/>
                <a:gd name="connsiteX6472" fmla="*/ 7467162 w 12117871"/>
                <a:gd name="connsiteY6472" fmla="*/ 1138040 h 6072780"/>
                <a:gd name="connsiteX6473" fmla="*/ 7467162 w 12117871"/>
                <a:gd name="connsiteY6473" fmla="*/ 958257 h 6072780"/>
                <a:gd name="connsiteX6474" fmla="*/ 7446553 w 12117871"/>
                <a:gd name="connsiteY6474" fmla="*/ 969892 h 6072780"/>
                <a:gd name="connsiteX6475" fmla="*/ 7421380 w 12117871"/>
                <a:gd name="connsiteY6475" fmla="*/ 978334 h 6072780"/>
                <a:gd name="connsiteX6476" fmla="*/ 7421380 w 12117871"/>
                <a:gd name="connsiteY6476" fmla="*/ 948218 h 6072780"/>
                <a:gd name="connsiteX6477" fmla="*/ 7438415 w 12117871"/>
                <a:gd name="connsiteY6477" fmla="*/ 942134 h 6072780"/>
                <a:gd name="connsiteX6478" fmla="*/ 7454614 w 12117871"/>
                <a:gd name="connsiteY6478" fmla="*/ 934985 h 6072780"/>
                <a:gd name="connsiteX6479" fmla="*/ 7470737 w 12117871"/>
                <a:gd name="connsiteY6479" fmla="*/ 926163 h 6072780"/>
                <a:gd name="connsiteX6480" fmla="*/ 7487544 w 12117871"/>
                <a:gd name="connsiteY6480" fmla="*/ 915060 h 6072780"/>
                <a:gd name="connsiteX6481" fmla="*/ 7189830 w 12117871"/>
                <a:gd name="connsiteY6481" fmla="*/ 915060 h 6072780"/>
                <a:gd name="connsiteX6482" fmla="*/ 7204736 w 12117871"/>
                <a:gd name="connsiteY6482" fmla="*/ 915060 h 6072780"/>
                <a:gd name="connsiteX6483" fmla="*/ 7204736 w 12117871"/>
                <a:gd name="connsiteY6483" fmla="*/ 1138040 h 6072780"/>
                <a:gd name="connsiteX6484" fmla="*/ 7169448 w 12117871"/>
                <a:gd name="connsiteY6484" fmla="*/ 1138040 h 6072780"/>
                <a:gd name="connsiteX6485" fmla="*/ 7169448 w 12117871"/>
                <a:gd name="connsiteY6485" fmla="*/ 958257 h 6072780"/>
                <a:gd name="connsiteX6486" fmla="*/ 7148839 w 12117871"/>
                <a:gd name="connsiteY6486" fmla="*/ 969892 h 6072780"/>
                <a:gd name="connsiteX6487" fmla="*/ 7123666 w 12117871"/>
                <a:gd name="connsiteY6487" fmla="*/ 978334 h 6072780"/>
                <a:gd name="connsiteX6488" fmla="*/ 7123666 w 12117871"/>
                <a:gd name="connsiteY6488" fmla="*/ 948218 h 6072780"/>
                <a:gd name="connsiteX6489" fmla="*/ 7140701 w 12117871"/>
                <a:gd name="connsiteY6489" fmla="*/ 942134 h 6072780"/>
                <a:gd name="connsiteX6490" fmla="*/ 7156900 w 12117871"/>
                <a:gd name="connsiteY6490" fmla="*/ 934985 h 6072780"/>
                <a:gd name="connsiteX6491" fmla="*/ 7173023 w 12117871"/>
                <a:gd name="connsiteY6491" fmla="*/ 926163 h 6072780"/>
                <a:gd name="connsiteX6492" fmla="*/ 7189830 w 12117871"/>
                <a:gd name="connsiteY6492" fmla="*/ 915060 h 6072780"/>
                <a:gd name="connsiteX6493" fmla="*/ 6980418 w 12117871"/>
                <a:gd name="connsiteY6493" fmla="*/ 915060 h 6072780"/>
                <a:gd name="connsiteX6494" fmla="*/ 7051585 w 12117871"/>
                <a:gd name="connsiteY6494" fmla="*/ 1025647 h 6072780"/>
                <a:gd name="connsiteX6495" fmla="*/ 7031499 w 12117871"/>
                <a:gd name="connsiteY6495" fmla="*/ 1109227 h 6072780"/>
                <a:gd name="connsiteX6496" fmla="*/ 6975302 w 12117871"/>
                <a:gd name="connsiteY6496" fmla="*/ 1138040 h 6072780"/>
                <a:gd name="connsiteX6497" fmla="*/ 6922717 w 12117871"/>
                <a:gd name="connsiteY6497" fmla="*/ 1110506 h 6072780"/>
                <a:gd name="connsiteX6498" fmla="*/ 6903834 w 12117871"/>
                <a:gd name="connsiteY6498" fmla="*/ 1030914 h 6072780"/>
                <a:gd name="connsiteX6499" fmla="*/ 6923544 w 12117871"/>
                <a:gd name="connsiteY6499" fmla="*/ 944399 h 6072780"/>
                <a:gd name="connsiteX6500" fmla="*/ 6980418 w 12117871"/>
                <a:gd name="connsiteY6500" fmla="*/ 915060 h 6072780"/>
                <a:gd name="connsiteX6501" fmla="*/ 6763908 w 12117871"/>
                <a:gd name="connsiteY6501" fmla="*/ 915060 h 6072780"/>
                <a:gd name="connsiteX6502" fmla="*/ 6835075 w 12117871"/>
                <a:gd name="connsiteY6502" fmla="*/ 1025647 h 6072780"/>
                <a:gd name="connsiteX6503" fmla="*/ 6814989 w 12117871"/>
                <a:gd name="connsiteY6503" fmla="*/ 1109227 h 6072780"/>
                <a:gd name="connsiteX6504" fmla="*/ 6758792 w 12117871"/>
                <a:gd name="connsiteY6504" fmla="*/ 1138040 h 6072780"/>
                <a:gd name="connsiteX6505" fmla="*/ 6706207 w 12117871"/>
                <a:gd name="connsiteY6505" fmla="*/ 1110506 h 6072780"/>
                <a:gd name="connsiteX6506" fmla="*/ 6687324 w 12117871"/>
                <a:gd name="connsiteY6506" fmla="*/ 1030914 h 6072780"/>
                <a:gd name="connsiteX6507" fmla="*/ 6707034 w 12117871"/>
                <a:gd name="connsiteY6507" fmla="*/ 944399 h 6072780"/>
                <a:gd name="connsiteX6508" fmla="*/ 6763908 w 12117871"/>
                <a:gd name="connsiteY6508" fmla="*/ 915060 h 6072780"/>
                <a:gd name="connsiteX6509" fmla="*/ 6617601 w 12117871"/>
                <a:gd name="connsiteY6509" fmla="*/ 915060 h 6072780"/>
                <a:gd name="connsiteX6510" fmla="*/ 6632507 w 12117871"/>
                <a:gd name="connsiteY6510" fmla="*/ 915060 h 6072780"/>
                <a:gd name="connsiteX6511" fmla="*/ 6632507 w 12117871"/>
                <a:gd name="connsiteY6511" fmla="*/ 1138040 h 6072780"/>
                <a:gd name="connsiteX6512" fmla="*/ 6597219 w 12117871"/>
                <a:gd name="connsiteY6512" fmla="*/ 1138040 h 6072780"/>
                <a:gd name="connsiteX6513" fmla="*/ 6597219 w 12117871"/>
                <a:gd name="connsiteY6513" fmla="*/ 958257 h 6072780"/>
                <a:gd name="connsiteX6514" fmla="*/ 6576610 w 12117871"/>
                <a:gd name="connsiteY6514" fmla="*/ 969892 h 6072780"/>
                <a:gd name="connsiteX6515" fmla="*/ 6551437 w 12117871"/>
                <a:gd name="connsiteY6515" fmla="*/ 978334 h 6072780"/>
                <a:gd name="connsiteX6516" fmla="*/ 6551437 w 12117871"/>
                <a:gd name="connsiteY6516" fmla="*/ 948218 h 6072780"/>
                <a:gd name="connsiteX6517" fmla="*/ 6568472 w 12117871"/>
                <a:gd name="connsiteY6517" fmla="*/ 942134 h 6072780"/>
                <a:gd name="connsiteX6518" fmla="*/ 6584671 w 12117871"/>
                <a:gd name="connsiteY6518" fmla="*/ 934985 h 6072780"/>
                <a:gd name="connsiteX6519" fmla="*/ 6600794 w 12117871"/>
                <a:gd name="connsiteY6519" fmla="*/ 926163 h 6072780"/>
                <a:gd name="connsiteX6520" fmla="*/ 6617601 w 12117871"/>
                <a:gd name="connsiteY6520" fmla="*/ 915060 h 6072780"/>
                <a:gd name="connsiteX6521" fmla="*/ 6319887 w 12117871"/>
                <a:gd name="connsiteY6521" fmla="*/ 915060 h 6072780"/>
                <a:gd name="connsiteX6522" fmla="*/ 6334793 w 12117871"/>
                <a:gd name="connsiteY6522" fmla="*/ 915060 h 6072780"/>
                <a:gd name="connsiteX6523" fmla="*/ 6334793 w 12117871"/>
                <a:gd name="connsiteY6523" fmla="*/ 1138040 h 6072780"/>
                <a:gd name="connsiteX6524" fmla="*/ 6299505 w 12117871"/>
                <a:gd name="connsiteY6524" fmla="*/ 1138040 h 6072780"/>
                <a:gd name="connsiteX6525" fmla="*/ 6299505 w 12117871"/>
                <a:gd name="connsiteY6525" fmla="*/ 958257 h 6072780"/>
                <a:gd name="connsiteX6526" fmla="*/ 6278896 w 12117871"/>
                <a:gd name="connsiteY6526" fmla="*/ 969892 h 6072780"/>
                <a:gd name="connsiteX6527" fmla="*/ 6253723 w 12117871"/>
                <a:gd name="connsiteY6527" fmla="*/ 978334 h 6072780"/>
                <a:gd name="connsiteX6528" fmla="*/ 6253723 w 12117871"/>
                <a:gd name="connsiteY6528" fmla="*/ 948218 h 6072780"/>
                <a:gd name="connsiteX6529" fmla="*/ 6270758 w 12117871"/>
                <a:gd name="connsiteY6529" fmla="*/ 942134 h 6072780"/>
                <a:gd name="connsiteX6530" fmla="*/ 6286957 w 12117871"/>
                <a:gd name="connsiteY6530" fmla="*/ 934985 h 6072780"/>
                <a:gd name="connsiteX6531" fmla="*/ 6303080 w 12117871"/>
                <a:gd name="connsiteY6531" fmla="*/ 926163 h 6072780"/>
                <a:gd name="connsiteX6532" fmla="*/ 6319887 w 12117871"/>
                <a:gd name="connsiteY6532" fmla="*/ 915060 h 6072780"/>
                <a:gd name="connsiteX6533" fmla="*/ 6146131 w 12117871"/>
                <a:gd name="connsiteY6533" fmla="*/ 915060 h 6072780"/>
                <a:gd name="connsiteX6534" fmla="*/ 6217298 w 12117871"/>
                <a:gd name="connsiteY6534" fmla="*/ 1025647 h 6072780"/>
                <a:gd name="connsiteX6535" fmla="*/ 6197212 w 12117871"/>
                <a:gd name="connsiteY6535" fmla="*/ 1109227 h 6072780"/>
                <a:gd name="connsiteX6536" fmla="*/ 6141015 w 12117871"/>
                <a:gd name="connsiteY6536" fmla="*/ 1138040 h 6072780"/>
                <a:gd name="connsiteX6537" fmla="*/ 6088430 w 12117871"/>
                <a:gd name="connsiteY6537" fmla="*/ 1110506 h 6072780"/>
                <a:gd name="connsiteX6538" fmla="*/ 6069547 w 12117871"/>
                <a:gd name="connsiteY6538" fmla="*/ 1030914 h 6072780"/>
                <a:gd name="connsiteX6539" fmla="*/ 6089257 w 12117871"/>
                <a:gd name="connsiteY6539" fmla="*/ 944399 h 6072780"/>
                <a:gd name="connsiteX6540" fmla="*/ 6146131 w 12117871"/>
                <a:gd name="connsiteY6540" fmla="*/ 915060 h 6072780"/>
                <a:gd name="connsiteX6541" fmla="*/ 5929621 w 12117871"/>
                <a:gd name="connsiteY6541" fmla="*/ 915060 h 6072780"/>
                <a:gd name="connsiteX6542" fmla="*/ 6000789 w 12117871"/>
                <a:gd name="connsiteY6542" fmla="*/ 1025647 h 6072780"/>
                <a:gd name="connsiteX6543" fmla="*/ 5980702 w 12117871"/>
                <a:gd name="connsiteY6543" fmla="*/ 1109227 h 6072780"/>
                <a:gd name="connsiteX6544" fmla="*/ 5924506 w 12117871"/>
                <a:gd name="connsiteY6544" fmla="*/ 1138040 h 6072780"/>
                <a:gd name="connsiteX6545" fmla="*/ 5871919 w 12117871"/>
                <a:gd name="connsiteY6545" fmla="*/ 1110506 h 6072780"/>
                <a:gd name="connsiteX6546" fmla="*/ 5853037 w 12117871"/>
                <a:gd name="connsiteY6546" fmla="*/ 1030914 h 6072780"/>
                <a:gd name="connsiteX6547" fmla="*/ 5872748 w 12117871"/>
                <a:gd name="connsiteY6547" fmla="*/ 944399 h 6072780"/>
                <a:gd name="connsiteX6548" fmla="*/ 5929621 w 12117871"/>
                <a:gd name="connsiteY6548" fmla="*/ 915060 h 6072780"/>
                <a:gd name="connsiteX6549" fmla="*/ 5705513 w 12117871"/>
                <a:gd name="connsiteY6549" fmla="*/ 915060 h 6072780"/>
                <a:gd name="connsiteX6550" fmla="*/ 5776681 w 12117871"/>
                <a:gd name="connsiteY6550" fmla="*/ 1025647 h 6072780"/>
                <a:gd name="connsiteX6551" fmla="*/ 5756596 w 12117871"/>
                <a:gd name="connsiteY6551" fmla="*/ 1109227 h 6072780"/>
                <a:gd name="connsiteX6552" fmla="*/ 5700399 w 12117871"/>
                <a:gd name="connsiteY6552" fmla="*/ 1138040 h 6072780"/>
                <a:gd name="connsiteX6553" fmla="*/ 5647813 w 12117871"/>
                <a:gd name="connsiteY6553" fmla="*/ 1110506 h 6072780"/>
                <a:gd name="connsiteX6554" fmla="*/ 5628930 w 12117871"/>
                <a:gd name="connsiteY6554" fmla="*/ 1030914 h 6072780"/>
                <a:gd name="connsiteX6555" fmla="*/ 5648641 w 12117871"/>
                <a:gd name="connsiteY6555" fmla="*/ 944399 h 6072780"/>
                <a:gd name="connsiteX6556" fmla="*/ 5705513 w 12117871"/>
                <a:gd name="connsiteY6556" fmla="*/ 915060 h 6072780"/>
                <a:gd name="connsiteX6557" fmla="*/ 5548234 w 12117871"/>
                <a:gd name="connsiteY6557" fmla="*/ 915060 h 6072780"/>
                <a:gd name="connsiteX6558" fmla="*/ 5563142 w 12117871"/>
                <a:gd name="connsiteY6558" fmla="*/ 915060 h 6072780"/>
                <a:gd name="connsiteX6559" fmla="*/ 5563142 w 12117871"/>
                <a:gd name="connsiteY6559" fmla="*/ 1138040 h 6072780"/>
                <a:gd name="connsiteX6560" fmla="*/ 5527853 w 12117871"/>
                <a:gd name="connsiteY6560" fmla="*/ 1138040 h 6072780"/>
                <a:gd name="connsiteX6561" fmla="*/ 5527853 w 12117871"/>
                <a:gd name="connsiteY6561" fmla="*/ 958257 h 6072780"/>
                <a:gd name="connsiteX6562" fmla="*/ 5507244 w 12117871"/>
                <a:gd name="connsiteY6562" fmla="*/ 969892 h 6072780"/>
                <a:gd name="connsiteX6563" fmla="*/ 5482071 w 12117871"/>
                <a:gd name="connsiteY6563" fmla="*/ 978334 h 6072780"/>
                <a:gd name="connsiteX6564" fmla="*/ 5482071 w 12117871"/>
                <a:gd name="connsiteY6564" fmla="*/ 948218 h 6072780"/>
                <a:gd name="connsiteX6565" fmla="*/ 5499105 w 12117871"/>
                <a:gd name="connsiteY6565" fmla="*/ 942134 h 6072780"/>
                <a:gd name="connsiteX6566" fmla="*/ 5515305 w 12117871"/>
                <a:gd name="connsiteY6566" fmla="*/ 934985 h 6072780"/>
                <a:gd name="connsiteX6567" fmla="*/ 5531426 w 12117871"/>
                <a:gd name="connsiteY6567" fmla="*/ 926163 h 6072780"/>
                <a:gd name="connsiteX6568" fmla="*/ 5548234 w 12117871"/>
                <a:gd name="connsiteY6568" fmla="*/ 915060 h 6072780"/>
                <a:gd name="connsiteX6569" fmla="*/ 5250520 w 12117871"/>
                <a:gd name="connsiteY6569" fmla="*/ 915060 h 6072780"/>
                <a:gd name="connsiteX6570" fmla="*/ 5265426 w 12117871"/>
                <a:gd name="connsiteY6570" fmla="*/ 915060 h 6072780"/>
                <a:gd name="connsiteX6571" fmla="*/ 5265426 w 12117871"/>
                <a:gd name="connsiteY6571" fmla="*/ 1138040 h 6072780"/>
                <a:gd name="connsiteX6572" fmla="*/ 5230139 w 12117871"/>
                <a:gd name="connsiteY6572" fmla="*/ 1138040 h 6072780"/>
                <a:gd name="connsiteX6573" fmla="*/ 5230139 w 12117871"/>
                <a:gd name="connsiteY6573" fmla="*/ 958257 h 6072780"/>
                <a:gd name="connsiteX6574" fmla="*/ 5209528 w 12117871"/>
                <a:gd name="connsiteY6574" fmla="*/ 969892 h 6072780"/>
                <a:gd name="connsiteX6575" fmla="*/ 5184357 w 12117871"/>
                <a:gd name="connsiteY6575" fmla="*/ 978334 h 6072780"/>
                <a:gd name="connsiteX6576" fmla="*/ 5184357 w 12117871"/>
                <a:gd name="connsiteY6576" fmla="*/ 948218 h 6072780"/>
                <a:gd name="connsiteX6577" fmla="*/ 5201391 w 12117871"/>
                <a:gd name="connsiteY6577" fmla="*/ 942134 h 6072780"/>
                <a:gd name="connsiteX6578" fmla="*/ 5217590 w 12117871"/>
                <a:gd name="connsiteY6578" fmla="*/ 934985 h 6072780"/>
                <a:gd name="connsiteX6579" fmla="*/ 5233712 w 12117871"/>
                <a:gd name="connsiteY6579" fmla="*/ 926163 h 6072780"/>
                <a:gd name="connsiteX6580" fmla="*/ 5250520 w 12117871"/>
                <a:gd name="connsiteY6580" fmla="*/ 915060 h 6072780"/>
                <a:gd name="connsiteX6581" fmla="*/ 4875775 w 12117871"/>
                <a:gd name="connsiteY6581" fmla="*/ 915060 h 6072780"/>
                <a:gd name="connsiteX6582" fmla="*/ 4890681 w 12117871"/>
                <a:gd name="connsiteY6582" fmla="*/ 915060 h 6072780"/>
                <a:gd name="connsiteX6583" fmla="*/ 4890681 w 12117871"/>
                <a:gd name="connsiteY6583" fmla="*/ 1138040 h 6072780"/>
                <a:gd name="connsiteX6584" fmla="*/ 4855393 w 12117871"/>
                <a:gd name="connsiteY6584" fmla="*/ 1138040 h 6072780"/>
                <a:gd name="connsiteX6585" fmla="*/ 4855393 w 12117871"/>
                <a:gd name="connsiteY6585" fmla="*/ 958257 h 6072780"/>
                <a:gd name="connsiteX6586" fmla="*/ 4834784 w 12117871"/>
                <a:gd name="connsiteY6586" fmla="*/ 969892 h 6072780"/>
                <a:gd name="connsiteX6587" fmla="*/ 4809611 w 12117871"/>
                <a:gd name="connsiteY6587" fmla="*/ 978334 h 6072780"/>
                <a:gd name="connsiteX6588" fmla="*/ 4809611 w 12117871"/>
                <a:gd name="connsiteY6588" fmla="*/ 948218 h 6072780"/>
                <a:gd name="connsiteX6589" fmla="*/ 4826646 w 12117871"/>
                <a:gd name="connsiteY6589" fmla="*/ 942134 h 6072780"/>
                <a:gd name="connsiteX6590" fmla="*/ 4842846 w 12117871"/>
                <a:gd name="connsiteY6590" fmla="*/ 934985 h 6072780"/>
                <a:gd name="connsiteX6591" fmla="*/ 4858968 w 12117871"/>
                <a:gd name="connsiteY6591" fmla="*/ 926163 h 6072780"/>
                <a:gd name="connsiteX6592" fmla="*/ 4875775 w 12117871"/>
                <a:gd name="connsiteY6592" fmla="*/ 915060 h 6072780"/>
                <a:gd name="connsiteX6593" fmla="*/ 4732167 w 12117871"/>
                <a:gd name="connsiteY6593" fmla="*/ 915060 h 6072780"/>
                <a:gd name="connsiteX6594" fmla="*/ 4747074 w 12117871"/>
                <a:gd name="connsiteY6594" fmla="*/ 915060 h 6072780"/>
                <a:gd name="connsiteX6595" fmla="*/ 4747074 w 12117871"/>
                <a:gd name="connsiteY6595" fmla="*/ 1138040 h 6072780"/>
                <a:gd name="connsiteX6596" fmla="*/ 4711785 w 12117871"/>
                <a:gd name="connsiteY6596" fmla="*/ 1138040 h 6072780"/>
                <a:gd name="connsiteX6597" fmla="*/ 4711785 w 12117871"/>
                <a:gd name="connsiteY6597" fmla="*/ 958257 h 6072780"/>
                <a:gd name="connsiteX6598" fmla="*/ 4691176 w 12117871"/>
                <a:gd name="connsiteY6598" fmla="*/ 969892 h 6072780"/>
                <a:gd name="connsiteX6599" fmla="*/ 4666003 w 12117871"/>
                <a:gd name="connsiteY6599" fmla="*/ 978334 h 6072780"/>
                <a:gd name="connsiteX6600" fmla="*/ 4666003 w 12117871"/>
                <a:gd name="connsiteY6600" fmla="*/ 948218 h 6072780"/>
                <a:gd name="connsiteX6601" fmla="*/ 4683038 w 12117871"/>
                <a:gd name="connsiteY6601" fmla="*/ 942134 h 6072780"/>
                <a:gd name="connsiteX6602" fmla="*/ 4699238 w 12117871"/>
                <a:gd name="connsiteY6602" fmla="*/ 934985 h 6072780"/>
                <a:gd name="connsiteX6603" fmla="*/ 4715360 w 12117871"/>
                <a:gd name="connsiteY6603" fmla="*/ 926163 h 6072780"/>
                <a:gd name="connsiteX6604" fmla="*/ 4732167 w 12117871"/>
                <a:gd name="connsiteY6604" fmla="*/ 915060 h 6072780"/>
                <a:gd name="connsiteX6605" fmla="*/ 4588559 w 12117871"/>
                <a:gd name="connsiteY6605" fmla="*/ 915060 h 6072780"/>
                <a:gd name="connsiteX6606" fmla="*/ 4603466 w 12117871"/>
                <a:gd name="connsiteY6606" fmla="*/ 915060 h 6072780"/>
                <a:gd name="connsiteX6607" fmla="*/ 4603466 w 12117871"/>
                <a:gd name="connsiteY6607" fmla="*/ 1138040 h 6072780"/>
                <a:gd name="connsiteX6608" fmla="*/ 4568177 w 12117871"/>
                <a:gd name="connsiteY6608" fmla="*/ 1138040 h 6072780"/>
                <a:gd name="connsiteX6609" fmla="*/ 4568177 w 12117871"/>
                <a:gd name="connsiteY6609" fmla="*/ 958257 h 6072780"/>
                <a:gd name="connsiteX6610" fmla="*/ 4547568 w 12117871"/>
                <a:gd name="connsiteY6610" fmla="*/ 969892 h 6072780"/>
                <a:gd name="connsiteX6611" fmla="*/ 4522395 w 12117871"/>
                <a:gd name="connsiteY6611" fmla="*/ 978334 h 6072780"/>
                <a:gd name="connsiteX6612" fmla="*/ 4522395 w 12117871"/>
                <a:gd name="connsiteY6612" fmla="*/ 948218 h 6072780"/>
                <a:gd name="connsiteX6613" fmla="*/ 4539430 w 12117871"/>
                <a:gd name="connsiteY6613" fmla="*/ 942134 h 6072780"/>
                <a:gd name="connsiteX6614" fmla="*/ 4555630 w 12117871"/>
                <a:gd name="connsiteY6614" fmla="*/ 934985 h 6072780"/>
                <a:gd name="connsiteX6615" fmla="*/ 4571752 w 12117871"/>
                <a:gd name="connsiteY6615" fmla="*/ 926163 h 6072780"/>
                <a:gd name="connsiteX6616" fmla="*/ 4588559 w 12117871"/>
                <a:gd name="connsiteY6616" fmla="*/ 915060 h 6072780"/>
                <a:gd name="connsiteX6617" fmla="*/ 4444951 w 12117871"/>
                <a:gd name="connsiteY6617" fmla="*/ 915060 h 6072780"/>
                <a:gd name="connsiteX6618" fmla="*/ 4459858 w 12117871"/>
                <a:gd name="connsiteY6618" fmla="*/ 915060 h 6072780"/>
                <a:gd name="connsiteX6619" fmla="*/ 4459858 w 12117871"/>
                <a:gd name="connsiteY6619" fmla="*/ 1138040 h 6072780"/>
                <a:gd name="connsiteX6620" fmla="*/ 4424569 w 12117871"/>
                <a:gd name="connsiteY6620" fmla="*/ 1138040 h 6072780"/>
                <a:gd name="connsiteX6621" fmla="*/ 4424569 w 12117871"/>
                <a:gd name="connsiteY6621" fmla="*/ 958257 h 6072780"/>
                <a:gd name="connsiteX6622" fmla="*/ 4403960 w 12117871"/>
                <a:gd name="connsiteY6622" fmla="*/ 969892 h 6072780"/>
                <a:gd name="connsiteX6623" fmla="*/ 4378788 w 12117871"/>
                <a:gd name="connsiteY6623" fmla="*/ 978334 h 6072780"/>
                <a:gd name="connsiteX6624" fmla="*/ 4378788 w 12117871"/>
                <a:gd name="connsiteY6624" fmla="*/ 948218 h 6072780"/>
                <a:gd name="connsiteX6625" fmla="*/ 4395823 w 12117871"/>
                <a:gd name="connsiteY6625" fmla="*/ 942134 h 6072780"/>
                <a:gd name="connsiteX6626" fmla="*/ 4412022 w 12117871"/>
                <a:gd name="connsiteY6626" fmla="*/ 934985 h 6072780"/>
                <a:gd name="connsiteX6627" fmla="*/ 4428144 w 12117871"/>
                <a:gd name="connsiteY6627" fmla="*/ 926163 h 6072780"/>
                <a:gd name="connsiteX6628" fmla="*/ 4444951 w 12117871"/>
                <a:gd name="connsiteY6628" fmla="*/ 915060 h 6072780"/>
                <a:gd name="connsiteX6629" fmla="*/ 3704782 w 12117871"/>
                <a:gd name="connsiteY6629" fmla="*/ 915060 h 6072780"/>
                <a:gd name="connsiteX6630" fmla="*/ 3719687 w 12117871"/>
                <a:gd name="connsiteY6630" fmla="*/ 915060 h 6072780"/>
                <a:gd name="connsiteX6631" fmla="*/ 3719687 w 12117871"/>
                <a:gd name="connsiteY6631" fmla="*/ 1138040 h 6072780"/>
                <a:gd name="connsiteX6632" fmla="*/ 3684398 w 12117871"/>
                <a:gd name="connsiteY6632" fmla="*/ 1138040 h 6072780"/>
                <a:gd name="connsiteX6633" fmla="*/ 3684398 w 12117871"/>
                <a:gd name="connsiteY6633" fmla="*/ 958257 h 6072780"/>
                <a:gd name="connsiteX6634" fmla="*/ 3663791 w 12117871"/>
                <a:gd name="connsiteY6634" fmla="*/ 969892 h 6072780"/>
                <a:gd name="connsiteX6635" fmla="*/ 3638618 w 12117871"/>
                <a:gd name="connsiteY6635" fmla="*/ 978334 h 6072780"/>
                <a:gd name="connsiteX6636" fmla="*/ 3638618 w 12117871"/>
                <a:gd name="connsiteY6636" fmla="*/ 948218 h 6072780"/>
                <a:gd name="connsiteX6637" fmla="*/ 3655653 w 12117871"/>
                <a:gd name="connsiteY6637" fmla="*/ 942134 h 6072780"/>
                <a:gd name="connsiteX6638" fmla="*/ 3671852 w 12117871"/>
                <a:gd name="connsiteY6638" fmla="*/ 934985 h 6072780"/>
                <a:gd name="connsiteX6639" fmla="*/ 3687974 w 12117871"/>
                <a:gd name="connsiteY6639" fmla="*/ 926163 h 6072780"/>
                <a:gd name="connsiteX6640" fmla="*/ 3704782 w 12117871"/>
                <a:gd name="connsiteY6640" fmla="*/ 915060 h 6072780"/>
                <a:gd name="connsiteX6641" fmla="*/ 3555925 w 12117871"/>
                <a:gd name="connsiteY6641" fmla="*/ 915060 h 6072780"/>
                <a:gd name="connsiteX6642" fmla="*/ 3570831 w 12117871"/>
                <a:gd name="connsiteY6642" fmla="*/ 915060 h 6072780"/>
                <a:gd name="connsiteX6643" fmla="*/ 3570831 w 12117871"/>
                <a:gd name="connsiteY6643" fmla="*/ 1138040 h 6072780"/>
                <a:gd name="connsiteX6644" fmla="*/ 3535543 w 12117871"/>
                <a:gd name="connsiteY6644" fmla="*/ 1138040 h 6072780"/>
                <a:gd name="connsiteX6645" fmla="*/ 3535543 w 12117871"/>
                <a:gd name="connsiteY6645" fmla="*/ 958257 h 6072780"/>
                <a:gd name="connsiteX6646" fmla="*/ 3514934 w 12117871"/>
                <a:gd name="connsiteY6646" fmla="*/ 969892 h 6072780"/>
                <a:gd name="connsiteX6647" fmla="*/ 3489761 w 12117871"/>
                <a:gd name="connsiteY6647" fmla="*/ 978334 h 6072780"/>
                <a:gd name="connsiteX6648" fmla="*/ 3489761 w 12117871"/>
                <a:gd name="connsiteY6648" fmla="*/ 948218 h 6072780"/>
                <a:gd name="connsiteX6649" fmla="*/ 3506796 w 12117871"/>
                <a:gd name="connsiteY6649" fmla="*/ 942134 h 6072780"/>
                <a:gd name="connsiteX6650" fmla="*/ 3522995 w 12117871"/>
                <a:gd name="connsiteY6650" fmla="*/ 934985 h 6072780"/>
                <a:gd name="connsiteX6651" fmla="*/ 3539117 w 12117871"/>
                <a:gd name="connsiteY6651" fmla="*/ 926163 h 6072780"/>
                <a:gd name="connsiteX6652" fmla="*/ 3555925 w 12117871"/>
                <a:gd name="connsiteY6652" fmla="*/ 915060 h 6072780"/>
                <a:gd name="connsiteX6653" fmla="*/ 2751256 w 12117871"/>
                <a:gd name="connsiteY6653" fmla="*/ 915060 h 6072780"/>
                <a:gd name="connsiteX6654" fmla="*/ 2766162 w 12117871"/>
                <a:gd name="connsiteY6654" fmla="*/ 915060 h 6072780"/>
                <a:gd name="connsiteX6655" fmla="*/ 2766162 w 12117871"/>
                <a:gd name="connsiteY6655" fmla="*/ 1138040 h 6072780"/>
                <a:gd name="connsiteX6656" fmla="*/ 2730875 w 12117871"/>
                <a:gd name="connsiteY6656" fmla="*/ 1138040 h 6072780"/>
                <a:gd name="connsiteX6657" fmla="*/ 2730875 w 12117871"/>
                <a:gd name="connsiteY6657" fmla="*/ 958257 h 6072780"/>
                <a:gd name="connsiteX6658" fmla="*/ 2710265 w 12117871"/>
                <a:gd name="connsiteY6658" fmla="*/ 969892 h 6072780"/>
                <a:gd name="connsiteX6659" fmla="*/ 2685092 w 12117871"/>
                <a:gd name="connsiteY6659" fmla="*/ 978334 h 6072780"/>
                <a:gd name="connsiteX6660" fmla="*/ 2685092 w 12117871"/>
                <a:gd name="connsiteY6660" fmla="*/ 948218 h 6072780"/>
                <a:gd name="connsiteX6661" fmla="*/ 2702128 w 12117871"/>
                <a:gd name="connsiteY6661" fmla="*/ 942134 h 6072780"/>
                <a:gd name="connsiteX6662" fmla="*/ 2718327 w 12117871"/>
                <a:gd name="connsiteY6662" fmla="*/ 934985 h 6072780"/>
                <a:gd name="connsiteX6663" fmla="*/ 2734449 w 12117871"/>
                <a:gd name="connsiteY6663" fmla="*/ 926163 h 6072780"/>
                <a:gd name="connsiteX6664" fmla="*/ 2751256 w 12117871"/>
                <a:gd name="connsiteY6664" fmla="*/ 915060 h 6072780"/>
                <a:gd name="connsiteX6665" fmla="*/ 2358497 w 12117871"/>
                <a:gd name="connsiteY6665" fmla="*/ 915060 h 6072780"/>
                <a:gd name="connsiteX6666" fmla="*/ 2373404 w 12117871"/>
                <a:gd name="connsiteY6666" fmla="*/ 915060 h 6072780"/>
                <a:gd name="connsiteX6667" fmla="*/ 2373404 w 12117871"/>
                <a:gd name="connsiteY6667" fmla="*/ 1138040 h 6072780"/>
                <a:gd name="connsiteX6668" fmla="*/ 2338116 w 12117871"/>
                <a:gd name="connsiteY6668" fmla="*/ 1138040 h 6072780"/>
                <a:gd name="connsiteX6669" fmla="*/ 2338116 w 12117871"/>
                <a:gd name="connsiteY6669" fmla="*/ 958257 h 6072780"/>
                <a:gd name="connsiteX6670" fmla="*/ 2317506 w 12117871"/>
                <a:gd name="connsiteY6670" fmla="*/ 969892 h 6072780"/>
                <a:gd name="connsiteX6671" fmla="*/ 2292334 w 12117871"/>
                <a:gd name="connsiteY6671" fmla="*/ 978334 h 6072780"/>
                <a:gd name="connsiteX6672" fmla="*/ 2292334 w 12117871"/>
                <a:gd name="connsiteY6672" fmla="*/ 948218 h 6072780"/>
                <a:gd name="connsiteX6673" fmla="*/ 2309369 w 12117871"/>
                <a:gd name="connsiteY6673" fmla="*/ 942134 h 6072780"/>
                <a:gd name="connsiteX6674" fmla="*/ 2325567 w 12117871"/>
                <a:gd name="connsiteY6674" fmla="*/ 934985 h 6072780"/>
                <a:gd name="connsiteX6675" fmla="*/ 2341689 w 12117871"/>
                <a:gd name="connsiteY6675" fmla="*/ 926163 h 6072780"/>
                <a:gd name="connsiteX6676" fmla="*/ 2358497 w 12117871"/>
                <a:gd name="connsiteY6676" fmla="*/ 915060 h 6072780"/>
                <a:gd name="connsiteX6677" fmla="*/ 2214890 w 12117871"/>
                <a:gd name="connsiteY6677" fmla="*/ 915060 h 6072780"/>
                <a:gd name="connsiteX6678" fmla="*/ 2229796 w 12117871"/>
                <a:gd name="connsiteY6678" fmla="*/ 915060 h 6072780"/>
                <a:gd name="connsiteX6679" fmla="*/ 2229796 w 12117871"/>
                <a:gd name="connsiteY6679" fmla="*/ 1138040 h 6072780"/>
                <a:gd name="connsiteX6680" fmla="*/ 2194508 w 12117871"/>
                <a:gd name="connsiteY6680" fmla="*/ 1138040 h 6072780"/>
                <a:gd name="connsiteX6681" fmla="*/ 2194508 w 12117871"/>
                <a:gd name="connsiteY6681" fmla="*/ 958257 h 6072780"/>
                <a:gd name="connsiteX6682" fmla="*/ 2173898 w 12117871"/>
                <a:gd name="connsiteY6682" fmla="*/ 969892 h 6072780"/>
                <a:gd name="connsiteX6683" fmla="*/ 2148726 w 12117871"/>
                <a:gd name="connsiteY6683" fmla="*/ 978334 h 6072780"/>
                <a:gd name="connsiteX6684" fmla="*/ 2148726 w 12117871"/>
                <a:gd name="connsiteY6684" fmla="*/ 948218 h 6072780"/>
                <a:gd name="connsiteX6685" fmla="*/ 2165760 w 12117871"/>
                <a:gd name="connsiteY6685" fmla="*/ 942134 h 6072780"/>
                <a:gd name="connsiteX6686" fmla="*/ 2181960 w 12117871"/>
                <a:gd name="connsiteY6686" fmla="*/ 934985 h 6072780"/>
                <a:gd name="connsiteX6687" fmla="*/ 2198082 w 12117871"/>
                <a:gd name="connsiteY6687" fmla="*/ 926163 h 6072780"/>
                <a:gd name="connsiteX6688" fmla="*/ 2214890 w 12117871"/>
                <a:gd name="connsiteY6688" fmla="*/ 915060 h 6072780"/>
                <a:gd name="connsiteX6689" fmla="*/ 2071281 w 12117871"/>
                <a:gd name="connsiteY6689" fmla="*/ 915060 h 6072780"/>
                <a:gd name="connsiteX6690" fmla="*/ 2086188 w 12117871"/>
                <a:gd name="connsiteY6690" fmla="*/ 915060 h 6072780"/>
                <a:gd name="connsiteX6691" fmla="*/ 2086188 w 12117871"/>
                <a:gd name="connsiteY6691" fmla="*/ 1138040 h 6072780"/>
                <a:gd name="connsiteX6692" fmla="*/ 2050900 w 12117871"/>
                <a:gd name="connsiteY6692" fmla="*/ 1138040 h 6072780"/>
                <a:gd name="connsiteX6693" fmla="*/ 2050900 w 12117871"/>
                <a:gd name="connsiteY6693" fmla="*/ 958257 h 6072780"/>
                <a:gd name="connsiteX6694" fmla="*/ 2030290 w 12117871"/>
                <a:gd name="connsiteY6694" fmla="*/ 969892 h 6072780"/>
                <a:gd name="connsiteX6695" fmla="*/ 2005118 w 12117871"/>
                <a:gd name="connsiteY6695" fmla="*/ 978334 h 6072780"/>
                <a:gd name="connsiteX6696" fmla="*/ 2005118 w 12117871"/>
                <a:gd name="connsiteY6696" fmla="*/ 948218 h 6072780"/>
                <a:gd name="connsiteX6697" fmla="*/ 2022153 w 12117871"/>
                <a:gd name="connsiteY6697" fmla="*/ 942134 h 6072780"/>
                <a:gd name="connsiteX6698" fmla="*/ 2038351 w 12117871"/>
                <a:gd name="connsiteY6698" fmla="*/ 934985 h 6072780"/>
                <a:gd name="connsiteX6699" fmla="*/ 2054473 w 12117871"/>
                <a:gd name="connsiteY6699" fmla="*/ 926163 h 6072780"/>
                <a:gd name="connsiteX6700" fmla="*/ 2071281 w 12117871"/>
                <a:gd name="connsiteY6700" fmla="*/ 915060 h 6072780"/>
                <a:gd name="connsiteX6701" fmla="*/ 1927674 w 12117871"/>
                <a:gd name="connsiteY6701" fmla="*/ 915060 h 6072780"/>
                <a:gd name="connsiteX6702" fmla="*/ 1942580 w 12117871"/>
                <a:gd name="connsiteY6702" fmla="*/ 915060 h 6072780"/>
                <a:gd name="connsiteX6703" fmla="*/ 1942580 w 12117871"/>
                <a:gd name="connsiteY6703" fmla="*/ 1138040 h 6072780"/>
                <a:gd name="connsiteX6704" fmla="*/ 1907293 w 12117871"/>
                <a:gd name="connsiteY6704" fmla="*/ 1138040 h 6072780"/>
                <a:gd name="connsiteX6705" fmla="*/ 1907293 w 12117871"/>
                <a:gd name="connsiteY6705" fmla="*/ 958257 h 6072780"/>
                <a:gd name="connsiteX6706" fmla="*/ 1886683 w 12117871"/>
                <a:gd name="connsiteY6706" fmla="*/ 969892 h 6072780"/>
                <a:gd name="connsiteX6707" fmla="*/ 1861510 w 12117871"/>
                <a:gd name="connsiteY6707" fmla="*/ 978334 h 6072780"/>
                <a:gd name="connsiteX6708" fmla="*/ 1861510 w 12117871"/>
                <a:gd name="connsiteY6708" fmla="*/ 948218 h 6072780"/>
                <a:gd name="connsiteX6709" fmla="*/ 1878546 w 12117871"/>
                <a:gd name="connsiteY6709" fmla="*/ 942134 h 6072780"/>
                <a:gd name="connsiteX6710" fmla="*/ 1894745 w 12117871"/>
                <a:gd name="connsiteY6710" fmla="*/ 934985 h 6072780"/>
                <a:gd name="connsiteX6711" fmla="*/ 1910867 w 12117871"/>
                <a:gd name="connsiteY6711" fmla="*/ 926163 h 6072780"/>
                <a:gd name="connsiteX6712" fmla="*/ 1927674 w 12117871"/>
                <a:gd name="connsiteY6712" fmla="*/ 915060 h 6072780"/>
                <a:gd name="connsiteX6713" fmla="*/ 1784066 w 12117871"/>
                <a:gd name="connsiteY6713" fmla="*/ 915060 h 6072780"/>
                <a:gd name="connsiteX6714" fmla="*/ 1798972 w 12117871"/>
                <a:gd name="connsiteY6714" fmla="*/ 915060 h 6072780"/>
                <a:gd name="connsiteX6715" fmla="*/ 1798972 w 12117871"/>
                <a:gd name="connsiteY6715" fmla="*/ 1138040 h 6072780"/>
                <a:gd name="connsiteX6716" fmla="*/ 1763685 w 12117871"/>
                <a:gd name="connsiteY6716" fmla="*/ 1138040 h 6072780"/>
                <a:gd name="connsiteX6717" fmla="*/ 1763685 w 12117871"/>
                <a:gd name="connsiteY6717" fmla="*/ 958257 h 6072780"/>
                <a:gd name="connsiteX6718" fmla="*/ 1743075 w 12117871"/>
                <a:gd name="connsiteY6718" fmla="*/ 969892 h 6072780"/>
                <a:gd name="connsiteX6719" fmla="*/ 1717902 w 12117871"/>
                <a:gd name="connsiteY6719" fmla="*/ 978334 h 6072780"/>
                <a:gd name="connsiteX6720" fmla="*/ 1717902 w 12117871"/>
                <a:gd name="connsiteY6720" fmla="*/ 948218 h 6072780"/>
                <a:gd name="connsiteX6721" fmla="*/ 1734938 w 12117871"/>
                <a:gd name="connsiteY6721" fmla="*/ 942134 h 6072780"/>
                <a:gd name="connsiteX6722" fmla="*/ 1751137 w 12117871"/>
                <a:gd name="connsiteY6722" fmla="*/ 934985 h 6072780"/>
                <a:gd name="connsiteX6723" fmla="*/ 1767259 w 12117871"/>
                <a:gd name="connsiteY6723" fmla="*/ 926163 h 6072780"/>
                <a:gd name="connsiteX6724" fmla="*/ 1784066 w 12117871"/>
                <a:gd name="connsiteY6724" fmla="*/ 915060 h 6072780"/>
                <a:gd name="connsiteX6725" fmla="*/ 1436368 w 12117871"/>
                <a:gd name="connsiteY6725" fmla="*/ 915060 h 6072780"/>
                <a:gd name="connsiteX6726" fmla="*/ 1451275 w 12117871"/>
                <a:gd name="connsiteY6726" fmla="*/ 915060 h 6072780"/>
                <a:gd name="connsiteX6727" fmla="*/ 1451275 w 12117871"/>
                <a:gd name="connsiteY6727" fmla="*/ 1138040 h 6072780"/>
                <a:gd name="connsiteX6728" fmla="*/ 1415987 w 12117871"/>
                <a:gd name="connsiteY6728" fmla="*/ 1138040 h 6072780"/>
                <a:gd name="connsiteX6729" fmla="*/ 1415987 w 12117871"/>
                <a:gd name="connsiteY6729" fmla="*/ 958257 h 6072780"/>
                <a:gd name="connsiteX6730" fmla="*/ 1395377 w 12117871"/>
                <a:gd name="connsiteY6730" fmla="*/ 969892 h 6072780"/>
                <a:gd name="connsiteX6731" fmla="*/ 1370205 w 12117871"/>
                <a:gd name="connsiteY6731" fmla="*/ 978334 h 6072780"/>
                <a:gd name="connsiteX6732" fmla="*/ 1370205 w 12117871"/>
                <a:gd name="connsiteY6732" fmla="*/ 948218 h 6072780"/>
                <a:gd name="connsiteX6733" fmla="*/ 1387240 w 12117871"/>
                <a:gd name="connsiteY6733" fmla="*/ 942134 h 6072780"/>
                <a:gd name="connsiteX6734" fmla="*/ 1403439 w 12117871"/>
                <a:gd name="connsiteY6734" fmla="*/ 934985 h 6072780"/>
                <a:gd name="connsiteX6735" fmla="*/ 1419561 w 12117871"/>
                <a:gd name="connsiteY6735" fmla="*/ 926163 h 6072780"/>
                <a:gd name="connsiteX6736" fmla="*/ 1436368 w 12117871"/>
                <a:gd name="connsiteY6736" fmla="*/ 915060 h 6072780"/>
                <a:gd name="connsiteX6737" fmla="*/ 1138655 w 12117871"/>
                <a:gd name="connsiteY6737" fmla="*/ 915060 h 6072780"/>
                <a:gd name="connsiteX6738" fmla="*/ 1153561 w 12117871"/>
                <a:gd name="connsiteY6738" fmla="*/ 915060 h 6072780"/>
                <a:gd name="connsiteX6739" fmla="*/ 1153561 w 12117871"/>
                <a:gd name="connsiteY6739" fmla="*/ 1138040 h 6072780"/>
                <a:gd name="connsiteX6740" fmla="*/ 1118273 w 12117871"/>
                <a:gd name="connsiteY6740" fmla="*/ 1138040 h 6072780"/>
                <a:gd name="connsiteX6741" fmla="*/ 1118273 w 12117871"/>
                <a:gd name="connsiteY6741" fmla="*/ 958257 h 6072780"/>
                <a:gd name="connsiteX6742" fmla="*/ 1097664 w 12117871"/>
                <a:gd name="connsiteY6742" fmla="*/ 969892 h 6072780"/>
                <a:gd name="connsiteX6743" fmla="*/ 1072491 w 12117871"/>
                <a:gd name="connsiteY6743" fmla="*/ 978334 h 6072780"/>
                <a:gd name="connsiteX6744" fmla="*/ 1072491 w 12117871"/>
                <a:gd name="connsiteY6744" fmla="*/ 948218 h 6072780"/>
                <a:gd name="connsiteX6745" fmla="*/ 1089526 w 12117871"/>
                <a:gd name="connsiteY6745" fmla="*/ 942134 h 6072780"/>
                <a:gd name="connsiteX6746" fmla="*/ 1105725 w 12117871"/>
                <a:gd name="connsiteY6746" fmla="*/ 934985 h 6072780"/>
                <a:gd name="connsiteX6747" fmla="*/ 1121848 w 12117871"/>
                <a:gd name="connsiteY6747" fmla="*/ 926163 h 6072780"/>
                <a:gd name="connsiteX6748" fmla="*/ 1138655 w 12117871"/>
                <a:gd name="connsiteY6748" fmla="*/ 915060 h 6072780"/>
                <a:gd name="connsiteX6749" fmla="*/ 927536 w 12117871"/>
                <a:gd name="connsiteY6749" fmla="*/ 915060 h 6072780"/>
                <a:gd name="connsiteX6750" fmla="*/ 998703 w 12117871"/>
                <a:gd name="connsiteY6750" fmla="*/ 1025647 h 6072780"/>
                <a:gd name="connsiteX6751" fmla="*/ 978617 w 12117871"/>
                <a:gd name="connsiteY6751" fmla="*/ 1109227 h 6072780"/>
                <a:gd name="connsiteX6752" fmla="*/ 922421 w 12117871"/>
                <a:gd name="connsiteY6752" fmla="*/ 1138040 h 6072780"/>
                <a:gd name="connsiteX6753" fmla="*/ 869834 w 12117871"/>
                <a:gd name="connsiteY6753" fmla="*/ 1110506 h 6072780"/>
                <a:gd name="connsiteX6754" fmla="*/ 850953 w 12117871"/>
                <a:gd name="connsiteY6754" fmla="*/ 1030914 h 6072780"/>
                <a:gd name="connsiteX6755" fmla="*/ 870663 w 12117871"/>
                <a:gd name="connsiteY6755" fmla="*/ 944399 h 6072780"/>
                <a:gd name="connsiteX6756" fmla="*/ 927536 w 12117871"/>
                <a:gd name="connsiteY6756" fmla="*/ 915060 h 6072780"/>
                <a:gd name="connsiteX6757" fmla="*/ 711260 w 12117871"/>
                <a:gd name="connsiteY6757" fmla="*/ 915060 h 6072780"/>
                <a:gd name="connsiteX6758" fmla="*/ 782427 w 12117871"/>
                <a:gd name="connsiteY6758" fmla="*/ 1025647 h 6072780"/>
                <a:gd name="connsiteX6759" fmla="*/ 762340 w 12117871"/>
                <a:gd name="connsiteY6759" fmla="*/ 1109227 h 6072780"/>
                <a:gd name="connsiteX6760" fmla="*/ 706145 w 12117871"/>
                <a:gd name="connsiteY6760" fmla="*/ 1138040 h 6072780"/>
                <a:gd name="connsiteX6761" fmla="*/ 653559 w 12117871"/>
                <a:gd name="connsiteY6761" fmla="*/ 1110506 h 6072780"/>
                <a:gd name="connsiteX6762" fmla="*/ 634677 w 12117871"/>
                <a:gd name="connsiteY6762" fmla="*/ 1030914 h 6072780"/>
                <a:gd name="connsiteX6763" fmla="*/ 654387 w 12117871"/>
                <a:gd name="connsiteY6763" fmla="*/ 944399 h 6072780"/>
                <a:gd name="connsiteX6764" fmla="*/ 711260 w 12117871"/>
                <a:gd name="connsiteY6764" fmla="*/ 915060 h 6072780"/>
                <a:gd name="connsiteX6765" fmla="*/ 563127 w 12117871"/>
                <a:gd name="connsiteY6765" fmla="*/ 915060 h 6072780"/>
                <a:gd name="connsiteX6766" fmla="*/ 578034 w 12117871"/>
                <a:gd name="connsiteY6766" fmla="*/ 915060 h 6072780"/>
                <a:gd name="connsiteX6767" fmla="*/ 578034 w 12117871"/>
                <a:gd name="connsiteY6767" fmla="*/ 1138040 h 6072780"/>
                <a:gd name="connsiteX6768" fmla="*/ 542746 w 12117871"/>
                <a:gd name="connsiteY6768" fmla="*/ 1138040 h 6072780"/>
                <a:gd name="connsiteX6769" fmla="*/ 542746 w 12117871"/>
                <a:gd name="connsiteY6769" fmla="*/ 958257 h 6072780"/>
                <a:gd name="connsiteX6770" fmla="*/ 522136 w 12117871"/>
                <a:gd name="connsiteY6770" fmla="*/ 969892 h 6072780"/>
                <a:gd name="connsiteX6771" fmla="*/ 496964 w 12117871"/>
                <a:gd name="connsiteY6771" fmla="*/ 978334 h 6072780"/>
                <a:gd name="connsiteX6772" fmla="*/ 496964 w 12117871"/>
                <a:gd name="connsiteY6772" fmla="*/ 948218 h 6072780"/>
                <a:gd name="connsiteX6773" fmla="*/ 513999 w 12117871"/>
                <a:gd name="connsiteY6773" fmla="*/ 942134 h 6072780"/>
                <a:gd name="connsiteX6774" fmla="*/ 530198 w 12117871"/>
                <a:gd name="connsiteY6774" fmla="*/ 934985 h 6072780"/>
                <a:gd name="connsiteX6775" fmla="*/ 546320 w 12117871"/>
                <a:gd name="connsiteY6775" fmla="*/ 926163 h 6072780"/>
                <a:gd name="connsiteX6776" fmla="*/ 563127 w 12117871"/>
                <a:gd name="connsiteY6776" fmla="*/ 915060 h 6072780"/>
                <a:gd name="connsiteX6777" fmla="*/ 265414 w 12117871"/>
                <a:gd name="connsiteY6777" fmla="*/ 915060 h 6072780"/>
                <a:gd name="connsiteX6778" fmla="*/ 280319 w 12117871"/>
                <a:gd name="connsiteY6778" fmla="*/ 915060 h 6072780"/>
                <a:gd name="connsiteX6779" fmla="*/ 280319 w 12117871"/>
                <a:gd name="connsiteY6779" fmla="*/ 1138040 h 6072780"/>
                <a:gd name="connsiteX6780" fmla="*/ 245032 w 12117871"/>
                <a:gd name="connsiteY6780" fmla="*/ 1138040 h 6072780"/>
                <a:gd name="connsiteX6781" fmla="*/ 245032 w 12117871"/>
                <a:gd name="connsiteY6781" fmla="*/ 958257 h 6072780"/>
                <a:gd name="connsiteX6782" fmla="*/ 224423 w 12117871"/>
                <a:gd name="connsiteY6782" fmla="*/ 969892 h 6072780"/>
                <a:gd name="connsiteX6783" fmla="*/ 199250 w 12117871"/>
                <a:gd name="connsiteY6783" fmla="*/ 978334 h 6072780"/>
                <a:gd name="connsiteX6784" fmla="*/ 199250 w 12117871"/>
                <a:gd name="connsiteY6784" fmla="*/ 948218 h 6072780"/>
                <a:gd name="connsiteX6785" fmla="*/ 216284 w 12117871"/>
                <a:gd name="connsiteY6785" fmla="*/ 942134 h 6072780"/>
                <a:gd name="connsiteX6786" fmla="*/ 232483 w 12117871"/>
                <a:gd name="connsiteY6786" fmla="*/ 934985 h 6072780"/>
                <a:gd name="connsiteX6787" fmla="*/ 248607 w 12117871"/>
                <a:gd name="connsiteY6787" fmla="*/ 926163 h 6072780"/>
                <a:gd name="connsiteX6788" fmla="*/ 265414 w 12117871"/>
                <a:gd name="connsiteY6788" fmla="*/ 915060 h 6072780"/>
                <a:gd name="connsiteX6789" fmla="*/ 89653 w 12117871"/>
                <a:gd name="connsiteY6789" fmla="*/ 915060 h 6072780"/>
                <a:gd name="connsiteX6790" fmla="*/ 160821 w 12117871"/>
                <a:gd name="connsiteY6790" fmla="*/ 1025647 h 6072780"/>
                <a:gd name="connsiteX6791" fmla="*/ 140735 w 12117871"/>
                <a:gd name="connsiteY6791" fmla="*/ 1109227 h 6072780"/>
                <a:gd name="connsiteX6792" fmla="*/ 84538 w 12117871"/>
                <a:gd name="connsiteY6792" fmla="*/ 1138040 h 6072780"/>
                <a:gd name="connsiteX6793" fmla="*/ 31953 w 12117871"/>
                <a:gd name="connsiteY6793" fmla="*/ 1110506 h 6072780"/>
                <a:gd name="connsiteX6794" fmla="*/ 13070 w 12117871"/>
                <a:gd name="connsiteY6794" fmla="*/ 1030914 h 6072780"/>
                <a:gd name="connsiteX6795" fmla="*/ 32780 w 12117871"/>
                <a:gd name="connsiteY6795" fmla="*/ 944399 h 6072780"/>
                <a:gd name="connsiteX6796" fmla="*/ 89653 w 12117871"/>
                <a:gd name="connsiteY6796" fmla="*/ 915060 h 6072780"/>
                <a:gd name="connsiteX6797" fmla="*/ 9143281 w 12117871"/>
                <a:gd name="connsiteY6797" fmla="*/ 660590 h 6072780"/>
                <a:gd name="connsiteX6798" fmla="*/ 9104011 w 12117871"/>
                <a:gd name="connsiteY6798" fmla="*/ 747104 h 6072780"/>
                <a:gd name="connsiteX6799" fmla="*/ 9142529 w 12117871"/>
                <a:gd name="connsiteY6799" fmla="*/ 828051 h 6072780"/>
                <a:gd name="connsiteX6800" fmla="*/ 9180444 w 12117871"/>
                <a:gd name="connsiteY6800" fmla="*/ 745750 h 6072780"/>
                <a:gd name="connsiteX6801" fmla="*/ 9143281 w 12117871"/>
                <a:gd name="connsiteY6801" fmla="*/ 660590 h 6072780"/>
                <a:gd name="connsiteX6802" fmla="*/ 8801524 w 12117871"/>
                <a:gd name="connsiteY6802" fmla="*/ 660590 h 6072780"/>
                <a:gd name="connsiteX6803" fmla="*/ 8762254 w 12117871"/>
                <a:gd name="connsiteY6803" fmla="*/ 747104 h 6072780"/>
                <a:gd name="connsiteX6804" fmla="*/ 8800772 w 12117871"/>
                <a:gd name="connsiteY6804" fmla="*/ 828051 h 6072780"/>
                <a:gd name="connsiteX6805" fmla="*/ 8838687 w 12117871"/>
                <a:gd name="connsiteY6805" fmla="*/ 745750 h 6072780"/>
                <a:gd name="connsiteX6806" fmla="*/ 8801524 w 12117871"/>
                <a:gd name="connsiteY6806" fmla="*/ 660590 h 6072780"/>
                <a:gd name="connsiteX6807" fmla="*/ 8100122 w 12117871"/>
                <a:gd name="connsiteY6807" fmla="*/ 660590 h 6072780"/>
                <a:gd name="connsiteX6808" fmla="*/ 8060852 w 12117871"/>
                <a:gd name="connsiteY6808" fmla="*/ 747104 h 6072780"/>
                <a:gd name="connsiteX6809" fmla="*/ 8099370 w 12117871"/>
                <a:gd name="connsiteY6809" fmla="*/ 828051 h 6072780"/>
                <a:gd name="connsiteX6810" fmla="*/ 8137285 w 12117871"/>
                <a:gd name="connsiteY6810" fmla="*/ 745750 h 6072780"/>
                <a:gd name="connsiteX6811" fmla="*/ 8100122 w 12117871"/>
                <a:gd name="connsiteY6811" fmla="*/ 660590 h 6072780"/>
                <a:gd name="connsiteX6812" fmla="*/ 6841633 w 12117871"/>
                <a:gd name="connsiteY6812" fmla="*/ 660590 h 6072780"/>
                <a:gd name="connsiteX6813" fmla="*/ 6802363 w 12117871"/>
                <a:gd name="connsiteY6813" fmla="*/ 747104 h 6072780"/>
                <a:gd name="connsiteX6814" fmla="*/ 6840881 w 12117871"/>
                <a:gd name="connsiteY6814" fmla="*/ 828051 h 6072780"/>
                <a:gd name="connsiteX6815" fmla="*/ 6878796 w 12117871"/>
                <a:gd name="connsiteY6815" fmla="*/ 745750 h 6072780"/>
                <a:gd name="connsiteX6816" fmla="*/ 6841633 w 12117871"/>
                <a:gd name="connsiteY6816" fmla="*/ 660590 h 6072780"/>
                <a:gd name="connsiteX6817" fmla="*/ 6628539 w 12117871"/>
                <a:gd name="connsiteY6817" fmla="*/ 660590 h 6072780"/>
                <a:gd name="connsiteX6818" fmla="*/ 6589269 w 12117871"/>
                <a:gd name="connsiteY6818" fmla="*/ 747104 h 6072780"/>
                <a:gd name="connsiteX6819" fmla="*/ 6627787 w 12117871"/>
                <a:gd name="connsiteY6819" fmla="*/ 828051 h 6072780"/>
                <a:gd name="connsiteX6820" fmla="*/ 6665702 w 12117871"/>
                <a:gd name="connsiteY6820" fmla="*/ 745750 h 6072780"/>
                <a:gd name="connsiteX6821" fmla="*/ 6628539 w 12117871"/>
                <a:gd name="connsiteY6821" fmla="*/ 660590 h 6072780"/>
                <a:gd name="connsiteX6822" fmla="*/ 3082864 w 12117871"/>
                <a:gd name="connsiteY6822" fmla="*/ 660590 h 6072780"/>
                <a:gd name="connsiteX6823" fmla="*/ 3043594 w 12117871"/>
                <a:gd name="connsiteY6823" fmla="*/ 747104 h 6072780"/>
                <a:gd name="connsiteX6824" fmla="*/ 3082111 w 12117871"/>
                <a:gd name="connsiteY6824" fmla="*/ 828051 h 6072780"/>
                <a:gd name="connsiteX6825" fmla="*/ 3120027 w 12117871"/>
                <a:gd name="connsiteY6825" fmla="*/ 745750 h 6072780"/>
                <a:gd name="connsiteX6826" fmla="*/ 3082864 w 12117871"/>
                <a:gd name="connsiteY6826" fmla="*/ 660590 h 6072780"/>
                <a:gd name="connsiteX6827" fmla="*/ 2736061 w 12117871"/>
                <a:gd name="connsiteY6827" fmla="*/ 660590 h 6072780"/>
                <a:gd name="connsiteX6828" fmla="*/ 2696791 w 12117871"/>
                <a:gd name="connsiteY6828" fmla="*/ 747104 h 6072780"/>
                <a:gd name="connsiteX6829" fmla="*/ 2735309 w 12117871"/>
                <a:gd name="connsiteY6829" fmla="*/ 828051 h 6072780"/>
                <a:gd name="connsiteX6830" fmla="*/ 2773224 w 12117871"/>
                <a:gd name="connsiteY6830" fmla="*/ 745750 h 6072780"/>
                <a:gd name="connsiteX6831" fmla="*/ 2736061 w 12117871"/>
                <a:gd name="connsiteY6831" fmla="*/ 660590 h 6072780"/>
                <a:gd name="connsiteX6832" fmla="*/ 2044696 w 12117871"/>
                <a:gd name="connsiteY6832" fmla="*/ 660590 h 6072780"/>
                <a:gd name="connsiteX6833" fmla="*/ 2005426 w 12117871"/>
                <a:gd name="connsiteY6833" fmla="*/ 747104 h 6072780"/>
                <a:gd name="connsiteX6834" fmla="*/ 2043944 w 12117871"/>
                <a:gd name="connsiteY6834" fmla="*/ 828051 h 6072780"/>
                <a:gd name="connsiteX6835" fmla="*/ 2081859 w 12117871"/>
                <a:gd name="connsiteY6835" fmla="*/ 745750 h 6072780"/>
                <a:gd name="connsiteX6836" fmla="*/ 2044696 w 12117871"/>
                <a:gd name="connsiteY6836" fmla="*/ 660590 h 6072780"/>
                <a:gd name="connsiteX6837" fmla="*/ 789489 w 12117871"/>
                <a:gd name="connsiteY6837" fmla="*/ 660590 h 6072780"/>
                <a:gd name="connsiteX6838" fmla="*/ 750218 w 12117871"/>
                <a:gd name="connsiteY6838" fmla="*/ 747104 h 6072780"/>
                <a:gd name="connsiteX6839" fmla="*/ 788737 w 12117871"/>
                <a:gd name="connsiteY6839" fmla="*/ 828051 h 6072780"/>
                <a:gd name="connsiteX6840" fmla="*/ 826652 w 12117871"/>
                <a:gd name="connsiteY6840" fmla="*/ 745750 h 6072780"/>
                <a:gd name="connsiteX6841" fmla="*/ 789489 w 12117871"/>
                <a:gd name="connsiteY6841" fmla="*/ 660590 h 6072780"/>
                <a:gd name="connsiteX6842" fmla="*/ 568889 w 12117871"/>
                <a:gd name="connsiteY6842" fmla="*/ 660590 h 6072780"/>
                <a:gd name="connsiteX6843" fmla="*/ 529618 w 12117871"/>
                <a:gd name="connsiteY6843" fmla="*/ 747104 h 6072780"/>
                <a:gd name="connsiteX6844" fmla="*/ 568137 w 12117871"/>
                <a:gd name="connsiteY6844" fmla="*/ 828051 h 6072780"/>
                <a:gd name="connsiteX6845" fmla="*/ 606052 w 12117871"/>
                <a:gd name="connsiteY6845" fmla="*/ 745750 h 6072780"/>
                <a:gd name="connsiteX6846" fmla="*/ 568889 w 12117871"/>
                <a:gd name="connsiteY6846" fmla="*/ 660590 h 6072780"/>
                <a:gd name="connsiteX6847" fmla="*/ 12047977 w 12117871"/>
                <a:gd name="connsiteY6847" fmla="*/ 632755 h 6072780"/>
                <a:gd name="connsiteX6848" fmla="*/ 12062883 w 12117871"/>
                <a:gd name="connsiteY6848" fmla="*/ 632755 h 6072780"/>
                <a:gd name="connsiteX6849" fmla="*/ 12062883 w 12117871"/>
                <a:gd name="connsiteY6849" fmla="*/ 855735 h 6072780"/>
                <a:gd name="connsiteX6850" fmla="*/ 12027595 w 12117871"/>
                <a:gd name="connsiteY6850" fmla="*/ 855735 h 6072780"/>
                <a:gd name="connsiteX6851" fmla="*/ 12027595 w 12117871"/>
                <a:gd name="connsiteY6851" fmla="*/ 675952 h 6072780"/>
                <a:gd name="connsiteX6852" fmla="*/ 12006986 w 12117871"/>
                <a:gd name="connsiteY6852" fmla="*/ 687587 h 6072780"/>
                <a:gd name="connsiteX6853" fmla="*/ 11981813 w 12117871"/>
                <a:gd name="connsiteY6853" fmla="*/ 696029 h 6072780"/>
                <a:gd name="connsiteX6854" fmla="*/ 11981813 w 12117871"/>
                <a:gd name="connsiteY6854" fmla="*/ 665913 h 6072780"/>
                <a:gd name="connsiteX6855" fmla="*/ 11998848 w 12117871"/>
                <a:gd name="connsiteY6855" fmla="*/ 659829 h 6072780"/>
                <a:gd name="connsiteX6856" fmla="*/ 12015047 w 12117871"/>
                <a:gd name="connsiteY6856" fmla="*/ 652680 h 6072780"/>
                <a:gd name="connsiteX6857" fmla="*/ 12031170 w 12117871"/>
                <a:gd name="connsiteY6857" fmla="*/ 643858 h 6072780"/>
                <a:gd name="connsiteX6858" fmla="*/ 12047977 w 12117871"/>
                <a:gd name="connsiteY6858" fmla="*/ 632755 h 6072780"/>
                <a:gd name="connsiteX6859" fmla="*/ 11675412 w 12117871"/>
                <a:gd name="connsiteY6859" fmla="*/ 632755 h 6072780"/>
                <a:gd name="connsiteX6860" fmla="*/ 11690318 w 12117871"/>
                <a:gd name="connsiteY6860" fmla="*/ 632755 h 6072780"/>
                <a:gd name="connsiteX6861" fmla="*/ 11690318 w 12117871"/>
                <a:gd name="connsiteY6861" fmla="*/ 855735 h 6072780"/>
                <a:gd name="connsiteX6862" fmla="*/ 11655030 w 12117871"/>
                <a:gd name="connsiteY6862" fmla="*/ 855735 h 6072780"/>
                <a:gd name="connsiteX6863" fmla="*/ 11655030 w 12117871"/>
                <a:gd name="connsiteY6863" fmla="*/ 675952 h 6072780"/>
                <a:gd name="connsiteX6864" fmla="*/ 11634421 w 12117871"/>
                <a:gd name="connsiteY6864" fmla="*/ 687587 h 6072780"/>
                <a:gd name="connsiteX6865" fmla="*/ 11609248 w 12117871"/>
                <a:gd name="connsiteY6865" fmla="*/ 696029 h 6072780"/>
                <a:gd name="connsiteX6866" fmla="*/ 11609248 w 12117871"/>
                <a:gd name="connsiteY6866" fmla="*/ 665913 h 6072780"/>
                <a:gd name="connsiteX6867" fmla="*/ 11626283 w 12117871"/>
                <a:gd name="connsiteY6867" fmla="*/ 659829 h 6072780"/>
                <a:gd name="connsiteX6868" fmla="*/ 11642482 w 12117871"/>
                <a:gd name="connsiteY6868" fmla="*/ 652680 h 6072780"/>
                <a:gd name="connsiteX6869" fmla="*/ 11658605 w 12117871"/>
                <a:gd name="connsiteY6869" fmla="*/ 643858 h 6072780"/>
                <a:gd name="connsiteX6870" fmla="*/ 11675412 w 12117871"/>
                <a:gd name="connsiteY6870" fmla="*/ 632755 h 6072780"/>
                <a:gd name="connsiteX6871" fmla="*/ 11525439 w 12117871"/>
                <a:gd name="connsiteY6871" fmla="*/ 632755 h 6072780"/>
                <a:gd name="connsiteX6872" fmla="*/ 11540345 w 12117871"/>
                <a:gd name="connsiteY6872" fmla="*/ 632755 h 6072780"/>
                <a:gd name="connsiteX6873" fmla="*/ 11540345 w 12117871"/>
                <a:gd name="connsiteY6873" fmla="*/ 855735 h 6072780"/>
                <a:gd name="connsiteX6874" fmla="*/ 11505057 w 12117871"/>
                <a:gd name="connsiteY6874" fmla="*/ 855735 h 6072780"/>
                <a:gd name="connsiteX6875" fmla="*/ 11505057 w 12117871"/>
                <a:gd name="connsiteY6875" fmla="*/ 675952 h 6072780"/>
                <a:gd name="connsiteX6876" fmla="*/ 11484448 w 12117871"/>
                <a:gd name="connsiteY6876" fmla="*/ 687587 h 6072780"/>
                <a:gd name="connsiteX6877" fmla="*/ 11459275 w 12117871"/>
                <a:gd name="connsiteY6877" fmla="*/ 696029 h 6072780"/>
                <a:gd name="connsiteX6878" fmla="*/ 11459275 w 12117871"/>
                <a:gd name="connsiteY6878" fmla="*/ 665913 h 6072780"/>
                <a:gd name="connsiteX6879" fmla="*/ 11476310 w 12117871"/>
                <a:gd name="connsiteY6879" fmla="*/ 659829 h 6072780"/>
                <a:gd name="connsiteX6880" fmla="*/ 11492509 w 12117871"/>
                <a:gd name="connsiteY6880" fmla="*/ 652680 h 6072780"/>
                <a:gd name="connsiteX6881" fmla="*/ 11508632 w 12117871"/>
                <a:gd name="connsiteY6881" fmla="*/ 643858 h 6072780"/>
                <a:gd name="connsiteX6882" fmla="*/ 11525439 w 12117871"/>
                <a:gd name="connsiteY6882" fmla="*/ 632755 h 6072780"/>
                <a:gd name="connsiteX6883" fmla="*/ 11375466 w 12117871"/>
                <a:gd name="connsiteY6883" fmla="*/ 632755 h 6072780"/>
                <a:gd name="connsiteX6884" fmla="*/ 11390372 w 12117871"/>
                <a:gd name="connsiteY6884" fmla="*/ 632755 h 6072780"/>
                <a:gd name="connsiteX6885" fmla="*/ 11390372 w 12117871"/>
                <a:gd name="connsiteY6885" fmla="*/ 855735 h 6072780"/>
                <a:gd name="connsiteX6886" fmla="*/ 11355084 w 12117871"/>
                <a:gd name="connsiteY6886" fmla="*/ 855735 h 6072780"/>
                <a:gd name="connsiteX6887" fmla="*/ 11355084 w 12117871"/>
                <a:gd name="connsiteY6887" fmla="*/ 675952 h 6072780"/>
                <a:gd name="connsiteX6888" fmla="*/ 11334475 w 12117871"/>
                <a:gd name="connsiteY6888" fmla="*/ 687587 h 6072780"/>
                <a:gd name="connsiteX6889" fmla="*/ 11309302 w 12117871"/>
                <a:gd name="connsiteY6889" fmla="*/ 696029 h 6072780"/>
                <a:gd name="connsiteX6890" fmla="*/ 11309302 w 12117871"/>
                <a:gd name="connsiteY6890" fmla="*/ 665913 h 6072780"/>
                <a:gd name="connsiteX6891" fmla="*/ 11326337 w 12117871"/>
                <a:gd name="connsiteY6891" fmla="*/ 659829 h 6072780"/>
                <a:gd name="connsiteX6892" fmla="*/ 11342536 w 12117871"/>
                <a:gd name="connsiteY6892" fmla="*/ 652680 h 6072780"/>
                <a:gd name="connsiteX6893" fmla="*/ 11358659 w 12117871"/>
                <a:gd name="connsiteY6893" fmla="*/ 643858 h 6072780"/>
                <a:gd name="connsiteX6894" fmla="*/ 11375466 w 12117871"/>
                <a:gd name="connsiteY6894" fmla="*/ 632755 h 6072780"/>
                <a:gd name="connsiteX6895" fmla="*/ 10632508 w 12117871"/>
                <a:gd name="connsiteY6895" fmla="*/ 632755 h 6072780"/>
                <a:gd name="connsiteX6896" fmla="*/ 10647414 w 12117871"/>
                <a:gd name="connsiteY6896" fmla="*/ 632755 h 6072780"/>
                <a:gd name="connsiteX6897" fmla="*/ 10647414 w 12117871"/>
                <a:gd name="connsiteY6897" fmla="*/ 855735 h 6072780"/>
                <a:gd name="connsiteX6898" fmla="*/ 10612126 w 12117871"/>
                <a:gd name="connsiteY6898" fmla="*/ 855735 h 6072780"/>
                <a:gd name="connsiteX6899" fmla="*/ 10612126 w 12117871"/>
                <a:gd name="connsiteY6899" fmla="*/ 675952 h 6072780"/>
                <a:gd name="connsiteX6900" fmla="*/ 10591517 w 12117871"/>
                <a:gd name="connsiteY6900" fmla="*/ 687587 h 6072780"/>
                <a:gd name="connsiteX6901" fmla="*/ 10566344 w 12117871"/>
                <a:gd name="connsiteY6901" fmla="*/ 696029 h 6072780"/>
                <a:gd name="connsiteX6902" fmla="*/ 10566344 w 12117871"/>
                <a:gd name="connsiteY6902" fmla="*/ 665913 h 6072780"/>
                <a:gd name="connsiteX6903" fmla="*/ 10583379 w 12117871"/>
                <a:gd name="connsiteY6903" fmla="*/ 659829 h 6072780"/>
                <a:gd name="connsiteX6904" fmla="*/ 10599578 w 12117871"/>
                <a:gd name="connsiteY6904" fmla="*/ 652680 h 6072780"/>
                <a:gd name="connsiteX6905" fmla="*/ 10615701 w 12117871"/>
                <a:gd name="connsiteY6905" fmla="*/ 643858 h 6072780"/>
                <a:gd name="connsiteX6906" fmla="*/ 10632508 w 12117871"/>
                <a:gd name="connsiteY6906" fmla="*/ 632755 h 6072780"/>
                <a:gd name="connsiteX6907" fmla="*/ 10481379 w 12117871"/>
                <a:gd name="connsiteY6907" fmla="*/ 632755 h 6072780"/>
                <a:gd name="connsiteX6908" fmla="*/ 10496285 w 12117871"/>
                <a:gd name="connsiteY6908" fmla="*/ 632755 h 6072780"/>
                <a:gd name="connsiteX6909" fmla="*/ 10496285 w 12117871"/>
                <a:gd name="connsiteY6909" fmla="*/ 855735 h 6072780"/>
                <a:gd name="connsiteX6910" fmla="*/ 10460997 w 12117871"/>
                <a:gd name="connsiteY6910" fmla="*/ 855735 h 6072780"/>
                <a:gd name="connsiteX6911" fmla="*/ 10460997 w 12117871"/>
                <a:gd name="connsiteY6911" fmla="*/ 675952 h 6072780"/>
                <a:gd name="connsiteX6912" fmla="*/ 10440388 w 12117871"/>
                <a:gd name="connsiteY6912" fmla="*/ 687587 h 6072780"/>
                <a:gd name="connsiteX6913" fmla="*/ 10415215 w 12117871"/>
                <a:gd name="connsiteY6913" fmla="*/ 696029 h 6072780"/>
                <a:gd name="connsiteX6914" fmla="*/ 10415215 w 12117871"/>
                <a:gd name="connsiteY6914" fmla="*/ 665913 h 6072780"/>
                <a:gd name="connsiteX6915" fmla="*/ 10432250 w 12117871"/>
                <a:gd name="connsiteY6915" fmla="*/ 659829 h 6072780"/>
                <a:gd name="connsiteX6916" fmla="*/ 10448449 w 12117871"/>
                <a:gd name="connsiteY6916" fmla="*/ 652680 h 6072780"/>
                <a:gd name="connsiteX6917" fmla="*/ 10464572 w 12117871"/>
                <a:gd name="connsiteY6917" fmla="*/ 643858 h 6072780"/>
                <a:gd name="connsiteX6918" fmla="*/ 10481379 w 12117871"/>
                <a:gd name="connsiteY6918" fmla="*/ 632755 h 6072780"/>
                <a:gd name="connsiteX6919" fmla="*/ 10181432 w 12117871"/>
                <a:gd name="connsiteY6919" fmla="*/ 632755 h 6072780"/>
                <a:gd name="connsiteX6920" fmla="*/ 10196338 w 12117871"/>
                <a:gd name="connsiteY6920" fmla="*/ 632755 h 6072780"/>
                <a:gd name="connsiteX6921" fmla="*/ 10196338 w 12117871"/>
                <a:gd name="connsiteY6921" fmla="*/ 855735 h 6072780"/>
                <a:gd name="connsiteX6922" fmla="*/ 10161050 w 12117871"/>
                <a:gd name="connsiteY6922" fmla="*/ 855735 h 6072780"/>
                <a:gd name="connsiteX6923" fmla="*/ 10161050 w 12117871"/>
                <a:gd name="connsiteY6923" fmla="*/ 675952 h 6072780"/>
                <a:gd name="connsiteX6924" fmla="*/ 10140441 w 12117871"/>
                <a:gd name="connsiteY6924" fmla="*/ 687587 h 6072780"/>
                <a:gd name="connsiteX6925" fmla="*/ 10115268 w 12117871"/>
                <a:gd name="connsiteY6925" fmla="*/ 696029 h 6072780"/>
                <a:gd name="connsiteX6926" fmla="*/ 10115268 w 12117871"/>
                <a:gd name="connsiteY6926" fmla="*/ 665913 h 6072780"/>
                <a:gd name="connsiteX6927" fmla="*/ 10132303 w 12117871"/>
                <a:gd name="connsiteY6927" fmla="*/ 659829 h 6072780"/>
                <a:gd name="connsiteX6928" fmla="*/ 10148502 w 12117871"/>
                <a:gd name="connsiteY6928" fmla="*/ 652680 h 6072780"/>
                <a:gd name="connsiteX6929" fmla="*/ 10164625 w 12117871"/>
                <a:gd name="connsiteY6929" fmla="*/ 643858 h 6072780"/>
                <a:gd name="connsiteX6930" fmla="*/ 10181432 w 12117871"/>
                <a:gd name="connsiteY6930" fmla="*/ 632755 h 6072780"/>
                <a:gd name="connsiteX6931" fmla="*/ 9796404 w 12117871"/>
                <a:gd name="connsiteY6931" fmla="*/ 632755 h 6072780"/>
                <a:gd name="connsiteX6932" fmla="*/ 9811310 w 12117871"/>
                <a:gd name="connsiteY6932" fmla="*/ 632755 h 6072780"/>
                <a:gd name="connsiteX6933" fmla="*/ 9811310 w 12117871"/>
                <a:gd name="connsiteY6933" fmla="*/ 855735 h 6072780"/>
                <a:gd name="connsiteX6934" fmla="*/ 9776022 w 12117871"/>
                <a:gd name="connsiteY6934" fmla="*/ 855735 h 6072780"/>
                <a:gd name="connsiteX6935" fmla="*/ 9776022 w 12117871"/>
                <a:gd name="connsiteY6935" fmla="*/ 675952 h 6072780"/>
                <a:gd name="connsiteX6936" fmla="*/ 9755413 w 12117871"/>
                <a:gd name="connsiteY6936" fmla="*/ 687587 h 6072780"/>
                <a:gd name="connsiteX6937" fmla="*/ 9730240 w 12117871"/>
                <a:gd name="connsiteY6937" fmla="*/ 696029 h 6072780"/>
                <a:gd name="connsiteX6938" fmla="*/ 9730240 w 12117871"/>
                <a:gd name="connsiteY6938" fmla="*/ 665913 h 6072780"/>
                <a:gd name="connsiteX6939" fmla="*/ 9747275 w 12117871"/>
                <a:gd name="connsiteY6939" fmla="*/ 659829 h 6072780"/>
                <a:gd name="connsiteX6940" fmla="*/ 9763474 w 12117871"/>
                <a:gd name="connsiteY6940" fmla="*/ 652680 h 6072780"/>
                <a:gd name="connsiteX6941" fmla="*/ 9779597 w 12117871"/>
                <a:gd name="connsiteY6941" fmla="*/ 643858 h 6072780"/>
                <a:gd name="connsiteX6942" fmla="*/ 9796404 w 12117871"/>
                <a:gd name="connsiteY6942" fmla="*/ 632755 h 6072780"/>
                <a:gd name="connsiteX6943" fmla="*/ 9645275 w 12117871"/>
                <a:gd name="connsiteY6943" fmla="*/ 632755 h 6072780"/>
                <a:gd name="connsiteX6944" fmla="*/ 9660181 w 12117871"/>
                <a:gd name="connsiteY6944" fmla="*/ 632755 h 6072780"/>
                <a:gd name="connsiteX6945" fmla="*/ 9660181 w 12117871"/>
                <a:gd name="connsiteY6945" fmla="*/ 855735 h 6072780"/>
                <a:gd name="connsiteX6946" fmla="*/ 9624893 w 12117871"/>
                <a:gd name="connsiteY6946" fmla="*/ 855735 h 6072780"/>
                <a:gd name="connsiteX6947" fmla="*/ 9624893 w 12117871"/>
                <a:gd name="connsiteY6947" fmla="*/ 675952 h 6072780"/>
                <a:gd name="connsiteX6948" fmla="*/ 9604284 w 12117871"/>
                <a:gd name="connsiteY6948" fmla="*/ 687587 h 6072780"/>
                <a:gd name="connsiteX6949" fmla="*/ 9579111 w 12117871"/>
                <a:gd name="connsiteY6949" fmla="*/ 696029 h 6072780"/>
                <a:gd name="connsiteX6950" fmla="*/ 9579111 w 12117871"/>
                <a:gd name="connsiteY6950" fmla="*/ 665913 h 6072780"/>
                <a:gd name="connsiteX6951" fmla="*/ 9596146 w 12117871"/>
                <a:gd name="connsiteY6951" fmla="*/ 659829 h 6072780"/>
                <a:gd name="connsiteX6952" fmla="*/ 9612345 w 12117871"/>
                <a:gd name="connsiteY6952" fmla="*/ 652680 h 6072780"/>
                <a:gd name="connsiteX6953" fmla="*/ 9628468 w 12117871"/>
                <a:gd name="connsiteY6953" fmla="*/ 643858 h 6072780"/>
                <a:gd name="connsiteX6954" fmla="*/ 9645275 w 12117871"/>
                <a:gd name="connsiteY6954" fmla="*/ 632755 h 6072780"/>
                <a:gd name="connsiteX6955" fmla="*/ 9495302 w 12117871"/>
                <a:gd name="connsiteY6955" fmla="*/ 632755 h 6072780"/>
                <a:gd name="connsiteX6956" fmla="*/ 9510208 w 12117871"/>
                <a:gd name="connsiteY6956" fmla="*/ 632755 h 6072780"/>
                <a:gd name="connsiteX6957" fmla="*/ 9510208 w 12117871"/>
                <a:gd name="connsiteY6957" fmla="*/ 855735 h 6072780"/>
                <a:gd name="connsiteX6958" fmla="*/ 9474920 w 12117871"/>
                <a:gd name="connsiteY6958" fmla="*/ 855735 h 6072780"/>
                <a:gd name="connsiteX6959" fmla="*/ 9474920 w 12117871"/>
                <a:gd name="connsiteY6959" fmla="*/ 675952 h 6072780"/>
                <a:gd name="connsiteX6960" fmla="*/ 9454311 w 12117871"/>
                <a:gd name="connsiteY6960" fmla="*/ 687587 h 6072780"/>
                <a:gd name="connsiteX6961" fmla="*/ 9429138 w 12117871"/>
                <a:gd name="connsiteY6961" fmla="*/ 696029 h 6072780"/>
                <a:gd name="connsiteX6962" fmla="*/ 9429138 w 12117871"/>
                <a:gd name="connsiteY6962" fmla="*/ 665913 h 6072780"/>
                <a:gd name="connsiteX6963" fmla="*/ 9446173 w 12117871"/>
                <a:gd name="connsiteY6963" fmla="*/ 659829 h 6072780"/>
                <a:gd name="connsiteX6964" fmla="*/ 9462372 w 12117871"/>
                <a:gd name="connsiteY6964" fmla="*/ 652680 h 6072780"/>
                <a:gd name="connsiteX6965" fmla="*/ 9478495 w 12117871"/>
                <a:gd name="connsiteY6965" fmla="*/ 643858 h 6072780"/>
                <a:gd name="connsiteX6966" fmla="*/ 9495302 w 12117871"/>
                <a:gd name="connsiteY6966" fmla="*/ 632755 h 6072780"/>
                <a:gd name="connsiteX6967" fmla="*/ 9345329 w 12117871"/>
                <a:gd name="connsiteY6967" fmla="*/ 632755 h 6072780"/>
                <a:gd name="connsiteX6968" fmla="*/ 9360235 w 12117871"/>
                <a:gd name="connsiteY6968" fmla="*/ 632755 h 6072780"/>
                <a:gd name="connsiteX6969" fmla="*/ 9360235 w 12117871"/>
                <a:gd name="connsiteY6969" fmla="*/ 855735 h 6072780"/>
                <a:gd name="connsiteX6970" fmla="*/ 9324947 w 12117871"/>
                <a:gd name="connsiteY6970" fmla="*/ 855735 h 6072780"/>
                <a:gd name="connsiteX6971" fmla="*/ 9324947 w 12117871"/>
                <a:gd name="connsiteY6971" fmla="*/ 675952 h 6072780"/>
                <a:gd name="connsiteX6972" fmla="*/ 9304338 w 12117871"/>
                <a:gd name="connsiteY6972" fmla="*/ 687587 h 6072780"/>
                <a:gd name="connsiteX6973" fmla="*/ 9279165 w 12117871"/>
                <a:gd name="connsiteY6973" fmla="*/ 696029 h 6072780"/>
                <a:gd name="connsiteX6974" fmla="*/ 9279165 w 12117871"/>
                <a:gd name="connsiteY6974" fmla="*/ 665913 h 6072780"/>
                <a:gd name="connsiteX6975" fmla="*/ 9296200 w 12117871"/>
                <a:gd name="connsiteY6975" fmla="*/ 659829 h 6072780"/>
                <a:gd name="connsiteX6976" fmla="*/ 9312399 w 12117871"/>
                <a:gd name="connsiteY6976" fmla="*/ 652680 h 6072780"/>
                <a:gd name="connsiteX6977" fmla="*/ 9328522 w 12117871"/>
                <a:gd name="connsiteY6977" fmla="*/ 643858 h 6072780"/>
                <a:gd name="connsiteX6978" fmla="*/ 9345329 w 12117871"/>
                <a:gd name="connsiteY6978" fmla="*/ 632755 h 6072780"/>
                <a:gd name="connsiteX6979" fmla="*/ 9144936 w 12117871"/>
                <a:gd name="connsiteY6979" fmla="*/ 632755 h 6072780"/>
                <a:gd name="connsiteX6980" fmla="*/ 9216103 w 12117871"/>
                <a:gd name="connsiteY6980" fmla="*/ 743343 h 6072780"/>
                <a:gd name="connsiteX6981" fmla="*/ 9196017 w 12117871"/>
                <a:gd name="connsiteY6981" fmla="*/ 826922 h 6072780"/>
                <a:gd name="connsiteX6982" fmla="*/ 9139820 w 12117871"/>
                <a:gd name="connsiteY6982" fmla="*/ 855735 h 6072780"/>
                <a:gd name="connsiteX6983" fmla="*/ 9087235 w 12117871"/>
                <a:gd name="connsiteY6983" fmla="*/ 828201 h 6072780"/>
                <a:gd name="connsiteX6984" fmla="*/ 9068352 w 12117871"/>
                <a:gd name="connsiteY6984" fmla="*/ 748609 h 6072780"/>
                <a:gd name="connsiteX6985" fmla="*/ 9088062 w 12117871"/>
                <a:gd name="connsiteY6985" fmla="*/ 662094 h 6072780"/>
                <a:gd name="connsiteX6986" fmla="*/ 9144936 w 12117871"/>
                <a:gd name="connsiteY6986" fmla="*/ 632755 h 6072780"/>
                <a:gd name="connsiteX6987" fmla="*/ 9013860 w 12117871"/>
                <a:gd name="connsiteY6987" fmla="*/ 632755 h 6072780"/>
                <a:gd name="connsiteX6988" fmla="*/ 9028766 w 12117871"/>
                <a:gd name="connsiteY6988" fmla="*/ 632755 h 6072780"/>
                <a:gd name="connsiteX6989" fmla="*/ 9028766 w 12117871"/>
                <a:gd name="connsiteY6989" fmla="*/ 855735 h 6072780"/>
                <a:gd name="connsiteX6990" fmla="*/ 8993478 w 12117871"/>
                <a:gd name="connsiteY6990" fmla="*/ 855735 h 6072780"/>
                <a:gd name="connsiteX6991" fmla="*/ 8993478 w 12117871"/>
                <a:gd name="connsiteY6991" fmla="*/ 675952 h 6072780"/>
                <a:gd name="connsiteX6992" fmla="*/ 8972869 w 12117871"/>
                <a:gd name="connsiteY6992" fmla="*/ 687587 h 6072780"/>
                <a:gd name="connsiteX6993" fmla="*/ 8947696 w 12117871"/>
                <a:gd name="connsiteY6993" fmla="*/ 696029 h 6072780"/>
                <a:gd name="connsiteX6994" fmla="*/ 8947696 w 12117871"/>
                <a:gd name="connsiteY6994" fmla="*/ 665913 h 6072780"/>
                <a:gd name="connsiteX6995" fmla="*/ 8964731 w 12117871"/>
                <a:gd name="connsiteY6995" fmla="*/ 659829 h 6072780"/>
                <a:gd name="connsiteX6996" fmla="*/ 8980930 w 12117871"/>
                <a:gd name="connsiteY6996" fmla="*/ 652680 h 6072780"/>
                <a:gd name="connsiteX6997" fmla="*/ 8997053 w 12117871"/>
                <a:gd name="connsiteY6997" fmla="*/ 643858 h 6072780"/>
                <a:gd name="connsiteX6998" fmla="*/ 9013860 w 12117871"/>
                <a:gd name="connsiteY6998" fmla="*/ 632755 h 6072780"/>
                <a:gd name="connsiteX6999" fmla="*/ 8803179 w 12117871"/>
                <a:gd name="connsiteY6999" fmla="*/ 632755 h 6072780"/>
                <a:gd name="connsiteX7000" fmla="*/ 8874346 w 12117871"/>
                <a:gd name="connsiteY7000" fmla="*/ 743343 h 6072780"/>
                <a:gd name="connsiteX7001" fmla="*/ 8854260 w 12117871"/>
                <a:gd name="connsiteY7001" fmla="*/ 826922 h 6072780"/>
                <a:gd name="connsiteX7002" fmla="*/ 8798063 w 12117871"/>
                <a:gd name="connsiteY7002" fmla="*/ 855735 h 6072780"/>
                <a:gd name="connsiteX7003" fmla="*/ 8745478 w 12117871"/>
                <a:gd name="connsiteY7003" fmla="*/ 828201 h 6072780"/>
                <a:gd name="connsiteX7004" fmla="*/ 8726595 w 12117871"/>
                <a:gd name="connsiteY7004" fmla="*/ 748609 h 6072780"/>
                <a:gd name="connsiteX7005" fmla="*/ 8746305 w 12117871"/>
                <a:gd name="connsiteY7005" fmla="*/ 662094 h 6072780"/>
                <a:gd name="connsiteX7006" fmla="*/ 8803179 w 12117871"/>
                <a:gd name="connsiteY7006" fmla="*/ 632755 h 6072780"/>
                <a:gd name="connsiteX7007" fmla="*/ 8101777 w 12117871"/>
                <a:gd name="connsiteY7007" fmla="*/ 632755 h 6072780"/>
                <a:gd name="connsiteX7008" fmla="*/ 8172944 w 12117871"/>
                <a:gd name="connsiteY7008" fmla="*/ 743343 h 6072780"/>
                <a:gd name="connsiteX7009" fmla="*/ 8152858 w 12117871"/>
                <a:gd name="connsiteY7009" fmla="*/ 826922 h 6072780"/>
                <a:gd name="connsiteX7010" fmla="*/ 8096661 w 12117871"/>
                <a:gd name="connsiteY7010" fmla="*/ 855735 h 6072780"/>
                <a:gd name="connsiteX7011" fmla="*/ 8044076 w 12117871"/>
                <a:gd name="connsiteY7011" fmla="*/ 828201 h 6072780"/>
                <a:gd name="connsiteX7012" fmla="*/ 8025193 w 12117871"/>
                <a:gd name="connsiteY7012" fmla="*/ 748609 h 6072780"/>
                <a:gd name="connsiteX7013" fmla="*/ 8044903 w 12117871"/>
                <a:gd name="connsiteY7013" fmla="*/ 662094 h 6072780"/>
                <a:gd name="connsiteX7014" fmla="*/ 8101777 w 12117871"/>
                <a:gd name="connsiteY7014" fmla="*/ 632755 h 6072780"/>
                <a:gd name="connsiteX7015" fmla="*/ 7722616 w 12117871"/>
                <a:gd name="connsiteY7015" fmla="*/ 632755 h 6072780"/>
                <a:gd name="connsiteX7016" fmla="*/ 7737522 w 12117871"/>
                <a:gd name="connsiteY7016" fmla="*/ 632755 h 6072780"/>
                <a:gd name="connsiteX7017" fmla="*/ 7737522 w 12117871"/>
                <a:gd name="connsiteY7017" fmla="*/ 855735 h 6072780"/>
                <a:gd name="connsiteX7018" fmla="*/ 7702234 w 12117871"/>
                <a:gd name="connsiteY7018" fmla="*/ 855735 h 6072780"/>
                <a:gd name="connsiteX7019" fmla="*/ 7702234 w 12117871"/>
                <a:gd name="connsiteY7019" fmla="*/ 675952 h 6072780"/>
                <a:gd name="connsiteX7020" fmla="*/ 7681625 w 12117871"/>
                <a:gd name="connsiteY7020" fmla="*/ 687587 h 6072780"/>
                <a:gd name="connsiteX7021" fmla="*/ 7656452 w 12117871"/>
                <a:gd name="connsiteY7021" fmla="*/ 696029 h 6072780"/>
                <a:gd name="connsiteX7022" fmla="*/ 7656452 w 12117871"/>
                <a:gd name="connsiteY7022" fmla="*/ 665913 h 6072780"/>
                <a:gd name="connsiteX7023" fmla="*/ 7673487 w 12117871"/>
                <a:gd name="connsiteY7023" fmla="*/ 659829 h 6072780"/>
                <a:gd name="connsiteX7024" fmla="*/ 7689686 w 12117871"/>
                <a:gd name="connsiteY7024" fmla="*/ 652680 h 6072780"/>
                <a:gd name="connsiteX7025" fmla="*/ 7705809 w 12117871"/>
                <a:gd name="connsiteY7025" fmla="*/ 643858 h 6072780"/>
                <a:gd name="connsiteX7026" fmla="*/ 7722616 w 12117871"/>
                <a:gd name="connsiteY7026" fmla="*/ 632755 h 6072780"/>
                <a:gd name="connsiteX7027" fmla="*/ 7360674 w 12117871"/>
                <a:gd name="connsiteY7027" fmla="*/ 632755 h 6072780"/>
                <a:gd name="connsiteX7028" fmla="*/ 7375580 w 12117871"/>
                <a:gd name="connsiteY7028" fmla="*/ 632755 h 6072780"/>
                <a:gd name="connsiteX7029" fmla="*/ 7375580 w 12117871"/>
                <a:gd name="connsiteY7029" fmla="*/ 855735 h 6072780"/>
                <a:gd name="connsiteX7030" fmla="*/ 7340292 w 12117871"/>
                <a:gd name="connsiteY7030" fmla="*/ 855735 h 6072780"/>
                <a:gd name="connsiteX7031" fmla="*/ 7340292 w 12117871"/>
                <a:gd name="connsiteY7031" fmla="*/ 675952 h 6072780"/>
                <a:gd name="connsiteX7032" fmla="*/ 7319683 w 12117871"/>
                <a:gd name="connsiteY7032" fmla="*/ 687587 h 6072780"/>
                <a:gd name="connsiteX7033" fmla="*/ 7294510 w 12117871"/>
                <a:gd name="connsiteY7033" fmla="*/ 696029 h 6072780"/>
                <a:gd name="connsiteX7034" fmla="*/ 7294510 w 12117871"/>
                <a:gd name="connsiteY7034" fmla="*/ 665913 h 6072780"/>
                <a:gd name="connsiteX7035" fmla="*/ 7311545 w 12117871"/>
                <a:gd name="connsiteY7035" fmla="*/ 659829 h 6072780"/>
                <a:gd name="connsiteX7036" fmla="*/ 7327744 w 12117871"/>
                <a:gd name="connsiteY7036" fmla="*/ 652680 h 6072780"/>
                <a:gd name="connsiteX7037" fmla="*/ 7343867 w 12117871"/>
                <a:gd name="connsiteY7037" fmla="*/ 643858 h 6072780"/>
                <a:gd name="connsiteX7038" fmla="*/ 7360674 w 12117871"/>
                <a:gd name="connsiteY7038" fmla="*/ 632755 h 6072780"/>
                <a:gd name="connsiteX7039" fmla="*/ 7060728 w 12117871"/>
                <a:gd name="connsiteY7039" fmla="*/ 632755 h 6072780"/>
                <a:gd name="connsiteX7040" fmla="*/ 7075634 w 12117871"/>
                <a:gd name="connsiteY7040" fmla="*/ 632755 h 6072780"/>
                <a:gd name="connsiteX7041" fmla="*/ 7075634 w 12117871"/>
                <a:gd name="connsiteY7041" fmla="*/ 855735 h 6072780"/>
                <a:gd name="connsiteX7042" fmla="*/ 7040346 w 12117871"/>
                <a:gd name="connsiteY7042" fmla="*/ 855735 h 6072780"/>
                <a:gd name="connsiteX7043" fmla="*/ 7040346 w 12117871"/>
                <a:gd name="connsiteY7043" fmla="*/ 675952 h 6072780"/>
                <a:gd name="connsiteX7044" fmla="*/ 7019737 w 12117871"/>
                <a:gd name="connsiteY7044" fmla="*/ 687587 h 6072780"/>
                <a:gd name="connsiteX7045" fmla="*/ 6994564 w 12117871"/>
                <a:gd name="connsiteY7045" fmla="*/ 696029 h 6072780"/>
                <a:gd name="connsiteX7046" fmla="*/ 6994564 w 12117871"/>
                <a:gd name="connsiteY7046" fmla="*/ 665913 h 6072780"/>
                <a:gd name="connsiteX7047" fmla="*/ 7011599 w 12117871"/>
                <a:gd name="connsiteY7047" fmla="*/ 659829 h 6072780"/>
                <a:gd name="connsiteX7048" fmla="*/ 7027798 w 12117871"/>
                <a:gd name="connsiteY7048" fmla="*/ 652680 h 6072780"/>
                <a:gd name="connsiteX7049" fmla="*/ 7043921 w 12117871"/>
                <a:gd name="connsiteY7049" fmla="*/ 643858 h 6072780"/>
                <a:gd name="connsiteX7050" fmla="*/ 7060728 w 12117871"/>
                <a:gd name="connsiteY7050" fmla="*/ 632755 h 6072780"/>
                <a:gd name="connsiteX7051" fmla="*/ 6843288 w 12117871"/>
                <a:gd name="connsiteY7051" fmla="*/ 632755 h 6072780"/>
                <a:gd name="connsiteX7052" fmla="*/ 6914455 w 12117871"/>
                <a:gd name="connsiteY7052" fmla="*/ 743343 h 6072780"/>
                <a:gd name="connsiteX7053" fmla="*/ 6894369 w 12117871"/>
                <a:gd name="connsiteY7053" fmla="*/ 826922 h 6072780"/>
                <a:gd name="connsiteX7054" fmla="*/ 6838172 w 12117871"/>
                <a:gd name="connsiteY7054" fmla="*/ 855735 h 6072780"/>
                <a:gd name="connsiteX7055" fmla="*/ 6785587 w 12117871"/>
                <a:gd name="connsiteY7055" fmla="*/ 828201 h 6072780"/>
                <a:gd name="connsiteX7056" fmla="*/ 6766704 w 12117871"/>
                <a:gd name="connsiteY7056" fmla="*/ 748609 h 6072780"/>
                <a:gd name="connsiteX7057" fmla="*/ 6786414 w 12117871"/>
                <a:gd name="connsiteY7057" fmla="*/ 662094 h 6072780"/>
                <a:gd name="connsiteX7058" fmla="*/ 6843288 w 12117871"/>
                <a:gd name="connsiteY7058" fmla="*/ 632755 h 6072780"/>
                <a:gd name="connsiteX7059" fmla="*/ 6630194 w 12117871"/>
                <a:gd name="connsiteY7059" fmla="*/ 632755 h 6072780"/>
                <a:gd name="connsiteX7060" fmla="*/ 6701361 w 12117871"/>
                <a:gd name="connsiteY7060" fmla="*/ 743343 h 6072780"/>
                <a:gd name="connsiteX7061" fmla="*/ 6681275 w 12117871"/>
                <a:gd name="connsiteY7061" fmla="*/ 826922 h 6072780"/>
                <a:gd name="connsiteX7062" fmla="*/ 6625078 w 12117871"/>
                <a:gd name="connsiteY7062" fmla="*/ 855735 h 6072780"/>
                <a:gd name="connsiteX7063" fmla="*/ 6572493 w 12117871"/>
                <a:gd name="connsiteY7063" fmla="*/ 828201 h 6072780"/>
                <a:gd name="connsiteX7064" fmla="*/ 6553610 w 12117871"/>
                <a:gd name="connsiteY7064" fmla="*/ 748609 h 6072780"/>
                <a:gd name="connsiteX7065" fmla="*/ 6573320 w 12117871"/>
                <a:gd name="connsiteY7065" fmla="*/ 662094 h 6072780"/>
                <a:gd name="connsiteX7066" fmla="*/ 6630194 w 12117871"/>
                <a:gd name="connsiteY7066" fmla="*/ 632755 h 6072780"/>
                <a:gd name="connsiteX7067" fmla="*/ 6468645 w 12117871"/>
                <a:gd name="connsiteY7067" fmla="*/ 632755 h 6072780"/>
                <a:gd name="connsiteX7068" fmla="*/ 6483551 w 12117871"/>
                <a:gd name="connsiteY7068" fmla="*/ 632755 h 6072780"/>
                <a:gd name="connsiteX7069" fmla="*/ 6483551 w 12117871"/>
                <a:gd name="connsiteY7069" fmla="*/ 855735 h 6072780"/>
                <a:gd name="connsiteX7070" fmla="*/ 6448263 w 12117871"/>
                <a:gd name="connsiteY7070" fmla="*/ 855735 h 6072780"/>
                <a:gd name="connsiteX7071" fmla="*/ 6448263 w 12117871"/>
                <a:gd name="connsiteY7071" fmla="*/ 675952 h 6072780"/>
                <a:gd name="connsiteX7072" fmla="*/ 6427654 w 12117871"/>
                <a:gd name="connsiteY7072" fmla="*/ 687587 h 6072780"/>
                <a:gd name="connsiteX7073" fmla="*/ 6402481 w 12117871"/>
                <a:gd name="connsiteY7073" fmla="*/ 696029 h 6072780"/>
                <a:gd name="connsiteX7074" fmla="*/ 6402481 w 12117871"/>
                <a:gd name="connsiteY7074" fmla="*/ 665913 h 6072780"/>
                <a:gd name="connsiteX7075" fmla="*/ 6419516 w 12117871"/>
                <a:gd name="connsiteY7075" fmla="*/ 659829 h 6072780"/>
                <a:gd name="connsiteX7076" fmla="*/ 6435715 w 12117871"/>
                <a:gd name="connsiteY7076" fmla="*/ 652680 h 6072780"/>
                <a:gd name="connsiteX7077" fmla="*/ 6451838 w 12117871"/>
                <a:gd name="connsiteY7077" fmla="*/ 643858 h 6072780"/>
                <a:gd name="connsiteX7078" fmla="*/ 6468645 w 12117871"/>
                <a:gd name="connsiteY7078" fmla="*/ 632755 h 6072780"/>
                <a:gd name="connsiteX7079" fmla="*/ 6168699 w 12117871"/>
                <a:gd name="connsiteY7079" fmla="*/ 632755 h 6072780"/>
                <a:gd name="connsiteX7080" fmla="*/ 6183605 w 12117871"/>
                <a:gd name="connsiteY7080" fmla="*/ 632755 h 6072780"/>
                <a:gd name="connsiteX7081" fmla="*/ 6183605 w 12117871"/>
                <a:gd name="connsiteY7081" fmla="*/ 855735 h 6072780"/>
                <a:gd name="connsiteX7082" fmla="*/ 6148317 w 12117871"/>
                <a:gd name="connsiteY7082" fmla="*/ 855735 h 6072780"/>
                <a:gd name="connsiteX7083" fmla="*/ 6148317 w 12117871"/>
                <a:gd name="connsiteY7083" fmla="*/ 675952 h 6072780"/>
                <a:gd name="connsiteX7084" fmla="*/ 6127708 w 12117871"/>
                <a:gd name="connsiteY7084" fmla="*/ 687587 h 6072780"/>
                <a:gd name="connsiteX7085" fmla="*/ 6102535 w 12117871"/>
                <a:gd name="connsiteY7085" fmla="*/ 696029 h 6072780"/>
                <a:gd name="connsiteX7086" fmla="*/ 6102535 w 12117871"/>
                <a:gd name="connsiteY7086" fmla="*/ 665913 h 6072780"/>
                <a:gd name="connsiteX7087" fmla="*/ 6119570 w 12117871"/>
                <a:gd name="connsiteY7087" fmla="*/ 659829 h 6072780"/>
                <a:gd name="connsiteX7088" fmla="*/ 6135769 w 12117871"/>
                <a:gd name="connsiteY7088" fmla="*/ 652680 h 6072780"/>
                <a:gd name="connsiteX7089" fmla="*/ 6151892 w 12117871"/>
                <a:gd name="connsiteY7089" fmla="*/ 643858 h 6072780"/>
                <a:gd name="connsiteX7090" fmla="*/ 6168699 w 12117871"/>
                <a:gd name="connsiteY7090" fmla="*/ 632755 h 6072780"/>
                <a:gd name="connsiteX7091" fmla="*/ 5985170 w 12117871"/>
                <a:gd name="connsiteY7091" fmla="*/ 632755 h 6072780"/>
                <a:gd name="connsiteX7092" fmla="*/ 6000077 w 12117871"/>
                <a:gd name="connsiteY7092" fmla="*/ 632755 h 6072780"/>
                <a:gd name="connsiteX7093" fmla="*/ 6000077 w 12117871"/>
                <a:gd name="connsiteY7093" fmla="*/ 855735 h 6072780"/>
                <a:gd name="connsiteX7094" fmla="*/ 5964788 w 12117871"/>
                <a:gd name="connsiteY7094" fmla="*/ 855735 h 6072780"/>
                <a:gd name="connsiteX7095" fmla="*/ 5964788 w 12117871"/>
                <a:gd name="connsiteY7095" fmla="*/ 675952 h 6072780"/>
                <a:gd name="connsiteX7096" fmla="*/ 5944180 w 12117871"/>
                <a:gd name="connsiteY7096" fmla="*/ 687587 h 6072780"/>
                <a:gd name="connsiteX7097" fmla="*/ 5919006 w 12117871"/>
                <a:gd name="connsiteY7097" fmla="*/ 696029 h 6072780"/>
                <a:gd name="connsiteX7098" fmla="*/ 5919006 w 12117871"/>
                <a:gd name="connsiteY7098" fmla="*/ 665913 h 6072780"/>
                <a:gd name="connsiteX7099" fmla="*/ 5936041 w 12117871"/>
                <a:gd name="connsiteY7099" fmla="*/ 659829 h 6072780"/>
                <a:gd name="connsiteX7100" fmla="*/ 5952241 w 12117871"/>
                <a:gd name="connsiteY7100" fmla="*/ 652680 h 6072780"/>
                <a:gd name="connsiteX7101" fmla="*/ 5968363 w 12117871"/>
                <a:gd name="connsiteY7101" fmla="*/ 643858 h 6072780"/>
                <a:gd name="connsiteX7102" fmla="*/ 5985170 w 12117871"/>
                <a:gd name="connsiteY7102" fmla="*/ 632755 h 6072780"/>
                <a:gd name="connsiteX7103" fmla="*/ 5617508 w 12117871"/>
                <a:gd name="connsiteY7103" fmla="*/ 632755 h 6072780"/>
                <a:gd name="connsiteX7104" fmla="*/ 5632415 w 12117871"/>
                <a:gd name="connsiteY7104" fmla="*/ 632755 h 6072780"/>
                <a:gd name="connsiteX7105" fmla="*/ 5632415 w 12117871"/>
                <a:gd name="connsiteY7105" fmla="*/ 855735 h 6072780"/>
                <a:gd name="connsiteX7106" fmla="*/ 5597126 w 12117871"/>
                <a:gd name="connsiteY7106" fmla="*/ 855735 h 6072780"/>
                <a:gd name="connsiteX7107" fmla="*/ 5597126 w 12117871"/>
                <a:gd name="connsiteY7107" fmla="*/ 675952 h 6072780"/>
                <a:gd name="connsiteX7108" fmla="*/ 5576518 w 12117871"/>
                <a:gd name="connsiteY7108" fmla="*/ 687587 h 6072780"/>
                <a:gd name="connsiteX7109" fmla="*/ 5551344 w 12117871"/>
                <a:gd name="connsiteY7109" fmla="*/ 696029 h 6072780"/>
                <a:gd name="connsiteX7110" fmla="*/ 5551344 w 12117871"/>
                <a:gd name="connsiteY7110" fmla="*/ 665913 h 6072780"/>
                <a:gd name="connsiteX7111" fmla="*/ 5568379 w 12117871"/>
                <a:gd name="connsiteY7111" fmla="*/ 659829 h 6072780"/>
                <a:gd name="connsiteX7112" fmla="*/ 5584578 w 12117871"/>
                <a:gd name="connsiteY7112" fmla="*/ 652680 h 6072780"/>
                <a:gd name="connsiteX7113" fmla="*/ 5600701 w 12117871"/>
                <a:gd name="connsiteY7113" fmla="*/ 643858 h 6072780"/>
                <a:gd name="connsiteX7114" fmla="*/ 5617508 w 12117871"/>
                <a:gd name="connsiteY7114" fmla="*/ 632755 h 6072780"/>
                <a:gd name="connsiteX7115" fmla="*/ 5467535 w 12117871"/>
                <a:gd name="connsiteY7115" fmla="*/ 632755 h 6072780"/>
                <a:gd name="connsiteX7116" fmla="*/ 5482441 w 12117871"/>
                <a:gd name="connsiteY7116" fmla="*/ 632755 h 6072780"/>
                <a:gd name="connsiteX7117" fmla="*/ 5482441 w 12117871"/>
                <a:gd name="connsiteY7117" fmla="*/ 855735 h 6072780"/>
                <a:gd name="connsiteX7118" fmla="*/ 5447153 w 12117871"/>
                <a:gd name="connsiteY7118" fmla="*/ 855735 h 6072780"/>
                <a:gd name="connsiteX7119" fmla="*/ 5447153 w 12117871"/>
                <a:gd name="connsiteY7119" fmla="*/ 675952 h 6072780"/>
                <a:gd name="connsiteX7120" fmla="*/ 5426545 w 12117871"/>
                <a:gd name="connsiteY7120" fmla="*/ 687587 h 6072780"/>
                <a:gd name="connsiteX7121" fmla="*/ 5401372 w 12117871"/>
                <a:gd name="connsiteY7121" fmla="*/ 696029 h 6072780"/>
                <a:gd name="connsiteX7122" fmla="*/ 5401372 w 12117871"/>
                <a:gd name="connsiteY7122" fmla="*/ 665913 h 6072780"/>
                <a:gd name="connsiteX7123" fmla="*/ 5418407 w 12117871"/>
                <a:gd name="connsiteY7123" fmla="*/ 659829 h 6072780"/>
                <a:gd name="connsiteX7124" fmla="*/ 5434605 w 12117871"/>
                <a:gd name="connsiteY7124" fmla="*/ 652680 h 6072780"/>
                <a:gd name="connsiteX7125" fmla="*/ 5450728 w 12117871"/>
                <a:gd name="connsiteY7125" fmla="*/ 643858 h 6072780"/>
                <a:gd name="connsiteX7126" fmla="*/ 5467535 w 12117871"/>
                <a:gd name="connsiteY7126" fmla="*/ 632755 h 6072780"/>
                <a:gd name="connsiteX7127" fmla="*/ 5317563 w 12117871"/>
                <a:gd name="connsiteY7127" fmla="*/ 632755 h 6072780"/>
                <a:gd name="connsiteX7128" fmla="*/ 5332469 w 12117871"/>
                <a:gd name="connsiteY7128" fmla="*/ 632755 h 6072780"/>
                <a:gd name="connsiteX7129" fmla="*/ 5332469 w 12117871"/>
                <a:gd name="connsiteY7129" fmla="*/ 855735 h 6072780"/>
                <a:gd name="connsiteX7130" fmla="*/ 5297180 w 12117871"/>
                <a:gd name="connsiteY7130" fmla="*/ 855735 h 6072780"/>
                <a:gd name="connsiteX7131" fmla="*/ 5297180 w 12117871"/>
                <a:gd name="connsiteY7131" fmla="*/ 675952 h 6072780"/>
                <a:gd name="connsiteX7132" fmla="*/ 5276571 w 12117871"/>
                <a:gd name="connsiteY7132" fmla="*/ 687587 h 6072780"/>
                <a:gd name="connsiteX7133" fmla="*/ 5251398 w 12117871"/>
                <a:gd name="connsiteY7133" fmla="*/ 696029 h 6072780"/>
                <a:gd name="connsiteX7134" fmla="*/ 5251398 w 12117871"/>
                <a:gd name="connsiteY7134" fmla="*/ 665913 h 6072780"/>
                <a:gd name="connsiteX7135" fmla="*/ 5268433 w 12117871"/>
                <a:gd name="connsiteY7135" fmla="*/ 659829 h 6072780"/>
                <a:gd name="connsiteX7136" fmla="*/ 5284632 w 12117871"/>
                <a:gd name="connsiteY7136" fmla="*/ 652680 h 6072780"/>
                <a:gd name="connsiteX7137" fmla="*/ 5300756 w 12117871"/>
                <a:gd name="connsiteY7137" fmla="*/ 643858 h 6072780"/>
                <a:gd name="connsiteX7138" fmla="*/ 5317563 w 12117871"/>
                <a:gd name="connsiteY7138" fmla="*/ 632755 h 6072780"/>
                <a:gd name="connsiteX7139" fmla="*/ 4568884 w 12117871"/>
                <a:gd name="connsiteY7139" fmla="*/ 632755 h 6072780"/>
                <a:gd name="connsiteX7140" fmla="*/ 4583790 w 12117871"/>
                <a:gd name="connsiteY7140" fmla="*/ 632755 h 6072780"/>
                <a:gd name="connsiteX7141" fmla="*/ 4583790 w 12117871"/>
                <a:gd name="connsiteY7141" fmla="*/ 855735 h 6072780"/>
                <a:gd name="connsiteX7142" fmla="*/ 4548503 w 12117871"/>
                <a:gd name="connsiteY7142" fmla="*/ 855735 h 6072780"/>
                <a:gd name="connsiteX7143" fmla="*/ 4548503 w 12117871"/>
                <a:gd name="connsiteY7143" fmla="*/ 675952 h 6072780"/>
                <a:gd name="connsiteX7144" fmla="*/ 4527893 w 12117871"/>
                <a:gd name="connsiteY7144" fmla="*/ 687587 h 6072780"/>
                <a:gd name="connsiteX7145" fmla="*/ 4502720 w 12117871"/>
                <a:gd name="connsiteY7145" fmla="*/ 696029 h 6072780"/>
                <a:gd name="connsiteX7146" fmla="*/ 4502720 w 12117871"/>
                <a:gd name="connsiteY7146" fmla="*/ 665913 h 6072780"/>
                <a:gd name="connsiteX7147" fmla="*/ 4519755 w 12117871"/>
                <a:gd name="connsiteY7147" fmla="*/ 659829 h 6072780"/>
                <a:gd name="connsiteX7148" fmla="*/ 4535955 w 12117871"/>
                <a:gd name="connsiteY7148" fmla="*/ 652680 h 6072780"/>
                <a:gd name="connsiteX7149" fmla="*/ 4552078 w 12117871"/>
                <a:gd name="connsiteY7149" fmla="*/ 643858 h 6072780"/>
                <a:gd name="connsiteX7150" fmla="*/ 4568884 w 12117871"/>
                <a:gd name="connsiteY7150" fmla="*/ 632755 h 6072780"/>
                <a:gd name="connsiteX7151" fmla="*/ 4418912 w 12117871"/>
                <a:gd name="connsiteY7151" fmla="*/ 632755 h 6072780"/>
                <a:gd name="connsiteX7152" fmla="*/ 4433817 w 12117871"/>
                <a:gd name="connsiteY7152" fmla="*/ 632755 h 6072780"/>
                <a:gd name="connsiteX7153" fmla="*/ 4433817 w 12117871"/>
                <a:gd name="connsiteY7153" fmla="*/ 855735 h 6072780"/>
                <a:gd name="connsiteX7154" fmla="*/ 4398529 w 12117871"/>
                <a:gd name="connsiteY7154" fmla="*/ 855735 h 6072780"/>
                <a:gd name="connsiteX7155" fmla="*/ 4398529 w 12117871"/>
                <a:gd name="connsiteY7155" fmla="*/ 675952 h 6072780"/>
                <a:gd name="connsiteX7156" fmla="*/ 4377920 w 12117871"/>
                <a:gd name="connsiteY7156" fmla="*/ 687587 h 6072780"/>
                <a:gd name="connsiteX7157" fmla="*/ 4352748 w 12117871"/>
                <a:gd name="connsiteY7157" fmla="*/ 696029 h 6072780"/>
                <a:gd name="connsiteX7158" fmla="*/ 4352748 w 12117871"/>
                <a:gd name="connsiteY7158" fmla="*/ 665913 h 6072780"/>
                <a:gd name="connsiteX7159" fmla="*/ 4369782 w 12117871"/>
                <a:gd name="connsiteY7159" fmla="*/ 659829 h 6072780"/>
                <a:gd name="connsiteX7160" fmla="*/ 4385981 w 12117871"/>
                <a:gd name="connsiteY7160" fmla="*/ 652680 h 6072780"/>
                <a:gd name="connsiteX7161" fmla="*/ 4402104 w 12117871"/>
                <a:gd name="connsiteY7161" fmla="*/ 643858 h 6072780"/>
                <a:gd name="connsiteX7162" fmla="*/ 4418912 w 12117871"/>
                <a:gd name="connsiteY7162" fmla="*/ 632755 h 6072780"/>
                <a:gd name="connsiteX7163" fmla="*/ 4118966 w 12117871"/>
                <a:gd name="connsiteY7163" fmla="*/ 632755 h 6072780"/>
                <a:gd name="connsiteX7164" fmla="*/ 4133872 w 12117871"/>
                <a:gd name="connsiteY7164" fmla="*/ 632755 h 6072780"/>
                <a:gd name="connsiteX7165" fmla="*/ 4133872 w 12117871"/>
                <a:gd name="connsiteY7165" fmla="*/ 855735 h 6072780"/>
                <a:gd name="connsiteX7166" fmla="*/ 4098584 w 12117871"/>
                <a:gd name="connsiteY7166" fmla="*/ 855735 h 6072780"/>
                <a:gd name="connsiteX7167" fmla="*/ 4098584 w 12117871"/>
                <a:gd name="connsiteY7167" fmla="*/ 675952 h 6072780"/>
                <a:gd name="connsiteX7168" fmla="*/ 4077975 w 12117871"/>
                <a:gd name="connsiteY7168" fmla="*/ 687587 h 6072780"/>
                <a:gd name="connsiteX7169" fmla="*/ 4052802 w 12117871"/>
                <a:gd name="connsiteY7169" fmla="*/ 696029 h 6072780"/>
                <a:gd name="connsiteX7170" fmla="*/ 4052802 w 12117871"/>
                <a:gd name="connsiteY7170" fmla="*/ 665913 h 6072780"/>
                <a:gd name="connsiteX7171" fmla="*/ 4069837 w 12117871"/>
                <a:gd name="connsiteY7171" fmla="*/ 659829 h 6072780"/>
                <a:gd name="connsiteX7172" fmla="*/ 4086036 w 12117871"/>
                <a:gd name="connsiteY7172" fmla="*/ 652680 h 6072780"/>
                <a:gd name="connsiteX7173" fmla="*/ 4102158 w 12117871"/>
                <a:gd name="connsiteY7173" fmla="*/ 643858 h 6072780"/>
                <a:gd name="connsiteX7174" fmla="*/ 4118966 w 12117871"/>
                <a:gd name="connsiteY7174" fmla="*/ 632755 h 6072780"/>
                <a:gd name="connsiteX7175" fmla="*/ 3738375 w 12117871"/>
                <a:gd name="connsiteY7175" fmla="*/ 632755 h 6072780"/>
                <a:gd name="connsiteX7176" fmla="*/ 3753281 w 12117871"/>
                <a:gd name="connsiteY7176" fmla="*/ 632755 h 6072780"/>
                <a:gd name="connsiteX7177" fmla="*/ 3753281 w 12117871"/>
                <a:gd name="connsiteY7177" fmla="*/ 855735 h 6072780"/>
                <a:gd name="connsiteX7178" fmla="*/ 3717993 w 12117871"/>
                <a:gd name="connsiteY7178" fmla="*/ 855735 h 6072780"/>
                <a:gd name="connsiteX7179" fmla="*/ 3717993 w 12117871"/>
                <a:gd name="connsiteY7179" fmla="*/ 675952 h 6072780"/>
                <a:gd name="connsiteX7180" fmla="*/ 3697384 w 12117871"/>
                <a:gd name="connsiteY7180" fmla="*/ 687587 h 6072780"/>
                <a:gd name="connsiteX7181" fmla="*/ 3672211 w 12117871"/>
                <a:gd name="connsiteY7181" fmla="*/ 696029 h 6072780"/>
                <a:gd name="connsiteX7182" fmla="*/ 3672211 w 12117871"/>
                <a:gd name="connsiteY7182" fmla="*/ 665913 h 6072780"/>
                <a:gd name="connsiteX7183" fmla="*/ 3689246 w 12117871"/>
                <a:gd name="connsiteY7183" fmla="*/ 659829 h 6072780"/>
                <a:gd name="connsiteX7184" fmla="*/ 3705445 w 12117871"/>
                <a:gd name="connsiteY7184" fmla="*/ 652680 h 6072780"/>
                <a:gd name="connsiteX7185" fmla="*/ 3721568 w 12117871"/>
                <a:gd name="connsiteY7185" fmla="*/ 643858 h 6072780"/>
                <a:gd name="connsiteX7186" fmla="*/ 3738375 w 12117871"/>
                <a:gd name="connsiteY7186" fmla="*/ 632755 h 6072780"/>
                <a:gd name="connsiteX7187" fmla="*/ 3588402 w 12117871"/>
                <a:gd name="connsiteY7187" fmla="*/ 632755 h 6072780"/>
                <a:gd name="connsiteX7188" fmla="*/ 3603308 w 12117871"/>
                <a:gd name="connsiteY7188" fmla="*/ 632755 h 6072780"/>
                <a:gd name="connsiteX7189" fmla="*/ 3603308 w 12117871"/>
                <a:gd name="connsiteY7189" fmla="*/ 855735 h 6072780"/>
                <a:gd name="connsiteX7190" fmla="*/ 3568020 w 12117871"/>
                <a:gd name="connsiteY7190" fmla="*/ 855735 h 6072780"/>
                <a:gd name="connsiteX7191" fmla="*/ 3568020 w 12117871"/>
                <a:gd name="connsiteY7191" fmla="*/ 675952 h 6072780"/>
                <a:gd name="connsiteX7192" fmla="*/ 3547411 w 12117871"/>
                <a:gd name="connsiteY7192" fmla="*/ 687587 h 6072780"/>
                <a:gd name="connsiteX7193" fmla="*/ 3522237 w 12117871"/>
                <a:gd name="connsiteY7193" fmla="*/ 696029 h 6072780"/>
                <a:gd name="connsiteX7194" fmla="*/ 3522237 w 12117871"/>
                <a:gd name="connsiteY7194" fmla="*/ 665913 h 6072780"/>
                <a:gd name="connsiteX7195" fmla="*/ 3539273 w 12117871"/>
                <a:gd name="connsiteY7195" fmla="*/ 659829 h 6072780"/>
                <a:gd name="connsiteX7196" fmla="*/ 3555472 w 12117871"/>
                <a:gd name="connsiteY7196" fmla="*/ 652680 h 6072780"/>
                <a:gd name="connsiteX7197" fmla="*/ 3571595 w 12117871"/>
                <a:gd name="connsiteY7197" fmla="*/ 643858 h 6072780"/>
                <a:gd name="connsiteX7198" fmla="*/ 3588402 w 12117871"/>
                <a:gd name="connsiteY7198" fmla="*/ 632755 h 6072780"/>
                <a:gd name="connsiteX7199" fmla="*/ 3438429 w 12117871"/>
                <a:gd name="connsiteY7199" fmla="*/ 632755 h 6072780"/>
                <a:gd name="connsiteX7200" fmla="*/ 3453335 w 12117871"/>
                <a:gd name="connsiteY7200" fmla="*/ 632755 h 6072780"/>
                <a:gd name="connsiteX7201" fmla="*/ 3453335 w 12117871"/>
                <a:gd name="connsiteY7201" fmla="*/ 855735 h 6072780"/>
                <a:gd name="connsiteX7202" fmla="*/ 3418047 w 12117871"/>
                <a:gd name="connsiteY7202" fmla="*/ 855735 h 6072780"/>
                <a:gd name="connsiteX7203" fmla="*/ 3418047 w 12117871"/>
                <a:gd name="connsiteY7203" fmla="*/ 675952 h 6072780"/>
                <a:gd name="connsiteX7204" fmla="*/ 3397438 w 12117871"/>
                <a:gd name="connsiteY7204" fmla="*/ 687587 h 6072780"/>
                <a:gd name="connsiteX7205" fmla="*/ 3372265 w 12117871"/>
                <a:gd name="connsiteY7205" fmla="*/ 696029 h 6072780"/>
                <a:gd name="connsiteX7206" fmla="*/ 3372265 w 12117871"/>
                <a:gd name="connsiteY7206" fmla="*/ 665913 h 6072780"/>
                <a:gd name="connsiteX7207" fmla="*/ 3389300 w 12117871"/>
                <a:gd name="connsiteY7207" fmla="*/ 659829 h 6072780"/>
                <a:gd name="connsiteX7208" fmla="*/ 3405499 w 12117871"/>
                <a:gd name="connsiteY7208" fmla="*/ 652680 h 6072780"/>
                <a:gd name="connsiteX7209" fmla="*/ 3421622 w 12117871"/>
                <a:gd name="connsiteY7209" fmla="*/ 643858 h 6072780"/>
                <a:gd name="connsiteX7210" fmla="*/ 3438429 w 12117871"/>
                <a:gd name="connsiteY7210" fmla="*/ 632755 h 6072780"/>
                <a:gd name="connsiteX7211" fmla="*/ 3288456 w 12117871"/>
                <a:gd name="connsiteY7211" fmla="*/ 632755 h 6072780"/>
                <a:gd name="connsiteX7212" fmla="*/ 3303362 w 12117871"/>
                <a:gd name="connsiteY7212" fmla="*/ 632755 h 6072780"/>
                <a:gd name="connsiteX7213" fmla="*/ 3303362 w 12117871"/>
                <a:gd name="connsiteY7213" fmla="*/ 855735 h 6072780"/>
                <a:gd name="connsiteX7214" fmla="*/ 3268074 w 12117871"/>
                <a:gd name="connsiteY7214" fmla="*/ 855735 h 6072780"/>
                <a:gd name="connsiteX7215" fmla="*/ 3268074 w 12117871"/>
                <a:gd name="connsiteY7215" fmla="*/ 675952 h 6072780"/>
                <a:gd name="connsiteX7216" fmla="*/ 3247464 w 12117871"/>
                <a:gd name="connsiteY7216" fmla="*/ 687587 h 6072780"/>
                <a:gd name="connsiteX7217" fmla="*/ 3222292 w 12117871"/>
                <a:gd name="connsiteY7217" fmla="*/ 696029 h 6072780"/>
                <a:gd name="connsiteX7218" fmla="*/ 3222292 w 12117871"/>
                <a:gd name="connsiteY7218" fmla="*/ 665913 h 6072780"/>
                <a:gd name="connsiteX7219" fmla="*/ 3239327 w 12117871"/>
                <a:gd name="connsiteY7219" fmla="*/ 659829 h 6072780"/>
                <a:gd name="connsiteX7220" fmla="*/ 3255526 w 12117871"/>
                <a:gd name="connsiteY7220" fmla="*/ 652680 h 6072780"/>
                <a:gd name="connsiteX7221" fmla="*/ 3271649 w 12117871"/>
                <a:gd name="connsiteY7221" fmla="*/ 643858 h 6072780"/>
                <a:gd name="connsiteX7222" fmla="*/ 3288456 w 12117871"/>
                <a:gd name="connsiteY7222" fmla="*/ 632755 h 6072780"/>
                <a:gd name="connsiteX7223" fmla="*/ 3084519 w 12117871"/>
                <a:gd name="connsiteY7223" fmla="*/ 632755 h 6072780"/>
                <a:gd name="connsiteX7224" fmla="*/ 3155686 w 12117871"/>
                <a:gd name="connsiteY7224" fmla="*/ 743343 h 6072780"/>
                <a:gd name="connsiteX7225" fmla="*/ 3135600 w 12117871"/>
                <a:gd name="connsiteY7225" fmla="*/ 826922 h 6072780"/>
                <a:gd name="connsiteX7226" fmla="*/ 3079403 w 12117871"/>
                <a:gd name="connsiteY7226" fmla="*/ 855735 h 6072780"/>
                <a:gd name="connsiteX7227" fmla="*/ 3026818 w 12117871"/>
                <a:gd name="connsiteY7227" fmla="*/ 828201 h 6072780"/>
                <a:gd name="connsiteX7228" fmla="*/ 3007935 w 12117871"/>
                <a:gd name="connsiteY7228" fmla="*/ 748609 h 6072780"/>
                <a:gd name="connsiteX7229" fmla="*/ 3027645 w 12117871"/>
                <a:gd name="connsiteY7229" fmla="*/ 662094 h 6072780"/>
                <a:gd name="connsiteX7230" fmla="*/ 3084519 w 12117871"/>
                <a:gd name="connsiteY7230" fmla="*/ 632755 h 6072780"/>
                <a:gd name="connsiteX7231" fmla="*/ 2954273 w 12117871"/>
                <a:gd name="connsiteY7231" fmla="*/ 632755 h 6072780"/>
                <a:gd name="connsiteX7232" fmla="*/ 2969178 w 12117871"/>
                <a:gd name="connsiteY7232" fmla="*/ 632755 h 6072780"/>
                <a:gd name="connsiteX7233" fmla="*/ 2969178 w 12117871"/>
                <a:gd name="connsiteY7233" fmla="*/ 855735 h 6072780"/>
                <a:gd name="connsiteX7234" fmla="*/ 2933891 w 12117871"/>
                <a:gd name="connsiteY7234" fmla="*/ 855735 h 6072780"/>
                <a:gd name="connsiteX7235" fmla="*/ 2933891 w 12117871"/>
                <a:gd name="connsiteY7235" fmla="*/ 675952 h 6072780"/>
                <a:gd name="connsiteX7236" fmla="*/ 2913282 w 12117871"/>
                <a:gd name="connsiteY7236" fmla="*/ 687587 h 6072780"/>
                <a:gd name="connsiteX7237" fmla="*/ 2888109 w 12117871"/>
                <a:gd name="connsiteY7237" fmla="*/ 696029 h 6072780"/>
                <a:gd name="connsiteX7238" fmla="*/ 2888109 w 12117871"/>
                <a:gd name="connsiteY7238" fmla="*/ 665913 h 6072780"/>
                <a:gd name="connsiteX7239" fmla="*/ 2905144 w 12117871"/>
                <a:gd name="connsiteY7239" fmla="*/ 659829 h 6072780"/>
                <a:gd name="connsiteX7240" fmla="*/ 2921343 w 12117871"/>
                <a:gd name="connsiteY7240" fmla="*/ 652680 h 6072780"/>
                <a:gd name="connsiteX7241" fmla="*/ 2937466 w 12117871"/>
                <a:gd name="connsiteY7241" fmla="*/ 643858 h 6072780"/>
                <a:gd name="connsiteX7242" fmla="*/ 2954273 w 12117871"/>
                <a:gd name="connsiteY7242" fmla="*/ 632755 h 6072780"/>
                <a:gd name="connsiteX7243" fmla="*/ 2737716 w 12117871"/>
                <a:gd name="connsiteY7243" fmla="*/ 632755 h 6072780"/>
                <a:gd name="connsiteX7244" fmla="*/ 2808883 w 12117871"/>
                <a:gd name="connsiteY7244" fmla="*/ 743343 h 6072780"/>
                <a:gd name="connsiteX7245" fmla="*/ 2788797 w 12117871"/>
                <a:gd name="connsiteY7245" fmla="*/ 826922 h 6072780"/>
                <a:gd name="connsiteX7246" fmla="*/ 2732600 w 12117871"/>
                <a:gd name="connsiteY7246" fmla="*/ 855735 h 6072780"/>
                <a:gd name="connsiteX7247" fmla="*/ 2680015 w 12117871"/>
                <a:gd name="connsiteY7247" fmla="*/ 828201 h 6072780"/>
                <a:gd name="connsiteX7248" fmla="*/ 2661132 w 12117871"/>
                <a:gd name="connsiteY7248" fmla="*/ 748609 h 6072780"/>
                <a:gd name="connsiteX7249" fmla="*/ 2680842 w 12117871"/>
                <a:gd name="connsiteY7249" fmla="*/ 662094 h 6072780"/>
                <a:gd name="connsiteX7250" fmla="*/ 2737716 w 12117871"/>
                <a:gd name="connsiteY7250" fmla="*/ 632755 h 6072780"/>
                <a:gd name="connsiteX7251" fmla="*/ 2046351 w 12117871"/>
                <a:gd name="connsiteY7251" fmla="*/ 632755 h 6072780"/>
                <a:gd name="connsiteX7252" fmla="*/ 2117517 w 12117871"/>
                <a:gd name="connsiteY7252" fmla="*/ 743343 h 6072780"/>
                <a:gd name="connsiteX7253" fmla="*/ 2097432 w 12117871"/>
                <a:gd name="connsiteY7253" fmla="*/ 826922 h 6072780"/>
                <a:gd name="connsiteX7254" fmla="*/ 2041234 w 12117871"/>
                <a:gd name="connsiteY7254" fmla="*/ 855735 h 6072780"/>
                <a:gd name="connsiteX7255" fmla="*/ 1988650 w 12117871"/>
                <a:gd name="connsiteY7255" fmla="*/ 828201 h 6072780"/>
                <a:gd name="connsiteX7256" fmla="*/ 1969766 w 12117871"/>
                <a:gd name="connsiteY7256" fmla="*/ 748609 h 6072780"/>
                <a:gd name="connsiteX7257" fmla="*/ 1989476 w 12117871"/>
                <a:gd name="connsiteY7257" fmla="*/ 662094 h 6072780"/>
                <a:gd name="connsiteX7258" fmla="*/ 2046351 w 12117871"/>
                <a:gd name="connsiteY7258" fmla="*/ 632755 h 6072780"/>
                <a:gd name="connsiteX7259" fmla="*/ 1673990 w 12117871"/>
                <a:gd name="connsiteY7259" fmla="*/ 632755 h 6072780"/>
                <a:gd name="connsiteX7260" fmla="*/ 1688896 w 12117871"/>
                <a:gd name="connsiteY7260" fmla="*/ 632755 h 6072780"/>
                <a:gd name="connsiteX7261" fmla="*/ 1688896 w 12117871"/>
                <a:gd name="connsiteY7261" fmla="*/ 855735 h 6072780"/>
                <a:gd name="connsiteX7262" fmla="*/ 1653607 w 12117871"/>
                <a:gd name="connsiteY7262" fmla="*/ 855735 h 6072780"/>
                <a:gd name="connsiteX7263" fmla="*/ 1653607 w 12117871"/>
                <a:gd name="connsiteY7263" fmla="*/ 675952 h 6072780"/>
                <a:gd name="connsiteX7264" fmla="*/ 1632999 w 12117871"/>
                <a:gd name="connsiteY7264" fmla="*/ 687587 h 6072780"/>
                <a:gd name="connsiteX7265" fmla="*/ 1607825 w 12117871"/>
                <a:gd name="connsiteY7265" fmla="*/ 696029 h 6072780"/>
                <a:gd name="connsiteX7266" fmla="*/ 1607825 w 12117871"/>
                <a:gd name="connsiteY7266" fmla="*/ 665913 h 6072780"/>
                <a:gd name="connsiteX7267" fmla="*/ 1624860 w 12117871"/>
                <a:gd name="connsiteY7267" fmla="*/ 659829 h 6072780"/>
                <a:gd name="connsiteX7268" fmla="*/ 1641059 w 12117871"/>
                <a:gd name="connsiteY7268" fmla="*/ 652680 h 6072780"/>
                <a:gd name="connsiteX7269" fmla="*/ 1657183 w 12117871"/>
                <a:gd name="connsiteY7269" fmla="*/ 643858 h 6072780"/>
                <a:gd name="connsiteX7270" fmla="*/ 1673990 w 12117871"/>
                <a:gd name="connsiteY7270" fmla="*/ 632755 h 6072780"/>
                <a:gd name="connsiteX7271" fmla="*/ 1297324 w 12117871"/>
                <a:gd name="connsiteY7271" fmla="*/ 632755 h 6072780"/>
                <a:gd name="connsiteX7272" fmla="*/ 1312230 w 12117871"/>
                <a:gd name="connsiteY7272" fmla="*/ 632755 h 6072780"/>
                <a:gd name="connsiteX7273" fmla="*/ 1312230 w 12117871"/>
                <a:gd name="connsiteY7273" fmla="*/ 855735 h 6072780"/>
                <a:gd name="connsiteX7274" fmla="*/ 1276941 w 12117871"/>
                <a:gd name="connsiteY7274" fmla="*/ 855735 h 6072780"/>
                <a:gd name="connsiteX7275" fmla="*/ 1276941 w 12117871"/>
                <a:gd name="connsiteY7275" fmla="*/ 675952 h 6072780"/>
                <a:gd name="connsiteX7276" fmla="*/ 1256333 w 12117871"/>
                <a:gd name="connsiteY7276" fmla="*/ 687587 h 6072780"/>
                <a:gd name="connsiteX7277" fmla="*/ 1231160 w 12117871"/>
                <a:gd name="connsiteY7277" fmla="*/ 696029 h 6072780"/>
                <a:gd name="connsiteX7278" fmla="*/ 1231160 w 12117871"/>
                <a:gd name="connsiteY7278" fmla="*/ 665913 h 6072780"/>
                <a:gd name="connsiteX7279" fmla="*/ 1248195 w 12117871"/>
                <a:gd name="connsiteY7279" fmla="*/ 659829 h 6072780"/>
                <a:gd name="connsiteX7280" fmla="*/ 1264393 w 12117871"/>
                <a:gd name="connsiteY7280" fmla="*/ 652680 h 6072780"/>
                <a:gd name="connsiteX7281" fmla="*/ 1280517 w 12117871"/>
                <a:gd name="connsiteY7281" fmla="*/ 643858 h 6072780"/>
                <a:gd name="connsiteX7282" fmla="*/ 1297324 w 12117871"/>
                <a:gd name="connsiteY7282" fmla="*/ 632755 h 6072780"/>
                <a:gd name="connsiteX7283" fmla="*/ 997378 w 12117871"/>
                <a:gd name="connsiteY7283" fmla="*/ 632755 h 6072780"/>
                <a:gd name="connsiteX7284" fmla="*/ 1012284 w 12117871"/>
                <a:gd name="connsiteY7284" fmla="*/ 632755 h 6072780"/>
                <a:gd name="connsiteX7285" fmla="*/ 1012284 w 12117871"/>
                <a:gd name="connsiteY7285" fmla="*/ 855735 h 6072780"/>
                <a:gd name="connsiteX7286" fmla="*/ 976996 w 12117871"/>
                <a:gd name="connsiteY7286" fmla="*/ 855735 h 6072780"/>
                <a:gd name="connsiteX7287" fmla="*/ 976996 w 12117871"/>
                <a:gd name="connsiteY7287" fmla="*/ 675952 h 6072780"/>
                <a:gd name="connsiteX7288" fmla="*/ 956386 w 12117871"/>
                <a:gd name="connsiteY7288" fmla="*/ 687587 h 6072780"/>
                <a:gd name="connsiteX7289" fmla="*/ 931214 w 12117871"/>
                <a:gd name="connsiteY7289" fmla="*/ 696029 h 6072780"/>
                <a:gd name="connsiteX7290" fmla="*/ 931214 w 12117871"/>
                <a:gd name="connsiteY7290" fmla="*/ 665913 h 6072780"/>
                <a:gd name="connsiteX7291" fmla="*/ 948249 w 12117871"/>
                <a:gd name="connsiteY7291" fmla="*/ 659829 h 6072780"/>
                <a:gd name="connsiteX7292" fmla="*/ 964447 w 12117871"/>
                <a:gd name="connsiteY7292" fmla="*/ 652680 h 6072780"/>
                <a:gd name="connsiteX7293" fmla="*/ 980570 w 12117871"/>
                <a:gd name="connsiteY7293" fmla="*/ 643858 h 6072780"/>
                <a:gd name="connsiteX7294" fmla="*/ 997378 w 12117871"/>
                <a:gd name="connsiteY7294" fmla="*/ 632755 h 6072780"/>
                <a:gd name="connsiteX7295" fmla="*/ 791144 w 12117871"/>
                <a:gd name="connsiteY7295" fmla="*/ 632755 h 6072780"/>
                <a:gd name="connsiteX7296" fmla="*/ 862311 w 12117871"/>
                <a:gd name="connsiteY7296" fmla="*/ 743343 h 6072780"/>
                <a:gd name="connsiteX7297" fmla="*/ 842224 w 12117871"/>
                <a:gd name="connsiteY7297" fmla="*/ 826922 h 6072780"/>
                <a:gd name="connsiteX7298" fmla="*/ 786027 w 12117871"/>
                <a:gd name="connsiteY7298" fmla="*/ 855735 h 6072780"/>
                <a:gd name="connsiteX7299" fmla="*/ 733443 w 12117871"/>
                <a:gd name="connsiteY7299" fmla="*/ 828201 h 6072780"/>
                <a:gd name="connsiteX7300" fmla="*/ 714559 w 12117871"/>
                <a:gd name="connsiteY7300" fmla="*/ 748609 h 6072780"/>
                <a:gd name="connsiteX7301" fmla="*/ 734269 w 12117871"/>
                <a:gd name="connsiteY7301" fmla="*/ 662094 h 6072780"/>
                <a:gd name="connsiteX7302" fmla="*/ 791144 w 12117871"/>
                <a:gd name="connsiteY7302" fmla="*/ 632755 h 6072780"/>
                <a:gd name="connsiteX7303" fmla="*/ 570544 w 12117871"/>
                <a:gd name="connsiteY7303" fmla="*/ 632755 h 6072780"/>
                <a:gd name="connsiteX7304" fmla="*/ 641710 w 12117871"/>
                <a:gd name="connsiteY7304" fmla="*/ 743343 h 6072780"/>
                <a:gd name="connsiteX7305" fmla="*/ 621624 w 12117871"/>
                <a:gd name="connsiteY7305" fmla="*/ 826922 h 6072780"/>
                <a:gd name="connsiteX7306" fmla="*/ 565428 w 12117871"/>
                <a:gd name="connsiteY7306" fmla="*/ 855735 h 6072780"/>
                <a:gd name="connsiteX7307" fmla="*/ 512842 w 12117871"/>
                <a:gd name="connsiteY7307" fmla="*/ 828201 h 6072780"/>
                <a:gd name="connsiteX7308" fmla="*/ 493960 w 12117871"/>
                <a:gd name="connsiteY7308" fmla="*/ 748609 h 6072780"/>
                <a:gd name="connsiteX7309" fmla="*/ 513670 w 12117871"/>
                <a:gd name="connsiteY7309" fmla="*/ 662094 h 6072780"/>
                <a:gd name="connsiteX7310" fmla="*/ 570544 w 12117871"/>
                <a:gd name="connsiteY7310" fmla="*/ 632755 h 6072780"/>
                <a:gd name="connsiteX7311" fmla="*/ 403382 w 12117871"/>
                <a:gd name="connsiteY7311" fmla="*/ 632755 h 6072780"/>
                <a:gd name="connsiteX7312" fmla="*/ 418288 w 12117871"/>
                <a:gd name="connsiteY7312" fmla="*/ 632755 h 6072780"/>
                <a:gd name="connsiteX7313" fmla="*/ 418288 w 12117871"/>
                <a:gd name="connsiteY7313" fmla="*/ 855735 h 6072780"/>
                <a:gd name="connsiteX7314" fmla="*/ 382999 w 12117871"/>
                <a:gd name="connsiteY7314" fmla="*/ 855735 h 6072780"/>
                <a:gd name="connsiteX7315" fmla="*/ 382999 w 12117871"/>
                <a:gd name="connsiteY7315" fmla="*/ 675952 h 6072780"/>
                <a:gd name="connsiteX7316" fmla="*/ 362391 w 12117871"/>
                <a:gd name="connsiteY7316" fmla="*/ 687587 h 6072780"/>
                <a:gd name="connsiteX7317" fmla="*/ 337217 w 12117871"/>
                <a:gd name="connsiteY7317" fmla="*/ 696029 h 6072780"/>
                <a:gd name="connsiteX7318" fmla="*/ 337217 w 12117871"/>
                <a:gd name="connsiteY7318" fmla="*/ 665913 h 6072780"/>
                <a:gd name="connsiteX7319" fmla="*/ 354252 w 12117871"/>
                <a:gd name="connsiteY7319" fmla="*/ 659829 h 6072780"/>
                <a:gd name="connsiteX7320" fmla="*/ 370452 w 12117871"/>
                <a:gd name="connsiteY7320" fmla="*/ 652680 h 6072780"/>
                <a:gd name="connsiteX7321" fmla="*/ 386575 w 12117871"/>
                <a:gd name="connsiteY7321" fmla="*/ 643858 h 6072780"/>
                <a:gd name="connsiteX7322" fmla="*/ 403382 w 12117871"/>
                <a:gd name="connsiteY7322" fmla="*/ 632755 h 6072780"/>
                <a:gd name="connsiteX7323" fmla="*/ 103435 w 12117871"/>
                <a:gd name="connsiteY7323" fmla="*/ 632755 h 6072780"/>
                <a:gd name="connsiteX7324" fmla="*/ 118342 w 12117871"/>
                <a:gd name="connsiteY7324" fmla="*/ 632755 h 6072780"/>
                <a:gd name="connsiteX7325" fmla="*/ 118342 w 12117871"/>
                <a:gd name="connsiteY7325" fmla="*/ 855735 h 6072780"/>
                <a:gd name="connsiteX7326" fmla="*/ 83054 w 12117871"/>
                <a:gd name="connsiteY7326" fmla="*/ 855735 h 6072780"/>
                <a:gd name="connsiteX7327" fmla="*/ 83054 w 12117871"/>
                <a:gd name="connsiteY7327" fmla="*/ 675952 h 6072780"/>
                <a:gd name="connsiteX7328" fmla="*/ 62445 w 12117871"/>
                <a:gd name="connsiteY7328" fmla="*/ 687587 h 6072780"/>
                <a:gd name="connsiteX7329" fmla="*/ 37272 w 12117871"/>
                <a:gd name="connsiteY7329" fmla="*/ 696029 h 6072780"/>
                <a:gd name="connsiteX7330" fmla="*/ 37272 w 12117871"/>
                <a:gd name="connsiteY7330" fmla="*/ 665913 h 6072780"/>
                <a:gd name="connsiteX7331" fmla="*/ 54307 w 12117871"/>
                <a:gd name="connsiteY7331" fmla="*/ 659829 h 6072780"/>
                <a:gd name="connsiteX7332" fmla="*/ 70506 w 12117871"/>
                <a:gd name="connsiteY7332" fmla="*/ 652680 h 6072780"/>
                <a:gd name="connsiteX7333" fmla="*/ 86629 w 12117871"/>
                <a:gd name="connsiteY7333" fmla="*/ 643858 h 6072780"/>
                <a:gd name="connsiteX7334" fmla="*/ 103435 w 12117871"/>
                <a:gd name="connsiteY7334" fmla="*/ 632755 h 6072780"/>
                <a:gd name="connsiteX7335" fmla="*/ 11997319 w 12117871"/>
                <a:gd name="connsiteY7335" fmla="*/ 356082 h 6072780"/>
                <a:gd name="connsiteX7336" fmla="*/ 11958049 w 12117871"/>
                <a:gd name="connsiteY7336" fmla="*/ 442596 h 6072780"/>
                <a:gd name="connsiteX7337" fmla="*/ 11996567 w 12117871"/>
                <a:gd name="connsiteY7337" fmla="*/ 523543 h 6072780"/>
                <a:gd name="connsiteX7338" fmla="*/ 12034482 w 12117871"/>
                <a:gd name="connsiteY7338" fmla="*/ 441242 h 6072780"/>
                <a:gd name="connsiteX7339" fmla="*/ 11997319 w 12117871"/>
                <a:gd name="connsiteY7339" fmla="*/ 356082 h 6072780"/>
                <a:gd name="connsiteX7340" fmla="*/ 11780809 w 12117871"/>
                <a:gd name="connsiteY7340" fmla="*/ 356082 h 6072780"/>
                <a:gd name="connsiteX7341" fmla="*/ 11741539 w 12117871"/>
                <a:gd name="connsiteY7341" fmla="*/ 442596 h 6072780"/>
                <a:gd name="connsiteX7342" fmla="*/ 11780057 w 12117871"/>
                <a:gd name="connsiteY7342" fmla="*/ 523543 h 6072780"/>
                <a:gd name="connsiteX7343" fmla="*/ 11817972 w 12117871"/>
                <a:gd name="connsiteY7343" fmla="*/ 441242 h 6072780"/>
                <a:gd name="connsiteX7344" fmla="*/ 11780809 w 12117871"/>
                <a:gd name="connsiteY7344" fmla="*/ 356082 h 6072780"/>
                <a:gd name="connsiteX7345" fmla="*/ 6986021 w 12117871"/>
                <a:gd name="connsiteY7345" fmla="*/ 356082 h 6072780"/>
                <a:gd name="connsiteX7346" fmla="*/ 6946751 w 12117871"/>
                <a:gd name="connsiteY7346" fmla="*/ 442596 h 6072780"/>
                <a:gd name="connsiteX7347" fmla="*/ 6985269 w 12117871"/>
                <a:gd name="connsiteY7347" fmla="*/ 523543 h 6072780"/>
                <a:gd name="connsiteX7348" fmla="*/ 7023184 w 12117871"/>
                <a:gd name="connsiteY7348" fmla="*/ 441242 h 6072780"/>
                <a:gd name="connsiteX7349" fmla="*/ 6986021 w 12117871"/>
                <a:gd name="connsiteY7349" fmla="*/ 356082 h 6072780"/>
                <a:gd name="connsiteX7350" fmla="*/ 6769511 w 12117871"/>
                <a:gd name="connsiteY7350" fmla="*/ 356082 h 6072780"/>
                <a:gd name="connsiteX7351" fmla="*/ 6730241 w 12117871"/>
                <a:gd name="connsiteY7351" fmla="*/ 442596 h 6072780"/>
                <a:gd name="connsiteX7352" fmla="*/ 6768759 w 12117871"/>
                <a:gd name="connsiteY7352" fmla="*/ 523543 h 6072780"/>
                <a:gd name="connsiteX7353" fmla="*/ 6806674 w 12117871"/>
                <a:gd name="connsiteY7353" fmla="*/ 441242 h 6072780"/>
                <a:gd name="connsiteX7354" fmla="*/ 6769511 w 12117871"/>
                <a:gd name="connsiteY7354" fmla="*/ 356082 h 6072780"/>
                <a:gd name="connsiteX7355" fmla="*/ 6151734 w 12117871"/>
                <a:gd name="connsiteY7355" fmla="*/ 356082 h 6072780"/>
                <a:gd name="connsiteX7356" fmla="*/ 6112464 w 12117871"/>
                <a:gd name="connsiteY7356" fmla="*/ 442596 h 6072780"/>
                <a:gd name="connsiteX7357" fmla="*/ 6150982 w 12117871"/>
                <a:gd name="connsiteY7357" fmla="*/ 523543 h 6072780"/>
                <a:gd name="connsiteX7358" fmla="*/ 6188897 w 12117871"/>
                <a:gd name="connsiteY7358" fmla="*/ 441242 h 6072780"/>
                <a:gd name="connsiteX7359" fmla="*/ 6151734 w 12117871"/>
                <a:gd name="connsiteY7359" fmla="*/ 356082 h 6072780"/>
                <a:gd name="connsiteX7360" fmla="*/ 5935223 w 12117871"/>
                <a:gd name="connsiteY7360" fmla="*/ 356082 h 6072780"/>
                <a:gd name="connsiteX7361" fmla="*/ 5895954 w 12117871"/>
                <a:gd name="connsiteY7361" fmla="*/ 442596 h 6072780"/>
                <a:gd name="connsiteX7362" fmla="*/ 5934472 w 12117871"/>
                <a:gd name="connsiteY7362" fmla="*/ 523543 h 6072780"/>
                <a:gd name="connsiteX7363" fmla="*/ 5972387 w 12117871"/>
                <a:gd name="connsiteY7363" fmla="*/ 441242 h 6072780"/>
                <a:gd name="connsiteX7364" fmla="*/ 5935223 w 12117871"/>
                <a:gd name="connsiteY7364" fmla="*/ 356082 h 6072780"/>
                <a:gd name="connsiteX7365" fmla="*/ 5711116 w 12117871"/>
                <a:gd name="connsiteY7365" fmla="*/ 356082 h 6072780"/>
                <a:gd name="connsiteX7366" fmla="*/ 5671847 w 12117871"/>
                <a:gd name="connsiteY7366" fmla="*/ 442596 h 6072780"/>
                <a:gd name="connsiteX7367" fmla="*/ 5710364 w 12117871"/>
                <a:gd name="connsiteY7367" fmla="*/ 523543 h 6072780"/>
                <a:gd name="connsiteX7368" fmla="*/ 5748280 w 12117871"/>
                <a:gd name="connsiteY7368" fmla="*/ 441242 h 6072780"/>
                <a:gd name="connsiteX7369" fmla="*/ 5711116 w 12117871"/>
                <a:gd name="connsiteY7369" fmla="*/ 356082 h 6072780"/>
                <a:gd name="connsiteX7370" fmla="*/ 933138 w 12117871"/>
                <a:gd name="connsiteY7370" fmla="*/ 356082 h 6072780"/>
                <a:gd name="connsiteX7371" fmla="*/ 893868 w 12117871"/>
                <a:gd name="connsiteY7371" fmla="*/ 442596 h 6072780"/>
                <a:gd name="connsiteX7372" fmla="*/ 932386 w 12117871"/>
                <a:gd name="connsiteY7372" fmla="*/ 523543 h 6072780"/>
                <a:gd name="connsiteX7373" fmla="*/ 970301 w 12117871"/>
                <a:gd name="connsiteY7373" fmla="*/ 441242 h 6072780"/>
                <a:gd name="connsiteX7374" fmla="*/ 933138 w 12117871"/>
                <a:gd name="connsiteY7374" fmla="*/ 356082 h 6072780"/>
                <a:gd name="connsiteX7375" fmla="*/ 716861 w 12117871"/>
                <a:gd name="connsiteY7375" fmla="*/ 356082 h 6072780"/>
                <a:gd name="connsiteX7376" fmla="*/ 677593 w 12117871"/>
                <a:gd name="connsiteY7376" fmla="*/ 442596 h 6072780"/>
                <a:gd name="connsiteX7377" fmla="*/ 716110 w 12117871"/>
                <a:gd name="connsiteY7377" fmla="*/ 523543 h 6072780"/>
                <a:gd name="connsiteX7378" fmla="*/ 754026 w 12117871"/>
                <a:gd name="connsiteY7378" fmla="*/ 441242 h 6072780"/>
                <a:gd name="connsiteX7379" fmla="*/ 716861 w 12117871"/>
                <a:gd name="connsiteY7379" fmla="*/ 356082 h 6072780"/>
                <a:gd name="connsiteX7380" fmla="*/ 95256 w 12117871"/>
                <a:gd name="connsiteY7380" fmla="*/ 356082 h 6072780"/>
                <a:gd name="connsiteX7381" fmla="*/ 55985 w 12117871"/>
                <a:gd name="connsiteY7381" fmla="*/ 442596 h 6072780"/>
                <a:gd name="connsiteX7382" fmla="*/ 94502 w 12117871"/>
                <a:gd name="connsiteY7382" fmla="*/ 523543 h 6072780"/>
                <a:gd name="connsiteX7383" fmla="*/ 132418 w 12117871"/>
                <a:gd name="connsiteY7383" fmla="*/ 441242 h 6072780"/>
                <a:gd name="connsiteX7384" fmla="*/ 95256 w 12117871"/>
                <a:gd name="connsiteY7384" fmla="*/ 356082 h 6072780"/>
                <a:gd name="connsiteX7385" fmla="*/ 11998974 w 12117871"/>
                <a:gd name="connsiteY7385" fmla="*/ 328247 h 6072780"/>
                <a:gd name="connsiteX7386" fmla="*/ 12070141 w 12117871"/>
                <a:gd name="connsiteY7386" fmla="*/ 438834 h 6072780"/>
                <a:gd name="connsiteX7387" fmla="*/ 12050055 w 12117871"/>
                <a:gd name="connsiteY7387" fmla="*/ 522414 h 6072780"/>
                <a:gd name="connsiteX7388" fmla="*/ 11993858 w 12117871"/>
                <a:gd name="connsiteY7388" fmla="*/ 551227 h 6072780"/>
                <a:gd name="connsiteX7389" fmla="*/ 11941273 w 12117871"/>
                <a:gd name="connsiteY7389" fmla="*/ 523693 h 6072780"/>
                <a:gd name="connsiteX7390" fmla="*/ 11922390 w 12117871"/>
                <a:gd name="connsiteY7390" fmla="*/ 444101 h 6072780"/>
                <a:gd name="connsiteX7391" fmla="*/ 11942100 w 12117871"/>
                <a:gd name="connsiteY7391" fmla="*/ 357586 h 6072780"/>
                <a:gd name="connsiteX7392" fmla="*/ 11998974 w 12117871"/>
                <a:gd name="connsiteY7392" fmla="*/ 328247 h 6072780"/>
                <a:gd name="connsiteX7393" fmla="*/ 11782464 w 12117871"/>
                <a:gd name="connsiteY7393" fmla="*/ 328247 h 6072780"/>
                <a:gd name="connsiteX7394" fmla="*/ 11853631 w 12117871"/>
                <a:gd name="connsiteY7394" fmla="*/ 438834 h 6072780"/>
                <a:gd name="connsiteX7395" fmla="*/ 11833545 w 12117871"/>
                <a:gd name="connsiteY7395" fmla="*/ 522414 h 6072780"/>
                <a:gd name="connsiteX7396" fmla="*/ 11777348 w 12117871"/>
                <a:gd name="connsiteY7396" fmla="*/ 551227 h 6072780"/>
                <a:gd name="connsiteX7397" fmla="*/ 11724763 w 12117871"/>
                <a:gd name="connsiteY7397" fmla="*/ 523693 h 6072780"/>
                <a:gd name="connsiteX7398" fmla="*/ 11705880 w 12117871"/>
                <a:gd name="connsiteY7398" fmla="*/ 444101 h 6072780"/>
                <a:gd name="connsiteX7399" fmla="*/ 11725590 w 12117871"/>
                <a:gd name="connsiteY7399" fmla="*/ 357586 h 6072780"/>
                <a:gd name="connsiteX7400" fmla="*/ 11782464 w 12117871"/>
                <a:gd name="connsiteY7400" fmla="*/ 328247 h 6072780"/>
                <a:gd name="connsiteX7401" fmla="*/ 11630909 w 12117871"/>
                <a:gd name="connsiteY7401" fmla="*/ 328247 h 6072780"/>
                <a:gd name="connsiteX7402" fmla="*/ 11645815 w 12117871"/>
                <a:gd name="connsiteY7402" fmla="*/ 328247 h 6072780"/>
                <a:gd name="connsiteX7403" fmla="*/ 11645815 w 12117871"/>
                <a:gd name="connsiteY7403" fmla="*/ 551227 h 6072780"/>
                <a:gd name="connsiteX7404" fmla="*/ 11610527 w 12117871"/>
                <a:gd name="connsiteY7404" fmla="*/ 551227 h 6072780"/>
                <a:gd name="connsiteX7405" fmla="*/ 11610527 w 12117871"/>
                <a:gd name="connsiteY7405" fmla="*/ 371444 h 6072780"/>
                <a:gd name="connsiteX7406" fmla="*/ 11589918 w 12117871"/>
                <a:gd name="connsiteY7406" fmla="*/ 383079 h 6072780"/>
                <a:gd name="connsiteX7407" fmla="*/ 11564745 w 12117871"/>
                <a:gd name="connsiteY7407" fmla="*/ 391521 h 6072780"/>
                <a:gd name="connsiteX7408" fmla="*/ 11564745 w 12117871"/>
                <a:gd name="connsiteY7408" fmla="*/ 361405 h 6072780"/>
                <a:gd name="connsiteX7409" fmla="*/ 11581780 w 12117871"/>
                <a:gd name="connsiteY7409" fmla="*/ 355321 h 6072780"/>
                <a:gd name="connsiteX7410" fmla="*/ 11597979 w 12117871"/>
                <a:gd name="connsiteY7410" fmla="*/ 348172 h 6072780"/>
                <a:gd name="connsiteX7411" fmla="*/ 11614102 w 12117871"/>
                <a:gd name="connsiteY7411" fmla="*/ 339350 h 6072780"/>
                <a:gd name="connsiteX7412" fmla="*/ 11630909 w 12117871"/>
                <a:gd name="connsiteY7412" fmla="*/ 328247 h 6072780"/>
                <a:gd name="connsiteX7413" fmla="*/ 11328134 w 12117871"/>
                <a:gd name="connsiteY7413" fmla="*/ 328247 h 6072780"/>
                <a:gd name="connsiteX7414" fmla="*/ 11343040 w 12117871"/>
                <a:gd name="connsiteY7414" fmla="*/ 328247 h 6072780"/>
                <a:gd name="connsiteX7415" fmla="*/ 11343040 w 12117871"/>
                <a:gd name="connsiteY7415" fmla="*/ 551227 h 6072780"/>
                <a:gd name="connsiteX7416" fmla="*/ 11307752 w 12117871"/>
                <a:gd name="connsiteY7416" fmla="*/ 551227 h 6072780"/>
                <a:gd name="connsiteX7417" fmla="*/ 11307752 w 12117871"/>
                <a:gd name="connsiteY7417" fmla="*/ 371444 h 6072780"/>
                <a:gd name="connsiteX7418" fmla="*/ 11287143 w 12117871"/>
                <a:gd name="connsiteY7418" fmla="*/ 383079 h 6072780"/>
                <a:gd name="connsiteX7419" fmla="*/ 11261970 w 12117871"/>
                <a:gd name="connsiteY7419" fmla="*/ 391521 h 6072780"/>
                <a:gd name="connsiteX7420" fmla="*/ 11261970 w 12117871"/>
                <a:gd name="connsiteY7420" fmla="*/ 361405 h 6072780"/>
                <a:gd name="connsiteX7421" fmla="*/ 11279005 w 12117871"/>
                <a:gd name="connsiteY7421" fmla="*/ 355321 h 6072780"/>
                <a:gd name="connsiteX7422" fmla="*/ 11295204 w 12117871"/>
                <a:gd name="connsiteY7422" fmla="*/ 348172 h 6072780"/>
                <a:gd name="connsiteX7423" fmla="*/ 11311327 w 12117871"/>
                <a:gd name="connsiteY7423" fmla="*/ 339350 h 6072780"/>
                <a:gd name="connsiteX7424" fmla="*/ 11328134 w 12117871"/>
                <a:gd name="connsiteY7424" fmla="*/ 328247 h 6072780"/>
                <a:gd name="connsiteX7425" fmla="*/ 10950970 w 12117871"/>
                <a:gd name="connsiteY7425" fmla="*/ 328247 h 6072780"/>
                <a:gd name="connsiteX7426" fmla="*/ 10965876 w 12117871"/>
                <a:gd name="connsiteY7426" fmla="*/ 328247 h 6072780"/>
                <a:gd name="connsiteX7427" fmla="*/ 10965876 w 12117871"/>
                <a:gd name="connsiteY7427" fmla="*/ 551227 h 6072780"/>
                <a:gd name="connsiteX7428" fmla="*/ 10930588 w 12117871"/>
                <a:gd name="connsiteY7428" fmla="*/ 551227 h 6072780"/>
                <a:gd name="connsiteX7429" fmla="*/ 10930588 w 12117871"/>
                <a:gd name="connsiteY7429" fmla="*/ 371444 h 6072780"/>
                <a:gd name="connsiteX7430" fmla="*/ 10909979 w 12117871"/>
                <a:gd name="connsiteY7430" fmla="*/ 383079 h 6072780"/>
                <a:gd name="connsiteX7431" fmla="*/ 10884806 w 12117871"/>
                <a:gd name="connsiteY7431" fmla="*/ 391521 h 6072780"/>
                <a:gd name="connsiteX7432" fmla="*/ 10884806 w 12117871"/>
                <a:gd name="connsiteY7432" fmla="*/ 361405 h 6072780"/>
                <a:gd name="connsiteX7433" fmla="*/ 10901841 w 12117871"/>
                <a:gd name="connsiteY7433" fmla="*/ 355321 h 6072780"/>
                <a:gd name="connsiteX7434" fmla="*/ 10918040 w 12117871"/>
                <a:gd name="connsiteY7434" fmla="*/ 348172 h 6072780"/>
                <a:gd name="connsiteX7435" fmla="*/ 10934163 w 12117871"/>
                <a:gd name="connsiteY7435" fmla="*/ 339350 h 6072780"/>
                <a:gd name="connsiteX7436" fmla="*/ 10950970 w 12117871"/>
                <a:gd name="connsiteY7436" fmla="*/ 328247 h 6072780"/>
                <a:gd name="connsiteX7437" fmla="*/ 10802113 w 12117871"/>
                <a:gd name="connsiteY7437" fmla="*/ 328247 h 6072780"/>
                <a:gd name="connsiteX7438" fmla="*/ 10817019 w 12117871"/>
                <a:gd name="connsiteY7438" fmla="*/ 328247 h 6072780"/>
                <a:gd name="connsiteX7439" fmla="*/ 10817019 w 12117871"/>
                <a:gd name="connsiteY7439" fmla="*/ 551227 h 6072780"/>
                <a:gd name="connsiteX7440" fmla="*/ 10781731 w 12117871"/>
                <a:gd name="connsiteY7440" fmla="*/ 551227 h 6072780"/>
                <a:gd name="connsiteX7441" fmla="*/ 10781731 w 12117871"/>
                <a:gd name="connsiteY7441" fmla="*/ 371444 h 6072780"/>
                <a:gd name="connsiteX7442" fmla="*/ 10761122 w 12117871"/>
                <a:gd name="connsiteY7442" fmla="*/ 383079 h 6072780"/>
                <a:gd name="connsiteX7443" fmla="*/ 10735949 w 12117871"/>
                <a:gd name="connsiteY7443" fmla="*/ 391521 h 6072780"/>
                <a:gd name="connsiteX7444" fmla="*/ 10735949 w 12117871"/>
                <a:gd name="connsiteY7444" fmla="*/ 361405 h 6072780"/>
                <a:gd name="connsiteX7445" fmla="*/ 10752984 w 12117871"/>
                <a:gd name="connsiteY7445" fmla="*/ 355321 h 6072780"/>
                <a:gd name="connsiteX7446" fmla="*/ 10769183 w 12117871"/>
                <a:gd name="connsiteY7446" fmla="*/ 348172 h 6072780"/>
                <a:gd name="connsiteX7447" fmla="*/ 10785306 w 12117871"/>
                <a:gd name="connsiteY7447" fmla="*/ 339350 h 6072780"/>
                <a:gd name="connsiteX7448" fmla="*/ 10802113 w 12117871"/>
                <a:gd name="connsiteY7448" fmla="*/ 328247 h 6072780"/>
                <a:gd name="connsiteX7449" fmla="*/ 10648195 w 12117871"/>
                <a:gd name="connsiteY7449" fmla="*/ 328247 h 6072780"/>
                <a:gd name="connsiteX7450" fmla="*/ 10663101 w 12117871"/>
                <a:gd name="connsiteY7450" fmla="*/ 328247 h 6072780"/>
                <a:gd name="connsiteX7451" fmla="*/ 10663101 w 12117871"/>
                <a:gd name="connsiteY7451" fmla="*/ 551227 h 6072780"/>
                <a:gd name="connsiteX7452" fmla="*/ 10627813 w 12117871"/>
                <a:gd name="connsiteY7452" fmla="*/ 551227 h 6072780"/>
                <a:gd name="connsiteX7453" fmla="*/ 10627813 w 12117871"/>
                <a:gd name="connsiteY7453" fmla="*/ 371444 h 6072780"/>
                <a:gd name="connsiteX7454" fmla="*/ 10607204 w 12117871"/>
                <a:gd name="connsiteY7454" fmla="*/ 383079 h 6072780"/>
                <a:gd name="connsiteX7455" fmla="*/ 10582031 w 12117871"/>
                <a:gd name="connsiteY7455" fmla="*/ 391521 h 6072780"/>
                <a:gd name="connsiteX7456" fmla="*/ 10582031 w 12117871"/>
                <a:gd name="connsiteY7456" fmla="*/ 361405 h 6072780"/>
                <a:gd name="connsiteX7457" fmla="*/ 10599066 w 12117871"/>
                <a:gd name="connsiteY7457" fmla="*/ 355321 h 6072780"/>
                <a:gd name="connsiteX7458" fmla="*/ 10615265 w 12117871"/>
                <a:gd name="connsiteY7458" fmla="*/ 348172 h 6072780"/>
                <a:gd name="connsiteX7459" fmla="*/ 10631388 w 12117871"/>
                <a:gd name="connsiteY7459" fmla="*/ 339350 h 6072780"/>
                <a:gd name="connsiteX7460" fmla="*/ 10648195 w 12117871"/>
                <a:gd name="connsiteY7460" fmla="*/ 328247 h 6072780"/>
                <a:gd name="connsiteX7461" fmla="*/ 10499338 w 12117871"/>
                <a:gd name="connsiteY7461" fmla="*/ 328247 h 6072780"/>
                <a:gd name="connsiteX7462" fmla="*/ 10514244 w 12117871"/>
                <a:gd name="connsiteY7462" fmla="*/ 328247 h 6072780"/>
                <a:gd name="connsiteX7463" fmla="*/ 10514244 w 12117871"/>
                <a:gd name="connsiteY7463" fmla="*/ 551227 h 6072780"/>
                <a:gd name="connsiteX7464" fmla="*/ 10478956 w 12117871"/>
                <a:gd name="connsiteY7464" fmla="*/ 551227 h 6072780"/>
                <a:gd name="connsiteX7465" fmla="*/ 10478956 w 12117871"/>
                <a:gd name="connsiteY7465" fmla="*/ 371444 h 6072780"/>
                <a:gd name="connsiteX7466" fmla="*/ 10458347 w 12117871"/>
                <a:gd name="connsiteY7466" fmla="*/ 383079 h 6072780"/>
                <a:gd name="connsiteX7467" fmla="*/ 10433174 w 12117871"/>
                <a:gd name="connsiteY7467" fmla="*/ 391521 h 6072780"/>
                <a:gd name="connsiteX7468" fmla="*/ 10433174 w 12117871"/>
                <a:gd name="connsiteY7468" fmla="*/ 361405 h 6072780"/>
                <a:gd name="connsiteX7469" fmla="*/ 10450209 w 12117871"/>
                <a:gd name="connsiteY7469" fmla="*/ 355321 h 6072780"/>
                <a:gd name="connsiteX7470" fmla="*/ 10466408 w 12117871"/>
                <a:gd name="connsiteY7470" fmla="*/ 348172 h 6072780"/>
                <a:gd name="connsiteX7471" fmla="*/ 10482531 w 12117871"/>
                <a:gd name="connsiteY7471" fmla="*/ 339350 h 6072780"/>
                <a:gd name="connsiteX7472" fmla="*/ 10499338 w 12117871"/>
                <a:gd name="connsiteY7472" fmla="*/ 328247 h 6072780"/>
                <a:gd name="connsiteX7473" fmla="*/ 9777947 w 12117871"/>
                <a:gd name="connsiteY7473" fmla="*/ 328247 h 6072780"/>
                <a:gd name="connsiteX7474" fmla="*/ 9792853 w 12117871"/>
                <a:gd name="connsiteY7474" fmla="*/ 328247 h 6072780"/>
                <a:gd name="connsiteX7475" fmla="*/ 9792853 w 12117871"/>
                <a:gd name="connsiteY7475" fmla="*/ 551227 h 6072780"/>
                <a:gd name="connsiteX7476" fmla="*/ 9757565 w 12117871"/>
                <a:gd name="connsiteY7476" fmla="*/ 551227 h 6072780"/>
                <a:gd name="connsiteX7477" fmla="*/ 9757565 w 12117871"/>
                <a:gd name="connsiteY7477" fmla="*/ 371444 h 6072780"/>
                <a:gd name="connsiteX7478" fmla="*/ 9736956 w 12117871"/>
                <a:gd name="connsiteY7478" fmla="*/ 383079 h 6072780"/>
                <a:gd name="connsiteX7479" fmla="*/ 9711783 w 12117871"/>
                <a:gd name="connsiteY7479" fmla="*/ 391521 h 6072780"/>
                <a:gd name="connsiteX7480" fmla="*/ 9711783 w 12117871"/>
                <a:gd name="connsiteY7480" fmla="*/ 361405 h 6072780"/>
                <a:gd name="connsiteX7481" fmla="*/ 9728818 w 12117871"/>
                <a:gd name="connsiteY7481" fmla="*/ 355321 h 6072780"/>
                <a:gd name="connsiteX7482" fmla="*/ 9745017 w 12117871"/>
                <a:gd name="connsiteY7482" fmla="*/ 348172 h 6072780"/>
                <a:gd name="connsiteX7483" fmla="*/ 9761140 w 12117871"/>
                <a:gd name="connsiteY7483" fmla="*/ 339350 h 6072780"/>
                <a:gd name="connsiteX7484" fmla="*/ 9777947 w 12117871"/>
                <a:gd name="connsiteY7484" fmla="*/ 328247 h 6072780"/>
                <a:gd name="connsiteX7485" fmla="*/ 9629090 w 12117871"/>
                <a:gd name="connsiteY7485" fmla="*/ 328247 h 6072780"/>
                <a:gd name="connsiteX7486" fmla="*/ 9643996 w 12117871"/>
                <a:gd name="connsiteY7486" fmla="*/ 328247 h 6072780"/>
                <a:gd name="connsiteX7487" fmla="*/ 9643996 w 12117871"/>
                <a:gd name="connsiteY7487" fmla="*/ 551227 h 6072780"/>
                <a:gd name="connsiteX7488" fmla="*/ 9608708 w 12117871"/>
                <a:gd name="connsiteY7488" fmla="*/ 551227 h 6072780"/>
                <a:gd name="connsiteX7489" fmla="*/ 9608708 w 12117871"/>
                <a:gd name="connsiteY7489" fmla="*/ 371444 h 6072780"/>
                <a:gd name="connsiteX7490" fmla="*/ 9588099 w 12117871"/>
                <a:gd name="connsiteY7490" fmla="*/ 383079 h 6072780"/>
                <a:gd name="connsiteX7491" fmla="*/ 9562926 w 12117871"/>
                <a:gd name="connsiteY7491" fmla="*/ 391521 h 6072780"/>
                <a:gd name="connsiteX7492" fmla="*/ 9562926 w 12117871"/>
                <a:gd name="connsiteY7492" fmla="*/ 361405 h 6072780"/>
                <a:gd name="connsiteX7493" fmla="*/ 9579961 w 12117871"/>
                <a:gd name="connsiteY7493" fmla="*/ 355321 h 6072780"/>
                <a:gd name="connsiteX7494" fmla="*/ 9596160 w 12117871"/>
                <a:gd name="connsiteY7494" fmla="*/ 348172 h 6072780"/>
                <a:gd name="connsiteX7495" fmla="*/ 9612283 w 12117871"/>
                <a:gd name="connsiteY7495" fmla="*/ 339350 h 6072780"/>
                <a:gd name="connsiteX7496" fmla="*/ 9629090 w 12117871"/>
                <a:gd name="connsiteY7496" fmla="*/ 328247 h 6072780"/>
                <a:gd name="connsiteX7497" fmla="*/ 8825985 w 12117871"/>
                <a:gd name="connsiteY7497" fmla="*/ 328247 h 6072780"/>
                <a:gd name="connsiteX7498" fmla="*/ 8840891 w 12117871"/>
                <a:gd name="connsiteY7498" fmla="*/ 328247 h 6072780"/>
                <a:gd name="connsiteX7499" fmla="*/ 8840891 w 12117871"/>
                <a:gd name="connsiteY7499" fmla="*/ 551227 h 6072780"/>
                <a:gd name="connsiteX7500" fmla="*/ 8805603 w 12117871"/>
                <a:gd name="connsiteY7500" fmla="*/ 551227 h 6072780"/>
                <a:gd name="connsiteX7501" fmla="*/ 8805603 w 12117871"/>
                <a:gd name="connsiteY7501" fmla="*/ 371444 h 6072780"/>
                <a:gd name="connsiteX7502" fmla="*/ 8784994 w 12117871"/>
                <a:gd name="connsiteY7502" fmla="*/ 383079 h 6072780"/>
                <a:gd name="connsiteX7503" fmla="*/ 8759821 w 12117871"/>
                <a:gd name="connsiteY7503" fmla="*/ 391521 h 6072780"/>
                <a:gd name="connsiteX7504" fmla="*/ 8759821 w 12117871"/>
                <a:gd name="connsiteY7504" fmla="*/ 361405 h 6072780"/>
                <a:gd name="connsiteX7505" fmla="*/ 8776856 w 12117871"/>
                <a:gd name="connsiteY7505" fmla="*/ 355321 h 6072780"/>
                <a:gd name="connsiteX7506" fmla="*/ 8793055 w 12117871"/>
                <a:gd name="connsiteY7506" fmla="*/ 348172 h 6072780"/>
                <a:gd name="connsiteX7507" fmla="*/ 8809178 w 12117871"/>
                <a:gd name="connsiteY7507" fmla="*/ 339350 h 6072780"/>
                <a:gd name="connsiteX7508" fmla="*/ 8825985 w 12117871"/>
                <a:gd name="connsiteY7508" fmla="*/ 328247 h 6072780"/>
                <a:gd name="connsiteX7509" fmla="*/ 8447378 w 12117871"/>
                <a:gd name="connsiteY7509" fmla="*/ 328247 h 6072780"/>
                <a:gd name="connsiteX7510" fmla="*/ 8462284 w 12117871"/>
                <a:gd name="connsiteY7510" fmla="*/ 328247 h 6072780"/>
                <a:gd name="connsiteX7511" fmla="*/ 8462284 w 12117871"/>
                <a:gd name="connsiteY7511" fmla="*/ 551227 h 6072780"/>
                <a:gd name="connsiteX7512" fmla="*/ 8426996 w 12117871"/>
                <a:gd name="connsiteY7512" fmla="*/ 551227 h 6072780"/>
                <a:gd name="connsiteX7513" fmla="*/ 8426996 w 12117871"/>
                <a:gd name="connsiteY7513" fmla="*/ 371444 h 6072780"/>
                <a:gd name="connsiteX7514" fmla="*/ 8406387 w 12117871"/>
                <a:gd name="connsiteY7514" fmla="*/ 383079 h 6072780"/>
                <a:gd name="connsiteX7515" fmla="*/ 8381214 w 12117871"/>
                <a:gd name="connsiteY7515" fmla="*/ 391521 h 6072780"/>
                <a:gd name="connsiteX7516" fmla="*/ 8381214 w 12117871"/>
                <a:gd name="connsiteY7516" fmla="*/ 361405 h 6072780"/>
                <a:gd name="connsiteX7517" fmla="*/ 8398249 w 12117871"/>
                <a:gd name="connsiteY7517" fmla="*/ 355321 h 6072780"/>
                <a:gd name="connsiteX7518" fmla="*/ 8414448 w 12117871"/>
                <a:gd name="connsiteY7518" fmla="*/ 348172 h 6072780"/>
                <a:gd name="connsiteX7519" fmla="*/ 8430571 w 12117871"/>
                <a:gd name="connsiteY7519" fmla="*/ 339350 h 6072780"/>
                <a:gd name="connsiteX7520" fmla="*/ 8447378 w 12117871"/>
                <a:gd name="connsiteY7520" fmla="*/ 328247 h 6072780"/>
                <a:gd name="connsiteX7521" fmla="*/ 8298521 w 12117871"/>
                <a:gd name="connsiteY7521" fmla="*/ 328247 h 6072780"/>
                <a:gd name="connsiteX7522" fmla="*/ 8313427 w 12117871"/>
                <a:gd name="connsiteY7522" fmla="*/ 328247 h 6072780"/>
                <a:gd name="connsiteX7523" fmla="*/ 8313427 w 12117871"/>
                <a:gd name="connsiteY7523" fmla="*/ 551227 h 6072780"/>
                <a:gd name="connsiteX7524" fmla="*/ 8278139 w 12117871"/>
                <a:gd name="connsiteY7524" fmla="*/ 551227 h 6072780"/>
                <a:gd name="connsiteX7525" fmla="*/ 8278139 w 12117871"/>
                <a:gd name="connsiteY7525" fmla="*/ 371444 h 6072780"/>
                <a:gd name="connsiteX7526" fmla="*/ 8257530 w 12117871"/>
                <a:gd name="connsiteY7526" fmla="*/ 383079 h 6072780"/>
                <a:gd name="connsiteX7527" fmla="*/ 8232357 w 12117871"/>
                <a:gd name="connsiteY7527" fmla="*/ 391521 h 6072780"/>
                <a:gd name="connsiteX7528" fmla="*/ 8232357 w 12117871"/>
                <a:gd name="connsiteY7528" fmla="*/ 361405 h 6072780"/>
                <a:gd name="connsiteX7529" fmla="*/ 8249392 w 12117871"/>
                <a:gd name="connsiteY7529" fmla="*/ 355321 h 6072780"/>
                <a:gd name="connsiteX7530" fmla="*/ 8265591 w 12117871"/>
                <a:gd name="connsiteY7530" fmla="*/ 348172 h 6072780"/>
                <a:gd name="connsiteX7531" fmla="*/ 8281714 w 12117871"/>
                <a:gd name="connsiteY7531" fmla="*/ 339350 h 6072780"/>
                <a:gd name="connsiteX7532" fmla="*/ 8298521 w 12117871"/>
                <a:gd name="connsiteY7532" fmla="*/ 328247 h 6072780"/>
                <a:gd name="connsiteX7533" fmla="*/ 8144603 w 12117871"/>
                <a:gd name="connsiteY7533" fmla="*/ 328247 h 6072780"/>
                <a:gd name="connsiteX7534" fmla="*/ 8159509 w 12117871"/>
                <a:gd name="connsiteY7534" fmla="*/ 328247 h 6072780"/>
                <a:gd name="connsiteX7535" fmla="*/ 8159509 w 12117871"/>
                <a:gd name="connsiteY7535" fmla="*/ 551227 h 6072780"/>
                <a:gd name="connsiteX7536" fmla="*/ 8124221 w 12117871"/>
                <a:gd name="connsiteY7536" fmla="*/ 551227 h 6072780"/>
                <a:gd name="connsiteX7537" fmla="*/ 8124221 w 12117871"/>
                <a:gd name="connsiteY7537" fmla="*/ 371444 h 6072780"/>
                <a:gd name="connsiteX7538" fmla="*/ 8103612 w 12117871"/>
                <a:gd name="connsiteY7538" fmla="*/ 383079 h 6072780"/>
                <a:gd name="connsiteX7539" fmla="*/ 8078439 w 12117871"/>
                <a:gd name="connsiteY7539" fmla="*/ 391521 h 6072780"/>
                <a:gd name="connsiteX7540" fmla="*/ 8078439 w 12117871"/>
                <a:gd name="connsiteY7540" fmla="*/ 361405 h 6072780"/>
                <a:gd name="connsiteX7541" fmla="*/ 8095474 w 12117871"/>
                <a:gd name="connsiteY7541" fmla="*/ 355321 h 6072780"/>
                <a:gd name="connsiteX7542" fmla="*/ 8111673 w 12117871"/>
                <a:gd name="connsiteY7542" fmla="*/ 348172 h 6072780"/>
                <a:gd name="connsiteX7543" fmla="*/ 8127796 w 12117871"/>
                <a:gd name="connsiteY7543" fmla="*/ 339350 h 6072780"/>
                <a:gd name="connsiteX7544" fmla="*/ 8144603 w 12117871"/>
                <a:gd name="connsiteY7544" fmla="*/ 328247 h 6072780"/>
                <a:gd name="connsiteX7545" fmla="*/ 7995746 w 12117871"/>
                <a:gd name="connsiteY7545" fmla="*/ 328247 h 6072780"/>
                <a:gd name="connsiteX7546" fmla="*/ 8010652 w 12117871"/>
                <a:gd name="connsiteY7546" fmla="*/ 328247 h 6072780"/>
                <a:gd name="connsiteX7547" fmla="*/ 8010652 w 12117871"/>
                <a:gd name="connsiteY7547" fmla="*/ 551227 h 6072780"/>
                <a:gd name="connsiteX7548" fmla="*/ 7975364 w 12117871"/>
                <a:gd name="connsiteY7548" fmla="*/ 551227 h 6072780"/>
                <a:gd name="connsiteX7549" fmla="*/ 7975364 w 12117871"/>
                <a:gd name="connsiteY7549" fmla="*/ 371444 h 6072780"/>
                <a:gd name="connsiteX7550" fmla="*/ 7954755 w 12117871"/>
                <a:gd name="connsiteY7550" fmla="*/ 383079 h 6072780"/>
                <a:gd name="connsiteX7551" fmla="*/ 7929582 w 12117871"/>
                <a:gd name="connsiteY7551" fmla="*/ 391521 h 6072780"/>
                <a:gd name="connsiteX7552" fmla="*/ 7929582 w 12117871"/>
                <a:gd name="connsiteY7552" fmla="*/ 361405 h 6072780"/>
                <a:gd name="connsiteX7553" fmla="*/ 7946617 w 12117871"/>
                <a:gd name="connsiteY7553" fmla="*/ 355321 h 6072780"/>
                <a:gd name="connsiteX7554" fmla="*/ 7962816 w 12117871"/>
                <a:gd name="connsiteY7554" fmla="*/ 348172 h 6072780"/>
                <a:gd name="connsiteX7555" fmla="*/ 7978939 w 12117871"/>
                <a:gd name="connsiteY7555" fmla="*/ 339350 h 6072780"/>
                <a:gd name="connsiteX7556" fmla="*/ 7995746 w 12117871"/>
                <a:gd name="connsiteY7556" fmla="*/ 328247 h 6072780"/>
                <a:gd name="connsiteX7557" fmla="*/ 7846889 w 12117871"/>
                <a:gd name="connsiteY7557" fmla="*/ 328247 h 6072780"/>
                <a:gd name="connsiteX7558" fmla="*/ 7861795 w 12117871"/>
                <a:gd name="connsiteY7558" fmla="*/ 328247 h 6072780"/>
                <a:gd name="connsiteX7559" fmla="*/ 7861795 w 12117871"/>
                <a:gd name="connsiteY7559" fmla="*/ 551227 h 6072780"/>
                <a:gd name="connsiteX7560" fmla="*/ 7826507 w 12117871"/>
                <a:gd name="connsiteY7560" fmla="*/ 551227 h 6072780"/>
                <a:gd name="connsiteX7561" fmla="*/ 7826507 w 12117871"/>
                <a:gd name="connsiteY7561" fmla="*/ 371444 h 6072780"/>
                <a:gd name="connsiteX7562" fmla="*/ 7805898 w 12117871"/>
                <a:gd name="connsiteY7562" fmla="*/ 383079 h 6072780"/>
                <a:gd name="connsiteX7563" fmla="*/ 7780725 w 12117871"/>
                <a:gd name="connsiteY7563" fmla="*/ 391521 h 6072780"/>
                <a:gd name="connsiteX7564" fmla="*/ 7780725 w 12117871"/>
                <a:gd name="connsiteY7564" fmla="*/ 361405 h 6072780"/>
                <a:gd name="connsiteX7565" fmla="*/ 7797760 w 12117871"/>
                <a:gd name="connsiteY7565" fmla="*/ 355321 h 6072780"/>
                <a:gd name="connsiteX7566" fmla="*/ 7813959 w 12117871"/>
                <a:gd name="connsiteY7566" fmla="*/ 348172 h 6072780"/>
                <a:gd name="connsiteX7567" fmla="*/ 7830082 w 12117871"/>
                <a:gd name="connsiteY7567" fmla="*/ 339350 h 6072780"/>
                <a:gd name="connsiteX7568" fmla="*/ 7846889 w 12117871"/>
                <a:gd name="connsiteY7568" fmla="*/ 328247 h 6072780"/>
                <a:gd name="connsiteX7569" fmla="*/ 7494802 w 12117871"/>
                <a:gd name="connsiteY7569" fmla="*/ 328247 h 6072780"/>
                <a:gd name="connsiteX7570" fmla="*/ 7509708 w 12117871"/>
                <a:gd name="connsiteY7570" fmla="*/ 328247 h 6072780"/>
                <a:gd name="connsiteX7571" fmla="*/ 7509708 w 12117871"/>
                <a:gd name="connsiteY7571" fmla="*/ 551227 h 6072780"/>
                <a:gd name="connsiteX7572" fmla="*/ 7474420 w 12117871"/>
                <a:gd name="connsiteY7572" fmla="*/ 551227 h 6072780"/>
                <a:gd name="connsiteX7573" fmla="*/ 7474420 w 12117871"/>
                <a:gd name="connsiteY7573" fmla="*/ 371444 h 6072780"/>
                <a:gd name="connsiteX7574" fmla="*/ 7453811 w 12117871"/>
                <a:gd name="connsiteY7574" fmla="*/ 383079 h 6072780"/>
                <a:gd name="connsiteX7575" fmla="*/ 7428638 w 12117871"/>
                <a:gd name="connsiteY7575" fmla="*/ 391521 h 6072780"/>
                <a:gd name="connsiteX7576" fmla="*/ 7428638 w 12117871"/>
                <a:gd name="connsiteY7576" fmla="*/ 361405 h 6072780"/>
                <a:gd name="connsiteX7577" fmla="*/ 7445673 w 12117871"/>
                <a:gd name="connsiteY7577" fmla="*/ 355321 h 6072780"/>
                <a:gd name="connsiteX7578" fmla="*/ 7461872 w 12117871"/>
                <a:gd name="connsiteY7578" fmla="*/ 348172 h 6072780"/>
                <a:gd name="connsiteX7579" fmla="*/ 7477995 w 12117871"/>
                <a:gd name="connsiteY7579" fmla="*/ 339350 h 6072780"/>
                <a:gd name="connsiteX7580" fmla="*/ 7494802 w 12117871"/>
                <a:gd name="connsiteY7580" fmla="*/ 328247 h 6072780"/>
                <a:gd name="connsiteX7581" fmla="*/ 7197088 w 12117871"/>
                <a:gd name="connsiteY7581" fmla="*/ 328247 h 6072780"/>
                <a:gd name="connsiteX7582" fmla="*/ 7211994 w 12117871"/>
                <a:gd name="connsiteY7582" fmla="*/ 328247 h 6072780"/>
                <a:gd name="connsiteX7583" fmla="*/ 7211994 w 12117871"/>
                <a:gd name="connsiteY7583" fmla="*/ 551227 h 6072780"/>
                <a:gd name="connsiteX7584" fmla="*/ 7176706 w 12117871"/>
                <a:gd name="connsiteY7584" fmla="*/ 551227 h 6072780"/>
                <a:gd name="connsiteX7585" fmla="*/ 7176706 w 12117871"/>
                <a:gd name="connsiteY7585" fmla="*/ 371444 h 6072780"/>
                <a:gd name="connsiteX7586" fmla="*/ 7156097 w 12117871"/>
                <a:gd name="connsiteY7586" fmla="*/ 383079 h 6072780"/>
                <a:gd name="connsiteX7587" fmla="*/ 7130924 w 12117871"/>
                <a:gd name="connsiteY7587" fmla="*/ 391521 h 6072780"/>
                <a:gd name="connsiteX7588" fmla="*/ 7130924 w 12117871"/>
                <a:gd name="connsiteY7588" fmla="*/ 361405 h 6072780"/>
                <a:gd name="connsiteX7589" fmla="*/ 7147959 w 12117871"/>
                <a:gd name="connsiteY7589" fmla="*/ 355321 h 6072780"/>
                <a:gd name="connsiteX7590" fmla="*/ 7164158 w 12117871"/>
                <a:gd name="connsiteY7590" fmla="*/ 348172 h 6072780"/>
                <a:gd name="connsiteX7591" fmla="*/ 7180281 w 12117871"/>
                <a:gd name="connsiteY7591" fmla="*/ 339350 h 6072780"/>
                <a:gd name="connsiteX7592" fmla="*/ 7197088 w 12117871"/>
                <a:gd name="connsiteY7592" fmla="*/ 328247 h 6072780"/>
                <a:gd name="connsiteX7593" fmla="*/ 6987676 w 12117871"/>
                <a:gd name="connsiteY7593" fmla="*/ 328247 h 6072780"/>
                <a:gd name="connsiteX7594" fmla="*/ 7058843 w 12117871"/>
                <a:gd name="connsiteY7594" fmla="*/ 438834 h 6072780"/>
                <a:gd name="connsiteX7595" fmla="*/ 7038757 w 12117871"/>
                <a:gd name="connsiteY7595" fmla="*/ 522414 h 6072780"/>
                <a:gd name="connsiteX7596" fmla="*/ 6982560 w 12117871"/>
                <a:gd name="connsiteY7596" fmla="*/ 551227 h 6072780"/>
                <a:gd name="connsiteX7597" fmla="*/ 6929975 w 12117871"/>
                <a:gd name="connsiteY7597" fmla="*/ 523693 h 6072780"/>
                <a:gd name="connsiteX7598" fmla="*/ 6911092 w 12117871"/>
                <a:gd name="connsiteY7598" fmla="*/ 444101 h 6072780"/>
                <a:gd name="connsiteX7599" fmla="*/ 6930802 w 12117871"/>
                <a:gd name="connsiteY7599" fmla="*/ 357586 h 6072780"/>
                <a:gd name="connsiteX7600" fmla="*/ 6987676 w 12117871"/>
                <a:gd name="connsiteY7600" fmla="*/ 328247 h 6072780"/>
                <a:gd name="connsiteX7601" fmla="*/ 6771166 w 12117871"/>
                <a:gd name="connsiteY7601" fmla="*/ 328247 h 6072780"/>
                <a:gd name="connsiteX7602" fmla="*/ 6842333 w 12117871"/>
                <a:gd name="connsiteY7602" fmla="*/ 438834 h 6072780"/>
                <a:gd name="connsiteX7603" fmla="*/ 6822247 w 12117871"/>
                <a:gd name="connsiteY7603" fmla="*/ 522414 h 6072780"/>
                <a:gd name="connsiteX7604" fmla="*/ 6766050 w 12117871"/>
                <a:gd name="connsiteY7604" fmla="*/ 551227 h 6072780"/>
                <a:gd name="connsiteX7605" fmla="*/ 6713465 w 12117871"/>
                <a:gd name="connsiteY7605" fmla="*/ 523693 h 6072780"/>
                <a:gd name="connsiteX7606" fmla="*/ 6694582 w 12117871"/>
                <a:gd name="connsiteY7606" fmla="*/ 444101 h 6072780"/>
                <a:gd name="connsiteX7607" fmla="*/ 6714292 w 12117871"/>
                <a:gd name="connsiteY7607" fmla="*/ 357586 h 6072780"/>
                <a:gd name="connsiteX7608" fmla="*/ 6771166 w 12117871"/>
                <a:gd name="connsiteY7608" fmla="*/ 328247 h 6072780"/>
                <a:gd name="connsiteX7609" fmla="*/ 6624859 w 12117871"/>
                <a:gd name="connsiteY7609" fmla="*/ 328247 h 6072780"/>
                <a:gd name="connsiteX7610" fmla="*/ 6639765 w 12117871"/>
                <a:gd name="connsiteY7610" fmla="*/ 328247 h 6072780"/>
                <a:gd name="connsiteX7611" fmla="*/ 6639765 w 12117871"/>
                <a:gd name="connsiteY7611" fmla="*/ 551227 h 6072780"/>
                <a:gd name="connsiteX7612" fmla="*/ 6604477 w 12117871"/>
                <a:gd name="connsiteY7612" fmla="*/ 551227 h 6072780"/>
                <a:gd name="connsiteX7613" fmla="*/ 6604477 w 12117871"/>
                <a:gd name="connsiteY7613" fmla="*/ 371444 h 6072780"/>
                <a:gd name="connsiteX7614" fmla="*/ 6583868 w 12117871"/>
                <a:gd name="connsiteY7614" fmla="*/ 383079 h 6072780"/>
                <a:gd name="connsiteX7615" fmla="*/ 6558695 w 12117871"/>
                <a:gd name="connsiteY7615" fmla="*/ 391521 h 6072780"/>
                <a:gd name="connsiteX7616" fmla="*/ 6558695 w 12117871"/>
                <a:gd name="connsiteY7616" fmla="*/ 361405 h 6072780"/>
                <a:gd name="connsiteX7617" fmla="*/ 6575730 w 12117871"/>
                <a:gd name="connsiteY7617" fmla="*/ 355321 h 6072780"/>
                <a:gd name="connsiteX7618" fmla="*/ 6591929 w 12117871"/>
                <a:gd name="connsiteY7618" fmla="*/ 348172 h 6072780"/>
                <a:gd name="connsiteX7619" fmla="*/ 6608052 w 12117871"/>
                <a:gd name="connsiteY7619" fmla="*/ 339350 h 6072780"/>
                <a:gd name="connsiteX7620" fmla="*/ 6624859 w 12117871"/>
                <a:gd name="connsiteY7620" fmla="*/ 328247 h 6072780"/>
                <a:gd name="connsiteX7621" fmla="*/ 6327145 w 12117871"/>
                <a:gd name="connsiteY7621" fmla="*/ 328247 h 6072780"/>
                <a:gd name="connsiteX7622" fmla="*/ 6342051 w 12117871"/>
                <a:gd name="connsiteY7622" fmla="*/ 328247 h 6072780"/>
                <a:gd name="connsiteX7623" fmla="*/ 6342051 w 12117871"/>
                <a:gd name="connsiteY7623" fmla="*/ 551227 h 6072780"/>
                <a:gd name="connsiteX7624" fmla="*/ 6306763 w 12117871"/>
                <a:gd name="connsiteY7624" fmla="*/ 551227 h 6072780"/>
                <a:gd name="connsiteX7625" fmla="*/ 6306763 w 12117871"/>
                <a:gd name="connsiteY7625" fmla="*/ 371444 h 6072780"/>
                <a:gd name="connsiteX7626" fmla="*/ 6286154 w 12117871"/>
                <a:gd name="connsiteY7626" fmla="*/ 383079 h 6072780"/>
                <a:gd name="connsiteX7627" fmla="*/ 6260981 w 12117871"/>
                <a:gd name="connsiteY7627" fmla="*/ 391521 h 6072780"/>
                <a:gd name="connsiteX7628" fmla="*/ 6260981 w 12117871"/>
                <a:gd name="connsiteY7628" fmla="*/ 361405 h 6072780"/>
                <a:gd name="connsiteX7629" fmla="*/ 6278016 w 12117871"/>
                <a:gd name="connsiteY7629" fmla="*/ 355321 h 6072780"/>
                <a:gd name="connsiteX7630" fmla="*/ 6294215 w 12117871"/>
                <a:gd name="connsiteY7630" fmla="*/ 348172 h 6072780"/>
                <a:gd name="connsiteX7631" fmla="*/ 6310338 w 12117871"/>
                <a:gd name="connsiteY7631" fmla="*/ 339350 h 6072780"/>
                <a:gd name="connsiteX7632" fmla="*/ 6327145 w 12117871"/>
                <a:gd name="connsiteY7632" fmla="*/ 328247 h 6072780"/>
                <a:gd name="connsiteX7633" fmla="*/ 6153389 w 12117871"/>
                <a:gd name="connsiteY7633" fmla="*/ 328247 h 6072780"/>
                <a:gd name="connsiteX7634" fmla="*/ 6224556 w 12117871"/>
                <a:gd name="connsiteY7634" fmla="*/ 438834 h 6072780"/>
                <a:gd name="connsiteX7635" fmla="*/ 6204470 w 12117871"/>
                <a:gd name="connsiteY7635" fmla="*/ 522414 h 6072780"/>
                <a:gd name="connsiteX7636" fmla="*/ 6148273 w 12117871"/>
                <a:gd name="connsiteY7636" fmla="*/ 551227 h 6072780"/>
                <a:gd name="connsiteX7637" fmla="*/ 6095688 w 12117871"/>
                <a:gd name="connsiteY7637" fmla="*/ 523693 h 6072780"/>
                <a:gd name="connsiteX7638" fmla="*/ 6076805 w 12117871"/>
                <a:gd name="connsiteY7638" fmla="*/ 444101 h 6072780"/>
                <a:gd name="connsiteX7639" fmla="*/ 6096515 w 12117871"/>
                <a:gd name="connsiteY7639" fmla="*/ 357586 h 6072780"/>
                <a:gd name="connsiteX7640" fmla="*/ 6153389 w 12117871"/>
                <a:gd name="connsiteY7640" fmla="*/ 328247 h 6072780"/>
                <a:gd name="connsiteX7641" fmla="*/ 5936879 w 12117871"/>
                <a:gd name="connsiteY7641" fmla="*/ 328247 h 6072780"/>
                <a:gd name="connsiteX7642" fmla="*/ 6008046 w 12117871"/>
                <a:gd name="connsiteY7642" fmla="*/ 438834 h 6072780"/>
                <a:gd name="connsiteX7643" fmla="*/ 5987960 w 12117871"/>
                <a:gd name="connsiteY7643" fmla="*/ 522414 h 6072780"/>
                <a:gd name="connsiteX7644" fmla="*/ 5931764 w 12117871"/>
                <a:gd name="connsiteY7644" fmla="*/ 551227 h 6072780"/>
                <a:gd name="connsiteX7645" fmla="*/ 5879177 w 12117871"/>
                <a:gd name="connsiteY7645" fmla="*/ 523693 h 6072780"/>
                <a:gd name="connsiteX7646" fmla="*/ 5860295 w 12117871"/>
                <a:gd name="connsiteY7646" fmla="*/ 444101 h 6072780"/>
                <a:gd name="connsiteX7647" fmla="*/ 5880005 w 12117871"/>
                <a:gd name="connsiteY7647" fmla="*/ 357586 h 6072780"/>
                <a:gd name="connsiteX7648" fmla="*/ 5936879 w 12117871"/>
                <a:gd name="connsiteY7648" fmla="*/ 328247 h 6072780"/>
                <a:gd name="connsiteX7649" fmla="*/ 5712771 w 12117871"/>
                <a:gd name="connsiteY7649" fmla="*/ 328247 h 6072780"/>
                <a:gd name="connsiteX7650" fmla="*/ 5783939 w 12117871"/>
                <a:gd name="connsiteY7650" fmla="*/ 438834 h 6072780"/>
                <a:gd name="connsiteX7651" fmla="*/ 5763853 w 12117871"/>
                <a:gd name="connsiteY7651" fmla="*/ 522414 h 6072780"/>
                <a:gd name="connsiteX7652" fmla="*/ 5707657 w 12117871"/>
                <a:gd name="connsiteY7652" fmla="*/ 551227 h 6072780"/>
                <a:gd name="connsiteX7653" fmla="*/ 5655071 w 12117871"/>
                <a:gd name="connsiteY7653" fmla="*/ 523693 h 6072780"/>
                <a:gd name="connsiteX7654" fmla="*/ 5636188 w 12117871"/>
                <a:gd name="connsiteY7654" fmla="*/ 444101 h 6072780"/>
                <a:gd name="connsiteX7655" fmla="*/ 5655899 w 12117871"/>
                <a:gd name="connsiteY7655" fmla="*/ 357586 h 6072780"/>
                <a:gd name="connsiteX7656" fmla="*/ 5712771 w 12117871"/>
                <a:gd name="connsiteY7656" fmla="*/ 328247 h 6072780"/>
                <a:gd name="connsiteX7657" fmla="*/ 5555491 w 12117871"/>
                <a:gd name="connsiteY7657" fmla="*/ 328247 h 6072780"/>
                <a:gd name="connsiteX7658" fmla="*/ 5570400 w 12117871"/>
                <a:gd name="connsiteY7658" fmla="*/ 328247 h 6072780"/>
                <a:gd name="connsiteX7659" fmla="*/ 5570400 w 12117871"/>
                <a:gd name="connsiteY7659" fmla="*/ 551227 h 6072780"/>
                <a:gd name="connsiteX7660" fmla="*/ 5535111 w 12117871"/>
                <a:gd name="connsiteY7660" fmla="*/ 551227 h 6072780"/>
                <a:gd name="connsiteX7661" fmla="*/ 5535111 w 12117871"/>
                <a:gd name="connsiteY7661" fmla="*/ 371444 h 6072780"/>
                <a:gd name="connsiteX7662" fmla="*/ 5514501 w 12117871"/>
                <a:gd name="connsiteY7662" fmla="*/ 383079 h 6072780"/>
                <a:gd name="connsiteX7663" fmla="*/ 5489329 w 12117871"/>
                <a:gd name="connsiteY7663" fmla="*/ 391521 h 6072780"/>
                <a:gd name="connsiteX7664" fmla="*/ 5489329 w 12117871"/>
                <a:gd name="connsiteY7664" fmla="*/ 361405 h 6072780"/>
                <a:gd name="connsiteX7665" fmla="*/ 5506363 w 12117871"/>
                <a:gd name="connsiteY7665" fmla="*/ 355321 h 6072780"/>
                <a:gd name="connsiteX7666" fmla="*/ 5522562 w 12117871"/>
                <a:gd name="connsiteY7666" fmla="*/ 348172 h 6072780"/>
                <a:gd name="connsiteX7667" fmla="*/ 5538684 w 12117871"/>
                <a:gd name="connsiteY7667" fmla="*/ 339350 h 6072780"/>
                <a:gd name="connsiteX7668" fmla="*/ 5555491 w 12117871"/>
                <a:gd name="connsiteY7668" fmla="*/ 328247 h 6072780"/>
                <a:gd name="connsiteX7669" fmla="*/ 5257777 w 12117871"/>
                <a:gd name="connsiteY7669" fmla="*/ 328247 h 6072780"/>
                <a:gd name="connsiteX7670" fmla="*/ 5272684 w 12117871"/>
                <a:gd name="connsiteY7670" fmla="*/ 328247 h 6072780"/>
                <a:gd name="connsiteX7671" fmla="*/ 5272684 w 12117871"/>
                <a:gd name="connsiteY7671" fmla="*/ 551227 h 6072780"/>
                <a:gd name="connsiteX7672" fmla="*/ 5237397 w 12117871"/>
                <a:gd name="connsiteY7672" fmla="*/ 551227 h 6072780"/>
                <a:gd name="connsiteX7673" fmla="*/ 5237397 w 12117871"/>
                <a:gd name="connsiteY7673" fmla="*/ 371444 h 6072780"/>
                <a:gd name="connsiteX7674" fmla="*/ 5216786 w 12117871"/>
                <a:gd name="connsiteY7674" fmla="*/ 383079 h 6072780"/>
                <a:gd name="connsiteX7675" fmla="*/ 5191614 w 12117871"/>
                <a:gd name="connsiteY7675" fmla="*/ 391521 h 6072780"/>
                <a:gd name="connsiteX7676" fmla="*/ 5191614 w 12117871"/>
                <a:gd name="connsiteY7676" fmla="*/ 361405 h 6072780"/>
                <a:gd name="connsiteX7677" fmla="*/ 5208650 w 12117871"/>
                <a:gd name="connsiteY7677" fmla="*/ 355321 h 6072780"/>
                <a:gd name="connsiteX7678" fmla="*/ 5224848 w 12117871"/>
                <a:gd name="connsiteY7678" fmla="*/ 348172 h 6072780"/>
                <a:gd name="connsiteX7679" fmla="*/ 5240970 w 12117871"/>
                <a:gd name="connsiteY7679" fmla="*/ 339350 h 6072780"/>
                <a:gd name="connsiteX7680" fmla="*/ 5257777 w 12117871"/>
                <a:gd name="connsiteY7680" fmla="*/ 328247 h 6072780"/>
                <a:gd name="connsiteX7681" fmla="*/ 4883032 w 12117871"/>
                <a:gd name="connsiteY7681" fmla="*/ 328247 h 6072780"/>
                <a:gd name="connsiteX7682" fmla="*/ 4897939 w 12117871"/>
                <a:gd name="connsiteY7682" fmla="*/ 328247 h 6072780"/>
                <a:gd name="connsiteX7683" fmla="*/ 4897939 w 12117871"/>
                <a:gd name="connsiteY7683" fmla="*/ 551227 h 6072780"/>
                <a:gd name="connsiteX7684" fmla="*/ 4862651 w 12117871"/>
                <a:gd name="connsiteY7684" fmla="*/ 551227 h 6072780"/>
                <a:gd name="connsiteX7685" fmla="*/ 4862651 w 12117871"/>
                <a:gd name="connsiteY7685" fmla="*/ 371444 h 6072780"/>
                <a:gd name="connsiteX7686" fmla="*/ 4842041 w 12117871"/>
                <a:gd name="connsiteY7686" fmla="*/ 383079 h 6072780"/>
                <a:gd name="connsiteX7687" fmla="*/ 4816869 w 12117871"/>
                <a:gd name="connsiteY7687" fmla="*/ 391521 h 6072780"/>
                <a:gd name="connsiteX7688" fmla="*/ 4816869 w 12117871"/>
                <a:gd name="connsiteY7688" fmla="*/ 361405 h 6072780"/>
                <a:gd name="connsiteX7689" fmla="*/ 4833904 w 12117871"/>
                <a:gd name="connsiteY7689" fmla="*/ 355321 h 6072780"/>
                <a:gd name="connsiteX7690" fmla="*/ 4850103 w 12117871"/>
                <a:gd name="connsiteY7690" fmla="*/ 348172 h 6072780"/>
                <a:gd name="connsiteX7691" fmla="*/ 4866225 w 12117871"/>
                <a:gd name="connsiteY7691" fmla="*/ 339350 h 6072780"/>
                <a:gd name="connsiteX7692" fmla="*/ 4883032 w 12117871"/>
                <a:gd name="connsiteY7692" fmla="*/ 328247 h 6072780"/>
                <a:gd name="connsiteX7693" fmla="*/ 4739424 w 12117871"/>
                <a:gd name="connsiteY7693" fmla="*/ 328247 h 6072780"/>
                <a:gd name="connsiteX7694" fmla="*/ 4754331 w 12117871"/>
                <a:gd name="connsiteY7694" fmla="*/ 328247 h 6072780"/>
                <a:gd name="connsiteX7695" fmla="*/ 4754331 w 12117871"/>
                <a:gd name="connsiteY7695" fmla="*/ 551227 h 6072780"/>
                <a:gd name="connsiteX7696" fmla="*/ 4719043 w 12117871"/>
                <a:gd name="connsiteY7696" fmla="*/ 551227 h 6072780"/>
                <a:gd name="connsiteX7697" fmla="*/ 4719043 w 12117871"/>
                <a:gd name="connsiteY7697" fmla="*/ 371444 h 6072780"/>
                <a:gd name="connsiteX7698" fmla="*/ 4698434 w 12117871"/>
                <a:gd name="connsiteY7698" fmla="*/ 383079 h 6072780"/>
                <a:gd name="connsiteX7699" fmla="*/ 4673261 w 12117871"/>
                <a:gd name="connsiteY7699" fmla="*/ 391521 h 6072780"/>
                <a:gd name="connsiteX7700" fmla="*/ 4673261 w 12117871"/>
                <a:gd name="connsiteY7700" fmla="*/ 361405 h 6072780"/>
                <a:gd name="connsiteX7701" fmla="*/ 4690296 w 12117871"/>
                <a:gd name="connsiteY7701" fmla="*/ 355321 h 6072780"/>
                <a:gd name="connsiteX7702" fmla="*/ 4706496 w 12117871"/>
                <a:gd name="connsiteY7702" fmla="*/ 348172 h 6072780"/>
                <a:gd name="connsiteX7703" fmla="*/ 4722617 w 12117871"/>
                <a:gd name="connsiteY7703" fmla="*/ 339350 h 6072780"/>
                <a:gd name="connsiteX7704" fmla="*/ 4739424 w 12117871"/>
                <a:gd name="connsiteY7704" fmla="*/ 328247 h 6072780"/>
                <a:gd name="connsiteX7705" fmla="*/ 4595816 w 12117871"/>
                <a:gd name="connsiteY7705" fmla="*/ 328247 h 6072780"/>
                <a:gd name="connsiteX7706" fmla="*/ 4610723 w 12117871"/>
                <a:gd name="connsiteY7706" fmla="*/ 328247 h 6072780"/>
                <a:gd name="connsiteX7707" fmla="*/ 4610723 w 12117871"/>
                <a:gd name="connsiteY7707" fmla="*/ 551227 h 6072780"/>
                <a:gd name="connsiteX7708" fmla="*/ 4575435 w 12117871"/>
                <a:gd name="connsiteY7708" fmla="*/ 551227 h 6072780"/>
                <a:gd name="connsiteX7709" fmla="*/ 4575435 w 12117871"/>
                <a:gd name="connsiteY7709" fmla="*/ 371444 h 6072780"/>
                <a:gd name="connsiteX7710" fmla="*/ 4554826 w 12117871"/>
                <a:gd name="connsiteY7710" fmla="*/ 383079 h 6072780"/>
                <a:gd name="connsiteX7711" fmla="*/ 4529653 w 12117871"/>
                <a:gd name="connsiteY7711" fmla="*/ 391521 h 6072780"/>
                <a:gd name="connsiteX7712" fmla="*/ 4529653 w 12117871"/>
                <a:gd name="connsiteY7712" fmla="*/ 361405 h 6072780"/>
                <a:gd name="connsiteX7713" fmla="*/ 4546689 w 12117871"/>
                <a:gd name="connsiteY7713" fmla="*/ 355321 h 6072780"/>
                <a:gd name="connsiteX7714" fmla="*/ 4562888 w 12117871"/>
                <a:gd name="connsiteY7714" fmla="*/ 348172 h 6072780"/>
                <a:gd name="connsiteX7715" fmla="*/ 4579010 w 12117871"/>
                <a:gd name="connsiteY7715" fmla="*/ 339350 h 6072780"/>
                <a:gd name="connsiteX7716" fmla="*/ 4595816 w 12117871"/>
                <a:gd name="connsiteY7716" fmla="*/ 328247 h 6072780"/>
                <a:gd name="connsiteX7717" fmla="*/ 4452209 w 12117871"/>
                <a:gd name="connsiteY7717" fmla="*/ 328247 h 6072780"/>
                <a:gd name="connsiteX7718" fmla="*/ 4467115 w 12117871"/>
                <a:gd name="connsiteY7718" fmla="*/ 328247 h 6072780"/>
                <a:gd name="connsiteX7719" fmla="*/ 4467115 w 12117871"/>
                <a:gd name="connsiteY7719" fmla="*/ 551227 h 6072780"/>
                <a:gd name="connsiteX7720" fmla="*/ 4431828 w 12117871"/>
                <a:gd name="connsiteY7720" fmla="*/ 551227 h 6072780"/>
                <a:gd name="connsiteX7721" fmla="*/ 4431828 w 12117871"/>
                <a:gd name="connsiteY7721" fmla="*/ 371444 h 6072780"/>
                <a:gd name="connsiteX7722" fmla="*/ 4411218 w 12117871"/>
                <a:gd name="connsiteY7722" fmla="*/ 383079 h 6072780"/>
                <a:gd name="connsiteX7723" fmla="*/ 4386045 w 12117871"/>
                <a:gd name="connsiteY7723" fmla="*/ 391521 h 6072780"/>
                <a:gd name="connsiteX7724" fmla="*/ 4386045 w 12117871"/>
                <a:gd name="connsiteY7724" fmla="*/ 361405 h 6072780"/>
                <a:gd name="connsiteX7725" fmla="*/ 4403080 w 12117871"/>
                <a:gd name="connsiteY7725" fmla="*/ 355321 h 6072780"/>
                <a:gd name="connsiteX7726" fmla="*/ 4419280 w 12117871"/>
                <a:gd name="connsiteY7726" fmla="*/ 348172 h 6072780"/>
                <a:gd name="connsiteX7727" fmla="*/ 4435402 w 12117871"/>
                <a:gd name="connsiteY7727" fmla="*/ 339350 h 6072780"/>
                <a:gd name="connsiteX7728" fmla="*/ 4452209 w 12117871"/>
                <a:gd name="connsiteY7728" fmla="*/ 328247 h 6072780"/>
                <a:gd name="connsiteX7729" fmla="*/ 3712039 w 12117871"/>
                <a:gd name="connsiteY7729" fmla="*/ 328247 h 6072780"/>
                <a:gd name="connsiteX7730" fmla="*/ 3726944 w 12117871"/>
                <a:gd name="connsiteY7730" fmla="*/ 328247 h 6072780"/>
                <a:gd name="connsiteX7731" fmla="*/ 3726944 w 12117871"/>
                <a:gd name="connsiteY7731" fmla="*/ 551227 h 6072780"/>
                <a:gd name="connsiteX7732" fmla="*/ 3691657 w 12117871"/>
                <a:gd name="connsiteY7732" fmla="*/ 551227 h 6072780"/>
                <a:gd name="connsiteX7733" fmla="*/ 3691657 w 12117871"/>
                <a:gd name="connsiteY7733" fmla="*/ 371444 h 6072780"/>
                <a:gd name="connsiteX7734" fmla="*/ 3671049 w 12117871"/>
                <a:gd name="connsiteY7734" fmla="*/ 383079 h 6072780"/>
                <a:gd name="connsiteX7735" fmla="*/ 3645875 w 12117871"/>
                <a:gd name="connsiteY7735" fmla="*/ 391521 h 6072780"/>
                <a:gd name="connsiteX7736" fmla="*/ 3645875 w 12117871"/>
                <a:gd name="connsiteY7736" fmla="*/ 361405 h 6072780"/>
                <a:gd name="connsiteX7737" fmla="*/ 3662911 w 12117871"/>
                <a:gd name="connsiteY7737" fmla="*/ 355321 h 6072780"/>
                <a:gd name="connsiteX7738" fmla="*/ 3679110 w 12117871"/>
                <a:gd name="connsiteY7738" fmla="*/ 348172 h 6072780"/>
                <a:gd name="connsiteX7739" fmla="*/ 3695232 w 12117871"/>
                <a:gd name="connsiteY7739" fmla="*/ 339350 h 6072780"/>
                <a:gd name="connsiteX7740" fmla="*/ 3712039 w 12117871"/>
                <a:gd name="connsiteY7740" fmla="*/ 328247 h 6072780"/>
                <a:gd name="connsiteX7741" fmla="*/ 3563183 w 12117871"/>
                <a:gd name="connsiteY7741" fmla="*/ 328247 h 6072780"/>
                <a:gd name="connsiteX7742" fmla="*/ 3578089 w 12117871"/>
                <a:gd name="connsiteY7742" fmla="*/ 328247 h 6072780"/>
                <a:gd name="connsiteX7743" fmla="*/ 3578089 w 12117871"/>
                <a:gd name="connsiteY7743" fmla="*/ 551227 h 6072780"/>
                <a:gd name="connsiteX7744" fmla="*/ 3542801 w 12117871"/>
                <a:gd name="connsiteY7744" fmla="*/ 551227 h 6072780"/>
                <a:gd name="connsiteX7745" fmla="*/ 3542801 w 12117871"/>
                <a:gd name="connsiteY7745" fmla="*/ 371444 h 6072780"/>
                <a:gd name="connsiteX7746" fmla="*/ 3522192 w 12117871"/>
                <a:gd name="connsiteY7746" fmla="*/ 383079 h 6072780"/>
                <a:gd name="connsiteX7747" fmla="*/ 3497018 w 12117871"/>
                <a:gd name="connsiteY7747" fmla="*/ 391521 h 6072780"/>
                <a:gd name="connsiteX7748" fmla="*/ 3497018 w 12117871"/>
                <a:gd name="connsiteY7748" fmla="*/ 361405 h 6072780"/>
                <a:gd name="connsiteX7749" fmla="*/ 3514053 w 12117871"/>
                <a:gd name="connsiteY7749" fmla="*/ 355321 h 6072780"/>
                <a:gd name="connsiteX7750" fmla="*/ 3530252 w 12117871"/>
                <a:gd name="connsiteY7750" fmla="*/ 348172 h 6072780"/>
                <a:gd name="connsiteX7751" fmla="*/ 3546374 w 12117871"/>
                <a:gd name="connsiteY7751" fmla="*/ 339350 h 6072780"/>
                <a:gd name="connsiteX7752" fmla="*/ 3563183 w 12117871"/>
                <a:gd name="connsiteY7752" fmla="*/ 328247 h 6072780"/>
                <a:gd name="connsiteX7753" fmla="*/ 2758514 w 12117871"/>
                <a:gd name="connsiteY7753" fmla="*/ 328247 h 6072780"/>
                <a:gd name="connsiteX7754" fmla="*/ 2773420 w 12117871"/>
                <a:gd name="connsiteY7754" fmla="*/ 328247 h 6072780"/>
                <a:gd name="connsiteX7755" fmla="*/ 2773420 w 12117871"/>
                <a:gd name="connsiteY7755" fmla="*/ 551227 h 6072780"/>
                <a:gd name="connsiteX7756" fmla="*/ 2738133 w 12117871"/>
                <a:gd name="connsiteY7756" fmla="*/ 551227 h 6072780"/>
                <a:gd name="connsiteX7757" fmla="*/ 2738133 w 12117871"/>
                <a:gd name="connsiteY7757" fmla="*/ 371444 h 6072780"/>
                <a:gd name="connsiteX7758" fmla="*/ 2717522 w 12117871"/>
                <a:gd name="connsiteY7758" fmla="*/ 383079 h 6072780"/>
                <a:gd name="connsiteX7759" fmla="*/ 2692349 w 12117871"/>
                <a:gd name="connsiteY7759" fmla="*/ 391521 h 6072780"/>
                <a:gd name="connsiteX7760" fmla="*/ 2692349 w 12117871"/>
                <a:gd name="connsiteY7760" fmla="*/ 361405 h 6072780"/>
                <a:gd name="connsiteX7761" fmla="*/ 2709386 w 12117871"/>
                <a:gd name="connsiteY7761" fmla="*/ 355321 h 6072780"/>
                <a:gd name="connsiteX7762" fmla="*/ 2725584 w 12117871"/>
                <a:gd name="connsiteY7762" fmla="*/ 348172 h 6072780"/>
                <a:gd name="connsiteX7763" fmla="*/ 2741707 w 12117871"/>
                <a:gd name="connsiteY7763" fmla="*/ 339350 h 6072780"/>
                <a:gd name="connsiteX7764" fmla="*/ 2758514 w 12117871"/>
                <a:gd name="connsiteY7764" fmla="*/ 328247 h 6072780"/>
                <a:gd name="connsiteX7765" fmla="*/ 2365755 w 12117871"/>
                <a:gd name="connsiteY7765" fmla="*/ 328247 h 6072780"/>
                <a:gd name="connsiteX7766" fmla="*/ 2380662 w 12117871"/>
                <a:gd name="connsiteY7766" fmla="*/ 328247 h 6072780"/>
                <a:gd name="connsiteX7767" fmla="*/ 2380662 w 12117871"/>
                <a:gd name="connsiteY7767" fmla="*/ 551227 h 6072780"/>
                <a:gd name="connsiteX7768" fmla="*/ 2345374 w 12117871"/>
                <a:gd name="connsiteY7768" fmla="*/ 551227 h 6072780"/>
                <a:gd name="connsiteX7769" fmla="*/ 2345374 w 12117871"/>
                <a:gd name="connsiteY7769" fmla="*/ 371444 h 6072780"/>
                <a:gd name="connsiteX7770" fmla="*/ 2324763 w 12117871"/>
                <a:gd name="connsiteY7770" fmla="*/ 383079 h 6072780"/>
                <a:gd name="connsiteX7771" fmla="*/ 2299591 w 12117871"/>
                <a:gd name="connsiteY7771" fmla="*/ 391521 h 6072780"/>
                <a:gd name="connsiteX7772" fmla="*/ 2299591 w 12117871"/>
                <a:gd name="connsiteY7772" fmla="*/ 361405 h 6072780"/>
                <a:gd name="connsiteX7773" fmla="*/ 2316626 w 12117871"/>
                <a:gd name="connsiteY7773" fmla="*/ 355321 h 6072780"/>
                <a:gd name="connsiteX7774" fmla="*/ 2332825 w 12117871"/>
                <a:gd name="connsiteY7774" fmla="*/ 348172 h 6072780"/>
                <a:gd name="connsiteX7775" fmla="*/ 2348947 w 12117871"/>
                <a:gd name="connsiteY7775" fmla="*/ 339350 h 6072780"/>
                <a:gd name="connsiteX7776" fmla="*/ 2365755 w 12117871"/>
                <a:gd name="connsiteY7776" fmla="*/ 328247 h 6072780"/>
                <a:gd name="connsiteX7777" fmla="*/ 2222148 w 12117871"/>
                <a:gd name="connsiteY7777" fmla="*/ 328247 h 6072780"/>
                <a:gd name="connsiteX7778" fmla="*/ 2237054 w 12117871"/>
                <a:gd name="connsiteY7778" fmla="*/ 328247 h 6072780"/>
                <a:gd name="connsiteX7779" fmla="*/ 2237054 w 12117871"/>
                <a:gd name="connsiteY7779" fmla="*/ 551227 h 6072780"/>
                <a:gd name="connsiteX7780" fmla="*/ 2201765 w 12117871"/>
                <a:gd name="connsiteY7780" fmla="*/ 551227 h 6072780"/>
                <a:gd name="connsiteX7781" fmla="*/ 2201765 w 12117871"/>
                <a:gd name="connsiteY7781" fmla="*/ 371444 h 6072780"/>
                <a:gd name="connsiteX7782" fmla="*/ 2181155 w 12117871"/>
                <a:gd name="connsiteY7782" fmla="*/ 383079 h 6072780"/>
                <a:gd name="connsiteX7783" fmla="*/ 2155983 w 12117871"/>
                <a:gd name="connsiteY7783" fmla="*/ 391521 h 6072780"/>
                <a:gd name="connsiteX7784" fmla="*/ 2155983 w 12117871"/>
                <a:gd name="connsiteY7784" fmla="*/ 361405 h 6072780"/>
                <a:gd name="connsiteX7785" fmla="*/ 2173018 w 12117871"/>
                <a:gd name="connsiteY7785" fmla="*/ 355321 h 6072780"/>
                <a:gd name="connsiteX7786" fmla="*/ 2189217 w 12117871"/>
                <a:gd name="connsiteY7786" fmla="*/ 348172 h 6072780"/>
                <a:gd name="connsiteX7787" fmla="*/ 2205340 w 12117871"/>
                <a:gd name="connsiteY7787" fmla="*/ 339350 h 6072780"/>
                <a:gd name="connsiteX7788" fmla="*/ 2222148 w 12117871"/>
                <a:gd name="connsiteY7788" fmla="*/ 328247 h 6072780"/>
                <a:gd name="connsiteX7789" fmla="*/ 2078538 w 12117871"/>
                <a:gd name="connsiteY7789" fmla="*/ 328247 h 6072780"/>
                <a:gd name="connsiteX7790" fmla="*/ 2093445 w 12117871"/>
                <a:gd name="connsiteY7790" fmla="*/ 328247 h 6072780"/>
                <a:gd name="connsiteX7791" fmla="*/ 2093445 w 12117871"/>
                <a:gd name="connsiteY7791" fmla="*/ 551227 h 6072780"/>
                <a:gd name="connsiteX7792" fmla="*/ 2058157 w 12117871"/>
                <a:gd name="connsiteY7792" fmla="*/ 551227 h 6072780"/>
                <a:gd name="connsiteX7793" fmla="*/ 2058157 w 12117871"/>
                <a:gd name="connsiteY7793" fmla="*/ 371444 h 6072780"/>
                <a:gd name="connsiteX7794" fmla="*/ 2037547 w 12117871"/>
                <a:gd name="connsiteY7794" fmla="*/ 383079 h 6072780"/>
                <a:gd name="connsiteX7795" fmla="*/ 2012375 w 12117871"/>
                <a:gd name="connsiteY7795" fmla="*/ 391521 h 6072780"/>
                <a:gd name="connsiteX7796" fmla="*/ 2012375 w 12117871"/>
                <a:gd name="connsiteY7796" fmla="*/ 361405 h 6072780"/>
                <a:gd name="connsiteX7797" fmla="*/ 2029410 w 12117871"/>
                <a:gd name="connsiteY7797" fmla="*/ 355321 h 6072780"/>
                <a:gd name="connsiteX7798" fmla="*/ 2045609 w 12117871"/>
                <a:gd name="connsiteY7798" fmla="*/ 348172 h 6072780"/>
                <a:gd name="connsiteX7799" fmla="*/ 2061730 w 12117871"/>
                <a:gd name="connsiteY7799" fmla="*/ 339350 h 6072780"/>
                <a:gd name="connsiteX7800" fmla="*/ 2078538 w 12117871"/>
                <a:gd name="connsiteY7800" fmla="*/ 328247 h 6072780"/>
                <a:gd name="connsiteX7801" fmla="*/ 1934932 w 12117871"/>
                <a:gd name="connsiteY7801" fmla="*/ 328247 h 6072780"/>
                <a:gd name="connsiteX7802" fmla="*/ 1949837 w 12117871"/>
                <a:gd name="connsiteY7802" fmla="*/ 328247 h 6072780"/>
                <a:gd name="connsiteX7803" fmla="*/ 1949837 w 12117871"/>
                <a:gd name="connsiteY7803" fmla="*/ 551227 h 6072780"/>
                <a:gd name="connsiteX7804" fmla="*/ 1914550 w 12117871"/>
                <a:gd name="connsiteY7804" fmla="*/ 551227 h 6072780"/>
                <a:gd name="connsiteX7805" fmla="*/ 1914550 w 12117871"/>
                <a:gd name="connsiteY7805" fmla="*/ 371444 h 6072780"/>
                <a:gd name="connsiteX7806" fmla="*/ 1893940 w 12117871"/>
                <a:gd name="connsiteY7806" fmla="*/ 383079 h 6072780"/>
                <a:gd name="connsiteX7807" fmla="*/ 1868767 w 12117871"/>
                <a:gd name="connsiteY7807" fmla="*/ 391521 h 6072780"/>
                <a:gd name="connsiteX7808" fmla="*/ 1868767 w 12117871"/>
                <a:gd name="connsiteY7808" fmla="*/ 361405 h 6072780"/>
                <a:gd name="connsiteX7809" fmla="*/ 1885803 w 12117871"/>
                <a:gd name="connsiteY7809" fmla="*/ 355321 h 6072780"/>
                <a:gd name="connsiteX7810" fmla="*/ 1902003 w 12117871"/>
                <a:gd name="connsiteY7810" fmla="*/ 348172 h 6072780"/>
                <a:gd name="connsiteX7811" fmla="*/ 1918124 w 12117871"/>
                <a:gd name="connsiteY7811" fmla="*/ 339350 h 6072780"/>
                <a:gd name="connsiteX7812" fmla="*/ 1934932 w 12117871"/>
                <a:gd name="connsiteY7812" fmla="*/ 328247 h 6072780"/>
                <a:gd name="connsiteX7813" fmla="*/ 1791323 w 12117871"/>
                <a:gd name="connsiteY7813" fmla="*/ 328247 h 6072780"/>
                <a:gd name="connsiteX7814" fmla="*/ 1806229 w 12117871"/>
                <a:gd name="connsiteY7814" fmla="*/ 328247 h 6072780"/>
                <a:gd name="connsiteX7815" fmla="*/ 1806229 w 12117871"/>
                <a:gd name="connsiteY7815" fmla="*/ 551227 h 6072780"/>
                <a:gd name="connsiteX7816" fmla="*/ 1770942 w 12117871"/>
                <a:gd name="connsiteY7816" fmla="*/ 551227 h 6072780"/>
                <a:gd name="connsiteX7817" fmla="*/ 1770942 w 12117871"/>
                <a:gd name="connsiteY7817" fmla="*/ 371444 h 6072780"/>
                <a:gd name="connsiteX7818" fmla="*/ 1750332 w 12117871"/>
                <a:gd name="connsiteY7818" fmla="*/ 383079 h 6072780"/>
                <a:gd name="connsiteX7819" fmla="*/ 1725159 w 12117871"/>
                <a:gd name="connsiteY7819" fmla="*/ 391521 h 6072780"/>
                <a:gd name="connsiteX7820" fmla="*/ 1725159 w 12117871"/>
                <a:gd name="connsiteY7820" fmla="*/ 361405 h 6072780"/>
                <a:gd name="connsiteX7821" fmla="*/ 1742195 w 12117871"/>
                <a:gd name="connsiteY7821" fmla="*/ 355321 h 6072780"/>
                <a:gd name="connsiteX7822" fmla="*/ 1758394 w 12117871"/>
                <a:gd name="connsiteY7822" fmla="*/ 348172 h 6072780"/>
                <a:gd name="connsiteX7823" fmla="*/ 1774516 w 12117871"/>
                <a:gd name="connsiteY7823" fmla="*/ 339350 h 6072780"/>
                <a:gd name="connsiteX7824" fmla="*/ 1791323 w 12117871"/>
                <a:gd name="connsiteY7824" fmla="*/ 328247 h 6072780"/>
                <a:gd name="connsiteX7825" fmla="*/ 1443625 w 12117871"/>
                <a:gd name="connsiteY7825" fmla="*/ 328247 h 6072780"/>
                <a:gd name="connsiteX7826" fmla="*/ 1458532 w 12117871"/>
                <a:gd name="connsiteY7826" fmla="*/ 328247 h 6072780"/>
                <a:gd name="connsiteX7827" fmla="*/ 1458532 w 12117871"/>
                <a:gd name="connsiteY7827" fmla="*/ 551227 h 6072780"/>
                <a:gd name="connsiteX7828" fmla="*/ 1423244 w 12117871"/>
                <a:gd name="connsiteY7828" fmla="*/ 551227 h 6072780"/>
                <a:gd name="connsiteX7829" fmla="*/ 1423244 w 12117871"/>
                <a:gd name="connsiteY7829" fmla="*/ 371444 h 6072780"/>
                <a:gd name="connsiteX7830" fmla="*/ 1402634 w 12117871"/>
                <a:gd name="connsiteY7830" fmla="*/ 383079 h 6072780"/>
                <a:gd name="connsiteX7831" fmla="*/ 1377462 w 12117871"/>
                <a:gd name="connsiteY7831" fmla="*/ 391521 h 6072780"/>
                <a:gd name="connsiteX7832" fmla="*/ 1377462 w 12117871"/>
                <a:gd name="connsiteY7832" fmla="*/ 361405 h 6072780"/>
                <a:gd name="connsiteX7833" fmla="*/ 1394497 w 12117871"/>
                <a:gd name="connsiteY7833" fmla="*/ 355321 h 6072780"/>
                <a:gd name="connsiteX7834" fmla="*/ 1410696 w 12117871"/>
                <a:gd name="connsiteY7834" fmla="*/ 348172 h 6072780"/>
                <a:gd name="connsiteX7835" fmla="*/ 1426818 w 12117871"/>
                <a:gd name="connsiteY7835" fmla="*/ 339350 h 6072780"/>
                <a:gd name="connsiteX7836" fmla="*/ 1443625 w 12117871"/>
                <a:gd name="connsiteY7836" fmla="*/ 328247 h 6072780"/>
                <a:gd name="connsiteX7837" fmla="*/ 1145912 w 12117871"/>
                <a:gd name="connsiteY7837" fmla="*/ 328247 h 6072780"/>
                <a:gd name="connsiteX7838" fmla="*/ 1160818 w 12117871"/>
                <a:gd name="connsiteY7838" fmla="*/ 328247 h 6072780"/>
                <a:gd name="connsiteX7839" fmla="*/ 1160818 w 12117871"/>
                <a:gd name="connsiteY7839" fmla="*/ 551227 h 6072780"/>
                <a:gd name="connsiteX7840" fmla="*/ 1125531 w 12117871"/>
                <a:gd name="connsiteY7840" fmla="*/ 551227 h 6072780"/>
                <a:gd name="connsiteX7841" fmla="*/ 1125531 w 12117871"/>
                <a:gd name="connsiteY7841" fmla="*/ 371444 h 6072780"/>
                <a:gd name="connsiteX7842" fmla="*/ 1104921 w 12117871"/>
                <a:gd name="connsiteY7842" fmla="*/ 383079 h 6072780"/>
                <a:gd name="connsiteX7843" fmla="*/ 1079749 w 12117871"/>
                <a:gd name="connsiteY7843" fmla="*/ 391521 h 6072780"/>
                <a:gd name="connsiteX7844" fmla="*/ 1079749 w 12117871"/>
                <a:gd name="connsiteY7844" fmla="*/ 361405 h 6072780"/>
                <a:gd name="connsiteX7845" fmla="*/ 1096784 w 12117871"/>
                <a:gd name="connsiteY7845" fmla="*/ 355321 h 6072780"/>
                <a:gd name="connsiteX7846" fmla="*/ 1112982 w 12117871"/>
                <a:gd name="connsiteY7846" fmla="*/ 348172 h 6072780"/>
                <a:gd name="connsiteX7847" fmla="*/ 1129105 w 12117871"/>
                <a:gd name="connsiteY7847" fmla="*/ 339350 h 6072780"/>
                <a:gd name="connsiteX7848" fmla="*/ 1145912 w 12117871"/>
                <a:gd name="connsiteY7848" fmla="*/ 328247 h 6072780"/>
                <a:gd name="connsiteX7849" fmla="*/ 934793 w 12117871"/>
                <a:gd name="connsiteY7849" fmla="*/ 328247 h 6072780"/>
                <a:gd name="connsiteX7850" fmla="*/ 1005960 w 12117871"/>
                <a:gd name="connsiteY7850" fmla="*/ 438834 h 6072780"/>
                <a:gd name="connsiteX7851" fmla="*/ 985874 w 12117871"/>
                <a:gd name="connsiteY7851" fmla="*/ 522414 h 6072780"/>
                <a:gd name="connsiteX7852" fmla="*/ 929678 w 12117871"/>
                <a:gd name="connsiteY7852" fmla="*/ 551227 h 6072780"/>
                <a:gd name="connsiteX7853" fmla="*/ 877091 w 12117871"/>
                <a:gd name="connsiteY7853" fmla="*/ 523693 h 6072780"/>
                <a:gd name="connsiteX7854" fmla="*/ 858210 w 12117871"/>
                <a:gd name="connsiteY7854" fmla="*/ 444101 h 6072780"/>
                <a:gd name="connsiteX7855" fmla="*/ 877920 w 12117871"/>
                <a:gd name="connsiteY7855" fmla="*/ 357586 h 6072780"/>
                <a:gd name="connsiteX7856" fmla="*/ 934793 w 12117871"/>
                <a:gd name="connsiteY7856" fmla="*/ 328247 h 6072780"/>
                <a:gd name="connsiteX7857" fmla="*/ 718517 w 12117871"/>
                <a:gd name="connsiteY7857" fmla="*/ 328247 h 6072780"/>
                <a:gd name="connsiteX7858" fmla="*/ 789684 w 12117871"/>
                <a:gd name="connsiteY7858" fmla="*/ 438834 h 6072780"/>
                <a:gd name="connsiteX7859" fmla="*/ 769597 w 12117871"/>
                <a:gd name="connsiteY7859" fmla="*/ 522414 h 6072780"/>
                <a:gd name="connsiteX7860" fmla="*/ 713402 w 12117871"/>
                <a:gd name="connsiteY7860" fmla="*/ 551227 h 6072780"/>
                <a:gd name="connsiteX7861" fmla="*/ 660816 w 12117871"/>
                <a:gd name="connsiteY7861" fmla="*/ 523693 h 6072780"/>
                <a:gd name="connsiteX7862" fmla="*/ 641934 w 12117871"/>
                <a:gd name="connsiteY7862" fmla="*/ 444101 h 6072780"/>
                <a:gd name="connsiteX7863" fmla="*/ 661644 w 12117871"/>
                <a:gd name="connsiteY7863" fmla="*/ 357586 h 6072780"/>
                <a:gd name="connsiteX7864" fmla="*/ 718517 w 12117871"/>
                <a:gd name="connsiteY7864" fmla="*/ 328247 h 6072780"/>
                <a:gd name="connsiteX7865" fmla="*/ 570384 w 12117871"/>
                <a:gd name="connsiteY7865" fmla="*/ 328247 h 6072780"/>
                <a:gd name="connsiteX7866" fmla="*/ 585291 w 12117871"/>
                <a:gd name="connsiteY7866" fmla="*/ 328247 h 6072780"/>
                <a:gd name="connsiteX7867" fmla="*/ 585291 w 12117871"/>
                <a:gd name="connsiteY7867" fmla="*/ 551227 h 6072780"/>
                <a:gd name="connsiteX7868" fmla="*/ 550003 w 12117871"/>
                <a:gd name="connsiteY7868" fmla="*/ 551227 h 6072780"/>
                <a:gd name="connsiteX7869" fmla="*/ 550003 w 12117871"/>
                <a:gd name="connsiteY7869" fmla="*/ 371444 h 6072780"/>
                <a:gd name="connsiteX7870" fmla="*/ 529393 w 12117871"/>
                <a:gd name="connsiteY7870" fmla="*/ 383079 h 6072780"/>
                <a:gd name="connsiteX7871" fmla="*/ 504221 w 12117871"/>
                <a:gd name="connsiteY7871" fmla="*/ 391521 h 6072780"/>
                <a:gd name="connsiteX7872" fmla="*/ 504221 w 12117871"/>
                <a:gd name="connsiteY7872" fmla="*/ 361405 h 6072780"/>
                <a:gd name="connsiteX7873" fmla="*/ 521256 w 12117871"/>
                <a:gd name="connsiteY7873" fmla="*/ 355321 h 6072780"/>
                <a:gd name="connsiteX7874" fmla="*/ 537455 w 12117871"/>
                <a:gd name="connsiteY7874" fmla="*/ 348172 h 6072780"/>
                <a:gd name="connsiteX7875" fmla="*/ 553578 w 12117871"/>
                <a:gd name="connsiteY7875" fmla="*/ 339350 h 6072780"/>
                <a:gd name="connsiteX7876" fmla="*/ 570384 w 12117871"/>
                <a:gd name="connsiteY7876" fmla="*/ 328247 h 6072780"/>
                <a:gd name="connsiteX7877" fmla="*/ 272671 w 12117871"/>
                <a:gd name="connsiteY7877" fmla="*/ 328247 h 6072780"/>
                <a:gd name="connsiteX7878" fmla="*/ 287576 w 12117871"/>
                <a:gd name="connsiteY7878" fmla="*/ 328247 h 6072780"/>
                <a:gd name="connsiteX7879" fmla="*/ 287576 w 12117871"/>
                <a:gd name="connsiteY7879" fmla="*/ 551227 h 6072780"/>
                <a:gd name="connsiteX7880" fmla="*/ 252289 w 12117871"/>
                <a:gd name="connsiteY7880" fmla="*/ 551227 h 6072780"/>
                <a:gd name="connsiteX7881" fmla="*/ 252289 w 12117871"/>
                <a:gd name="connsiteY7881" fmla="*/ 371444 h 6072780"/>
                <a:gd name="connsiteX7882" fmla="*/ 231681 w 12117871"/>
                <a:gd name="connsiteY7882" fmla="*/ 383079 h 6072780"/>
                <a:gd name="connsiteX7883" fmla="*/ 206507 w 12117871"/>
                <a:gd name="connsiteY7883" fmla="*/ 391521 h 6072780"/>
                <a:gd name="connsiteX7884" fmla="*/ 206507 w 12117871"/>
                <a:gd name="connsiteY7884" fmla="*/ 361405 h 6072780"/>
                <a:gd name="connsiteX7885" fmla="*/ 223541 w 12117871"/>
                <a:gd name="connsiteY7885" fmla="*/ 355321 h 6072780"/>
                <a:gd name="connsiteX7886" fmla="*/ 239740 w 12117871"/>
                <a:gd name="connsiteY7886" fmla="*/ 348172 h 6072780"/>
                <a:gd name="connsiteX7887" fmla="*/ 255864 w 12117871"/>
                <a:gd name="connsiteY7887" fmla="*/ 339350 h 6072780"/>
                <a:gd name="connsiteX7888" fmla="*/ 272671 w 12117871"/>
                <a:gd name="connsiteY7888" fmla="*/ 328247 h 6072780"/>
                <a:gd name="connsiteX7889" fmla="*/ 96910 w 12117871"/>
                <a:gd name="connsiteY7889" fmla="*/ 328247 h 6072780"/>
                <a:gd name="connsiteX7890" fmla="*/ 168078 w 12117871"/>
                <a:gd name="connsiteY7890" fmla="*/ 438834 h 6072780"/>
                <a:gd name="connsiteX7891" fmla="*/ 147992 w 12117871"/>
                <a:gd name="connsiteY7891" fmla="*/ 522414 h 6072780"/>
                <a:gd name="connsiteX7892" fmla="*/ 91795 w 12117871"/>
                <a:gd name="connsiteY7892" fmla="*/ 551227 h 6072780"/>
                <a:gd name="connsiteX7893" fmla="*/ 39210 w 12117871"/>
                <a:gd name="connsiteY7893" fmla="*/ 523693 h 6072780"/>
                <a:gd name="connsiteX7894" fmla="*/ 20327 w 12117871"/>
                <a:gd name="connsiteY7894" fmla="*/ 444101 h 6072780"/>
                <a:gd name="connsiteX7895" fmla="*/ 40037 w 12117871"/>
                <a:gd name="connsiteY7895" fmla="*/ 357586 h 6072780"/>
                <a:gd name="connsiteX7896" fmla="*/ 96910 w 12117871"/>
                <a:gd name="connsiteY7896" fmla="*/ 328247 h 6072780"/>
                <a:gd name="connsiteX7897" fmla="*/ 11909636 w 12117871"/>
                <a:gd name="connsiteY7897" fmla="*/ 27835 h 6072780"/>
                <a:gd name="connsiteX7898" fmla="*/ 11870366 w 12117871"/>
                <a:gd name="connsiteY7898" fmla="*/ 114349 h 6072780"/>
                <a:gd name="connsiteX7899" fmla="*/ 11908884 w 12117871"/>
                <a:gd name="connsiteY7899" fmla="*/ 195295 h 6072780"/>
                <a:gd name="connsiteX7900" fmla="*/ 11946799 w 12117871"/>
                <a:gd name="connsiteY7900" fmla="*/ 112995 h 6072780"/>
                <a:gd name="connsiteX7901" fmla="*/ 11909636 w 12117871"/>
                <a:gd name="connsiteY7901" fmla="*/ 27835 h 6072780"/>
                <a:gd name="connsiteX7902" fmla="*/ 11203074 w 12117871"/>
                <a:gd name="connsiteY7902" fmla="*/ 27835 h 6072780"/>
                <a:gd name="connsiteX7903" fmla="*/ 11163804 w 12117871"/>
                <a:gd name="connsiteY7903" fmla="*/ 114349 h 6072780"/>
                <a:gd name="connsiteX7904" fmla="*/ 11202322 w 12117871"/>
                <a:gd name="connsiteY7904" fmla="*/ 195295 h 6072780"/>
                <a:gd name="connsiteX7905" fmla="*/ 11240237 w 12117871"/>
                <a:gd name="connsiteY7905" fmla="*/ 112995 h 6072780"/>
                <a:gd name="connsiteX7906" fmla="*/ 11203074 w 12117871"/>
                <a:gd name="connsiteY7906" fmla="*/ 27835 h 6072780"/>
                <a:gd name="connsiteX7907" fmla="*/ 9955555 w 12117871"/>
                <a:gd name="connsiteY7907" fmla="*/ 27835 h 6072780"/>
                <a:gd name="connsiteX7908" fmla="*/ 9916285 w 12117871"/>
                <a:gd name="connsiteY7908" fmla="*/ 114349 h 6072780"/>
                <a:gd name="connsiteX7909" fmla="*/ 9954803 w 12117871"/>
                <a:gd name="connsiteY7909" fmla="*/ 195295 h 6072780"/>
                <a:gd name="connsiteX7910" fmla="*/ 9992718 w 12117871"/>
                <a:gd name="connsiteY7910" fmla="*/ 112995 h 6072780"/>
                <a:gd name="connsiteX7911" fmla="*/ 9955555 w 12117871"/>
                <a:gd name="connsiteY7911" fmla="*/ 27835 h 6072780"/>
                <a:gd name="connsiteX7912" fmla="*/ 9736111 w 12117871"/>
                <a:gd name="connsiteY7912" fmla="*/ 27835 h 6072780"/>
                <a:gd name="connsiteX7913" fmla="*/ 9696841 w 12117871"/>
                <a:gd name="connsiteY7913" fmla="*/ 114349 h 6072780"/>
                <a:gd name="connsiteX7914" fmla="*/ 9735359 w 12117871"/>
                <a:gd name="connsiteY7914" fmla="*/ 195295 h 6072780"/>
                <a:gd name="connsiteX7915" fmla="*/ 9773274 w 12117871"/>
                <a:gd name="connsiteY7915" fmla="*/ 112995 h 6072780"/>
                <a:gd name="connsiteX7916" fmla="*/ 9736111 w 12117871"/>
                <a:gd name="connsiteY7916" fmla="*/ 27835 h 6072780"/>
                <a:gd name="connsiteX7917" fmla="*/ 6381466 w 12117871"/>
                <a:gd name="connsiteY7917" fmla="*/ 27835 h 6072780"/>
                <a:gd name="connsiteX7918" fmla="*/ 6342196 w 12117871"/>
                <a:gd name="connsiteY7918" fmla="*/ 114349 h 6072780"/>
                <a:gd name="connsiteX7919" fmla="*/ 6380714 w 12117871"/>
                <a:gd name="connsiteY7919" fmla="*/ 195295 h 6072780"/>
                <a:gd name="connsiteX7920" fmla="*/ 6418629 w 12117871"/>
                <a:gd name="connsiteY7920" fmla="*/ 112995 h 6072780"/>
                <a:gd name="connsiteX7921" fmla="*/ 6381466 w 12117871"/>
                <a:gd name="connsiteY7921" fmla="*/ 27835 h 6072780"/>
                <a:gd name="connsiteX7922" fmla="*/ 5846380 w 12117871"/>
                <a:gd name="connsiteY7922" fmla="*/ 27835 h 6072780"/>
                <a:gd name="connsiteX7923" fmla="*/ 5807110 w 12117871"/>
                <a:gd name="connsiteY7923" fmla="*/ 114349 h 6072780"/>
                <a:gd name="connsiteX7924" fmla="*/ 5845628 w 12117871"/>
                <a:gd name="connsiteY7924" fmla="*/ 195295 h 6072780"/>
                <a:gd name="connsiteX7925" fmla="*/ 5883543 w 12117871"/>
                <a:gd name="connsiteY7925" fmla="*/ 112995 h 6072780"/>
                <a:gd name="connsiteX7926" fmla="*/ 5846380 w 12117871"/>
                <a:gd name="connsiteY7926" fmla="*/ 27835 h 6072780"/>
                <a:gd name="connsiteX7927" fmla="*/ 5148730 w 12117871"/>
                <a:gd name="connsiteY7927" fmla="*/ 27835 h 6072780"/>
                <a:gd name="connsiteX7928" fmla="*/ 5109460 w 12117871"/>
                <a:gd name="connsiteY7928" fmla="*/ 114349 h 6072780"/>
                <a:gd name="connsiteX7929" fmla="*/ 5147978 w 12117871"/>
                <a:gd name="connsiteY7929" fmla="*/ 195295 h 6072780"/>
                <a:gd name="connsiteX7930" fmla="*/ 5185893 w 12117871"/>
                <a:gd name="connsiteY7930" fmla="*/ 112995 h 6072780"/>
                <a:gd name="connsiteX7931" fmla="*/ 5148730 w 12117871"/>
                <a:gd name="connsiteY7931" fmla="*/ 27835 h 6072780"/>
                <a:gd name="connsiteX7932" fmla="*/ 3896993 w 12117871"/>
                <a:gd name="connsiteY7932" fmla="*/ 27835 h 6072780"/>
                <a:gd name="connsiteX7933" fmla="*/ 3857723 w 12117871"/>
                <a:gd name="connsiteY7933" fmla="*/ 114349 h 6072780"/>
                <a:gd name="connsiteX7934" fmla="*/ 3896240 w 12117871"/>
                <a:gd name="connsiteY7934" fmla="*/ 195295 h 6072780"/>
                <a:gd name="connsiteX7935" fmla="*/ 3934156 w 12117871"/>
                <a:gd name="connsiteY7935" fmla="*/ 112995 h 6072780"/>
                <a:gd name="connsiteX7936" fmla="*/ 3896993 w 12117871"/>
                <a:gd name="connsiteY7936" fmla="*/ 27835 h 6072780"/>
                <a:gd name="connsiteX7937" fmla="*/ 3672329 w 12117871"/>
                <a:gd name="connsiteY7937" fmla="*/ 27835 h 6072780"/>
                <a:gd name="connsiteX7938" fmla="*/ 3633059 w 12117871"/>
                <a:gd name="connsiteY7938" fmla="*/ 114349 h 6072780"/>
                <a:gd name="connsiteX7939" fmla="*/ 3671576 w 12117871"/>
                <a:gd name="connsiteY7939" fmla="*/ 195295 h 6072780"/>
                <a:gd name="connsiteX7940" fmla="*/ 3709492 w 12117871"/>
                <a:gd name="connsiteY7940" fmla="*/ 112995 h 6072780"/>
                <a:gd name="connsiteX7941" fmla="*/ 3672329 w 12117871"/>
                <a:gd name="connsiteY7941" fmla="*/ 27835 h 6072780"/>
                <a:gd name="connsiteX7942" fmla="*/ 310214 w 12117871"/>
                <a:gd name="connsiteY7942" fmla="*/ 27835 h 6072780"/>
                <a:gd name="connsiteX7943" fmla="*/ 270944 w 12117871"/>
                <a:gd name="connsiteY7943" fmla="*/ 114349 h 6072780"/>
                <a:gd name="connsiteX7944" fmla="*/ 309462 w 12117871"/>
                <a:gd name="connsiteY7944" fmla="*/ 195295 h 6072780"/>
                <a:gd name="connsiteX7945" fmla="*/ 347377 w 12117871"/>
                <a:gd name="connsiteY7945" fmla="*/ 112995 h 6072780"/>
                <a:gd name="connsiteX7946" fmla="*/ 310214 w 12117871"/>
                <a:gd name="connsiteY7946" fmla="*/ 27835 h 6072780"/>
                <a:gd name="connsiteX7947" fmla="*/ 12102965 w 12117871"/>
                <a:gd name="connsiteY7947" fmla="*/ 0 h 6072780"/>
                <a:gd name="connsiteX7948" fmla="*/ 12117871 w 12117871"/>
                <a:gd name="connsiteY7948" fmla="*/ 0 h 6072780"/>
                <a:gd name="connsiteX7949" fmla="*/ 12117871 w 12117871"/>
                <a:gd name="connsiteY7949" fmla="*/ 222980 h 6072780"/>
                <a:gd name="connsiteX7950" fmla="*/ 12082583 w 12117871"/>
                <a:gd name="connsiteY7950" fmla="*/ 222980 h 6072780"/>
                <a:gd name="connsiteX7951" fmla="*/ 12082583 w 12117871"/>
                <a:gd name="connsiteY7951" fmla="*/ 43196 h 6072780"/>
                <a:gd name="connsiteX7952" fmla="*/ 12061974 w 12117871"/>
                <a:gd name="connsiteY7952" fmla="*/ 54832 h 6072780"/>
                <a:gd name="connsiteX7953" fmla="*/ 12036801 w 12117871"/>
                <a:gd name="connsiteY7953" fmla="*/ 63274 h 6072780"/>
                <a:gd name="connsiteX7954" fmla="*/ 12036801 w 12117871"/>
                <a:gd name="connsiteY7954" fmla="*/ 33158 h 6072780"/>
                <a:gd name="connsiteX7955" fmla="*/ 12053836 w 12117871"/>
                <a:gd name="connsiteY7955" fmla="*/ 27074 h 6072780"/>
                <a:gd name="connsiteX7956" fmla="*/ 12070035 w 12117871"/>
                <a:gd name="connsiteY7956" fmla="*/ 19925 h 6072780"/>
                <a:gd name="connsiteX7957" fmla="*/ 12086158 w 12117871"/>
                <a:gd name="connsiteY7957" fmla="*/ 11103 h 6072780"/>
                <a:gd name="connsiteX7958" fmla="*/ 12102965 w 12117871"/>
                <a:gd name="connsiteY7958" fmla="*/ 0 h 6072780"/>
                <a:gd name="connsiteX7959" fmla="*/ 11911291 w 12117871"/>
                <a:gd name="connsiteY7959" fmla="*/ 0 h 6072780"/>
                <a:gd name="connsiteX7960" fmla="*/ 11982458 w 12117871"/>
                <a:gd name="connsiteY7960" fmla="*/ 110587 h 6072780"/>
                <a:gd name="connsiteX7961" fmla="*/ 11962372 w 12117871"/>
                <a:gd name="connsiteY7961" fmla="*/ 194167 h 6072780"/>
                <a:gd name="connsiteX7962" fmla="*/ 11906175 w 12117871"/>
                <a:gd name="connsiteY7962" fmla="*/ 222980 h 6072780"/>
                <a:gd name="connsiteX7963" fmla="*/ 11853590 w 12117871"/>
                <a:gd name="connsiteY7963" fmla="*/ 195446 h 6072780"/>
                <a:gd name="connsiteX7964" fmla="*/ 11834707 w 12117871"/>
                <a:gd name="connsiteY7964" fmla="*/ 115854 h 6072780"/>
                <a:gd name="connsiteX7965" fmla="*/ 11854417 w 12117871"/>
                <a:gd name="connsiteY7965" fmla="*/ 29339 h 6072780"/>
                <a:gd name="connsiteX7966" fmla="*/ 11911291 w 12117871"/>
                <a:gd name="connsiteY7966" fmla="*/ 0 h 6072780"/>
                <a:gd name="connsiteX7967" fmla="*/ 11204729 w 12117871"/>
                <a:gd name="connsiteY7967" fmla="*/ 0 h 6072780"/>
                <a:gd name="connsiteX7968" fmla="*/ 11275896 w 12117871"/>
                <a:gd name="connsiteY7968" fmla="*/ 110587 h 6072780"/>
                <a:gd name="connsiteX7969" fmla="*/ 11255810 w 12117871"/>
                <a:gd name="connsiteY7969" fmla="*/ 194167 h 6072780"/>
                <a:gd name="connsiteX7970" fmla="*/ 11199613 w 12117871"/>
                <a:gd name="connsiteY7970" fmla="*/ 222980 h 6072780"/>
                <a:gd name="connsiteX7971" fmla="*/ 11147028 w 12117871"/>
                <a:gd name="connsiteY7971" fmla="*/ 195446 h 6072780"/>
                <a:gd name="connsiteX7972" fmla="*/ 11128145 w 12117871"/>
                <a:gd name="connsiteY7972" fmla="*/ 115854 h 6072780"/>
                <a:gd name="connsiteX7973" fmla="*/ 11147855 w 12117871"/>
                <a:gd name="connsiteY7973" fmla="*/ 29339 h 6072780"/>
                <a:gd name="connsiteX7974" fmla="*/ 11204729 w 12117871"/>
                <a:gd name="connsiteY7974" fmla="*/ 0 h 6072780"/>
                <a:gd name="connsiteX7975" fmla="*/ 10831011 w 12117871"/>
                <a:gd name="connsiteY7975" fmla="*/ 0 h 6072780"/>
                <a:gd name="connsiteX7976" fmla="*/ 10845917 w 12117871"/>
                <a:gd name="connsiteY7976" fmla="*/ 0 h 6072780"/>
                <a:gd name="connsiteX7977" fmla="*/ 10845917 w 12117871"/>
                <a:gd name="connsiteY7977" fmla="*/ 222980 h 6072780"/>
                <a:gd name="connsiteX7978" fmla="*/ 10810629 w 12117871"/>
                <a:gd name="connsiteY7978" fmla="*/ 222980 h 6072780"/>
                <a:gd name="connsiteX7979" fmla="*/ 10810629 w 12117871"/>
                <a:gd name="connsiteY7979" fmla="*/ 43196 h 6072780"/>
                <a:gd name="connsiteX7980" fmla="*/ 10790020 w 12117871"/>
                <a:gd name="connsiteY7980" fmla="*/ 54832 h 6072780"/>
                <a:gd name="connsiteX7981" fmla="*/ 10764847 w 12117871"/>
                <a:gd name="connsiteY7981" fmla="*/ 63274 h 6072780"/>
                <a:gd name="connsiteX7982" fmla="*/ 10764847 w 12117871"/>
                <a:gd name="connsiteY7982" fmla="*/ 33158 h 6072780"/>
                <a:gd name="connsiteX7983" fmla="*/ 10781882 w 12117871"/>
                <a:gd name="connsiteY7983" fmla="*/ 27074 h 6072780"/>
                <a:gd name="connsiteX7984" fmla="*/ 10798081 w 12117871"/>
                <a:gd name="connsiteY7984" fmla="*/ 19925 h 6072780"/>
                <a:gd name="connsiteX7985" fmla="*/ 10814204 w 12117871"/>
                <a:gd name="connsiteY7985" fmla="*/ 11103 h 6072780"/>
                <a:gd name="connsiteX7986" fmla="*/ 10831011 w 12117871"/>
                <a:gd name="connsiteY7986" fmla="*/ 0 h 6072780"/>
                <a:gd name="connsiteX7987" fmla="*/ 10458803 w 12117871"/>
                <a:gd name="connsiteY7987" fmla="*/ 0 h 6072780"/>
                <a:gd name="connsiteX7988" fmla="*/ 10473709 w 12117871"/>
                <a:gd name="connsiteY7988" fmla="*/ 0 h 6072780"/>
                <a:gd name="connsiteX7989" fmla="*/ 10473709 w 12117871"/>
                <a:gd name="connsiteY7989" fmla="*/ 222980 h 6072780"/>
                <a:gd name="connsiteX7990" fmla="*/ 10438421 w 12117871"/>
                <a:gd name="connsiteY7990" fmla="*/ 222980 h 6072780"/>
                <a:gd name="connsiteX7991" fmla="*/ 10438421 w 12117871"/>
                <a:gd name="connsiteY7991" fmla="*/ 43196 h 6072780"/>
                <a:gd name="connsiteX7992" fmla="*/ 10417812 w 12117871"/>
                <a:gd name="connsiteY7992" fmla="*/ 54832 h 6072780"/>
                <a:gd name="connsiteX7993" fmla="*/ 10392639 w 12117871"/>
                <a:gd name="connsiteY7993" fmla="*/ 63274 h 6072780"/>
                <a:gd name="connsiteX7994" fmla="*/ 10392639 w 12117871"/>
                <a:gd name="connsiteY7994" fmla="*/ 33158 h 6072780"/>
                <a:gd name="connsiteX7995" fmla="*/ 10409674 w 12117871"/>
                <a:gd name="connsiteY7995" fmla="*/ 27074 h 6072780"/>
                <a:gd name="connsiteX7996" fmla="*/ 10425873 w 12117871"/>
                <a:gd name="connsiteY7996" fmla="*/ 19925 h 6072780"/>
                <a:gd name="connsiteX7997" fmla="*/ 10441996 w 12117871"/>
                <a:gd name="connsiteY7997" fmla="*/ 11103 h 6072780"/>
                <a:gd name="connsiteX7998" fmla="*/ 10458803 w 12117871"/>
                <a:gd name="connsiteY7998" fmla="*/ 0 h 6072780"/>
                <a:gd name="connsiteX7999" fmla="*/ 10171587 w 12117871"/>
                <a:gd name="connsiteY7999" fmla="*/ 0 h 6072780"/>
                <a:gd name="connsiteX8000" fmla="*/ 10186493 w 12117871"/>
                <a:gd name="connsiteY8000" fmla="*/ 0 h 6072780"/>
                <a:gd name="connsiteX8001" fmla="*/ 10186493 w 12117871"/>
                <a:gd name="connsiteY8001" fmla="*/ 222980 h 6072780"/>
                <a:gd name="connsiteX8002" fmla="*/ 10151205 w 12117871"/>
                <a:gd name="connsiteY8002" fmla="*/ 222980 h 6072780"/>
                <a:gd name="connsiteX8003" fmla="*/ 10151205 w 12117871"/>
                <a:gd name="connsiteY8003" fmla="*/ 43196 h 6072780"/>
                <a:gd name="connsiteX8004" fmla="*/ 10130596 w 12117871"/>
                <a:gd name="connsiteY8004" fmla="*/ 54832 h 6072780"/>
                <a:gd name="connsiteX8005" fmla="*/ 10105423 w 12117871"/>
                <a:gd name="connsiteY8005" fmla="*/ 63274 h 6072780"/>
                <a:gd name="connsiteX8006" fmla="*/ 10105423 w 12117871"/>
                <a:gd name="connsiteY8006" fmla="*/ 33158 h 6072780"/>
                <a:gd name="connsiteX8007" fmla="*/ 10122458 w 12117871"/>
                <a:gd name="connsiteY8007" fmla="*/ 27074 h 6072780"/>
                <a:gd name="connsiteX8008" fmla="*/ 10138657 w 12117871"/>
                <a:gd name="connsiteY8008" fmla="*/ 19925 h 6072780"/>
                <a:gd name="connsiteX8009" fmla="*/ 10154780 w 12117871"/>
                <a:gd name="connsiteY8009" fmla="*/ 11103 h 6072780"/>
                <a:gd name="connsiteX8010" fmla="*/ 10171587 w 12117871"/>
                <a:gd name="connsiteY8010" fmla="*/ 0 h 6072780"/>
                <a:gd name="connsiteX8011" fmla="*/ 9957210 w 12117871"/>
                <a:gd name="connsiteY8011" fmla="*/ 0 h 6072780"/>
                <a:gd name="connsiteX8012" fmla="*/ 10028377 w 12117871"/>
                <a:gd name="connsiteY8012" fmla="*/ 110587 h 6072780"/>
                <a:gd name="connsiteX8013" fmla="*/ 10008291 w 12117871"/>
                <a:gd name="connsiteY8013" fmla="*/ 194167 h 6072780"/>
                <a:gd name="connsiteX8014" fmla="*/ 9952094 w 12117871"/>
                <a:gd name="connsiteY8014" fmla="*/ 222980 h 6072780"/>
                <a:gd name="connsiteX8015" fmla="*/ 9899509 w 12117871"/>
                <a:gd name="connsiteY8015" fmla="*/ 195446 h 6072780"/>
                <a:gd name="connsiteX8016" fmla="*/ 9880626 w 12117871"/>
                <a:gd name="connsiteY8016" fmla="*/ 115854 h 6072780"/>
                <a:gd name="connsiteX8017" fmla="*/ 9900336 w 12117871"/>
                <a:gd name="connsiteY8017" fmla="*/ 29339 h 6072780"/>
                <a:gd name="connsiteX8018" fmla="*/ 9957210 w 12117871"/>
                <a:gd name="connsiteY8018" fmla="*/ 0 h 6072780"/>
                <a:gd name="connsiteX8019" fmla="*/ 9737766 w 12117871"/>
                <a:gd name="connsiteY8019" fmla="*/ 0 h 6072780"/>
                <a:gd name="connsiteX8020" fmla="*/ 9808933 w 12117871"/>
                <a:gd name="connsiteY8020" fmla="*/ 110587 h 6072780"/>
                <a:gd name="connsiteX8021" fmla="*/ 9788847 w 12117871"/>
                <a:gd name="connsiteY8021" fmla="*/ 194167 h 6072780"/>
                <a:gd name="connsiteX8022" fmla="*/ 9732650 w 12117871"/>
                <a:gd name="connsiteY8022" fmla="*/ 222980 h 6072780"/>
                <a:gd name="connsiteX8023" fmla="*/ 9680065 w 12117871"/>
                <a:gd name="connsiteY8023" fmla="*/ 195446 h 6072780"/>
                <a:gd name="connsiteX8024" fmla="*/ 9661182 w 12117871"/>
                <a:gd name="connsiteY8024" fmla="*/ 115854 h 6072780"/>
                <a:gd name="connsiteX8025" fmla="*/ 9680892 w 12117871"/>
                <a:gd name="connsiteY8025" fmla="*/ 29339 h 6072780"/>
                <a:gd name="connsiteX8026" fmla="*/ 9737766 w 12117871"/>
                <a:gd name="connsiteY8026" fmla="*/ 0 h 6072780"/>
                <a:gd name="connsiteX8027" fmla="*/ 9570779 w 12117871"/>
                <a:gd name="connsiteY8027" fmla="*/ 0 h 6072780"/>
                <a:gd name="connsiteX8028" fmla="*/ 9585685 w 12117871"/>
                <a:gd name="connsiteY8028" fmla="*/ 0 h 6072780"/>
                <a:gd name="connsiteX8029" fmla="*/ 9585685 w 12117871"/>
                <a:gd name="connsiteY8029" fmla="*/ 222980 h 6072780"/>
                <a:gd name="connsiteX8030" fmla="*/ 9550397 w 12117871"/>
                <a:gd name="connsiteY8030" fmla="*/ 222980 h 6072780"/>
                <a:gd name="connsiteX8031" fmla="*/ 9550397 w 12117871"/>
                <a:gd name="connsiteY8031" fmla="*/ 43196 h 6072780"/>
                <a:gd name="connsiteX8032" fmla="*/ 9529788 w 12117871"/>
                <a:gd name="connsiteY8032" fmla="*/ 54832 h 6072780"/>
                <a:gd name="connsiteX8033" fmla="*/ 9504615 w 12117871"/>
                <a:gd name="connsiteY8033" fmla="*/ 63274 h 6072780"/>
                <a:gd name="connsiteX8034" fmla="*/ 9504615 w 12117871"/>
                <a:gd name="connsiteY8034" fmla="*/ 33158 h 6072780"/>
                <a:gd name="connsiteX8035" fmla="*/ 9521650 w 12117871"/>
                <a:gd name="connsiteY8035" fmla="*/ 27074 h 6072780"/>
                <a:gd name="connsiteX8036" fmla="*/ 9537849 w 12117871"/>
                <a:gd name="connsiteY8036" fmla="*/ 19925 h 6072780"/>
                <a:gd name="connsiteX8037" fmla="*/ 9553972 w 12117871"/>
                <a:gd name="connsiteY8037" fmla="*/ 11103 h 6072780"/>
                <a:gd name="connsiteX8038" fmla="*/ 9570779 w 12117871"/>
                <a:gd name="connsiteY8038" fmla="*/ 0 h 6072780"/>
                <a:gd name="connsiteX8039" fmla="*/ 9283563 w 12117871"/>
                <a:gd name="connsiteY8039" fmla="*/ 0 h 6072780"/>
                <a:gd name="connsiteX8040" fmla="*/ 9298469 w 12117871"/>
                <a:gd name="connsiteY8040" fmla="*/ 0 h 6072780"/>
                <a:gd name="connsiteX8041" fmla="*/ 9298469 w 12117871"/>
                <a:gd name="connsiteY8041" fmla="*/ 222980 h 6072780"/>
                <a:gd name="connsiteX8042" fmla="*/ 9263181 w 12117871"/>
                <a:gd name="connsiteY8042" fmla="*/ 222980 h 6072780"/>
                <a:gd name="connsiteX8043" fmla="*/ 9263181 w 12117871"/>
                <a:gd name="connsiteY8043" fmla="*/ 43196 h 6072780"/>
                <a:gd name="connsiteX8044" fmla="*/ 9242572 w 12117871"/>
                <a:gd name="connsiteY8044" fmla="*/ 54832 h 6072780"/>
                <a:gd name="connsiteX8045" fmla="*/ 9217399 w 12117871"/>
                <a:gd name="connsiteY8045" fmla="*/ 63274 h 6072780"/>
                <a:gd name="connsiteX8046" fmla="*/ 9217399 w 12117871"/>
                <a:gd name="connsiteY8046" fmla="*/ 33158 h 6072780"/>
                <a:gd name="connsiteX8047" fmla="*/ 9234434 w 12117871"/>
                <a:gd name="connsiteY8047" fmla="*/ 27074 h 6072780"/>
                <a:gd name="connsiteX8048" fmla="*/ 9250633 w 12117871"/>
                <a:gd name="connsiteY8048" fmla="*/ 19925 h 6072780"/>
                <a:gd name="connsiteX8049" fmla="*/ 9266756 w 12117871"/>
                <a:gd name="connsiteY8049" fmla="*/ 11103 h 6072780"/>
                <a:gd name="connsiteX8050" fmla="*/ 9283563 w 12117871"/>
                <a:gd name="connsiteY8050" fmla="*/ 0 h 6072780"/>
                <a:gd name="connsiteX8051" fmla="*/ 8893772 w 12117871"/>
                <a:gd name="connsiteY8051" fmla="*/ 0 h 6072780"/>
                <a:gd name="connsiteX8052" fmla="*/ 8908678 w 12117871"/>
                <a:gd name="connsiteY8052" fmla="*/ 0 h 6072780"/>
                <a:gd name="connsiteX8053" fmla="*/ 8908678 w 12117871"/>
                <a:gd name="connsiteY8053" fmla="*/ 222980 h 6072780"/>
                <a:gd name="connsiteX8054" fmla="*/ 8873390 w 12117871"/>
                <a:gd name="connsiteY8054" fmla="*/ 222980 h 6072780"/>
                <a:gd name="connsiteX8055" fmla="*/ 8873390 w 12117871"/>
                <a:gd name="connsiteY8055" fmla="*/ 43196 h 6072780"/>
                <a:gd name="connsiteX8056" fmla="*/ 8852781 w 12117871"/>
                <a:gd name="connsiteY8056" fmla="*/ 54832 h 6072780"/>
                <a:gd name="connsiteX8057" fmla="*/ 8827608 w 12117871"/>
                <a:gd name="connsiteY8057" fmla="*/ 63274 h 6072780"/>
                <a:gd name="connsiteX8058" fmla="*/ 8827608 w 12117871"/>
                <a:gd name="connsiteY8058" fmla="*/ 33158 h 6072780"/>
                <a:gd name="connsiteX8059" fmla="*/ 8844643 w 12117871"/>
                <a:gd name="connsiteY8059" fmla="*/ 27074 h 6072780"/>
                <a:gd name="connsiteX8060" fmla="*/ 8860842 w 12117871"/>
                <a:gd name="connsiteY8060" fmla="*/ 19925 h 6072780"/>
                <a:gd name="connsiteX8061" fmla="*/ 8876965 w 12117871"/>
                <a:gd name="connsiteY8061" fmla="*/ 11103 h 6072780"/>
                <a:gd name="connsiteX8062" fmla="*/ 8893772 w 12117871"/>
                <a:gd name="connsiteY8062" fmla="*/ 0 h 6072780"/>
                <a:gd name="connsiteX8063" fmla="*/ 8750164 w 12117871"/>
                <a:gd name="connsiteY8063" fmla="*/ 0 h 6072780"/>
                <a:gd name="connsiteX8064" fmla="*/ 8765070 w 12117871"/>
                <a:gd name="connsiteY8064" fmla="*/ 0 h 6072780"/>
                <a:gd name="connsiteX8065" fmla="*/ 8765070 w 12117871"/>
                <a:gd name="connsiteY8065" fmla="*/ 222980 h 6072780"/>
                <a:gd name="connsiteX8066" fmla="*/ 8729782 w 12117871"/>
                <a:gd name="connsiteY8066" fmla="*/ 222980 h 6072780"/>
                <a:gd name="connsiteX8067" fmla="*/ 8729782 w 12117871"/>
                <a:gd name="connsiteY8067" fmla="*/ 43196 h 6072780"/>
                <a:gd name="connsiteX8068" fmla="*/ 8709173 w 12117871"/>
                <a:gd name="connsiteY8068" fmla="*/ 54832 h 6072780"/>
                <a:gd name="connsiteX8069" fmla="*/ 8684000 w 12117871"/>
                <a:gd name="connsiteY8069" fmla="*/ 63274 h 6072780"/>
                <a:gd name="connsiteX8070" fmla="*/ 8684000 w 12117871"/>
                <a:gd name="connsiteY8070" fmla="*/ 33158 h 6072780"/>
                <a:gd name="connsiteX8071" fmla="*/ 8701035 w 12117871"/>
                <a:gd name="connsiteY8071" fmla="*/ 27074 h 6072780"/>
                <a:gd name="connsiteX8072" fmla="*/ 8717234 w 12117871"/>
                <a:gd name="connsiteY8072" fmla="*/ 19925 h 6072780"/>
                <a:gd name="connsiteX8073" fmla="*/ 8733357 w 12117871"/>
                <a:gd name="connsiteY8073" fmla="*/ 11103 h 6072780"/>
                <a:gd name="connsiteX8074" fmla="*/ 8750164 w 12117871"/>
                <a:gd name="connsiteY8074" fmla="*/ 0 h 6072780"/>
                <a:gd name="connsiteX8075" fmla="*/ 8606556 w 12117871"/>
                <a:gd name="connsiteY8075" fmla="*/ 0 h 6072780"/>
                <a:gd name="connsiteX8076" fmla="*/ 8621462 w 12117871"/>
                <a:gd name="connsiteY8076" fmla="*/ 0 h 6072780"/>
                <a:gd name="connsiteX8077" fmla="*/ 8621462 w 12117871"/>
                <a:gd name="connsiteY8077" fmla="*/ 222980 h 6072780"/>
                <a:gd name="connsiteX8078" fmla="*/ 8586174 w 12117871"/>
                <a:gd name="connsiteY8078" fmla="*/ 222980 h 6072780"/>
                <a:gd name="connsiteX8079" fmla="*/ 8586174 w 12117871"/>
                <a:gd name="connsiteY8079" fmla="*/ 43196 h 6072780"/>
                <a:gd name="connsiteX8080" fmla="*/ 8565565 w 12117871"/>
                <a:gd name="connsiteY8080" fmla="*/ 54832 h 6072780"/>
                <a:gd name="connsiteX8081" fmla="*/ 8540392 w 12117871"/>
                <a:gd name="connsiteY8081" fmla="*/ 63274 h 6072780"/>
                <a:gd name="connsiteX8082" fmla="*/ 8540392 w 12117871"/>
                <a:gd name="connsiteY8082" fmla="*/ 33158 h 6072780"/>
                <a:gd name="connsiteX8083" fmla="*/ 8557427 w 12117871"/>
                <a:gd name="connsiteY8083" fmla="*/ 27074 h 6072780"/>
                <a:gd name="connsiteX8084" fmla="*/ 8573626 w 12117871"/>
                <a:gd name="connsiteY8084" fmla="*/ 19925 h 6072780"/>
                <a:gd name="connsiteX8085" fmla="*/ 8589749 w 12117871"/>
                <a:gd name="connsiteY8085" fmla="*/ 11103 h 6072780"/>
                <a:gd name="connsiteX8086" fmla="*/ 8606556 w 12117871"/>
                <a:gd name="connsiteY8086" fmla="*/ 0 h 6072780"/>
                <a:gd name="connsiteX8087" fmla="*/ 7844555 w 12117871"/>
                <a:gd name="connsiteY8087" fmla="*/ 0 h 6072780"/>
                <a:gd name="connsiteX8088" fmla="*/ 7859462 w 12117871"/>
                <a:gd name="connsiteY8088" fmla="*/ 0 h 6072780"/>
                <a:gd name="connsiteX8089" fmla="*/ 7859462 w 12117871"/>
                <a:gd name="connsiteY8089" fmla="*/ 222980 h 6072780"/>
                <a:gd name="connsiteX8090" fmla="*/ 7824174 w 12117871"/>
                <a:gd name="connsiteY8090" fmla="*/ 222980 h 6072780"/>
                <a:gd name="connsiteX8091" fmla="*/ 7824174 w 12117871"/>
                <a:gd name="connsiteY8091" fmla="*/ 43196 h 6072780"/>
                <a:gd name="connsiteX8092" fmla="*/ 7803564 w 12117871"/>
                <a:gd name="connsiteY8092" fmla="*/ 54832 h 6072780"/>
                <a:gd name="connsiteX8093" fmla="*/ 7778392 w 12117871"/>
                <a:gd name="connsiteY8093" fmla="*/ 63274 h 6072780"/>
                <a:gd name="connsiteX8094" fmla="*/ 7778392 w 12117871"/>
                <a:gd name="connsiteY8094" fmla="*/ 33158 h 6072780"/>
                <a:gd name="connsiteX8095" fmla="*/ 7795427 w 12117871"/>
                <a:gd name="connsiteY8095" fmla="*/ 27074 h 6072780"/>
                <a:gd name="connsiteX8096" fmla="*/ 7811626 w 12117871"/>
                <a:gd name="connsiteY8096" fmla="*/ 19925 h 6072780"/>
                <a:gd name="connsiteX8097" fmla="*/ 7827748 w 12117871"/>
                <a:gd name="connsiteY8097" fmla="*/ 11103 h 6072780"/>
                <a:gd name="connsiteX8098" fmla="*/ 7844555 w 12117871"/>
                <a:gd name="connsiteY8098" fmla="*/ 0 h 6072780"/>
                <a:gd name="connsiteX8099" fmla="*/ 7700947 w 12117871"/>
                <a:gd name="connsiteY8099" fmla="*/ 0 h 6072780"/>
                <a:gd name="connsiteX8100" fmla="*/ 7715854 w 12117871"/>
                <a:gd name="connsiteY8100" fmla="*/ 0 h 6072780"/>
                <a:gd name="connsiteX8101" fmla="*/ 7715854 w 12117871"/>
                <a:gd name="connsiteY8101" fmla="*/ 222980 h 6072780"/>
                <a:gd name="connsiteX8102" fmla="*/ 7680566 w 12117871"/>
                <a:gd name="connsiteY8102" fmla="*/ 222980 h 6072780"/>
                <a:gd name="connsiteX8103" fmla="*/ 7680566 w 12117871"/>
                <a:gd name="connsiteY8103" fmla="*/ 43196 h 6072780"/>
                <a:gd name="connsiteX8104" fmla="*/ 7659956 w 12117871"/>
                <a:gd name="connsiteY8104" fmla="*/ 54832 h 6072780"/>
                <a:gd name="connsiteX8105" fmla="*/ 7634784 w 12117871"/>
                <a:gd name="connsiteY8105" fmla="*/ 63274 h 6072780"/>
                <a:gd name="connsiteX8106" fmla="*/ 7634784 w 12117871"/>
                <a:gd name="connsiteY8106" fmla="*/ 33158 h 6072780"/>
                <a:gd name="connsiteX8107" fmla="*/ 7651819 w 12117871"/>
                <a:gd name="connsiteY8107" fmla="*/ 27074 h 6072780"/>
                <a:gd name="connsiteX8108" fmla="*/ 7668018 w 12117871"/>
                <a:gd name="connsiteY8108" fmla="*/ 19925 h 6072780"/>
                <a:gd name="connsiteX8109" fmla="*/ 7684140 w 12117871"/>
                <a:gd name="connsiteY8109" fmla="*/ 11103 h 6072780"/>
                <a:gd name="connsiteX8110" fmla="*/ 7700947 w 12117871"/>
                <a:gd name="connsiteY8110" fmla="*/ 0 h 6072780"/>
                <a:gd name="connsiteX8111" fmla="*/ 7413731 w 12117871"/>
                <a:gd name="connsiteY8111" fmla="*/ 0 h 6072780"/>
                <a:gd name="connsiteX8112" fmla="*/ 7428638 w 12117871"/>
                <a:gd name="connsiteY8112" fmla="*/ 0 h 6072780"/>
                <a:gd name="connsiteX8113" fmla="*/ 7428638 w 12117871"/>
                <a:gd name="connsiteY8113" fmla="*/ 222980 h 6072780"/>
                <a:gd name="connsiteX8114" fmla="*/ 7393350 w 12117871"/>
                <a:gd name="connsiteY8114" fmla="*/ 222980 h 6072780"/>
                <a:gd name="connsiteX8115" fmla="*/ 7393350 w 12117871"/>
                <a:gd name="connsiteY8115" fmla="*/ 43196 h 6072780"/>
                <a:gd name="connsiteX8116" fmla="*/ 7372740 w 12117871"/>
                <a:gd name="connsiteY8116" fmla="*/ 54832 h 6072780"/>
                <a:gd name="connsiteX8117" fmla="*/ 7347568 w 12117871"/>
                <a:gd name="connsiteY8117" fmla="*/ 63274 h 6072780"/>
                <a:gd name="connsiteX8118" fmla="*/ 7347568 w 12117871"/>
                <a:gd name="connsiteY8118" fmla="*/ 33158 h 6072780"/>
                <a:gd name="connsiteX8119" fmla="*/ 7364603 w 12117871"/>
                <a:gd name="connsiteY8119" fmla="*/ 27074 h 6072780"/>
                <a:gd name="connsiteX8120" fmla="*/ 7380802 w 12117871"/>
                <a:gd name="connsiteY8120" fmla="*/ 19925 h 6072780"/>
                <a:gd name="connsiteX8121" fmla="*/ 7396924 w 12117871"/>
                <a:gd name="connsiteY8121" fmla="*/ 11103 h 6072780"/>
                <a:gd name="connsiteX8122" fmla="*/ 7413731 w 12117871"/>
                <a:gd name="connsiteY8122" fmla="*/ 0 h 6072780"/>
                <a:gd name="connsiteX8123" fmla="*/ 7015147 w 12117871"/>
                <a:gd name="connsiteY8123" fmla="*/ 0 h 6072780"/>
                <a:gd name="connsiteX8124" fmla="*/ 7030053 w 12117871"/>
                <a:gd name="connsiteY8124" fmla="*/ 0 h 6072780"/>
                <a:gd name="connsiteX8125" fmla="*/ 7030053 w 12117871"/>
                <a:gd name="connsiteY8125" fmla="*/ 222980 h 6072780"/>
                <a:gd name="connsiteX8126" fmla="*/ 6994765 w 12117871"/>
                <a:gd name="connsiteY8126" fmla="*/ 222980 h 6072780"/>
                <a:gd name="connsiteX8127" fmla="*/ 6994765 w 12117871"/>
                <a:gd name="connsiteY8127" fmla="*/ 43196 h 6072780"/>
                <a:gd name="connsiteX8128" fmla="*/ 6974156 w 12117871"/>
                <a:gd name="connsiteY8128" fmla="*/ 54832 h 6072780"/>
                <a:gd name="connsiteX8129" fmla="*/ 6948983 w 12117871"/>
                <a:gd name="connsiteY8129" fmla="*/ 63274 h 6072780"/>
                <a:gd name="connsiteX8130" fmla="*/ 6948983 w 12117871"/>
                <a:gd name="connsiteY8130" fmla="*/ 33158 h 6072780"/>
                <a:gd name="connsiteX8131" fmla="*/ 6966018 w 12117871"/>
                <a:gd name="connsiteY8131" fmla="*/ 27074 h 6072780"/>
                <a:gd name="connsiteX8132" fmla="*/ 6982217 w 12117871"/>
                <a:gd name="connsiteY8132" fmla="*/ 19925 h 6072780"/>
                <a:gd name="connsiteX8133" fmla="*/ 6998340 w 12117871"/>
                <a:gd name="connsiteY8133" fmla="*/ 11103 h 6072780"/>
                <a:gd name="connsiteX8134" fmla="*/ 7015147 w 12117871"/>
                <a:gd name="connsiteY8134" fmla="*/ 0 h 6072780"/>
                <a:gd name="connsiteX8135" fmla="*/ 6871539 w 12117871"/>
                <a:gd name="connsiteY8135" fmla="*/ 0 h 6072780"/>
                <a:gd name="connsiteX8136" fmla="*/ 6886445 w 12117871"/>
                <a:gd name="connsiteY8136" fmla="*/ 0 h 6072780"/>
                <a:gd name="connsiteX8137" fmla="*/ 6886445 w 12117871"/>
                <a:gd name="connsiteY8137" fmla="*/ 222980 h 6072780"/>
                <a:gd name="connsiteX8138" fmla="*/ 6851157 w 12117871"/>
                <a:gd name="connsiteY8138" fmla="*/ 222980 h 6072780"/>
                <a:gd name="connsiteX8139" fmla="*/ 6851157 w 12117871"/>
                <a:gd name="connsiteY8139" fmla="*/ 43196 h 6072780"/>
                <a:gd name="connsiteX8140" fmla="*/ 6830548 w 12117871"/>
                <a:gd name="connsiteY8140" fmla="*/ 54832 h 6072780"/>
                <a:gd name="connsiteX8141" fmla="*/ 6805375 w 12117871"/>
                <a:gd name="connsiteY8141" fmla="*/ 63274 h 6072780"/>
                <a:gd name="connsiteX8142" fmla="*/ 6805375 w 12117871"/>
                <a:gd name="connsiteY8142" fmla="*/ 33158 h 6072780"/>
                <a:gd name="connsiteX8143" fmla="*/ 6822410 w 12117871"/>
                <a:gd name="connsiteY8143" fmla="*/ 27074 h 6072780"/>
                <a:gd name="connsiteX8144" fmla="*/ 6838609 w 12117871"/>
                <a:gd name="connsiteY8144" fmla="*/ 19925 h 6072780"/>
                <a:gd name="connsiteX8145" fmla="*/ 6854732 w 12117871"/>
                <a:gd name="connsiteY8145" fmla="*/ 11103 h 6072780"/>
                <a:gd name="connsiteX8146" fmla="*/ 6871539 w 12117871"/>
                <a:gd name="connsiteY8146" fmla="*/ 0 h 6072780"/>
                <a:gd name="connsiteX8147" fmla="*/ 6727931 w 12117871"/>
                <a:gd name="connsiteY8147" fmla="*/ 0 h 6072780"/>
                <a:gd name="connsiteX8148" fmla="*/ 6742837 w 12117871"/>
                <a:gd name="connsiteY8148" fmla="*/ 0 h 6072780"/>
                <a:gd name="connsiteX8149" fmla="*/ 6742837 w 12117871"/>
                <a:gd name="connsiteY8149" fmla="*/ 222980 h 6072780"/>
                <a:gd name="connsiteX8150" fmla="*/ 6707549 w 12117871"/>
                <a:gd name="connsiteY8150" fmla="*/ 222980 h 6072780"/>
                <a:gd name="connsiteX8151" fmla="*/ 6707549 w 12117871"/>
                <a:gd name="connsiteY8151" fmla="*/ 43196 h 6072780"/>
                <a:gd name="connsiteX8152" fmla="*/ 6686940 w 12117871"/>
                <a:gd name="connsiteY8152" fmla="*/ 54832 h 6072780"/>
                <a:gd name="connsiteX8153" fmla="*/ 6661767 w 12117871"/>
                <a:gd name="connsiteY8153" fmla="*/ 63274 h 6072780"/>
                <a:gd name="connsiteX8154" fmla="*/ 6661767 w 12117871"/>
                <a:gd name="connsiteY8154" fmla="*/ 33158 h 6072780"/>
                <a:gd name="connsiteX8155" fmla="*/ 6678802 w 12117871"/>
                <a:gd name="connsiteY8155" fmla="*/ 27074 h 6072780"/>
                <a:gd name="connsiteX8156" fmla="*/ 6695001 w 12117871"/>
                <a:gd name="connsiteY8156" fmla="*/ 19925 h 6072780"/>
                <a:gd name="connsiteX8157" fmla="*/ 6711124 w 12117871"/>
                <a:gd name="connsiteY8157" fmla="*/ 11103 h 6072780"/>
                <a:gd name="connsiteX8158" fmla="*/ 6727931 w 12117871"/>
                <a:gd name="connsiteY8158" fmla="*/ 0 h 6072780"/>
                <a:gd name="connsiteX8159" fmla="*/ 6584323 w 12117871"/>
                <a:gd name="connsiteY8159" fmla="*/ 0 h 6072780"/>
                <a:gd name="connsiteX8160" fmla="*/ 6599229 w 12117871"/>
                <a:gd name="connsiteY8160" fmla="*/ 0 h 6072780"/>
                <a:gd name="connsiteX8161" fmla="*/ 6599229 w 12117871"/>
                <a:gd name="connsiteY8161" fmla="*/ 222980 h 6072780"/>
                <a:gd name="connsiteX8162" fmla="*/ 6563941 w 12117871"/>
                <a:gd name="connsiteY8162" fmla="*/ 222980 h 6072780"/>
                <a:gd name="connsiteX8163" fmla="*/ 6563941 w 12117871"/>
                <a:gd name="connsiteY8163" fmla="*/ 43196 h 6072780"/>
                <a:gd name="connsiteX8164" fmla="*/ 6543332 w 12117871"/>
                <a:gd name="connsiteY8164" fmla="*/ 54832 h 6072780"/>
                <a:gd name="connsiteX8165" fmla="*/ 6518159 w 12117871"/>
                <a:gd name="connsiteY8165" fmla="*/ 63274 h 6072780"/>
                <a:gd name="connsiteX8166" fmla="*/ 6518159 w 12117871"/>
                <a:gd name="connsiteY8166" fmla="*/ 33158 h 6072780"/>
                <a:gd name="connsiteX8167" fmla="*/ 6535194 w 12117871"/>
                <a:gd name="connsiteY8167" fmla="*/ 27074 h 6072780"/>
                <a:gd name="connsiteX8168" fmla="*/ 6551393 w 12117871"/>
                <a:gd name="connsiteY8168" fmla="*/ 19925 h 6072780"/>
                <a:gd name="connsiteX8169" fmla="*/ 6567516 w 12117871"/>
                <a:gd name="connsiteY8169" fmla="*/ 11103 h 6072780"/>
                <a:gd name="connsiteX8170" fmla="*/ 6584323 w 12117871"/>
                <a:gd name="connsiteY8170" fmla="*/ 0 h 6072780"/>
                <a:gd name="connsiteX8171" fmla="*/ 6383121 w 12117871"/>
                <a:gd name="connsiteY8171" fmla="*/ 0 h 6072780"/>
                <a:gd name="connsiteX8172" fmla="*/ 6454288 w 12117871"/>
                <a:gd name="connsiteY8172" fmla="*/ 110587 h 6072780"/>
                <a:gd name="connsiteX8173" fmla="*/ 6434202 w 12117871"/>
                <a:gd name="connsiteY8173" fmla="*/ 194167 h 6072780"/>
                <a:gd name="connsiteX8174" fmla="*/ 6378005 w 12117871"/>
                <a:gd name="connsiteY8174" fmla="*/ 222980 h 6072780"/>
                <a:gd name="connsiteX8175" fmla="*/ 6325420 w 12117871"/>
                <a:gd name="connsiteY8175" fmla="*/ 195446 h 6072780"/>
                <a:gd name="connsiteX8176" fmla="*/ 6306537 w 12117871"/>
                <a:gd name="connsiteY8176" fmla="*/ 115854 h 6072780"/>
                <a:gd name="connsiteX8177" fmla="*/ 6326247 w 12117871"/>
                <a:gd name="connsiteY8177" fmla="*/ 29339 h 6072780"/>
                <a:gd name="connsiteX8178" fmla="*/ 6383121 w 12117871"/>
                <a:gd name="connsiteY8178" fmla="*/ 0 h 6072780"/>
                <a:gd name="connsiteX8179" fmla="*/ 6047993 w 12117871"/>
                <a:gd name="connsiteY8179" fmla="*/ 0 h 6072780"/>
                <a:gd name="connsiteX8180" fmla="*/ 6062899 w 12117871"/>
                <a:gd name="connsiteY8180" fmla="*/ 0 h 6072780"/>
                <a:gd name="connsiteX8181" fmla="*/ 6062899 w 12117871"/>
                <a:gd name="connsiteY8181" fmla="*/ 222980 h 6072780"/>
                <a:gd name="connsiteX8182" fmla="*/ 6027612 w 12117871"/>
                <a:gd name="connsiteY8182" fmla="*/ 222980 h 6072780"/>
                <a:gd name="connsiteX8183" fmla="*/ 6027612 w 12117871"/>
                <a:gd name="connsiteY8183" fmla="*/ 43196 h 6072780"/>
                <a:gd name="connsiteX8184" fmla="*/ 6007002 w 12117871"/>
                <a:gd name="connsiteY8184" fmla="*/ 54832 h 6072780"/>
                <a:gd name="connsiteX8185" fmla="*/ 5981830 w 12117871"/>
                <a:gd name="connsiteY8185" fmla="*/ 63274 h 6072780"/>
                <a:gd name="connsiteX8186" fmla="*/ 5981830 w 12117871"/>
                <a:gd name="connsiteY8186" fmla="*/ 33158 h 6072780"/>
                <a:gd name="connsiteX8187" fmla="*/ 5998864 w 12117871"/>
                <a:gd name="connsiteY8187" fmla="*/ 27074 h 6072780"/>
                <a:gd name="connsiteX8188" fmla="*/ 6015063 w 12117871"/>
                <a:gd name="connsiteY8188" fmla="*/ 19925 h 6072780"/>
                <a:gd name="connsiteX8189" fmla="*/ 6031186 w 12117871"/>
                <a:gd name="connsiteY8189" fmla="*/ 11103 h 6072780"/>
                <a:gd name="connsiteX8190" fmla="*/ 6047993 w 12117871"/>
                <a:gd name="connsiteY8190" fmla="*/ 0 h 6072780"/>
                <a:gd name="connsiteX8191" fmla="*/ 5848035 w 12117871"/>
                <a:gd name="connsiteY8191" fmla="*/ 0 h 6072780"/>
                <a:gd name="connsiteX8192" fmla="*/ 5919202 w 12117871"/>
                <a:gd name="connsiteY8192" fmla="*/ 110587 h 6072780"/>
                <a:gd name="connsiteX8193" fmla="*/ 5899116 w 12117871"/>
                <a:gd name="connsiteY8193" fmla="*/ 194167 h 6072780"/>
                <a:gd name="connsiteX8194" fmla="*/ 5842919 w 12117871"/>
                <a:gd name="connsiteY8194" fmla="*/ 222980 h 6072780"/>
                <a:gd name="connsiteX8195" fmla="*/ 5790334 w 12117871"/>
                <a:gd name="connsiteY8195" fmla="*/ 195446 h 6072780"/>
                <a:gd name="connsiteX8196" fmla="*/ 5771452 w 12117871"/>
                <a:gd name="connsiteY8196" fmla="*/ 115854 h 6072780"/>
                <a:gd name="connsiteX8197" fmla="*/ 5791162 w 12117871"/>
                <a:gd name="connsiteY8197" fmla="*/ 29339 h 6072780"/>
                <a:gd name="connsiteX8198" fmla="*/ 5848035 w 12117871"/>
                <a:gd name="connsiteY8198" fmla="*/ 0 h 6072780"/>
                <a:gd name="connsiteX8199" fmla="*/ 5150385 w 12117871"/>
                <a:gd name="connsiteY8199" fmla="*/ 0 h 6072780"/>
                <a:gd name="connsiteX8200" fmla="*/ 5221552 w 12117871"/>
                <a:gd name="connsiteY8200" fmla="*/ 110587 h 6072780"/>
                <a:gd name="connsiteX8201" fmla="*/ 5201466 w 12117871"/>
                <a:gd name="connsiteY8201" fmla="*/ 194167 h 6072780"/>
                <a:gd name="connsiteX8202" fmla="*/ 5145269 w 12117871"/>
                <a:gd name="connsiteY8202" fmla="*/ 222980 h 6072780"/>
                <a:gd name="connsiteX8203" fmla="*/ 5092684 w 12117871"/>
                <a:gd name="connsiteY8203" fmla="*/ 195446 h 6072780"/>
                <a:gd name="connsiteX8204" fmla="*/ 5073801 w 12117871"/>
                <a:gd name="connsiteY8204" fmla="*/ 115854 h 6072780"/>
                <a:gd name="connsiteX8205" fmla="*/ 5093512 w 12117871"/>
                <a:gd name="connsiteY8205" fmla="*/ 29339 h 6072780"/>
                <a:gd name="connsiteX8206" fmla="*/ 5150385 w 12117871"/>
                <a:gd name="connsiteY8206" fmla="*/ 0 h 6072780"/>
                <a:gd name="connsiteX8207" fmla="*/ 4776040 w 12117871"/>
                <a:gd name="connsiteY8207" fmla="*/ 0 h 6072780"/>
                <a:gd name="connsiteX8208" fmla="*/ 4790946 w 12117871"/>
                <a:gd name="connsiteY8208" fmla="*/ 0 h 6072780"/>
                <a:gd name="connsiteX8209" fmla="*/ 4790946 w 12117871"/>
                <a:gd name="connsiteY8209" fmla="*/ 222980 h 6072780"/>
                <a:gd name="connsiteX8210" fmla="*/ 4755658 w 12117871"/>
                <a:gd name="connsiteY8210" fmla="*/ 222980 h 6072780"/>
                <a:gd name="connsiteX8211" fmla="*/ 4755658 w 12117871"/>
                <a:gd name="connsiteY8211" fmla="*/ 43196 h 6072780"/>
                <a:gd name="connsiteX8212" fmla="*/ 4735049 w 12117871"/>
                <a:gd name="connsiteY8212" fmla="*/ 54832 h 6072780"/>
                <a:gd name="connsiteX8213" fmla="*/ 4709876 w 12117871"/>
                <a:gd name="connsiteY8213" fmla="*/ 63274 h 6072780"/>
                <a:gd name="connsiteX8214" fmla="*/ 4709876 w 12117871"/>
                <a:gd name="connsiteY8214" fmla="*/ 33158 h 6072780"/>
                <a:gd name="connsiteX8215" fmla="*/ 4726911 w 12117871"/>
                <a:gd name="connsiteY8215" fmla="*/ 27074 h 6072780"/>
                <a:gd name="connsiteX8216" fmla="*/ 4743110 w 12117871"/>
                <a:gd name="connsiteY8216" fmla="*/ 19925 h 6072780"/>
                <a:gd name="connsiteX8217" fmla="*/ 4759233 w 12117871"/>
                <a:gd name="connsiteY8217" fmla="*/ 11103 h 6072780"/>
                <a:gd name="connsiteX8218" fmla="*/ 4776040 w 12117871"/>
                <a:gd name="connsiteY8218" fmla="*/ 0 h 6072780"/>
                <a:gd name="connsiteX8219" fmla="*/ 4406756 w 12117871"/>
                <a:gd name="connsiteY8219" fmla="*/ 0 h 6072780"/>
                <a:gd name="connsiteX8220" fmla="*/ 4421663 w 12117871"/>
                <a:gd name="connsiteY8220" fmla="*/ 0 h 6072780"/>
                <a:gd name="connsiteX8221" fmla="*/ 4421663 w 12117871"/>
                <a:gd name="connsiteY8221" fmla="*/ 222980 h 6072780"/>
                <a:gd name="connsiteX8222" fmla="*/ 4386375 w 12117871"/>
                <a:gd name="connsiteY8222" fmla="*/ 222980 h 6072780"/>
                <a:gd name="connsiteX8223" fmla="*/ 4386375 w 12117871"/>
                <a:gd name="connsiteY8223" fmla="*/ 43196 h 6072780"/>
                <a:gd name="connsiteX8224" fmla="*/ 4365765 w 12117871"/>
                <a:gd name="connsiteY8224" fmla="*/ 54832 h 6072780"/>
                <a:gd name="connsiteX8225" fmla="*/ 4340593 w 12117871"/>
                <a:gd name="connsiteY8225" fmla="*/ 63274 h 6072780"/>
                <a:gd name="connsiteX8226" fmla="*/ 4340593 w 12117871"/>
                <a:gd name="connsiteY8226" fmla="*/ 33158 h 6072780"/>
                <a:gd name="connsiteX8227" fmla="*/ 4357628 w 12117871"/>
                <a:gd name="connsiteY8227" fmla="*/ 27074 h 6072780"/>
                <a:gd name="connsiteX8228" fmla="*/ 4373827 w 12117871"/>
                <a:gd name="connsiteY8228" fmla="*/ 19925 h 6072780"/>
                <a:gd name="connsiteX8229" fmla="*/ 4389949 w 12117871"/>
                <a:gd name="connsiteY8229" fmla="*/ 11103 h 6072780"/>
                <a:gd name="connsiteX8230" fmla="*/ 4406756 w 12117871"/>
                <a:gd name="connsiteY8230" fmla="*/ 0 h 6072780"/>
                <a:gd name="connsiteX8231" fmla="*/ 4106219 w 12117871"/>
                <a:gd name="connsiteY8231" fmla="*/ 0 h 6072780"/>
                <a:gd name="connsiteX8232" fmla="*/ 4121125 w 12117871"/>
                <a:gd name="connsiteY8232" fmla="*/ 0 h 6072780"/>
                <a:gd name="connsiteX8233" fmla="*/ 4121125 w 12117871"/>
                <a:gd name="connsiteY8233" fmla="*/ 222980 h 6072780"/>
                <a:gd name="connsiteX8234" fmla="*/ 4085837 w 12117871"/>
                <a:gd name="connsiteY8234" fmla="*/ 222980 h 6072780"/>
                <a:gd name="connsiteX8235" fmla="*/ 4085837 w 12117871"/>
                <a:gd name="connsiteY8235" fmla="*/ 43196 h 6072780"/>
                <a:gd name="connsiteX8236" fmla="*/ 4065228 w 12117871"/>
                <a:gd name="connsiteY8236" fmla="*/ 54832 h 6072780"/>
                <a:gd name="connsiteX8237" fmla="*/ 4040055 w 12117871"/>
                <a:gd name="connsiteY8237" fmla="*/ 63274 h 6072780"/>
                <a:gd name="connsiteX8238" fmla="*/ 4040055 w 12117871"/>
                <a:gd name="connsiteY8238" fmla="*/ 33158 h 6072780"/>
                <a:gd name="connsiteX8239" fmla="*/ 4057090 w 12117871"/>
                <a:gd name="connsiteY8239" fmla="*/ 27074 h 6072780"/>
                <a:gd name="connsiteX8240" fmla="*/ 4073289 w 12117871"/>
                <a:gd name="connsiteY8240" fmla="*/ 19925 h 6072780"/>
                <a:gd name="connsiteX8241" fmla="*/ 4089411 w 12117871"/>
                <a:gd name="connsiteY8241" fmla="*/ 11103 h 6072780"/>
                <a:gd name="connsiteX8242" fmla="*/ 4106219 w 12117871"/>
                <a:gd name="connsiteY8242" fmla="*/ 0 h 6072780"/>
                <a:gd name="connsiteX8243" fmla="*/ 3898647 w 12117871"/>
                <a:gd name="connsiteY8243" fmla="*/ 0 h 6072780"/>
                <a:gd name="connsiteX8244" fmla="*/ 3969815 w 12117871"/>
                <a:gd name="connsiteY8244" fmla="*/ 110587 h 6072780"/>
                <a:gd name="connsiteX8245" fmla="*/ 3949729 w 12117871"/>
                <a:gd name="connsiteY8245" fmla="*/ 194167 h 6072780"/>
                <a:gd name="connsiteX8246" fmla="*/ 3893532 w 12117871"/>
                <a:gd name="connsiteY8246" fmla="*/ 222980 h 6072780"/>
                <a:gd name="connsiteX8247" fmla="*/ 3840947 w 12117871"/>
                <a:gd name="connsiteY8247" fmla="*/ 195446 h 6072780"/>
                <a:gd name="connsiteX8248" fmla="*/ 3822064 w 12117871"/>
                <a:gd name="connsiteY8248" fmla="*/ 115854 h 6072780"/>
                <a:gd name="connsiteX8249" fmla="*/ 3841774 w 12117871"/>
                <a:gd name="connsiteY8249" fmla="*/ 29339 h 6072780"/>
                <a:gd name="connsiteX8250" fmla="*/ 3898647 w 12117871"/>
                <a:gd name="connsiteY8250" fmla="*/ 0 h 6072780"/>
                <a:gd name="connsiteX8251" fmla="*/ 3673983 w 12117871"/>
                <a:gd name="connsiteY8251" fmla="*/ 0 h 6072780"/>
                <a:gd name="connsiteX8252" fmla="*/ 3745151 w 12117871"/>
                <a:gd name="connsiteY8252" fmla="*/ 110587 h 6072780"/>
                <a:gd name="connsiteX8253" fmla="*/ 3725065 w 12117871"/>
                <a:gd name="connsiteY8253" fmla="*/ 194167 h 6072780"/>
                <a:gd name="connsiteX8254" fmla="*/ 3668868 w 12117871"/>
                <a:gd name="connsiteY8254" fmla="*/ 222980 h 6072780"/>
                <a:gd name="connsiteX8255" fmla="*/ 3616283 w 12117871"/>
                <a:gd name="connsiteY8255" fmla="*/ 195446 h 6072780"/>
                <a:gd name="connsiteX8256" fmla="*/ 3597400 w 12117871"/>
                <a:gd name="connsiteY8256" fmla="*/ 115854 h 6072780"/>
                <a:gd name="connsiteX8257" fmla="*/ 3617110 w 12117871"/>
                <a:gd name="connsiteY8257" fmla="*/ 29339 h 6072780"/>
                <a:gd name="connsiteX8258" fmla="*/ 3673983 w 12117871"/>
                <a:gd name="connsiteY8258" fmla="*/ 0 h 6072780"/>
                <a:gd name="connsiteX8259" fmla="*/ 3527532 w 12117871"/>
                <a:gd name="connsiteY8259" fmla="*/ 0 h 6072780"/>
                <a:gd name="connsiteX8260" fmla="*/ 3542438 w 12117871"/>
                <a:gd name="connsiteY8260" fmla="*/ 0 h 6072780"/>
                <a:gd name="connsiteX8261" fmla="*/ 3542438 w 12117871"/>
                <a:gd name="connsiteY8261" fmla="*/ 222980 h 6072780"/>
                <a:gd name="connsiteX8262" fmla="*/ 3507150 w 12117871"/>
                <a:gd name="connsiteY8262" fmla="*/ 222980 h 6072780"/>
                <a:gd name="connsiteX8263" fmla="*/ 3507150 w 12117871"/>
                <a:gd name="connsiteY8263" fmla="*/ 43196 h 6072780"/>
                <a:gd name="connsiteX8264" fmla="*/ 3486541 w 12117871"/>
                <a:gd name="connsiteY8264" fmla="*/ 54832 h 6072780"/>
                <a:gd name="connsiteX8265" fmla="*/ 3461368 w 12117871"/>
                <a:gd name="connsiteY8265" fmla="*/ 63274 h 6072780"/>
                <a:gd name="connsiteX8266" fmla="*/ 3461368 w 12117871"/>
                <a:gd name="connsiteY8266" fmla="*/ 33158 h 6072780"/>
                <a:gd name="connsiteX8267" fmla="*/ 3478403 w 12117871"/>
                <a:gd name="connsiteY8267" fmla="*/ 27074 h 6072780"/>
                <a:gd name="connsiteX8268" fmla="*/ 3494602 w 12117871"/>
                <a:gd name="connsiteY8268" fmla="*/ 19925 h 6072780"/>
                <a:gd name="connsiteX8269" fmla="*/ 3510724 w 12117871"/>
                <a:gd name="connsiteY8269" fmla="*/ 11103 h 6072780"/>
                <a:gd name="connsiteX8270" fmla="*/ 3527532 w 12117871"/>
                <a:gd name="connsiteY8270" fmla="*/ 0 h 6072780"/>
                <a:gd name="connsiteX8271" fmla="*/ 3222732 w 12117871"/>
                <a:gd name="connsiteY8271" fmla="*/ 0 h 6072780"/>
                <a:gd name="connsiteX8272" fmla="*/ 3237638 w 12117871"/>
                <a:gd name="connsiteY8272" fmla="*/ 0 h 6072780"/>
                <a:gd name="connsiteX8273" fmla="*/ 3237638 w 12117871"/>
                <a:gd name="connsiteY8273" fmla="*/ 222980 h 6072780"/>
                <a:gd name="connsiteX8274" fmla="*/ 3202350 w 12117871"/>
                <a:gd name="connsiteY8274" fmla="*/ 222980 h 6072780"/>
                <a:gd name="connsiteX8275" fmla="*/ 3202350 w 12117871"/>
                <a:gd name="connsiteY8275" fmla="*/ 43196 h 6072780"/>
                <a:gd name="connsiteX8276" fmla="*/ 3181741 w 12117871"/>
                <a:gd name="connsiteY8276" fmla="*/ 54832 h 6072780"/>
                <a:gd name="connsiteX8277" fmla="*/ 3156568 w 12117871"/>
                <a:gd name="connsiteY8277" fmla="*/ 63274 h 6072780"/>
                <a:gd name="connsiteX8278" fmla="*/ 3156568 w 12117871"/>
                <a:gd name="connsiteY8278" fmla="*/ 33158 h 6072780"/>
                <a:gd name="connsiteX8279" fmla="*/ 3173603 w 12117871"/>
                <a:gd name="connsiteY8279" fmla="*/ 27074 h 6072780"/>
                <a:gd name="connsiteX8280" fmla="*/ 3189802 w 12117871"/>
                <a:gd name="connsiteY8280" fmla="*/ 19925 h 6072780"/>
                <a:gd name="connsiteX8281" fmla="*/ 3205924 w 12117871"/>
                <a:gd name="connsiteY8281" fmla="*/ 11103 h 6072780"/>
                <a:gd name="connsiteX8282" fmla="*/ 3222732 w 12117871"/>
                <a:gd name="connsiteY8282" fmla="*/ 0 h 6072780"/>
                <a:gd name="connsiteX8283" fmla="*/ 2828037 w 12117871"/>
                <a:gd name="connsiteY8283" fmla="*/ 0 h 6072780"/>
                <a:gd name="connsiteX8284" fmla="*/ 2842943 w 12117871"/>
                <a:gd name="connsiteY8284" fmla="*/ 0 h 6072780"/>
                <a:gd name="connsiteX8285" fmla="*/ 2842943 w 12117871"/>
                <a:gd name="connsiteY8285" fmla="*/ 222980 h 6072780"/>
                <a:gd name="connsiteX8286" fmla="*/ 2807655 w 12117871"/>
                <a:gd name="connsiteY8286" fmla="*/ 222980 h 6072780"/>
                <a:gd name="connsiteX8287" fmla="*/ 2807655 w 12117871"/>
                <a:gd name="connsiteY8287" fmla="*/ 43196 h 6072780"/>
                <a:gd name="connsiteX8288" fmla="*/ 2787046 w 12117871"/>
                <a:gd name="connsiteY8288" fmla="*/ 54832 h 6072780"/>
                <a:gd name="connsiteX8289" fmla="*/ 2761873 w 12117871"/>
                <a:gd name="connsiteY8289" fmla="*/ 63274 h 6072780"/>
                <a:gd name="connsiteX8290" fmla="*/ 2761873 w 12117871"/>
                <a:gd name="connsiteY8290" fmla="*/ 33158 h 6072780"/>
                <a:gd name="connsiteX8291" fmla="*/ 2778908 w 12117871"/>
                <a:gd name="connsiteY8291" fmla="*/ 27074 h 6072780"/>
                <a:gd name="connsiteX8292" fmla="*/ 2795107 w 12117871"/>
                <a:gd name="connsiteY8292" fmla="*/ 19925 h 6072780"/>
                <a:gd name="connsiteX8293" fmla="*/ 2811229 w 12117871"/>
                <a:gd name="connsiteY8293" fmla="*/ 11103 h 6072780"/>
                <a:gd name="connsiteX8294" fmla="*/ 2828037 w 12117871"/>
                <a:gd name="connsiteY8294" fmla="*/ 0 h 6072780"/>
                <a:gd name="connsiteX8295" fmla="*/ 2677443 w 12117871"/>
                <a:gd name="connsiteY8295" fmla="*/ 0 h 6072780"/>
                <a:gd name="connsiteX8296" fmla="*/ 2692349 w 12117871"/>
                <a:gd name="connsiteY8296" fmla="*/ 0 h 6072780"/>
                <a:gd name="connsiteX8297" fmla="*/ 2692349 w 12117871"/>
                <a:gd name="connsiteY8297" fmla="*/ 222980 h 6072780"/>
                <a:gd name="connsiteX8298" fmla="*/ 2657061 w 12117871"/>
                <a:gd name="connsiteY8298" fmla="*/ 222980 h 6072780"/>
                <a:gd name="connsiteX8299" fmla="*/ 2657061 w 12117871"/>
                <a:gd name="connsiteY8299" fmla="*/ 43196 h 6072780"/>
                <a:gd name="connsiteX8300" fmla="*/ 2636452 w 12117871"/>
                <a:gd name="connsiteY8300" fmla="*/ 54832 h 6072780"/>
                <a:gd name="connsiteX8301" fmla="*/ 2611279 w 12117871"/>
                <a:gd name="connsiteY8301" fmla="*/ 63274 h 6072780"/>
                <a:gd name="connsiteX8302" fmla="*/ 2611279 w 12117871"/>
                <a:gd name="connsiteY8302" fmla="*/ 33158 h 6072780"/>
                <a:gd name="connsiteX8303" fmla="*/ 2628314 w 12117871"/>
                <a:gd name="connsiteY8303" fmla="*/ 27074 h 6072780"/>
                <a:gd name="connsiteX8304" fmla="*/ 2644513 w 12117871"/>
                <a:gd name="connsiteY8304" fmla="*/ 19925 h 6072780"/>
                <a:gd name="connsiteX8305" fmla="*/ 2660635 w 12117871"/>
                <a:gd name="connsiteY8305" fmla="*/ 11103 h 6072780"/>
                <a:gd name="connsiteX8306" fmla="*/ 2677443 w 12117871"/>
                <a:gd name="connsiteY8306" fmla="*/ 0 h 6072780"/>
                <a:gd name="connsiteX8307" fmla="*/ 2544118 w 12117871"/>
                <a:gd name="connsiteY8307" fmla="*/ 0 h 6072780"/>
                <a:gd name="connsiteX8308" fmla="*/ 2559024 w 12117871"/>
                <a:gd name="connsiteY8308" fmla="*/ 0 h 6072780"/>
                <a:gd name="connsiteX8309" fmla="*/ 2559024 w 12117871"/>
                <a:gd name="connsiteY8309" fmla="*/ 222980 h 6072780"/>
                <a:gd name="connsiteX8310" fmla="*/ 2523736 w 12117871"/>
                <a:gd name="connsiteY8310" fmla="*/ 222980 h 6072780"/>
                <a:gd name="connsiteX8311" fmla="*/ 2523736 w 12117871"/>
                <a:gd name="connsiteY8311" fmla="*/ 43196 h 6072780"/>
                <a:gd name="connsiteX8312" fmla="*/ 2503127 w 12117871"/>
                <a:gd name="connsiteY8312" fmla="*/ 54832 h 6072780"/>
                <a:gd name="connsiteX8313" fmla="*/ 2477954 w 12117871"/>
                <a:gd name="connsiteY8313" fmla="*/ 63274 h 6072780"/>
                <a:gd name="connsiteX8314" fmla="*/ 2477954 w 12117871"/>
                <a:gd name="connsiteY8314" fmla="*/ 33158 h 6072780"/>
                <a:gd name="connsiteX8315" fmla="*/ 2494989 w 12117871"/>
                <a:gd name="connsiteY8315" fmla="*/ 27074 h 6072780"/>
                <a:gd name="connsiteX8316" fmla="*/ 2511188 w 12117871"/>
                <a:gd name="connsiteY8316" fmla="*/ 19925 h 6072780"/>
                <a:gd name="connsiteX8317" fmla="*/ 2527310 w 12117871"/>
                <a:gd name="connsiteY8317" fmla="*/ 11103 h 6072780"/>
                <a:gd name="connsiteX8318" fmla="*/ 2544118 w 12117871"/>
                <a:gd name="connsiteY8318" fmla="*/ 0 h 6072780"/>
                <a:gd name="connsiteX8319" fmla="*/ 1790454 w 12117871"/>
                <a:gd name="connsiteY8319" fmla="*/ 0 h 6072780"/>
                <a:gd name="connsiteX8320" fmla="*/ 1805360 w 12117871"/>
                <a:gd name="connsiteY8320" fmla="*/ 0 h 6072780"/>
                <a:gd name="connsiteX8321" fmla="*/ 1805360 w 12117871"/>
                <a:gd name="connsiteY8321" fmla="*/ 222980 h 6072780"/>
                <a:gd name="connsiteX8322" fmla="*/ 1770072 w 12117871"/>
                <a:gd name="connsiteY8322" fmla="*/ 222980 h 6072780"/>
                <a:gd name="connsiteX8323" fmla="*/ 1770072 w 12117871"/>
                <a:gd name="connsiteY8323" fmla="*/ 43196 h 6072780"/>
                <a:gd name="connsiteX8324" fmla="*/ 1749463 w 12117871"/>
                <a:gd name="connsiteY8324" fmla="*/ 54832 h 6072780"/>
                <a:gd name="connsiteX8325" fmla="*/ 1724290 w 12117871"/>
                <a:gd name="connsiteY8325" fmla="*/ 63274 h 6072780"/>
                <a:gd name="connsiteX8326" fmla="*/ 1724290 w 12117871"/>
                <a:gd name="connsiteY8326" fmla="*/ 33158 h 6072780"/>
                <a:gd name="connsiteX8327" fmla="*/ 1741325 w 12117871"/>
                <a:gd name="connsiteY8327" fmla="*/ 27074 h 6072780"/>
                <a:gd name="connsiteX8328" fmla="*/ 1757524 w 12117871"/>
                <a:gd name="connsiteY8328" fmla="*/ 19925 h 6072780"/>
                <a:gd name="connsiteX8329" fmla="*/ 1773647 w 12117871"/>
                <a:gd name="connsiteY8329" fmla="*/ 11103 h 6072780"/>
                <a:gd name="connsiteX8330" fmla="*/ 1790454 w 12117871"/>
                <a:gd name="connsiteY8330" fmla="*/ 0 h 6072780"/>
                <a:gd name="connsiteX8331" fmla="*/ 1637062 w 12117871"/>
                <a:gd name="connsiteY8331" fmla="*/ 0 h 6072780"/>
                <a:gd name="connsiteX8332" fmla="*/ 1651968 w 12117871"/>
                <a:gd name="connsiteY8332" fmla="*/ 0 h 6072780"/>
                <a:gd name="connsiteX8333" fmla="*/ 1651968 w 12117871"/>
                <a:gd name="connsiteY8333" fmla="*/ 222980 h 6072780"/>
                <a:gd name="connsiteX8334" fmla="*/ 1616680 w 12117871"/>
                <a:gd name="connsiteY8334" fmla="*/ 222980 h 6072780"/>
                <a:gd name="connsiteX8335" fmla="*/ 1616680 w 12117871"/>
                <a:gd name="connsiteY8335" fmla="*/ 43196 h 6072780"/>
                <a:gd name="connsiteX8336" fmla="*/ 1596071 w 12117871"/>
                <a:gd name="connsiteY8336" fmla="*/ 54832 h 6072780"/>
                <a:gd name="connsiteX8337" fmla="*/ 1570898 w 12117871"/>
                <a:gd name="connsiteY8337" fmla="*/ 63274 h 6072780"/>
                <a:gd name="connsiteX8338" fmla="*/ 1570898 w 12117871"/>
                <a:gd name="connsiteY8338" fmla="*/ 33158 h 6072780"/>
                <a:gd name="connsiteX8339" fmla="*/ 1587933 w 12117871"/>
                <a:gd name="connsiteY8339" fmla="*/ 27074 h 6072780"/>
                <a:gd name="connsiteX8340" fmla="*/ 1604132 w 12117871"/>
                <a:gd name="connsiteY8340" fmla="*/ 19925 h 6072780"/>
                <a:gd name="connsiteX8341" fmla="*/ 1620255 w 12117871"/>
                <a:gd name="connsiteY8341" fmla="*/ 11103 h 6072780"/>
                <a:gd name="connsiteX8342" fmla="*/ 1637062 w 12117871"/>
                <a:gd name="connsiteY8342" fmla="*/ 0 h 6072780"/>
                <a:gd name="connsiteX8343" fmla="*/ 1342993 w 12117871"/>
                <a:gd name="connsiteY8343" fmla="*/ 0 h 6072780"/>
                <a:gd name="connsiteX8344" fmla="*/ 1357899 w 12117871"/>
                <a:gd name="connsiteY8344" fmla="*/ 0 h 6072780"/>
                <a:gd name="connsiteX8345" fmla="*/ 1357899 w 12117871"/>
                <a:gd name="connsiteY8345" fmla="*/ 222980 h 6072780"/>
                <a:gd name="connsiteX8346" fmla="*/ 1322611 w 12117871"/>
                <a:gd name="connsiteY8346" fmla="*/ 222980 h 6072780"/>
                <a:gd name="connsiteX8347" fmla="*/ 1322611 w 12117871"/>
                <a:gd name="connsiteY8347" fmla="*/ 43196 h 6072780"/>
                <a:gd name="connsiteX8348" fmla="*/ 1302002 w 12117871"/>
                <a:gd name="connsiteY8348" fmla="*/ 54832 h 6072780"/>
                <a:gd name="connsiteX8349" fmla="*/ 1276829 w 12117871"/>
                <a:gd name="connsiteY8349" fmla="*/ 63274 h 6072780"/>
                <a:gd name="connsiteX8350" fmla="*/ 1276829 w 12117871"/>
                <a:gd name="connsiteY8350" fmla="*/ 33158 h 6072780"/>
                <a:gd name="connsiteX8351" fmla="*/ 1293864 w 12117871"/>
                <a:gd name="connsiteY8351" fmla="*/ 27074 h 6072780"/>
                <a:gd name="connsiteX8352" fmla="*/ 1310063 w 12117871"/>
                <a:gd name="connsiteY8352" fmla="*/ 19925 h 6072780"/>
                <a:gd name="connsiteX8353" fmla="*/ 1326186 w 12117871"/>
                <a:gd name="connsiteY8353" fmla="*/ 11103 h 6072780"/>
                <a:gd name="connsiteX8354" fmla="*/ 1342993 w 12117871"/>
                <a:gd name="connsiteY8354" fmla="*/ 0 h 6072780"/>
                <a:gd name="connsiteX8355" fmla="*/ 967854 w 12117871"/>
                <a:gd name="connsiteY8355" fmla="*/ 0 h 6072780"/>
                <a:gd name="connsiteX8356" fmla="*/ 982760 w 12117871"/>
                <a:gd name="connsiteY8356" fmla="*/ 0 h 6072780"/>
                <a:gd name="connsiteX8357" fmla="*/ 982760 w 12117871"/>
                <a:gd name="connsiteY8357" fmla="*/ 222980 h 6072780"/>
                <a:gd name="connsiteX8358" fmla="*/ 947472 w 12117871"/>
                <a:gd name="connsiteY8358" fmla="*/ 222980 h 6072780"/>
                <a:gd name="connsiteX8359" fmla="*/ 947472 w 12117871"/>
                <a:gd name="connsiteY8359" fmla="*/ 43196 h 6072780"/>
                <a:gd name="connsiteX8360" fmla="*/ 926863 w 12117871"/>
                <a:gd name="connsiteY8360" fmla="*/ 54832 h 6072780"/>
                <a:gd name="connsiteX8361" fmla="*/ 901690 w 12117871"/>
                <a:gd name="connsiteY8361" fmla="*/ 63274 h 6072780"/>
                <a:gd name="connsiteX8362" fmla="*/ 901690 w 12117871"/>
                <a:gd name="connsiteY8362" fmla="*/ 33158 h 6072780"/>
                <a:gd name="connsiteX8363" fmla="*/ 918725 w 12117871"/>
                <a:gd name="connsiteY8363" fmla="*/ 27074 h 6072780"/>
                <a:gd name="connsiteX8364" fmla="*/ 934924 w 12117871"/>
                <a:gd name="connsiteY8364" fmla="*/ 19925 h 6072780"/>
                <a:gd name="connsiteX8365" fmla="*/ 951047 w 12117871"/>
                <a:gd name="connsiteY8365" fmla="*/ 11103 h 6072780"/>
                <a:gd name="connsiteX8366" fmla="*/ 967854 w 12117871"/>
                <a:gd name="connsiteY8366" fmla="*/ 0 h 6072780"/>
                <a:gd name="connsiteX8367" fmla="*/ 818997 w 12117871"/>
                <a:gd name="connsiteY8367" fmla="*/ 0 h 6072780"/>
                <a:gd name="connsiteX8368" fmla="*/ 833903 w 12117871"/>
                <a:gd name="connsiteY8368" fmla="*/ 0 h 6072780"/>
                <a:gd name="connsiteX8369" fmla="*/ 833903 w 12117871"/>
                <a:gd name="connsiteY8369" fmla="*/ 222980 h 6072780"/>
                <a:gd name="connsiteX8370" fmla="*/ 798615 w 12117871"/>
                <a:gd name="connsiteY8370" fmla="*/ 222980 h 6072780"/>
                <a:gd name="connsiteX8371" fmla="*/ 798615 w 12117871"/>
                <a:gd name="connsiteY8371" fmla="*/ 43196 h 6072780"/>
                <a:gd name="connsiteX8372" fmla="*/ 778006 w 12117871"/>
                <a:gd name="connsiteY8372" fmla="*/ 54832 h 6072780"/>
                <a:gd name="connsiteX8373" fmla="*/ 752833 w 12117871"/>
                <a:gd name="connsiteY8373" fmla="*/ 63274 h 6072780"/>
                <a:gd name="connsiteX8374" fmla="*/ 752833 w 12117871"/>
                <a:gd name="connsiteY8374" fmla="*/ 33158 h 6072780"/>
                <a:gd name="connsiteX8375" fmla="*/ 769868 w 12117871"/>
                <a:gd name="connsiteY8375" fmla="*/ 27074 h 6072780"/>
                <a:gd name="connsiteX8376" fmla="*/ 786067 w 12117871"/>
                <a:gd name="connsiteY8376" fmla="*/ 19925 h 6072780"/>
                <a:gd name="connsiteX8377" fmla="*/ 802190 w 12117871"/>
                <a:gd name="connsiteY8377" fmla="*/ 11103 h 6072780"/>
                <a:gd name="connsiteX8378" fmla="*/ 818997 w 12117871"/>
                <a:gd name="connsiteY8378" fmla="*/ 0 h 6072780"/>
                <a:gd name="connsiteX8379" fmla="*/ 670140 w 12117871"/>
                <a:gd name="connsiteY8379" fmla="*/ 0 h 6072780"/>
                <a:gd name="connsiteX8380" fmla="*/ 685046 w 12117871"/>
                <a:gd name="connsiteY8380" fmla="*/ 0 h 6072780"/>
                <a:gd name="connsiteX8381" fmla="*/ 685046 w 12117871"/>
                <a:gd name="connsiteY8381" fmla="*/ 222980 h 6072780"/>
                <a:gd name="connsiteX8382" fmla="*/ 649758 w 12117871"/>
                <a:gd name="connsiteY8382" fmla="*/ 222980 h 6072780"/>
                <a:gd name="connsiteX8383" fmla="*/ 649758 w 12117871"/>
                <a:gd name="connsiteY8383" fmla="*/ 43196 h 6072780"/>
                <a:gd name="connsiteX8384" fmla="*/ 629149 w 12117871"/>
                <a:gd name="connsiteY8384" fmla="*/ 54832 h 6072780"/>
                <a:gd name="connsiteX8385" fmla="*/ 603976 w 12117871"/>
                <a:gd name="connsiteY8385" fmla="*/ 63274 h 6072780"/>
                <a:gd name="connsiteX8386" fmla="*/ 603976 w 12117871"/>
                <a:gd name="connsiteY8386" fmla="*/ 33158 h 6072780"/>
                <a:gd name="connsiteX8387" fmla="*/ 621011 w 12117871"/>
                <a:gd name="connsiteY8387" fmla="*/ 27074 h 6072780"/>
                <a:gd name="connsiteX8388" fmla="*/ 637210 w 12117871"/>
                <a:gd name="connsiteY8388" fmla="*/ 19925 h 6072780"/>
                <a:gd name="connsiteX8389" fmla="*/ 653333 w 12117871"/>
                <a:gd name="connsiteY8389" fmla="*/ 11103 h 6072780"/>
                <a:gd name="connsiteX8390" fmla="*/ 670140 w 12117871"/>
                <a:gd name="connsiteY8390" fmla="*/ 0 h 6072780"/>
                <a:gd name="connsiteX8391" fmla="*/ 521283 w 12117871"/>
                <a:gd name="connsiteY8391" fmla="*/ 0 h 6072780"/>
                <a:gd name="connsiteX8392" fmla="*/ 536189 w 12117871"/>
                <a:gd name="connsiteY8392" fmla="*/ 0 h 6072780"/>
                <a:gd name="connsiteX8393" fmla="*/ 536189 w 12117871"/>
                <a:gd name="connsiteY8393" fmla="*/ 222980 h 6072780"/>
                <a:gd name="connsiteX8394" fmla="*/ 500901 w 12117871"/>
                <a:gd name="connsiteY8394" fmla="*/ 222980 h 6072780"/>
                <a:gd name="connsiteX8395" fmla="*/ 500901 w 12117871"/>
                <a:gd name="connsiteY8395" fmla="*/ 43196 h 6072780"/>
                <a:gd name="connsiteX8396" fmla="*/ 480292 w 12117871"/>
                <a:gd name="connsiteY8396" fmla="*/ 54832 h 6072780"/>
                <a:gd name="connsiteX8397" fmla="*/ 455119 w 12117871"/>
                <a:gd name="connsiteY8397" fmla="*/ 63274 h 6072780"/>
                <a:gd name="connsiteX8398" fmla="*/ 455119 w 12117871"/>
                <a:gd name="connsiteY8398" fmla="*/ 33158 h 6072780"/>
                <a:gd name="connsiteX8399" fmla="*/ 472154 w 12117871"/>
                <a:gd name="connsiteY8399" fmla="*/ 27074 h 6072780"/>
                <a:gd name="connsiteX8400" fmla="*/ 488353 w 12117871"/>
                <a:gd name="connsiteY8400" fmla="*/ 19925 h 6072780"/>
                <a:gd name="connsiteX8401" fmla="*/ 504476 w 12117871"/>
                <a:gd name="connsiteY8401" fmla="*/ 11103 h 6072780"/>
                <a:gd name="connsiteX8402" fmla="*/ 521283 w 12117871"/>
                <a:gd name="connsiteY8402" fmla="*/ 0 h 6072780"/>
                <a:gd name="connsiteX8403" fmla="*/ 311869 w 12117871"/>
                <a:gd name="connsiteY8403" fmla="*/ 0 h 6072780"/>
                <a:gd name="connsiteX8404" fmla="*/ 383036 w 12117871"/>
                <a:gd name="connsiteY8404" fmla="*/ 110587 h 6072780"/>
                <a:gd name="connsiteX8405" fmla="*/ 362950 w 12117871"/>
                <a:gd name="connsiteY8405" fmla="*/ 194167 h 6072780"/>
                <a:gd name="connsiteX8406" fmla="*/ 306753 w 12117871"/>
                <a:gd name="connsiteY8406" fmla="*/ 222980 h 6072780"/>
                <a:gd name="connsiteX8407" fmla="*/ 254168 w 12117871"/>
                <a:gd name="connsiteY8407" fmla="*/ 195446 h 6072780"/>
                <a:gd name="connsiteX8408" fmla="*/ 235285 w 12117871"/>
                <a:gd name="connsiteY8408" fmla="*/ 115854 h 6072780"/>
                <a:gd name="connsiteX8409" fmla="*/ 254995 w 12117871"/>
                <a:gd name="connsiteY8409" fmla="*/ 29339 h 6072780"/>
                <a:gd name="connsiteX8410" fmla="*/ 311869 w 12117871"/>
                <a:gd name="connsiteY8410" fmla="*/ 0 h 607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Lst>
              <a:rect l="l" t="t" r="r" b="b"/>
              <a:pathLst>
                <a:path w="12117871" h="6072780">
                  <a:moveTo>
                    <a:pt x="11876198" y="5869975"/>
                  </a:moveTo>
                  <a:cubicBezTo>
                    <a:pt x="11850018" y="5869975"/>
                    <a:pt x="11836928" y="5898813"/>
                    <a:pt x="11836928" y="5956489"/>
                  </a:cubicBezTo>
                  <a:cubicBezTo>
                    <a:pt x="11836928" y="6010453"/>
                    <a:pt x="11849767" y="6037436"/>
                    <a:pt x="11875446" y="6037436"/>
                  </a:cubicBezTo>
                  <a:cubicBezTo>
                    <a:pt x="11900722" y="6037436"/>
                    <a:pt x="11913361" y="6010002"/>
                    <a:pt x="11913361" y="5955135"/>
                  </a:cubicBezTo>
                  <a:cubicBezTo>
                    <a:pt x="11913361" y="5898362"/>
                    <a:pt x="11900973" y="5869975"/>
                    <a:pt x="11876198" y="5869975"/>
                  </a:cubicBezTo>
                  <a:close/>
                  <a:moveTo>
                    <a:pt x="6366335" y="5869975"/>
                  </a:moveTo>
                  <a:cubicBezTo>
                    <a:pt x="6340155" y="5869975"/>
                    <a:pt x="6327065" y="5898813"/>
                    <a:pt x="6327065" y="5956489"/>
                  </a:cubicBezTo>
                  <a:cubicBezTo>
                    <a:pt x="6327065" y="6010453"/>
                    <a:pt x="6339904" y="6037436"/>
                    <a:pt x="6365583" y="6037436"/>
                  </a:cubicBezTo>
                  <a:cubicBezTo>
                    <a:pt x="6390860" y="6037436"/>
                    <a:pt x="6403498" y="6010002"/>
                    <a:pt x="6403498" y="5955135"/>
                  </a:cubicBezTo>
                  <a:cubicBezTo>
                    <a:pt x="6403498" y="5898362"/>
                    <a:pt x="6391110" y="5869975"/>
                    <a:pt x="6366335" y="5869975"/>
                  </a:cubicBezTo>
                  <a:close/>
                  <a:moveTo>
                    <a:pt x="5088792" y="5869975"/>
                  </a:moveTo>
                  <a:cubicBezTo>
                    <a:pt x="5062613" y="5869975"/>
                    <a:pt x="5049522" y="5898813"/>
                    <a:pt x="5049522" y="5956489"/>
                  </a:cubicBezTo>
                  <a:cubicBezTo>
                    <a:pt x="5049522" y="6010453"/>
                    <a:pt x="5062362" y="6037436"/>
                    <a:pt x="5088041" y="6037436"/>
                  </a:cubicBezTo>
                  <a:cubicBezTo>
                    <a:pt x="5113318" y="6037436"/>
                    <a:pt x="5125957" y="6010002"/>
                    <a:pt x="5125957" y="5955135"/>
                  </a:cubicBezTo>
                  <a:cubicBezTo>
                    <a:pt x="5125957" y="5898362"/>
                    <a:pt x="5113567" y="5869975"/>
                    <a:pt x="5088792" y="5869975"/>
                  </a:cubicBezTo>
                  <a:close/>
                  <a:moveTo>
                    <a:pt x="12062430" y="5849800"/>
                  </a:moveTo>
                  <a:lnTo>
                    <a:pt x="12077336" y="5849800"/>
                  </a:lnTo>
                  <a:lnTo>
                    <a:pt x="12077336" y="6072780"/>
                  </a:lnTo>
                  <a:lnTo>
                    <a:pt x="12042048" y="6072780"/>
                  </a:lnTo>
                  <a:lnTo>
                    <a:pt x="12042048" y="5892997"/>
                  </a:lnTo>
                  <a:cubicBezTo>
                    <a:pt x="12035660" y="5897560"/>
                    <a:pt x="12028790" y="5901438"/>
                    <a:pt x="12021439" y="5904633"/>
                  </a:cubicBezTo>
                  <a:cubicBezTo>
                    <a:pt x="12014087" y="5907827"/>
                    <a:pt x="12005696" y="5910640"/>
                    <a:pt x="11996266" y="5913074"/>
                  </a:cubicBezTo>
                  <a:lnTo>
                    <a:pt x="11996266" y="5882958"/>
                  </a:lnTo>
                  <a:cubicBezTo>
                    <a:pt x="12002147" y="5881032"/>
                    <a:pt x="12007826" y="5879004"/>
                    <a:pt x="12013301" y="5876874"/>
                  </a:cubicBezTo>
                  <a:cubicBezTo>
                    <a:pt x="12018777" y="5874745"/>
                    <a:pt x="12024177" y="5872362"/>
                    <a:pt x="12029500" y="5869725"/>
                  </a:cubicBezTo>
                  <a:cubicBezTo>
                    <a:pt x="12034824" y="5867089"/>
                    <a:pt x="12040198" y="5864148"/>
                    <a:pt x="12045623" y="5860904"/>
                  </a:cubicBezTo>
                  <a:cubicBezTo>
                    <a:pt x="12051048" y="5857659"/>
                    <a:pt x="12056650" y="5853958"/>
                    <a:pt x="12062430" y="5849800"/>
                  </a:cubicBezTo>
                  <a:close/>
                  <a:moveTo>
                    <a:pt x="10143427" y="5849800"/>
                  </a:moveTo>
                  <a:lnTo>
                    <a:pt x="10158333" y="5849800"/>
                  </a:lnTo>
                  <a:lnTo>
                    <a:pt x="10158333" y="6072780"/>
                  </a:lnTo>
                  <a:lnTo>
                    <a:pt x="10123045" y="6072780"/>
                  </a:lnTo>
                  <a:lnTo>
                    <a:pt x="10123045" y="5892997"/>
                  </a:lnTo>
                  <a:cubicBezTo>
                    <a:pt x="10116657" y="5897560"/>
                    <a:pt x="10109787" y="5901438"/>
                    <a:pt x="10102436" y="5904633"/>
                  </a:cubicBezTo>
                  <a:cubicBezTo>
                    <a:pt x="10095084" y="5907827"/>
                    <a:pt x="10086693" y="5910640"/>
                    <a:pt x="10077263" y="5913074"/>
                  </a:cubicBezTo>
                  <a:lnTo>
                    <a:pt x="10077263" y="5882958"/>
                  </a:lnTo>
                  <a:cubicBezTo>
                    <a:pt x="10083144" y="5881032"/>
                    <a:pt x="10088823" y="5879004"/>
                    <a:pt x="10094298" y="5876874"/>
                  </a:cubicBezTo>
                  <a:cubicBezTo>
                    <a:pt x="10099774" y="5874745"/>
                    <a:pt x="10105174" y="5872362"/>
                    <a:pt x="10110497" y="5869725"/>
                  </a:cubicBezTo>
                  <a:cubicBezTo>
                    <a:pt x="10115821" y="5867089"/>
                    <a:pt x="10121195" y="5864148"/>
                    <a:pt x="10126620" y="5860904"/>
                  </a:cubicBezTo>
                  <a:cubicBezTo>
                    <a:pt x="10132045" y="5857659"/>
                    <a:pt x="10137647" y="5853958"/>
                    <a:pt x="10143427" y="5849800"/>
                  </a:cubicBezTo>
                  <a:close/>
                  <a:moveTo>
                    <a:pt x="9254256" y="5849800"/>
                  </a:moveTo>
                  <a:lnTo>
                    <a:pt x="9269162" y="5849800"/>
                  </a:lnTo>
                  <a:lnTo>
                    <a:pt x="9269162" y="6072780"/>
                  </a:lnTo>
                  <a:lnTo>
                    <a:pt x="9233874" y="6072780"/>
                  </a:lnTo>
                  <a:lnTo>
                    <a:pt x="9233874" y="5892997"/>
                  </a:lnTo>
                  <a:cubicBezTo>
                    <a:pt x="9227486" y="5897560"/>
                    <a:pt x="9220616" y="5901438"/>
                    <a:pt x="9213265" y="5904633"/>
                  </a:cubicBezTo>
                  <a:cubicBezTo>
                    <a:pt x="9205913" y="5907827"/>
                    <a:pt x="9197522" y="5910640"/>
                    <a:pt x="9188092" y="5913074"/>
                  </a:cubicBezTo>
                  <a:lnTo>
                    <a:pt x="9188092" y="5882958"/>
                  </a:lnTo>
                  <a:cubicBezTo>
                    <a:pt x="9193973" y="5881032"/>
                    <a:pt x="9199652" y="5879004"/>
                    <a:pt x="9205127" y="5876874"/>
                  </a:cubicBezTo>
                  <a:cubicBezTo>
                    <a:pt x="9210603" y="5874745"/>
                    <a:pt x="9216003" y="5872362"/>
                    <a:pt x="9221326" y="5869725"/>
                  </a:cubicBezTo>
                  <a:cubicBezTo>
                    <a:pt x="9226650" y="5867089"/>
                    <a:pt x="9232024" y="5864148"/>
                    <a:pt x="9237449" y="5860904"/>
                  </a:cubicBezTo>
                  <a:cubicBezTo>
                    <a:pt x="9242874" y="5857659"/>
                    <a:pt x="9248476" y="5853958"/>
                    <a:pt x="9254256" y="5849800"/>
                  </a:cubicBezTo>
                  <a:close/>
                  <a:moveTo>
                    <a:pt x="7015147" y="5849800"/>
                  </a:moveTo>
                  <a:lnTo>
                    <a:pt x="7030053" y="5849800"/>
                  </a:lnTo>
                  <a:lnTo>
                    <a:pt x="7030053" y="6072780"/>
                  </a:lnTo>
                  <a:lnTo>
                    <a:pt x="6994765" y="6072780"/>
                  </a:lnTo>
                  <a:lnTo>
                    <a:pt x="6994765" y="5892997"/>
                  </a:lnTo>
                  <a:cubicBezTo>
                    <a:pt x="6988377" y="5897560"/>
                    <a:pt x="6981508" y="5901438"/>
                    <a:pt x="6974156" y="5904633"/>
                  </a:cubicBezTo>
                  <a:cubicBezTo>
                    <a:pt x="6966804" y="5907827"/>
                    <a:pt x="6958414" y="5910640"/>
                    <a:pt x="6948983" y="5913074"/>
                  </a:cubicBezTo>
                  <a:lnTo>
                    <a:pt x="6948983" y="5882958"/>
                  </a:lnTo>
                  <a:cubicBezTo>
                    <a:pt x="6954864" y="5881032"/>
                    <a:pt x="6960543" y="5879004"/>
                    <a:pt x="6966018" y="5876874"/>
                  </a:cubicBezTo>
                  <a:cubicBezTo>
                    <a:pt x="6971494" y="5874745"/>
                    <a:pt x="6976894" y="5872362"/>
                    <a:pt x="6982217" y="5869725"/>
                  </a:cubicBezTo>
                  <a:cubicBezTo>
                    <a:pt x="6987541" y="5867089"/>
                    <a:pt x="6992915" y="5864148"/>
                    <a:pt x="6998340" y="5860904"/>
                  </a:cubicBezTo>
                  <a:cubicBezTo>
                    <a:pt x="7003765" y="5857659"/>
                    <a:pt x="7009367" y="5853958"/>
                    <a:pt x="7015147" y="5849800"/>
                  </a:cubicBezTo>
                  <a:close/>
                  <a:moveTo>
                    <a:pt x="4694968" y="5849800"/>
                  </a:moveTo>
                  <a:lnTo>
                    <a:pt x="4709876" y="5849800"/>
                  </a:lnTo>
                  <a:lnTo>
                    <a:pt x="4709876" y="6072780"/>
                  </a:lnTo>
                  <a:lnTo>
                    <a:pt x="4674589" y="6072780"/>
                  </a:lnTo>
                  <a:lnTo>
                    <a:pt x="4674589" y="5892997"/>
                  </a:lnTo>
                  <a:cubicBezTo>
                    <a:pt x="4668200" y="5897560"/>
                    <a:pt x="4661331" y="5901438"/>
                    <a:pt x="4653978" y="5904633"/>
                  </a:cubicBezTo>
                  <a:cubicBezTo>
                    <a:pt x="4646628" y="5907827"/>
                    <a:pt x="4638236" y="5910640"/>
                    <a:pt x="4628805" y="5913074"/>
                  </a:cubicBezTo>
                  <a:lnTo>
                    <a:pt x="4628805" y="5882958"/>
                  </a:lnTo>
                  <a:cubicBezTo>
                    <a:pt x="4634687" y="5881032"/>
                    <a:pt x="4640364" y="5879004"/>
                    <a:pt x="4645841" y="5876874"/>
                  </a:cubicBezTo>
                  <a:cubicBezTo>
                    <a:pt x="4651316" y="5874745"/>
                    <a:pt x="4656717" y="5872362"/>
                    <a:pt x="4662040" y="5869725"/>
                  </a:cubicBezTo>
                  <a:cubicBezTo>
                    <a:pt x="4667363" y="5867089"/>
                    <a:pt x="4672738" y="5864148"/>
                    <a:pt x="4678162" y="5860904"/>
                  </a:cubicBezTo>
                  <a:cubicBezTo>
                    <a:pt x="4683588" y="5857659"/>
                    <a:pt x="4689190" y="5853958"/>
                    <a:pt x="4694968" y="5849800"/>
                  </a:cubicBezTo>
                  <a:close/>
                  <a:moveTo>
                    <a:pt x="3158682" y="5849800"/>
                  </a:moveTo>
                  <a:lnTo>
                    <a:pt x="3173587" y="5849800"/>
                  </a:lnTo>
                  <a:lnTo>
                    <a:pt x="3173587" y="6072780"/>
                  </a:lnTo>
                  <a:lnTo>
                    <a:pt x="3138299" y="6072780"/>
                  </a:lnTo>
                  <a:lnTo>
                    <a:pt x="3138299" y="5892997"/>
                  </a:lnTo>
                  <a:cubicBezTo>
                    <a:pt x="3131912" y="5897560"/>
                    <a:pt x="3125042" y="5901438"/>
                    <a:pt x="3117690" y="5904633"/>
                  </a:cubicBezTo>
                  <a:cubicBezTo>
                    <a:pt x="3110339" y="5907827"/>
                    <a:pt x="3101948" y="5910640"/>
                    <a:pt x="3092517" y="5913074"/>
                  </a:cubicBezTo>
                  <a:lnTo>
                    <a:pt x="3092517" y="5882958"/>
                  </a:lnTo>
                  <a:cubicBezTo>
                    <a:pt x="3098398" y="5881032"/>
                    <a:pt x="3104077" y="5879004"/>
                    <a:pt x="3109553" y="5876874"/>
                  </a:cubicBezTo>
                  <a:cubicBezTo>
                    <a:pt x="3115028" y="5874745"/>
                    <a:pt x="3120428" y="5872362"/>
                    <a:pt x="3125751" y="5869725"/>
                  </a:cubicBezTo>
                  <a:cubicBezTo>
                    <a:pt x="3131075" y="5867089"/>
                    <a:pt x="3136449" y="5864148"/>
                    <a:pt x="3141875" y="5860904"/>
                  </a:cubicBezTo>
                  <a:cubicBezTo>
                    <a:pt x="3147300" y="5857659"/>
                    <a:pt x="3152901" y="5853958"/>
                    <a:pt x="3158682" y="5849800"/>
                  </a:cubicBezTo>
                  <a:close/>
                  <a:moveTo>
                    <a:pt x="2489154" y="5849800"/>
                  </a:moveTo>
                  <a:lnTo>
                    <a:pt x="2504060" y="5849800"/>
                  </a:lnTo>
                  <a:lnTo>
                    <a:pt x="2504060" y="6072780"/>
                  </a:lnTo>
                  <a:lnTo>
                    <a:pt x="2468772" y="6072780"/>
                  </a:lnTo>
                  <a:lnTo>
                    <a:pt x="2468772" y="5892997"/>
                  </a:lnTo>
                  <a:cubicBezTo>
                    <a:pt x="2462385" y="5897560"/>
                    <a:pt x="2455514" y="5901438"/>
                    <a:pt x="2448163" y="5904633"/>
                  </a:cubicBezTo>
                  <a:cubicBezTo>
                    <a:pt x="2440812" y="5907827"/>
                    <a:pt x="2432420" y="5910640"/>
                    <a:pt x="2422990" y="5913074"/>
                  </a:cubicBezTo>
                  <a:lnTo>
                    <a:pt x="2422990" y="5882958"/>
                  </a:lnTo>
                  <a:cubicBezTo>
                    <a:pt x="2428871" y="5881032"/>
                    <a:pt x="2434551" y="5879004"/>
                    <a:pt x="2440025" y="5876874"/>
                  </a:cubicBezTo>
                  <a:cubicBezTo>
                    <a:pt x="2445502" y="5874745"/>
                    <a:pt x="2450900" y="5872362"/>
                    <a:pt x="2456224" y="5869725"/>
                  </a:cubicBezTo>
                  <a:cubicBezTo>
                    <a:pt x="2461549" y="5867089"/>
                    <a:pt x="2466922" y="5864148"/>
                    <a:pt x="2472346" y="5860904"/>
                  </a:cubicBezTo>
                  <a:cubicBezTo>
                    <a:pt x="2477772" y="5857659"/>
                    <a:pt x="2483374" y="5853958"/>
                    <a:pt x="2489154" y="5849800"/>
                  </a:cubicBezTo>
                  <a:close/>
                  <a:moveTo>
                    <a:pt x="1599916" y="5849800"/>
                  </a:moveTo>
                  <a:lnTo>
                    <a:pt x="1614822" y="5849800"/>
                  </a:lnTo>
                  <a:lnTo>
                    <a:pt x="1614822" y="6072780"/>
                  </a:lnTo>
                  <a:lnTo>
                    <a:pt x="1579534" y="6072780"/>
                  </a:lnTo>
                  <a:lnTo>
                    <a:pt x="1579534" y="5892997"/>
                  </a:lnTo>
                  <a:cubicBezTo>
                    <a:pt x="1573146" y="5897560"/>
                    <a:pt x="1566276" y="5901438"/>
                    <a:pt x="1558925" y="5904633"/>
                  </a:cubicBezTo>
                  <a:cubicBezTo>
                    <a:pt x="1551573" y="5907827"/>
                    <a:pt x="1543182" y="5910640"/>
                    <a:pt x="1533752" y="5913074"/>
                  </a:cubicBezTo>
                  <a:lnTo>
                    <a:pt x="1533752" y="5882958"/>
                  </a:lnTo>
                  <a:cubicBezTo>
                    <a:pt x="1539633" y="5881032"/>
                    <a:pt x="1545312" y="5879004"/>
                    <a:pt x="1550787" y="5876874"/>
                  </a:cubicBezTo>
                  <a:cubicBezTo>
                    <a:pt x="1556263" y="5874745"/>
                    <a:pt x="1561663" y="5872362"/>
                    <a:pt x="1566986" y="5869725"/>
                  </a:cubicBezTo>
                  <a:cubicBezTo>
                    <a:pt x="1572310" y="5867089"/>
                    <a:pt x="1577684" y="5864148"/>
                    <a:pt x="1583109" y="5860904"/>
                  </a:cubicBezTo>
                  <a:cubicBezTo>
                    <a:pt x="1588534" y="5857659"/>
                    <a:pt x="1594136" y="5853958"/>
                    <a:pt x="1599916" y="5849800"/>
                  </a:cubicBezTo>
                  <a:close/>
                  <a:moveTo>
                    <a:pt x="480750" y="5849800"/>
                  </a:moveTo>
                  <a:lnTo>
                    <a:pt x="495656" y="5849800"/>
                  </a:lnTo>
                  <a:lnTo>
                    <a:pt x="495656" y="6072780"/>
                  </a:lnTo>
                  <a:lnTo>
                    <a:pt x="460368" y="6072780"/>
                  </a:lnTo>
                  <a:lnTo>
                    <a:pt x="460368" y="5892997"/>
                  </a:lnTo>
                  <a:cubicBezTo>
                    <a:pt x="453980" y="5897560"/>
                    <a:pt x="447110" y="5901438"/>
                    <a:pt x="439759" y="5904633"/>
                  </a:cubicBezTo>
                  <a:cubicBezTo>
                    <a:pt x="432407" y="5907827"/>
                    <a:pt x="424016" y="5910640"/>
                    <a:pt x="414586" y="5913074"/>
                  </a:cubicBezTo>
                  <a:lnTo>
                    <a:pt x="414586" y="5882958"/>
                  </a:lnTo>
                  <a:cubicBezTo>
                    <a:pt x="420467" y="5881032"/>
                    <a:pt x="426146" y="5879004"/>
                    <a:pt x="431621" y="5876874"/>
                  </a:cubicBezTo>
                  <a:cubicBezTo>
                    <a:pt x="437097" y="5874745"/>
                    <a:pt x="442497" y="5872362"/>
                    <a:pt x="447821" y="5869725"/>
                  </a:cubicBezTo>
                  <a:cubicBezTo>
                    <a:pt x="453144" y="5867089"/>
                    <a:pt x="458518" y="5864148"/>
                    <a:pt x="463943" y="5860904"/>
                  </a:cubicBezTo>
                  <a:cubicBezTo>
                    <a:pt x="469368" y="5857659"/>
                    <a:pt x="474970" y="5853958"/>
                    <a:pt x="480750" y="5849800"/>
                  </a:cubicBezTo>
                  <a:close/>
                  <a:moveTo>
                    <a:pt x="11877853" y="5842140"/>
                  </a:moveTo>
                  <a:cubicBezTo>
                    <a:pt x="11925297" y="5842140"/>
                    <a:pt x="11949020" y="5879003"/>
                    <a:pt x="11949020" y="5952728"/>
                  </a:cubicBezTo>
                  <a:cubicBezTo>
                    <a:pt x="11949020" y="5989239"/>
                    <a:pt x="11942324" y="6017099"/>
                    <a:pt x="11928934" y="6036307"/>
                  </a:cubicBezTo>
                  <a:cubicBezTo>
                    <a:pt x="11915543" y="6055516"/>
                    <a:pt x="11896811" y="6065120"/>
                    <a:pt x="11872737" y="6065120"/>
                  </a:cubicBezTo>
                  <a:cubicBezTo>
                    <a:pt x="11850269" y="6065120"/>
                    <a:pt x="11832740" y="6055942"/>
                    <a:pt x="11820152" y="6037586"/>
                  </a:cubicBezTo>
                  <a:cubicBezTo>
                    <a:pt x="11807563" y="6019230"/>
                    <a:pt x="11801269" y="5992699"/>
                    <a:pt x="11801269" y="5957994"/>
                  </a:cubicBezTo>
                  <a:cubicBezTo>
                    <a:pt x="11801269" y="5919877"/>
                    <a:pt x="11807839" y="5891040"/>
                    <a:pt x="11820979" y="5871480"/>
                  </a:cubicBezTo>
                  <a:cubicBezTo>
                    <a:pt x="11834120" y="5851920"/>
                    <a:pt x="11853077" y="5842140"/>
                    <a:pt x="11877853" y="5842140"/>
                  </a:cubicBezTo>
                  <a:close/>
                  <a:moveTo>
                    <a:pt x="6367990" y="5842140"/>
                  </a:moveTo>
                  <a:cubicBezTo>
                    <a:pt x="6415435" y="5842140"/>
                    <a:pt x="6439157" y="5879003"/>
                    <a:pt x="6439157" y="5952728"/>
                  </a:cubicBezTo>
                  <a:cubicBezTo>
                    <a:pt x="6439157" y="5989239"/>
                    <a:pt x="6432462" y="6017099"/>
                    <a:pt x="6419071" y="6036307"/>
                  </a:cubicBezTo>
                  <a:cubicBezTo>
                    <a:pt x="6405680" y="6055516"/>
                    <a:pt x="6386948" y="6065120"/>
                    <a:pt x="6362874" y="6065120"/>
                  </a:cubicBezTo>
                  <a:cubicBezTo>
                    <a:pt x="6340406" y="6065120"/>
                    <a:pt x="6322877" y="6055942"/>
                    <a:pt x="6310289" y="6037586"/>
                  </a:cubicBezTo>
                  <a:cubicBezTo>
                    <a:pt x="6297700" y="6019230"/>
                    <a:pt x="6291406" y="5992699"/>
                    <a:pt x="6291406" y="5957994"/>
                  </a:cubicBezTo>
                  <a:cubicBezTo>
                    <a:pt x="6291406" y="5919877"/>
                    <a:pt x="6297976" y="5891040"/>
                    <a:pt x="6311116" y="5871480"/>
                  </a:cubicBezTo>
                  <a:cubicBezTo>
                    <a:pt x="6324257" y="5851920"/>
                    <a:pt x="6343214" y="5842140"/>
                    <a:pt x="6367990" y="5842140"/>
                  </a:cubicBezTo>
                  <a:close/>
                  <a:moveTo>
                    <a:pt x="5090447" y="5842140"/>
                  </a:moveTo>
                  <a:cubicBezTo>
                    <a:pt x="5137892" y="5842140"/>
                    <a:pt x="5161614" y="5879003"/>
                    <a:pt x="5161614" y="5952728"/>
                  </a:cubicBezTo>
                  <a:cubicBezTo>
                    <a:pt x="5161614" y="5989239"/>
                    <a:pt x="5154919" y="6017099"/>
                    <a:pt x="5141528" y="6036307"/>
                  </a:cubicBezTo>
                  <a:cubicBezTo>
                    <a:pt x="5128136" y="6055516"/>
                    <a:pt x="5109405" y="6065120"/>
                    <a:pt x="5085331" y="6065120"/>
                  </a:cubicBezTo>
                  <a:cubicBezTo>
                    <a:pt x="5062862" y="6065120"/>
                    <a:pt x="5045334" y="6055942"/>
                    <a:pt x="5032746" y="6037586"/>
                  </a:cubicBezTo>
                  <a:cubicBezTo>
                    <a:pt x="5020157" y="6019230"/>
                    <a:pt x="5013863" y="5992699"/>
                    <a:pt x="5013863" y="5957994"/>
                  </a:cubicBezTo>
                  <a:cubicBezTo>
                    <a:pt x="5013863" y="5919877"/>
                    <a:pt x="5020435" y="5891040"/>
                    <a:pt x="5033573" y="5871480"/>
                  </a:cubicBezTo>
                  <a:cubicBezTo>
                    <a:pt x="5046714" y="5851920"/>
                    <a:pt x="5065671" y="5842140"/>
                    <a:pt x="5090447" y="5842140"/>
                  </a:cubicBezTo>
                  <a:close/>
                  <a:moveTo>
                    <a:pt x="11874294" y="5532345"/>
                  </a:moveTo>
                  <a:cubicBezTo>
                    <a:pt x="11848114" y="5532345"/>
                    <a:pt x="11835024" y="5561182"/>
                    <a:pt x="11835024" y="5618858"/>
                  </a:cubicBezTo>
                  <a:cubicBezTo>
                    <a:pt x="11835024" y="5672823"/>
                    <a:pt x="11847863" y="5699805"/>
                    <a:pt x="11873542" y="5699805"/>
                  </a:cubicBezTo>
                  <a:cubicBezTo>
                    <a:pt x="11898818" y="5699805"/>
                    <a:pt x="11911457" y="5672371"/>
                    <a:pt x="11911457" y="5617504"/>
                  </a:cubicBezTo>
                  <a:cubicBezTo>
                    <a:pt x="11911457" y="5560731"/>
                    <a:pt x="11899069" y="5532345"/>
                    <a:pt x="11874294" y="5532345"/>
                  </a:cubicBezTo>
                  <a:close/>
                  <a:moveTo>
                    <a:pt x="9936214" y="5532345"/>
                  </a:moveTo>
                  <a:cubicBezTo>
                    <a:pt x="9910034" y="5532345"/>
                    <a:pt x="9896944" y="5561183"/>
                    <a:pt x="9896944" y="5618859"/>
                  </a:cubicBezTo>
                  <a:cubicBezTo>
                    <a:pt x="9896944" y="5672823"/>
                    <a:pt x="9909783" y="5699806"/>
                    <a:pt x="9935462" y="5699806"/>
                  </a:cubicBezTo>
                  <a:cubicBezTo>
                    <a:pt x="9960738" y="5699806"/>
                    <a:pt x="9973377" y="5672372"/>
                    <a:pt x="9973377" y="5617505"/>
                  </a:cubicBezTo>
                  <a:cubicBezTo>
                    <a:pt x="9973377" y="5560732"/>
                    <a:pt x="9960989" y="5532345"/>
                    <a:pt x="9936214" y="5532345"/>
                  </a:cubicBezTo>
                  <a:close/>
                  <a:moveTo>
                    <a:pt x="6366335" y="5532345"/>
                  </a:moveTo>
                  <a:cubicBezTo>
                    <a:pt x="6340155" y="5532345"/>
                    <a:pt x="6327065" y="5561182"/>
                    <a:pt x="6327065" y="5618858"/>
                  </a:cubicBezTo>
                  <a:cubicBezTo>
                    <a:pt x="6327065" y="5672823"/>
                    <a:pt x="6339904" y="5699805"/>
                    <a:pt x="6365583" y="5699805"/>
                  </a:cubicBezTo>
                  <a:cubicBezTo>
                    <a:pt x="6390860" y="5699805"/>
                    <a:pt x="6403498" y="5672371"/>
                    <a:pt x="6403498" y="5617504"/>
                  </a:cubicBezTo>
                  <a:cubicBezTo>
                    <a:pt x="6403498" y="5560731"/>
                    <a:pt x="6391110" y="5532345"/>
                    <a:pt x="6366335" y="5532345"/>
                  </a:cubicBezTo>
                  <a:close/>
                  <a:moveTo>
                    <a:pt x="5088792" y="5532345"/>
                  </a:moveTo>
                  <a:cubicBezTo>
                    <a:pt x="5062613" y="5532345"/>
                    <a:pt x="5049522" y="5561182"/>
                    <a:pt x="5049522" y="5618858"/>
                  </a:cubicBezTo>
                  <a:cubicBezTo>
                    <a:pt x="5049522" y="5672823"/>
                    <a:pt x="5062362" y="5699805"/>
                    <a:pt x="5088041" y="5699805"/>
                  </a:cubicBezTo>
                  <a:cubicBezTo>
                    <a:pt x="5113318" y="5699805"/>
                    <a:pt x="5125957" y="5672371"/>
                    <a:pt x="5125957" y="5617504"/>
                  </a:cubicBezTo>
                  <a:cubicBezTo>
                    <a:pt x="5125957" y="5560731"/>
                    <a:pt x="5113567" y="5532345"/>
                    <a:pt x="5088792" y="5532345"/>
                  </a:cubicBezTo>
                  <a:close/>
                  <a:moveTo>
                    <a:pt x="11875949" y="5504510"/>
                  </a:moveTo>
                  <a:cubicBezTo>
                    <a:pt x="11923393" y="5504510"/>
                    <a:pt x="11947116" y="5541372"/>
                    <a:pt x="11947116" y="5615097"/>
                  </a:cubicBezTo>
                  <a:cubicBezTo>
                    <a:pt x="11947116" y="5651608"/>
                    <a:pt x="11940420" y="5679468"/>
                    <a:pt x="11927030" y="5698677"/>
                  </a:cubicBezTo>
                  <a:cubicBezTo>
                    <a:pt x="11913639" y="5717885"/>
                    <a:pt x="11894907" y="5727490"/>
                    <a:pt x="11870833" y="5727490"/>
                  </a:cubicBezTo>
                  <a:cubicBezTo>
                    <a:pt x="11848365" y="5727490"/>
                    <a:pt x="11830836" y="5718312"/>
                    <a:pt x="11818248" y="5699956"/>
                  </a:cubicBezTo>
                  <a:cubicBezTo>
                    <a:pt x="11805659" y="5681600"/>
                    <a:pt x="11799365" y="5655069"/>
                    <a:pt x="11799365" y="5620363"/>
                  </a:cubicBezTo>
                  <a:cubicBezTo>
                    <a:pt x="11799365" y="5582247"/>
                    <a:pt x="11805935" y="5553409"/>
                    <a:pt x="11819075" y="5533849"/>
                  </a:cubicBezTo>
                  <a:cubicBezTo>
                    <a:pt x="11832216" y="5514290"/>
                    <a:pt x="11851173" y="5504510"/>
                    <a:pt x="11875949" y="5504510"/>
                  </a:cubicBezTo>
                  <a:close/>
                  <a:moveTo>
                    <a:pt x="9937869" y="5504510"/>
                  </a:moveTo>
                  <a:cubicBezTo>
                    <a:pt x="9985313" y="5504510"/>
                    <a:pt x="10009036" y="5541373"/>
                    <a:pt x="10009036" y="5615098"/>
                  </a:cubicBezTo>
                  <a:cubicBezTo>
                    <a:pt x="10009036" y="5651609"/>
                    <a:pt x="10002340" y="5679469"/>
                    <a:pt x="9988950" y="5698677"/>
                  </a:cubicBezTo>
                  <a:cubicBezTo>
                    <a:pt x="9975559" y="5717886"/>
                    <a:pt x="9956827" y="5727490"/>
                    <a:pt x="9932753" y="5727490"/>
                  </a:cubicBezTo>
                  <a:cubicBezTo>
                    <a:pt x="9910285" y="5727490"/>
                    <a:pt x="9892756" y="5718312"/>
                    <a:pt x="9880168" y="5699956"/>
                  </a:cubicBezTo>
                  <a:cubicBezTo>
                    <a:pt x="9867579" y="5681600"/>
                    <a:pt x="9861285" y="5655069"/>
                    <a:pt x="9861285" y="5620364"/>
                  </a:cubicBezTo>
                  <a:cubicBezTo>
                    <a:pt x="9861285" y="5582247"/>
                    <a:pt x="9867855" y="5553410"/>
                    <a:pt x="9880995" y="5533850"/>
                  </a:cubicBezTo>
                  <a:cubicBezTo>
                    <a:pt x="9894136" y="5514290"/>
                    <a:pt x="9913093" y="5504510"/>
                    <a:pt x="9937869" y="5504510"/>
                  </a:cubicBezTo>
                  <a:close/>
                  <a:moveTo>
                    <a:pt x="6367990" y="5504510"/>
                  </a:moveTo>
                  <a:cubicBezTo>
                    <a:pt x="6415435" y="5504510"/>
                    <a:pt x="6439157" y="5541372"/>
                    <a:pt x="6439157" y="5615097"/>
                  </a:cubicBezTo>
                  <a:cubicBezTo>
                    <a:pt x="6439157" y="5651608"/>
                    <a:pt x="6432462" y="5679468"/>
                    <a:pt x="6419071" y="5698677"/>
                  </a:cubicBezTo>
                  <a:cubicBezTo>
                    <a:pt x="6405680" y="5717885"/>
                    <a:pt x="6386948" y="5727490"/>
                    <a:pt x="6362874" y="5727490"/>
                  </a:cubicBezTo>
                  <a:cubicBezTo>
                    <a:pt x="6340406" y="5727490"/>
                    <a:pt x="6322877" y="5718312"/>
                    <a:pt x="6310289" y="5699956"/>
                  </a:cubicBezTo>
                  <a:cubicBezTo>
                    <a:pt x="6297700" y="5681600"/>
                    <a:pt x="6291406" y="5655069"/>
                    <a:pt x="6291406" y="5620363"/>
                  </a:cubicBezTo>
                  <a:cubicBezTo>
                    <a:pt x="6291406" y="5582247"/>
                    <a:pt x="6297976" y="5553409"/>
                    <a:pt x="6311116" y="5533849"/>
                  </a:cubicBezTo>
                  <a:cubicBezTo>
                    <a:pt x="6324257" y="5514290"/>
                    <a:pt x="6343214" y="5504510"/>
                    <a:pt x="6367990" y="5504510"/>
                  </a:cubicBezTo>
                  <a:close/>
                  <a:moveTo>
                    <a:pt x="5090447" y="5504510"/>
                  </a:moveTo>
                  <a:cubicBezTo>
                    <a:pt x="5137892" y="5504510"/>
                    <a:pt x="5161614" y="5541372"/>
                    <a:pt x="5161614" y="5615097"/>
                  </a:cubicBezTo>
                  <a:cubicBezTo>
                    <a:pt x="5161614" y="5651608"/>
                    <a:pt x="5154919" y="5679468"/>
                    <a:pt x="5141528" y="5698677"/>
                  </a:cubicBezTo>
                  <a:cubicBezTo>
                    <a:pt x="5128136" y="5717885"/>
                    <a:pt x="5109405" y="5727490"/>
                    <a:pt x="5085331" y="5727490"/>
                  </a:cubicBezTo>
                  <a:cubicBezTo>
                    <a:pt x="5062862" y="5727490"/>
                    <a:pt x="5045334" y="5718312"/>
                    <a:pt x="5032746" y="5699956"/>
                  </a:cubicBezTo>
                  <a:cubicBezTo>
                    <a:pt x="5020157" y="5681600"/>
                    <a:pt x="5013863" y="5655069"/>
                    <a:pt x="5013863" y="5620363"/>
                  </a:cubicBezTo>
                  <a:cubicBezTo>
                    <a:pt x="5013863" y="5582247"/>
                    <a:pt x="5020435" y="5553409"/>
                    <a:pt x="5033573" y="5533849"/>
                  </a:cubicBezTo>
                  <a:cubicBezTo>
                    <a:pt x="5046714" y="5514290"/>
                    <a:pt x="5065671" y="5504510"/>
                    <a:pt x="5090447" y="5504510"/>
                  </a:cubicBezTo>
                  <a:close/>
                  <a:moveTo>
                    <a:pt x="12062430" y="5494669"/>
                  </a:moveTo>
                  <a:lnTo>
                    <a:pt x="12077336" y="5494669"/>
                  </a:lnTo>
                  <a:lnTo>
                    <a:pt x="12077336" y="5717649"/>
                  </a:lnTo>
                  <a:lnTo>
                    <a:pt x="12042048" y="5717649"/>
                  </a:lnTo>
                  <a:lnTo>
                    <a:pt x="12042048" y="5537865"/>
                  </a:lnTo>
                  <a:cubicBezTo>
                    <a:pt x="12035660" y="5542428"/>
                    <a:pt x="12028790" y="5546307"/>
                    <a:pt x="12021439" y="5549501"/>
                  </a:cubicBezTo>
                  <a:cubicBezTo>
                    <a:pt x="12014087" y="5552695"/>
                    <a:pt x="12005696" y="5555509"/>
                    <a:pt x="11996266" y="5557943"/>
                  </a:cubicBezTo>
                  <a:lnTo>
                    <a:pt x="11996266" y="5527827"/>
                  </a:lnTo>
                  <a:cubicBezTo>
                    <a:pt x="12002147" y="5525900"/>
                    <a:pt x="12007826" y="5523872"/>
                    <a:pt x="12013301" y="5521743"/>
                  </a:cubicBezTo>
                  <a:cubicBezTo>
                    <a:pt x="12018777" y="5519614"/>
                    <a:pt x="12024177" y="5517230"/>
                    <a:pt x="12029500" y="5514594"/>
                  </a:cubicBezTo>
                  <a:cubicBezTo>
                    <a:pt x="12034824" y="5511958"/>
                    <a:pt x="12040198" y="5509017"/>
                    <a:pt x="12045623" y="5505772"/>
                  </a:cubicBezTo>
                  <a:cubicBezTo>
                    <a:pt x="12051048" y="5502527"/>
                    <a:pt x="12056650" y="5498826"/>
                    <a:pt x="12062430" y="5494669"/>
                  </a:cubicBezTo>
                  <a:close/>
                  <a:moveTo>
                    <a:pt x="10143427" y="5494669"/>
                  </a:moveTo>
                  <a:lnTo>
                    <a:pt x="10158333" y="5494669"/>
                  </a:lnTo>
                  <a:lnTo>
                    <a:pt x="10158333" y="5717649"/>
                  </a:lnTo>
                  <a:lnTo>
                    <a:pt x="10123045" y="5717649"/>
                  </a:lnTo>
                  <a:lnTo>
                    <a:pt x="10123045" y="5537866"/>
                  </a:lnTo>
                  <a:cubicBezTo>
                    <a:pt x="10116657" y="5542429"/>
                    <a:pt x="10109787" y="5546307"/>
                    <a:pt x="10102436" y="5549502"/>
                  </a:cubicBezTo>
                  <a:cubicBezTo>
                    <a:pt x="10095084" y="5552696"/>
                    <a:pt x="10086693" y="5555509"/>
                    <a:pt x="10077263" y="5557943"/>
                  </a:cubicBezTo>
                  <a:lnTo>
                    <a:pt x="10077263" y="5527827"/>
                  </a:lnTo>
                  <a:cubicBezTo>
                    <a:pt x="10083144" y="5525901"/>
                    <a:pt x="10088823" y="5523873"/>
                    <a:pt x="10094298" y="5521743"/>
                  </a:cubicBezTo>
                  <a:cubicBezTo>
                    <a:pt x="10099774" y="5519614"/>
                    <a:pt x="10105174" y="5517231"/>
                    <a:pt x="10110497" y="5514594"/>
                  </a:cubicBezTo>
                  <a:cubicBezTo>
                    <a:pt x="10115821" y="5511958"/>
                    <a:pt x="10121195" y="5509017"/>
                    <a:pt x="10126620" y="5505773"/>
                  </a:cubicBezTo>
                  <a:cubicBezTo>
                    <a:pt x="10132045" y="5502528"/>
                    <a:pt x="10137647" y="5498827"/>
                    <a:pt x="10143427" y="5494669"/>
                  </a:cubicBezTo>
                  <a:close/>
                  <a:moveTo>
                    <a:pt x="9254256" y="5494669"/>
                  </a:moveTo>
                  <a:lnTo>
                    <a:pt x="9269162" y="5494669"/>
                  </a:lnTo>
                  <a:lnTo>
                    <a:pt x="9269162" y="5717649"/>
                  </a:lnTo>
                  <a:lnTo>
                    <a:pt x="9233874" y="5717649"/>
                  </a:lnTo>
                  <a:lnTo>
                    <a:pt x="9233874" y="5537865"/>
                  </a:lnTo>
                  <a:cubicBezTo>
                    <a:pt x="9227486" y="5542428"/>
                    <a:pt x="9220616" y="5546307"/>
                    <a:pt x="9213265" y="5549501"/>
                  </a:cubicBezTo>
                  <a:cubicBezTo>
                    <a:pt x="9205913" y="5552695"/>
                    <a:pt x="9197522" y="5555509"/>
                    <a:pt x="9188092" y="5557943"/>
                  </a:cubicBezTo>
                  <a:lnTo>
                    <a:pt x="9188092" y="5527827"/>
                  </a:lnTo>
                  <a:cubicBezTo>
                    <a:pt x="9193973" y="5525900"/>
                    <a:pt x="9199652" y="5523872"/>
                    <a:pt x="9205127" y="5521743"/>
                  </a:cubicBezTo>
                  <a:cubicBezTo>
                    <a:pt x="9210603" y="5519614"/>
                    <a:pt x="9216003" y="5517230"/>
                    <a:pt x="9221326" y="5514594"/>
                  </a:cubicBezTo>
                  <a:cubicBezTo>
                    <a:pt x="9226650" y="5511958"/>
                    <a:pt x="9232024" y="5509017"/>
                    <a:pt x="9237449" y="5505772"/>
                  </a:cubicBezTo>
                  <a:cubicBezTo>
                    <a:pt x="9242874" y="5502527"/>
                    <a:pt x="9248476" y="5498826"/>
                    <a:pt x="9254256" y="5494669"/>
                  </a:cubicBezTo>
                  <a:close/>
                  <a:moveTo>
                    <a:pt x="7851748" y="5494669"/>
                  </a:moveTo>
                  <a:lnTo>
                    <a:pt x="7866654" y="5494669"/>
                  </a:lnTo>
                  <a:lnTo>
                    <a:pt x="7866654" y="5717649"/>
                  </a:lnTo>
                  <a:lnTo>
                    <a:pt x="7831366" y="5717649"/>
                  </a:lnTo>
                  <a:lnTo>
                    <a:pt x="7831366" y="5537866"/>
                  </a:lnTo>
                  <a:cubicBezTo>
                    <a:pt x="7824978" y="5542429"/>
                    <a:pt x="7818109" y="5546307"/>
                    <a:pt x="7810757" y="5549502"/>
                  </a:cubicBezTo>
                  <a:cubicBezTo>
                    <a:pt x="7803405" y="5552696"/>
                    <a:pt x="7795015" y="5555509"/>
                    <a:pt x="7785584" y="5557943"/>
                  </a:cubicBezTo>
                  <a:lnTo>
                    <a:pt x="7785584" y="5527827"/>
                  </a:lnTo>
                  <a:cubicBezTo>
                    <a:pt x="7791465" y="5525901"/>
                    <a:pt x="7797144" y="5523873"/>
                    <a:pt x="7802619" y="5521743"/>
                  </a:cubicBezTo>
                  <a:cubicBezTo>
                    <a:pt x="7808095" y="5519614"/>
                    <a:pt x="7813495" y="5517231"/>
                    <a:pt x="7818818" y="5514594"/>
                  </a:cubicBezTo>
                  <a:cubicBezTo>
                    <a:pt x="7824142" y="5511958"/>
                    <a:pt x="7829516" y="5509017"/>
                    <a:pt x="7834941" y="5505773"/>
                  </a:cubicBezTo>
                  <a:cubicBezTo>
                    <a:pt x="7840366" y="5502528"/>
                    <a:pt x="7845968" y="5498827"/>
                    <a:pt x="7851748" y="5494669"/>
                  </a:cubicBezTo>
                  <a:close/>
                  <a:moveTo>
                    <a:pt x="7015147" y="5494669"/>
                  </a:moveTo>
                  <a:lnTo>
                    <a:pt x="7030053" y="5494669"/>
                  </a:lnTo>
                  <a:lnTo>
                    <a:pt x="7030053" y="5717649"/>
                  </a:lnTo>
                  <a:lnTo>
                    <a:pt x="6994765" y="5717649"/>
                  </a:lnTo>
                  <a:lnTo>
                    <a:pt x="6994765" y="5537865"/>
                  </a:lnTo>
                  <a:cubicBezTo>
                    <a:pt x="6988377" y="5542428"/>
                    <a:pt x="6981508" y="5546307"/>
                    <a:pt x="6974156" y="5549501"/>
                  </a:cubicBezTo>
                  <a:cubicBezTo>
                    <a:pt x="6966804" y="5552695"/>
                    <a:pt x="6958414" y="5555509"/>
                    <a:pt x="6948983" y="5557943"/>
                  </a:cubicBezTo>
                  <a:lnTo>
                    <a:pt x="6948983" y="5527827"/>
                  </a:lnTo>
                  <a:cubicBezTo>
                    <a:pt x="6954864" y="5525900"/>
                    <a:pt x="6960543" y="5523872"/>
                    <a:pt x="6966018" y="5521743"/>
                  </a:cubicBezTo>
                  <a:cubicBezTo>
                    <a:pt x="6971494" y="5519614"/>
                    <a:pt x="6976894" y="5517230"/>
                    <a:pt x="6982217" y="5514594"/>
                  </a:cubicBezTo>
                  <a:cubicBezTo>
                    <a:pt x="6987541" y="5511958"/>
                    <a:pt x="6992915" y="5509017"/>
                    <a:pt x="6998340" y="5505772"/>
                  </a:cubicBezTo>
                  <a:cubicBezTo>
                    <a:pt x="7003765" y="5502527"/>
                    <a:pt x="7009367" y="5498826"/>
                    <a:pt x="7015147" y="5494669"/>
                  </a:cubicBezTo>
                  <a:close/>
                  <a:moveTo>
                    <a:pt x="4694968" y="5494669"/>
                  </a:moveTo>
                  <a:lnTo>
                    <a:pt x="4709876" y="5494669"/>
                  </a:lnTo>
                  <a:lnTo>
                    <a:pt x="4709876" y="5717649"/>
                  </a:lnTo>
                  <a:lnTo>
                    <a:pt x="4674589" y="5717649"/>
                  </a:lnTo>
                  <a:lnTo>
                    <a:pt x="4674589" y="5537865"/>
                  </a:lnTo>
                  <a:cubicBezTo>
                    <a:pt x="4668200" y="5542428"/>
                    <a:pt x="4661331" y="5546307"/>
                    <a:pt x="4653978" y="5549501"/>
                  </a:cubicBezTo>
                  <a:cubicBezTo>
                    <a:pt x="4646628" y="5552695"/>
                    <a:pt x="4638236" y="5555509"/>
                    <a:pt x="4628805" y="5557943"/>
                  </a:cubicBezTo>
                  <a:lnTo>
                    <a:pt x="4628805" y="5527827"/>
                  </a:lnTo>
                  <a:cubicBezTo>
                    <a:pt x="4634687" y="5525900"/>
                    <a:pt x="4640364" y="5523872"/>
                    <a:pt x="4645841" y="5521743"/>
                  </a:cubicBezTo>
                  <a:cubicBezTo>
                    <a:pt x="4651316" y="5519614"/>
                    <a:pt x="4656717" y="5517230"/>
                    <a:pt x="4662040" y="5514594"/>
                  </a:cubicBezTo>
                  <a:cubicBezTo>
                    <a:pt x="4667363" y="5511958"/>
                    <a:pt x="4672738" y="5509017"/>
                    <a:pt x="4678162" y="5505772"/>
                  </a:cubicBezTo>
                  <a:cubicBezTo>
                    <a:pt x="4683588" y="5502527"/>
                    <a:pt x="4689190" y="5498826"/>
                    <a:pt x="4694968" y="5494669"/>
                  </a:cubicBezTo>
                  <a:close/>
                  <a:moveTo>
                    <a:pt x="3158682" y="5494669"/>
                  </a:moveTo>
                  <a:lnTo>
                    <a:pt x="3173587" y="5494669"/>
                  </a:lnTo>
                  <a:lnTo>
                    <a:pt x="3173587" y="5717649"/>
                  </a:lnTo>
                  <a:lnTo>
                    <a:pt x="3138299" y="5717649"/>
                  </a:lnTo>
                  <a:lnTo>
                    <a:pt x="3138299" y="5537866"/>
                  </a:lnTo>
                  <a:cubicBezTo>
                    <a:pt x="3131912" y="5542429"/>
                    <a:pt x="3125042" y="5546307"/>
                    <a:pt x="3117690" y="5549502"/>
                  </a:cubicBezTo>
                  <a:cubicBezTo>
                    <a:pt x="3110339" y="5552696"/>
                    <a:pt x="3101948" y="5555509"/>
                    <a:pt x="3092517" y="5557943"/>
                  </a:cubicBezTo>
                  <a:lnTo>
                    <a:pt x="3092517" y="5527827"/>
                  </a:lnTo>
                  <a:cubicBezTo>
                    <a:pt x="3098398" y="5525901"/>
                    <a:pt x="3104077" y="5523873"/>
                    <a:pt x="3109553" y="5521743"/>
                  </a:cubicBezTo>
                  <a:cubicBezTo>
                    <a:pt x="3115028" y="5519614"/>
                    <a:pt x="3120428" y="5517231"/>
                    <a:pt x="3125751" y="5514594"/>
                  </a:cubicBezTo>
                  <a:cubicBezTo>
                    <a:pt x="3131075" y="5511958"/>
                    <a:pt x="3136449" y="5509017"/>
                    <a:pt x="3141875" y="5505773"/>
                  </a:cubicBezTo>
                  <a:cubicBezTo>
                    <a:pt x="3147300" y="5502528"/>
                    <a:pt x="3152901" y="5498827"/>
                    <a:pt x="3158682" y="5494669"/>
                  </a:cubicBezTo>
                  <a:close/>
                  <a:moveTo>
                    <a:pt x="2489154" y="5494669"/>
                  </a:moveTo>
                  <a:lnTo>
                    <a:pt x="2504060" y="5494669"/>
                  </a:lnTo>
                  <a:lnTo>
                    <a:pt x="2504060" y="5717649"/>
                  </a:lnTo>
                  <a:lnTo>
                    <a:pt x="2468772" y="5717649"/>
                  </a:lnTo>
                  <a:lnTo>
                    <a:pt x="2468772" y="5537866"/>
                  </a:lnTo>
                  <a:cubicBezTo>
                    <a:pt x="2462385" y="5542429"/>
                    <a:pt x="2455514" y="5546307"/>
                    <a:pt x="2448163" y="5549502"/>
                  </a:cubicBezTo>
                  <a:cubicBezTo>
                    <a:pt x="2440812" y="5552696"/>
                    <a:pt x="2432420" y="5555509"/>
                    <a:pt x="2422990" y="5557943"/>
                  </a:cubicBezTo>
                  <a:lnTo>
                    <a:pt x="2422990" y="5527827"/>
                  </a:lnTo>
                  <a:cubicBezTo>
                    <a:pt x="2428871" y="5525901"/>
                    <a:pt x="2434551" y="5523873"/>
                    <a:pt x="2440025" y="5521743"/>
                  </a:cubicBezTo>
                  <a:cubicBezTo>
                    <a:pt x="2445502" y="5519614"/>
                    <a:pt x="2450900" y="5517231"/>
                    <a:pt x="2456224" y="5514594"/>
                  </a:cubicBezTo>
                  <a:cubicBezTo>
                    <a:pt x="2461549" y="5511958"/>
                    <a:pt x="2466922" y="5509017"/>
                    <a:pt x="2472346" y="5505773"/>
                  </a:cubicBezTo>
                  <a:cubicBezTo>
                    <a:pt x="2477772" y="5502528"/>
                    <a:pt x="2483374" y="5498827"/>
                    <a:pt x="2489154" y="5494669"/>
                  </a:cubicBezTo>
                  <a:close/>
                  <a:moveTo>
                    <a:pt x="1599916" y="5494669"/>
                  </a:moveTo>
                  <a:lnTo>
                    <a:pt x="1614822" y="5494669"/>
                  </a:lnTo>
                  <a:lnTo>
                    <a:pt x="1614822" y="5717649"/>
                  </a:lnTo>
                  <a:lnTo>
                    <a:pt x="1579534" y="5717649"/>
                  </a:lnTo>
                  <a:lnTo>
                    <a:pt x="1579534" y="5537866"/>
                  </a:lnTo>
                  <a:cubicBezTo>
                    <a:pt x="1573146" y="5542429"/>
                    <a:pt x="1566276" y="5546307"/>
                    <a:pt x="1558925" y="5549502"/>
                  </a:cubicBezTo>
                  <a:cubicBezTo>
                    <a:pt x="1551573" y="5552696"/>
                    <a:pt x="1543182" y="5555509"/>
                    <a:pt x="1533752" y="5557943"/>
                  </a:cubicBezTo>
                  <a:lnTo>
                    <a:pt x="1533752" y="5527827"/>
                  </a:lnTo>
                  <a:cubicBezTo>
                    <a:pt x="1539633" y="5525901"/>
                    <a:pt x="1545312" y="5523873"/>
                    <a:pt x="1550787" y="5521743"/>
                  </a:cubicBezTo>
                  <a:cubicBezTo>
                    <a:pt x="1556263" y="5519614"/>
                    <a:pt x="1561663" y="5517231"/>
                    <a:pt x="1566986" y="5514594"/>
                  </a:cubicBezTo>
                  <a:cubicBezTo>
                    <a:pt x="1572310" y="5511958"/>
                    <a:pt x="1577684" y="5509017"/>
                    <a:pt x="1583109" y="5505773"/>
                  </a:cubicBezTo>
                  <a:cubicBezTo>
                    <a:pt x="1588534" y="5502528"/>
                    <a:pt x="1594136" y="5498827"/>
                    <a:pt x="1599916" y="5494669"/>
                  </a:cubicBezTo>
                  <a:close/>
                  <a:moveTo>
                    <a:pt x="480750" y="5494669"/>
                  </a:moveTo>
                  <a:lnTo>
                    <a:pt x="495656" y="5494669"/>
                  </a:lnTo>
                  <a:lnTo>
                    <a:pt x="495656" y="5717649"/>
                  </a:lnTo>
                  <a:lnTo>
                    <a:pt x="460368" y="5717649"/>
                  </a:lnTo>
                  <a:lnTo>
                    <a:pt x="460368" y="5537866"/>
                  </a:lnTo>
                  <a:cubicBezTo>
                    <a:pt x="453980" y="5542429"/>
                    <a:pt x="447110" y="5546307"/>
                    <a:pt x="439759" y="5549502"/>
                  </a:cubicBezTo>
                  <a:cubicBezTo>
                    <a:pt x="432407" y="5552696"/>
                    <a:pt x="424016" y="5555509"/>
                    <a:pt x="414586" y="5557943"/>
                  </a:cubicBezTo>
                  <a:lnTo>
                    <a:pt x="414586" y="5527827"/>
                  </a:lnTo>
                  <a:cubicBezTo>
                    <a:pt x="420467" y="5525901"/>
                    <a:pt x="426146" y="5523873"/>
                    <a:pt x="431621" y="5521743"/>
                  </a:cubicBezTo>
                  <a:cubicBezTo>
                    <a:pt x="437097" y="5519614"/>
                    <a:pt x="442497" y="5517231"/>
                    <a:pt x="447821" y="5514594"/>
                  </a:cubicBezTo>
                  <a:cubicBezTo>
                    <a:pt x="453144" y="5511958"/>
                    <a:pt x="458518" y="5509017"/>
                    <a:pt x="463943" y="5505773"/>
                  </a:cubicBezTo>
                  <a:cubicBezTo>
                    <a:pt x="469368" y="5502528"/>
                    <a:pt x="474970" y="5498827"/>
                    <a:pt x="480750" y="5494669"/>
                  </a:cubicBezTo>
                  <a:close/>
                  <a:moveTo>
                    <a:pt x="476799" y="5197154"/>
                  </a:moveTo>
                  <a:cubicBezTo>
                    <a:pt x="450619" y="5197154"/>
                    <a:pt x="437529" y="5225992"/>
                    <a:pt x="437529" y="5283668"/>
                  </a:cubicBezTo>
                  <a:cubicBezTo>
                    <a:pt x="437529" y="5337632"/>
                    <a:pt x="450368" y="5364615"/>
                    <a:pt x="476046" y="5364615"/>
                  </a:cubicBezTo>
                  <a:cubicBezTo>
                    <a:pt x="501323" y="5364615"/>
                    <a:pt x="513962" y="5337181"/>
                    <a:pt x="513962" y="5282314"/>
                  </a:cubicBezTo>
                  <a:cubicBezTo>
                    <a:pt x="513962" y="5225541"/>
                    <a:pt x="501574" y="5197154"/>
                    <a:pt x="476799" y="5197154"/>
                  </a:cubicBezTo>
                  <a:close/>
                  <a:moveTo>
                    <a:pt x="11874294" y="5184874"/>
                  </a:moveTo>
                  <a:cubicBezTo>
                    <a:pt x="11848114" y="5184874"/>
                    <a:pt x="11835024" y="5213711"/>
                    <a:pt x="11835024" y="5271387"/>
                  </a:cubicBezTo>
                  <a:cubicBezTo>
                    <a:pt x="11835024" y="5325352"/>
                    <a:pt x="11847863" y="5352334"/>
                    <a:pt x="11873542" y="5352334"/>
                  </a:cubicBezTo>
                  <a:cubicBezTo>
                    <a:pt x="11898818" y="5352334"/>
                    <a:pt x="11911457" y="5324900"/>
                    <a:pt x="11911457" y="5270033"/>
                  </a:cubicBezTo>
                  <a:cubicBezTo>
                    <a:pt x="11911457" y="5213260"/>
                    <a:pt x="11899069" y="5184874"/>
                    <a:pt x="11874294" y="5184874"/>
                  </a:cubicBezTo>
                  <a:close/>
                  <a:moveTo>
                    <a:pt x="9936214" y="5184874"/>
                  </a:moveTo>
                  <a:cubicBezTo>
                    <a:pt x="9910034" y="5184874"/>
                    <a:pt x="9896944" y="5213712"/>
                    <a:pt x="9896944" y="5271388"/>
                  </a:cubicBezTo>
                  <a:cubicBezTo>
                    <a:pt x="9896944" y="5325352"/>
                    <a:pt x="9909783" y="5352335"/>
                    <a:pt x="9935462" y="5352335"/>
                  </a:cubicBezTo>
                  <a:cubicBezTo>
                    <a:pt x="9960738" y="5352335"/>
                    <a:pt x="9973377" y="5324901"/>
                    <a:pt x="9973377" y="5270034"/>
                  </a:cubicBezTo>
                  <a:cubicBezTo>
                    <a:pt x="9973377" y="5213261"/>
                    <a:pt x="9960989" y="5184874"/>
                    <a:pt x="9936214" y="5184874"/>
                  </a:cubicBezTo>
                  <a:close/>
                  <a:moveTo>
                    <a:pt x="6366335" y="5184874"/>
                  </a:moveTo>
                  <a:cubicBezTo>
                    <a:pt x="6340155" y="5184874"/>
                    <a:pt x="6327065" y="5213711"/>
                    <a:pt x="6327065" y="5271387"/>
                  </a:cubicBezTo>
                  <a:cubicBezTo>
                    <a:pt x="6327065" y="5325352"/>
                    <a:pt x="6339904" y="5352334"/>
                    <a:pt x="6365583" y="5352334"/>
                  </a:cubicBezTo>
                  <a:cubicBezTo>
                    <a:pt x="6390860" y="5352334"/>
                    <a:pt x="6403498" y="5324900"/>
                    <a:pt x="6403498" y="5270033"/>
                  </a:cubicBezTo>
                  <a:cubicBezTo>
                    <a:pt x="6403498" y="5213260"/>
                    <a:pt x="6391110" y="5184874"/>
                    <a:pt x="6366335" y="5184874"/>
                  </a:cubicBezTo>
                  <a:close/>
                  <a:moveTo>
                    <a:pt x="5088792" y="5184874"/>
                  </a:moveTo>
                  <a:cubicBezTo>
                    <a:pt x="5062613" y="5184874"/>
                    <a:pt x="5049522" y="5213711"/>
                    <a:pt x="5049522" y="5271387"/>
                  </a:cubicBezTo>
                  <a:cubicBezTo>
                    <a:pt x="5049522" y="5325352"/>
                    <a:pt x="5062362" y="5352334"/>
                    <a:pt x="5088041" y="5352334"/>
                  </a:cubicBezTo>
                  <a:cubicBezTo>
                    <a:pt x="5113318" y="5352334"/>
                    <a:pt x="5125957" y="5324900"/>
                    <a:pt x="5125957" y="5270033"/>
                  </a:cubicBezTo>
                  <a:cubicBezTo>
                    <a:pt x="5125957" y="5213260"/>
                    <a:pt x="5113567" y="5184874"/>
                    <a:pt x="5088792" y="5184874"/>
                  </a:cubicBezTo>
                  <a:close/>
                  <a:moveTo>
                    <a:pt x="478454" y="5169319"/>
                  </a:moveTo>
                  <a:cubicBezTo>
                    <a:pt x="525898" y="5169319"/>
                    <a:pt x="549621" y="5206182"/>
                    <a:pt x="549621" y="5279907"/>
                  </a:cubicBezTo>
                  <a:cubicBezTo>
                    <a:pt x="549621" y="5316418"/>
                    <a:pt x="542925" y="5344278"/>
                    <a:pt x="529535" y="5363486"/>
                  </a:cubicBezTo>
                  <a:cubicBezTo>
                    <a:pt x="516144" y="5382695"/>
                    <a:pt x="497412" y="5392299"/>
                    <a:pt x="473338" y="5392299"/>
                  </a:cubicBezTo>
                  <a:cubicBezTo>
                    <a:pt x="450870" y="5392299"/>
                    <a:pt x="433341" y="5383121"/>
                    <a:pt x="420753" y="5364765"/>
                  </a:cubicBezTo>
                  <a:cubicBezTo>
                    <a:pt x="408164" y="5346409"/>
                    <a:pt x="401870" y="5319878"/>
                    <a:pt x="401870" y="5285173"/>
                  </a:cubicBezTo>
                  <a:cubicBezTo>
                    <a:pt x="401870" y="5247056"/>
                    <a:pt x="408440" y="5218219"/>
                    <a:pt x="421580" y="5198659"/>
                  </a:cubicBezTo>
                  <a:cubicBezTo>
                    <a:pt x="434721" y="5179099"/>
                    <a:pt x="453678" y="5169319"/>
                    <a:pt x="478454" y="5169319"/>
                  </a:cubicBezTo>
                  <a:close/>
                  <a:moveTo>
                    <a:pt x="12062430" y="5157039"/>
                  </a:moveTo>
                  <a:lnTo>
                    <a:pt x="12077336" y="5157039"/>
                  </a:lnTo>
                  <a:lnTo>
                    <a:pt x="12077336" y="5380019"/>
                  </a:lnTo>
                  <a:lnTo>
                    <a:pt x="12042048" y="5380019"/>
                  </a:lnTo>
                  <a:lnTo>
                    <a:pt x="12042048" y="5200235"/>
                  </a:lnTo>
                  <a:cubicBezTo>
                    <a:pt x="12035660" y="5204798"/>
                    <a:pt x="12028790" y="5208677"/>
                    <a:pt x="12021439" y="5211871"/>
                  </a:cubicBezTo>
                  <a:cubicBezTo>
                    <a:pt x="12014087" y="5215065"/>
                    <a:pt x="12005696" y="5217879"/>
                    <a:pt x="11996266" y="5220313"/>
                  </a:cubicBezTo>
                  <a:lnTo>
                    <a:pt x="11996266" y="5190197"/>
                  </a:lnTo>
                  <a:cubicBezTo>
                    <a:pt x="12002147" y="5188270"/>
                    <a:pt x="12007826" y="5186242"/>
                    <a:pt x="12013301" y="5184113"/>
                  </a:cubicBezTo>
                  <a:cubicBezTo>
                    <a:pt x="12018777" y="5181984"/>
                    <a:pt x="12024177" y="5179600"/>
                    <a:pt x="12029500" y="5176964"/>
                  </a:cubicBezTo>
                  <a:cubicBezTo>
                    <a:pt x="12034824" y="5174328"/>
                    <a:pt x="12040198" y="5171387"/>
                    <a:pt x="12045623" y="5168142"/>
                  </a:cubicBezTo>
                  <a:cubicBezTo>
                    <a:pt x="12051048" y="5164897"/>
                    <a:pt x="12056650" y="5161196"/>
                    <a:pt x="12062430" y="5157039"/>
                  </a:cubicBezTo>
                  <a:close/>
                  <a:moveTo>
                    <a:pt x="11875949" y="5157039"/>
                  </a:moveTo>
                  <a:cubicBezTo>
                    <a:pt x="11923393" y="5157039"/>
                    <a:pt x="11947116" y="5193901"/>
                    <a:pt x="11947116" y="5267626"/>
                  </a:cubicBezTo>
                  <a:cubicBezTo>
                    <a:pt x="11947116" y="5304137"/>
                    <a:pt x="11940420" y="5331997"/>
                    <a:pt x="11927030" y="5351206"/>
                  </a:cubicBezTo>
                  <a:cubicBezTo>
                    <a:pt x="11913639" y="5370414"/>
                    <a:pt x="11894907" y="5380019"/>
                    <a:pt x="11870833" y="5380019"/>
                  </a:cubicBezTo>
                  <a:cubicBezTo>
                    <a:pt x="11848365" y="5380019"/>
                    <a:pt x="11830836" y="5370841"/>
                    <a:pt x="11818248" y="5352485"/>
                  </a:cubicBezTo>
                  <a:cubicBezTo>
                    <a:pt x="11805659" y="5334129"/>
                    <a:pt x="11799365" y="5307598"/>
                    <a:pt x="11799365" y="5272892"/>
                  </a:cubicBezTo>
                  <a:cubicBezTo>
                    <a:pt x="11799365" y="5234776"/>
                    <a:pt x="11805935" y="5205938"/>
                    <a:pt x="11819075" y="5186378"/>
                  </a:cubicBezTo>
                  <a:cubicBezTo>
                    <a:pt x="11832216" y="5166819"/>
                    <a:pt x="11851173" y="5157039"/>
                    <a:pt x="11875949" y="5157039"/>
                  </a:cubicBezTo>
                  <a:close/>
                  <a:moveTo>
                    <a:pt x="10143427" y="5157039"/>
                  </a:moveTo>
                  <a:lnTo>
                    <a:pt x="10158333" y="5157039"/>
                  </a:lnTo>
                  <a:lnTo>
                    <a:pt x="10158333" y="5380019"/>
                  </a:lnTo>
                  <a:lnTo>
                    <a:pt x="10123045" y="5380019"/>
                  </a:lnTo>
                  <a:lnTo>
                    <a:pt x="10123045" y="5200236"/>
                  </a:lnTo>
                  <a:cubicBezTo>
                    <a:pt x="10116657" y="5204799"/>
                    <a:pt x="10109787" y="5208677"/>
                    <a:pt x="10102436" y="5211872"/>
                  </a:cubicBezTo>
                  <a:cubicBezTo>
                    <a:pt x="10095084" y="5215066"/>
                    <a:pt x="10086693" y="5217879"/>
                    <a:pt x="10077263" y="5220313"/>
                  </a:cubicBezTo>
                  <a:lnTo>
                    <a:pt x="10077263" y="5190197"/>
                  </a:lnTo>
                  <a:cubicBezTo>
                    <a:pt x="10083144" y="5188271"/>
                    <a:pt x="10088823" y="5186243"/>
                    <a:pt x="10094298" y="5184113"/>
                  </a:cubicBezTo>
                  <a:cubicBezTo>
                    <a:pt x="10099774" y="5181984"/>
                    <a:pt x="10105174" y="5179601"/>
                    <a:pt x="10110497" y="5176964"/>
                  </a:cubicBezTo>
                  <a:cubicBezTo>
                    <a:pt x="10115821" y="5174328"/>
                    <a:pt x="10121195" y="5171387"/>
                    <a:pt x="10126620" y="5168143"/>
                  </a:cubicBezTo>
                  <a:cubicBezTo>
                    <a:pt x="10132045" y="5164898"/>
                    <a:pt x="10137647" y="5161197"/>
                    <a:pt x="10143427" y="5157039"/>
                  </a:cubicBezTo>
                  <a:close/>
                  <a:moveTo>
                    <a:pt x="9937869" y="5157039"/>
                  </a:moveTo>
                  <a:cubicBezTo>
                    <a:pt x="9985313" y="5157039"/>
                    <a:pt x="10009036" y="5193902"/>
                    <a:pt x="10009036" y="5267627"/>
                  </a:cubicBezTo>
                  <a:cubicBezTo>
                    <a:pt x="10009036" y="5304138"/>
                    <a:pt x="10002340" y="5331998"/>
                    <a:pt x="9988950" y="5351206"/>
                  </a:cubicBezTo>
                  <a:cubicBezTo>
                    <a:pt x="9975559" y="5370415"/>
                    <a:pt x="9956827" y="5380019"/>
                    <a:pt x="9932753" y="5380019"/>
                  </a:cubicBezTo>
                  <a:cubicBezTo>
                    <a:pt x="9910285" y="5380019"/>
                    <a:pt x="9892756" y="5370841"/>
                    <a:pt x="9880168" y="5352485"/>
                  </a:cubicBezTo>
                  <a:cubicBezTo>
                    <a:pt x="9867579" y="5334129"/>
                    <a:pt x="9861285" y="5307598"/>
                    <a:pt x="9861285" y="5272893"/>
                  </a:cubicBezTo>
                  <a:cubicBezTo>
                    <a:pt x="9861285" y="5234776"/>
                    <a:pt x="9867855" y="5205939"/>
                    <a:pt x="9880995" y="5186379"/>
                  </a:cubicBezTo>
                  <a:cubicBezTo>
                    <a:pt x="9894136" y="5166819"/>
                    <a:pt x="9913093" y="5157039"/>
                    <a:pt x="9937869" y="5157039"/>
                  </a:cubicBezTo>
                  <a:close/>
                  <a:moveTo>
                    <a:pt x="9254256" y="5157039"/>
                  </a:moveTo>
                  <a:lnTo>
                    <a:pt x="9269162" y="5157039"/>
                  </a:lnTo>
                  <a:lnTo>
                    <a:pt x="9269162" y="5380019"/>
                  </a:lnTo>
                  <a:lnTo>
                    <a:pt x="9233874" y="5380019"/>
                  </a:lnTo>
                  <a:lnTo>
                    <a:pt x="9233874" y="5200235"/>
                  </a:lnTo>
                  <a:cubicBezTo>
                    <a:pt x="9227486" y="5204798"/>
                    <a:pt x="9220616" y="5208677"/>
                    <a:pt x="9213265" y="5211871"/>
                  </a:cubicBezTo>
                  <a:cubicBezTo>
                    <a:pt x="9205913" y="5215065"/>
                    <a:pt x="9197522" y="5217879"/>
                    <a:pt x="9188092" y="5220313"/>
                  </a:cubicBezTo>
                  <a:lnTo>
                    <a:pt x="9188092" y="5190197"/>
                  </a:lnTo>
                  <a:cubicBezTo>
                    <a:pt x="9193973" y="5188270"/>
                    <a:pt x="9199652" y="5186242"/>
                    <a:pt x="9205127" y="5184113"/>
                  </a:cubicBezTo>
                  <a:cubicBezTo>
                    <a:pt x="9210603" y="5181984"/>
                    <a:pt x="9216003" y="5179600"/>
                    <a:pt x="9221326" y="5176964"/>
                  </a:cubicBezTo>
                  <a:cubicBezTo>
                    <a:pt x="9226650" y="5174328"/>
                    <a:pt x="9232024" y="5171387"/>
                    <a:pt x="9237449" y="5168142"/>
                  </a:cubicBezTo>
                  <a:cubicBezTo>
                    <a:pt x="9242874" y="5164897"/>
                    <a:pt x="9248476" y="5161196"/>
                    <a:pt x="9254256" y="5157039"/>
                  </a:cubicBezTo>
                  <a:close/>
                  <a:moveTo>
                    <a:pt x="7851748" y="5157039"/>
                  </a:moveTo>
                  <a:lnTo>
                    <a:pt x="7866654" y="5157039"/>
                  </a:lnTo>
                  <a:lnTo>
                    <a:pt x="7866654" y="5380019"/>
                  </a:lnTo>
                  <a:lnTo>
                    <a:pt x="7831366" y="5380019"/>
                  </a:lnTo>
                  <a:lnTo>
                    <a:pt x="7831366" y="5200236"/>
                  </a:lnTo>
                  <a:cubicBezTo>
                    <a:pt x="7824978" y="5204799"/>
                    <a:pt x="7818109" y="5208677"/>
                    <a:pt x="7810757" y="5211872"/>
                  </a:cubicBezTo>
                  <a:cubicBezTo>
                    <a:pt x="7803405" y="5215066"/>
                    <a:pt x="7795015" y="5217879"/>
                    <a:pt x="7785584" y="5220313"/>
                  </a:cubicBezTo>
                  <a:lnTo>
                    <a:pt x="7785584" y="5190197"/>
                  </a:lnTo>
                  <a:cubicBezTo>
                    <a:pt x="7791465" y="5188271"/>
                    <a:pt x="7797144" y="5186243"/>
                    <a:pt x="7802619" y="5184113"/>
                  </a:cubicBezTo>
                  <a:cubicBezTo>
                    <a:pt x="7808095" y="5181984"/>
                    <a:pt x="7813495" y="5179601"/>
                    <a:pt x="7818818" y="5176964"/>
                  </a:cubicBezTo>
                  <a:cubicBezTo>
                    <a:pt x="7824142" y="5174328"/>
                    <a:pt x="7829516" y="5171387"/>
                    <a:pt x="7834941" y="5168143"/>
                  </a:cubicBezTo>
                  <a:cubicBezTo>
                    <a:pt x="7840366" y="5164898"/>
                    <a:pt x="7845968" y="5161197"/>
                    <a:pt x="7851748" y="5157039"/>
                  </a:cubicBezTo>
                  <a:close/>
                  <a:moveTo>
                    <a:pt x="7015147" y="5157039"/>
                  </a:moveTo>
                  <a:lnTo>
                    <a:pt x="7030053" y="5157039"/>
                  </a:lnTo>
                  <a:lnTo>
                    <a:pt x="7030053" y="5380019"/>
                  </a:lnTo>
                  <a:lnTo>
                    <a:pt x="6994765" y="5380019"/>
                  </a:lnTo>
                  <a:lnTo>
                    <a:pt x="6994765" y="5200235"/>
                  </a:lnTo>
                  <a:cubicBezTo>
                    <a:pt x="6988377" y="5204798"/>
                    <a:pt x="6981508" y="5208677"/>
                    <a:pt x="6974156" y="5211871"/>
                  </a:cubicBezTo>
                  <a:cubicBezTo>
                    <a:pt x="6966804" y="5215065"/>
                    <a:pt x="6958414" y="5217879"/>
                    <a:pt x="6948983" y="5220313"/>
                  </a:cubicBezTo>
                  <a:lnTo>
                    <a:pt x="6948983" y="5190197"/>
                  </a:lnTo>
                  <a:cubicBezTo>
                    <a:pt x="6954864" y="5188270"/>
                    <a:pt x="6960543" y="5186242"/>
                    <a:pt x="6966018" y="5184113"/>
                  </a:cubicBezTo>
                  <a:cubicBezTo>
                    <a:pt x="6971494" y="5181984"/>
                    <a:pt x="6976894" y="5179600"/>
                    <a:pt x="6982217" y="5176964"/>
                  </a:cubicBezTo>
                  <a:cubicBezTo>
                    <a:pt x="6987541" y="5174328"/>
                    <a:pt x="6992915" y="5171387"/>
                    <a:pt x="6998340" y="5168142"/>
                  </a:cubicBezTo>
                  <a:cubicBezTo>
                    <a:pt x="7003765" y="5164897"/>
                    <a:pt x="7009367" y="5161196"/>
                    <a:pt x="7015147" y="5157039"/>
                  </a:cubicBezTo>
                  <a:close/>
                  <a:moveTo>
                    <a:pt x="6584323" y="5157039"/>
                  </a:moveTo>
                  <a:lnTo>
                    <a:pt x="6599229" y="5157039"/>
                  </a:lnTo>
                  <a:lnTo>
                    <a:pt x="6599229" y="5380019"/>
                  </a:lnTo>
                  <a:lnTo>
                    <a:pt x="6563941" y="5380019"/>
                  </a:lnTo>
                  <a:lnTo>
                    <a:pt x="6563941" y="5200235"/>
                  </a:lnTo>
                  <a:cubicBezTo>
                    <a:pt x="6557553" y="5204798"/>
                    <a:pt x="6550684" y="5208677"/>
                    <a:pt x="6543332" y="5211871"/>
                  </a:cubicBezTo>
                  <a:cubicBezTo>
                    <a:pt x="6535980" y="5215065"/>
                    <a:pt x="6527590" y="5217879"/>
                    <a:pt x="6518159" y="5220313"/>
                  </a:cubicBezTo>
                  <a:lnTo>
                    <a:pt x="6518159" y="5190197"/>
                  </a:lnTo>
                  <a:cubicBezTo>
                    <a:pt x="6524040" y="5188270"/>
                    <a:pt x="6529719" y="5186242"/>
                    <a:pt x="6535194" y="5184113"/>
                  </a:cubicBezTo>
                  <a:cubicBezTo>
                    <a:pt x="6540670" y="5181984"/>
                    <a:pt x="6546070" y="5179600"/>
                    <a:pt x="6551393" y="5176964"/>
                  </a:cubicBezTo>
                  <a:cubicBezTo>
                    <a:pt x="6556717" y="5174328"/>
                    <a:pt x="6562091" y="5171387"/>
                    <a:pt x="6567516" y="5168142"/>
                  </a:cubicBezTo>
                  <a:cubicBezTo>
                    <a:pt x="6572941" y="5164897"/>
                    <a:pt x="6578543" y="5161196"/>
                    <a:pt x="6584323" y="5157039"/>
                  </a:cubicBezTo>
                  <a:close/>
                  <a:moveTo>
                    <a:pt x="6367990" y="5157039"/>
                  </a:moveTo>
                  <a:cubicBezTo>
                    <a:pt x="6415435" y="5157039"/>
                    <a:pt x="6439157" y="5193901"/>
                    <a:pt x="6439157" y="5267626"/>
                  </a:cubicBezTo>
                  <a:cubicBezTo>
                    <a:pt x="6439157" y="5304137"/>
                    <a:pt x="6432462" y="5331997"/>
                    <a:pt x="6419071" y="5351206"/>
                  </a:cubicBezTo>
                  <a:cubicBezTo>
                    <a:pt x="6405680" y="5370414"/>
                    <a:pt x="6386948" y="5380019"/>
                    <a:pt x="6362874" y="5380019"/>
                  </a:cubicBezTo>
                  <a:cubicBezTo>
                    <a:pt x="6340406" y="5380019"/>
                    <a:pt x="6322877" y="5370841"/>
                    <a:pt x="6310289" y="5352485"/>
                  </a:cubicBezTo>
                  <a:cubicBezTo>
                    <a:pt x="6297700" y="5334129"/>
                    <a:pt x="6291406" y="5307598"/>
                    <a:pt x="6291406" y="5272892"/>
                  </a:cubicBezTo>
                  <a:cubicBezTo>
                    <a:pt x="6291406" y="5234776"/>
                    <a:pt x="6297976" y="5205938"/>
                    <a:pt x="6311116" y="5186378"/>
                  </a:cubicBezTo>
                  <a:cubicBezTo>
                    <a:pt x="6324257" y="5166819"/>
                    <a:pt x="6343214" y="5157039"/>
                    <a:pt x="6367990" y="5157039"/>
                  </a:cubicBezTo>
                  <a:close/>
                  <a:moveTo>
                    <a:pt x="5975659" y="5157039"/>
                  </a:moveTo>
                  <a:lnTo>
                    <a:pt x="5990568" y="5157039"/>
                  </a:lnTo>
                  <a:lnTo>
                    <a:pt x="5990568" y="5380019"/>
                  </a:lnTo>
                  <a:lnTo>
                    <a:pt x="5955278" y="5380019"/>
                  </a:lnTo>
                  <a:lnTo>
                    <a:pt x="5955278" y="5200235"/>
                  </a:lnTo>
                  <a:cubicBezTo>
                    <a:pt x="5948891" y="5204798"/>
                    <a:pt x="5942020" y="5208677"/>
                    <a:pt x="5934669" y="5211871"/>
                  </a:cubicBezTo>
                  <a:cubicBezTo>
                    <a:pt x="5927317" y="5215065"/>
                    <a:pt x="5918927" y="5217879"/>
                    <a:pt x="5909498" y="5220313"/>
                  </a:cubicBezTo>
                  <a:lnTo>
                    <a:pt x="5909498" y="5190197"/>
                  </a:lnTo>
                  <a:cubicBezTo>
                    <a:pt x="5915377" y="5188270"/>
                    <a:pt x="5921055" y="5186242"/>
                    <a:pt x="5926531" y="5184113"/>
                  </a:cubicBezTo>
                  <a:cubicBezTo>
                    <a:pt x="5932007" y="5181984"/>
                    <a:pt x="5937407" y="5179600"/>
                    <a:pt x="5942730" y="5176964"/>
                  </a:cubicBezTo>
                  <a:cubicBezTo>
                    <a:pt x="5948054" y="5174328"/>
                    <a:pt x="5953429" y="5171387"/>
                    <a:pt x="5958852" y="5168142"/>
                  </a:cubicBezTo>
                  <a:cubicBezTo>
                    <a:pt x="5964279" y="5164897"/>
                    <a:pt x="5969881" y="5161196"/>
                    <a:pt x="5975659" y="5157039"/>
                  </a:cubicBezTo>
                  <a:close/>
                  <a:moveTo>
                    <a:pt x="5090447" y="5157039"/>
                  </a:moveTo>
                  <a:cubicBezTo>
                    <a:pt x="5137892" y="5157039"/>
                    <a:pt x="5161614" y="5193901"/>
                    <a:pt x="5161614" y="5267626"/>
                  </a:cubicBezTo>
                  <a:cubicBezTo>
                    <a:pt x="5161614" y="5304137"/>
                    <a:pt x="5154919" y="5331997"/>
                    <a:pt x="5141528" y="5351206"/>
                  </a:cubicBezTo>
                  <a:cubicBezTo>
                    <a:pt x="5128136" y="5370414"/>
                    <a:pt x="5109405" y="5380019"/>
                    <a:pt x="5085331" y="5380019"/>
                  </a:cubicBezTo>
                  <a:cubicBezTo>
                    <a:pt x="5062862" y="5380019"/>
                    <a:pt x="5045334" y="5370841"/>
                    <a:pt x="5032746" y="5352485"/>
                  </a:cubicBezTo>
                  <a:cubicBezTo>
                    <a:pt x="5020157" y="5334129"/>
                    <a:pt x="5013863" y="5307598"/>
                    <a:pt x="5013863" y="5272892"/>
                  </a:cubicBezTo>
                  <a:cubicBezTo>
                    <a:pt x="5013863" y="5234776"/>
                    <a:pt x="5020435" y="5205938"/>
                    <a:pt x="5033573" y="5186378"/>
                  </a:cubicBezTo>
                  <a:cubicBezTo>
                    <a:pt x="5046714" y="5166819"/>
                    <a:pt x="5065671" y="5157039"/>
                    <a:pt x="5090447" y="5157039"/>
                  </a:cubicBezTo>
                  <a:close/>
                  <a:moveTo>
                    <a:pt x="4694968" y="5157039"/>
                  </a:moveTo>
                  <a:lnTo>
                    <a:pt x="4709876" y="5157039"/>
                  </a:lnTo>
                  <a:lnTo>
                    <a:pt x="4709876" y="5380019"/>
                  </a:lnTo>
                  <a:lnTo>
                    <a:pt x="4674589" y="5380019"/>
                  </a:lnTo>
                  <a:lnTo>
                    <a:pt x="4674589" y="5200235"/>
                  </a:lnTo>
                  <a:cubicBezTo>
                    <a:pt x="4668200" y="5204798"/>
                    <a:pt x="4661331" y="5208677"/>
                    <a:pt x="4653978" y="5211871"/>
                  </a:cubicBezTo>
                  <a:cubicBezTo>
                    <a:pt x="4646628" y="5215065"/>
                    <a:pt x="4638236" y="5217879"/>
                    <a:pt x="4628805" y="5220313"/>
                  </a:cubicBezTo>
                  <a:lnTo>
                    <a:pt x="4628805" y="5190197"/>
                  </a:lnTo>
                  <a:cubicBezTo>
                    <a:pt x="4634687" y="5188270"/>
                    <a:pt x="4640364" y="5186242"/>
                    <a:pt x="4645841" y="5184113"/>
                  </a:cubicBezTo>
                  <a:cubicBezTo>
                    <a:pt x="4651316" y="5181984"/>
                    <a:pt x="4656717" y="5179600"/>
                    <a:pt x="4662040" y="5176964"/>
                  </a:cubicBezTo>
                  <a:cubicBezTo>
                    <a:pt x="4667363" y="5174328"/>
                    <a:pt x="4672738" y="5171387"/>
                    <a:pt x="4678162" y="5168142"/>
                  </a:cubicBezTo>
                  <a:cubicBezTo>
                    <a:pt x="4683588" y="5164897"/>
                    <a:pt x="4689190" y="5161196"/>
                    <a:pt x="4694968" y="5157039"/>
                  </a:cubicBezTo>
                  <a:close/>
                  <a:moveTo>
                    <a:pt x="3158682" y="5157039"/>
                  </a:moveTo>
                  <a:lnTo>
                    <a:pt x="3173587" y="5157039"/>
                  </a:lnTo>
                  <a:lnTo>
                    <a:pt x="3173587" y="5380019"/>
                  </a:lnTo>
                  <a:lnTo>
                    <a:pt x="3138299" y="5380019"/>
                  </a:lnTo>
                  <a:lnTo>
                    <a:pt x="3138299" y="5200236"/>
                  </a:lnTo>
                  <a:cubicBezTo>
                    <a:pt x="3131912" y="5204799"/>
                    <a:pt x="3125042" y="5208677"/>
                    <a:pt x="3117690" y="5211872"/>
                  </a:cubicBezTo>
                  <a:cubicBezTo>
                    <a:pt x="3110339" y="5215066"/>
                    <a:pt x="3101948" y="5217879"/>
                    <a:pt x="3092517" y="5220313"/>
                  </a:cubicBezTo>
                  <a:lnTo>
                    <a:pt x="3092517" y="5190197"/>
                  </a:lnTo>
                  <a:cubicBezTo>
                    <a:pt x="3098398" y="5188271"/>
                    <a:pt x="3104077" y="5186243"/>
                    <a:pt x="3109553" y="5184113"/>
                  </a:cubicBezTo>
                  <a:cubicBezTo>
                    <a:pt x="3115028" y="5181984"/>
                    <a:pt x="3120428" y="5179601"/>
                    <a:pt x="3125751" y="5176964"/>
                  </a:cubicBezTo>
                  <a:cubicBezTo>
                    <a:pt x="3131075" y="5174328"/>
                    <a:pt x="3136449" y="5171387"/>
                    <a:pt x="3141875" y="5168143"/>
                  </a:cubicBezTo>
                  <a:cubicBezTo>
                    <a:pt x="3147300" y="5164898"/>
                    <a:pt x="3152901" y="5161197"/>
                    <a:pt x="3158682" y="5157039"/>
                  </a:cubicBezTo>
                  <a:close/>
                  <a:moveTo>
                    <a:pt x="2489154" y="5157039"/>
                  </a:moveTo>
                  <a:lnTo>
                    <a:pt x="2504060" y="5157039"/>
                  </a:lnTo>
                  <a:lnTo>
                    <a:pt x="2504060" y="5380019"/>
                  </a:lnTo>
                  <a:lnTo>
                    <a:pt x="2468772" y="5380019"/>
                  </a:lnTo>
                  <a:lnTo>
                    <a:pt x="2468772" y="5200236"/>
                  </a:lnTo>
                  <a:cubicBezTo>
                    <a:pt x="2462385" y="5204799"/>
                    <a:pt x="2455514" y="5208677"/>
                    <a:pt x="2448163" y="5211872"/>
                  </a:cubicBezTo>
                  <a:cubicBezTo>
                    <a:pt x="2440812" y="5215066"/>
                    <a:pt x="2432420" y="5217879"/>
                    <a:pt x="2422990" y="5220313"/>
                  </a:cubicBezTo>
                  <a:lnTo>
                    <a:pt x="2422990" y="5190197"/>
                  </a:lnTo>
                  <a:cubicBezTo>
                    <a:pt x="2428871" y="5188271"/>
                    <a:pt x="2434551" y="5186243"/>
                    <a:pt x="2440025" y="5184113"/>
                  </a:cubicBezTo>
                  <a:cubicBezTo>
                    <a:pt x="2445502" y="5181984"/>
                    <a:pt x="2450900" y="5179601"/>
                    <a:pt x="2456224" y="5176964"/>
                  </a:cubicBezTo>
                  <a:cubicBezTo>
                    <a:pt x="2461549" y="5174328"/>
                    <a:pt x="2466922" y="5171387"/>
                    <a:pt x="2472346" y="5168143"/>
                  </a:cubicBezTo>
                  <a:cubicBezTo>
                    <a:pt x="2477772" y="5164898"/>
                    <a:pt x="2483374" y="5161197"/>
                    <a:pt x="2489154" y="5157039"/>
                  </a:cubicBezTo>
                  <a:close/>
                  <a:moveTo>
                    <a:pt x="1599916" y="5157039"/>
                  </a:moveTo>
                  <a:lnTo>
                    <a:pt x="1614822" y="5157039"/>
                  </a:lnTo>
                  <a:lnTo>
                    <a:pt x="1614822" y="5380019"/>
                  </a:lnTo>
                  <a:lnTo>
                    <a:pt x="1579534" y="5380019"/>
                  </a:lnTo>
                  <a:lnTo>
                    <a:pt x="1579534" y="5200236"/>
                  </a:lnTo>
                  <a:cubicBezTo>
                    <a:pt x="1573146" y="5204799"/>
                    <a:pt x="1566276" y="5208677"/>
                    <a:pt x="1558925" y="5211872"/>
                  </a:cubicBezTo>
                  <a:cubicBezTo>
                    <a:pt x="1551573" y="5215066"/>
                    <a:pt x="1543182" y="5217879"/>
                    <a:pt x="1533752" y="5220313"/>
                  </a:cubicBezTo>
                  <a:lnTo>
                    <a:pt x="1533752" y="5190197"/>
                  </a:lnTo>
                  <a:cubicBezTo>
                    <a:pt x="1539633" y="5188271"/>
                    <a:pt x="1545312" y="5186243"/>
                    <a:pt x="1550787" y="5184113"/>
                  </a:cubicBezTo>
                  <a:cubicBezTo>
                    <a:pt x="1556263" y="5181984"/>
                    <a:pt x="1561663" y="5179601"/>
                    <a:pt x="1566986" y="5176964"/>
                  </a:cubicBezTo>
                  <a:cubicBezTo>
                    <a:pt x="1572310" y="5174328"/>
                    <a:pt x="1577684" y="5171387"/>
                    <a:pt x="1583109" y="5168143"/>
                  </a:cubicBezTo>
                  <a:cubicBezTo>
                    <a:pt x="1588534" y="5164898"/>
                    <a:pt x="1594136" y="5161197"/>
                    <a:pt x="1599916" y="5157039"/>
                  </a:cubicBezTo>
                  <a:close/>
                  <a:moveTo>
                    <a:pt x="11874294" y="4871804"/>
                  </a:moveTo>
                  <a:cubicBezTo>
                    <a:pt x="11848114" y="4871804"/>
                    <a:pt x="11835024" y="4900641"/>
                    <a:pt x="11835024" y="4958317"/>
                  </a:cubicBezTo>
                  <a:cubicBezTo>
                    <a:pt x="11835024" y="5012282"/>
                    <a:pt x="11847863" y="5039264"/>
                    <a:pt x="11873542" y="5039264"/>
                  </a:cubicBezTo>
                  <a:cubicBezTo>
                    <a:pt x="11898818" y="5039264"/>
                    <a:pt x="11911457" y="5011830"/>
                    <a:pt x="11911457" y="4956963"/>
                  </a:cubicBezTo>
                  <a:cubicBezTo>
                    <a:pt x="11911457" y="4900190"/>
                    <a:pt x="11899069" y="4871804"/>
                    <a:pt x="11874294" y="4871804"/>
                  </a:cubicBezTo>
                  <a:close/>
                  <a:moveTo>
                    <a:pt x="11189148" y="4871804"/>
                  </a:moveTo>
                  <a:cubicBezTo>
                    <a:pt x="11162968" y="4871804"/>
                    <a:pt x="11149878" y="4900642"/>
                    <a:pt x="11149878" y="4958318"/>
                  </a:cubicBezTo>
                  <a:cubicBezTo>
                    <a:pt x="11149878" y="5012282"/>
                    <a:pt x="11162717" y="5039265"/>
                    <a:pt x="11188396" y="5039265"/>
                  </a:cubicBezTo>
                  <a:cubicBezTo>
                    <a:pt x="11213672" y="5039265"/>
                    <a:pt x="11226311" y="5011831"/>
                    <a:pt x="11226311" y="4956964"/>
                  </a:cubicBezTo>
                  <a:cubicBezTo>
                    <a:pt x="11226311" y="4900191"/>
                    <a:pt x="11213923" y="4871804"/>
                    <a:pt x="11189148" y="4871804"/>
                  </a:cubicBezTo>
                  <a:close/>
                  <a:moveTo>
                    <a:pt x="9936214" y="4871804"/>
                  </a:moveTo>
                  <a:cubicBezTo>
                    <a:pt x="9910034" y="4871804"/>
                    <a:pt x="9896944" y="4900641"/>
                    <a:pt x="9896944" y="4958317"/>
                  </a:cubicBezTo>
                  <a:cubicBezTo>
                    <a:pt x="9896944" y="5012282"/>
                    <a:pt x="9909783" y="5039264"/>
                    <a:pt x="9935462" y="5039264"/>
                  </a:cubicBezTo>
                  <a:cubicBezTo>
                    <a:pt x="9960738" y="5039264"/>
                    <a:pt x="9973377" y="5011830"/>
                    <a:pt x="9973377" y="4956963"/>
                  </a:cubicBezTo>
                  <a:cubicBezTo>
                    <a:pt x="9973377" y="4900190"/>
                    <a:pt x="9960989" y="4871804"/>
                    <a:pt x="9936214" y="4871804"/>
                  </a:cubicBezTo>
                  <a:close/>
                  <a:moveTo>
                    <a:pt x="6366335" y="4871804"/>
                  </a:moveTo>
                  <a:cubicBezTo>
                    <a:pt x="6340155" y="4871804"/>
                    <a:pt x="6327065" y="4900641"/>
                    <a:pt x="6327065" y="4958317"/>
                  </a:cubicBezTo>
                  <a:cubicBezTo>
                    <a:pt x="6327065" y="5012282"/>
                    <a:pt x="6339904" y="5039264"/>
                    <a:pt x="6365583" y="5039264"/>
                  </a:cubicBezTo>
                  <a:cubicBezTo>
                    <a:pt x="6390860" y="5039264"/>
                    <a:pt x="6403498" y="5011830"/>
                    <a:pt x="6403498" y="4956963"/>
                  </a:cubicBezTo>
                  <a:cubicBezTo>
                    <a:pt x="6403498" y="4900190"/>
                    <a:pt x="6391110" y="4871804"/>
                    <a:pt x="6366335" y="4871804"/>
                  </a:cubicBezTo>
                  <a:close/>
                  <a:moveTo>
                    <a:pt x="5088792" y="4871804"/>
                  </a:moveTo>
                  <a:cubicBezTo>
                    <a:pt x="5062613" y="4871804"/>
                    <a:pt x="5049522" y="4900641"/>
                    <a:pt x="5049522" y="4958317"/>
                  </a:cubicBezTo>
                  <a:cubicBezTo>
                    <a:pt x="5049522" y="5012282"/>
                    <a:pt x="5062362" y="5039264"/>
                    <a:pt x="5088041" y="5039264"/>
                  </a:cubicBezTo>
                  <a:cubicBezTo>
                    <a:pt x="5113318" y="5039264"/>
                    <a:pt x="5125957" y="5011830"/>
                    <a:pt x="5125957" y="4956963"/>
                  </a:cubicBezTo>
                  <a:cubicBezTo>
                    <a:pt x="5125957" y="4900190"/>
                    <a:pt x="5113567" y="4871804"/>
                    <a:pt x="5088792" y="4871804"/>
                  </a:cubicBezTo>
                  <a:close/>
                  <a:moveTo>
                    <a:pt x="3614881" y="4871804"/>
                  </a:moveTo>
                  <a:cubicBezTo>
                    <a:pt x="3588702" y="4871804"/>
                    <a:pt x="3575611" y="4900642"/>
                    <a:pt x="3575611" y="4958318"/>
                  </a:cubicBezTo>
                  <a:cubicBezTo>
                    <a:pt x="3575611" y="5012282"/>
                    <a:pt x="3588451" y="5039265"/>
                    <a:pt x="3614130" y="5039265"/>
                  </a:cubicBezTo>
                  <a:cubicBezTo>
                    <a:pt x="3639407" y="5039265"/>
                    <a:pt x="3652044" y="5011831"/>
                    <a:pt x="3652044" y="4956964"/>
                  </a:cubicBezTo>
                  <a:cubicBezTo>
                    <a:pt x="3652044" y="4900191"/>
                    <a:pt x="3639656" y="4871804"/>
                    <a:pt x="3614881" y="4871804"/>
                  </a:cubicBezTo>
                  <a:close/>
                  <a:moveTo>
                    <a:pt x="12062430" y="4843969"/>
                  </a:moveTo>
                  <a:lnTo>
                    <a:pt x="12077336" y="4843969"/>
                  </a:lnTo>
                  <a:lnTo>
                    <a:pt x="12077336" y="5066949"/>
                  </a:lnTo>
                  <a:lnTo>
                    <a:pt x="12042048" y="5066949"/>
                  </a:lnTo>
                  <a:lnTo>
                    <a:pt x="12042048" y="4887165"/>
                  </a:lnTo>
                  <a:cubicBezTo>
                    <a:pt x="12035660" y="4891728"/>
                    <a:pt x="12028790" y="4895607"/>
                    <a:pt x="12021439" y="4898801"/>
                  </a:cubicBezTo>
                  <a:cubicBezTo>
                    <a:pt x="12014087" y="4901995"/>
                    <a:pt x="12005696" y="4904809"/>
                    <a:pt x="11996266" y="4907243"/>
                  </a:cubicBezTo>
                  <a:lnTo>
                    <a:pt x="11996266" y="4877127"/>
                  </a:lnTo>
                  <a:cubicBezTo>
                    <a:pt x="12002147" y="4875200"/>
                    <a:pt x="12007826" y="4873172"/>
                    <a:pt x="12013301" y="4871043"/>
                  </a:cubicBezTo>
                  <a:cubicBezTo>
                    <a:pt x="12018777" y="4868914"/>
                    <a:pt x="12024177" y="4866530"/>
                    <a:pt x="12029500" y="4863894"/>
                  </a:cubicBezTo>
                  <a:cubicBezTo>
                    <a:pt x="12034824" y="4861258"/>
                    <a:pt x="12040198" y="4858317"/>
                    <a:pt x="12045623" y="4855072"/>
                  </a:cubicBezTo>
                  <a:cubicBezTo>
                    <a:pt x="12051048" y="4851827"/>
                    <a:pt x="12056650" y="4848126"/>
                    <a:pt x="12062430" y="4843969"/>
                  </a:cubicBezTo>
                  <a:close/>
                  <a:moveTo>
                    <a:pt x="11875949" y="4843969"/>
                  </a:moveTo>
                  <a:cubicBezTo>
                    <a:pt x="11923393" y="4843969"/>
                    <a:pt x="11947116" y="4880831"/>
                    <a:pt x="11947116" y="4954556"/>
                  </a:cubicBezTo>
                  <a:cubicBezTo>
                    <a:pt x="11947116" y="4991067"/>
                    <a:pt x="11940420" y="5018927"/>
                    <a:pt x="11927030" y="5038136"/>
                  </a:cubicBezTo>
                  <a:cubicBezTo>
                    <a:pt x="11913639" y="5057344"/>
                    <a:pt x="11894907" y="5066949"/>
                    <a:pt x="11870833" y="5066949"/>
                  </a:cubicBezTo>
                  <a:cubicBezTo>
                    <a:pt x="11848365" y="5066949"/>
                    <a:pt x="11830836" y="5057771"/>
                    <a:pt x="11818248" y="5039415"/>
                  </a:cubicBezTo>
                  <a:cubicBezTo>
                    <a:pt x="11805659" y="5021059"/>
                    <a:pt x="11799365" y="4994528"/>
                    <a:pt x="11799365" y="4959822"/>
                  </a:cubicBezTo>
                  <a:cubicBezTo>
                    <a:pt x="11799365" y="4921706"/>
                    <a:pt x="11805935" y="4892868"/>
                    <a:pt x="11819075" y="4873308"/>
                  </a:cubicBezTo>
                  <a:cubicBezTo>
                    <a:pt x="11832216" y="4853749"/>
                    <a:pt x="11851173" y="4843969"/>
                    <a:pt x="11875949" y="4843969"/>
                  </a:cubicBezTo>
                  <a:close/>
                  <a:moveTo>
                    <a:pt x="11190803" y="4843969"/>
                  </a:moveTo>
                  <a:cubicBezTo>
                    <a:pt x="11238247" y="4843969"/>
                    <a:pt x="11261970" y="4880832"/>
                    <a:pt x="11261970" y="4954557"/>
                  </a:cubicBezTo>
                  <a:cubicBezTo>
                    <a:pt x="11261970" y="4991068"/>
                    <a:pt x="11255274" y="5018928"/>
                    <a:pt x="11241884" y="5038136"/>
                  </a:cubicBezTo>
                  <a:cubicBezTo>
                    <a:pt x="11228493" y="5057345"/>
                    <a:pt x="11209761" y="5066949"/>
                    <a:pt x="11185687" y="5066949"/>
                  </a:cubicBezTo>
                  <a:cubicBezTo>
                    <a:pt x="11163219" y="5066949"/>
                    <a:pt x="11145690" y="5057771"/>
                    <a:pt x="11133102" y="5039415"/>
                  </a:cubicBezTo>
                  <a:cubicBezTo>
                    <a:pt x="11120513" y="5021059"/>
                    <a:pt x="11114219" y="4994528"/>
                    <a:pt x="11114219" y="4959823"/>
                  </a:cubicBezTo>
                  <a:cubicBezTo>
                    <a:pt x="11114219" y="4921706"/>
                    <a:pt x="11120789" y="4892869"/>
                    <a:pt x="11133929" y="4873309"/>
                  </a:cubicBezTo>
                  <a:cubicBezTo>
                    <a:pt x="11147070" y="4853749"/>
                    <a:pt x="11166027" y="4843969"/>
                    <a:pt x="11190803" y="4843969"/>
                  </a:cubicBezTo>
                  <a:close/>
                  <a:moveTo>
                    <a:pt x="10143427" y="4843969"/>
                  </a:moveTo>
                  <a:lnTo>
                    <a:pt x="10158333" y="4843969"/>
                  </a:lnTo>
                  <a:lnTo>
                    <a:pt x="10158333" y="5066949"/>
                  </a:lnTo>
                  <a:lnTo>
                    <a:pt x="10123045" y="5066949"/>
                  </a:lnTo>
                  <a:lnTo>
                    <a:pt x="10123045" y="4887165"/>
                  </a:lnTo>
                  <a:cubicBezTo>
                    <a:pt x="10116657" y="4891728"/>
                    <a:pt x="10109787" y="4895607"/>
                    <a:pt x="10102436" y="4898801"/>
                  </a:cubicBezTo>
                  <a:cubicBezTo>
                    <a:pt x="10095084" y="4901995"/>
                    <a:pt x="10086693" y="4904809"/>
                    <a:pt x="10077263" y="4907243"/>
                  </a:cubicBezTo>
                  <a:lnTo>
                    <a:pt x="10077263" y="4877127"/>
                  </a:lnTo>
                  <a:cubicBezTo>
                    <a:pt x="10083144" y="4875200"/>
                    <a:pt x="10088823" y="4873172"/>
                    <a:pt x="10094298" y="4871043"/>
                  </a:cubicBezTo>
                  <a:cubicBezTo>
                    <a:pt x="10099774" y="4868914"/>
                    <a:pt x="10105174" y="4866530"/>
                    <a:pt x="10110497" y="4863894"/>
                  </a:cubicBezTo>
                  <a:cubicBezTo>
                    <a:pt x="10115821" y="4861258"/>
                    <a:pt x="10121195" y="4858317"/>
                    <a:pt x="10126620" y="4855072"/>
                  </a:cubicBezTo>
                  <a:cubicBezTo>
                    <a:pt x="10132045" y="4851827"/>
                    <a:pt x="10137647" y="4848126"/>
                    <a:pt x="10143427" y="4843969"/>
                  </a:cubicBezTo>
                  <a:close/>
                  <a:moveTo>
                    <a:pt x="9937869" y="4843969"/>
                  </a:moveTo>
                  <a:cubicBezTo>
                    <a:pt x="9985313" y="4843969"/>
                    <a:pt x="10009036" y="4880831"/>
                    <a:pt x="10009036" y="4954556"/>
                  </a:cubicBezTo>
                  <a:cubicBezTo>
                    <a:pt x="10009036" y="4991067"/>
                    <a:pt x="10002340" y="5018927"/>
                    <a:pt x="9988950" y="5038136"/>
                  </a:cubicBezTo>
                  <a:cubicBezTo>
                    <a:pt x="9975559" y="5057344"/>
                    <a:pt x="9956827" y="5066949"/>
                    <a:pt x="9932753" y="5066949"/>
                  </a:cubicBezTo>
                  <a:cubicBezTo>
                    <a:pt x="9910285" y="5066949"/>
                    <a:pt x="9892756" y="5057771"/>
                    <a:pt x="9880168" y="5039415"/>
                  </a:cubicBezTo>
                  <a:cubicBezTo>
                    <a:pt x="9867579" y="5021059"/>
                    <a:pt x="9861285" y="4994528"/>
                    <a:pt x="9861285" y="4959822"/>
                  </a:cubicBezTo>
                  <a:cubicBezTo>
                    <a:pt x="9861285" y="4921706"/>
                    <a:pt x="9867855" y="4892868"/>
                    <a:pt x="9880995" y="4873308"/>
                  </a:cubicBezTo>
                  <a:cubicBezTo>
                    <a:pt x="9894136" y="4853749"/>
                    <a:pt x="9913093" y="4843969"/>
                    <a:pt x="9937869" y="4843969"/>
                  </a:cubicBezTo>
                  <a:close/>
                  <a:moveTo>
                    <a:pt x="9557012" y="4843969"/>
                  </a:moveTo>
                  <a:lnTo>
                    <a:pt x="9571918" y="4843969"/>
                  </a:lnTo>
                  <a:lnTo>
                    <a:pt x="9571918" y="5066949"/>
                  </a:lnTo>
                  <a:lnTo>
                    <a:pt x="9536630" y="5066949"/>
                  </a:lnTo>
                  <a:lnTo>
                    <a:pt x="9536630" y="4887165"/>
                  </a:lnTo>
                  <a:cubicBezTo>
                    <a:pt x="9530242" y="4891728"/>
                    <a:pt x="9523372" y="4895607"/>
                    <a:pt x="9516021" y="4898801"/>
                  </a:cubicBezTo>
                  <a:cubicBezTo>
                    <a:pt x="9508669" y="4901995"/>
                    <a:pt x="9500278" y="4904809"/>
                    <a:pt x="9490848" y="4907243"/>
                  </a:cubicBezTo>
                  <a:lnTo>
                    <a:pt x="9490848" y="4877127"/>
                  </a:lnTo>
                  <a:cubicBezTo>
                    <a:pt x="9496729" y="4875200"/>
                    <a:pt x="9502408" y="4873172"/>
                    <a:pt x="9507883" y="4871043"/>
                  </a:cubicBezTo>
                  <a:cubicBezTo>
                    <a:pt x="9513359" y="4868914"/>
                    <a:pt x="9518759" y="4866530"/>
                    <a:pt x="9524082" y="4863894"/>
                  </a:cubicBezTo>
                  <a:cubicBezTo>
                    <a:pt x="9529406" y="4861258"/>
                    <a:pt x="9534780" y="4858317"/>
                    <a:pt x="9540205" y="4855072"/>
                  </a:cubicBezTo>
                  <a:cubicBezTo>
                    <a:pt x="9545630" y="4851827"/>
                    <a:pt x="9551232" y="4848126"/>
                    <a:pt x="9557012" y="4843969"/>
                  </a:cubicBezTo>
                  <a:close/>
                  <a:moveTo>
                    <a:pt x="9254256" y="4843969"/>
                  </a:moveTo>
                  <a:lnTo>
                    <a:pt x="9269162" y="4843969"/>
                  </a:lnTo>
                  <a:lnTo>
                    <a:pt x="9269162" y="5066949"/>
                  </a:lnTo>
                  <a:lnTo>
                    <a:pt x="9233874" y="5066949"/>
                  </a:lnTo>
                  <a:lnTo>
                    <a:pt x="9233874" y="4887165"/>
                  </a:lnTo>
                  <a:cubicBezTo>
                    <a:pt x="9227486" y="4891728"/>
                    <a:pt x="9220616" y="4895607"/>
                    <a:pt x="9213265" y="4898801"/>
                  </a:cubicBezTo>
                  <a:cubicBezTo>
                    <a:pt x="9205913" y="4901995"/>
                    <a:pt x="9197522" y="4904809"/>
                    <a:pt x="9188092" y="4907243"/>
                  </a:cubicBezTo>
                  <a:lnTo>
                    <a:pt x="9188092" y="4877127"/>
                  </a:lnTo>
                  <a:cubicBezTo>
                    <a:pt x="9193973" y="4875200"/>
                    <a:pt x="9199652" y="4873172"/>
                    <a:pt x="9205127" y="4871043"/>
                  </a:cubicBezTo>
                  <a:cubicBezTo>
                    <a:pt x="9210603" y="4868914"/>
                    <a:pt x="9216003" y="4866530"/>
                    <a:pt x="9221326" y="4863894"/>
                  </a:cubicBezTo>
                  <a:cubicBezTo>
                    <a:pt x="9226650" y="4861258"/>
                    <a:pt x="9232024" y="4858317"/>
                    <a:pt x="9237449" y="4855072"/>
                  </a:cubicBezTo>
                  <a:cubicBezTo>
                    <a:pt x="9242874" y="4851827"/>
                    <a:pt x="9248476" y="4848126"/>
                    <a:pt x="9254256" y="4843969"/>
                  </a:cubicBezTo>
                  <a:close/>
                  <a:moveTo>
                    <a:pt x="7851748" y="4843969"/>
                  </a:moveTo>
                  <a:lnTo>
                    <a:pt x="7866654" y="4843969"/>
                  </a:lnTo>
                  <a:lnTo>
                    <a:pt x="7866654" y="5066949"/>
                  </a:lnTo>
                  <a:lnTo>
                    <a:pt x="7831366" y="5066949"/>
                  </a:lnTo>
                  <a:lnTo>
                    <a:pt x="7831366" y="4887165"/>
                  </a:lnTo>
                  <a:cubicBezTo>
                    <a:pt x="7824978" y="4891728"/>
                    <a:pt x="7818109" y="4895607"/>
                    <a:pt x="7810757" y="4898801"/>
                  </a:cubicBezTo>
                  <a:cubicBezTo>
                    <a:pt x="7803405" y="4901995"/>
                    <a:pt x="7795015" y="4904809"/>
                    <a:pt x="7785584" y="4907243"/>
                  </a:cubicBezTo>
                  <a:lnTo>
                    <a:pt x="7785584" y="4877127"/>
                  </a:lnTo>
                  <a:cubicBezTo>
                    <a:pt x="7791465" y="4875200"/>
                    <a:pt x="7797144" y="4873172"/>
                    <a:pt x="7802619" y="4871043"/>
                  </a:cubicBezTo>
                  <a:cubicBezTo>
                    <a:pt x="7808095" y="4868914"/>
                    <a:pt x="7813495" y="4866530"/>
                    <a:pt x="7818818" y="4863894"/>
                  </a:cubicBezTo>
                  <a:cubicBezTo>
                    <a:pt x="7824142" y="4861258"/>
                    <a:pt x="7829516" y="4858317"/>
                    <a:pt x="7834941" y="4855072"/>
                  </a:cubicBezTo>
                  <a:cubicBezTo>
                    <a:pt x="7840366" y="4851827"/>
                    <a:pt x="7845968" y="4848126"/>
                    <a:pt x="7851748" y="4843969"/>
                  </a:cubicBezTo>
                  <a:close/>
                  <a:moveTo>
                    <a:pt x="7015147" y="4843969"/>
                  </a:moveTo>
                  <a:lnTo>
                    <a:pt x="7030053" y="4843969"/>
                  </a:lnTo>
                  <a:lnTo>
                    <a:pt x="7030053" y="5066949"/>
                  </a:lnTo>
                  <a:lnTo>
                    <a:pt x="6994765" y="5066949"/>
                  </a:lnTo>
                  <a:lnTo>
                    <a:pt x="6994765" y="4887165"/>
                  </a:lnTo>
                  <a:cubicBezTo>
                    <a:pt x="6988377" y="4891728"/>
                    <a:pt x="6981508" y="4895607"/>
                    <a:pt x="6974156" y="4898801"/>
                  </a:cubicBezTo>
                  <a:cubicBezTo>
                    <a:pt x="6966804" y="4901995"/>
                    <a:pt x="6958414" y="4904809"/>
                    <a:pt x="6948983" y="4907243"/>
                  </a:cubicBezTo>
                  <a:lnTo>
                    <a:pt x="6948983" y="4877127"/>
                  </a:lnTo>
                  <a:cubicBezTo>
                    <a:pt x="6954864" y="4875200"/>
                    <a:pt x="6960543" y="4873172"/>
                    <a:pt x="6966018" y="4871043"/>
                  </a:cubicBezTo>
                  <a:cubicBezTo>
                    <a:pt x="6971494" y="4868914"/>
                    <a:pt x="6976894" y="4866530"/>
                    <a:pt x="6982217" y="4863894"/>
                  </a:cubicBezTo>
                  <a:cubicBezTo>
                    <a:pt x="6987541" y="4861258"/>
                    <a:pt x="6992915" y="4858317"/>
                    <a:pt x="6998340" y="4855072"/>
                  </a:cubicBezTo>
                  <a:cubicBezTo>
                    <a:pt x="7003765" y="4851827"/>
                    <a:pt x="7009367" y="4848126"/>
                    <a:pt x="7015147" y="4843969"/>
                  </a:cubicBezTo>
                  <a:close/>
                  <a:moveTo>
                    <a:pt x="6584323" y="4843969"/>
                  </a:moveTo>
                  <a:lnTo>
                    <a:pt x="6599229" y="4843969"/>
                  </a:lnTo>
                  <a:lnTo>
                    <a:pt x="6599229" y="5066949"/>
                  </a:lnTo>
                  <a:lnTo>
                    <a:pt x="6563941" y="5066949"/>
                  </a:lnTo>
                  <a:lnTo>
                    <a:pt x="6563941" y="4887165"/>
                  </a:lnTo>
                  <a:cubicBezTo>
                    <a:pt x="6557553" y="4891728"/>
                    <a:pt x="6550684" y="4895607"/>
                    <a:pt x="6543332" y="4898801"/>
                  </a:cubicBezTo>
                  <a:cubicBezTo>
                    <a:pt x="6535980" y="4901995"/>
                    <a:pt x="6527590" y="4904809"/>
                    <a:pt x="6518159" y="4907243"/>
                  </a:cubicBezTo>
                  <a:lnTo>
                    <a:pt x="6518159" y="4877127"/>
                  </a:lnTo>
                  <a:cubicBezTo>
                    <a:pt x="6524040" y="4875200"/>
                    <a:pt x="6529719" y="4873172"/>
                    <a:pt x="6535194" y="4871043"/>
                  </a:cubicBezTo>
                  <a:cubicBezTo>
                    <a:pt x="6540670" y="4868914"/>
                    <a:pt x="6546070" y="4866530"/>
                    <a:pt x="6551393" y="4863894"/>
                  </a:cubicBezTo>
                  <a:cubicBezTo>
                    <a:pt x="6556717" y="4861258"/>
                    <a:pt x="6562091" y="4858317"/>
                    <a:pt x="6567516" y="4855072"/>
                  </a:cubicBezTo>
                  <a:cubicBezTo>
                    <a:pt x="6572941" y="4851827"/>
                    <a:pt x="6578543" y="4848126"/>
                    <a:pt x="6584323" y="4843969"/>
                  </a:cubicBezTo>
                  <a:close/>
                  <a:moveTo>
                    <a:pt x="6367990" y="4843969"/>
                  </a:moveTo>
                  <a:cubicBezTo>
                    <a:pt x="6415435" y="4843969"/>
                    <a:pt x="6439157" y="4880831"/>
                    <a:pt x="6439157" y="4954556"/>
                  </a:cubicBezTo>
                  <a:cubicBezTo>
                    <a:pt x="6439157" y="4991067"/>
                    <a:pt x="6432462" y="5018927"/>
                    <a:pt x="6419071" y="5038136"/>
                  </a:cubicBezTo>
                  <a:cubicBezTo>
                    <a:pt x="6405680" y="5057344"/>
                    <a:pt x="6386948" y="5066949"/>
                    <a:pt x="6362874" y="5066949"/>
                  </a:cubicBezTo>
                  <a:cubicBezTo>
                    <a:pt x="6340406" y="5066949"/>
                    <a:pt x="6322877" y="5057771"/>
                    <a:pt x="6310289" y="5039415"/>
                  </a:cubicBezTo>
                  <a:cubicBezTo>
                    <a:pt x="6297700" y="5021059"/>
                    <a:pt x="6291406" y="4994528"/>
                    <a:pt x="6291406" y="4959822"/>
                  </a:cubicBezTo>
                  <a:cubicBezTo>
                    <a:pt x="6291406" y="4921706"/>
                    <a:pt x="6297976" y="4892868"/>
                    <a:pt x="6311116" y="4873308"/>
                  </a:cubicBezTo>
                  <a:cubicBezTo>
                    <a:pt x="6324257" y="4853749"/>
                    <a:pt x="6343214" y="4843969"/>
                    <a:pt x="6367990" y="4843969"/>
                  </a:cubicBezTo>
                  <a:close/>
                  <a:moveTo>
                    <a:pt x="5975659" y="4843969"/>
                  </a:moveTo>
                  <a:lnTo>
                    <a:pt x="5990568" y="4843969"/>
                  </a:lnTo>
                  <a:lnTo>
                    <a:pt x="5990568" y="5066949"/>
                  </a:lnTo>
                  <a:lnTo>
                    <a:pt x="5955278" y="5066949"/>
                  </a:lnTo>
                  <a:lnTo>
                    <a:pt x="5955278" y="4887165"/>
                  </a:lnTo>
                  <a:cubicBezTo>
                    <a:pt x="5948891" y="4891728"/>
                    <a:pt x="5942020" y="4895607"/>
                    <a:pt x="5934669" y="4898801"/>
                  </a:cubicBezTo>
                  <a:cubicBezTo>
                    <a:pt x="5927317" y="4901995"/>
                    <a:pt x="5918927" y="4904809"/>
                    <a:pt x="5909498" y="4907243"/>
                  </a:cubicBezTo>
                  <a:lnTo>
                    <a:pt x="5909498" y="4877127"/>
                  </a:lnTo>
                  <a:cubicBezTo>
                    <a:pt x="5915377" y="4875200"/>
                    <a:pt x="5921055" y="4873172"/>
                    <a:pt x="5926531" y="4871043"/>
                  </a:cubicBezTo>
                  <a:cubicBezTo>
                    <a:pt x="5932007" y="4868914"/>
                    <a:pt x="5937407" y="4866530"/>
                    <a:pt x="5942730" y="4863894"/>
                  </a:cubicBezTo>
                  <a:cubicBezTo>
                    <a:pt x="5948054" y="4861258"/>
                    <a:pt x="5953429" y="4858317"/>
                    <a:pt x="5958852" y="4855072"/>
                  </a:cubicBezTo>
                  <a:cubicBezTo>
                    <a:pt x="5964279" y="4851827"/>
                    <a:pt x="5969881" y="4848126"/>
                    <a:pt x="5975659" y="4843969"/>
                  </a:cubicBezTo>
                  <a:close/>
                  <a:moveTo>
                    <a:pt x="5090447" y="4843969"/>
                  </a:moveTo>
                  <a:cubicBezTo>
                    <a:pt x="5137892" y="4843969"/>
                    <a:pt x="5161614" y="4880831"/>
                    <a:pt x="5161614" y="4954556"/>
                  </a:cubicBezTo>
                  <a:cubicBezTo>
                    <a:pt x="5161614" y="4991067"/>
                    <a:pt x="5154919" y="5018927"/>
                    <a:pt x="5141528" y="5038136"/>
                  </a:cubicBezTo>
                  <a:cubicBezTo>
                    <a:pt x="5128136" y="5057344"/>
                    <a:pt x="5109405" y="5066949"/>
                    <a:pt x="5085331" y="5066949"/>
                  </a:cubicBezTo>
                  <a:cubicBezTo>
                    <a:pt x="5062862" y="5066949"/>
                    <a:pt x="5045334" y="5057771"/>
                    <a:pt x="5032746" y="5039415"/>
                  </a:cubicBezTo>
                  <a:cubicBezTo>
                    <a:pt x="5020157" y="5021059"/>
                    <a:pt x="5013863" y="4994528"/>
                    <a:pt x="5013863" y="4959822"/>
                  </a:cubicBezTo>
                  <a:cubicBezTo>
                    <a:pt x="5013863" y="4921706"/>
                    <a:pt x="5020435" y="4892868"/>
                    <a:pt x="5033573" y="4873308"/>
                  </a:cubicBezTo>
                  <a:cubicBezTo>
                    <a:pt x="5046714" y="4853749"/>
                    <a:pt x="5065671" y="4843969"/>
                    <a:pt x="5090447" y="4843969"/>
                  </a:cubicBezTo>
                  <a:close/>
                  <a:moveTo>
                    <a:pt x="4694968" y="4843969"/>
                  </a:moveTo>
                  <a:lnTo>
                    <a:pt x="4709876" y="4843969"/>
                  </a:lnTo>
                  <a:lnTo>
                    <a:pt x="4709876" y="5066949"/>
                  </a:lnTo>
                  <a:lnTo>
                    <a:pt x="4674589" y="5066949"/>
                  </a:lnTo>
                  <a:lnTo>
                    <a:pt x="4674589" y="4887165"/>
                  </a:lnTo>
                  <a:cubicBezTo>
                    <a:pt x="4668200" y="4891728"/>
                    <a:pt x="4661331" y="4895607"/>
                    <a:pt x="4653978" y="4898801"/>
                  </a:cubicBezTo>
                  <a:cubicBezTo>
                    <a:pt x="4646628" y="4901995"/>
                    <a:pt x="4638236" y="4904809"/>
                    <a:pt x="4628805" y="4907243"/>
                  </a:cubicBezTo>
                  <a:lnTo>
                    <a:pt x="4628805" y="4877127"/>
                  </a:lnTo>
                  <a:cubicBezTo>
                    <a:pt x="4634687" y="4875200"/>
                    <a:pt x="4640364" y="4873172"/>
                    <a:pt x="4645841" y="4871043"/>
                  </a:cubicBezTo>
                  <a:cubicBezTo>
                    <a:pt x="4651316" y="4868914"/>
                    <a:pt x="4656717" y="4866530"/>
                    <a:pt x="4662040" y="4863894"/>
                  </a:cubicBezTo>
                  <a:cubicBezTo>
                    <a:pt x="4667363" y="4861258"/>
                    <a:pt x="4672738" y="4858317"/>
                    <a:pt x="4678162" y="4855072"/>
                  </a:cubicBezTo>
                  <a:cubicBezTo>
                    <a:pt x="4683588" y="4851827"/>
                    <a:pt x="4689190" y="4848126"/>
                    <a:pt x="4694968" y="4843969"/>
                  </a:cubicBezTo>
                  <a:close/>
                  <a:moveTo>
                    <a:pt x="4345906" y="4843969"/>
                  </a:moveTo>
                  <a:lnTo>
                    <a:pt x="4360813" y="4843969"/>
                  </a:lnTo>
                  <a:lnTo>
                    <a:pt x="4360813" y="5066949"/>
                  </a:lnTo>
                  <a:lnTo>
                    <a:pt x="4325525" y="5066949"/>
                  </a:lnTo>
                  <a:lnTo>
                    <a:pt x="4325525" y="4887165"/>
                  </a:lnTo>
                  <a:cubicBezTo>
                    <a:pt x="4319138" y="4891728"/>
                    <a:pt x="4312268" y="4895607"/>
                    <a:pt x="4304915" y="4898801"/>
                  </a:cubicBezTo>
                  <a:cubicBezTo>
                    <a:pt x="4297564" y="4901995"/>
                    <a:pt x="4289174" y="4904809"/>
                    <a:pt x="4279743" y="4907243"/>
                  </a:cubicBezTo>
                  <a:lnTo>
                    <a:pt x="4279743" y="4877127"/>
                  </a:lnTo>
                  <a:cubicBezTo>
                    <a:pt x="4285625" y="4875200"/>
                    <a:pt x="4291302" y="4873172"/>
                    <a:pt x="4296778" y="4871043"/>
                  </a:cubicBezTo>
                  <a:cubicBezTo>
                    <a:pt x="4302254" y="4868914"/>
                    <a:pt x="4307653" y="4866530"/>
                    <a:pt x="4312977" y="4863894"/>
                  </a:cubicBezTo>
                  <a:cubicBezTo>
                    <a:pt x="4318300" y="4861258"/>
                    <a:pt x="4323675" y="4858317"/>
                    <a:pt x="4329099" y="4855072"/>
                  </a:cubicBezTo>
                  <a:cubicBezTo>
                    <a:pt x="4334525" y="4851827"/>
                    <a:pt x="4340127" y="4848126"/>
                    <a:pt x="4345906" y="4843969"/>
                  </a:cubicBezTo>
                  <a:close/>
                  <a:moveTo>
                    <a:pt x="3616537" y="4843969"/>
                  </a:moveTo>
                  <a:cubicBezTo>
                    <a:pt x="3663981" y="4843969"/>
                    <a:pt x="3687703" y="4880832"/>
                    <a:pt x="3687703" y="4954557"/>
                  </a:cubicBezTo>
                  <a:cubicBezTo>
                    <a:pt x="3687703" y="4991068"/>
                    <a:pt x="3681008" y="5018928"/>
                    <a:pt x="3667617" y="5038136"/>
                  </a:cubicBezTo>
                  <a:cubicBezTo>
                    <a:pt x="3654226" y="5057345"/>
                    <a:pt x="3635494" y="5066949"/>
                    <a:pt x="3611420" y="5066949"/>
                  </a:cubicBezTo>
                  <a:cubicBezTo>
                    <a:pt x="3588952" y="5066949"/>
                    <a:pt x="3571422" y="5057771"/>
                    <a:pt x="3558835" y="5039415"/>
                  </a:cubicBezTo>
                  <a:cubicBezTo>
                    <a:pt x="3546246" y="5021059"/>
                    <a:pt x="3539952" y="4994528"/>
                    <a:pt x="3539952" y="4959823"/>
                  </a:cubicBezTo>
                  <a:cubicBezTo>
                    <a:pt x="3539952" y="4921706"/>
                    <a:pt x="3546522" y="4892869"/>
                    <a:pt x="3559662" y="4873309"/>
                  </a:cubicBezTo>
                  <a:cubicBezTo>
                    <a:pt x="3572804" y="4853749"/>
                    <a:pt x="3591760" y="4843969"/>
                    <a:pt x="3616537" y="4843969"/>
                  </a:cubicBezTo>
                  <a:close/>
                  <a:moveTo>
                    <a:pt x="3454863" y="4843969"/>
                  </a:moveTo>
                  <a:lnTo>
                    <a:pt x="3469768" y="4843969"/>
                  </a:lnTo>
                  <a:lnTo>
                    <a:pt x="3469768" y="5066949"/>
                  </a:lnTo>
                  <a:lnTo>
                    <a:pt x="3434481" y="5066949"/>
                  </a:lnTo>
                  <a:lnTo>
                    <a:pt x="3434481" y="4887166"/>
                  </a:lnTo>
                  <a:cubicBezTo>
                    <a:pt x="3428092" y="4891729"/>
                    <a:pt x="3421223" y="4895607"/>
                    <a:pt x="3413872" y="4898802"/>
                  </a:cubicBezTo>
                  <a:cubicBezTo>
                    <a:pt x="3406519" y="4901996"/>
                    <a:pt x="3398129" y="4904809"/>
                    <a:pt x="3388698" y="4907243"/>
                  </a:cubicBezTo>
                  <a:lnTo>
                    <a:pt x="3388698" y="4877127"/>
                  </a:lnTo>
                  <a:cubicBezTo>
                    <a:pt x="3394580" y="4875201"/>
                    <a:pt x="3400259" y="4873173"/>
                    <a:pt x="3405734" y="4871043"/>
                  </a:cubicBezTo>
                  <a:cubicBezTo>
                    <a:pt x="3411209" y="4868914"/>
                    <a:pt x="3416609" y="4866531"/>
                    <a:pt x="3421933" y="4863894"/>
                  </a:cubicBezTo>
                  <a:cubicBezTo>
                    <a:pt x="3427256" y="4861258"/>
                    <a:pt x="3432632" y="4858317"/>
                    <a:pt x="3438054" y="4855073"/>
                  </a:cubicBezTo>
                  <a:cubicBezTo>
                    <a:pt x="3443480" y="4851828"/>
                    <a:pt x="3449083" y="4848127"/>
                    <a:pt x="3454863" y="4843969"/>
                  </a:cubicBezTo>
                  <a:close/>
                  <a:moveTo>
                    <a:pt x="3158682" y="4843969"/>
                  </a:moveTo>
                  <a:lnTo>
                    <a:pt x="3173587" y="4843969"/>
                  </a:lnTo>
                  <a:lnTo>
                    <a:pt x="3173587" y="5066949"/>
                  </a:lnTo>
                  <a:lnTo>
                    <a:pt x="3138299" y="5066949"/>
                  </a:lnTo>
                  <a:lnTo>
                    <a:pt x="3138299" y="4887166"/>
                  </a:lnTo>
                  <a:cubicBezTo>
                    <a:pt x="3131912" y="4891729"/>
                    <a:pt x="3125042" y="4895607"/>
                    <a:pt x="3117690" y="4898802"/>
                  </a:cubicBezTo>
                  <a:cubicBezTo>
                    <a:pt x="3110339" y="4901996"/>
                    <a:pt x="3101948" y="4904809"/>
                    <a:pt x="3092517" y="4907243"/>
                  </a:cubicBezTo>
                  <a:lnTo>
                    <a:pt x="3092517" y="4877127"/>
                  </a:lnTo>
                  <a:cubicBezTo>
                    <a:pt x="3098398" y="4875201"/>
                    <a:pt x="3104077" y="4873173"/>
                    <a:pt x="3109553" y="4871043"/>
                  </a:cubicBezTo>
                  <a:cubicBezTo>
                    <a:pt x="3115028" y="4868914"/>
                    <a:pt x="3120428" y="4866531"/>
                    <a:pt x="3125751" y="4863894"/>
                  </a:cubicBezTo>
                  <a:cubicBezTo>
                    <a:pt x="3131075" y="4861258"/>
                    <a:pt x="3136449" y="4858317"/>
                    <a:pt x="3141875" y="4855073"/>
                  </a:cubicBezTo>
                  <a:cubicBezTo>
                    <a:pt x="3147300" y="4851828"/>
                    <a:pt x="3152901" y="4848127"/>
                    <a:pt x="3158682" y="4843969"/>
                  </a:cubicBezTo>
                  <a:close/>
                  <a:moveTo>
                    <a:pt x="2489154" y="4843969"/>
                  </a:moveTo>
                  <a:lnTo>
                    <a:pt x="2504060" y="4843969"/>
                  </a:lnTo>
                  <a:lnTo>
                    <a:pt x="2504060" y="5066949"/>
                  </a:lnTo>
                  <a:lnTo>
                    <a:pt x="2468772" y="5066949"/>
                  </a:lnTo>
                  <a:lnTo>
                    <a:pt x="2468772" y="4887166"/>
                  </a:lnTo>
                  <a:cubicBezTo>
                    <a:pt x="2462385" y="4891729"/>
                    <a:pt x="2455514" y="4895607"/>
                    <a:pt x="2448163" y="4898802"/>
                  </a:cubicBezTo>
                  <a:cubicBezTo>
                    <a:pt x="2440812" y="4901996"/>
                    <a:pt x="2432420" y="4904809"/>
                    <a:pt x="2422990" y="4907243"/>
                  </a:cubicBezTo>
                  <a:lnTo>
                    <a:pt x="2422990" y="4877127"/>
                  </a:lnTo>
                  <a:cubicBezTo>
                    <a:pt x="2428871" y="4875201"/>
                    <a:pt x="2434551" y="4873173"/>
                    <a:pt x="2440025" y="4871043"/>
                  </a:cubicBezTo>
                  <a:cubicBezTo>
                    <a:pt x="2445502" y="4868914"/>
                    <a:pt x="2450900" y="4866531"/>
                    <a:pt x="2456224" y="4863894"/>
                  </a:cubicBezTo>
                  <a:cubicBezTo>
                    <a:pt x="2461549" y="4861258"/>
                    <a:pt x="2466922" y="4858317"/>
                    <a:pt x="2472346" y="4855073"/>
                  </a:cubicBezTo>
                  <a:cubicBezTo>
                    <a:pt x="2477772" y="4851828"/>
                    <a:pt x="2483374" y="4848127"/>
                    <a:pt x="2489154" y="4843969"/>
                  </a:cubicBezTo>
                  <a:close/>
                  <a:moveTo>
                    <a:pt x="1599916" y="4843969"/>
                  </a:moveTo>
                  <a:lnTo>
                    <a:pt x="1614822" y="4843969"/>
                  </a:lnTo>
                  <a:lnTo>
                    <a:pt x="1614822" y="5066949"/>
                  </a:lnTo>
                  <a:lnTo>
                    <a:pt x="1579534" y="5066949"/>
                  </a:lnTo>
                  <a:lnTo>
                    <a:pt x="1579534" y="4887166"/>
                  </a:lnTo>
                  <a:cubicBezTo>
                    <a:pt x="1573146" y="4891729"/>
                    <a:pt x="1566276" y="4895607"/>
                    <a:pt x="1558925" y="4898802"/>
                  </a:cubicBezTo>
                  <a:cubicBezTo>
                    <a:pt x="1551573" y="4901996"/>
                    <a:pt x="1543182" y="4904809"/>
                    <a:pt x="1533752" y="4907243"/>
                  </a:cubicBezTo>
                  <a:lnTo>
                    <a:pt x="1533752" y="4877127"/>
                  </a:lnTo>
                  <a:cubicBezTo>
                    <a:pt x="1539633" y="4875201"/>
                    <a:pt x="1545312" y="4873173"/>
                    <a:pt x="1550787" y="4871043"/>
                  </a:cubicBezTo>
                  <a:cubicBezTo>
                    <a:pt x="1556263" y="4868914"/>
                    <a:pt x="1561663" y="4866531"/>
                    <a:pt x="1566986" y="4863894"/>
                  </a:cubicBezTo>
                  <a:cubicBezTo>
                    <a:pt x="1572310" y="4861258"/>
                    <a:pt x="1577684" y="4858317"/>
                    <a:pt x="1583109" y="4855073"/>
                  </a:cubicBezTo>
                  <a:cubicBezTo>
                    <a:pt x="1588534" y="4851828"/>
                    <a:pt x="1594136" y="4848127"/>
                    <a:pt x="1599916" y="4843969"/>
                  </a:cubicBezTo>
                  <a:close/>
                  <a:moveTo>
                    <a:pt x="1302202" y="4843969"/>
                  </a:moveTo>
                  <a:lnTo>
                    <a:pt x="1317108" y="4843969"/>
                  </a:lnTo>
                  <a:lnTo>
                    <a:pt x="1317108" y="5066949"/>
                  </a:lnTo>
                  <a:lnTo>
                    <a:pt x="1281820" y="5066949"/>
                  </a:lnTo>
                  <a:lnTo>
                    <a:pt x="1281820" y="4887166"/>
                  </a:lnTo>
                  <a:cubicBezTo>
                    <a:pt x="1275432" y="4891729"/>
                    <a:pt x="1268562" y="4895607"/>
                    <a:pt x="1261211" y="4898802"/>
                  </a:cubicBezTo>
                  <a:cubicBezTo>
                    <a:pt x="1253859" y="4901996"/>
                    <a:pt x="1245468" y="4904809"/>
                    <a:pt x="1236038" y="4907243"/>
                  </a:cubicBezTo>
                  <a:lnTo>
                    <a:pt x="1236038" y="4877127"/>
                  </a:lnTo>
                  <a:cubicBezTo>
                    <a:pt x="1241919" y="4875201"/>
                    <a:pt x="1247598" y="4873173"/>
                    <a:pt x="1253073" y="4871043"/>
                  </a:cubicBezTo>
                  <a:cubicBezTo>
                    <a:pt x="1258549" y="4868914"/>
                    <a:pt x="1263949" y="4866531"/>
                    <a:pt x="1269272" y="4863894"/>
                  </a:cubicBezTo>
                  <a:cubicBezTo>
                    <a:pt x="1274596" y="4861258"/>
                    <a:pt x="1279970" y="4858317"/>
                    <a:pt x="1285395" y="4855073"/>
                  </a:cubicBezTo>
                  <a:cubicBezTo>
                    <a:pt x="1290820" y="4851828"/>
                    <a:pt x="1296422" y="4848127"/>
                    <a:pt x="1302202" y="4843969"/>
                  </a:cubicBezTo>
                  <a:close/>
                  <a:moveTo>
                    <a:pt x="927321" y="4843969"/>
                  </a:moveTo>
                  <a:lnTo>
                    <a:pt x="942227" y="4843969"/>
                  </a:lnTo>
                  <a:lnTo>
                    <a:pt x="942227" y="5066949"/>
                  </a:lnTo>
                  <a:lnTo>
                    <a:pt x="906939" y="5066949"/>
                  </a:lnTo>
                  <a:lnTo>
                    <a:pt x="906939" y="4887166"/>
                  </a:lnTo>
                  <a:cubicBezTo>
                    <a:pt x="900551" y="4891729"/>
                    <a:pt x="893681" y="4895607"/>
                    <a:pt x="886330" y="4898802"/>
                  </a:cubicBezTo>
                  <a:cubicBezTo>
                    <a:pt x="878978" y="4901996"/>
                    <a:pt x="870587" y="4904809"/>
                    <a:pt x="861157" y="4907243"/>
                  </a:cubicBezTo>
                  <a:lnTo>
                    <a:pt x="861157" y="4877127"/>
                  </a:lnTo>
                  <a:cubicBezTo>
                    <a:pt x="867038" y="4875201"/>
                    <a:pt x="872717" y="4873173"/>
                    <a:pt x="878192" y="4871043"/>
                  </a:cubicBezTo>
                  <a:cubicBezTo>
                    <a:pt x="883668" y="4868914"/>
                    <a:pt x="889068" y="4866531"/>
                    <a:pt x="894391" y="4863894"/>
                  </a:cubicBezTo>
                  <a:cubicBezTo>
                    <a:pt x="899715" y="4861258"/>
                    <a:pt x="905089" y="4858317"/>
                    <a:pt x="910514" y="4855073"/>
                  </a:cubicBezTo>
                  <a:cubicBezTo>
                    <a:pt x="915939" y="4851828"/>
                    <a:pt x="921541" y="4848127"/>
                    <a:pt x="927321" y="4843969"/>
                  </a:cubicBezTo>
                  <a:close/>
                  <a:moveTo>
                    <a:pt x="778464" y="4843969"/>
                  </a:moveTo>
                  <a:lnTo>
                    <a:pt x="793370" y="4843969"/>
                  </a:lnTo>
                  <a:lnTo>
                    <a:pt x="793370" y="5066949"/>
                  </a:lnTo>
                  <a:lnTo>
                    <a:pt x="758082" y="5066949"/>
                  </a:lnTo>
                  <a:lnTo>
                    <a:pt x="758082" y="4887166"/>
                  </a:lnTo>
                  <a:cubicBezTo>
                    <a:pt x="751694" y="4891729"/>
                    <a:pt x="744824" y="4895607"/>
                    <a:pt x="737473" y="4898802"/>
                  </a:cubicBezTo>
                  <a:cubicBezTo>
                    <a:pt x="730121" y="4901996"/>
                    <a:pt x="721730" y="4904809"/>
                    <a:pt x="712300" y="4907243"/>
                  </a:cubicBezTo>
                  <a:lnTo>
                    <a:pt x="712300" y="4877127"/>
                  </a:lnTo>
                  <a:cubicBezTo>
                    <a:pt x="718181" y="4875201"/>
                    <a:pt x="723860" y="4873173"/>
                    <a:pt x="729335" y="4871043"/>
                  </a:cubicBezTo>
                  <a:cubicBezTo>
                    <a:pt x="734811" y="4868914"/>
                    <a:pt x="740211" y="4866531"/>
                    <a:pt x="745535" y="4863894"/>
                  </a:cubicBezTo>
                  <a:cubicBezTo>
                    <a:pt x="750858" y="4861258"/>
                    <a:pt x="756232" y="4858317"/>
                    <a:pt x="761657" y="4855073"/>
                  </a:cubicBezTo>
                  <a:cubicBezTo>
                    <a:pt x="767082" y="4851828"/>
                    <a:pt x="772684" y="4848127"/>
                    <a:pt x="778464" y="4843969"/>
                  </a:cubicBezTo>
                  <a:close/>
                  <a:moveTo>
                    <a:pt x="629607" y="4843969"/>
                  </a:moveTo>
                  <a:lnTo>
                    <a:pt x="644513" y="4843969"/>
                  </a:lnTo>
                  <a:lnTo>
                    <a:pt x="644513" y="5066949"/>
                  </a:lnTo>
                  <a:lnTo>
                    <a:pt x="609225" y="5066949"/>
                  </a:lnTo>
                  <a:lnTo>
                    <a:pt x="609225" y="4887166"/>
                  </a:lnTo>
                  <a:cubicBezTo>
                    <a:pt x="602837" y="4891729"/>
                    <a:pt x="595967" y="4895607"/>
                    <a:pt x="588616" y="4898802"/>
                  </a:cubicBezTo>
                  <a:cubicBezTo>
                    <a:pt x="581264" y="4901996"/>
                    <a:pt x="572873" y="4904809"/>
                    <a:pt x="563443" y="4907243"/>
                  </a:cubicBezTo>
                  <a:lnTo>
                    <a:pt x="563443" y="4877127"/>
                  </a:lnTo>
                  <a:cubicBezTo>
                    <a:pt x="569324" y="4875201"/>
                    <a:pt x="575003" y="4873173"/>
                    <a:pt x="580478" y="4871043"/>
                  </a:cubicBezTo>
                  <a:cubicBezTo>
                    <a:pt x="585954" y="4868914"/>
                    <a:pt x="591354" y="4866531"/>
                    <a:pt x="596677" y="4863894"/>
                  </a:cubicBezTo>
                  <a:cubicBezTo>
                    <a:pt x="602001" y="4861258"/>
                    <a:pt x="607375" y="4858317"/>
                    <a:pt x="612800" y="4855073"/>
                  </a:cubicBezTo>
                  <a:cubicBezTo>
                    <a:pt x="618225" y="4851828"/>
                    <a:pt x="623827" y="4848127"/>
                    <a:pt x="629607" y="4843969"/>
                  </a:cubicBezTo>
                  <a:close/>
                  <a:moveTo>
                    <a:pt x="480750" y="4843969"/>
                  </a:moveTo>
                  <a:lnTo>
                    <a:pt x="495656" y="4843969"/>
                  </a:lnTo>
                  <a:lnTo>
                    <a:pt x="495656" y="5066949"/>
                  </a:lnTo>
                  <a:lnTo>
                    <a:pt x="460368" y="5066949"/>
                  </a:lnTo>
                  <a:lnTo>
                    <a:pt x="460368" y="4887166"/>
                  </a:lnTo>
                  <a:cubicBezTo>
                    <a:pt x="453980" y="4891729"/>
                    <a:pt x="447110" y="4895607"/>
                    <a:pt x="439759" y="4898802"/>
                  </a:cubicBezTo>
                  <a:cubicBezTo>
                    <a:pt x="432407" y="4901996"/>
                    <a:pt x="424016" y="4904809"/>
                    <a:pt x="414586" y="4907243"/>
                  </a:cubicBezTo>
                  <a:lnTo>
                    <a:pt x="414586" y="4877127"/>
                  </a:lnTo>
                  <a:cubicBezTo>
                    <a:pt x="420467" y="4875201"/>
                    <a:pt x="426146" y="4873173"/>
                    <a:pt x="431621" y="4871043"/>
                  </a:cubicBezTo>
                  <a:cubicBezTo>
                    <a:pt x="437097" y="4868914"/>
                    <a:pt x="442497" y="4866531"/>
                    <a:pt x="447821" y="4863894"/>
                  </a:cubicBezTo>
                  <a:cubicBezTo>
                    <a:pt x="453144" y="4861258"/>
                    <a:pt x="458518" y="4858317"/>
                    <a:pt x="463943" y="4855073"/>
                  </a:cubicBezTo>
                  <a:cubicBezTo>
                    <a:pt x="469368" y="4851828"/>
                    <a:pt x="474970" y="4848127"/>
                    <a:pt x="480750" y="4843969"/>
                  </a:cubicBezTo>
                  <a:close/>
                  <a:moveTo>
                    <a:pt x="11874294" y="4534174"/>
                  </a:moveTo>
                  <a:cubicBezTo>
                    <a:pt x="11848114" y="4534174"/>
                    <a:pt x="11835024" y="4563011"/>
                    <a:pt x="11835024" y="4620687"/>
                  </a:cubicBezTo>
                  <a:cubicBezTo>
                    <a:pt x="11835024" y="4674652"/>
                    <a:pt x="11847863" y="4701634"/>
                    <a:pt x="11873542" y="4701634"/>
                  </a:cubicBezTo>
                  <a:cubicBezTo>
                    <a:pt x="11898818" y="4701634"/>
                    <a:pt x="11911457" y="4674200"/>
                    <a:pt x="11911457" y="4619333"/>
                  </a:cubicBezTo>
                  <a:cubicBezTo>
                    <a:pt x="11911457" y="4562560"/>
                    <a:pt x="11899069" y="4534174"/>
                    <a:pt x="11874294" y="4534174"/>
                  </a:cubicBezTo>
                  <a:close/>
                  <a:moveTo>
                    <a:pt x="11189148" y="4534174"/>
                  </a:moveTo>
                  <a:cubicBezTo>
                    <a:pt x="11162968" y="4534174"/>
                    <a:pt x="11149878" y="4563011"/>
                    <a:pt x="11149878" y="4620687"/>
                  </a:cubicBezTo>
                  <a:cubicBezTo>
                    <a:pt x="11149878" y="4674652"/>
                    <a:pt x="11162717" y="4701634"/>
                    <a:pt x="11188396" y="4701634"/>
                  </a:cubicBezTo>
                  <a:cubicBezTo>
                    <a:pt x="11213672" y="4701634"/>
                    <a:pt x="11226311" y="4674200"/>
                    <a:pt x="11226311" y="4619333"/>
                  </a:cubicBezTo>
                  <a:cubicBezTo>
                    <a:pt x="11226311" y="4562560"/>
                    <a:pt x="11213923" y="4534174"/>
                    <a:pt x="11189148" y="4534174"/>
                  </a:cubicBezTo>
                  <a:close/>
                  <a:moveTo>
                    <a:pt x="9936214" y="4534174"/>
                  </a:moveTo>
                  <a:cubicBezTo>
                    <a:pt x="9910034" y="4534174"/>
                    <a:pt x="9896944" y="4563011"/>
                    <a:pt x="9896944" y="4620687"/>
                  </a:cubicBezTo>
                  <a:cubicBezTo>
                    <a:pt x="9896944" y="4674652"/>
                    <a:pt x="9909783" y="4701634"/>
                    <a:pt x="9935462" y="4701634"/>
                  </a:cubicBezTo>
                  <a:cubicBezTo>
                    <a:pt x="9960738" y="4701634"/>
                    <a:pt x="9973377" y="4674200"/>
                    <a:pt x="9973377" y="4619333"/>
                  </a:cubicBezTo>
                  <a:cubicBezTo>
                    <a:pt x="9973377" y="4562560"/>
                    <a:pt x="9960989" y="4534174"/>
                    <a:pt x="9936214" y="4534174"/>
                  </a:cubicBezTo>
                  <a:close/>
                  <a:moveTo>
                    <a:pt x="9713703" y="4534174"/>
                  </a:moveTo>
                  <a:cubicBezTo>
                    <a:pt x="9687523" y="4534174"/>
                    <a:pt x="9674433" y="4563011"/>
                    <a:pt x="9674433" y="4620687"/>
                  </a:cubicBezTo>
                  <a:cubicBezTo>
                    <a:pt x="9674433" y="4674652"/>
                    <a:pt x="9687272" y="4701634"/>
                    <a:pt x="9712951" y="4701634"/>
                  </a:cubicBezTo>
                  <a:cubicBezTo>
                    <a:pt x="9738227" y="4701634"/>
                    <a:pt x="9750866" y="4674200"/>
                    <a:pt x="9750866" y="4619333"/>
                  </a:cubicBezTo>
                  <a:cubicBezTo>
                    <a:pt x="9750866" y="4562560"/>
                    <a:pt x="9738478" y="4534174"/>
                    <a:pt x="9713703" y="4534174"/>
                  </a:cubicBezTo>
                  <a:close/>
                  <a:moveTo>
                    <a:pt x="6372301" y="4534174"/>
                  </a:moveTo>
                  <a:cubicBezTo>
                    <a:pt x="6346121" y="4534174"/>
                    <a:pt x="6333031" y="4563011"/>
                    <a:pt x="6333031" y="4620687"/>
                  </a:cubicBezTo>
                  <a:cubicBezTo>
                    <a:pt x="6333031" y="4674652"/>
                    <a:pt x="6345870" y="4701634"/>
                    <a:pt x="6371549" y="4701634"/>
                  </a:cubicBezTo>
                  <a:cubicBezTo>
                    <a:pt x="6396826" y="4701634"/>
                    <a:pt x="6409464" y="4674200"/>
                    <a:pt x="6409464" y="4619333"/>
                  </a:cubicBezTo>
                  <a:cubicBezTo>
                    <a:pt x="6409464" y="4562560"/>
                    <a:pt x="6397076" y="4534174"/>
                    <a:pt x="6372301" y="4534174"/>
                  </a:cubicBezTo>
                  <a:close/>
                  <a:moveTo>
                    <a:pt x="5784617" y="4534174"/>
                  </a:moveTo>
                  <a:cubicBezTo>
                    <a:pt x="5758439" y="4534174"/>
                    <a:pt x="5745350" y="4563011"/>
                    <a:pt x="5745350" y="4620687"/>
                  </a:cubicBezTo>
                  <a:cubicBezTo>
                    <a:pt x="5745350" y="4674652"/>
                    <a:pt x="5758187" y="4701634"/>
                    <a:pt x="5783865" y="4701634"/>
                  </a:cubicBezTo>
                  <a:cubicBezTo>
                    <a:pt x="5809143" y="4701634"/>
                    <a:pt x="5821781" y="4674200"/>
                    <a:pt x="5821781" y="4619333"/>
                  </a:cubicBezTo>
                  <a:cubicBezTo>
                    <a:pt x="5821781" y="4562560"/>
                    <a:pt x="5809394" y="4534174"/>
                    <a:pt x="5784617" y="4534174"/>
                  </a:cubicBezTo>
                  <a:close/>
                  <a:moveTo>
                    <a:pt x="5091629" y="4534174"/>
                  </a:moveTo>
                  <a:cubicBezTo>
                    <a:pt x="5065449" y="4534174"/>
                    <a:pt x="5052358" y="4563011"/>
                    <a:pt x="5052358" y="4620687"/>
                  </a:cubicBezTo>
                  <a:cubicBezTo>
                    <a:pt x="5052358" y="4674652"/>
                    <a:pt x="5065200" y="4701634"/>
                    <a:pt x="5090877" y="4701634"/>
                  </a:cubicBezTo>
                  <a:cubicBezTo>
                    <a:pt x="5116154" y="4701634"/>
                    <a:pt x="5128792" y="4674200"/>
                    <a:pt x="5128792" y="4619333"/>
                  </a:cubicBezTo>
                  <a:cubicBezTo>
                    <a:pt x="5128792" y="4562560"/>
                    <a:pt x="5116404" y="4534174"/>
                    <a:pt x="5091629" y="4534174"/>
                  </a:cubicBezTo>
                  <a:close/>
                  <a:moveTo>
                    <a:pt x="3837392" y="4534174"/>
                  </a:moveTo>
                  <a:cubicBezTo>
                    <a:pt x="3811212" y="4534174"/>
                    <a:pt x="3798122" y="4563011"/>
                    <a:pt x="3798122" y="4620687"/>
                  </a:cubicBezTo>
                  <a:cubicBezTo>
                    <a:pt x="3798122" y="4674652"/>
                    <a:pt x="3810961" y="4701634"/>
                    <a:pt x="3836640" y="4701634"/>
                  </a:cubicBezTo>
                  <a:cubicBezTo>
                    <a:pt x="3861916" y="4701634"/>
                    <a:pt x="3874555" y="4674200"/>
                    <a:pt x="3874555" y="4619333"/>
                  </a:cubicBezTo>
                  <a:cubicBezTo>
                    <a:pt x="3874555" y="4562560"/>
                    <a:pt x="3862167" y="4534174"/>
                    <a:pt x="3837392" y="4534174"/>
                  </a:cubicBezTo>
                  <a:close/>
                  <a:moveTo>
                    <a:pt x="3614881" y="4534174"/>
                  </a:moveTo>
                  <a:cubicBezTo>
                    <a:pt x="3588702" y="4534174"/>
                    <a:pt x="3575611" y="4563011"/>
                    <a:pt x="3575611" y="4620687"/>
                  </a:cubicBezTo>
                  <a:cubicBezTo>
                    <a:pt x="3575611" y="4674652"/>
                    <a:pt x="3588451" y="4701634"/>
                    <a:pt x="3614130" y="4701634"/>
                  </a:cubicBezTo>
                  <a:cubicBezTo>
                    <a:pt x="3639407" y="4701634"/>
                    <a:pt x="3652044" y="4674200"/>
                    <a:pt x="3652044" y="4619333"/>
                  </a:cubicBezTo>
                  <a:cubicBezTo>
                    <a:pt x="3652044" y="4562560"/>
                    <a:pt x="3639656" y="4534174"/>
                    <a:pt x="3614881" y="4534174"/>
                  </a:cubicBezTo>
                  <a:close/>
                  <a:moveTo>
                    <a:pt x="954478" y="4534174"/>
                  </a:moveTo>
                  <a:cubicBezTo>
                    <a:pt x="928298" y="4534174"/>
                    <a:pt x="915208" y="4563012"/>
                    <a:pt x="915208" y="4620688"/>
                  </a:cubicBezTo>
                  <a:cubicBezTo>
                    <a:pt x="915208" y="4674652"/>
                    <a:pt x="928047" y="4701635"/>
                    <a:pt x="953726" y="4701635"/>
                  </a:cubicBezTo>
                  <a:cubicBezTo>
                    <a:pt x="979003" y="4701635"/>
                    <a:pt x="991641" y="4674201"/>
                    <a:pt x="991641" y="4619334"/>
                  </a:cubicBezTo>
                  <a:cubicBezTo>
                    <a:pt x="991641" y="4562561"/>
                    <a:pt x="979253" y="4534174"/>
                    <a:pt x="954478" y="4534174"/>
                  </a:cubicBezTo>
                  <a:close/>
                  <a:moveTo>
                    <a:pt x="778131" y="4534174"/>
                  </a:moveTo>
                  <a:cubicBezTo>
                    <a:pt x="751951" y="4534174"/>
                    <a:pt x="738861" y="4563012"/>
                    <a:pt x="738861" y="4620688"/>
                  </a:cubicBezTo>
                  <a:cubicBezTo>
                    <a:pt x="738861" y="4674652"/>
                    <a:pt x="751700" y="4701635"/>
                    <a:pt x="777378" y="4701635"/>
                  </a:cubicBezTo>
                  <a:cubicBezTo>
                    <a:pt x="802655" y="4701635"/>
                    <a:pt x="815294" y="4674201"/>
                    <a:pt x="815294" y="4619334"/>
                  </a:cubicBezTo>
                  <a:cubicBezTo>
                    <a:pt x="815294" y="4562561"/>
                    <a:pt x="802906" y="4534174"/>
                    <a:pt x="778131" y="4534174"/>
                  </a:cubicBezTo>
                  <a:close/>
                  <a:moveTo>
                    <a:pt x="141104" y="4534174"/>
                  </a:moveTo>
                  <a:cubicBezTo>
                    <a:pt x="114924" y="4534174"/>
                    <a:pt x="101834" y="4563012"/>
                    <a:pt x="101834" y="4620688"/>
                  </a:cubicBezTo>
                  <a:cubicBezTo>
                    <a:pt x="101834" y="4674652"/>
                    <a:pt x="114673" y="4701635"/>
                    <a:pt x="140352" y="4701635"/>
                  </a:cubicBezTo>
                  <a:cubicBezTo>
                    <a:pt x="165629" y="4701635"/>
                    <a:pt x="178267" y="4674201"/>
                    <a:pt x="178267" y="4619334"/>
                  </a:cubicBezTo>
                  <a:cubicBezTo>
                    <a:pt x="178267" y="4562561"/>
                    <a:pt x="165879" y="4534174"/>
                    <a:pt x="141104" y="4534174"/>
                  </a:cubicBezTo>
                  <a:close/>
                  <a:moveTo>
                    <a:pt x="12062430" y="4506339"/>
                  </a:moveTo>
                  <a:lnTo>
                    <a:pt x="12077336" y="4506339"/>
                  </a:lnTo>
                  <a:lnTo>
                    <a:pt x="12077336" y="4729319"/>
                  </a:lnTo>
                  <a:lnTo>
                    <a:pt x="12042048" y="4729319"/>
                  </a:lnTo>
                  <a:lnTo>
                    <a:pt x="12042048" y="4549535"/>
                  </a:lnTo>
                  <a:cubicBezTo>
                    <a:pt x="12035660" y="4554098"/>
                    <a:pt x="12028790" y="4557977"/>
                    <a:pt x="12021439" y="4561171"/>
                  </a:cubicBezTo>
                  <a:cubicBezTo>
                    <a:pt x="12014087" y="4564365"/>
                    <a:pt x="12005696" y="4567179"/>
                    <a:pt x="11996266" y="4569613"/>
                  </a:cubicBezTo>
                  <a:lnTo>
                    <a:pt x="11996266" y="4539497"/>
                  </a:lnTo>
                  <a:cubicBezTo>
                    <a:pt x="12002147" y="4537570"/>
                    <a:pt x="12007826" y="4535542"/>
                    <a:pt x="12013301" y="4533413"/>
                  </a:cubicBezTo>
                  <a:cubicBezTo>
                    <a:pt x="12018777" y="4531284"/>
                    <a:pt x="12024177" y="4528900"/>
                    <a:pt x="12029500" y="4526264"/>
                  </a:cubicBezTo>
                  <a:cubicBezTo>
                    <a:pt x="12034824" y="4523628"/>
                    <a:pt x="12040198" y="4520687"/>
                    <a:pt x="12045623" y="4517442"/>
                  </a:cubicBezTo>
                  <a:cubicBezTo>
                    <a:pt x="12051048" y="4514197"/>
                    <a:pt x="12056650" y="4510496"/>
                    <a:pt x="12062430" y="4506339"/>
                  </a:cubicBezTo>
                  <a:close/>
                  <a:moveTo>
                    <a:pt x="11875949" y="4506339"/>
                  </a:moveTo>
                  <a:cubicBezTo>
                    <a:pt x="11923393" y="4506339"/>
                    <a:pt x="11947116" y="4543201"/>
                    <a:pt x="11947116" y="4616926"/>
                  </a:cubicBezTo>
                  <a:cubicBezTo>
                    <a:pt x="11947116" y="4653437"/>
                    <a:pt x="11940420" y="4681297"/>
                    <a:pt x="11927030" y="4700506"/>
                  </a:cubicBezTo>
                  <a:cubicBezTo>
                    <a:pt x="11913639" y="4719714"/>
                    <a:pt x="11894907" y="4729319"/>
                    <a:pt x="11870833" y="4729319"/>
                  </a:cubicBezTo>
                  <a:cubicBezTo>
                    <a:pt x="11848365" y="4729319"/>
                    <a:pt x="11830836" y="4720141"/>
                    <a:pt x="11818248" y="4701785"/>
                  </a:cubicBezTo>
                  <a:cubicBezTo>
                    <a:pt x="11805659" y="4683429"/>
                    <a:pt x="11799365" y="4656898"/>
                    <a:pt x="11799365" y="4622192"/>
                  </a:cubicBezTo>
                  <a:cubicBezTo>
                    <a:pt x="11799365" y="4584076"/>
                    <a:pt x="11805935" y="4555238"/>
                    <a:pt x="11819075" y="4535678"/>
                  </a:cubicBezTo>
                  <a:cubicBezTo>
                    <a:pt x="11832216" y="4516119"/>
                    <a:pt x="11851173" y="4506339"/>
                    <a:pt x="11875949" y="4506339"/>
                  </a:cubicBezTo>
                  <a:close/>
                  <a:moveTo>
                    <a:pt x="11190803" y="4506339"/>
                  </a:moveTo>
                  <a:cubicBezTo>
                    <a:pt x="11238247" y="4506339"/>
                    <a:pt x="11261970" y="4543201"/>
                    <a:pt x="11261970" y="4616926"/>
                  </a:cubicBezTo>
                  <a:cubicBezTo>
                    <a:pt x="11261970" y="4653437"/>
                    <a:pt x="11255274" y="4681297"/>
                    <a:pt x="11241884" y="4700506"/>
                  </a:cubicBezTo>
                  <a:cubicBezTo>
                    <a:pt x="11228493" y="4719714"/>
                    <a:pt x="11209761" y="4729319"/>
                    <a:pt x="11185687" y="4729319"/>
                  </a:cubicBezTo>
                  <a:cubicBezTo>
                    <a:pt x="11163219" y="4729319"/>
                    <a:pt x="11145690" y="4720141"/>
                    <a:pt x="11133102" y="4701785"/>
                  </a:cubicBezTo>
                  <a:cubicBezTo>
                    <a:pt x="11120513" y="4683429"/>
                    <a:pt x="11114219" y="4656898"/>
                    <a:pt x="11114219" y="4622192"/>
                  </a:cubicBezTo>
                  <a:cubicBezTo>
                    <a:pt x="11114219" y="4584076"/>
                    <a:pt x="11120789" y="4555238"/>
                    <a:pt x="11133929" y="4535678"/>
                  </a:cubicBezTo>
                  <a:cubicBezTo>
                    <a:pt x="11147070" y="4516119"/>
                    <a:pt x="11166027" y="4506339"/>
                    <a:pt x="11190803" y="4506339"/>
                  </a:cubicBezTo>
                  <a:close/>
                  <a:moveTo>
                    <a:pt x="10143427" y="4506339"/>
                  </a:moveTo>
                  <a:lnTo>
                    <a:pt x="10158333" y="4506339"/>
                  </a:lnTo>
                  <a:lnTo>
                    <a:pt x="10158333" y="4729319"/>
                  </a:lnTo>
                  <a:lnTo>
                    <a:pt x="10123045" y="4729319"/>
                  </a:lnTo>
                  <a:lnTo>
                    <a:pt x="10123045" y="4549535"/>
                  </a:lnTo>
                  <a:cubicBezTo>
                    <a:pt x="10116657" y="4554098"/>
                    <a:pt x="10109787" y="4557977"/>
                    <a:pt x="10102436" y="4561171"/>
                  </a:cubicBezTo>
                  <a:cubicBezTo>
                    <a:pt x="10095084" y="4564365"/>
                    <a:pt x="10086693" y="4567179"/>
                    <a:pt x="10077263" y="4569613"/>
                  </a:cubicBezTo>
                  <a:lnTo>
                    <a:pt x="10077263" y="4539497"/>
                  </a:lnTo>
                  <a:cubicBezTo>
                    <a:pt x="10083144" y="4537570"/>
                    <a:pt x="10088823" y="4535542"/>
                    <a:pt x="10094298" y="4533413"/>
                  </a:cubicBezTo>
                  <a:cubicBezTo>
                    <a:pt x="10099774" y="4531284"/>
                    <a:pt x="10105174" y="4528900"/>
                    <a:pt x="10110497" y="4526264"/>
                  </a:cubicBezTo>
                  <a:cubicBezTo>
                    <a:pt x="10115821" y="4523628"/>
                    <a:pt x="10121195" y="4520687"/>
                    <a:pt x="10126620" y="4517442"/>
                  </a:cubicBezTo>
                  <a:cubicBezTo>
                    <a:pt x="10132045" y="4514197"/>
                    <a:pt x="10137647" y="4510496"/>
                    <a:pt x="10143427" y="4506339"/>
                  </a:cubicBezTo>
                  <a:close/>
                  <a:moveTo>
                    <a:pt x="9937869" y="4506339"/>
                  </a:moveTo>
                  <a:cubicBezTo>
                    <a:pt x="9985313" y="4506339"/>
                    <a:pt x="10009036" y="4543201"/>
                    <a:pt x="10009036" y="4616926"/>
                  </a:cubicBezTo>
                  <a:cubicBezTo>
                    <a:pt x="10009036" y="4653437"/>
                    <a:pt x="10002340" y="4681297"/>
                    <a:pt x="9988950" y="4700506"/>
                  </a:cubicBezTo>
                  <a:cubicBezTo>
                    <a:pt x="9975559" y="4719714"/>
                    <a:pt x="9956827" y="4729319"/>
                    <a:pt x="9932753" y="4729319"/>
                  </a:cubicBezTo>
                  <a:cubicBezTo>
                    <a:pt x="9910285" y="4729319"/>
                    <a:pt x="9892756" y="4720141"/>
                    <a:pt x="9880168" y="4701785"/>
                  </a:cubicBezTo>
                  <a:cubicBezTo>
                    <a:pt x="9867579" y="4683429"/>
                    <a:pt x="9861285" y="4656898"/>
                    <a:pt x="9861285" y="4622192"/>
                  </a:cubicBezTo>
                  <a:cubicBezTo>
                    <a:pt x="9861285" y="4584076"/>
                    <a:pt x="9867855" y="4555238"/>
                    <a:pt x="9880995" y="4535678"/>
                  </a:cubicBezTo>
                  <a:cubicBezTo>
                    <a:pt x="9894136" y="4516119"/>
                    <a:pt x="9913093" y="4506339"/>
                    <a:pt x="9937869" y="4506339"/>
                  </a:cubicBezTo>
                  <a:close/>
                  <a:moveTo>
                    <a:pt x="9715358" y="4506339"/>
                  </a:moveTo>
                  <a:cubicBezTo>
                    <a:pt x="9762802" y="4506339"/>
                    <a:pt x="9786525" y="4543201"/>
                    <a:pt x="9786525" y="4616926"/>
                  </a:cubicBezTo>
                  <a:cubicBezTo>
                    <a:pt x="9786525" y="4653437"/>
                    <a:pt x="9779829" y="4681297"/>
                    <a:pt x="9766439" y="4700506"/>
                  </a:cubicBezTo>
                  <a:cubicBezTo>
                    <a:pt x="9753048" y="4719714"/>
                    <a:pt x="9734316" y="4729319"/>
                    <a:pt x="9710242" y="4729319"/>
                  </a:cubicBezTo>
                  <a:cubicBezTo>
                    <a:pt x="9687774" y="4729319"/>
                    <a:pt x="9670245" y="4720141"/>
                    <a:pt x="9657657" y="4701785"/>
                  </a:cubicBezTo>
                  <a:cubicBezTo>
                    <a:pt x="9645068" y="4683429"/>
                    <a:pt x="9638774" y="4656898"/>
                    <a:pt x="9638774" y="4622192"/>
                  </a:cubicBezTo>
                  <a:cubicBezTo>
                    <a:pt x="9638774" y="4584076"/>
                    <a:pt x="9645344" y="4555238"/>
                    <a:pt x="9658484" y="4535678"/>
                  </a:cubicBezTo>
                  <a:cubicBezTo>
                    <a:pt x="9671625" y="4516119"/>
                    <a:pt x="9690582" y="4506339"/>
                    <a:pt x="9715358" y="4506339"/>
                  </a:cubicBezTo>
                  <a:close/>
                  <a:moveTo>
                    <a:pt x="9557012" y="4506339"/>
                  </a:moveTo>
                  <a:lnTo>
                    <a:pt x="9571918" y="4506339"/>
                  </a:lnTo>
                  <a:lnTo>
                    <a:pt x="9571918" y="4729319"/>
                  </a:lnTo>
                  <a:lnTo>
                    <a:pt x="9536630" y="4729319"/>
                  </a:lnTo>
                  <a:lnTo>
                    <a:pt x="9536630" y="4549535"/>
                  </a:lnTo>
                  <a:cubicBezTo>
                    <a:pt x="9530242" y="4554098"/>
                    <a:pt x="9523372" y="4557977"/>
                    <a:pt x="9516021" y="4561171"/>
                  </a:cubicBezTo>
                  <a:cubicBezTo>
                    <a:pt x="9508669" y="4564365"/>
                    <a:pt x="9500278" y="4567179"/>
                    <a:pt x="9490848" y="4569613"/>
                  </a:cubicBezTo>
                  <a:lnTo>
                    <a:pt x="9490848" y="4539497"/>
                  </a:lnTo>
                  <a:cubicBezTo>
                    <a:pt x="9496729" y="4537570"/>
                    <a:pt x="9502408" y="4535542"/>
                    <a:pt x="9507883" y="4533413"/>
                  </a:cubicBezTo>
                  <a:cubicBezTo>
                    <a:pt x="9513359" y="4531284"/>
                    <a:pt x="9518759" y="4528900"/>
                    <a:pt x="9524082" y="4526264"/>
                  </a:cubicBezTo>
                  <a:cubicBezTo>
                    <a:pt x="9529406" y="4523628"/>
                    <a:pt x="9534780" y="4520687"/>
                    <a:pt x="9540205" y="4517442"/>
                  </a:cubicBezTo>
                  <a:cubicBezTo>
                    <a:pt x="9545630" y="4514197"/>
                    <a:pt x="9551232" y="4510496"/>
                    <a:pt x="9557012" y="4506339"/>
                  </a:cubicBezTo>
                  <a:close/>
                  <a:moveTo>
                    <a:pt x="9254256" y="4506339"/>
                  </a:moveTo>
                  <a:lnTo>
                    <a:pt x="9269162" y="4506339"/>
                  </a:lnTo>
                  <a:lnTo>
                    <a:pt x="9269162" y="4729319"/>
                  </a:lnTo>
                  <a:lnTo>
                    <a:pt x="9233874" y="4729319"/>
                  </a:lnTo>
                  <a:lnTo>
                    <a:pt x="9233874" y="4549535"/>
                  </a:lnTo>
                  <a:cubicBezTo>
                    <a:pt x="9227486" y="4554098"/>
                    <a:pt x="9220616" y="4557977"/>
                    <a:pt x="9213265" y="4561171"/>
                  </a:cubicBezTo>
                  <a:cubicBezTo>
                    <a:pt x="9205913" y="4564365"/>
                    <a:pt x="9197522" y="4567179"/>
                    <a:pt x="9188092" y="4569613"/>
                  </a:cubicBezTo>
                  <a:lnTo>
                    <a:pt x="9188092" y="4539497"/>
                  </a:lnTo>
                  <a:cubicBezTo>
                    <a:pt x="9193973" y="4537570"/>
                    <a:pt x="9199652" y="4535542"/>
                    <a:pt x="9205127" y="4533413"/>
                  </a:cubicBezTo>
                  <a:cubicBezTo>
                    <a:pt x="9210603" y="4531284"/>
                    <a:pt x="9216003" y="4528900"/>
                    <a:pt x="9221326" y="4526264"/>
                  </a:cubicBezTo>
                  <a:cubicBezTo>
                    <a:pt x="9226650" y="4523628"/>
                    <a:pt x="9232024" y="4520687"/>
                    <a:pt x="9237449" y="4517442"/>
                  </a:cubicBezTo>
                  <a:cubicBezTo>
                    <a:pt x="9242874" y="4514197"/>
                    <a:pt x="9248476" y="4510496"/>
                    <a:pt x="9254256" y="4506339"/>
                  </a:cubicBezTo>
                  <a:close/>
                  <a:moveTo>
                    <a:pt x="7851748" y="4506339"/>
                  </a:moveTo>
                  <a:lnTo>
                    <a:pt x="7866654" y="4506339"/>
                  </a:lnTo>
                  <a:lnTo>
                    <a:pt x="7866654" y="4729319"/>
                  </a:lnTo>
                  <a:lnTo>
                    <a:pt x="7831366" y="4729319"/>
                  </a:lnTo>
                  <a:lnTo>
                    <a:pt x="7831366" y="4549535"/>
                  </a:lnTo>
                  <a:cubicBezTo>
                    <a:pt x="7824978" y="4554098"/>
                    <a:pt x="7818109" y="4557977"/>
                    <a:pt x="7810757" y="4561171"/>
                  </a:cubicBezTo>
                  <a:cubicBezTo>
                    <a:pt x="7803405" y="4564365"/>
                    <a:pt x="7795015" y="4567179"/>
                    <a:pt x="7785584" y="4569613"/>
                  </a:cubicBezTo>
                  <a:lnTo>
                    <a:pt x="7785584" y="4539497"/>
                  </a:lnTo>
                  <a:cubicBezTo>
                    <a:pt x="7791465" y="4537570"/>
                    <a:pt x="7797144" y="4535542"/>
                    <a:pt x="7802619" y="4533413"/>
                  </a:cubicBezTo>
                  <a:cubicBezTo>
                    <a:pt x="7808095" y="4531284"/>
                    <a:pt x="7813495" y="4528900"/>
                    <a:pt x="7818818" y="4526264"/>
                  </a:cubicBezTo>
                  <a:cubicBezTo>
                    <a:pt x="7824142" y="4523628"/>
                    <a:pt x="7829516" y="4520687"/>
                    <a:pt x="7834941" y="4517442"/>
                  </a:cubicBezTo>
                  <a:cubicBezTo>
                    <a:pt x="7840366" y="4514197"/>
                    <a:pt x="7845968" y="4510496"/>
                    <a:pt x="7851748" y="4506339"/>
                  </a:cubicBezTo>
                  <a:close/>
                  <a:moveTo>
                    <a:pt x="7413731" y="4506339"/>
                  </a:moveTo>
                  <a:lnTo>
                    <a:pt x="7428637" y="4506339"/>
                  </a:lnTo>
                  <a:lnTo>
                    <a:pt x="7428637" y="4729319"/>
                  </a:lnTo>
                  <a:lnTo>
                    <a:pt x="7393349" y="4729319"/>
                  </a:lnTo>
                  <a:lnTo>
                    <a:pt x="7393349" y="4549535"/>
                  </a:lnTo>
                  <a:cubicBezTo>
                    <a:pt x="7386961" y="4554098"/>
                    <a:pt x="7380092" y="4557977"/>
                    <a:pt x="7372740" y="4561171"/>
                  </a:cubicBezTo>
                  <a:cubicBezTo>
                    <a:pt x="7365388" y="4564365"/>
                    <a:pt x="7356998" y="4567179"/>
                    <a:pt x="7347567" y="4569613"/>
                  </a:cubicBezTo>
                  <a:lnTo>
                    <a:pt x="7347567" y="4539497"/>
                  </a:lnTo>
                  <a:cubicBezTo>
                    <a:pt x="7353448" y="4537570"/>
                    <a:pt x="7359127" y="4535542"/>
                    <a:pt x="7364602" y="4533413"/>
                  </a:cubicBezTo>
                  <a:cubicBezTo>
                    <a:pt x="7370078" y="4531284"/>
                    <a:pt x="7375478" y="4528900"/>
                    <a:pt x="7380801" y="4526264"/>
                  </a:cubicBezTo>
                  <a:cubicBezTo>
                    <a:pt x="7386125" y="4523628"/>
                    <a:pt x="7391499" y="4520687"/>
                    <a:pt x="7396924" y="4517442"/>
                  </a:cubicBezTo>
                  <a:cubicBezTo>
                    <a:pt x="7402349" y="4514197"/>
                    <a:pt x="7407951" y="4510496"/>
                    <a:pt x="7413731" y="4506339"/>
                  </a:cubicBezTo>
                  <a:close/>
                  <a:moveTo>
                    <a:pt x="7015147" y="4506339"/>
                  </a:moveTo>
                  <a:lnTo>
                    <a:pt x="7030053" y="4506339"/>
                  </a:lnTo>
                  <a:lnTo>
                    <a:pt x="7030053" y="4729319"/>
                  </a:lnTo>
                  <a:lnTo>
                    <a:pt x="6994765" y="4729319"/>
                  </a:lnTo>
                  <a:lnTo>
                    <a:pt x="6994765" y="4549535"/>
                  </a:lnTo>
                  <a:cubicBezTo>
                    <a:pt x="6988377" y="4554098"/>
                    <a:pt x="6981508" y="4557977"/>
                    <a:pt x="6974156" y="4561171"/>
                  </a:cubicBezTo>
                  <a:cubicBezTo>
                    <a:pt x="6966804" y="4564365"/>
                    <a:pt x="6958414" y="4567179"/>
                    <a:pt x="6948983" y="4569613"/>
                  </a:cubicBezTo>
                  <a:lnTo>
                    <a:pt x="6948983" y="4539497"/>
                  </a:lnTo>
                  <a:cubicBezTo>
                    <a:pt x="6954864" y="4537570"/>
                    <a:pt x="6960543" y="4535542"/>
                    <a:pt x="6966018" y="4533413"/>
                  </a:cubicBezTo>
                  <a:cubicBezTo>
                    <a:pt x="6971494" y="4531284"/>
                    <a:pt x="6976894" y="4528900"/>
                    <a:pt x="6982217" y="4526264"/>
                  </a:cubicBezTo>
                  <a:cubicBezTo>
                    <a:pt x="6987541" y="4523628"/>
                    <a:pt x="6992915" y="4520687"/>
                    <a:pt x="6998340" y="4517442"/>
                  </a:cubicBezTo>
                  <a:cubicBezTo>
                    <a:pt x="7003765" y="4514197"/>
                    <a:pt x="7009367" y="4510496"/>
                    <a:pt x="7015147" y="4506339"/>
                  </a:cubicBezTo>
                  <a:close/>
                  <a:moveTo>
                    <a:pt x="6727931" y="4506339"/>
                  </a:moveTo>
                  <a:lnTo>
                    <a:pt x="6742837" y="4506339"/>
                  </a:lnTo>
                  <a:lnTo>
                    <a:pt x="6742837" y="4729319"/>
                  </a:lnTo>
                  <a:lnTo>
                    <a:pt x="6707549" y="4729319"/>
                  </a:lnTo>
                  <a:lnTo>
                    <a:pt x="6707549" y="4549535"/>
                  </a:lnTo>
                  <a:cubicBezTo>
                    <a:pt x="6701161" y="4554098"/>
                    <a:pt x="6694292" y="4557977"/>
                    <a:pt x="6686940" y="4561171"/>
                  </a:cubicBezTo>
                  <a:cubicBezTo>
                    <a:pt x="6679588" y="4564365"/>
                    <a:pt x="6671198" y="4567179"/>
                    <a:pt x="6661767" y="4569613"/>
                  </a:cubicBezTo>
                  <a:lnTo>
                    <a:pt x="6661767" y="4539497"/>
                  </a:lnTo>
                  <a:cubicBezTo>
                    <a:pt x="6667648" y="4537570"/>
                    <a:pt x="6673327" y="4535542"/>
                    <a:pt x="6678802" y="4533413"/>
                  </a:cubicBezTo>
                  <a:cubicBezTo>
                    <a:pt x="6684278" y="4531284"/>
                    <a:pt x="6689678" y="4528900"/>
                    <a:pt x="6695001" y="4526264"/>
                  </a:cubicBezTo>
                  <a:cubicBezTo>
                    <a:pt x="6700325" y="4523628"/>
                    <a:pt x="6705699" y="4520687"/>
                    <a:pt x="6711124" y="4517442"/>
                  </a:cubicBezTo>
                  <a:cubicBezTo>
                    <a:pt x="6716549" y="4514197"/>
                    <a:pt x="6722151" y="4510496"/>
                    <a:pt x="6727931" y="4506339"/>
                  </a:cubicBezTo>
                  <a:close/>
                  <a:moveTo>
                    <a:pt x="6584323" y="4506339"/>
                  </a:moveTo>
                  <a:lnTo>
                    <a:pt x="6599229" y="4506339"/>
                  </a:lnTo>
                  <a:lnTo>
                    <a:pt x="6599229" y="4729319"/>
                  </a:lnTo>
                  <a:lnTo>
                    <a:pt x="6563941" y="4729319"/>
                  </a:lnTo>
                  <a:lnTo>
                    <a:pt x="6563941" y="4549535"/>
                  </a:lnTo>
                  <a:cubicBezTo>
                    <a:pt x="6557553" y="4554098"/>
                    <a:pt x="6550684" y="4557977"/>
                    <a:pt x="6543332" y="4561171"/>
                  </a:cubicBezTo>
                  <a:cubicBezTo>
                    <a:pt x="6535980" y="4564365"/>
                    <a:pt x="6527590" y="4567179"/>
                    <a:pt x="6518159" y="4569613"/>
                  </a:cubicBezTo>
                  <a:lnTo>
                    <a:pt x="6518159" y="4539497"/>
                  </a:lnTo>
                  <a:cubicBezTo>
                    <a:pt x="6524040" y="4537570"/>
                    <a:pt x="6529719" y="4535542"/>
                    <a:pt x="6535194" y="4533413"/>
                  </a:cubicBezTo>
                  <a:cubicBezTo>
                    <a:pt x="6540670" y="4531284"/>
                    <a:pt x="6546070" y="4528900"/>
                    <a:pt x="6551393" y="4526264"/>
                  </a:cubicBezTo>
                  <a:cubicBezTo>
                    <a:pt x="6556717" y="4523628"/>
                    <a:pt x="6562091" y="4520687"/>
                    <a:pt x="6567516" y="4517442"/>
                  </a:cubicBezTo>
                  <a:cubicBezTo>
                    <a:pt x="6572941" y="4514197"/>
                    <a:pt x="6578543" y="4510496"/>
                    <a:pt x="6584323" y="4506339"/>
                  </a:cubicBezTo>
                  <a:close/>
                  <a:moveTo>
                    <a:pt x="6373956" y="4506339"/>
                  </a:moveTo>
                  <a:cubicBezTo>
                    <a:pt x="6421401" y="4506339"/>
                    <a:pt x="6445123" y="4543201"/>
                    <a:pt x="6445123" y="4616926"/>
                  </a:cubicBezTo>
                  <a:cubicBezTo>
                    <a:pt x="6445123" y="4653437"/>
                    <a:pt x="6438428" y="4681297"/>
                    <a:pt x="6425037" y="4700506"/>
                  </a:cubicBezTo>
                  <a:cubicBezTo>
                    <a:pt x="6411646" y="4719714"/>
                    <a:pt x="6392914" y="4729319"/>
                    <a:pt x="6368840" y="4729319"/>
                  </a:cubicBezTo>
                  <a:cubicBezTo>
                    <a:pt x="6346372" y="4729319"/>
                    <a:pt x="6328843" y="4720141"/>
                    <a:pt x="6316255" y="4701785"/>
                  </a:cubicBezTo>
                  <a:cubicBezTo>
                    <a:pt x="6303666" y="4683429"/>
                    <a:pt x="6297372" y="4656898"/>
                    <a:pt x="6297372" y="4622192"/>
                  </a:cubicBezTo>
                  <a:cubicBezTo>
                    <a:pt x="6297372" y="4584076"/>
                    <a:pt x="6303942" y="4555238"/>
                    <a:pt x="6317082" y="4535678"/>
                  </a:cubicBezTo>
                  <a:cubicBezTo>
                    <a:pt x="6330223" y="4516119"/>
                    <a:pt x="6349180" y="4506339"/>
                    <a:pt x="6373956" y="4506339"/>
                  </a:cubicBezTo>
                  <a:close/>
                  <a:moveTo>
                    <a:pt x="5975659" y="4506339"/>
                  </a:moveTo>
                  <a:lnTo>
                    <a:pt x="5990568" y="4506339"/>
                  </a:lnTo>
                  <a:lnTo>
                    <a:pt x="5990568" y="4729319"/>
                  </a:lnTo>
                  <a:lnTo>
                    <a:pt x="5955278" y="4729319"/>
                  </a:lnTo>
                  <a:lnTo>
                    <a:pt x="5955278" y="4549535"/>
                  </a:lnTo>
                  <a:cubicBezTo>
                    <a:pt x="5948891" y="4554098"/>
                    <a:pt x="5942020" y="4557977"/>
                    <a:pt x="5934669" y="4561171"/>
                  </a:cubicBezTo>
                  <a:cubicBezTo>
                    <a:pt x="5927317" y="4564365"/>
                    <a:pt x="5918927" y="4567179"/>
                    <a:pt x="5909498" y="4569613"/>
                  </a:cubicBezTo>
                  <a:lnTo>
                    <a:pt x="5909498" y="4539497"/>
                  </a:lnTo>
                  <a:cubicBezTo>
                    <a:pt x="5915377" y="4537570"/>
                    <a:pt x="5921055" y="4535542"/>
                    <a:pt x="5926531" y="4533413"/>
                  </a:cubicBezTo>
                  <a:cubicBezTo>
                    <a:pt x="5932007" y="4531284"/>
                    <a:pt x="5937407" y="4528900"/>
                    <a:pt x="5942730" y="4526264"/>
                  </a:cubicBezTo>
                  <a:cubicBezTo>
                    <a:pt x="5948054" y="4523628"/>
                    <a:pt x="5953429" y="4520687"/>
                    <a:pt x="5958852" y="4517442"/>
                  </a:cubicBezTo>
                  <a:cubicBezTo>
                    <a:pt x="5964279" y="4514197"/>
                    <a:pt x="5969881" y="4510496"/>
                    <a:pt x="5975659" y="4506339"/>
                  </a:cubicBezTo>
                  <a:close/>
                  <a:moveTo>
                    <a:pt x="5786272" y="4506339"/>
                  </a:moveTo>
                  <a:cubicBezTo>
                    <a:pt x="5833719" y="4506339"/>
                    <a:pt x="5857440" y="4543201"/>
                    <a:pt x="5857440" y="4616926"/>
                  </a:cubicBezTo>
                  <a:cubicBezTo>
                    <a:pt x="5857440" y="4653437"/>
                    <a:pt x="5850744" y="4681297"/>
                    <a:pt x="5837355" y="4700506"/>
                  </a:cubicBezTo>
                  <a:cubicBezTo>
                    <a:pt x="5823963" y="4719714"/>
                    <a:pt x="5805230" y="4729319"/>
                    <a:pt x="5781158" y="4729319"/>
                  </a:cubicBezTo>
                  <a:cubicBezTo>
                    <a:pt x="5758689" y="4729319"/>
                    <a:pt x="5741161" y="4720141"/>
                    <a:pt x="5728572" y="4701785"/>
                  </a:cubicBezTo>
                  <a:cubicBezTo>
                    <a:pt x="5715984" y="4683429"/>
                    <a:pt x="5709690" y="4656898"/>
                    <a:pt x="5709690" y="4622192"/>
                  </a:cubicBezTo>
                  <a:cubicBezTo>
                    <a:pt x="5709690" y="4584076"/>
                    <a:pt x="5716259" y="4555238"/>
                    <a:pt x="5729400" y="4535678"/>
                  </a:cubicBezTo>
                  <a:cubicBezTo>
                    <a:pt x="5742540" y="4516119"/>
                    <a:pt x="5761498" y="4506339"/>
                    <a:pt x="5786272" y="4506339"/>
                  </a:cubicBezTo>
                  <a:close/>
                  <a:moveTo>
                    <a:pt x="5093284" y="4506339"/>
                  </a:moveTo>
                  <a:cubicBezTo>
                    <a:pt x="5140729" y="4506339"/>
                    <a:pt x="5164451" y="4543201"/>
                    <a:pt x="5164451" y="4616926"/>
                  </a:cubicBezTo>
                  <a:cubicBezTo>
                    <a:pt x="5164451" y="4653437"/>
                    <a:pt x="5157756" y="4681297"/>
                    <a:pt x="5144364" y="4700506"/>
                  </a:cubicBezTo>
                  <a:cubicBezTo>
                    <a:pt x="5130974" y="4719714"/>
                    <a:pt x="5112242" y="4729319"/>
                    <a:pt x="5088168" y="4729319"/>
                  </a:cubicBezTo>
                  <a:cubicBezTo>
                    <a:pt x="5065701" y="4729319"/>
                    <a:pt x="5048170" y="4720141"/>
                    <a:pt x="5035583" y="4701785"/>
                  </a:cubicBezTo>
                  <a:cubicBezTo>
                    <a:pt x="5022994" y="4683429"/>
                    <a:pt x="5016700" y="4656898"/>
                    <a:pt x="5016700" y="4622192"/>
                  </a:cubicBezTo>
                  <a:cubicBezTo>
                    <a:pt x="5016700" y="4584076"/>
                    <a:pt x="5023271" y="4555238"/>
                    <a:pt x="5036410" y="4535678"/>
                  </a:cubicBezTo>
                  <a:cubicBezTo>
                    <a:pt x="5049553" y="4516119"/>
                    <a:pt x="5068509" y="4506339"/>
                    <a:pt x="5093284" y="4506339"/>
                  </a:cubicBezTo>
                  <a:close/>
                  <a:moveTo>
                    <a:pt x="4694968" y="4506339"/>
                  </a:moveTo>
                  <a:lnTo>
                    <a:pt x="4709876" y="4506339"/>
                  </a:lnTo>
                  <a:lnTo>
                    <a:pt x="4709876" y="4729319"/>
                  </a:lnTo>
                  <a:lnTo>
                    <a:pt x="4674589" y="4729319"/>
                  </a:lnTo>
                  <a:lnTo>
                    <a:pt x="4674589" y="4549535"/>
                  </a:lnTo>
                  <a:cubicBezTo>
                    <a:pt x="4668200" y="4554098"/>
                    <a:pt x="4661331" y="4557977"/>
                    <a:pt x="4653978" y="4561171"/>
                  </a:cubicBezTo>
                  <a:cubicBezTo>
                    <a:pt x="4646628" y="4564365"/>
                    <a:pt x="4638236" y="4567179"/>
                    <a:pt x="4628805" y="4569613"/>
                  </a:cubicBezTo>
                  <a:lnTo>
                    <a:pt x="4628805" y="4539497"/>
                  </a:lnTo>
                  <a:cubicBezTo>
                    <a:pt x="4634687" y="4537570"/>
                    <a:pt x="4640364" y="4535542"/>
                    <a:pt x="4645841" y="4533413"/>
                  </a:cubicBezTo>
                  <a:cubicBezTo>
                    <a:pt x="4651316" y="4531284"/>
                    <a:pt x="4656717" y="4528900"/>
                    <a:pt x="4662040" y="4526264"/>
                  </a:cubicBezTo>
                  <a:cubicBezTo>
                    <a:pt x="4667363" y="4523628"/>
                    <a:pt x="4672738" y="4520687"/>
                    <a:pt x="4678162" y="4517442"/>
                  </a:cubicBezTo>
                  <a:cubicBezTo>
                    <a:pt x="4683588" y="4514197"/>
                    <a:pt x="4689190" y="4510496"/>
                    <a:pt x="4694968" y="4506339"/>
                  </a:cubicBezTo>
                  <a:close/>
                  <a:moveTo>
                    <a:pt x="4345906" y="4506339"/>
                  </a:moveTo>
                  <a:lnTo>
                    <a:pt x="4360813" y="4506339"/>
                  </a:lnTo>
                  <a:lnTo>
                    <a:pt x="4360813" y="4729319"/>
                  </a:lnTo>
                  <a:lnTo>
                    <a:pt x="4325525" y="4729319"/>
                  </a:lnTo>
                  <a:lnTo>
                    <a:pt x="4325525" y="4549535"/>
                  </a:lnTo>
                  <a:cubicBezTo>
                    <a:pt x="4319138" y="4554098"/>
                    <a:pt x="4312268" y="4557977"/>
                    <a:pt x="4304915" y="4561171"/>
                  </a:cubicBezTo>
                  <a:cubicBezTo>
                    <a:pt x="4297564" y="4564365"/>
                    <a:pt x="4289174" y="4567179"/>
                    <a:pt x="4279743" y="4569613"/>
                  </a:cubicBezTo>
                  <a:lnTo>
                    <a:pt x="4279743" y="4539497"/>
                  </a:lnTo>
                  <a:cubicBezTo>
                    <a:pt x="4285625" y="4537570"/>
                    <a:pt x="4291302" y="4535542"/>
                    <a:pt x="4296778" y="4533413"/>
                  </a:cubicBezTo>
                  <a:cubicBezTo>
                    <a:pt x="4302254" y="4531284"/>
                    <a:pt x="4307653" y="4528900"/>
                    <a:pt x="4312977" y="4526264"/>
                  </a:cubicBezTo>
                  <a:cubicBezTo>
                    <a:pt x="4318300" y="4523628"/>
                    <a:pt x="4323675" y="4520687"/>
                    <a:pt x="4329099" y="4517442"/>
                  </a:cubicBezTo>
                  <a:cubicBezTo>
                    <a:pt x="4334525" y="4514197"/>
                    <a:pt x="4340127" y="4510496"/>
                    <a:pt x="4345906" y="4506339"/>
                  </a:cubicBezTo>
                  <a:close/>
                  <a:moveTo>
                    <a:pt x="3839047" y="4506339"/>
                  </a:moveTo>
                  <a:cubicBezTo>
                    <a:pt x="3886491" y="4506339"/>
                    <a:pt x="3910214" y="4543201"/>
                    <a:pt x="3910214" y="4616926"/>
                  </a:cubicBezTo>
                  <a:cubicBezTo>
                    <a:pt x="3910214" y="4653437"/>
                    <a:pt x="3903519" y="4681297"/>
                    <a:pt x="3890128" y="4700506"/>
                  </a:cubicBezTo>
                  <a:cubicBezTo>
                    <a:pt x="3876737" y="4719714"/>
                    <a:pt x="3858005" y="4729319"/>
                    <a:pt x="3833931" y="4729319"/>
                  </a:cubicBezTo>
                  <a:cubicBezTo>
                    <a:pt x="3811463" y="4729319"/>
                    <a:pt x="3793934" y="4720141"/>
                    <a:pt x="3781346" y="4701785"/>
                  </a:cubicBezTo>
                  <a:cubicBezTo>
                    <a:pt x="3768757" y="4683429"/>
                    <a:pt x="3762464" y="4656898"/>
                    <a:pt x="3762464" y="4622192"/>
                  </a:cubicBezTo>
                  <a:cubicBezTo>
                    <a:pt x="3762464" y="4584076"/>
                    <a:pt x="3769034" y="4555238"/>
                    <a:pt x="3782173" y="4535678"/>
                  </a:cubicBezTo>
                  <a:cubicBezTo>
                    <a:pt x="3795313" y="4516119"/>
                    <a:pt x="3814271" y="4506339"/>
                    <a:pt x="3839047" y="4506339"/>
                  </a:cubicBezTo>
                  <a:close/>
                  <a:moveTo>
                    <a:pt x="3616537" y="4506339"/>
                  </a:moveTo>
                  <a:cubicBezTo>
                    <a:pt x="3663981" y="4506339"/>
                    <a:pt x="3687703" y="4543201"/>
                    <a:pt x="3687703" y="4616926"/>
                  </a:cubicBezTo>
                  <a:cubicBezTo>
                    <a:pt x="3687703" y="4653437"/>
                    <a:pt x="3681008" y="4681297"/>
                    <a:pt x="3667617" y="4700506"/>
                  </a:cubicBezTo>
                  <a:cubicBezTo>
                    <a:pt x="3654226" y="4719714"/>
                    <a:pt x="3635494" y="4729319"/>
                    <a:pt x="3611420" y="4729319"/>
                  </a:cubicBezTo>
                  <a:cubicBezTo>
                    <a:pt x="3588952" y="4729319"/>
                    <a:pt x="3571422" y="4720141"/>
                    <a:pt x="3558835" y="4701785"/>
                  </a:cubicBezTo>
                  <a:cubicBezTo>
                    <a:pt x="3546246" y="4683429"/>
                    <a:pt x="3539952" y="4656898"/>
                    <a:pt x="3539952" y="4622192"/>
                  </a:cubicBezTo>
                  <a:cubicBezTo>
                    <a:pt x="3539952" y="4584076"/>
                    <a:pt x="3546522" y="4555238"/>
                    <a:pt x="3559662" y="4535678"/>
                  </a:cubicBezTo>
                  <a:cubicBezTo>
                    <a:pt x="3572804" y="4516119"/>
                    <a:pt x="3591760" y="4506339"/>
                    <a:pt x="3616537" y="4506339"/>
                  </a:cubicBezTo>
                  <a:close/>
                  <a:moveTo>
                    <a:pt x="3454863" y="4506339"/>
                  </a:moveTo>
                  <a:lnTo>
                    <a:pt x="3469768" y="4506339"/>
                  </a:lnTo>
                  <a:lnTo>
                    <a:pt x="3469768" y="4729319"/>
                  </a:lnTo>
                  <a:lnTo>
                    <a:pt x="3434481" y="4729319"/>
                  </a:lnTo>
                  <a:lnTo>
                    <a:pt x="3434481" y="4549535"/>
                  </a:lnTo>
                  <a:cubicBezTo>
                    <a:pt x="3428092" y="4554098"/>
                    <a:pt x="3421223" y="4557977"/>
                    <a:pt x="3413872" y="4561171"/>
                  </a:cubicBezTo>
                  <a:cubicBezTo>
                    <a:pt x="3406519" y="4564365"/>
                    <a:pt x="3398129" y="4567179"/>
                    <a:pt x="3388698" y="4569613"/>
                  </a:cubicBezTo>
                  <a:lnTo>
                    <a:pt x="3388698" y="4539497"/>
                  </a:lnTo>
                  <a:cubicBezTo>
                    <a:pt x="3394580" y="4537570"/>
                    <a:pt x="3400259" y="4535542"/>
                    <a:pt x="3405734" y="4533413"/>
                  </a:cubicBezTo>
                  <a:cubicBezTo>
                    <a:pt x="3411209" y="4531284"/>
                    <a:pt x="3416609" y="4528900"/>
                    <a:pt x="3421933" y="4526264"/>
                  </a:cubicBezTo>
                  <a:cubicBezTo>
                    <a:pt x="3427256" y="4523628"/>
                    <a:pt x="3432632" y="4520687"/>
                    <a:pt x="3438054" y="4517442"/>
                  </a:cubicBezTo>
                  <a:cubicBezTo>
                    <a:pt x="3443480" y="4514197"/>
                    <a:pt x="3449083" y="4510496"/>
                    <a:pt x="3454863" y="4506339"/>
                  </a:cubicBezTo>
                  <a:close/>
                  <a:moveTo>
                    <a:pt x="3158682" y="4506339"/>
                  </a:moveTo>
                  <a:lnTo>
                    <a:pt x="3173587" y="4506339"/>
                  </a:lnTo>
                  <a:lnTo>
                    <a:pt x="3173587" y="4729319"/>
                  </a:lnTo>
                  <a:lnTo>
                    <a:pt x="3138299" y="4729319"/>
                  </a:lnTo>
                  <a:lnTo>
                    <a:pt x="3138299" y="4549536"/>
                  </a:lnTo>
                  <a:cubicBezTo>
                    <a:pt x="3131912" y="4554099"/>
                    <a:pt x="3125042" y="4557977"/>
                    <a:pt x="3117690" y="4561172"/>
                  </a:cubicBezTo>
                  <a:cubicBezTo>
                    <a:pt x="3110339" y="4564366"/>
                    <a:pt x="3101948" y="4567179"/>
                    <a:pt x="3092517" y="4569613"/>
                  </a:cubicBezTo>
                  <a:lnTo>
                    <a:pt x="3092517" y="4539497"/>
                  </a:lnTo>
                  <a:cubicBezTo>
                    <a:pt x="3098398" y="4537571"/>
                    <a:pt x="3104077" y="4535543"/>
                    <a:pt x="3109553" y="4533413"/>
                  </a:cubicBezTo>
                  <a:cubicBezTo>
                    <a:pt x="3115028" y="4531284"/>
                    <a:pt x="3120428" y="4528901"/>
                    <a:pt x="3125751" y="4526264"/>
                  </a:cubicBezTo>
                  <a:cubicBezTo>
                    <a:pt x="3131075" y="4523628"/>
                    <a:pt x="3136449" y="4520687"/>
                    <a:pt x="3141875" y="4517443"/>
                  </a:cubicBezTo>
                  <a:cubicBezTo>
                    <a:pt x="3147300" y="4514198"/>
                    <a:pt x="3152901" y="4510497"/>
                    <a:pt x="3158682" y="4506339"/>
                  </a:cubicBezTo>
                  <a:close/>
                  <a:moveTo>
                    <a:pt x="2489154" y="4506339"/>
                  </a:moveTo>
                  <a:lnTo>
                    <a:pt x="2504060" y="4506339"/>
                  </a:lnTo>
                  <a:lnTo>
                    <a:pt x="2504060" y="4729319"/>
                  </a:lnTo>
                  <a:lnTo>
                    <a:pt x="2468772" y="4729319"/>
                  </a:lnTo>
                  <a:lnTo>
                    <a:pt x="2468772" y="4549536"/>
                  </a:lnTo>
                  <a:cubicBezTo>
                    <a:pt x="2462385" y="4554099"/>
                    <a:pt x="2455514" y="4557977"/>
                    <a:pt x="2448163" y="4561172"/>
                  </a:cubicBezTo>
                  <a:cubicBezTo>
                    <a:pt x="2440812" y="4564366"/>
                    <a:pt x="2432420" y="4567179"/>
                    <a:pt x="2422990" y="4569613"/>
                  </a:cubicBezTo>
                  <a:lnTo>
                    <a:pt x="2422990" y="4539497"/>
                  </a:lnTo>
                  <a:cubicBezTo>
                    <a:pt x="2428871" y="4537571"/>
                    <a:pt x="2434551" y="4535543"/>
                    <a:pt x="2440025" y="4533413"/>
                  </a:cubicBezTo>
                  <a:cubicBezTo>
                    <a:pt x="2445502" y="4531284"/>
                    <a:pt x="2450900" y="4528901"/>
                    <a:pt x="2456224" y="4526264"/>
                  </a:cubicBezTo>
                  <a:cubicBezTo>
                    <a:pt x="2461549" y="4523628"/>
                    <a:pt x="2466922" y="4520687"/>
                    <a:pt x="2472346" y="4517443"/>
                  </a:cubicBezTo>
                  <a:cubicBezTo>
                    <a:pt x="2477772" y="4514198"/>
                    <a:pt x="2483374" y="4510497"/>
                    <a:pt x="2489154" y="4506339"/>
                  </a:cubicBezTo>
                  <a:close/>
                  <a:moveTo>
                    <a:pt x="1599916" y="4506339"/>
                  </a:moveTo>
                  <a:lnTo>
                    <a:pt x="1614822" y="4506339"/>
                  </a:lnTo>
                  <a:lnTo>
                    <a:pt x="1614822" y="4729319"/>
                  </a:lnTo>
                  <a:lnTo>
                    <a:pt x="1579534" y="4729319"/>
                  </a:lnTo>
                  <a:lnTo>
                    <a:pt x="1579534" y="4549536"/>
                  </a:lnTo>
                  <a:cubicBezTo>
                    <a:pt x="1573146" y="4554099"/>
                    <a:pt x="1566276" y="4557977"/>
                    <a:pt x="1558925" y="4561172"/>
                  </a:cubicBezTo>
                  <a:cubicBezTo>
                    <a:pt x="1551573" y="4564366"/>
                    <a:pt x="1543182" y="4567179"/>
                    <a:pt x="1533752" y="4569613"/>
                  </a:cubicBezTo>
                  <a:lnTo>
                    <a:pt x="1533752" y="4539497"/>
                  </a:lnTo>
                  <a:cubicBezTo>
                    <a:pt x="1539633" y="4537571"/>
                    <a:pt x="1545312" y="4535543"/>
                    <a:pt x="1550787" y="4533413"/>
                  </a:cubicBezTo>
                  <a:cubicBezTo>
                    <a:pt x="1556263" y="4531284"/>
                    <a:pt x="1561663" y="4528901"/>
                    <a:pt x="1566986" y="4526264"/>
                  </a:cubicBezTo>
                  <a:cubicBezTo>
                    <a:pt x="1572310" y="4523628"/>
                    <a:pt x="1577684" y="4520687"/>
                    <a:pt x="1583109" y="4517443"/>
                  </a:cubicBezTo>
                  <a:cubicBezTo>
                    <a:pt x="1588534" y="4514198"/>
                    <a:pt x="1594136" y="4510497"/>
                    <a:pt x="1599916" y="4506339"/>
                  </a:cubicBezTo>
                  <a:close/>
                  <a:moveTo>
                    <a:pt x="1302202" y="4506339"/>
                  </a:moveTo>
                  <a:lnTo>
                    <a:pt x="1317108" y="4506339"/>
                  </a:lnTo>
                  <a:lnTo>
                    <a:pt x="1317108" y="4729319"/>
                  </a:lnTo>
                  <a:lnTo>
                    <a:pt x="1281820" y="4729319"/>
                  </a:lnTo>
                  <a:lnTo>
                    <a:pt x="1281820" y="4549536"/>
                  </a:lnTo>
                  <a:cubicBezTo>
                    <a:pt x="1275432" y="4554099"/>
                    <a:pt x="1268562" y="4557977"/>
                    <a:pt x="1261211" y="4561172"/>
                  </a:cubicBezTo>
                  <a:cubicBezTo>
                    <a:pt x="1253859" y="4564366"/>
                    <a:pt x="1245468" y="4567179"/>
                    <a:pt x="1236038" y="4569613"/>
                  </a:cubicBezTo>
                  <a:lnTo>
                    <a:pt x="1236038" y="4539497"/>
                  </a:lnTo>
                  <a:cubicBezTo>
                    <a:pt x="1241919" y="4537571"/>
                    <a:pt x="1247598" y="4535543"/>
                    <a:pt x="1253073" y="4533413"/>
                  </a:cubicBezTo>
                  <a:cubicBezTo>
                    <a:pt x="1258549" y="4531284"/>
                    <a:pt x="1263949" y="4528901"/>
                    <a:pt x="1269272" y="4526264"/>
                  </a:cubicBezTo>
                  <a:cubicBezTo>
                    <a:pt x="1274596" y="4523628"/>
                    <a:pt x="1279970" y="4520687"/>
                    <a:pt x="1285395" y="4517443"/>
                  </a:cubicBezTo>
                  <a:cubicBezTo>
                    <a:pt x="1290820" y="4514198"/>
                    <a:pt x="1296422" y="4510497"/>
                    <a:pt x="1302202" y="4506339"/>
                  </a:cubicBezTo>
                  <a:close/>
                  <a:moveTo>
                    <a:pt x="956133" y="4506339"/>
                  </a:moveTo>
                  <a:cubicBezTo>
                    <a:pt x="1003577" y="4506339"/>
                    <a:pt x="1027300" y="4543202"/>
                    <a:pt x="1027300" y="4616927"/>
                  </a:cubicBezTo>
                  <a:cubicBezTo>
                    <a:pt x="1027300" y="4653438"/>
                    <a:pt x="1020604" y="4681298"/>
                    <a:pt x="1007214" y="4700506"/>
                  </a:cubicBezTo>
                  <a:cubicBezTo>
                    <a:pt x="993823" y="4719715"/>
                    <a:pt x="975091" y="4729319"/>
                    <a:pt x="951017" y="4729319"/>
                  </a:cubicBezTo>
                  <a:cubicBezTo>
                    <a:pt x="928549" y="4729319"/>
                    <a:pt x="911020" y="4720141"/>
                    <a:pt x="898432" y="4701785"/>
                  </a:cubicBezTo>
                  <a:cubicBezTo>
                    <a:pt x="885843" y="4683429"/>
                    <a:pt x="879549" y="4656898"/>
                    <a:pt x="879549" y="4622193"/>
                  </a:cubicBezTo>
                  <a:cubicBezTo>
                    <a:pt x="879549" y="4584076"/>
                    <a:pt x="886119" y="4555239"/>
                    <a:pt x="899259" y="4535679"/>
                  </a:cubicBezTo>
                  <a:cubicBezTo>
                    <a:pt x="912400" y="4516119"/>
                    <a:pt x="931357" y="4506339"/>
                    <a:pt x="956133" y="4506339"/>
                  </a:cubicBezTo>
                  <a:close/>
                  <a:moveTo>
                    <a:pt x="779786" y="4506339"/>
                  </a:moveTo>
                  <a:cubicBezTo>
                    <a:pt x="827230" y="4506339"/>
                    <a:pt x="850953" y="4543202"/>
                    <a:pt x="850953" y="4616927"/>
                  </a:cubicBezTo>
                  <a:cubicBezTo>
                    <a:pt x="850953" y="4653438"/>
                    <a:pt x="844257" y="4681298"/>
                    <a:pt x="830867" y="4700506"/>
                  </a:cubicBezTo>
                  <a:cubicBezTo>
                    <a:pt x="817476" y="4719715"/>
                    <a:pt x="798744" y="4729319"/>
                    <a:pt x="774670" y="4729319"/>
                  </a:cubicBezTo>
                  <a:cubicBezTo>
                    <a:pt x="752202" y="4729319"/>
                    <a:pt x="734673" y="4720141"/>
                    <a:pt x="722085" y="4701785"/>
                  </a:cubicBezTo>
                  <a:cubicBezTo>
                    <a:pt x="709496" y="4683429"/>
                    <a:pt x="703202" y="4656898"/>
                    <a:pt x="703202" y="4622193"/>
                  </a:cubicBezTo>
                  <a:cubicBezTo>
                    <a:pt x="703202" y="4584076"/>
                    <a:pt x="709772" y="4555239"/>
                    <a:pt x="722912" y="4535679"/>
                  </a:cubicBezTo>
                  <a:cubicBezTo>
                    <a:pt x="736053" y="4516119"/>
                    <a:pt x="755010" y="4506339"/>
                    <a:pt x="779786" y="4506339"/>
                  </a:cubicBezTo>
                  <a:close/>
                  <a:moveTo>
                    <a:pt x="629607" y="4506339"/>
                  </a:moveTo>
                  <a:lnTo>
                    <a:pt x="644513" y="4506339"/>
                  </a:lnTo>
                  <a:lnTo>
                    <a:pt x="644513" y="4729319"/>
                  </a:lnTo>
                  <a:lnTo>
                    <a:pt x="609225" y="4729319"/>
                  </a:lnTo>
                  <a:lnTo>
                    <a:pt x="609225" y="4549536"/>
                  </a:lnTo>
                  <a:cubicBezTo>
                    <a:pt x="602837" y="4554099"/>
                    <a:pt x="595967" y="4557977"/>
                    <a:pt x="588616" y="4561172"/>
                  </a:cubicBezTo>
                  <a:cubicBezTo>
                    <a:pt x="581264" y="4564366"/>
                    <a:pt x="572873" y="4567179"/>
                    <a:pt x="563443" y="4569613"/>
                  </a:cubicBezTo>
                  <a:lnTo>
                    <a:pt x="563443" y="4539497"/>
                  </a:lnTo>
                  <a:cubicBezTo>
                    <a:pt x="569324" y="4537571"/>
                    <a:pt x="575003" y="4535543"/>
                    <a:pt x="580478" y="4533413"/>
                  </a:cubicBezTo>
                  <a:cubicBezTo>
                    <a:pt x="585954" y="4531284"/>
                    <a:pt x="591354" y="4528901"/>
                    <a:pt x="596677" y="4526264"/>
                  </a:cubicBezTo>
                  <a:cubicBezTo>
                    <a:pt x="602001" y="4523628"/>
                    <a:pt x="607375" y="4520687"/>
                    <a:pt x="612800" y="4517443"/>
                  </a:cubicBezTo>
                  <a:cubicBezTo>
                    <a:pt x="618225" y="4514198"/>
                    <a:pt x="623827" y="4510497"/>
                    <a:pt x="629607" y="4506339"/>
                  </a:cubicBezTo>
                  <a:close/>
                  <a:moveTo>
                    <a:pt x="480750" y="4506339"/>
                  </a:moveTo>
                  <a:lnTo>
                    <a:pt x="495656" y="4506339"/>
                  </a:lnTo>
                  <a:lnTo>
                    <a:pt x="495656" y="4729319"/>
                  </a:lnTo>
                  <a:lnTo>
                    <a:pt x="460368" y="4729319"/>
                  </a:lnTo>
                  <a:lnTo>
                    <a:pt x="460368" y="4549536"/>
                  </a:lnTo>
                  <a:cubicBezTo>
                    <a:pt x="453980" y="4554099"/>
                    <a:pt x="447110" y="4557977"/>
                    <a:pt x="439759" y="4561172"/>
                  </a:cubicBezTo>
                  <a:cubicBezTo>
                    <a:pt x="432407" y="4564366"/>
                    <a:pt x="424016" y="4567179"/>
                    <a:pt x="414586" y="4569613"/>
                  </a:cubicBezTo>
                  <a:lnTo>
                    <a:pt x="414586" y="4539497"/>
                  </a:lnTo>
                  <a:cubicBezTo>
                    <a:pt x="420467" y="4537571"/>
                    <a:pt x="426146" y="4535543"/>
                    <a:pt x="431621" y="4533413"/>
                  </a:cubicBezTo>
                  <a:cubicBezTo>
                    <a:pt x="437097" y="4531284"/>
                    <a:pt x="442497" y="4528901"/>
                    <a:pt x="447821" y="4526264"/>
                  </a:cubicBezTo>
                  <a:cubicBezTo>
                    <a:pt x="453144" y="4523628"/>
                    <a:pt x="458518" y="4520687"/>
                    <a:pt x="463943" y="4517443"/>
                  </a:cubicBezTo>
                  <a:cubicBezTo>
                    <a:pt x="469368" y="4514198"/>
                    <a:pt x="474970" y="4510497"/>
                    <a:pt x="480750" y="4506339"/>
                  </a:cubicBezTo>
                  <a:close/>
                  <a:moveTo>
                    <a:pt x="142759" y="4506339"/>
                  </a:moveTo>
                  <a:cubicBezTo>
                    <a:pt x="190204" y="4506339"/>
                    <a:pt x="213926" y="4543202"/>
                    <a:pt x="213926" y="4616927"/>
                  </a:cubicBezTo>
                  <a:cubicBezTo>
                    <a:pt x="213926" y="4653438"/>
                    <a:pt x="207231" y="4681298"/>
                    <a:pt x="193840" y="4700506"/>
                  </a:cubicBezTo>
                  <a:cubicBezTo>
                    <a:pt x="180449" y="4719715"/>
                    <a:pt x="161717" y="4729319"/>
                    <a:pt x="137643" y="4729319"/>
                  </a:cubicBezTo>
                  <a:cubicBezTo>
                    <a:pt x="115175" y="4729319"/>
                    <a:pt x="97646" y="4720141"/>
                    <a:pt x="85058" y="4701785"/>
                  </a:cubicBezTo>
                  <a:cubicBezTo>
                    <a:pt x="72470" y="4683429"/>
                    <a:pt x="66175" y="4656898"/>
                    <a:pt x="66175" y="4622193"/>
                  </a:cubicBezTo>
                  <a:cubicBezTo>
                    <a:pt x="66175" y="4584076"/>
                    <a:pt x="72745" y="4555239"/>
                    <a:pt x="85885" y="4535679"/>
                  </a:cubicBezTo>
                  <a:cubicBezTo>
                    <a:pt x="99026" y="4516119"/>
                    <a:pt x="117983" y="4506339"/>
                    <a:pt x="142759" y="4506339"/>
                  </a:cubicBezTo>
                  <a:close/>
                  <a:moveTo>
                    <a:pt x="11874294" y="4186703"/>
                  </a:moveTo>
                  <a:cubicBezTo>
                    <a:pt x="11848114" y="4186703"/>
                    <a:pt x="11835024" y="4215540"/>
                    <a:pt x="11835024" y="4273216"/>
                  </a:cubicBezTo>
                  <a:cubicBezTo>
                    <a:pt x="11835024" y="4327181"/>
                    <a:pt x="11847863" y="4354163"/>
                    <a:pt x="11873542" y="4354163"/>
                  </a:cubicBezTo>
                  <a:cubicBezTo>
                    <a:pt x="11898818" y="4354163"/>
                    <a:pt x="11911457" y="4326729"/>
                    <a:pt x="11911457" y="4271862"/>
                  </a:cubicBezTo>
                  <a:cubicBezTo>
                    <a:pt x="11911457" y="4215089"/>
                    <a:pt x="11899069" y="4186703"/>
                    <a:pt x="11874294" y="4186703"/>
                  </a:cubicBezTo>
                  <a:close/>
                  <a:moveTo>
                    <a:pt x="11189148" y="4186703"/>
                  </a:moveTo>
                  <a:cubicBezTo>
                    <a:pt x="11162968" y="4186703"/>
                    <a:pt x="11149878" y="4215540"/>
                    <a:pt x="11149878" y="4273216"/>
                  </a:cubicBezTo>
                  <a:cubicBezTo>
                    <a:pt x="11149878" y="4327181"/>
                    <a:pt x="11162717" y="4354163"/>
                    <a:pt x="11188396" y="4354163"/>
                  </a:cubicBezTo>
                  <a:cubicBezTo>
                    <a:pt x="11213672" y="4354163"/>
                    <a:pt x="11226311" y="4326729"/>
                    <a:pt x="11226311" y="4271862"/>
                  </a:cubicBezTo>
                  <a:cubicBezTo>
                    <a:pt x="11226311" y="4215089"/>
                    <a:pt x="11213923" y="4186703"/>
                    <a:pt x="11189148" y="4186703"/>
                  </a:cubicBezTo>
                  <a:close/>
                  <a:moveTo>
                    <a:pt x="9936214" y="4186703"/>
                  </a:moveTo>
                  <a:cubicBezTo>
                    <a:pt x="9910034" y="4186703"/>
                    <a:pt x="9896944" y="4215540"/>
                    <a:pt x="9896944" y="4273216"/>
                  </a:cubicBezTo>
                  <a:cubicBezTo>
                    <a:pt x="9896944" y="4327181"/>
                    <a:pt x="9909783" y="4354163"/>
                    <a:pt x="9935462" y="4354163"/>
                  </a:cubicBezTo>
                  <a:cubicBezTo>
                    <a:pt x="9960738" y="4354163"/>
                    <a:pt x="9973377" y="4326729"/>
                    <a:pt x="9973377" y="4271862"/>
                  </a:cubicBezTo>
                  <a:cubicBezTo>
                    <a:pt x="9973377" y="4215089"/>
                    <a:pt x="9960989" y="4186703"/>
                    <a:pt x="9936214" y="4186703"/>
                  </a:cubicBezTo>
                  <a:close/>
                  <a:moveTo>
                    <a:pt x="9713703" y="4186703"/>
                  </a:moveTo>
                  <a:cubicBezTo>
                    <a:pt x="9687523" y="4186703"/>
                    <a:pt x="9674433" y="4215540"/>
                    <a:pt x="9674433" y="4273216"/>
                  </a:cubicBezTo>
                  <a:cubicBezTo>
                    <a:pt x="9674433" y="4327181"/>
                    <a:pt x="9687272" y="4354163"/>
                    <a:pt x="9712951" y="4354163"/>
                  </a:cubicBezTo>
                  <a:cubicBezTo>
                    <a:pt x="9738227" y="4354163"/>
                    <a:pt x="9750866" y="4326729"/>
                    <a:pt x="9750866" y="4271862"/>
                  </a:cubicBezTo>
                  <a:cubicBezTo>
                    <a:pt x="9750866" y="4215089"/>
                    <a:pt x="9738478" y="4186703"/>
                    <a:pt x="9713703" y="4186703"/>
                  </a:cubicBezTo>
                  <a:close/>
                  <a:moveTo>
                    <a:pt x="6372301" y="4186703"/>
                  </a:moveTo>
                  <a:cubicBezTo>
                    <a:pt x="6346121" y="4186703"/>
                    <a:pt x="6333031" y="4215540"/>
                    <a:pt x="6333031" y="4273216"/>
                  </a:cubicBezTo>
                  <a:cubicBezTo>
                    <a:pt x="6333031" y="4327181"/>
                    <a:pt x="6345870" y="4354163"/>
                    <a:pt x="6371549" y="4354163"/>
                  </a:cubicBezTo>
                  <a:cubicBezTo>
                    <a:pt x="6396826" y="4354163"/>
                    <a:pt x="6409464" y="4326729"/>
                    <a:pt x="6409464" y="4271862"/>
                  </a:cubicBezTo>
                  <a:cubicBezTo>
                    <a:pt x="6409464" y="4215089"/>
                    <a:pt x="6397076" y="4186703"/>
                    <a:pt x="6372301" y="4186703"/>
                  </a:cubicBezTo>
                  <a:close/>
                  <a:moveTo>
                    <a:pt x="5784617" y="4186703"/>
                  </a:moveTo>
                  <a:cubicBezTo>
                    <a:pt x="5758439" y="4186703"/>
                    <a:pt x="5745350" y="4215540"/>
                    <a:pt x="5745350" y="4273216"/>
                  </a:cubicBezTo>
                  <a:cubicBezTo>
                    <a:pt x="5745350" y="4327181"/>
                    <a:pt x="5758187" y="4354163"/>
                    <a:pt x="5783865" y="4354163"/>
                  </a:cubicBezTo>
                  <a:cubicBezTo>
                    <a:pt x="5809143" y="4354163"/>
                    <a:pt x="5821781" y="4326729"/>
                    <a:pt x="5821781" y="4271862"/>
                  </a:cubicBezTo>
                  <a:cubicBezTo>
                    <a:pt x="5821781" y="4215089"/>
                    <a:pt x="5809394" y="4186703"/>
                    <a:pt x="5784617" y="4186703"/>
                  </a:cubicBezTo>
                  <a:close/>
                  <a:moveTo>
                    <a:pt x="5091629" y="4186703"/>
                  </a:moveTo>
                  <a:cubicBezTo>
                    <a:pt x="5065449" y="4186703"/>
                    <a:pt x="5052358" y="4215540"/>
                    <a:pt x="5052358" y="4273216"/>
                  </a:cubicBezTo>
                  <a:cubicBezTo>
                    <a:pt x="5052358" y="4327181"/>
                    <a:pt x="5065200" y="4354163"/>
                    <a:pt x="5090877" y="4354163"/>
                  </a:cubicBezTo>
                  <a:cubicBezTo>
                    <a:pt x="5116154" y="4354163"/>
                    <a:pt x="5128792" y="4326729"/>
                    <a:pt x="5128792" y="4271862"/>
                  </a:cubicBezTo>
                  <a:cubicBezTo>
                    <a:pt x="5128792" y="4215089"/>
                    <a:pt x="5116404" y="4186703"/>
                    <a:pt x="5091629" y="4186703"/>
                  </a:cubicBezTo>
                  <a:close/>
                  <a:moveTo>
                    <a:pt x="3837392" y="4186703"/>
                  </a:moveTo>
                  <a:cubicBezTo>
                    <a:pt x="3811212" y="4186703"/>
                    <a:pt x="3798122" y="4215540"/>
                    <a:pt x="3798122" y="4273216"/>
                  </a:cubicBezTo>
                  <a:cubicBezTo>
                    <a:pt x="3798122" y="4327181"/>
                    <a:pt x="3810961" y="4354163"/>
                    <a:pt x="3836640" y="4354163"/>
                  </a:cubicBezTo>
                  <a:cubicBezTo>
                    <a:pt x="3861916" y="4354163"/>
                    <a:pt x="3874555" y="4326729"/>
                    <a:pt x="3874555" y="4271862"/>
                  </a:cubicBezTo>
                  <a:cubicBezTo>
                    <a:pt x="3874555" y="4215089"/>
                    <a:pt x="3862167" y="4186703"/>
                    <a:pt x="3837392" y="4186703"/>
                  </a:cubicBezTo>
                  <a:close/>
                  <a:moveTo>
                    <a:pt x="3614881" y="4186703"/>
                  </a:moveTo>
                  <a:cubicBezTo>
                    <a:pt x="3588702" y="4186703"/>
                    <a:pt x="3575611" y="4215540"/>
                    <a:pt x="3575611" y="4273216"/>
                  </a:cubicBezTo>
                  <a:cubicBezTo>
                    <a:pt x="3575611" y="4327181"/>
                    <a:pt x="3588451" y="4354163"/>
                    <a:pt x="3614130" y="4354163"/>
                  </a:cubicBezTo>
                  <a:cubicBezTo>
                    <a:pt x="3639407" y="4354163"/>
                    <a:pt x="3652044" y="4326729"/>
                    <a:pt x="3652044" y="4271862"/>
                  </a:cubicBezTo>
                  <a:cubicBezTo>
                    <a:pt x="3652044" y="4215089"/>
                    <a:pt x="3639656" y="4186703"/>
                    <a:pt x="3614881" y="4186703"/>
                  </a:cubicBezTo>
                  <a:close/>
                  <a:moveTo>
                    <a:pt x="10438235" y="4158869"/>
                  </a:moveTo>
                  <a:lnTo>
                    <a:pt x="10453141" y="4158869"/>
                  </a:lnTo>
                  <a:lnTo>
                    <a:pt x="10453141" y="4381849"/>
                  </a:lnTo>
                  <a:lnTo>
                    <a:pt x="10417853" y="4381849"/>
                  </a:lnTo>
                  <a:lnTo>
                    <a:pt x="10417853" y="4202066"/>
                  </a:lnTo>
                  <a:cubicBezTo>
                    <a:pt x="10411465" y="4206629"/>
                    <a:pt x="10404595" y="4210507"/>
                    <a:pt x="10397244" y="4213702"/>
                  </a:cubicBezTo>
                  <a:cubicBezTo>
                    <a:pt x="10389892" y="4216896"/>
                    <a:pt x="10381501" y="4219709"/>
                    <a:pt x="10372071" y="4222143"/>
                  </a:cubicBezTo>
                  <a:lnTo>
                    <a:pt x="10372071" y="4192027"/>
                  </a:lnTo>
                  <a:cubicBezTo>
                    <a:pt x="10377952" y="4190101"/>
                    <a:pt x="10383631" y="4188073"/>
                    <a:pt x="10389106" y="4185943"/>
                  </a:cubicBezTo>
                  <a:cubicBezTo>
                    <a:pt x="10394582" y="4183814"/>
                    <a:pt x="10399982" y="4181431"/>
                    <a:pt x="10405305" y="4178794"/>
                  </a:cubicBezTo>
                  <a:cubicBezTo>
                    <a:pt x="10410629" y="4176158"/>
                    <a:pt x="10416003" y="4173217"/>
                    <a:pt x="10421428" y="4169973"/>
                  </a:cubicBezTo>
                  <a:cubicBezTo>
                    <a:pt x="10426853" y="4166728"/>
                    <a:pt x="10432455" y="4163027"/>
                    <a:pt x="10438235" y="4158869"/>
                  </a:cubicBezTo>
                  <a:close/>
                  <a:moveTo>
                    <a:pt x="12062430" y="4158868"/>
                  </a:moveTo>
                  <a:lnTo>
                    <a:pt x="12077336" y="4158868"/>
                  </a:lnTo>
                  <a:lnTo>
                    <a:pt x="12077336" y="4381848"/>
                  </a:lnTo>
                  <a:lnTo>
                    <a:pt x="12042048" y="4381848"/>
                  </a:lnTo>
                  <a:lnTo>
                    <a:pt x="12042048" y="4202064"/>
                  </a:lnTo>
                  <a:cubicBezTo>
                    <a:pt x="12035660" y="4206627"/>
                    <a:pt x="12028790" y="4210506"/>
                    <a:pt x="12021439" y="4213700"/>
                  </a:cubicBezTo>
                  <a:cubicBezTo>
                    <a:pt x="12014087" y="4216894"/>
                    <a:pt x="12005696" y="4219708"/>
                    <a:pt x="11996266" y="4222142"/>
                  </a:cubicBezTo>
                  <a:lnTo>
                    <a:pt x="11996266" y="4192026"/>
                  </a:lnTo>
                  <a:cubicBezTo>
                    <a:pt x="12002147" y="4190099"/>
                    <a:pt x="12007826" y="4188071"/>
                    <a:pt x="12013301" y="4185942"/>
                  </a:cubicBezTo>
                  <a:cubicBezTo>
                    <a:pt x="12018777" y="4183813"/>
                    <a:pt x="12024177" y="4181429"/>
                    <a:pt x="12029500" y="4178793"/>
                  </a:cubicBezTo>
                  <a:cubicBezTo>
                    <a:pt x="12034824" y="4176157"/>
                    <a:pt x="12040198" y="4173216"/>
                    <a:pt x="12045623" y="4169971"/>
                  </a:cubicBezTo>
                  <a:cubicBezTo>
                    <a:pt x="12051048" y="4166726"/>
                    <a:pt x="12056650" y="4163025"/>
                    <a:pt x="12062430" y="4158868"/>
                  </a:cubicBezTo>
                  <a:close/>
                  <a:moveTo>
                    <a:pt x="11875949" y="4158868"/>
                  </a:moveTo>
                  <a:cubicBezTo>
                    <a:pt x="11923393" y="4158868"/>
                    <a:pt x="11947116" y="4195730"/>
                    <a:pt x="11947116" y="4269455"/>
                  </a:cubicBezTo>
                  <a:cubicBezTo>
                    <a:pt x="11947116" y="4305966"/>
                    <a:pt x="11940420" y="4333826"/>
                    <a:pt x="11927030" y="4353035"/>
                  </a:cubicBezTo>
                  <a:cubicBezTo>
                    <a:pt x="11913639" y="4372243"/>
                    <a:pt x="11894907" y="4381848"/>
                    <a:pt x="11870833" y="4381848"/>
                  </a:cubicBezTo>
                  <a:cubicBezTo>
                    <a:pt x="11848365" y="4381848"/>
                    <a:pt x="11830836" y="4372670"/>
                    <a:pt x="11818248" y="4354314"/>
                  </a:cubicBezTo>
                  <a:cubicBezTo>
                    <a:pt x="11805659" y="4335958"/>
                    <a:pt x="11799365" y="4309427"/>
                    <a:pt x="11799365" y="4274721"/>
                  </a:cubicBezTo>
                  <a:cubicBezTo>
                    <a:pt x="11799365" y="4236605"/>
                    <a:pt x="11805935" y="4207767"/>
                    <a:pt x="11819075" y="4188207"/>
                  </a:cubicBezTo>
                  <a:cubicBezTo>
                    <a:pt x="11832216" y="4168648"/>
                    <a:pt x="11851173" y="4158868"/>
                    <a:pt x="11875949" y="4158868"/>
                  </a:cubicBezTo>
                  <a:close/>
                  <a:moveTo>
                    <a:pt x="11190803" y="4158868"/>
                  </a:moveTo>
                  <a:cubicBezTo>
                    <a:pt x="11238247" y="4158868"/>
                    <a:pt x="11261970" y="4195730"/>
                    <a:pt x="11261970" y="4269455"/>
                  </a:cubicBezTo>
                  <a:cubicBezTo>
                    <a:pt x="11261970" y="4305966"/>
                    <a:pt x="11255274" y="4333826"/>
                    <a:pt x="11241884" y="4353035"/>
                  </a:cubicBezTo>
                  <a:cubicBezTo>
                    <a:pt x="11228493" y="4372243"/>
                    <a:pt x="11209761" y="4381848"/>
                    <a:pt x="11185687" y="4381848"/>
                  </a:cubicBezTo>
                  <a:cubicBezTo>
                    <a:pt x="11163219" y="4381848"/>
                    <a:pt x="11145690" y="4372670"/>
                    <a:pt x="11133102" y="4354314"/>
                  </a:cubicBezTo>
                  <a:cubicBezTo>
                    <a:pt x="11120513" y="4335958"/>
                    <a:pt x="11114219" y="4309427"/>
                    <a:pt x="11114219" y="4274721"/>
                  </a:cubicBezTo>
                  <a:cubicBezTo>
                    <a:pt x="11114219" y="4236605"/>
                    <a:pt x="11120789" y="4207767"/>
                    <a:pt x="11133929" y="4188207"/>
                  </a:cubicBezTo>
                  <a:cubicBezTo>
                    <a:pt x="11147070" y="4168648"/>
                    <a:pt x="11166027" y="4158868"/>
                    <a:pt x="11190803" y="4158868"/>
                  </a:cubicBezTo>
                  <a:close/>
                  <a:moveTo>
                    <a:pt x="10143427" y="4158868"/>
                  </a:moveTo>
                  <a:lnTo>
                    <a:pt x="10158333" y="4158868"/>
                  </a:lnTo>
                  <a:lnTo>
                    <a:pt x="10158333" y="4381848"/>
                  </a:lnTo>
                  <a:lnTo>
                    <a:pt x="10123045" y="4381848"/>
                  </a:lnTo>
                  <a:lnTo>
                    <a:pt x="10123045" y="4202064"/>
                  </a:lnTo>
                  <a:cubicBezTo>
                    <a:pt x="10116657" y="4206627"/>
                    <a:pt x="10109787" y="4210506"/>
                    <a:pt x="10102436" y="4213700"/>
                  </a:cubicBezTo>
                  <a:cubicBezTo>
                    <a:pt x="10095084" y="4216894"/>
                    <a:pt x="10086693" y="4219708"/>
                    <a:pt x="10077263" y="4222142"/>
                  </a:cubicBezTo>
                  <a:lnTo>
                    <a:pt x="10077263" y="4192026"/>
                  </a:lnTo>
                  <a:cubicBezTo>
                    <a:pt x="10083144" y="4190099"/>
                    <a:pt x="10088823" y="4188071"/>
                    <a:pt x="10094298" y="4185942"/>
                  </a:cubicBezTo>
                  <a:cubicBezTo>
                    <a:pt x="10099774" y="4183813"/>
                    <a:pt x="10105174" y="4181429"/>
                    <a:pt x="10110497" y="4178793"/>
                  </a:cubicBezTo>
                  <a:cubicBezTo>
                    <a:pt x="10115821" y="4176157"/>
                    <a:pt x="10121195" y="4173216"/>
                    <a:pt x="10126620" y="4169971"/>
                  </a:cubicBezTo>
                  <a:cubicBezTo>
                    <a:pt x="10132045" y="4166726"/>
                    <a:pt x="10137647" y="4163025"/>
                    <a:pt x="10143427" y="4158868"/>
                  </a:cubicBezTo>
                  <a:close/>
                  <a:moveTo>
                    <a:pt x="9937869" y="4158868"/>
                  </a:moveTo>
                  <a:cubicBezTo>
                    <a:pt x="9985313" y="4158868"/>
                    <a:pt x="10009036" y="4195730"/>
                    <a:pt x="10009036" y="4269455"/>
                  </a:cubicBezTo>
                  <a:cubicBezTo>
                    <a:pt x="10009036" y="4305966"/>
                    <a:pt x="10002340" y="4333826"/>
                    <a:pt x="9988950" y="4353035"/>
                  </a:cubicBezTo>
                  <a:cubicBezTo>
                    <a:pt x="9975559" y="4372243"/>
                    <a:pt x="9956827" y="4381848"/>
                    <a:pt x="9932753" y="4381848"/>
                  </a:cubicBezTo>
                  <a:cubicBezTo>
                    <a:pt x="9910285" y="4381848"/>
                    <a:pt x="9892756" y="4372670"/>
                    <a:pt x="9880168" y="4354314"/>
                  </a:cubicBezTo>
                  <a:cubicBezTo>
                    <a:pt x="9867579" y="4335958"/>
                    <a:pt x="9861285" y="4309427"/>
                    <a:pt x="9861285" y="4274721"/>
                  </a:cubicBezTo>
                  <a:cubicBezTo>
                    <a:pt x="9861285" y="4236605"/>
                    <a:pt x="9867855" y="4207767"/>
                    <a:pt x="9880995" y="4188207"/>
                  </a:cubicBezTo>
                  <a:cubicBezTo>
                    <a:pt x="9894136" y="4168648"/>
                    <a:pt x="9913093" y="4158868"/>
                    <a:pt x="9937869" y="4158868"/>
                  </a:cubicBezTo>
                  <a:close/>
                  <a:moveTo>
                    <a:pt x="9715358" y="4158868"/>
                  </a:moveTo>
                  <a:cubicBezTo>
                    <a:pt x="9762802" y="4158868"/>
                    <a:pt x="9786525" y="4195730"/>
                    <a:pt x="9786525" y="4269455"/>
                  </a:cubicBezTo>
                  <a:cubicBezTo>
                    <a:pt x="9786525" y="4305966"/>
                    <a:pt x="9779829" y="4333826"/>
                    <a:pt x="9766439" y="4353035"/>
                  </a:cubicBezTo>
                  <a:cubicBezTo>
                    <a:pt x="9753048" y="4372243"/>
                    <a:pt x="9734316" y="4381848"/>
                    <a:pt x="9710242" y="4381848"/>
                  </a:cubicBezTo>
                  <a:cubicBezTo>
                    <a:pt x="9687774" y="4381848"/>
                    <a:pt x="9670245" y="4372670"/>
                    <a:pt x="9657657" y="4354314"/>
                  </a:cubicBezTo>
                  <a:cubicBezTo>
                    <a:pt x="9645068" y="4335958"/>
                    <a:pt x="9638774" y="4309427"/>
                    <a:pt x="9638774" y="4274721"/>
                  </a:cubicBezTo>
                  <a:cubicBezTo>
                    <a:pt x="9638774" y="4236605"/>
                    <a:pt x="9645344" y="4207767"/>
                    <a:pt x="9658484" y="4188207"/>
                  </a:cubicBezTo>
                  <a:cubicBezTo>
                    <a:pt x="9671625" y="4168648"/>
                    <a:pt x="9690582" y="4158868"/>
                    <a:pt x="9715358" y="4158868"/>
                  </a:cubicBezTo>
                  <a:close/>
                  <a:moveTo>
                    <a:pt x="9557012" y="4158868"/>
                  </a:moveTo>
                  <a:lnTo>
                    <a:pt x="9571918" y="4158868"/>
                  </a:lnTo>
                  <a:lnTo>
                    <a:pt x="9571918" y="4381848"/>
                  </a:lnTo>
                  <a:lnTo>
                    <a:pt x="9536630" y="4381848"/>
                  </a:lnTo>
                  <a:lnTo>
                    <a:pt x="9536630" y="4202064"/>
                  </a:lnTo>
                  <a:cubicBezTo>
                    <a:pt x="9530242" y="4206627"/>
                    <a:pt x="9523372" y="4210506"/>
                    <a:pt x="9516021" y="4213700"/>
                  </a:cubicBezTo>
                  <a:cubicBezTo>
                    <a:pt x="9508669" y="4216894"/>
                    <a:pt x="9500278" y="4219708"/>
                    <a:pt x="9490848" y="4222142"/>
                  </a:cubicBezTo>
                  <a:lnTo>
                    <a:pt x="9490848" y="4192026"/>
                  </a:lnTo>
                  <a:cubicBezTo>
                    <a:pt x="9496729" y="4190099"/>
                    <a:pt x="9502408" y="4188071"/>
                    <a:pt x="9507883" y="4185942"/>
                  </a:cubicBezTo>
                  <a:cubicBezTo>
                    <a:pt x="9513359" y="4183813"/>
                    <a:pt x="9518759" y="4181429"/>
                    <a:pt x="9524082" y="4178793"/>
                  </a:cubicBezTo>
                  <a:cubicBezTo>
                    <a:pt x="9529406" y="4176157"/>
                    <a:pt x="9534780" y="4173216"/>
                    <a:pt x="9540205" y="4169971"/>
                  </a:cubicBezTo>
                  <a:cubicBezTo>
                    <a:pt x="9545630" y="4166726"/>
                    <a:pt x="9551232" y="4163025"/>
                    <a:pt x="9557012" y="4158868"/>
                  </a:cubicBezTo>
                  <a:close/>
                  <a:moveTo>
                    <a:pt x="9254256" y="4158868"/>
                  </a:moveTo>
                  <a:lnTo>
                    <a:pt x="9269162" y="4158868"/>
                  </a:lnTo>
                  <a:lnTo>
                    <a:pt x="9269162" y="4381848"/>
                  </a:lnTo>
                  <a:lnTo>
                    <a:pt x="9233874" y="4381848"/>
                  </a:lnTo>
                  <a:lnTo>
                    <a:pt x="9233874" y="4202064"/>
                  </a:lnTo>
                  <a:cubicBezTo>
                    <a:pt x="9227486" y="4206627"/>
                    <a:pt x="9220616" y="4210506"/>
                    <a:pt x="9213265" y="4213700"/>
                  </a:cubicBezTo>
                  <a:cubicBezTo>
                    <a:pt x="9205913" y="4216894"/>
                    <a:pt x="9197522" y="4219708"/>
                    <a:pt x="9188092" y="4222142"/>
                  </a:cubicBezTo>
                  <a:lnTo>
                    <a:pt x="9188092" y="4192026"/>
                  </a:lnTo>
                  <a:cubicBezTo>
                    <a:pt x="9193973" y="4190099"/>
                    <a:pt x="9199652" y="4188071"/>
                    <a:pt x="9205127" y="4185942"/>
                  </a:cubicBezTo>
                  <a:cubicBezTo>
                    <a:pt x="9210603" y="4183813"/>
                    <a:pt x="9216003" y="4181429"/>
                    <a:pt x="9221326" y="4178793"/>
                  </a:cubicBezTo>
                  <a:cubicBezTo>
                    <a:pt x="9226650" y="4176157"/>
                    <a:pt x="9232024" y="4173216"/>
                    <a:pt x="9237449" y="4169971"/>
                  </a:cubicBezTo>
                  <a:cubicBezTo>
                    <a:pt x="9242874" y="4166726"/>
                    <a:pt x="9248476" y="4163025"/>
                    <a:pt x="9254256" y="4158868"/>
                  </a:cubicBezTo>
                  <a:close/>
                  <a:moveTo>
                    <a:pt x="8744915" y="4158868"/>
                  </a:moveTo>
                  <a:lnTo>
                    <a:pt x="8759821" y="4158868"/>
                  </a:lnTo>
                  <a:lnTo>
                    <a:pt x="8759821" y="4381848"/>
                  </a:lnTo>
                  <a:lnTo>
                    <a:pt x="8724533" y="4381848"/>
                  </a:lnTo>
                  <a:lnTo>
                    <a:pt x="8724533" y="4202065"/>
                  </a:lnTo>
                  <a:cubicBezTo>
                    <a:pt x="8718145" y="4206628"/>
                    <a:pt x="8711275" y="4210506"/>
                    <a:pt x="8703924" y="4213701"/>
                  </a:cubicBezTo>
                  <a:cubicBezTo>
                    <a:pt x="8696572" y="4216895"/>
                    <a:pt x="8688181" y="4219708"/>
                    <a:pt x="8678751" y="4222142"/>
                  </a:cubicBezTo>
                  <a:lnTo>
                    <a:pt x="8678751" y="4192026"/>
                  </a:lnTo>
                  <a:cubicBezTo>
                    <a:pt x="8684632" y="4190100"/>
                    <a:pt x="8690311" y="4188072"/>
                    <a:pt x="8695786" y="4185942"/>
                  </a:cubicBezTo>
                  <a:cubicBezTo>
                    <a:pt x="8701262" y="4183813"/>
                    <a:pt x="8706662" y="4181430"/>
                    <a:pt x="8711985" y="4178793"/>
                  </a:cubicBezTo>
                  <a:cubicBezTo>
                    <a:pt x="8717309" y="4176157"/>
                    <a:pt x="8722683" y="4173216"/>
                    <a:pt x="8728108" y="4169972"/>
                  </a:cubicBezTo>
                  <a:cubicBezTo>
                    <a:pt x="8733533" y="4166727"/>
                    <a:pt x="8739135" y="4163026"/>
                    <a:pt x="8744915" y="4158868"/>
                  </a:cubicBezTo>
                  <a:close/>
                  <a:moveTo>
                    <a:pt x="7851748" y="4158868"/>
                  </a:moveTo>
                  <a:lnTo>
                    <a:pt x="7866654" y="4158868"/>
                  </a:lnTo>
                  <a:lnTo>
                    <a:pt x="7866654" y="4381848"/>
                  </a:lnTo>
                  <a:lnTo>
                    <a:pt x="7831366" y="4381848"/>
                  </a:lnTo>
                  <a:lnTo>
                    <a:pt x="7831366" y="4202064"/>
                  </a:lnTo>
                  <a:cubicBezTo>
                    <a:pt x="7824978" y="4206627"/>
                    <a:pt x="7818109" y="4210506"/>
                    <a:pt x="7810757" y="4213700"/>
                  </a:cubicBezTo>
                  <a:cubicBezTo>
                    <a:pt x="7803405" y="4216894"/>
                    <a:pt x="7795015" y="4219708"/>
                    <a:pt x="7785584" y="4222142"/>
                  </a:cubicBezTo>
                  <a:lnTo>
                    <a:pt x="7785584" y="4192026"/>
                  </a:lnTo>
                  <a:cubicBezTo>
                    <a:pt x="7791465" y="4190099"/>
                    <a:pt x="7797144" y="4188071"/>
                    <a:pt x="7802619" y="4185942"/>
                  </a:cubicBezTo>
                  <a:cubicBezTo>
                    <a:pt x="7808095" y="4183813"/>
                    <a:pt x="7813495" y="4181429"/>
                    <a:pt x="7818818" y="4178793"/>
                  </a:cubicBezTo>
                  <a:cubicBezTo>
                    <a:pt x="7824142" y="4176157"/>
                    <a:pt x="7829516" y="4173216"/>
                    <a:pt x="7834941" y="4169971"/>
                  </a:cubicBezTo>
                  <a:cubicBezTo>
                    <a:pt x="7840366" y="4166726"/>
                    <a:pt x="7845968" y="4163025"/>
                    <a:pt x="7851748" y="4158868"/>
                  </a:cubicBezTo>
                  <a:close/>
                  <a:moveTo>
                    <a:pt x="7413731" y="4158868"/>
                  </a:moveTo>
                  <a:lnTo>
                    <a:pt x="7428637" y="4158868"/>
                  </a:lnTo>
                  <a:lnTo>
                    <a:pt x="7428637" y="4381848"/>
                  </a:lnTo>
                  <a:lnTo>
                    <a:pt x="7393349" y="4381848"/>
                  </a:lnTo>
                  <a:lnTo>
                    <a:pt x="7393349" y="4202064"/>
                  </a:lnTo>
                  <a:cubicBezTo>
                    <a:pt x="7386961" y="4206627"/>
                    <a:pt x="7380092" y="4210506"/>
                    <a:pt x="7372740" y="4213700"/>
                  </a:cubicBezTo>
                  <a:cubicBezTo>
                    <a:pt x="7365388" y="4216894"/>
                    <a:pt x="7356998" y="4219708"/>
                    <a:pt x="7347567" y="4222142"/>
                  </a:cubicBezTo>
                  <a:lnTo>
                    <a:pt x="7347567" y="4192026"/>
                  </a:lnTo>
                  <a:cubicBezTo>
                    <a:pt x="7353448" y="4190099"/>
                    <a:pt x="7359127" y="4188071"/>
                    <a:pt x="7364602" y="4185942"/>
                  </a:cubicBezTo>
                  <a:cubicBezTo>
                    <a:pt x="7370078" y="4183813"/>
                    <a:pt x="7375478" y="4181429"/>
                    <a:pt x="7380801" y="4178793"/>
                  </a:cubicBezTo>
                  <a:cubicBezTo>
                    <a:pt x="7386125" y="4176157"/>
                    <a:pt x="7391499" y="4173216"/>
                    <a:pt x="7396924" y="4169971"/>
                  </a:cubicBezTo>
                  <a:cubicBezTo>
                    <a:pt x="7402349" y="4166726"/>
                    <a:pt x="7407951" y="4163025"/>
                    <a:pt x="7413731" y="4158868"/>
                  </a:cubicBezTo>
                  <a:close/>
                  <a:moveTo>
                    <a:pt x="7015147" y="4158868"/>
                  </a:moveTo>
                  <a:lnTo>
                    <a:pt x="7030053" y="4158868"/>
                  </a:lnTo>
                  <a:lnTo>
                    <a:pt x="7030053" y="4381848"/>
                  </a:lnTo>
                  <a:lnTo>
                    <a:pt x="6994765" y="4381848"/>
                  </a:lnTo>
                  <a:lnTo>
                    <a:pt x="6994765" y="4202064"/>
                  </a:lnTo>
                  <a:cubicBezTo>
                    <a:pt x="6988377" y="4206627"/>
                    <a:pt x="6981508" y="4210506"/>
                    <a:pt x="6974156" y="4213700"/>
                  </a:cubicBezTo>
                  <a:cubicBezTo>
                    <a:pt x="6966804" y="4216894"/>
                    <a:pt x="6958414" y="4219708"/>
                    <a:pt x="6948983" y="4222142"/>
                  </a:cubicBezTo>
                  <a:lnTo>
                    <a:pt x="6948983" y="4192026"/>
                  </a:lnTo>
                  <a:cubicBezTo>
                    <a:pt x="6954864" y="4190099"/>
                    <a:pt x="6960543" y="4188071"/>
                    <a:pt x="6966018" y="4185942"/>
                  </a:cubicBezTo>
                  <a:cubicBezTo>
                    <a:pt x="6971494" y="4183813"/>
                    <a:pt x="6976894" y="4181429"/>
                    <a:pt x="6982217" y="4178793"/>
                  </a:cubicBezTo>
                  <a:cubicBezTo>
                    <a:pt x="6987541" y="4176157"/>
                    <a:pt x="6992915" y="4173216"/>
                    <a:pt x="6998340" y="4169971"/>
                  </a:cubicBezTo>
                  <a:cubicBezTo>
                    <a:pt x="7003765" y="4166726"/>
                    <a:pt x="7009367" y="4163025"/>
                    <a:pt x="7015147" y="4158868"/>
                  </a:cubicBezTo>
                  <a:close/>
                  <a:moveTo>
                    <a:pt x="6727931" y="4158868"/>
                  </a:moveTo>
                  <a:lnTo>
                    <a:pt x="6742837" y="4158868"/>
                  </a:lnTo>
                  <a:lnTo>
                    <a:pt x="6742837" y="4381848"/>
                  </a:lnTo>
                  <a:lnTo>
                    <a:pt x="6707549" y="4381848"/>
                  </a:lnTo>
                  <a:lnTo>
                    <a:pt x="6707549" y="4202064"/>
                  </a:lnTo>
                  <a:cubicBezTo>
                    <a:pt x="6701161" y="4206627"/>
                    <a:pt x="6694292" y="4210506"/>
                    <a:pt x="6686940" y="4213700"/>
                  </a:cubicBezTo>
                  <a:cubicBezTo>
                    <a:pt x="6679588" y="4216894"/>
                    <a:pt x="6671198" y="4219708"/>
                    <a:pt x="6661767" y="4222142"/>
                  </a:cubicBezTo>
                  <a:lnTo>
                    <a:pt x="6661767" y="4192026"/>
                  </a:lnTo>
                  <a:cubicBezTo>
                    <a:pt x="6667648" y="4190099"/>
                    <a:pt x="6673327" y="4188071"/>
                    <a:pt x="6678802" y="4185942"/>
                  </a:cubicBezTo>
                  <a:cubicBezTo>
                    <a:pt x="6684278" y="4183813"/>
                    <a:pt x="6689678" y="4181429"/>
                    <a:pt x="6695001" y="4178793"/>
                  </a:cubicBezTo>
                  <a:cubicBezTo>
                    <a:pt x="6700325" y="4176157"/>
                    <a:pt x="6705699" y="4173216"/>
                    <a:pt x="6711124" y="4169971"/>
                  </a:cubicBezTo>
                  <a:cubicBezTo>
                    <a:pt x="6716549" y="4166726"/>
                    <a:pt x="6722151" y="4163025"/>
                    <a:pt x="6727931" y="4158868"/>
                  </a:cubicBezTo>
                  <a:close/>
                  <a:moveTo>
                    <a:pt x="6584323" y="4158868"/>
                  </a:moveTo>
                  <a:lnTo>
                    <a:pt x="6599229" y="4158868"/>
                  </a:lnTo>
                  <a:lnTo>
                    <a:pt x="6599229" y="4381848"/>
                  </a:lnTo>
                  <a:lnTo>
                    <a:pt x="6563941" y="4381848"/>
                  </a:lnTo>
                  <a:lnTo>
                    <a:pt x="6563941" y="4202064"/>
                  </a:lnTo>
                  <a:cubicBezTo>
                    <a:pt x="6557553" y="4206627"/>
                    <a:pt x="6550684" y="4210506"/>
                    <a:pt x="6543332" y="4213700"/>
                  </a:cubicBezTo>
                  <a:cubicBezTo>
                    <a:pt x="6535980" y="4216894"/>
                    <a:pt x="6527590" y="4219708"/>
                    <a:pt x="6518159" y="4222142"/>
                  </a:cubicBezTo>
                  <a:lnTo>
                    <a:pt x="6518159" y="4192026"/>
                  </a:lnTo>
                  <a:cubicBezTo>
                    <a:pt x="6524040" y="4190099"/>
                    <a:pt x="6529719" y="4188071"/>
                    <a:pt x="6535194" y="4185942"/>
                  </a:cubicBezTo>
                  <a:cubicBezTo>
                    <a:pt x="6540670" y="4183813"/>
                    <a:pt x="6546070" y="4181429"/>
                    <a:pt x="6551393" y="4178793"/>
                  </a:cubicBezTo>
                  <a:cubicBezTo>
                    <a:pt x="6556717" y="4176157"/>
                    <a:pt x="6562091" y="4173216"/>
                    <a:pt x="6567516" y="4169971"/>
                  </a:cubicBezTo>
                  <a:cubicBezTo>
                    <a:pt x="6572941" y="4166726"/>
                    <a:pt x="6578543" y="4163025"/>
                    <a:pt x="6584323" y="4158868"/>
                  </a:cubicBezTo>
                  <a:close/>
                  <a:moveTo>
                    <a:pt x="6373956" y="4158868"/>
                  </a:moveTo>
                  <a:cubicBezTo>
                    <a:pt x="6421401" y="4158868"/>
                    <a:pt x="6445123" y="4195730"/>
                    <a:pt x="6445123" y="4269455"/>
                  </a:cubicBezTo>
                  <a:cubicBezTo>
                    <a:pt x="6445123" y="4305966"/>
                    <a:pt x="6438428" y="4333826"/>
                    <a:pt x="6425037" y="4353035"/>
                  </a:cubicBezTo>
                  <a:cubicBezTo>
                    <a:pt x="6411646" y="4372243"/>
                    <a:pt x="6392914" y="4381848"/>
                    <a:pt x="6368840" y="4381848"/>
                  </a:cubicBezTo>
                  <a:cubicBezTo>
                    <a:pt x="6346372" y="4381848"/>
                    <a:pt x="6328843" y="4372670"/>
                    <a:pt x="6316255" y="4354314"/>
                  </a:cubicBezTo>
                  <a:cubicBezTo>
                    <a:pt x="6303666" y="4335958"/>
                    <a:pt x="6297372" y="4309427"/>
                    <a:pt x="6297372" y="4274721"/>
                  </a:cubicBezTo>
                  <a:cubicBezTo>
                    <a:pt x="6297372" y="4236605"/>
                    <a:pt x="6303942" y="4207767"/>
                    <a:pt x="6317082" y="4188207"/>
                  </a:cubicBezTo>
                  <a:cubicBezTo>
                    <a:pt x="6330223" y="4168648"/>
                    <a:pt x="6349180" y="4158868"/>
                    <a:pt x="6373956" y="4158868"/>
                  </a:cubicBezTo>
                  <a:close/>
                  <a:moveTo>
                    <a:pt x="5975659" y="4158868"/>
                  </a:moveTo>
                  <a:lnTo>
                    <a:pt x="5990568" y="4158868"/>
                  </a:lnTo>
                  <a:lnTo>
                    <a:pt x="5990568" y="4381848"/>
                  </a:lnTo>
                  <a:lnTo>
                    <a:pt x="5955278" y="4381848"/>
                  </a:lnTo>
                  <a:lnTo>
                    <a:pt x="5955278" y="4202064"/>
                  </a:lnTo>
                  <a:cubicBezTo>
                    <a:pt x="5948891" y="4206627"/>
                    <a:pt x="5942020" y="4210506"/>
                    <a:pt x="5934669" y="4213700"/>
                  </a:cubicBezTo>
                  <a:cubicBezTo>
                    <a:pt x="5927317" y="4216894"/>
                    <a:pt x="5918927" y="4219708"/>
                    <a:pt x="5909498" y="4222142"/>
                  </a:cubicBezTo>
                  <a:lnTo>
                    <a:pt x="5909498" y="4192026"/>
                  </a:lnTo>
                  <a:cubicBezTo>
                    <a:pt x="5915377" y="4190099"/>
                    <a:pt x="5921055" y="4188071"/>
                    <a:pt x="5926531" y="4185942"/>
                  </a:cubicBezTo>
                  <a:cubicBezTo>
                    <a:pt x="5932007" y="4183813"/>
                    <a:pt x="5937407" y="4181429"/>
                    <a:pt x="5942730" y="4178793"/>
                  </a:cubicBezTo>
                  <a:cubicBezTo>
                    <a:pt x="5948054" y="4176157"/>
                    <a:pt x="5953429" y="4173216"/>
                    <a:pt x="5958852" y="4169971"/>
                  </a:cubicBezTo>
                  <a:cubicBezTo>
                    <a:pt x="5964279" y="4166726"/>
                    <a:pt x="5969881" y="4163025"/>
                    <a:pt x="5975659" y="4158868"/>
                  </a:cubicBezTo>
                  <a:close/>
                  <a:moveTo>
                    <a:pt x="5786272" y="4158868"/>
                  </a:moveTo>
                  <a:cubicBezTo>
                    <a:pt x="5833719" y="4158868"/>
                    <a:pt x="5857440" y="4195730"/>
                    <a:pt x="5857440" y="4269455"/>
                  </a:cubicBezTo>
                  <a:cubicBezTo>
                    <a:pt x="5857440" y="4305966"/>
                    <a:pt x="5850744" y="4333826"/>
                    <a:pt x="5837355" y="4353035"/>
                  </a:cubicBezTo>
                  <a:cubicBezTo>
                    <a:pt x="5823963" y="4372243"/>
                    <a:pt x="5805230" y="4381848"/>
                    <a:pt x="5781158" y="4381848"/>
                  </a:cubicBezTo>
                  <a:cubicBezTo>
                    <a:pt x="5758689" y="4381848"/>
                    <a:pt x="5741161" y="4372670"/>
                    <a:pt x="5728572" y="4354314"/>
                  </a:cubicBezTo>
                  <a:cubicBezTo>
                    <a:pt x="5715984" y="4335958"/>
                    <a:pt x="5709690" y="4309427"/>
                    <a:pt x="5709690" y="4274721"/>
                  </a:cubicBezTo>
                  <a:cubicBezTo>
                    <a:pt x="5709690" y="4236605"/>
                    <a:pt x="5716259" y="4207767"/>
                    <a:pt x="5729400" y="4188207"/>
                  </a:cubicBezTo>
                  <a:cubicBezTo>
                    <a:pt x="5742540" y="4168648"/>
                    <a:pt x="5761498" y="4158868"/>
                    <a:pt x="5786272" y="4158868"/>
                  </a:cubicBezTo>
                  <a:close/>
                  <a:moveTo>
                    <a:pt x="5093284" y="4158868"/>
                  </a:moveTo>
                  <a:cubicBezTo>
                    <a:pt x="5140729" y="4158868"/>
                    <a:pt x="5164451" y="4195730"/>
                    <a:pt x="5164451" y="4269455"/>
                  </a:cubicBezTo>
                  <a:cubicBezTo>
                    <a:pt x="5164451" y="4305966"/>
                    <a:pt x="5157756" y="4333826"/>
                    <a:pt x="5144364" y="4353035"/>
                  </a:cubicBezTo>
                  <a:cubicBezTo>
                    <a:pt x="5130974" y="4372243"/>
                    <a:pt x="5112242" y="4381848"/>
                    <a:pt x="5088168" y="4381848"/>
                  </a:cubicBezTo>
                  <a:cubicBezTo>
                    <a:pt x="5065701" y="4381848"/>
                    <a:pt x="5048170" y="4372670"/>
                    <a:pt x="5035583" y="4354314"/>
                  </a:cubicBezTo>
                  <a:cubicBezTo>
                    <a:pt x="5022994" y="4335958"/>
                    <a:pt x="5016700" y="4309427"/>
                    <a:pt x="5016700" y="4274721"/>
                  </a:cubicBezTo>
                  <a:cubicBezTo>
                    <a:pt x="5016700" y="4236605"/>
                    <a:pt x="5023271" y="4207767"/>
                    <a:pt x="5036410" y="4188207"/>
                  </a:cubicBezTo>
                  <a:cubicBezTo>
                    <a:pt x="5049553" y="4168648"/>
                    <a:pt x="5068509" y="4158868"/>
                    <a:pt x="5093284" y="4158868"/>
                  </a:cubicBezTo>
                  <a:close/>
                  <a:moveTo>
                    <a:pt x="4694968" y="4158868"/>
                  </a:moveTo>
                  <a:lnTo>
                    <a:pt x="4709876" y="4158868"/>
                  </a:lnTo>
                  <a:lnTo>
                    <a:pt x="4709876" y="4381848"/>
                  </a:lnTo>
                  <a:lnTo>
                    <a:pt x="4674589" y="4381848"/>
                  </a:lnTo>
                  <a:lnTo>
                    <a:pt x="4674589" y="4202064"/>
                  </a:lnTo>
                  <a:cubicBezTo>
                    <a:pt x="4668200" y="4206627"/>
                    <a:pt x="4661331" y="4210506"/>
                    <a:pt x="4653978" y="4213700"/>
                  </a:cubicBezTo>
                  <a:cubicBezTo>
                    <a:pt x="4646628" y="4216894"/>
                    <a:pt x="4638236" y="4219708"/>
                    <a:pt x="4628805" y="4222142"/>
                  </a:cubicBezTo>
                  <a:lnTo>
                    <a:pt x="4628805" y="4192026"/>
                  </a:lnTo>
                  <a:cubicBezTo>
                    <a:pt x="4634687" y="4190099"/>
                    <a:pt x="4640364" y="4188071"/>
                    <a:pt x="4645841" y="4185942"/>
                  </a:cubicBezTo>
                  <a:cubicBezTo>
                    <a:pt x="4651316" y="4183813"/>
                    <a:pt x="4656717" y="4181429"/>
                    <a:pt x="4662040" y="4178793"/>
                  </a:cubicBezTo>
                  <a:cubicBezTo>
                    <a:pt x="4667363" y="4176157"/>
                    <a:pt x="4672738" y="4173216"/>
                    <a:pt x="4678162" y="4169971"/>
                  </a:cubicBezTo>
                  <a:cubicBezTo>
                    <a:pt x="4683588" y="4166726"/>
                    <a:pt x="4689190" y="4163025"/>
                    <a:pt x="4694968" y="4158868"/>
                  </a:cubicBezTo>
                  <a:close/>
                  <a:moveTo>
                    <a:pt x="4345906" y="4158868"/>
                  </a:moveTo>
                  <a:lnTo>
                    <a:pt x="4360813" y="4158868"/>
                  </a:lnTo>
                  <a:lnTo>
                    <a:pt x="4360813" y="4381848"/>
                  </a:lnTo>
                  <a:lnTo>
                    <a:pt x="4325525" y="4381848"/>
                  </a:lnTo>
                  <a:lnTo>
                    <a:pt x="4325525" y="4202064"/>
                  </a:lnTo>
                  <a:cubicBezTo>
                    <a:pt x="4319138" y="4206627"/>
                    <a:pt x="4312268" y="4210506"/>
                    <a:pt x="4304915" y="4213700"/>
                  </a:cubicBezTo>
                  <a:cubicBezTo>
                    <a:pt x="4297564" y="4216894"/>
                    <a:pt x="4289174" y="4219708"/>
                    <a:pt x="4279743" y="4222142"/>
                  </a:cubicBezTo>
                  <a:lnTo>
                    <a:pt x="4279743" y="4192026"/>
                  </a:lnTo>
                  <a:cubicBezTo>
                    <a:pt x="4285625" y="4190099"/>
                    <a:pt x="4291302" y="4188071"/>
                    <a:pt x="4296778" y="4185942"/>
                  </a:cubicBezTo>
                  <a:cubicBezTo>
                    <a:pt x="4302254" y="4183813"/>
                    <a:pt x="4307653" y="4181429"/>
                    <a:pt x="4312977" y="4178793"/>
                  </a:cubicBezTo>
                  <a:cubicBezTo>
                    <a:pt x="4318300" y="4176157"/>
                    <a:pt x="4323675" y="4173216"/>
                    <a:pt x="4329099" y="4169971"/>
                  </a:cubicBezTo>
                  <a:cubicBezTo>
                    <a:pt x="4334525" y="4166726"/>
                    <a:pt x="4340127" y="4163025"/>
                    <a:pt x="4345906" y="4158868"/>
                  </a:cubicBezTo>
                  <a:close/>
                  <a:moveTo>
                    <a:pt x="3839047" y="4158868"/>
                  </a:moveTo>
                  <a:cubicBezTo>
                    <a:pt x="3886491" y="4158868"/>
                    <a:pt x="3910214" y="4195730"/>
                    <a:pt x="3910214" y="4269455"/>
                  </a:cubicBezTo>
                  <a:cubicBezTo>
                    <a:pt x="3910214" y="4305966"/>
                    <a:pt x="3903519" y="4333826"/>
                    <a:pt x="3890128" y="4353035"/>
                  </a:cubicBezTo>
                  <a:cubicBezTo>
                    <a:pt x="3876737" y="4372243"/>
                    <a:pt x="3858005" y="4381848"/>
                    <a:pt x="3833931" y="4381848"/>
                  </a:cubicBezTo>
                  <a:cubicBezTo>
                    <a:pt x="3811463" y="4381848"/>
                    <a:pt x="3793934" y="4372670"/>
                    <a:pt x="3781346" y="4354314"/>
                  </a:cubicBezTo>
                  <a:cubicBezTo>
                    <a:pt x="3768757" y="4335958"/>
                    <a:pt x="3762464" y="4309427"/>
                    <a:pt x="3762464" y="4274721"/>
                  </a:cubicBezTo>
                  <a:cubicBezTo>
                    <a:pt x="3762464" y="4236605"/>
                    <a:pt x="3769034" y="4207767"/>
                    <a:pt x="3782173" y="4188207"/>
                  </a:cubicBezTo>
                  <a:cubicBezTo>
                    <a:pt x="3795313" y="4168648"/>
                    <a:pt x="3814271" y="4158868"/>
                    <a:pt x="3839047" y="4158868"/>
                  </a:cubicBezTo>
                  <a:close/>
                  <a:moveTo>
                    <a:pt x="3616537" y="4158868"/>
                  </a:moveTo>
                  <a:cubicBezTo>
                    <a:pt x="3663981" y="4158868"/>
                    <a:pt x="3687703" y="4195730"/>
                    <a:pt x="3687703" y="4269455"/>
                  </a:cubicBezTo>
                  <a:cubicBezTo>
                    <a:pt x="3687703" y="4305966"/>
                    <a:pt x="3681008" y="4333826"/>
                    <a:pt x="3667617" y="4353035"/>
                  </a:cubicBezTo>
                  <a:cubicBezTo>
                    <a:pt x="3654226" y="4372243"/>
                    <a:pt x="3635494" y="4381848"/>
                    <a:pt x="3611420" y="4381848"/>
                  </a:cubicBezTo>
                  <a:cubicBezTo>
                    <a:pt x="3588952" y="4381848"/>
                    <a:pt x="3571422" y="4372670"/>
                    <a:pt x="3558835" y="4354314"/>
                  </a:cubicBezTo>
                  <a:cubicBezTo>
                    <a:pt x="3546246" y="4335958"/>
                    <a:pt x="3539952" y="4309427"/>
                    <a:pt x="3539952" y="4274721"/>
                  </a:cubicBezTo>
                  <a:cubicBezTo>
                    <a:pt x="3539952" y="4236605"/>
                    <a:pt x="3546522" y="4207767"/>
                    <a:pt x="3559662" y="4188207"/>
                  </a:cubicBezTo>
                  <a:cubicBezTo>
                    <a:pt x="3572804" y="4168648"/>
                    <a:pt x="3591760" y="4158868"/>
                    <a:pt x="3616537" y="4158868"/>
                  </a:cubicBezTo>
                  <a:close/>
                  <a:moveTo>
                    <a:pt x="3454863" y="4158868"/>
                  </a:moveTo>
                  <a:lnTo>
                    <a:pt x="3469768" y="4158868"/>
                  </a:lnTo>
                  <a:lnTo>
                    <a:pt x="3469768" y="4381848"/>
                  </a:lnTo>
                  <a:lnTo>
                    <a:pt x="3434481" y="4381848"/>
                  </a:lnTo>
                  <a:lnTo>
                    <a:pt x="3434481" y="4202064"/>
                  </a:lnTo>
                  <a:cubicBezTo>
                    <a:pt x="3428092" y="4206627"/>
                    <a:pt x="3421223" y="4210506"/>
                    <a:pt x="3413872" y="4213700"/>
                  </a:cubicBezTo>
                  <a:cubicBezTo>
                    <a:pt x="3406519" y="4216894"/>
                    <a:pt x="3398129" y="4219708"/>
                    <a:pt x="3388698" y="4222142"/>
                  </a:cubicBezTo>
                  <a:lnTo>
                    <a:pt x="3388698" y="4192026"/>
                  </a:lnTo>
                  <a:cubicBezTo>
                    <a:pt x="3394580" y="4190099"/>
                    <a:pt x="3400259" y="4188071"/>
                    <a:pt x="3405734" y="4185942"/>
                  </a:cubicBezTo>
                  <a:cubicBezTo>
                    <a:pt x="3411209" y="4183813"/>
                    <a:pt x="3416609" y="4181429"/>
                    <a:pt x="3421933" y="4178793"/>
                  </a:cubicBezTo>
                  <a:cubicBezTo>
                    <a:pt x="3427256" y="4176157"/>
                    <a:pt x="3432632" y="4173216"/>
                    <a:pt x="3438054" y="4169971"/>
                  </a:cubicBezTo>
                  <a:cubicBezTo>
                    <a:pt x="3443480" y="4166726"/>
                    <a:pt x="3449083" y="4163025"/>
                    <a:pt x="3454863" y="4158868"/>
                  </a:cubicBezTo>
                  <a:close/>
                  <a:moveTo>
                    <a:pt x="3158682" y="4158868"/>
                  </a:moveTo>
                  <a:lnTo>
                    <a:pt x="3173587" y="4158868"/>
                  </a:lnTo>
                  <a:lnTo>
                    <a:pt x="3173587" y="4381848"/>
                  </a:lnTo>
                  <a:lnTo>
                    <a:pt x="3138299" y="4381848"/>
                  </a:lnTo>
                  <a:lnTo>
                    <a:pt x="3138299" y="4202065"/>
                  </a:lnTo>
                  <a:cubicBezTo>
                    <a:pt x="3131912" y="4206628"/>
                    <a:pt x="3125042" y="4210506"/>
                    <a:pt x="3117690" y="4213701"/>
                  </a:cubicBezTo>
                  <a:cubicBezTo>
                    <a:pt x="3110339" y="4216895"/>
                    <a:pt x="3101948" y="4219708"/>
                    <a:pt x="3092517" y="4222142"/>
                  </a:cubicBezTo>
                  <a:lnTo>
                    <a:pt x="3092517" y="4192026"/>
                  </a:lnTo>
                  <a:cubicBezTo>
                    <a:pt x="3098398" y="4190100"/>
                    <a:pt x="3104077" y="4188072"/>
                    <a:pt x="3109553" y="4185942"/>
                  </a:cubicBezTo>
                  <a:cubicBezTo>
                    <a:pt x="3115028" y="4183813"/>
                    <a:pt x="3120428" y="4181430"/>
                    <a:pt x="3125751" y="4178793"/>
                  </a:cubicBezTo>
                  <a:cubicBezTo>
                    <a:pt x="3131075" y="4176157"/>
                    <a:pt x="3136449" y="4173216"/>
                    <a:pt x="3141875" y="4169972"/>
                  </a:cubicBezTo>
                  <a:cubicBezTo>
                    <a:pt x="3147300" y="4166727"/>
                    <a:pt x="3152901" y="4163026"/>
                    <a:pt x="3158682" y="4158868"/>
                  </a:cubicBezTo>
                  <a:close/>
                  <a:moveTo>
                    <a:pt x="2783382" y="4158868"/>
                  </a:moveTo>
                  <a:lnTo>
                    <a:pt x="2798288" y="4158868"/>
                  </a:lnTo>
                  <a:lnTo>
                    <a:pt x="2798288" y="4381848"/>
                  </a:lnTo>
                  <a:lnTo>
                    <a:pt x="2763000" y="4381848"/>
                  </a:lnTo>
                  <a:lnTo>
                    <a:pt x="2763000" y="4202065"/>
                  </a:lnTo>
                  <a:cubicBezTo>
                    <a:pt x="2756612" y="4206628"/>
                    <a:pt x="2749742" y="4210506"/>
                    <a:pt x="2742391" y="4213701"/>
                  </a:cubicBezTo>
                  <a:cubicBezTo>
                    <a:pt x="2735039" y="4216895"/>
                    <a:pt x="2726649" y="4219708"/>
                    <a:pt x="2717219" y="4222142"/>
                  </a:cubicBezTo>
                  <a:lnTo>
                    <a:pt x="2717219" y="4192026"/>
                  </a:lnTo>
                  <a:cubicBezTo>
                    <a:pt x="2723100" y="4190100"/>
                    <a:pt x="2728778" y="4188072"/>
                    <a:pt x="2734253" y="4185942"/>
                  </a:cubicBezTo>
                  <a:cubicBezTo>
                    <a:pt x="2739729" y="4183813"/>
                    <a:pt x="2745129" y="4181430"/>
                    <a:pt x="2750453" y="4178793"/>
                  </a:cubicBezTo>
                  <a:cubicBezTo>
                    <a:pt x="2755776" y="4176157"/>
                    <a:pt x="2761151" y="4173216"/>
                    <a:pt x="2766576" y="4169972"/>
                  </a:cubicBezTo>
                  <a:cubicBezTo>
                    <a:pt x="2772000" y="4166727"/>
                    <a:pt x="2777603" y="4163026"/>
                    <a:pt x="2783382" y="4158868"/>
                  </a:cubicBezTo>
                  <a:close/>
                  <a:moveTo>
                    <a:pt x="2489154" y="4158868"/>
                  </a:moveTo>
                  <a:lnTo>
                    <a:pt x="2504060" y="4158868"/>
                  </a:lnTo>
                  <a:lnTo>
                    <a:pt x="2504060" y="4381848"/>
                  </a:lnTo>
                  <a:lnTo>
                    <a:pt x="2468772" y="4381848"/>
                  </a:lnTo>
                  <a:lnTo>
                    <a:pt x="2468772" y="4202065"/>
                  </a:lnTo>
                  <a:cubicBezTo>
                    <a:pt x="2462385" y="4206628"/>
                    <a:pt x="2455514" y="4210506"/>
                    <a:pt x="2448163" y="4213701"/>
                  </a:cubicBezTo>
                  <a:cubicBezTo>
                    <a:pt x="2440812" y="4216895"/>
                    <a:pt x="2432420" y="4219708"/>
                    <a:pt x="2422990" y="4222142"/>
                  </a:cubicBezTo>
                  <a:lnTo>
                    <a:pt x="2422990" y="4192026"/>
                  </a:lnTo>
                  <a:cubicBezTo>
                    <a:pt x="2428871" y="4190100"/>
                    <a:pt x="2434551" y="4188072"/>
                    <a:pt x="2440025" y="4185942"/>
                  </a:cubicBezTo>
                  <a:cubicBezTo>
                    <a:pt x="2445502" y="4183813"/>
                    <a:pt x="2450900" y="4181430"/>
                    <a:pt x="2456224" y="4178793"/>
                  </a:cubicBezTo>
                  <a:cubicBezTo>
                    <a:pt x="2461549" y="4176157"/>
                    <a:pt x="2466922" y="4173216"/>
                    <a:pt x="2472346" y="4169972"/>
                  </a:cubicBezTo>
                  <a:cubicBezTo>
                    <a:pt x="2477772" y="4166727"/>
                    <a:pt x="2483374" y="4163026"/>
                    <a:pt x="2489154" y="4158868"/>
                  </a:cubicBezTo>
                  <a:close/>
                  <a:moveTo>
                    <a:pt x="1599916" y="4158868"/>
                  </a:moveTo>
                  <a:lnTo>
                    <a:pt x="1614822" y="4158868"/>
                  </a:lnTo>
                  <a:lnTo>
                    <a:pt x="1614822" y="4381848"/>
                  </a:lnTo>
                  <a:lnTo>
                    <a:pt x="1579534" y="4381848"/>
                  </a:lnTo>
                  <a:lnTo>
                    <a:pt x="1579534" y="4202064"/>
                  </a:lnTo>
                  <a:cubicBezTo>
                    <a:pt x="1573146" y="4206627"/>
                    <a:pt x="1566276" y="4210506"/>
                    <a:pt x="1558925" y="4213700"/>
                  </a:cubicBezTo>
                  <a:cubicBezTo>
                    <a:pt x="1551573" y="4216894"/>
                    <a:pt x="1543182" y="4219708"/>
                    <a:pt x="1533752" y="4222142"/>
                  </a:cubicBezTo>
                  <a:lnTo>
                    <a:pt x="1533752" y="4192026"/>
                  </a:lnTo>
                  <a:cubicBezTo>
                    <a:pt x="1539633" y="4190099"/>
                    <a:pt x="1545312" y="4188071"/>
                    <a:pt x="1550787" y="4185942"/>
                  </a:cubicBezTo>
                  <a:cubicBezTo>
                    <a:pt x="1556263" y="4183813"/>
                    <a:pt x="1561663" y="4181429"/>
                    <a:pt x="1566986" y="4178793"/>
                  </a:cubicBezTo>
                  <a:cubicBezTo>
                    <a:pt x="1572310" y="4176157"/>
                    <a:pt x="1577684" y="4173216"/>
                    <a:pt x="1583109" y="4169971"/>
                  </a:cubicBezTo>
                  <a:cubicBezTo>
                    <a:pt x="1588534" y="4166726"/>
                    <a:pt x="1594136" y="4163025"/>
                    <a:pt x="1599916" y="4158868"/>
                  </a:cubicBezTo>
                  <a:close/>
                  <a:moveTo>
                    <a:pt x="1302202" y="4158868"/>
                  </a:moveTo>
                  <a:lnTo>
                    <a:pt x="1317108" y="4158868"/>
                  </a:lnTo>
                  <a:lnTo>
                    <a:pt x="1317108" y="4381848"/>
                  </a:lnTo>
                  <a:lnTo>
                    <a:pt x="1281820" y="4381848"/>
                  </a:lnTo>
                  <a:lnTo>
                    <a:pt x="1281820" y="4202064"/>
                  </a:lnTo>
                  <a:cubicBezTo>
                    <a:pt x="1275432" y="4206627"/>
                    <a:pt x="1268562" y="4210506"/>
                    <a:pt x="1261211" y="4213700"/>
                  </a:cubicBezTo>
                  <a:cubicBezTo>
                    <a:pt x="1253859" y="4216894"/>
                    <a:pt x="1245468" y="4219708"/>
                    <a:pt x="1236038" y="4222142"/>
                  </a:cubicBezTo>
                  <a:lnTo>
                    <a:pt x="1236038" y="4192026"/>
                  </a:lnTo>
                  <a:cubicBezTo>
                    <a:pt x="1241919" y="4190099"/>
                    <a:pt x="1247598" y="4188071"/>
                    <a:pt x="1253073" y="4185942"/>
                  </a:cubicBezTo>
                  <a:cubicBezTo>
                    <a:pt x="1258549" y="4183813"/>
                    <a:pt x="1263949" y="4181429"/>
                    <a:pt x="1269272" y="4178793"/>
                  </a:cubicBezTo>
                  <a:cubicBezTo>
                    <a:pt x="1274596" y="4176157"/>
                    <a:pt x="1279970" y="4173216"/>
                    <a:pt x="1285395" y="4169971"/>
                  </a:cubicBezTo>
                  <a:cubicBezTo>
                    <a:pt x="1290820" y="4166726"/>
                    <a:pt x="1296422" y="4163025"/>
                    <a:pt x="1302202" y="4158868"/>
                  </a:cubicBezTo>
                  <a:close/>
                  <a:moveTo>
                    <a:pt x="927321" y="4158868"/>
                  </a:moveTo>
                  <a:lnTo>
                    <a:pt x="942227" y="4158868"/>
                  </a:lnTo>
                  <a:lnTo>
                    <a:pt x="942227" y="4381848"/>
                  </a:lnTo>
                  <a:lnTo>
                    <a:pt x="906939" y="4381848"/>
                  </a:lnTo>
                  <a:lnTo>
                    <a:pt x="906939" y="4202064"/>
                  </a:lnTo>
                  <a:cubicBezTo>
                    <a:pt x="900551" y="4206627"/>
                    <a:pt x="893681" y="4210506"/>
                    <a:pt x="886330" y="4213700"/>
                  </a:cubicBezTo>
                  <a:cubicBezTo>
                    <a:pt x="878978" y="4216894"/>
                    <a:pt x="870587" y="4219708"/>
                    <a:pt x="861157" y="4222142"/>
                  </a:cubicBezTo>
                  <a:lnTo>
                    <a:pt x="861157" y="4192026"/>
                  </a:lnTo>
                  <a:cubicBezTo>
                    <a:pt x="867038" y="4190099"/>
                    <a:pt x="872717" y="4188071"/>
                    <a:pt x="878192" y="4185942"/>
                  </a:cubicBezTo>
                  <a:cubicBezTo>
                    <a:pt x="883668" y="4183813"/>
                    <a:pt x="889068" y="4181429"/>
                    <a:pt x="894391" y="4178793"/>
                  </a:cubicBezTo>
                  <a:cubicBezTo>
                    <a:pt x="899715" y="4176157"/>
                    <a:pt x="905089" y="4173216"/>
                    <a:pt x="910514" y="4169971"/>
                  </a:cubicBezTo>
                  <a:cubicBezTo>
                    <a:pt x="915939" y="4166726"/>
                    <a:pt x="921541" y="4163025"/>
                    <a:pt x="927321" y="4158868"/>
                  </a:cubicBezTo>
                  <a:close/>
                  <a:moveTo>
                    <a:pt x="778464" y="4158868"/>
                  </a:moveTo>
                  <a:lnTo>
                    <a:pt x="793370" y="4158868"/>
                  </a:lnTo>
                  <a:lnTo>
                    <a:pt x="793370" y="4381848"/>
                  </a:lnTo>
                  <a:lnTo>
                    <a:pt x="758082" y="4381848"/>
                  </a:lnTo>
                  <a:lnTo>
                    <a:pt x="758082" y="4202064"/>
                  </a:lnTo>
                  <a:cubicBezTo>
                    <a:pt x="751694" y="4206627"/>
                    <a:pt x="744824" y="4210506"/>
                    <a:pt x="737473" y="4213700"/>
                  </a:cubicBezTo>
                  <a:cubicBezTo>
                    <a:pt x="730121" y="4216894"/>
                    <a:pt x="721730" y="4219708"/>
                    <a:pt x="712300" y="4222142"/>
                  </a:cubicBezTo>
                  <a:lnTo>
                    <a:pt x="712300" y="4192026"/>
                  </a:lnTo>
                  <a:cubicBezTo>
                    <a:pt x="718181" y="4190099"/>
                    <a:pt x="723860" y="4188071"/>
                    <a:pt x="729335" y="4185942"/>
                  </a:cubicBezTo>
                  <a:cubicBezTo>
                    <a:pt x="734811" y="4183813"/>
                    <a:pt x="740211" y="4181429"/>
                    <a:pt x="745535" y="4178793"/>
                  </a:cubicBezTo>
                  <a:cubicBezTo>
                    <a:pt x="750858" y="4176157"/>
                    <a:pt x="756232" y="4173216"/>
                    <a:pt x="761657" y="4169971"/>
                  </a:cubicBezTo>
                  <a:cubicBezTo>
                    <a:pt x="767082" y="4166726"/>
                    <a:pt x="772684" y="4163025"/>
                    <a:pt x="778464" y="4158868"/>
                  </a:cubicBezTo>
                  <a:close/>
                  <a:moveTo>
                    <a:pt x="629607" y="4158868"/>
                  </a:moveTo>
                  <a:lnTo>
                    <a:pt x="644513" y="4158868"/>
                  </a:lnTo>
                  <a:lnTo>
                    <a:pt x="644513" y="4381848"/>
                  </a:lnTo>
                  <a:lnTo>
                    <a:pt x="609225" y="4381848"/>
                  </a:lnTo>
                  <a:lnTo>
                    <a:pt x="609225" y="4202064"/>
                  </a:lnTo>
                  <a:cubicBezTo>
                    <a:pt x="602837" y="4206627"/>
                    <a:pt x="595967" y="4210506"/>
                    <a:pt x="588616" y="4213700"/>
                  </a:cubicBezTo>
                  <a:cubicBezTo>
                    <a:pt x="581264" y="4216894"/>
                    <a:pt x="572873" y="4219708"/>
                    <a:pt x="563443" y="4222142"/>
                  </a:cubicBezTo>
                  <a:lnTo>
                    <a:pt x="563443" y="4192026"/>
                  </a:lnTo>
                  <a:cubicBezTo>
                    <a:pt x="569324" y="4190099"/>
                    <a:pt x="575003" y="4188071"/>
                    <a:pt x="580478" y="4185942"/>
                  </a:cubicBezTo>
                  <a:cubicBezTo>
                    <a:pt x="585954" y="4183813"/>
                    <a:pt x="591354" y="4181429"/>
                    <a:pt x="596677" y="4178793"/>
                  </a:cubicBezTo>
                  <a:cubicBezTo>
                    <a:pt x="602001" y="4176157"/>
                    <a:pt x="607375" y="4173216"/>
                    <a:pt x="612800" y="4169971"/>
                  </a:cubicBezTo>
                  <a:cubicBezTo>
                    <a:pt x="618225" y="4166726"/>
                    <a:pt x="623827" y="4163025"/>
                    <a:pt x="629607" y="4158868"/>
                  </a:cubicBezTo>
                  <a:close/>
                  <a:moveTo>
                    <a:pt x="480750" y="4158868"/>
                  </a:moveTo>
                  <a:lnTo>
                    <a:pt x="495656" y="4158868"/>
                  </a:lnTo>
                  <a:lnTo>
                    <a:pt x="495656" y="4381848"/>
                  </a:lnTo>
                  <a:lnTo>
                    <a:pt x="460368" y="4381848"/>
                  </a:lnTo>
                  <a:lnTo>
                    <a:pt x="460368" y="4202064"/>
                  </a:lnTo>
                  <a:cubicBezTo>
                    <a:pt x="453980" y="4206627"/>
                    <a:pt x="447110" y="4210506"/>
                    <a:pt x="439759" y="4213700"/>
                  </a:cubicBezTo>
                  <a:cubicBezTo>
                    <a:pt x="432407" y="4216894"/>
                    <a:pt x="424016" y="4219708"/>
                    <a:pt x="414586" y="4222142"/>
                  </a:cubicBezTo>
                  <a:lnTo>
                    <a:pt x="414586" y="4192026"/>
                  </a:lnTo>
                  <a:cubicBezTo>
                    <a:pt x="420467" y="4190099"/>
                    <a:pt x="426146" y="4188071"/>
                    <a:pt x="431621" y="4185942"/>
                  </a:cubicBezTo>
                  <a:cubicBezTo>
                    <a:pt x="437097" y="4183813"/>
                    <a:pt x="442497" y="4181429"/>
                    <a:pt x="447821" y="4178793"/>
                  </a:cubicBezTo>
                  <a:cubicBezTo>
                    <a:pt x="453144" y="4176157"/>
                    <a:pt x="458518" y="4173216"/>
                    <a:pt x="463943" y="4169971"/>
                  </a:cubicBezTo>
                  <a:cubicBezTo>
                    <a:pt x="469368" y="4166726"/>
                    <a:pt x="474970" y="4163025"/>
                    <a:pt x="480750" y="4158868"/>
                  </a:cubicBezTo>
                  <a:close/>
                  <a:moveTo>
                    <a:pt x="11874294" y="3839232"/>
                  </a:moveTo>
                  <a:cubicBezTo>
                    <a:pt x="11848114" y="3839232"/>
                    <a:pt x="11835024" y="3868070"/>
                    <a:pt x="11835024" y="3925746"/>
                  </a:cubicBezTo>
                  <a:cubicBezTo>
                    <a:pt x="11835024" y="3979710"/>
                    <a:pt x="11847863" y="4006692"/>
                    <a:pt x="11873542" y="4006692"/>
                  </a:cubicBezTo>
                  <a:cubicBezTo>
                    <a:pt x="11898818" y="4006692"/>
                    <a:pt x="11911457" y="3979259"/>
                    <a:pt x="11911457" y="3924391"/>
                  </a:cubicBezTo>
                  <a:cubicBezTo>
                    <a:pt x="11911457" y="3867618"/>
                    <a:pt x="11899069" y="3839232"/>
                    <a:pt x="11874294" y="3839232"/>
                  </a:cubicBezTo>
                  <a:close/>
                  <a:moveTo>
                    <a:pt x="11189148" y="3839232"/>
                  </a:moveTo>
                  <a:cubicBezTo>
                    <a:pt x="11162968" y="3839232"/>
                    <a:pt x="11149878" y="3868070"/>
                    <a:pt x="11149878" y="3925746"/>
                  </a:cubicBezTo>
                  <a:cubicBezTo>
                    <a:pt x="11149878" y="3979710"/>
                    <a:pt x="11162717" y="4006692"/>
                    <a:pt x="11188396" y="4006692"/>
                  </a:cubicBezTo>
                  <a:cubicBezTo>
                    <a:pt x="11213672" y="4006692"/>
                    <a:pt x="11226311" y="3979259"/>
                    <a:pt x="11226311" y="3924391"/>
                  </a:cubicBezTo>
                  <a:cubicBezTo>
                    <a:pt x="11226311" y="3867618"/>
                    <a:pt x="11213923" y="3839232"/>
                    <a:pt x="11189148" y="3839232"/>
                  </a:cubicBezTo>
                  <a:close/>
                  <a:moveTo>
                    <a:pt x="9936214" y="3839232"/>
                  </a:moveTo>
                  <a:cubicBezTo>
                    <a:pt x="9910034" y="3839232"/>
                    <a:pt x="9896944" y="3868070"/>
                    <a:pt x="9896944" y="3925746"/>
                  </a:cubicBezTo>
                  <a:cubicBezTo>
                    <a:pt x="9896944" y="3979710"/>
                    <a:pt x="9909783" y="4006692"/>
                    <a:pt x="9935462" y="4006692"/>
                  </a:cubicBezTo>
                  <a:cubicBezTo>
                    <a:pt x="9960738" y="4006692"/>
                    <a:pt x="9973377" y="3979259"/>
                    <a:pt x="9973377" y="3924391"/>
                  </a:cubicBezTo>
                  <a:cubicBezTo>
                    <a:pt x="9973377" y="3867618"/>
                    <a:pt x="9960989" y="3839232"/>
                    <a:pt x="9936214" y="3839232"/>
                  </a:cubicBezTo>
                  <a:close/>
                  <a:moveTo>
                    <a:pt x="9713703" y="3839232"/>
                  </a:moveTo>
                  <a:cubicBezTo>
                    <a:pt x="9687523" y="3839232"/>
                    <a:pt x="9674433" y="3868070"/>
                    <a:pt x="9674433" y="3925746"/>
                  </a:cubicBezTo>
                  <a:cubicBezTo>
                    <a:pt x="9674433" y="3979710"/>
                    <a:pt x="9687272" y="4006692"/>
                    <a:pt x="9712951" y="4006692"/>
                  </a:cubicBezTo>
                  <a:cubicBezTo>
                    <a:pt x="9738227" y="4006692"/>
                    <a:pt x="9750866" y="3979259"/>
                    <a:pt x="9750866" y="3924391"/>
                  </a:cubicBezTo>
                  <a:cubicBezTo>
                    <a:pt x="9750866" y="3867618"/>
                    <a:pt x="9738478" y="3839232"/>
                    <a:pt x="9713703" y="3839232"/>
                  </a:cubicBezTo>
                  <a:close/>
                  <a:moveTo>
                    <a:pt x="6372301" y="3839232"/>
                  </a:moveTo>
                  <a:cubicBezTo>
                    <a:pt x="6346121" y="3839232"/>
                    <a:pt x="6333031" y="3868070"/>
                    <a:pt x="6333031" y="3925746"/>
                  </a:cubicBezTo>
                  <a:cubicBezTo>
                    <a:pt x="6333031" y="3979710"/>
                    <a:pt x="6345870" y="4006692"/>
                    <a:pt x="6371549" y="4006692"/>
                  </a:cubicBezTo>
                  <a:cubicBezTo>
                    <a:pt x="6396826" y="4006692"/>
                    <a:pt x="6409464" y="3979259"/>
                    <a:pt x="6409464" y="3924391"/>
                  </a:cubicBezTo>
                  <a:cubicBezTo>
                    <a:pt x="6409464" y="3867618"/>
                    <a:pt x="6397076" y="3839232"/>
                    <a:pt x="6372301" y="3839232"/>
                  </a:cubicBezTo>
                  <a:close/>
                  <a:moveTo>
                    <a:pt x="5784617" y="3839232"/>
                  </a:moveTo>
                  <a:cubicBezTo>
                    <a:pt x="5758439" y="3839232"/>
                    <a:pt x="5745350" y="3868070"/>
                    <a:pt x="5745350" y="3925746"/>
                  </a:cubicBezTo>
                  <a:cubicBezTo>
                    <a:pt x="5745350" y="3979710"/>
                    <a:pt x="5758187" y="4006692"/>
                    <a:pt x="5783865" y="4006692"/>
                  </a:cubicBezTo>
                  <a:cubicBezTo>
                    <a:pt x="5809143" y="4006692"/>
                    <a:pt x="5821781" y="3979259"/>
                    <a:pt x="5821781" y="3924391"/>
                  </a:cubicBezTo>
                  <a:cubicBezTo>
                    <a:pt x="5821781" y="3867618"/>
                    <a:pt x="5809394" y="3839232"/>
                    <a:pt x="5784617" y="3839232"/>
                  </a:cubicBezTo>
                  <a:close/>
                  <a:moveTo>
                    <a:pt x="5091629" y="3839232"/>
                  </a:moveTo>
                  <a:cubicBezTo>
                    <a:pt x="5065449" y="3839232"/>
                    <a:pt x="5052358" y="3868070"/>
                    <a:pt x="5052358" y="3925746"/>
                  </a:cubicBezTo>
                  <a:cubicBezTo>
                    <a:pt x="5052358" y="3979710"/>
                    <a:pt x="5065200" y="4006692"/>
                    <a:pt x="5090877" y="4006692"/>
                  </a:cubicBezTo>
                  <a:cubicBezTo>
                    <a:pt x="5116154" y="4006692"/>
                    <a:pt x="5128792" y="3979259"/>
                    <a:pt x="5128792" y="3924391"/>
                  </a:cubicBezTo>
                  <a:cubicBezTo>
                    <a:pt x="5128792" y="3867618"/>
                    <a:pt x="5116404" y="3839232"/>
                    <a:pt x="5091629" y="3839232"/>
                  </a:cubicBezTo>
                  <a:close/>
                  <a:moveTo>
                    <a:pt x="3837392" y="3839232"/>
                  </a:moveTo>
                  <a:cubicBezTo>
                    <a:pt x="3811212" y="3839232"/>
                    <a:pt x="3798122" y="3868070"/>
                    <a:pt x="3798122" y="3925746"/>
                  </a:cubicBezTo>
                  <a:cubicBezTo>
                    <a:pt x="3798122" y="3979710"/>
                    <a:pt x="3810961" y="4006692"/>
                    <a:pt x="3836640" y="4006692"/>
                  </a:cubicBezTo>
                  <a:cubicBezTo>
                    <a:pt x="3861916" y="4006692"/>
                    <a:pt x="3874555" y="3979259"/>
                    <a:pt x="3874555" y="3924391"/>
                  </a:cubicBezTo>
                  <a:cubicBezTo>
                    <a:pt x="3874555" y="3867618"/>
                    <a:pt x="3862167" y="3839232"/>
                    <a:pt x="3837392" y="3839232"/>
                  </a:cubicBezTo>
                  <a:close/>
                  <a:moveTo>
                    <a:pt x="3614881" y="3839232"/>
                  </a:moveTo>
                  <a:cubicBezTo>
                    <a:pt x="3588702" y="3839232"/>
                    <a:pt x="3575611" y="3868070"/>
                    <a:pt x="3575611" y="3925746"/>
                  </a:cubicBezTo>
                  <a:cubicBezTo>
                    <a:pt x="3575611" y="3979710"/>
                    <a:pt x="3588451" y="4006692"/>
                    <a:pt x="3614130" y="4006692"/>
                  </a:cubicBezTo>
                  <a:cubicBezTo>
                    <a:pt x="3639407" y="4006692"/>
                    <a:pt x="3652044" y="3979259"/>
                    <a:pt x="3652044" y="3924391"/>
                  </a:cubicBezTo>
                  <a:cubicBezTo>
                    <a:pt x="3652044" y="3867618"/>
                    <a:pt x="3639656" y="3839232"/>
                    <a:pt x="3614881" y="3839232"/>
                  </a:cubicBezTo>
                  <a:close/>
                  <a:moveTo>
                    <a:pt x="10438235" y="3811398"/>
                  </a:moveTo>
                  <a:lnTo>
                    <a:pt x="10453141" y="3811398"/>
                  </a:lnTo>
                  <a:lnTo>
                    <a:pt x="10453141" y="4034378"/>
                  </a:lnTo>
                  <a:lnTo>
                    <a:pt x="10417853" y="4034378"/>
                  </a:lnTo>
                  <a:lnTo>
                    <a:pt x="10417853" y="3854594"/>
                  </a:lnTo>
                  <a:cubicBezTo>
                    <a:pt x="10411465" y="3859158"/>
                    <a:pt x="10404595" y="3863036"/>
                    <a:pt x="10397244" y="3866230"/>
                  </a:cubicBezTo>
                  <a:cubicBezTo>
                    <a:pt x="10389892" y="3869424"/>
                    <a:pt x="10381501" y="3872238"/>
                    <a:pt x="10372071" y="3874672"/>
                  </a:cubicBezTo>
                  <a:lnTo>
                    <a:pt x="10372071" y="3844556"/>
                  </a:lnTo>
                  <a:cubicBezTo>
                    <a:pt x="10377952" y="3842629"/>
                    <a:pt x="10383631" y="3840601"/>
                    <a:pt x="10389106" y="3838472"/>
                  </a:cubicBezTo>
                  <a:cubicBezTo>
                    <a:pt x="10394582" y="3836343"/>
                    <a:pt x="10399982" y="3833959"/>
                    <a:pt x="10405305" y="3831323"/>
                  </a:cubicBezTo>
                  <a:cubicBezTo>
                    <a:pt x="10410629" y="3828687"/>
                    <a:pt x="10416003" y="3825746"/>
                    <a:pt x="10421428" y="3822501"/>
                  </a:cubicBezTo>
                  <a:cubicBezTo>
                    <a:pt x="10426853" y="3819256"/>
                    <a:pt x="10432455" y="3815555"/>
                    <a:pt x="10438235" y="3811398"/>
                  </a:cubicBezTo>
                  <a:close/>
                  <a:moveTo>
                    <a:pt x="12062430" y="3811397"/>
                  </a:moveTo>
                  <a:lnTo>
                    <a:pt x="12077336" y="3811397"/>
                  </a:lnTo>
                  <a:lnTo>
                    <a:pt x="12077336" y="4034377"/>
                  </a:lnTo>
                  <a:lnTo>
                    <a:pt x="12042048" y="4034377"/>
                  </a:lnTo>
                  <a:lnTo>
                    <a:pt x="12042048" y="3854593"/>
                  </a:lnTo>
                  <a:cubicBezTo>
                    <a:pt x="12035660" y="3859157"/>
                    <a:pt x="12028790" y="3863035"/>
                    <a:pt x="12021439" y="3866229"/>
                  </a:cubicBezTo>
                  <a:cubicBezTo>
                    <a:pt x="12014087" y="3869423"/>
                    <a:pt x="12005696" y="3872237"/>
                    <a:pt x="11996266" y="3874671"/>
                  </a:cubicBezTo>
                  <a:lnTo>
                    <a:pt x="11996266" y="3844555"/>
                  </a:lnTo>
                  <a:cubicBezTo>
                    <a:pt x="12002147" y="3842628"/>
                    <a:pt x="12007826" y="3840600"/>
                    <a:pt x="12013301" y="3838471"/>
                  </a:cubicBezTo>
                  <a:cubicBezTo>
                    <a:pt x="12018777" y="3836342"/>
                    <a:pt x="12024177" y="3833958"/>
                    <a:pt x="12029500" y="3831322"/>
                  </a:cubicBezTo>
                  <a:cubicBezTo>
                    <a:pt x="12034824" y="3828686"/>
                    <a:pt x="12040198" y="3825745"/>
                    <a:pt x="12045623" y="3822500"/>
                  </a:cubicBezTo>
                  <a:cubicBezTo>
                    <a:pt x="12051048" y="3819255"/>
                    <a:pt x="12056650" y="3815554"/>
                    <a:pt x="12062430" y="3811397"/>
                  </a:cubicBezTo>
                  <a:close/>
                  <a:moveTo>
                    <a:pt x="11875949" y="3811397"/>
                  </a:moveTo>
                  <a:cubicBezTo>
                    <a:pt x="11923393" y="3811397"/>
                    <a:pt x="11947116" y="3848259"/>
                    <a:pt x="11947116" y="3921984"/>
                  </a:cubicBezTo>
                  <a:cubicBezTo>
                    <a:pt x="11947116" y="3958496"/>
                    <a:pt x="11940420" y="3986355"/>
                    <a:pt x="11927030" y="4005564"/>
                  </a:cubicBezTo>
                  <a:cubicBezTo>
                    <a:pt x="11913639" y="4024772"/>
                    <a:pt x="11894907" y="4034377"/>
                    <a:pt x="11870833" y="4034377"/>
                  </a:cubicBezTo>
                  <a:cubicBezTo>
                    <a:pt x="11848365" y="4034377"/>
                    <a:pt x="11830836" y="4025199"/>
                    <a:pt x="11818248" y="4006843"/>
                  </a:cubicBezTo>
                  <a:cubicBezTo>
                    <a:pt x="11805659" y="3988487"/>
                    <a:pt x="11799365" y="3961956"/>
                    <a:pt x="11799365" y="3927250"/>
                  </a:cubicBezTo>
                  <a:cubicBezTo>
                    <a:pt x="11799365" y="3889134"/>
                    <a:pt x="11805935" y="3860296"/>
                    <a:pt x="11819075" y="3840736"/>
                  </a:cubicBezTo>
                  <a:cubicBezTo>
                    <a:pt x="11832216" y="3821177"/>
                    <a:pt x="11851173" y="3811397"/>
                    <a:pt x="11875949" y="3811397"/>
                  </a:cubicBezTo>
                  <a:close/>
                  <a:moveTo>
                    <a:pt x="11190803" y="3811397"/>
                  </a:moveTo>
                  <a:cubicBezTo>
                    <a:pt x="11238247" y="3811397"/>
                    <a:pt x="11261970" y="3848259"/>
                    <a:pt x="11261970" y="3921984"/>
                  </a:cubicBezTo>
                  <a:cubicBezTo>
                    <a:pt x="11261970" y="3958496"/>
                    <a:pt x="11255274" y="3986355"/>
                    <a:pt x="11241884" y="4005564"/>
                  </a:cubicBezTo>
                  <a:cubicBezTo>
                    <a:pt x="11228493" y="4024772"/>
                    <a:pt x="11209761" y="4034377"/>
                    <a:pt x="11185687" y="4034377"/>
                  </a:cubicBezTo>
                  <a:cubicBezTo>
                    <a:pt x="11163219" y="4034377"/>
                    <a:pt x="11145690" y="4025199"/>
                    <a:pt x="11133102" y="4006843"/>
                  </a:cubicBezTo>
                  <a:cubicBezTo>
                    <a:pt x="11120513" y="3988487"/>
                    <a:pt x="11114219" y="3961956"/>
                    <a:pt x="11114219" y="3927250"/>
                  </a:cubicBezTo>
                  <a:cubicBezTo>
                    <a:pt x="11114219" y="3889134"/>
                    <a:pt x="11120789" y="3860296"/>
                    <a:pt x="11133929" y="3840736"/>
                  </a:cubicBezTo>
                  <a:cubicBezTo>
                    <a:pt x="11147070" y="3821177"/>
                    <a:pt x="11166027" y="3811397"/>
                    <a:pt x="11190803" y="3811397"/>
                  </a:cubicBezTo>
                  <a:close/>
                  <a:moveTo>
                    <a:pt x="10143427" y="3811397"/>
                  </a:moveTo>
                  <a:lnTo>
                    <a:pt x="10158333" y="3811397"/>
                  </a:lnTo>
                  <a:lnTo>
                    <a:pt x="10158333" y="4034377"/>
                  </a:lnTo>
                  <a:lnTo>
                    <a:pt x="10123045" y="4034377"/>
                  </a:lnTo>
                  <a:lnTo>
                    <a:pt x="10123045" y="3854593"/>
                  </a:lnTo>
                  <a:cubicBezTo>
                    <a:pt x="10116657" y="3859157"/>
                    <a:pt x="10109787" y="3863035"/>
                    <a:pt x="10102436" y="3866229"/>
                  </a:cubicBezTo>
                  <a:cubicBezTo>
                    <a:pt x="10095084" y="3869423"/>
                    <a:pt x="10086693" y="3872237"/>
                    <a:pt x="10077263" y="3874671"/>
                  </a:cubicBezTo>
                  <a:lnTo>
                    <a:pt x="10077263" y="3844555"/>
                  </a:lnTo>
                  <a:cubicBezTo>
                    <a:pt x="10083144" y="3842628"/>
                    <a:pt x="10088823" y="3840600"/>
                    <a:pt x="10094298" y="3838471"/>
                  </a:cubicBezTo>
                  <a:cubicBezTo>
                    <a:pt x="10099774" y="3836342"/>
                    <a:pt x="10105174" y="3833958"/>
                    <a:pt x="10110497" y="3831322"/>
                  </a:cubicBezTo>
                  <a:cubicBezTo>
                    <a:pt x="10115821" y="3828686"/>
                    <a:pt x="10121195" y="3825745"/>
                    <a:pt x="10126620" y="3822500"/>
                  </a:cubicBezTo>
                  <a:cubicBezTo>
                    <a:pt x="10132045" y="3819255"/>
                    <a:pt x="10137647" y="3815554"/>
                    <a:pt x="10143427" y="3811397"/>
                  </a:cubicBezTo>
                  <a:close/>
                  <a:moveTo>
                    <a:pt x="9937869" y="3811397"/>
                  </a:moveTo>
                  <a:cubicBezTo>
                    <a:pt x="9985313" y="3811397"/>
                    <a:pt x="10009036" y="3848259"/>
                    <a:pt x="10009036" y="3921984"/>
                  </a:cubicBezTo>
                  <a:cubicBezTo>
                    <a:pt x="10009036" y="3958496"/>
                    <a:pt x="10002340" y="3986355"/>
                    <a:pt x="9988950" y="4005564"/>
                  </a:cubicBezTo>
                  <a:cubicBezTo>
                    <a:pt x="9975559" y="4024772"/>
                    <a:pt x="9956827" y="4034377"/>
                    <a:pt x="9932753" y="4034377"/>
                  </a:cubicBezTo>
                  <a:cubicBezTo>
                    <a:pt x="9910285" y="4034377"/>
                    <a:pt x="9892756" y="4025199"/>
                    <a:pt x="9880168" y="4006843"/>
                  </a:cubicBezTo>
                  <a:cubicBezTo>
                    <a:pt x="9867579" y="3988487"/>
                    <a:pt x="9861285" y="3961956"/>
                    <a:pt x="9861285" y="3927250"/>
                  </a:cubicBezTo>
                  <a:cubicBezTo>
                    <a:pt x="9861285" y="3889134"/>
                    <a:pt x="9867855" y="3860296"/>
                    <a:pt x="9880995" y="3840736"/>
                  </a:cubicBezTo>
                  <a:cubicBezTo>
                    <a:pt x="9894136" y="3821177"/>
                    <a:pt x="9913093" y="3811397"/>
                    <a:pt x="9937869" y="3811397"/>
                  </a:cubicBezTo>
                  <a:close/>
                  <a:moveTo>
                    <a:pt x="9715358" y="3811397"/>
                  </a:moveTo>
                  <a:cubicBezTo>
                    <a:pt x="9762802" y="3811397"/>
                    <a:pt x="9786525" y="3848259"/>
                    <a:pt x="9786525" y="3921984"/>
                  </a:cubicBezTo>
                  <a:cubicBezTo>
                    <a:pt x="9786525" y="3958496"/>
                    <a:pt x="9779829" y="3986355"/>
                    <a:pt x="9766439" y="4005564"/>
                  </a:cubicBezTo>
                  <a:cubicBezTo>
                    <a:pt x="9753048" y="4024772"/>
                    <a:pt x="9734316" y="4034377"/>
                    <a:pt x="9710242" y="4034377"/>
                  </a:cubicBezTo>
                  <a:cubicBezTo>
                    <a:pt x="9687774" y="4034377"/>
                    <a:pt x="9670245" y="4025199"/>
                    <a:pt x="9657657" y="4006843"/>
                  </a:cubicBezTo>
                  <a:cubicBezTo>
                    <a:pt x="9645068" y="3988487"/>
                    <a:pt x="9638774" y="3961956"/>
                    <a:pt x="9638774" y="3927250"/>
                  </a:cubicBezTo>
                  <a:cubicBezTo>
                    <a:pt x="9638774" y="3889134"/>
                    <a:pt x="9645344" y="3860296"/>
                    <a:pt x="9658484" y="3840736"/>
                  </a:cubicBezTo>
                  <a:cubicBezTo>
                    <a:pt x="9671625" y="3821177"/>
                    <a:pt x="9690582" y="3811397"/>
                    <a:pt x="9715358" y="3811397"/>
                  </a:cubicBezTo>
                  <a:close/>
                  <a:moveTo>
                    <a:pt x="9557012" y="3811397"/>
                  </a:moveTo>
                  <a:lnTo>
                    <a:pt x="9571918" y="3811397"/>
                  </a:lnTo>
                  <a:lnTo>
                    <a:pt x="9571918" y="4034377"/>
                  </a:lnTo>
                  <a:lnTo>
                    <a:pt x="9536630" y="4034377"/>
                  </a:lnTo>
                  <a:lnTo>
                    <a:pt x="9536630" y="3854593"/>
                  </a:lnTo>
                  <a:cubicBezTo>
                    <a:pt x="9530242" y="3859157"/>
                    <a:pt x="9523372" y="3863035"/>
                    <a:pt x="9516021" y="3866229"/>
                  </a:cubicBezTo>
                  <a:cubicBezTo>
                    <a:pt x="9508669" y="3869423"/>
                    <a:pt x="9500278" y="3872237"/>
                    <a:pt x="9490848" y="3874671"/>
                  </a:cubicBezTo>
                  <a:lnTo>
                    <a:pt x="9490848" y="3844555"/>
                  </a:lnTo>
                  <a:cubicBezTo>
                    <a:pt x="9496729" y="3842628"/>
                    <a:pt x="9502408" y="3840600"/>
                    <a:pt x="9507883" y="3838471"/>
                  </a:cubicBezTo>
                  <a:cubicBezTo>
                    <a:pt x="9513359" y="3836342"/>
                    <a:pt x="9518759" y="3833958"/>
                    <a:pt x="9524082" y="3831322"/>
                  </a:cubicBezTo>
                  <a:cubicBezTo>
                    <a:pt x="9529406" y="3828686"/>
                    <a:pt x="9534780" y="3825745"/>
                    <a:pt x="9540205" y="3822500"/>
                  </a:cubicBezTo>
                  <a:cubicBezTo>
                    <a:pt x="9545630" y="3819255"/>
                    <a:pt x="9551232" y="3815554"/>
                    <a:pt x="9557012" y="3811397"/>
                  </a:cubicBezTo>
                  <a:close/>
                  <a:moveTo>
                    <a:pt x="9254256" y="3811397"/>
                  </a:moveTo>
                  <a:lnTo>
                    <a:pt x="9269162" y="3811397"/>
                  </a:lnTo>
                  <a:lnTo>
                    <a:pt x="9269162" y="4034377"/>
                  </a:lnTo>
                  <a:lnTo>
                    <a:pt x="9233874" y="4034377"/>
                  </a:lnTo>
                  <a:lnTo>
                    <a:pt x="9233874" y="3854593"/>
                  </a:lnTo>
                  <a:cubicBezTo>
                    <a:pt x="9227486" y="3859157"/>
                    <a:pt x="9220616" y="3863035"/>
                    <a:pt x="9213265" y="3866229"/>
                  </a:cubicBezTo>
                  <a:cubicBezTo>
                    <a:pt x="9205913" y="3869423"/>
                    <a:pt x="9197522" y="3872237"/>
                    <a:pt x="9188092" y="3874671"/>
                  </a:cubicBezTo>
                  <a:lnTo>
                    <a:pt x="9188092" y="3844555"/>
                  </a:lnTo>
                  <a:cubicBezTo>
                    <a:pt x="9193973" y="3842628"/>
                    <a:pt x="9199652" y="3840600"/>
                    <a:pt x="9205127" y="3838471"/>
                  </a:cubicBezTo>
                  <a:cubicBezTo>
                    <a:pt x="9210603" y="3836342"/>
                    <a:pt x="9216003" y="3833958"/>
                    <a:pt x="9221326" y="3831322"/>
                  </a:cubicBezTo>
                  <a:cubicBezTo>
                    <a:pt x="9226650" y="3828686"/>
                    <a:pt x="9232024" y="3825745"/>
                    <a:pt x="9237449" y="3822500"/>
                  </a:cubicBezTo>
                  <a:cubicBezTo>
                    <a:pt x="9242874" y="3819255"/>
                    <a:pt x="9248476" y="3815554"/>
                    <a:pt x="9254256" y="3811397"/>
                  </a:cubicBezTo>
                  <a:close/>
                  <a:moveTo>
                    <a:pt x="8744915" y="3811397"/>
                  </a:moveTo>
                  <a:lnTo>
                    <a:pt x="8759821" y="3811397"/>
                  </a:lnTo>
                  <a:lnTo>
                    <a:pt x="8759821" y="4034377"/>
                  </a:lnTo>
                  <a:lnTo>
                    <a:pt x="8724533" y="4034377"/>
                  </a:lnTo>
                  <a:lnTo>
                    <a:pt x="8724533" y="3854593"/>
                  </a:lnTo>
                  <a:cubicBezTo>
                    <a:pt x="8718145" y="3859157"/>
                    <a:pt x="8711275" y="3863035"/>
                    <a:pt x="8703924" y="3866229"/>
                  </a:cubicBezTo>
                  <a:cubicBezTo>
                    <a:pt x="8696572" y="3869423"/>
                    <a:pt x="8688181" y="3872237"/>
                    <a:pt x="8678751" y="3874671"/>
                  </a:cubicBezTo>
                  <a:lnTo>
                    <a:pt x="8678751" y="3844555"/>
                  </a:lnTo>
                  <a:cubicBezTo>
                    <a:pt x="8684632" y="3842628"/>
                    <a:pt x="8690311" y="3840600"/>
                    <a:pt x="8695786" y="3838471"/>
                  </a:cubicBezTo>
                  <a:cubicBezTo>
                    <a:pt x="8701262" y="3836342"/>
                    <a:pt x="8706662" y="3833958"/>
                    <a:pt x="8711985" y="3831322"/>
                  </a:cubicBezTo>
                  <a:cubicBezTo>
                    <a:pt x="8717309" y="3828686"/>
                    <a:pt x="8722683" y="3825745"/>
                    <a:pt x="8728108" y="3822500"/>
                  </a:cubicBezTo>
                  <a:cubicBezTo>
                    <a:pt x="8733533" y="3819255"/>
                    <a:pt x="8739135" y="3815554"/>
                    <a:pt x="8744915" y="3811397"/>
                  </a:cubicBezTo>
                  <a:close/>
                  <a:moveTo>
                    <a:pt x="7851748" y="3811397"/>
                  </a:moveTo>
                  <a:lnTo>
                    <a:pt x="7866654" y="3811397"/>
                  </a:lnTo>
                  <a:lnTo>
                    <a:pt x="7866654" y="4034377"/>
                  </a:lnTo>
                  <a:lnTo>
                    <a:pt x="7831366" y="4034377"/>
                  </a:lnTo>
                  <a:lnTo>
                    <a:pt x="7831366" y="3854593"/>
                  </a:lnTo>
                  <a:cubicBezTo>
                    <a:pt x="7824978" y="3859157"/>
                    <a:pt x="7818109" y="3863035"/>
                    <a:pt x="7810757" y="3866229"/>
                  </a:cubicBezTo>
                  <a:cubicBezTo>
                    <a:pt x="7803405" y="3869423"/>
                    <a:pt x="7795015" y="3872237"/>
                    <a:pt x="7785584" y="3874671"/>
                  </a:cubicBezTo>
                  <a:lnTo>
                    <a:pt x="7785584" y="3844555"/>
                  </a:lnTo>
                  <a:cubicBezTo>
                    <a:pt x="7791465" y="3842628"/>
                    <a:pt x="7797144" y="3840600"/>
                    <a:pt x="7802619" y="3838471"/>
                  </a:cubicBezTo>
                  <a:cubicBezTo>
                    <a:pt x="7808095" y="3836342"/>
                    <a:pt x="7813495" y="3833958"/>
                    <a:pt x="7818818" y="3831322"/>
                  </a:cubicBezTo>
                  <a:cubicBezTo>
                    <a:pt x="7824142" y="3828686"/>
                    <a:pt x="7829516" y="3825745"/>
                    <a:pt x="7834941" y="3822500"/>
                  </a:cubicBezTo>
                  <a:cubicBezTo>
                    <a:pt x="7840366" y="3819255"/>
                    <a:pt x="7845968" y="3815554"/>
                    <a:pt x="7851748" y="3811397"/>
                  </a:cubicBezTo>
                  <a:close/>
                  <a:moveTo>
                    <a:pt x="7413731" y="3811397"/>
                  </a:moveTo>
                  <a:lnTo>
                    <a:pt x="7428637" y="3811397"/>
                  </a:lnTo>
                  <a:lnTo>
                    <a:pt x="7428637" y="4034377"/>
                  </a:lnTo>
                  <a:lnTo>
                    <a:pt x="7393349" y="4034377"/>
                  </a:lnTo>
                  <a:lnTo>
                    <a:pt x="7393349" y="3854593"/>
                  </a:lnTo>
                  <a:cubicBezTo>
                    <a:pt x="7386961" y="3859157"/>
                    <a:pt x="7380092" y="3863035"/>
                    <a:pt x="7372740" y="3866229"/>
                  </a:cubicBezTo>
                  <a:cubicBezTo>
                    <a:pt x="7365388" y="3869423"/>
                    <a:pt x="7356998" y="3872237"/>
                    <a:pt x="7347567" y="3874671"/>
                  </a:cubicBezTo>
                  <a:lnTo>
                    <a:pt x="7347567" y="3844555"/>
                  </a:lnTo>
                  <a:cubicBezTo>
                    <a:pt x="7353448" y="3842628"/>
                    <a:pt x="7359127" y="3840600"/>
                    <a:pt x="7364602" y="3838471"/>
                  </a:cubicBezTo>
                  <a:cubicBezTo>
                    <a:pt x="7370078" y="3836342"/>
                    <a:pt x="7375478" y="3833958"/>
                    <a:pt x="7380801" y="3831322"/>
                  </a:cubicBezTo>
                  <a:cubicBezTo>
                    <a:pt x="7386125" y="3828686"/>
                    <a:pt x="7391499" y="3825745"/>
                    <a:pt x="7396924" y="3822500"/>
                  </a:cubicBezTo>
                  <a:cubicBezTo>
                    <a:pt x="7402349" y="3819255"/>
                    <a:pt x="7407951" y="3815554"/>
                    <a:pt x="7413731" y="3811397"/>
                  </a:cubicBezTo>
                  <a:close/>
                  <a:moveTo>
                    <a:pt x="7015147" y="3811397"/>
                  </a:moveTo>
                  <a:lnTo>
                    <a:pt x="7030053" y="3811397"/>
                  </a:lnTo>
                  <a:lnTo>
                    <a:pt x="7030053" y="4034377"/>
                  </a:lnTo>
                  <a:lnTo>
                    <a:pt x="6994765" y="4034377"/>
                  </a:lnTo>
                  <a:lnTo>
                    <a:pt x="6994765" y="3854593"/>
                  </a:lnTo>
                  <a:cubicBezTo>
                    <a:pt x="6988377" y="3859157"/>
                    <a:pt x="6981508" y="3863035"/>
                    <a:pt x="6974156" y="3866229"/>
                  </a:cubicBezTo>
                  <a:cubicBezTo>
                    <a:pt x="6966804" y="3869423"/>
                    <a:pt x="6958414" y="3872237"/>
                    <a:pt x="6948983" y="3874671"/>
                  </a:cubicBezTo>
                  <a:lnTo>
                    <a:pt x="6948983" y="3844555"/>
                  </a:lnTo>
                  <a:cubicBezTo>
                    <a:pt x="6954864" y="3842628"/>
                    <a:pt x="6960543" y="3840600"/>
                    <a:pt x="6966018" y="3838471"/>
                  </a:cubicBezTo>
                  <a:cubicBezTo>
                    <a:pt x="6971494" y="3836342"/>
                    <a:pt x="6976894" y="3833958"/>
                    <a:pt x="6982217" y="3831322"/>
                  </a:cubicBezTo>
                  <a:cubicBezTo>
                    <a:pt x="6987541" y="3828686"/>
                    <a:pt x="6992915" y="3825745"/>
                    <a:pt x="6998340" y="3822500"/>
                  </a:cubicBezTo>
                  <a:cubicBezTo>
                    <a:pt x="7003765" y="3819255"/>
                    <a:pt x="7009367" y="3815554"/>
                    <a:pt x="7015147" y="3811397"/>
                  </a:cubicBezTo>
                  <a:close/>
                  <a:moveTo>
                    <a:pt x="6727931" y="3811397"/>
                  </a:moveTo>
                  <a:lnTo>
                    <a:pt x="6742837" y="3811397"/>
                  </a:lnTo>
                  <a:lnTo>
                    <a:pt x="6742837" y="4034377"/>
                  </a:lnTo>
                  <a:lnTo>
                    <a:pt x="6707549" y="4034377"/>
                  </a:lnTo>
                  <a:lnTo>
                    <a:pt x="6707549" y="3854593"/>
                  </a:lnTo>
                  <a:cubicBezTo>
                    <a:pt x="6701161" y="3859157"/>
                    <a:pt x="6694292" y="3863035"/>
                    <a:pt x="6686940" y="3866229"/>
                  </a:cubicBezTo>
                  <a:cubicBezTo>
                    <a:pt x="6679588" y="3869423"/>
                    <a:pt x="6671198" y="3872237"/>
                    <a:pt x="6661767" y="3874671"/>
                  </a:cubicBezTo>
                  <a:lnTo>
                    <a:pt x="6661767" y="3844555"/>
                  </a:lnTo>
                  <a:cubicBezTo>
                    <a:pt x="6667648" y="3842628"/>
                    <a:pt x="6673327" y="3840600"/>
                    <a:pt x="6678802" y="3838471"/>
                  </a:cubicBezTo>
                  <a:cubicBezTo>
                    <a:pt x="6684278" y="3836342"/>
                    <a:pt x="6689678" y="3833958"/>
                    <a:pt x="6695001" y="3831322"/>
                  </a:cubicBezTo>
                  <a:cubicBezTo>
                    <a:pt x="6700325" y="3828686"/>
                    <a:pt x="6705699" y="3825745"/>
                    <a:pt x="6711124" y="3822500"/>
                  </a:cubicBezTo>
                  <a:cubicBezTo>
                    <a:pt x="6716549" y="3819255"/>
                    <a:pt x="6722151" y="3815554"/>
                    <a:pt x="6727931" y="3811397"/>
                  </a:cubicBezTo>
                  <a:close/>
                  <a:moveTo>
                    <a:pt x="6584323" y="3811397"/>
                  </a:moveTo>
                  <a:lnTo>
                    <a:pt x="6599229" y="3811397"/>
                  </a:lnTo>
                  <a:lnTo>
                    <a:pt x="6599229" y="4034377"/>
                  </a:lnTo>
                  <a:lnTo>
                    <a:pt x="6563941" y="4034377"/>
                  </a:lnTo>
                  <a:lnTo>
                    <a:pt x="6563941" y="3854593"/>
                  </a:lnTo>
                  <a:cubicBezTo>
                    <a:pt x="6557553" y="3859157"/>
                    <a:pt x="6550684" y="3863035"/>
                    <a:pt x="6543332" y="3866229"/>
                  </a:cubicBezTo>
                  <a:cubicBezTo>
                    <a:pt x="6535980" y="3869423"/>
                    <a:pt x="6527590" y="3872237"/>
                    <a:pt x="6518159" y="3874671"/>
                  </a:cubicBezTo>
                  <a:lnTo>
                    <a:pt x="6518159" y="3844555"/>
                  </a:lnTo>
                  <a:cubicBezTo>
                    <a:pt x="6524040" y="3842628"/>
                    <a:pt x="6529719" y="3840600"/>
                    <a:pt x="6535194" y="3838471"/>
                  </a:cubicBezTo>
                  <a:cubicBezTo>
                    <a:pt x="6540670" y="3836342"/>
                    <a:pt x="6546070" y="3833958"/>
                    <a:pt x="6551393" y="3831322"/>
                  </a:cubicBezTo>
                  <a:cubicBezTo>
                    <a:pt x="6556717" y="3828686"/>
                    <a:pt x="6562091" y="3825745"/>
                    <a:pt x="6567516" y="3822500"/>
                  </a:cubicBezTo>
                  <a:cubicBezTo>
                    <a:pt x="6572941" y="3819255"/>
                    <a:pt x="6578543" y="3815554"/>
                    <a:pt x="6584323" y="3811397"/>
                  </a:cubicBezTo>
                  <a:close/>
                  <a:moveTo>
                    <a:pt x="6373956" y="3811397"/>
                  </a:moveTo>
                  <a:cubicBezTo>
                    <a:pt x="6421401" y="3811397"/>
                    <a:pt x="6445123" y="3848259"/>
                    <a:pt x="6445123" y="3921984"/>
                  </a:cubicBezTo>
                  <a:cubicBezTo>
                    <a:pt x="6445123" y="3958496"/>
                    <a:pt x="6438428" y="3986355"/>
                    <a:pt x="6425037" y="4005564"/>
                  </a:cubicBezTo>
                  <a:cubicBezTo>
                    <a:pt x="6411646" y="4024772"/>
                    <a:pt x="6392914" y="4034377"/>
                    <a:pt x="6368840" y="4034377"/>
                  </a:cubicBezTo>
                  <a:cubicBezTo>
                    <a:pt x="6346372" y="4034377"/>
                    <a:pt x="6328843" y="4025199"/>
                    <a:pt x="6316255" y="4006843"/>
                  </a:cubicBezTo>
                  <a:cubicBezTo>
                    <a:pt x="6303666" y="3988487"/>
                    <a:pt x="6297372" y="3961956"/>
                    <a:pt x="6297372" y="3927250"/>
                  </a:cubicBezTo>
                  <a:cubicBezTo>
                    <a:pt x="6297372" y="3889134"/>
                    <a:pt x="6303942" y="3860296"/>
                    <a:pt x="6317082" y="3840736"/>
                  </a:cubicBezTo>
                  <a:cubicBezTo>
                    <a:pt x="6330223" y="3821177"/>
                    <a:pt x="6349180" y="3811397"/>
                    <a:pt x="6373956" y="3811397"/>
                  </a:cubicBezTo>
                  <a:close/>
                  <a:moveTo>
                    <a:pt x="5975659" y="3811397"/>
                  </a:moveTo>
                  <a:lnTo>
                    <a:pt x="5990568" y="3811397"/>
                  </a:lnTo>
                  <a:lnTo>
                    <a:pt x="5990568" y="4034377"/>
                  </a:lnTo>
                  <a:lnTo>
                    <a:pt x="5955278" y="4034377"/>
                  </a:lnTo>
                  <a:lnTo>
                    <a:pt x="5955278" y="3854593"/>
                  </a:lnTo>
                  <a:cubicBezTo>
                    <a:pt x="5948891" y="3859157"/>
                    <a:pt x="5942020" y="3863035"/>
                    <a:pt x="5934669" y="3866229"/>
                  </a:cubicBezTo>
                  <a:cubicBezTo>
                    <a:pt x="5927317" y="3869423"/>
                    <a:pt x="5918927" y="3872237"/>
                    <a:pt x="5909498" y="3874671"/>
                  </a:cubicBezTo>
                  <a:lnTo>
                    <a:pt x="5909498" y="3844555"/>
                  </a:lnTo>
                  <a:cubicBezTo>
                    <a:pt x="5915377" y="3842628"/>
                    <a:pt x="5921055" y="3840600"/>
                    <a:pt x="5926531" y="3838471"/>
                  </a:cubicBezTo>
                  <a:cubicBezTo>
                    <a:pt x="5932007" y="3836342"/>
                    <a:pt x="5937407" y="3833958"/>
                    <a:pt x="5942730" y="3831322"/>
                  </a:cubicBezTo>
                  <a:cubicBezTo>
                    <a:pt x="5948054" y="3828686"/>
                    <a:pt x="5953429" y="3825745"/>
                    <a:pt x="5958852" y="3822500"/>
                  </a:cubicBezTo>
                  <a:cubicBezTo>
                    <a:pt x="5964279" y="3819255"/>
                    <a:pt x="5969881" y="3815554"/>
                    <a:pt x="5975659" y="3811397"/>
                  </a:cubicBezTo>
                  <a:close/>
                  <a:moveTo>
                    <a:pt x="5786272" y="3811397"/>
                  </a:moveTo>
                  <a:cubicBezTo>
                    <a:pt x="5833719" y="3811397"/>
                    <a:pt x="5857440" y="3848259"/>
                    <a:pt x="5857440" y="3921984"/>
                  </a:cubicBezTo>
                  <a:cubicBezTo>
                    <a:pt x="5857440" y="3958496"/>
                    <a:pt x="5850744" y="3986355"/>
                    <a:pt x="5837355" y="4005564"/>
                  </a:cubicBezTo>
                  <a:cubicBezTo>
                    <a:pt x="5823963" y="4024772"/>
                    <a:pt x="5805230" y="4034377"/>
                    <a:pt x="5781158" y="4034377"/>
                  </a:cubicBezTo>
                  <a:cubicBezTo>
                    <a:pt x="5758689" y="4034377"/>
                    <a:pt x="5741161" y="4025199"/>
                    <a:pt x="5728572" y="4006843"/>
                  </a:cubicBezTo>
                  <a:cubicBezTo>
                    <a:pt x="5715984" y="3988487"/>
                    <a:pt x="5709690" y="3961956"/>
                    <a:pt x="5709690" y="3927250"/>
                  </a:cubicBezTo>
                  <a:cubicBezTo>
                    <a:pt x="5709690" y="3889134"/>
                    <a:pt x="5716259" y="3860296"/>
                    <a:pt x="5729400" y="3840736"/>
                  </a:cubicBezTo>
                  <a:cubicBezTo>
                    <a:pt x="5742540" y="3821177"/>
                    <a:pt x="5761498" y="3811397"/>
                    <a:pt x="5786272" y="3811397"/>
                  </a:cubicBezTo>
                  <a:close/>
                  <a:moveTo>
                    <a:pt x="5093284" y="3811397"/>
                  </a:moveTo>
                  <a:cubicBezTo>
                    <a:pt x="5140729" y="3811397"/>
                    <a:pt x="5164451" y="3848259"/>
                    <a:pt x="5164451" y="3921984"/>
                  </a:cubicBezTo>
                  <a:cubicBezTo>
                    <a:pt x="5164451" y="3958496"/>
                    <a:pt x="5157756" y="3986355"/>
                    <a:pt x="5144364" y="4005564"/>
                  </a:cubicBezTo>
                  <a:cubicBezTo>
                    <a:pt x="5130974" y="4024772"/>
                    <a:pt x="5112242" y="4034377"/>
                    <a:pt x="5088168" y="4034377"/>
                  </a:cubicBezTo>
                  <a:cubicBezTo>
                    <a:pt x="5065701" y="4034377"/>
                    <a:pt x="5048170" y="4025199"/>
                    <a:pt x="5035583" y="4006843"/>
                  </a:cubicBezTo>
                  <a:cubicBezTo>
                    <a:pt x="5022994" y="3988487"/>
                    <a:pt x="5016700" y="3961956"/>
                    <a:pt x="5016700" y="3927250"/>
                  </a:cubicBezTo>
                  <a:cubicBezTo>
                    <a:pt x="5016700" y="3889134"/>
                    <a:pt x="5023271" y="3860296"/>
                    <a:pt x="5036410" y="3840736"/>
                  </a:cubicBezTo>
                  <a:cubicBezTo>
                    <a:pt x="5049553" y="3821177"/>
                    <a:pt x="5068509" y="3811397"/>
                    <a:pt x="5093284" y="3811397"/>
                  </a:cubicBezTo>
                  <a:close/>
                  <a:moveTo>
                    <a:pt x="4694968" y="3811397"/>
                  </a:moveTo>
                  <a:lnTo>
                    <a:pt x="4709876" y="3811397"/>
                  </a:lnTo>
                  <a:lnTo>
                    <a:pt x="4709876" y="4034377"/>
                  </a:lnTo>
                  <a:lnTo>
                    <a:pt x="4674589" y="4034377"/>
                  </a:lnTo>
                  <a:lnTo>
                    <a:pt x="4674589" y="3854593"/>
                  </a:lnTo>
                  <a:cubicBezTo>
                    <a:pt x="4668200" y="3859157"/>
                    <a:pt x="4661331" y="3863035"/>
                    <a:pt x="4653978" y="3866229"/>
                  </a:cubicBezTo>
                  <a:cubicBezTo>
                    <a:pt x="4646628" y="3869423"/>
                    <a:pt x="4638236" y="3872237"/>
                    <a:pt x="4628805" y="3874671"/>
                  </a:cubicBezTo>
                  <a:lnTo>
                    <a:pt x="4628805" y="3844555"/>
                  </a:lnTo>
                  <a:cubicBezTo>
                    <a:pt x="4634687" y="3842628"/>
                    <a:pt x="4640364" y="3840600"/>
                    <a:pt x="4645841" y="3838471"/>
                  </a:cubicBezTo>
                  <a:cubicBezTo>
                    <a:pt x="4651316" y="3836342"/>
                    <a:pt x="4656717" y="3833958"/>
                    <a:pt x="4662040" y="3831322"/>
                  </a:cubicBezTo>
                  <a:cubicBezTo>
                    <a:pt x="4667363" y="3828686"/>
                    <a:pt x="4672738" y="3825745"/>
                    <a:pt x="4678162" y="3822500"/>
                  </a:cubicBezTo>
                  <a:cubicBezTo>
                    <a:pt x="4683588" y="3819255"/>
                    <a:pt x="4689190" y="3815554"/>
                    <a:pt x="4694968" y="3811397"/>
                  </a:cubicBezTo>
                  <a:close/>
                  <a:moveTo>
                    <a:pt x="4345906" y="3811397"/>
                  </a:moveTo>
                  <a:lnTo>
                    <a:pt x="4360813" y="3811397"/>
                  </a:lnTo>
                  <a:lnTo>
                    <a:pt x="4360813" y="4034377"/>
                  </a:lnTo>
                  <a:lnTo>
                    <a:pt x="4325525" y="4034377"/>
                  </a:lnTo>
                  <a:lnTo>
                    <a:pt x="4325525" y="3854593"/>
                  </a:lnTo>
                  <a:cubicBezTo>
                    <a:pt x="4319138" y="3859157"/>
                    <a:pt x="4312268" y="3863035"/>
                    <a:pt x="4304915" y="3866229"/>
                  </a:cubicBezTo>
                  <a:cubicBezTo>
                    <a:pt x="4297564" y="3869423"/>
                    <a:pt x="4289174" y="3872237"/>
                    <a:pt x="4279743" y="3874671"/>
                  </a:cubicBezTo>
                  <a:lnTo>
                    <a:pt x="4279743" y="3844555"/>
                  </a:lnTo>
                  <a:cubicBezTo>
                    <a:pt x="4285625" y="3842628"/>
                    <a:pt x="4291302" y="3840600"/>
                    <a:pt x="4296778" y="3838471"/>
                  </a:cubicBezTo>
                  <a:cubicBezTo>
                    <a:pt x="4302254" y="3836342"/>
                    <a:pt x="4307653" y="3833958"/>
                    <a:pt x="4312977" y="3831322"/>
                  </a:cubicBezTo>
                  <a:cubicBezTo>
                    <a:pt x="4318300" y="3828686"/>
                    <a:pt x="4323675" y="3825745"/>
                    <a:pt x="4329099" y="3822500"/>
                  </a:cubicBezTo>
                  <a:cubicBezTo>
                    <a:pt x="4334525" y="3819255"/>
                    <a:pt x="4340127" y="3815554"/>
                    <a:pt x="4345906" y="3811397"/>
                  </a:cubicBezTo>
                  <a:close/>
                  <a:moveTo>
                    <a:pt x="3839047" y="3811397"/>
                  </a:moveTo>
                  <a:cubicBezTo>
                    <a:pt x="3886491" y="3811397"/>
                    <a:pt x="3910214" y="3848259"/>
                    <a:pt x="3910214" y="3921984"/>
                  </a:cubicBezTo>
                  <a:cubicBezTo>
                    <a:pt x="3910214" y="3958496"/>
                    <a:pt x="3903519" y="3986355"/>
                    <a:pt x="3890128" y="4005564"/>
                  </a:cubicBezTo>
                  <a:cubicBezTo>
                    <a:pt x="3876737" y="4024772"/>
                    <a:pt x="3858005" y="4034377"/>
                    <a:pt x="3833931" y="4034377"/>
                  </a:cubicBezTo>
                  <a:cubicBezTo>
                    <a:pt x="3811463" y="4034377"/>
                    <a:pt x="3793934" y="4025199"/>
                    <a:pt x="3781346" y="4006843"/>
                  </a:cubicBezTo>
                  <a:cubicBezTo>
                    <a:pt x="3768757" y="3988487"/>
                    <a:pt x="3762464" y="3961956"/>
                    <a:pt x="3762464" y="3927250"/>
                  </a:cubicBezTo>
                  <a:cubicBezTo>
                    <a:pt x="3762464" y="3889134"/>
                    <a:pt x="3769034" y="3860296"/>
                    <a:pt x="3782173" y="3840736"/>
                  </a:cubicBezTo>
                  <a:cubicBezTo>
                    <a:pt x="3795313" y="3821177"/>
                    <a:pt x="3814271" y="3811397"/>
                    <a:pt x="3839047" y="3811397"/>
                  </a:cubicBezTo>
                  <a:close/>
                  <a:moveTo>
                    <a:pt x="3616537" y="3811397"/>
                  </a:moveTo>
                  <a:cubicBezTo>
                    <a:pt x="3663981" y="3811397"/>
                    <a:pt x="3687703" y="3848259"/>
                    <a:pt x="3687703" y="3921984"/>
                  </a:cubicBezTo>
                  <a:cubicBezTo>
                    <a:pt x="3687703" y="3958496"/>
                    <a:pt x="3681008" y="3986355"/>
                    <a:pt x="3667617" y="4005564"/>
                  </a:cubicBezTo>
                  <a:cubicBezTo>
                    <a:pt x="3654226" y="4024772"/>
                    <a:pt x="3635494" y="4034377"/>
                    <a:pt x="3611420" y="4034377"/>
                  </a:cubicBezTo>
                  <a:cubicBezTo>
                    <a:pt x="3588952" y="4034377"/>
                    <a:pt x="3571422" y="4025199"/>
                    <a:pt x="3558835" y="4006843"/>
                  </a:cubicBezTo>
                  <a:cubicBezTo>
                    <a:pt x="3546246" y="3988487"/>
                    <a:pt x="3539952" y="3961956"/>
                    <a:pt x="3539952" y="3927250"/>
                  </a:cubicBezTo>
                  <a:cubicBezTo>
                    <a:pt x="3539952" y="3889134"/>
                    <a:pt x="3546522" y="3860296"/>
                    <a:pt x="3559662" y="3840736"/>
                  </a:cubicBezTo>
                  <a:cubicBezTo>
                    <a:pt x="3572804" y="3821177"/>
                    <a:pt x="3591760" y="3811397"/>
                    <a:pt x="3616537" y="3811397"/>
                  </a:cubicBezTo>
                  <a:close/>
                  <a:moveTo>
                    <a:pt x="3454863" y="3811397"/>
                  </a:moveTo>
                  <a:lnTo>
                    <a:pt x="3469768" y="3811397"/>
                  </a:lnTo>
                  <a:lnTo>
                    <a:pt x="3469768" y="4034377"/>
                  </a:lnTo>
                  <a:lnTo>
                    <a:pt x="3434481" y="4034377"/>
                  </a:lnTo>
                  <a:lnTo>
                    <a:pt x="3434481" y="3854593"/>
                  </a:lnTo>
                  <a:cubicBezTo>
                    <a:pt x="3428092" y="3859157"/>
                    <a:pt x="3421223" y="3863035"/>
                    <a:pt x="3413872" y="3866229"/>
                  </a:cubicBezTo>
                  <a:cubicBezTo>
                    <a:pt x="3406519" y="3869423"/>
                    <a:pt x="3398129" y="3872237"/>
                    <a:pt x="3388698" y="3874671"/>
                  </a:cubicBezTo>
                  <a:lnTo>
                    <a:pt x="3388698" y="3844555"/>
                  </a:lnTo>
                  <a:cubicBezTo>
                    <a:pt x="3394580" y="3842628"/>
                    <a:pt x="3400259" y="3840600"/>
                    <a:pt x="3405734" y="3838471"/>
                  </a:cubicBezTo>
                  <a:cubicBezTo>
                    <a:pt x="3411209" y="3836342"/>
                    <a:pt x="3416609" y="3833958"/>
                    <a:pt x="3421933" y="3831322"/>
                  </a:cubicBezTo>
                  <a:cubicBezTo>
                    <a:pt x="3427256" y="3828686"/>
                    <a:pt x="3432632" y="3825745"/>
                    <a:pt x="3438054" y="3822500"/>
                  </a:cubicBezTo>
                  <a:cubicBezTo>
                    <a:pt x="3443480" y="3819255"/>
                    <a:pt x="3449083" y="3815554"/>
                    <a:pt x="3454863" y="3811397"/>
                  </a:cubicBezTo>
                  <a:close/>
                  <a:moveTo>
                    <a:pt x="3158682" y="3811397"/>
                  </a:moveTo>
                  <a:lnTo>
                    <a:pt x="3173587" y="3811397"/>
                  </a:lnTo>
                  <a:lnTo>
                    <a:pt x="3173587" y="4034377"/>
                  </a:lnTo>
                  <a:lnTo>
                    <a:pt x="3138299" y="4034377"/>
                  </a:lnTo>
                  <a:lnTo>
                    <a:pt x="3138299" y="3854593"/>
                  </a:lnTo>
                  <a:cubicBezTo>
                    <a:pt x="3131912" y="3859157"/>
                    <a:pt x="3125042" y="3863035"/>
                    <a:pt x="3117690" y="3866229"/>
                  </a:cubicBezTo>
                  <a:cubicBezTo>
                    <a:pt x="3110339" y="3869423"/>
                    <a:pt x="3101948" y="3872237"/>
                    <a:pt x="3092517" y="3874671"/>
                  </a:cubicBezTo>
                  <a:lnTo>
                    <a:pt x="3092517" y="3844555"/>
                  </a:lnTo>
                  <a:cubicBezTo>
                    <a:pt x="3098398" y="3842628"/>
                    <a:pt x="3104077" y="3840600"/>
                    <a:pt x="3109553" y="3838471"/>
                  </a:cubicBezTo>
                  <a:cubicBezTo>
                    <a:pt x="3115028" y="3836342"/>
                    <a:pt x="3120428" y="3833958"/>
                    <a:pt x="3125751" y="3831322"/>
                  </a:cubicBezTo>
                  <a:cubicBezTo>
                    <a:pt x="3131075" y="3828686"/>
                    <a:pt x="3136449" y="3825745"/>
                    <a:pt x="3141875" y="3822500"/>
                  </a:cubicBezTo>
                  <a:cubicBezTo>
                    <a:pt x="3147300" y="3819255"/>
                    <a:pt x="3152901" y="3815554"/>
                    <a:pt x="3158682" y="3811397"/>
                  </a:cubicBezTo>
                  <a:close/>
                  <a:moveTo>
                    <a:pt x="2783382" y="3811397"/>
                  </a:moveTo>
                  <a:lnTo>
                    <a:pt x="2798288" y="3811397"/>
                  </a:lnTo>
                  <a:lnTo>
                    <a:pt x="2798288" y="4034377"/>
                  </a:lnTo>
                  <a:lnTo>
                    <a:pt x="2763000" y="4034377"/>
                  </a:lnTo>
                  <a:lnTo>
                    <a:pt x="2763000" y="3854593"/>
                  </a:lnTo>
                  <a:cubicBezTo>
                    <a:pt x="2756612" y="3859157"/>
                    <a:pt x="2749742" y="3863035"/>
                    <a:pt x="2742391" y="3866229"/>
                  </a:cubicBezTo>
                  <a:cubicBezTo>
                    <a:pt x="2735039" y="3869423"/>
                    <a:pt x="2726649" y="3872237"/>
                    <a:pt x="2717219" y="3874671"/>
                  </a:cubicBezTo>
                  <a:lnTo>
                    <a:pt x="2717219" y="3844555"/>
                  </a:lnTo>
                  <a:cubicBezTo>
                    <a:pt x="2723100" y="3842628"/>
                    <a:pt x="2728778" y="3840600"/>
                    <a:pt x="2734253" y="3838471"/>
                  </a:cubicBezTo>
                  <a:cubicBezTo>
                    <a:pt x="2739729" y="3836342"/>
                    <a:pt x="2745129" y="3833958"/>
                    <a:pt x="2750453" y="3831322"/>
                  </a:cubicBezTo>
                  <a:cubicBezTo>
                    <a:pt x="2755776" y="3828686"/>
                    <a:pt x="2761151" y="3825745"/>
                    <a:pt x="2766576" y="3822500"/>
                  </a:cubicBezTo>
                  <a:cubicBezTo>
                    <a:pt x="2772000" y="3819255"/>
                    <a:pt x="2777603" y="3815554"/>
                    <a:pt x="2783382" y="3811397"/>
                  </a:cubicBezTo>
                  <a:close/>
                  <a:moveTo>
                    <a:pt x="2489154" y="3811397"/>
                  </a:moveTo>
                  <a:lnTo>
                    <a:pt x="2504060" y="3811397"/>
                  </a:lnTo>
                  <a:lnTo>
                    <a:pt x="2504060" y="4034377"/>
                  </a:lnTo>
                  <a:lnTo>
                    <a:pt x="2468772" y="4034377"/>
                  </a:lnTo>
                  <a:lnTo>
                    <a:pt x="2468772" y="3854593"/>
                  </a:lnTo>
                  <a:cubicBezTo>
                    <a:pt x="2462385" y="3859157"/>
                    <a:pt x="2455514" y="3863035"/>
                    <a:pt x="2448163" y="3866229"/>
                  </a:cubicBezTo>
                  <a:cubicBezTo>
                    <a:pt x="2440812" y="3869423"/>
                    <a:pt x="2432420" y="3872237"/>
                    <a:pt x="2422990" y="3874671"/>
                  </a:cubicBezTo>
                  <a:lnTo>
                    <a:pt x="2422990" y="3844555"/>
                  </a:lnTo>
                  <a:cubicBezTo>
                    <a:pt x="2428871" y="3842628"/>
                    <a:pt x="2434551" y="3840600"/>
                    <a:pt x="2440025" y="3838471"/>
                  </a:cubicBezTo>
                  <a:cubicBezTo>
                    <a:pt x="2445502" y="3836342"/>
                    <a:pt x="2450900" y="3833958"/>
                    <a:pt x="2456224" y="3831322"/>
                  </a:cubicBezTo>
                  <a:cubicBezTo>
                    <a:pt x="2461549" y="3828686"/>
                    <a:pt x="2466922" y="3825745"/>
                    <a:pt x="2472346" y="3822500"/>
                  </a:cubicBezTo>
                  <a:cubicBezTo>
                    <a:pt x="2477772" y="3819255"/>
                    <a:pt x="2483374" y="3815554"/>
                    <a:pt x="2489154" y="3811397"/>
                  </a:cubicBezTo>
                  <a:close/>
                  <a:moveTo>
                    <a:pt x="1599916" y="3811397"/>
                  </a:moveTo>
                  <a:lnTo>
                    <a:pt x="1614822" y="3811397"/>
                  </a:lnTo>
                  <a:lnTo>
                    <a:pt x="1614822" y="4034377"/>
                  </a:lnTo>
                  <a:lnTo>
                    <a:pt x="1579534" y="4034377"/>
                  </a:lnTo>
                  <a:lnTo>
                    <a:pt x="1579534" y="3854593"/>
                  </a:lnTo>
                  <a:cubicBezTo>
                    <a:pt x="1573146" y="3859157"/>
                    <a:pt x="1566276" y="3863035"/>
                    <a:pt x="1558925" y="3866229"/>
                  </a:cubicBezTo>
                  <a:cubicBezTo>
                    <a:pt x="1551573" y="3869423"/>
                    <a:pt x="1543182" y="3872237"/>
                    <a:pt x="1533752" y="3874671"/>
                  </a:cubicBezTo>
                  <a:lnTo>
                    <a:pt x="1533752" y="3844555"/>
                  </a:lnTo>
                  <a:cubicBezTo>
                    <a:pt x="1539633" y="3842628"/>
                    <a:pt x="1545312" y="3840600"/>
                    <a:pt x="1550787" y="3838471"/>
                  </a:cubicBezTo>
                  <a:cubicBezTo>
                    <a:pt x="1556263" y="3836342"/>
                    <a:pt x="1561663" y="3833958"/>
                    <a:pt x="1566986" y="3831322"/>
                  </a:cubicBezTo>
                  <a:cubicBezTo>
                    <a:pt x="1572310" y="3828686"/>
                    <a:pt x="1577684" y="3825745"/>
                    <a:pt x="1583109" y="3822500"/>
                  </a:cubicBezTo>
                  <a:cubicBezTo>
                    <a:pt x="1588534" y="3819255"/>
                    <a:pt x="1594136" y="3815554"/>
                    <a:pt x="1599916" y="3811397"/>
                  </a:cubicBezTo>
                  <a:close/>
                  <a:moveTo>
                    <a:pt x="1302202" y="3811397"/>
                  </a:moveTo>
                  <a:lnTo>
                    <a:pt x="1317108" y="3811397"/>
                  </a:lnTo>
                  <a:lnTo>
                    <a:pt x="1317108" y="4034377"/>
                  </a:lnTo>
                  <a:lnTo>
                    <a:pt x="1281820" y="4034377"/>
                  </a:lnTo>
                  <a:lnTo>
                    <a:pt x="1281820" y="3854593"/>
                  </a:lnTo>
                  <a:cubicBezTo>
                    <a:pt x="1275432" y="3859157"/>
                    <a:pt x="1268562" y="3863035"/>
                    <a:pt x="1261211" y="3866229"/>
                  </a:cubicBezTo>
                  <a:cubicBezTo>
                    <a:pt x="1253859" y="3869423"/>
                    <a:pt x="1245468" y="3872237"/>
                    <a:pt x="1236038" y="3874671"/>
                  </a:cubicBezTo>
                  <a:lnTo>
                    <a:pt x="1236038" y="3844555"/>
                  </a:lnTo>
                  <a:cubicBezTo>
                    <a:pt x="1241919" y="3842628"/>
                    <a:pt x="1247598" y="3840600"/>
                    <a:pt x="1253073" y="3838471"/>
                  </a:cubicBezTo>
                  <a:cubicBezTo>
                    <a:pt x="1258549" y="3836342"/>
                    <a:pt x="1263949" y="3833958"/>
                    <a:pt x="1269272" y="3831322"/>
                  </a:cubicBezTo>
                  <a:cubicBezTo>
                    <a:pt x="1274596" y="3828686"/>
                    <a:pt x="1279970" y="3825745"/>
                    <a:pt x="1285395" y="3822500"/>
                  </a:cubicBezTo>
                  <a:cubicBezTo>
                    <a:pt x="1290820" y="3819255"/>
                    <a:pt x="1296422" y="3815554"/>
                    <a:pt x="1302202" y="3811397"/>
                  </a:cubicBezTo>
                  <a:close/>
                  <a:moveTo>
                    <a:pt x="927321" y="3811397"/>
                  </a:moveTo>
                  <a:lnTo>
                    <a:pt x="942227" y="3811397"/>
                  </a:lnTo>
                  <a:lnTo>
                    <a:pt x="942227" y="4034377"/>
                  </a:lnTo>
                  <a:lnTo>
                    <a:pt x="906939" y="4034377"/>
                  </a:lnTo>
                  <a:lnTo>
                    <a:pt x="906939" y="3854593"/>
                  </a:lnTo>
                  <a:cubicBezTo>
                    <a:pt x="900551" y="3859157"/>
                    <a:pt x="893681" y="3863035"/>
                    <a:pt x="886330" y="3866229"/>
                  </a:cubicBezTo>
                  <a:cubicBezTo>
                    <a:pt x="878978" y="3869423"/>
                    <a:pt x="870587" y="3872237"/>
                    <a:pt x="861157" y="3874671"/>
                  </a:cubicBezTo>
                  <a:lnTo>
                    <a:pt x="861157" y="3844555"/>
                  </a:lnTo>
                  <a:cubicBezTo>
                    <a:pt x="867038" y="3842628"/>
                    <a:pt x="872717" y="3840600"/>
                    <a:pt x="878192" y="3838471"/>
                  </a:cubicBezTo>
                  <a:cubicBezTo>
                    <a:pt x="883668" y="3836342"/>
                    <a:pt x="889068" y="3833958"/>
                    <a:pt x="894391" y="3831322"/>
                  </a:cubicBezTo>
                  <a:cubicBezTo>
                    <a:pt x="899715" y="3828686"/>
                    <a:pt x="905089" y="3825745"/>
                    <a:pt x="910514" y="3822500"/>
                  </a:cubicBezTo>
                  <a:cubicBezTo>
                    <a:pt x="915939" y="3819255"/>
                    <a:pt x="921541" y="3815554"/>
                    <a:pt x="927321" y="3811397"/>
                  </a:cubicBezTo>
                  <a:close/>
                  <a:moveTo>
                    <a:pt x="778464" y="3811397"/>
                  </a:moveTo>
                  <a:lnTo>
                    <a:pt x="793370" y="3811397"/>
                  </a:lnTo>
                  <a:lnTo>
                    <a:pt x="793370" y="4034377"/>
                  </a:lnTo>
                  <a:lnTo>
                    <a:pt x="758082" y="4034377"/>
                  </a:lnTo>
                  <a:lnTo>
                    <a:pt x="758082" y="3854593"/>
                  </a:lnTo>
                  <a:cubicBezTo>
                    <a:pt x="751694" y="3859157"/>
                    <a:pt x="744824" y="3863035"/>
                    <a:pt x="737473" y="3866229"/>
                  </a:cubicBezTo>
                  <a:cubicBezTo>
                    <a:pt x="730121" y="3869423"/>
                    <a:pt x="721730" y="3872237"/>
                    <a:pt x="712300" y="3874671"/>
                  </a:cubicBezTo>
                  <a:lnTo>
                    <a:pt x="712300" y="3844555"/>
                  </a:lnTo>
                  <a:cubicBezTo>
                    <a:pt x="718181" y="3842628"/>
                    <a:pt x="723860" y="3840600"/>
                    <a:pt x="729335" y="3838471"/>
                  </a:cubicBezTo>
                  <a:cubicBezTo>
                    <a:pt x="734811" y="3836342"/>
                    <a:pt x="740211" y="3833958"/>
                    <a:pt x="745535" y="3831322"/>
                  </a:cubicBezTo>
                  <a:cubicBezTo>
                    <a:pt x="750858" y="3828686"/>
                    <a:pt x="756232" y="3825745"/>
                    <a:pt x="761657" y="3822500"/>
                  </a:cubicBezTo>
                  <a:cubicBezTo>
                    <a:pt x="767082" y="3819255"/>
                    <a:pt x="772684" y="3815554"/>
                    <a:pt x="778464" y="3811397"/>
                  </a:cubicBezTo>
                  <a:close/>
                  <a:moveTo>
                    <a:pt x="629607" y="3811397"/>
                  </a:moveTo>
                  <a:lnTo>
                    <a:pt x="644513" y="3811397"/>
                  </a:lnTo>
                  <a:lnTo>
                    <a:pt x="644513" y="4034377"/>
                  </a:lnTo>
                  <a:lnTo>
                    <a:pt x="609225" y="4034377"/>
                  </a:lnTo>
                  <a:lnTo>
                    <a:pt x="609225" y="3854593"/>
                  </a:lnTo>
                  <a:cubicBezTo>
                    <a:pt x="602837" y="3859157"/>
                    <a:pt x="595967" y="3863035"/>
                    <a:pt x="588616" y="3866229"/>
                  </a:cubicBezTo>
                  <a:cubicBezTo>
                    <a:pt x="581264" y="3869423"/>
                    <a:pt x="572873" y="3872237"/>
                    <a:pt x="563443" y="3874671"/>
                  </a:cubicBezTo>
                  <a:lnTo>
                    <a:pt x="563443" y="3844555"/>
                  </a:lnTo>
                  <a:cubicBezTo>
                    <a:pt x="569324" y="3842628"/>
                    <a:pt x="575003" y="3840600"/>
                    <a:pt x="580478" y="3838471"/>
                  </a:cubicBezTo>
                  <a:cubicBezTo>
                    <a:pt x="585954" y="3836342"/>
                    <a:pt x="591354" y="3833958"/>
                    <a:pt x="596677" y="3831322"/>
                  </a:cubicBezTo>
                  <a:cubicBezTo>
                    <a:pt x="602001" y="3828686"/>
                    <a:pt x="607375" y="3825745"/>
                    <a:pt x="612800" y="3822500"/>
                  </a:cubicBezTo>
                  <a:cubicBezTo>
                    <a:pt x="618225" y="3819255"/>
                    <a:pt x="623827" y="3815554"/>
                    <a:pt x="629607" y="3811397"/>
                  </a:cubicBezTo>
                  <a:close/>
                  <a:moveTo>
                    <a:pt x="480750" y="3811397"/>
                  </a:moveTo>
                  <a:lnTo>
                    <a:pt x="495656" y="3811397"/>
                  </a:lnTo>
                  <a:lnTo>
                    <a:pt x="495656" y="4034377"/>
                  </a:lnTo>
                  <a:lnTo>
                    <a:pt x="460368" y="4034377"/>
                  </a:lnTo>
                  <a:lnTo>
                    <a:pt x="460368" y="3854593"/>
                  </a:lnTo>
                  <a:cubicBezTo>
                    <a:pt x="453980" y="3859157"/>
                    <a:pt x="447110" y="3863035"/>
                    <a:pt x="439759" y="3866229"/>
                  </a:cubicBezTo>
                  <a:cubicBezTo>
                    <a:pt x="432407" y="3869423"/>
                    <a:pt x="424016" y="3872237"/>
                    <a:pt x="414586" y="3874671"/>
                  </a:cubicBezTo>
                  <a:lnTo>
                    <a:pt x="414586" y="3844555"/>
                  </a:lnTo>
                  <a:cubicBezTo>
                    <a:pt x="420467" y="3842628"/>
                    <a:pt x="426146" y="3840600"/>
                    <a:pt x="431621" y="3838471"/>
                  </a:cubicBezTo>
                  <a:cubicBezTo>
                    <a:pt x="437097" y="3836342"/>
                    <a:pt x="442497" y="3833958"/>
                    <a:pt x="447821" y="3831322"/>
                  </a:cubicBezTo>
                  <a:cubicBezTo>
                    <a:pt x="453144" y="3828686"/>
                    <a:pt x="458518" y="3825745"/>
                    <a:pt x="463943" y="3822500"/>
                  </a:cubicBezTo>
                  <a:cubicBezTo>
                    <a:pt x="469368" y="3819255"/>
                    <a:pt x="474970" y="3815554"/>
                    <a:pt x="480750" y="3811397"/>
                  </a:cubicBezTo>
                  <a:close/>
                  <a:moveTo>
                    <a:pt x="11874294" y="3510985"/>
                  </a:moveTo>
                  <a:cubicBezTo>
                    <a:pt x="11848114" y="3510985"/>
                    <a:pt x="11835024" y="3539823"/>
                    <a:pt x="11835024" y="3597499"/>
                  </a:cubicBezTo>
                  <a:cubicBezTo>
                    <a:pt x="11835024" y="3651463"/>
                    <a:pt x="11847863" y="3678445"/>
                    <a:pt x="11873542" y="3678445"/>
                  </a:cubicBezTo>
                  <a:cubicBezTo>
                    <a:pt x="11898818" y="3678445"/>
                    <a:pt x="11911457" y="3651012"/>
                    <a:pt x="11911457" y="3596144"/>
                  </a:cubicBezTo>
                  <a:cubicBezTo>
                    <a:pt x="11911457" y="3539371"/>
                    <a:pt x="11899069" y="3510985"/>
                    <a:pt x="11874294" y="3510985"/>
                  </a:cubicBezTo>
                  <a:close/>
                  <a:moveTo>
                    <a:pt x="11189148" y="3510985"/>
                  </a:moveTo>
                  <a:cubicBezTo>
                    <a:pt x="11162968" y="3510985"/>
                    <a:pt x="11149878" y="3539823"/>
                    <a:pt x="11149878" y="3597499"/>
                  </a:cubicBezTo>
                  <a:cubicBezTo>
                    <a:pt x="11149878" y="3651463"/>
                    <a:pt x="11162717" y="3678445"/>
                    <a:pt x="11188396" y="3678445"/>
                  </a:cubicBezTo>
                  <a:cubicBezTo>
                    <a:pt x="11213672" y="3678445"/>
                    <a:pt x="11226311" y="3651012"/>
                    <a:pt x="11226311" y="3596144"/>
                  </a:cubicBezTo>
                  <a:cubicBezTo>
                    <a:pt x="11226311" y="3539371"/>
                    <a:pt x="11213923" y="3510985"/>
                    <a:pt x="11189148" y="3510985"/>
                  </a:cubicBezTo>
                  <a:close/>
                  <a:moveTo>
                    <a:pt x="9936214" y="3510985"/>
                  </a:moveTo>
                  <a:cubicBezTo>
                    <a:pt x="9910034" y="3510985"/>
                    <a:pt x="9896944" y="3539823"/>
                    <a:pt x="9896944" y="3597499"/>
                  </a:cubicBezTo>
                  <a:cubicBezTo>
                    <a:pt x="9896944" y="3651463"/>
                    <a:pt x="9909783" y="3678445"/>
                    <a:pt x="9935462" y="3678445"/>
                  </a:cubicBezTo>
                  <a:cubicBezTo>
                    <a:pt x="9960738" y="3678445"/>
                    <a:pt x="9973377" y="3651012"/>
                    <a:pt x="9973377" y="3596144"/>
                  </a:cubicBezTo>
                  <a:cubicBezTo>
                    <a:pt x="9973377" y="3539371"/>
                    <a:pt x="9960989" y="3510985"/>
                    <a:pt x="9936214" y="3510985"/>
                  </a:cubicBezTo>
                  <a:close/>
                  <a:moveTo>
                    <a:pt x="9713703" y="3510985"/>
                  </a:moveTo>
                  <a:cubicBezTo>
                    <a:pt x="9687523" y="3510985"/>
                    <a:pt x="9674433" y="3539823"/>
                    <a:pt x="9674433" y="3597499"/>
                  </a:cubicBezTo>
                  <a:cubicBezTo>
                    <a:pt x="9674433" y="3651463"/>
                    <a:pt x="9687272" y="3678445"/>
                    <a:pt x="9712951" y="3678445"/>
                  </a:cubicBezTo>
                  <a:cubicBezTo>
                    <a:pt x="9738227" y="3678445"/>
                    <a:pt x="9750866" y="3651012"/>
                    <a:pt x="9750866" y="3596144"/>
                  </a:cubicBezTo>
                  <a:cubicBezTo>
                    <a:pt x="9750866" y="3539371"/>
                    <a:pt x="9738478" y="3510985"/>
                    <a:pt x="9713703" y="3510985"/>
                  </a:cubicBezTo>
                  <a:close/>
                  <a:moveTo>
                    <a:pt x="6372301" y="3510985"/>
                  </a:moveTo>
                  <a:cubicBezTo>
                    <a:pt x="6346121" y="3510985"/>
                    <a:pt x="6333031" y="3539823"/>
                    <a:pt x="6333031" y="3597499"/>
                  </a:cubicBezTo>
                  <a:cubicBezTo>
                    <a:pt x="6333031" y="3651463"/>
                    <a:pt x="6345870" y="3678445"/>
                    <a:pt x="6371549" y="3678445"/>
                  </a:cubicBezTo>
                  <a:cubicBezTo>
                    <a:pt x="6396826" y="3678445"/>
                    <a:pt x="6409464" y="3651012"/>
                    <a:pt x="6409464" y="3596144"/>
                  </a:cubicBezTo>
                  <a:cubicBezTo>
                    <a:pt x="6409464" y="3539371"/>
                    <a:pt x="6397076" y="3510985"/>
                    <a:pt x="6372301" y="3510985"/>
                  </a:cubicBezTo>
                  <a:close/>
                  <a:moveTo>
                    <a:pt x="5784617" y="3510985"/>
                  </a:moveTo>
                  <a:cubicBezTo>
                    <a:pt x="5758439" y="3510985"/>
                    <a:pt x="5745350" y="3539823"/>
                    <a:pt x="5745350" y="3597499"/>
                  </a:cubicBezTo>
                  <a:cubicBezTo>
                    <a:pt x="5745350" y="3651463"/>
                    <a:pt x="5758187" y="3678445"/>
                    <a:pt x="5783865" y="3678445"/>
                  </a:cubicBezTo>
                  <a:cubicBezTo>
                    <a:pt x="5809143" y="3678445"/>
                    <a:pt x="5821781" y="3651012"/>
                    <a:pt x="5821781" y="3596144"/>
                  </a:cubicBezTo>
                  <a:cubicBezTo>
                    <a:pt x="5821781" y="3539371"/>
                    <a:pt x="5809394" y="3510985"/>
                    <a:pt x="5784617" y="3510985"/>
                  </a:cubicBezTo>
                  <a:close/>
                  <a:moveTo>
                    <a:pt x="5091629" y="3510985"/>
                  </a:moveTo>
                  <a:cubicBezTo>
                    <a:pt x="5065449" y="3510985"/>
                    <a:pt x="5052358" y="3539823"/>
                    <a:pt x="5052358" y="3597499"/>
                  </a:cubicBezTo>
                  <a:cubicBezTo>
                    <a:pt x="5052358" y="3651463"/>
                    <a:pt x="5065200" y="3678445"/>
                    <a:pt x="5090877" y="3678445"/>
                  </a:cubicBezTo>
                  <a:cubicBezTo>
                    <a:pt x="5116154" y="3678445"/>
                    <a:pt x="5128792" y="3651012"/>
                    <a:pt x="5128792" y="3596144"/>
                  </a:cubicBezTo>
                  <a:cubicBezTo>
                    <a:pt x="5128792" y="3539371"/>
                    <a:pt x="5116404" y="3510985"/>
                    <a:pt x="5091629" y="3510985"/>
                  </a:cubicBezTo>
                  <a:close/>
                  <a:moveTo>
                    <a:pt x="3837392" y="3510985"/>
                  </a:moveTo>
                  <a:cubicBezTo>
                    <a:pt x="3811212" y="3510985"/>
                    <a:pt x="3798122" y="3539823"/>
                    <a:pt x="3798122" y="3597499"/>
                  </a:cubicBezTo>
                  <a:cubicBezTo>
                    <a:pt x="3798122" y="3651463"/>
                    <a:pt x="3810961" y="3678445"/>
                    <a:pt x="3836640" y="3678445"/>
                  </a:cubicBezTo>
                  <a:cubicBezTo>
                    <a:pt x="3861916" y="3678445"/>
                    <a:pt x="3874555" y="3651012"/>
                    <a:pt x="3874555" y="3596144"/>
                  </a:cubicBezTo>
                  <a:cubicBezTo>
                    <a:pt x="3874555" y="3539371"/>
                    <a:pt x="3862167" y="3510985"/>
                    <a:pt x="3837392" y="3510985"/>
                  </a:cubicBezTo>
                  <a:close/>
                  <a:moveTo>
                    <a:pt x="3614881" y="3510985"/>
                  </a:moveTo>
                  <a:cubicBezTo>
                    <a:pt x="3588702" y="3510985"/>
                    <a:pt x="3575611" y="3539823"/>
                    <a:pt x="3575611" y="3597499"/>
                  </a:cubicBezTo>
                  <a:cubicBezTo>
                    <a:pt x="3575611" y="3651463"/>
                    <a:pt x="3588451" y="3678445"/>
                    <a:pt x="3614130" y="3678445"/>
                  </a:cubicBezTo>
                  <a:cubicBezTo>
                    <a:pt x="3639407" y="3678445"/>
                    <a:pt x="3652044" y="3651012"/>
                    <a:pt x="3652044" y="3596144"/>
                  </a:cubicBezTo>
                  <a:cubicBezTo>
                    <a:pt x="3652044" y="3539371"/>
                    <a:pt x="3639656" y="3510985"/>
                    <a:pt x="3614881" y="3510985"/>
                  </a:cubicBezTo>
                  <a:close/>
                  <a:moveTo>
                    <a:pt x="10438235" y="3487024"/>
                  </a:moveTo>
                  <a:lnTo>
                    <a:pt x="10453141" y="3487024"/>
                  </a:lnTo>
                  <a:lnTo>
                    <a:pt x="10453141" y="3710004"/>
                  </a:lnTo>
                  <a:lnTo>
                    <a:pt x="10417853" y="3710004"/>
                  </a:lnTo>
                  <a:lnTo>
                    <a:pt x="10417853" y="3530220"/>
                  </a:lnTo>
                  <a:cubicBezTo>
                    <a:pt x="10411465" y="3534784"/>
                    <a:pt x="10404595" y="3538662"/>
                    <a:pt x="10397244" y="3541856"/>
                  </a:cubicBezTo>
                  <a:cubicBezTo>
                    <a:pt x="10389892" y="3545050"/>
                    <a:pt x="10381501" y="3547864"/>
                    <a:pt x="10372071" y="3550298"/>
                  </a:cubicBezTo>
                  <a:lnTo>
                    <a:pt x="10372071" y="3520182"/>
                  </a:lnTo>
                  <a:cubicBezTo>
                    <a:pt x="10377952" y="3518255"/>
                    <a:pt x="10383631" y="3516227"/>
                    <a:pt x="10389106" y="3514098"/>
                  </a:cubicBezTo>
                  <a:cubicBezTo>
                    <a:pt x="10394582" y="3511969"/>
                    <a:pt x="10399982" y="3509585"/>
                    <a:pt x="10405305" y="3506949"/>
                  </a:cubicBezTo>
                  <a:cubicBezTo>
                    <a:pt x="10410629" y="3504313"/>
                    <a:pt x="10416003" y="3501372"/>
                    <a:pt x="10421428" y="3498127"/>
                  </a:cubicBezTo>
                  <a:cubicBezTo>
                    <a:pt x="10426853" y="3494882"/>
                    <a:pt x="10432455" y="3491181"/>
                    <a:pt x="10438235" y="3487024"/>
                  </a:cubicBezTo>
                  <a:close/>
                  <a:moveTo>
                    <a:pt x="12062430" y="3487023"/>
                  </a:moveTo>
                  <a:lnTo>
                    <a:pt x="12077336" y="3487023"/>
                  </a:lnTo>
                  <a:lnTo>
                    <a:pt x="12077336" y="3710003"/>
                  </a:lnTo>
                  <a:lnTo>
                    <a:pt x="12042048" y="3710003"/>
                  </a:lnTo>
                  <a:lnTo>
                    <a:pt x="12042048" y="3530219"/>
                  </a:lnTo>
                  <a:cubicBezTo>
                    <a:pt x="12035660" y="3534783"/>
                    <a:pt x="12028790" y="3538661"/>
                    <a:pt x="12021439" y="3541855"/>
                  </a:cubicBezTo>
                  <a:cubicBezTo>
                    <a:pt x="12014087" y="3545049"/>
                    <a:pt x="12005696" y="3547863"/>
                    <a:pt x="11996266" y="3550297"/>
                  </a:cubicBezTo>
                  <a:lnTo>
                    <a:pt x="11996266" y="3520181"/>
                  </a:lnTo>
                  <a:cubicBezTo>
                    <a:pt x="12002147" y="3518254"/>
                    <a:pt x="12007826" y="3516226"/>
                    <a:pt x="12013301" y="3514097"/>
                  </a:cubicBezTo>
                  <a:cubicBezTo>
                    <a:pt x="12018777" y="3511968"/>
                    <a:pt x="12024177" y="3509584"/>
                    <a:pt x="12029500" y="3506948"/>
                  </a:cubicBezTo>
                  <a:cubicBezTo>
                    <a:pt x="12034824" y="3504312"/>
                    <a:pt x="12040198" y="3501371"/>
                    <a:pt x="12045623" y="3498126"/>
                  </a:cubicBezTo>
                  <a:cubicBezTo>
                    <a:pt x="12051048" y="3494881"/>
                    <a:pt x="12056650" y="3491180"/>
                    <a:pt x="12062430" y="3487023"/>
                  </a:cubicBezTo>
                  <a:close/>
                  <a:moveTo>
                    <a:pt x="10143427" y="3487023"/>
                  </a:moveTo>
                  <a:lnTo>
                    <a:pt x="10158333" y="3487023"/>
                  </a:lnTo>
                  <a:lnTo>
                    <a:pt x="10158333" y="3710003"/>
                  </a:lnTo>
                  <a:lnTo>
                    <a:pt x="10123045" y="3710003"/>
                  </a:lnTo>
                  <a:lnTo>
                    <a:pt x="10123045" y="3530219"/>
                  </a:lnTo>
                  <a:cubicBezTo>
                    <a:pt x="10116657" y="3534783"/>
                    <a:pt x="10109787" y="3538661"/>
                    <a:pt x="10102436" y="3541855"/>
                  </a:cubicBezTo>
                  <a:cubicBezTo>
                    <a:pt x="10095084" y="3545049"/>
                    <a:pt x="10086693" y="3547863"/>
                    <a:pt x="10077263" y="3550297"/>
                  </a:cubicBezTo>
                  <a:lnTo>
                    <a:pt x="10077263" y="3520181"/>
                  </a:lnTo>
                  <a:cubicBezTo>
                    <a:pt x="10083144" y="3518254"/>
                    <a:pt x="10088823" y="3516226"/>
                    <a:pt x="10094298" y="3514097"/>
                  </a:cubicBezTo>
                  <a:cubicBezTo>
                    <a:pt x="10099774" y="3511968"/>
                    <a:pt x="10105174" y="3509584"/>
                    <a:pt x="10110497" y="3506948"/>
                  </a:cubicBezTo>
                  <a:cubicBezTo>
                    <a:pt x="10115821" y="3504312"/>
                    <a:pt x="10121195" y="3501371"/>
                    <a:pt x="10126620" y="3498126"/>
                  </a:cubicBezTo>
                  <a:cubicBezTo>
                    <a:pt x="10132045" y="3494881"/>
                    <a:pt x="10137647" y="3491180"/>
                    <a:pt x="10143427" y="3487023"/>
                  </a:cubicBezTo>
                  <a:close/>
                  <a:moveTo>
                    <a:pt x="9557012" y="3487023"/>
                  </a:moveTo>
                  <a:lnTo>
                    <a:pt x="9571918" y="3487023"/>
                  </a:lnTo>
                  <a:lnTo>
                    <a:pt x="9571918" y="3710003"/>
                  </a:lnTo>
                  <a:lnTo>
                    <a:pt x="9536630" y="3710003"/>
                  </a:lnTo>
                  <a:lnTo>
                    <a:pt x="9536630" y="3530219"/>
                  </a:lnTo>
                  <a:cubicBezTo>
                    <a:pt x="9530242" y="3534783"/>
                    <a:pt x="9523372" y="3538661"/>
                    <a:pt x="9516021" y="3541855"/>
                  </a:cubicBezTo>
                  <a:cubicBezTo>
                    <a:pt x="9508669" y="3545049"/>
                    <a:pt x="9500278" y="3547863"/>
                    <a:pt x="9490848" y="3550297"/>
                  </a:cubicBezTo>
                  <a:lnTo>
                    <a:pt x="9490848" y="3520181"/>
                  </a:lnTo>
                  <a:cubicBezTo>
                    <a:pt x="9496729" y="3518254"/>
                    <a:pt x="9502408" y="3516226"/>
                    <a:pt x="9507883" y="3514097"/>
                  </a:cubicBezTo>
                  <a:cubicBezTo>
                    <a:pt x="9513359" y="3511968"/>
                    <a:pt x="9518759" y="3509584"/>
                    <a:pt x="9524082" y="3506948"/>
                  </a:cubicBezTo>
                  <a:cubicBezTo>
                    <a:pt x="9529406" y="3504312"/>
                    <a:pt x="9534780" y="3501371"/>
                    <a:pt x="9540205" y="3498126"/>
                  </a:cubicBezTo>
                  <a:cubicBezTo>
                    <a:pt x="9545630" y="3494881"/>
                    <a:pt x="9551232" y="3491180"/>
                    <a:pt x="9557012" y="3487023"/>
                  </a:cubicBezTo>
                  <a:close/>
                  <a:moveTo>
                    <a:pt x="9254256" y="3487023"/>
                  </a:moveTo>
                  <a:lnTo>
                    <a:pt x="9269162" y="3487023"/>
                  </a:lnTo>
                  <a:lnTo>
                    <a:pt x="9269162" y="3710003"/>
                  </a:lnTo>
                  <a:lnTo>
                    <a:pt x="9233874" y="3710003"/>
                  </a:lnTo>
                  <a:lnTo>
                    <a:pt x="9233874" y="3530219"/>
                  </a:lnTo>
                  <a:cubicBezTo>
                    <a:pt x="9227486" y="3534783"/>
                    <a:pt x="9220616" y="3538661"/>
                    <a:pt x="9213265" y="3541855"/>
                  </a:cubicBezTo>
                  <a:cubicBezTo>
                    <a:pt x="9205913" y="3545049"/>
                    <a:pt x="9197522" y="3547863"/>
                    <a:pt x="9188092" y="3550297"/>
                  </a:cubicBezTo>
                  <a:lnTo>
                    <a:pt x="9188092" y="3520181"/>
                  </a:lnTo>
                  <a:cubicBezTo>
                    <a:pt x="9193973" y="3518254"/>
                    <a:pt x="9199652" y="3516226"/>
                    <a:pt x="9205127" y="3514097"/>
                  </a:cubicBezTo>
                  <a:cubicBezTo>
                    <a:pt x="9210603" y="3511968"/>
                    <a:pt x="9216003" y="3509584"/>
                    <a:pt x="9221326" y="3506948"/>
                  </a:cubicBezTo>
                  <a:cubicBezTo>
                    <a:pt x="9226650" y="3504312"/>
                    <a:pt x="9232024" y="3501371"/>
                    <a:pt x="9237449" y="3498126"/>
                  </a:cubicBezTo>
                  <a:cubicBezTo>
                    <a:pt x="9242874" y="3494881"/>
                    <a:pt x="9248476" y="3491180"/>
                    <a:pt x="9254256" y="3487023"/>
                  </a:cubicBezTo>
                  <a:close/>
                  <a:moveTo>
                    <a:pt x="8744915" y="3487023"/>
                  </a:moveTo>
                  <a:lnTo>
                    <a:pt x="8759821" y="3487023"/>
                  </a:lnTo>
                  <a:lnTo>
                    <a:pt x="8759821" y="3710003"/>
                  </a:lnTo>
                  <a:lnTo>
                    <a:pt x="8724533" y="3710003"/>
                  </a:lnTo>
                  <a:lnTo>
                    <a:pt x="8724533" y="3530219"/>
                  </a:lnTo>
                  <a:cubicBezTo>
                    <a:pt x="8718145" y="3534783"/>
                    <a:pt x="8711275" y="3538661"/>
                    <a:pt x="8703924" y="3541855"/>
                  </a:cubicBezTo>
                  <a:cubicBezTo>
                    <a:pt x="8696572" y="3545049"/>
                    <a:pt x="8688181" y="3547863"/>
                    <a:pt x="8678751" y="3550297"/>
                  </a:cubicBezTo>
                  <a:lnTo>
                    <a:pt x="8678751" y="3520181"/>
                  </a:lnTo>
                  <a:cubicBezTo>
                    <a:pt x="8684632" y="3518254"/>
                    <a:pt x="8690311" y="3516226"/>
                    <a:pt x="8695786" y="3514097"/>
                  </a:cubicBezTo>
                  <a:cubicBezTo>
                    <a:pt x="8701262" y="3511968"/>
                    <a:pt x="8706662" y="3509584"/>
                    <a:pt x="8711985" y="3506948"/>
                  </a:cubicBezTo>
                  <a:cubicBezTo>
                    <a:pt x="8717309" y="3504312"/>
                    <a:pt x="8722683" y="3501371"/>
                    <a:pt x="8728108" y="3498126"/>
                  </a:cubicBezTo>
                  <a:cubicBezTo>
                    <a:pt x="8733533" y="3494881"/>
                    <a:pt x="8739135" y="3491180"/>
                    <a:pt x="8744915" y="3487023"/>
                  </a:cubicBezTo>
                  <a:close/>
                  <a:moveTo>
                    <a:pt x="7851748" y="3487023"/>
                  </a:moveTo>
                  <a:lnTo>
                    <a:pt x="7866654" y="3487023"/>
                  </a:lnTo>
                  <a:lnTo>
                    <a:pt x="7866654" y="3710003"/>
                  </a:lnTo>
                  <a:lnTo>
                    <a:pt x="7831366" y="3710003"/>
                  </a:lnTo>
                  <a:lnTo>
                    <a:pt x="7831366" y="3530219"/>
                  </a:lnTo>
                  <a:cubicBezTo>
                    <a:pt x="7824978" y="3534783"/>
                    <a:pt x="7818109" y="3538661"/>
                    <a:pt x="7810757" y="3541855"/>
                  </a:cubicBezTo>
                  <a:cubicBezTo>
                    <a:pt x="7803405" y="3545049"/>
                    <a:pt x="7795015" y="3547863"/>
                    <a:pt x="7785584" y="3550297"/>
                  </a:cubicBezTo>
                  <a:lnTo>
                    <a:pt x="7785584" y="3520181"/>
                  </a:lnTo>
                  <a:cubicBezTo>
                    <a:pt x="7791465" y="3518254"/>
                    <a:pt x="7797144" y="3516226"/>
                    <a:pt x="7802619" y="3514097"/>
                  </a:cubicBezTo>
                  <a:cubicBezTo>
                    <a:pt x="7808095" y="3511968"/>
                    <a:pt x="7813495" y="3509584"/>
                    <a:pt x="7818818" y="3506948"/>
                  </a:cubicBezTo>
                  <a:cubicBezTo>
                    <a:pt x="7824142" y="3504312"/>
                    <a:pt x="7829516" y="3501371"/>
                    <a:pt x="7834941" y="3498126"/>
                  </a:cubicBezTo>
                  <a:cubicBezTo>
                    <a:pt x="7840366" y="3494881"/>
                    <a:pt x="7845968" y="3491180"/>
                    <a:pt x="7851748" y="3487023"/>
                  </a:cubicBezTo>
                  <a:close/>
                  <a:moveTo>
                    <a:pt x="7413731" y="3487023"/>
                  </a:moveTo>
                  <a:lnTo>
                    <a:pt x="7428637" y="3487023"/>
                  </a:lnTo>
                  <a:lnTo>
                    <a:pt x="7428637" y="3710003"/>
                  </a:lnTo>
                  <a:lnTo>
                    <a:pt x="7393349" y="3710003"/>
                  </a:lnTo>
                  <a:lnTo>
                    <a:pt x="7393349" y="3530219"/>
                  </a:lnTo>
                  <a:cubicBezTo>
                    <a:pt x="7386961" y="3534783"/>
                    <a:pt x="7380092" y="3538661"/>
                    <a:pt x="7372740" y="3541855"/>
                  </a:cubicBezTo>
                  <a:cubicBezTo>
                    <a:pt x="7365388" y="3545049"/>
                    <a:pt x="7356998" y="3547863"/>
                    <a:pt x="7347567" y="3550297"/>
                  </a:cubicBezTo>
                  <a:lnTo>
                    <a:pt x="7347567" y="3520181"/>
                  </a:lnTo>
                  <a:cubicBezTo>
                    <a:pt x="7353448" y="3518254"/>
                    <a:pt x="7359127" y="3516226"/>
                    <a:pt x="7364602" y="3514097"/>
                  </a:cubicBezTo>
                  <a:cubicBezTo>
                    <a:pt x="7370078" y="3511968"/>
                    <a:pt x="7375478" y="3509584"/>
                    <a:pt x="7380801" y="3506948"/>
                  </a:cubicBezTo>
                  <a:cubicBezTo>
                    <a:pt x="7386125" y="3504312"/>
                    <a:pt x="7391499" y="3501371"/>
                    <a:pt x="7396924" y="3498126"/>
                  </a:cubicBezTo>
                  <a:cubicBezTo>
                    <a:pt x="7402349" y="3494881"/>
                    <a:pt x="7407951" y="3491180"/>
                    <a:pt x="7413731" y="3487023"/>
                  </a:cubicBezTo>
                  <a:close/>
                  <a:moveTo>
                    <a:pt x="7015147" y="3487023"/>
                  </a:moveTo>
                  <a:lnTo>
                    <a:pt x="7030053" y="3487023"/>
                  </a:lnTo>
                  <a:lnTo>
                    <a:pt x="7030053" y="3710003"/>
                  </a:lnTo>
                  <a:lnTo>
                    <a:pt x="6994765" y="3710003"/>
                  </a:lnTo>
                  <a:lnTo>
                    <a:pt x="6994765" y="3530219"/>
                  </a:lnTo>
                  <a:cubicBezTo>
                    <a:pt x="6988377" y="3534783"/>
                    <a:pt x="6981508" y="3538661"/>
                    <a:pt x="6974156" y="3541855"/>
                  </a:cubicBezTo>
                  <a:cubicBezTo>
                    <a:pt x="6966804" y="3545049"/>
                    <a:pt x="6958414" y="3547863"/>
                    <a:pt x="6948983" y="3550297"/>
                  </a:cubicBezTo>
                  <a:lnTo>
                    <a:pt x="6948983" y="3520181"/>
                  </a:lnTo>
                  <a:cubicBezTo>
                    <a:pt x="6954864" y="3518254"/>
                    <a:pt x="6960543" y="3516226"/>
                    <a:pt x="6966018" y="3514097"/>
                  </a:cubicBezTo>
                  <a:cubicBezTo>
                    <a:pt x="6971494" y="3511968"/>
                    <a:pt x="6976894" y="3509584"/>
                    <a:pt x="6982217" y="3506948"/>
                  </a:cubicBezTo>
                  <a:cubicBezTo>
                    <a:pt x="6987541" y="3504312"/>
                    <a:pt x="6992915" y="3501371"/>
                    <a:pt x="6998340" y="3498126"/>
                  </a:cubicBezTo>
                  <a:cubicBezTo>
                    <a:pt x="7003765" y="3494881"/>
                    <a:pt x="7009367" y="3491180"/>
                    <a:pt x="7015147" y="3487023"/>
                  </a:cubicBezTo>
                  <a:close/>
                  <a:moveTo>
                    <a:pt x="6727931" y="3487023"/>
                  </a:moveTo>
                  <a:lnTo>
                    <a:pt x="6742837" y="3487023"/>
                  </a:lnTo>
                  <a:lnTo>
                    <a:pt x="6742837" y="3710003"/>
                  </a:lnTo>
                  <a:lnTo>
                    <a:pt x="6707549" y="3710003"/>
                  </a:lnTo>
                  <a:lnTo>
                    <a:pt x="6707549" y="3530219"/>
                  </a:lnTo>
                  <a:cubicBezTo>
                    <a:pt x="6701161" y="3534783"/>
                    <a:pt x="6694292" y="3538661"/>
                    <a:pt x="6686940" y="3541855"/>
                  </a:cubicBezTo>
                  <a:cubicBezTo>
                    <a:pt x="6679588" y="3545049"/>
                    <a:pt x="6671198" y="3547863"/>
                    <a:pt x="6661767" y="3550297"/>
                  </a:cubicBezTo>
                  <a:lnTo>
                    <a:pt x="6661767" y="3520181"/>
                  </a:lnTo>
                  <a:cubicBezTo>
                    <a:pt x="6667648" y="3518254"/>
                    <a:pt x="6673327" y="3516226"/>
                    <a:pt x="6678802" y="3514097"/>
                  </a:cubicBezTo>
                  <a:cubicBezTo>
                    <a:pt x="6684278" y="3511968"/>
                    <a:pt x="6689678" y="3509584"/>
                    <a:pt x="6695001" y="3506948"/>
                  </a:cubicBezTo>
                  <a:cubicBezTo>
                    <a:pt x="6700325" y="3504312"/>
                    <a:pt x="6705699" y="3501371"/>
                    <a:pt x="6711124" y="3498126"/>
                  </a:cubicBezTo>
                  <a:cubicBezTo>
                    <a:pt x="6716549" y="3494881"/>
                    <a:pt x="6722151" y="3491180"/>
                    <a:pt x="6727931" y="3487023"/>
                  </a:cubicBezTo>
                  <a:close/>
                  <a:moveTo>
                    <a:pt x="6584323" y="3487023"/>
                  </a:moveTo>
                  <a:lnTo>
                    <a:pt x="6599229" y="3487023"/>
                  </a:lnTo>
                  <a:lnTo>
                    <a:pt x="6599229" y="3710003"/>
                  </a:lnTo>
                  <a:lnTo>
                    <a:pt x="6563941" y="3710003"/>
                  </a:lnTo>
                  <a:lnTo>
                    <a:pt x="6563941" y="3530219"/>
                  </a:lnTo>
                  <a:cubicBezTo>
                    <a:pt x="6557553" y="3534783"/>
                    <a:pt x="6550684" y="3538661"/>
                    <a:pt x="6543332" y="3541855"/>
                  </a:cubicBezTo>
                  <a:cubicBezTo>
                    <a:pt x="6535980" y="3545049"/>
                    <a:pt x="6527590" y="3547863"/>
                    <a:pt x="6518159" y="3550297"/>
                  </a:cubicBezTo>
                  <a:lnTo>
                    <a:pt x="6518159" y="3520181"/>
                  </a:lnTo>
                  <a:cubicBezTo>
                    <a:pt x="6524040" y="3518254"/>
                    <a:pt x="6529719" y="3516226"/>
                    <a:pt x="6535194" y="3514097"/>
                  </a:cubicBezTo>
                  <a:cubicBezTo>
                    <a:pt x="6540670" y="3511968"/>
                    <a:pt x="6546070" y="3509584"/>
                    <a:pt x="6551393" y="3506948"/>
                  </a:cubicBezTo>
                  <a:cubicBezTo>
                    <a:pt x="6556717" y="3504312"/>
                    <a:pt x="6562091" y="3501371"/>
                    <a:pt x="6567516" y="3498126"/>
                  </a:cubicBezTo>
                  <a:cubicBezTo>
                    <a:pt x="6572941" y="3494881"/>
                    <a:pt x="6578543" y="3491180"/>
                    <a:pt x="6584323" y="3487023"/>
                  </a:cubicBezTo>
                  <a:close/>
                  <a:moveTo>
                    <a:pt x="5975659" y="3487023"/>
                  </a:moveTo>
                  <a:lnTo>
                    <a:pt x="5990568" y="3487023"/>
                  </a:lnTo>
                  <a:lnTo>
                    <a:pt x="5990568" y="3710003"/>
                  </a:lnTo>
                  <a:lnTo>
                    <a:pt x="5955278" y="3710003"/>
                  </a:lnTo>
                  <a:lnTo>
                    <a:pt x="5955278" y="3530219"/>
                  </a:lnTo>
                  <a:cubicBezTo>
                    <a:pt x="5948891" y="3534783"/>
                    <a:pt x="5942020" y="3538661"/>
                    <a:pt x="5934669" y="3541855"/>
                  </a:cubicBezTo>
                  <a:cubicBezTo>
                    <a:pt x="5927317" y="3545049"/>
                    <a:pt x="5918927" y="3547863"/>
                    <a:pt x="5909498" y="3550297"/>
                  </a:cubicBezTo>
                  <a:lnTo>
                    <a:pt x="5909498" y="3520181"/>
                  </a:lnTo>
                  <a:cubicBezTo>
                    <a:pt x="5915377" y="3518254"/>
                    <a:pt x="5921055" y="3516226"/>
                    <a:pt x="5926531" y="3514097"/>
                  </a:cubicBezTo>
                  <a:cubicBezTo>
                    <a:pt x="5932007" y="3511968"/>
                    <a:pt x="5937407" y="3509584"/>
                    <a:pt x="5942730" y="3506948"/>
                  </a:cubicBezTo>
                  <a:cubicBezTo>
                    <a:pt x="5948054" y="3504312"/>
                    <a:pt x="5953429" y="3501371"/>
                    <a:pt x="5958852" y="3498126"/>
                  </a:cubicBezTo>
                  <a:cubicBezTo>
                    <a:pt x="5964279" y="3494881"/>
                    <a:pt x="5969881" y="3491180"/>
                    <a:pt x="5975659" y="3487023"/>
                  </a:cubicBezTo>
                  <a:close/>
                  <a:moveTo>
                    <a:pt x="4694968" y="3487023"/>
                  </a:moveTo>
                  <a:lnTo>
                    <a:pt x="4709876" y="3487023"/>
                  </a:lnTo>
                  <a:lnTo>
                    <a:pt x="4709876" y="3710003"/>
                  </a:lnTo>
                  <a:lnTo>
                    <a:pt x="4674589" y="3710003"/>
                  </a:lnTo>
                  <a:lnTo>
                    <a:pt x="4674589" y="3530219"/>
                  </a:lnTo>
                  <a:cubicBezTo>
                    <a:pt x="4668200" y="3534783"/>
                    <a:pt x="4661331" y="3538661"/>
                    <a:pt x="4653978" y="3541855"/>
                  </a:cubicBezTo>
                  <a:cubicBezTo>
                    <a:pt x="4646628" y="3545049"/>
                    <a:pt x="4638236" y="3547863"/>
                    <a:pt x="4628805" y="3550297"/>
                  </a:cubicBezTo>
                  <a:lnTo>
                    <a:pt x="4628805" y="3520181"/>
                  </a:lnTo>
                  <a:cubicBezTo>
                    <a:pt x="4634687" y="3518254"/>
                    <a:pt x="4640364" y="3516226"/>
                    <a:pt x="4645841" y="3514097"/>
                  </a:cubicBezTo>
                  <a:cubicBezTo>
                    <a:pt x="4651316" y="3511968"/>
                    <a:pt x="4656717" y="3509584"/>
                    <a:pt x="4662040" y="3506948"/>
                  </a:cubicBezTo>
                  <a:cubicBezTo>
                    <a:pt x="4667363" y="3504312"/>
                    <a:pt x="4672738" y="3501371"/>
                    <a:pt x="4678162" y="3498126"/>
                  </a:cubicBezTo>
                  <a:cubicBezTo>
                    <a:pt x="4683588" y="3494881"/>
                    <a:pt x="4689190" y="3491180"/>
                    <a:pt x="4694968" y="3487023"/>
                  </a:cubicBezTo>
                  <a:close/>
                  <a:moveTo>
                    <a:pt x="4345906" y="3487023"/>
                  </a:moveTo>
                  <a:lnTo>
                    <a:pt x="4360813" y="3487023"/>
                  </a:lnTo>
                  <a:lnTo>
                    <a:pt x="4360813" y="3710003"/>
                  </a:lnTo>
                  <a:lnTo>
                    <a:pt x="4325525" y="3710003"/>
                  </a:lnTo>
                  <a:lnTo>
                    <a:pt x="4325525" y="3530219"/>
                  </a:lnTo>
                  <a:cubicBezTo>
                    <a:pt x="4319138" y="3534783"/>
                    <a:pt x="4312268" y="3538661"/>
                    <a:pt x="4304915" y="3541855"/>
                  </a:cubicBezTo>
                  <a:cubicBezTo>
                    <a:pt x="4297564" y="3545049"/>
                    <a:pt x="4289174" y="3547863"/>
                    <a:pt x="4279743" y="3550297"/>
                  </a:cubicBezTo>
                  <a:lnTo>
                    <a:pt x="4279743" y="3520181"/>
                  </a:lnTo>
                  <a:cubicBezTo>
                    <a:pt x="4285625" y="3518254"/>
                    <a:pt x="4291302" y="3516226"/>
                    <a:pt x="4296778" y="3514097"/>
                  </a:cubicBezTo>
                  <a:cubicBezTo>
                    <a:pt x="4302254" y="3511968"/>
                    <a:pt x="4307653" y="3509584"/>
                    <a:pt x="4312977" y="3506948"/>
                  </a:cubicBezTo>
                  <a:cubicBezTo>
                    <a:pt x="4318300" y="3504312"/>
                    <a:pt x="4323675" y="3501371"/>
                    <a:pt x="4329099" y="3498126"/>
                  </a:cubicBezTo>
                  <a:cubicBezTo>
                    <a:pt x="4334525" y="3494881"/>
                    <a:pt x="4340127" y="3491180"/>
                    <a:pt x="4345906" y="3487023"/>
                  </a:cubicBezTo>
                  <a:close/>
                  <a:moveTo>
                    <a:pt x="3454863" y="3487023"/>
                  </a:moveTo>
                  <a:lnTo>
                    <a:pt x="3469768" y="3487023"/>
                  </a:lnTo>
                  <a:lnTo>
                    <a:pt x="3469768" y="3710003"/>
                  </a:lnTo>
                  <a:lnTo>
                    <a:pt x="3434481" y="3710003"/>
                  </a:lnTo>
                  <a:lnTo>
                    <a:pt x="3434481" y="3530219"/>
                  </a:lnTo>
                  <a:cubicBezTo>
                    <a:pt x="3428092" y="3534783"/>
                    <a:pt x="3421223" y="3538661"/>
                    <a:pt x="3413872" y="3541855"/>
                  </a:cubicBezTo>
                  <a:cubicBezTo>
                    <a:pt x="3406519" y="3545049"/>
                    <a:pt x="3398129" y="3547863"/>
                    <a:pt x="3388698" y="3550297"/>
                  </a:cubicBezTo>
                  <a:lnTo>
                    <a:pt x="3388698" y="3520181"/>
                  </a:lnTo>
                  <a:cubicBezTo>
                    <a:pt x="3394580" y="3518254"/>
                    <a:pt x="3400259" y="3516226"/>
                    <a:pt x="3405734" y="3514097"/>
                  </a:cubicBezTo>
                  <a:cubicBezTo>
                    <a:pt x="3411209" y="3511968"/>
                    <a:pt x="3416609" y="3509584"/>
                    <a:pt x="3421933" y="3506948"/>
                  </a:cubicBezTo>
                  <a:cubicBezTo>
                    <a:pt x="3427256" y="3504312"/>
                    <a:pt x="3432632" y="3501371"/>
                    <a:pt x="3438054" y="3498126"/>
                  </a:cubicBezTo>
                  <a:cubicBezTo>
                    <a:pt x="3443480" y="3494881"/>
                    <a:pt x="3449083" y="3491180"/>
                    <a:pt x="3454863" y="3487023"/>
                  </a:cubicBezTo>
                  <a:close/>
                  <a:moveTo>
                    <a:pt x="3158682" y="3487023"/>
                  </a:moveTo>
                  <a:lnTo>
                    <a:pt x="3173587" y="3487023"/>
                  </a:lnTo>
                  <a:lnTo>
                    <a:pt x="3173587" y="3710003"/>
                  </a:lnTo>
                  <a:lnTo>
                    <a:pt x="3138299" y="3710003"/>
                  </a:lnTo>
                  <a:lnTo>
                    <a:pt x="3138299" y="3530219"/>
                  </a:lnTo>
                  <a:cubicBezTo>
                    <a:pt x="3131912" y="3534783"/>
                    <a:pt x="3125042" y="3538661"/>
                    <a:pt x="3117690" y="3541855"/>
                  </a:cubicBezTo>
                  <a:cubicBezTo>
                    <a:pt x="3110339" y="3545049"/>
                    <a:pt x="3101948" y="3547863"/>
                    <a:pt x="3092517" y="3550297"/>
                  </a:cubicBezTo>
                  <a:lnTo>
                    <a:pt x="3092517" y="3520181"/>
                  </a:lnTo>
                  <a:cubicBezTo>
                    <a:pt x="3098398" y="3518254"/>
                    <a:pt x="3104077" y="3516226"/>
                    <a:pt x="3109553" y="3514097"/>
                  </a:cubicBezTo>
                  <a:cubicBezTo>
                    <a:pt x="3115028" y="3511968"/>
                    <a:pt x="3120428" y="3509584"/>
                    <a:pt x="3125751" y="3506948"/>
                  </a:cubicBezTo>
                  <a:cubicBezTo>
                    <a:pt x="3131075" y="3504312"/>
                    <a:pt x="3136449" y="3501371"/>
                    <a:pt x="3141875" y="3498126"/>
                  </a:cubicBezTo>
                  <a:cubicBezTo>
                    <a:pt x="3147300" y="3494881"/>
                    <a:pt x="3152901" y="3491180"/>
                    <a:pt x="3158682" y="3487023"/>
                  </a:cubicBezTo>
                  <a:close/>
                  <a:moveTo>
                    <a:pt x="2783382" y="3487023"/>
                  </a:moveTo>
                  <a:lnTo>
                    <a:pt x="2798288" y="3487023"/>
                  </a:lnTo>
                  <a:lnTo>
                    <a:pt x="2798288" y="3710003"/>
                  </a:lnTo>
                  <a:lnTo>
                    <a:pt x="2763000" y="3710003"/>
                  </a:lnTo>
                  <a:lnTo>
                    <a:pt x="2763000" y="3530219"/>
                  </a:lnTo>
                  <a:cubicBezTo>
                    <a:pt x="2756612" y="3534783"/>
                    <a:pt x="2749742" y="3538661"/>
                    <a:pt x="2742391" y="3541855"/>
                  </a:cubicBezTo>
                  <a:cubicBezTo>
                    <a:pt x="2735039" y="3545049"/>
                    <a:pt x="2726649" y="3547863"/>
                    <a:pt x="2717219" y="3550297"/>
                  </a:cubicBezTo>
                  <a:lnTo>
                    <a:pt x="2717219" y="3520181"/>
                  </a:lnTo>
                  <a:cubicBezTo>
                    <a:pt x="2723100" y="3518254"/>
                    <a:pt x="2728778" y="3516226"/>
                    <a:pt x="2734253" y="3514097"/>
                  </a:cubicBezTo>
                  <a:cubicBezTo>
                    <a:pt x="2739729" y="3511968"/>
                    <a:pt x="2745129" y="3509584"/>
                    <a:pt x="2750453" y="3506948"/>
                  </a:cubicBezTo>
                  <a:cubicBezTo>
                    <a:pt x="2755776" y="3504312"/>
                    <a:pt x="2761151" y="3501371"/>
                    <a:pt x="2766576" y="3498126"/>
                  </a:cubicBezTo>
                  <a:cubicBezTo>
                    <a:pt x="2772000" y="3494881"/>
                    <a:pt x="2777603" y="3491180"/>
                    <a:pt x="2783382" y="3487023"/>
                  </a:cubicBezTo>
                  <a:close/>
                  <a:moveTo>
                    <a:pt x="2489154" y="3487023"/>
                  </a:moveTo>
                  <a:lnTo>
                    <a:pt x="2504060" y="3487023"/>
                  </a:lnTo>
                  <a:lnTo>
                    <a:pt x="2504060" y="3710003"/>
                  </a:lnTo>
                  <a:lnTo>
                    <a:pt x="2468772" y="3710003"/>
                  </a:lnTo>
                  <a:lnTo>
                    <a:pt x="2468772" y="3530219"/>
                  </a:lnTo>
                  <a:cubicBezTo>
                    <a:pt x="2462385" y="3534783"/>
                    <a:pt x="2455514" y="3538661"/>
                    <a:pt x="2448163" y="3541855"/>
                  </a:cubicBezTo>
                  <a:cubicBezTo>
                    <a:pt x="2440812" y="3545049"/>
                    <a:pt x="2432420" y="3547863"/>
                    <a:pt x="2422990" y="3550297"/>
                  </a:cubicBezTo>
                  <a:lnTo>
                    <a:pt x="2422990" y="3520181"/>
                  </a:lnTo>
                  <a:cubicBezTo>
                    <a:pt x="2428871" y="3518254"/>
                    <a:pt x="2434551" y="3516226"/>
                    <a:pt x="2440025" y="3514097"/>
                  </a:cubicBezTo>
                  <a:cubicBezTo>
                    <a:pt x="2445502" y="3511968"/>
                    <a:pt x="2450900" y="3509584"/>
                    <a:pt x="2456224" y="3506948"/>
                  </a:cubicBezTo>
                  <a:cubicBezTo>
                    <a:pt x="2461549" y="3504312"/>
                    <a:pt x="2466922" y="3501371"/>
                    <a:pt x="2472346" y="3498126"/>
                  </a:cubicBezTo>
                  <a:cubicBezTo>
                    <a:pt x="2477772" y="3494881"/>
                    <a:pt x="2483374" y="3491180"/>
                    <a:pt x="2489154" y="3487023"/>
                  </a:cubicBezTo>
                  <a:close/>
                  <a:moveTo>
                    <a:pt x="1599916" y="3487023"/>
                  </a:moveTo>
                  <a:lnTo>
                    <a:pt x="1614822" y="3487023"/>
                  </a:lnTo>
                  <a:lnTo>
                    <a:pt x="1614822" y="3710003"/>
                  </a:lnTo>
                  <a:lnTo>
                    <a:pt x="1579534" y="3710003"/>
                  </a:lnTo>
                  <a:lnTo>
                    <a:pt x="1579534" y="3530219"/>
                  </a:lnTo>
                  <a:cubicBezTo>
                    <a:pt x="1573146" y="3534783"/>
                    <a:pt x="1566276" y="3538661"/>
                    <a:pt x="1558925" y="3541855"/>
                  </a:cubicBezTo>
                  <a:cubicBezTo>
                    <a:pt x="1551573" y="3545049"/>
                    <a:pt x="1543182" y="3547863"/>
                    <a:pt x="1533752" y="3550297"/>
                  </a:cubicBezTo>
                  <a:lnTo>
                    <a:pt x="1533752" y="3520181"/>
                  </a:lnTo>
                  <a:cubicBezTo>
                    <a:pt x="1539633" y="3518254"/>
                    <a:pt x="1545312" y="3516226"/>
                    <a:pt x="1550787" y="3514097"/>
                  </a:cubicBezTo>
                  <a:cubicBezTo>
                    <a:pt x="1556263" y="3511968"/>
                    <a:pt x="1561663" y="3509584"/>
                    <a:pt x="1566986" y="3506948"/>
                  </a:cubicBezTo>
                  <a:cubicBezTo>
                    <a:pt x="1572310" y="3504312"/>
                    <a:pt x="1577684" y="3501371"/>
                    <a:pt x="1583109" y="3498126"/>
                  </a:cubicBezTo>
                  <a:cubicBezTo>
                    <a:pt x="1588534" y="3494881"/>
                    <a:pt x="1594136" y="3491180"/>
                    <a:pt x="1599916" y="3487023"/>
                  </a:cubicBezTo>
                  <a:close/>
                  <a:moveTo>
                    <a:pt x="1302202" y="3487023"/>
                  </a:moveTo>
                  <a:lnTo>
                    <a:pt x="1317108" y="3487023"/>
                  </a:lnTo>
                  <a:lnTo>
                    <a:pt x="1317108" y="3710003"/>
                  </a:lnTo>
                  <a:lnTo>
                    <a:pt x="1281820" y="3710003"/>
                  </a:lnTo>
                  <a:lnTo>
                    <a:pt x="1281820" y="3530219"/>
                  </a:lnTo>
                  <a:cubicBezTo>
                    <a:pt x="1275432" y="3534783"/>
                    <a:pt x="1268562" y="3538661"/>
                    <a:pt x="1261211" y="3541855"/>
                  </a:cubicBezTo>
                  <a:cubicBezTo>
                    <a:pt x="1253859" y="3545049"/>
                    <a:pt x="1245468" y="3547863"/>
                    <a:pt x="1236038" y="3550297"/>
                  </a:cubicBezTo>
                  <a:lnTo>
                    <a:pt x="1236038" y="3520181"/>
                  </a:lnTo>
                  <a:cubicBezTo>
                    <a:pt x="1241919" y="3518254"/>
                    <a:pt x="1247598" y="3516226"/>
                    <a:pt x="1253073" y="3514097"/>
                  </a:cubicBezTo>
                  <a:cubicBezTo>
                    <a:pt x="1258549" y="3511968"/>
                    <a:pt x="1263949" y="3509584"/>
                    <a:pt x="1269272" y="3506948"/>
                  </a:cubicBezTo>
                  <a:cubicBezTo>
                    <a:pt x="1274596" y="3504312"/>
                    <a:pt x="1279970" y="3501371"/>
                    <a:pt x="1285395" y="3498126"/>
                  </a:cubicBezTo>
                  <a:cubicBezTo>
                    <a:pt x="1290820" y="3494881"/>
                    <a:pt x="1296422" y="3491180"/>
                    <a:pt x="1302202" y="3487023"/>
                  </a:cubicBezTo>
                  <a:close/>
                  <a:moveTo>
                    <a:pt x="927321" y="3487023"/>
                  </a:moveTo>
                  <a:lnTo>
                    <a:pt x="942227" y="3487023"/>
                  </a:lnTo>
                  <a:lnTo>
                    <a:pt x="942227" y="3710003"/>
                  </a:lnTo>
                  <a:lnTo>
                    <a:pt x="906939" y="3710003"/>
                  </a:lnTo>
                  <a:lnTo>
                    <a:pt x="906939" y="3530219"/>
                  </a:lnTo>
                  <a:cubicBezTo>
                    <a:pt x="900551" y="3534783"/>
                    <a:pt x="893681" y="3538661"/>
                    <a:pt x="886330" y="3541855"/>
                  </a:cubicBezTo>
                  <a:cubicBezTo>
                    <a:pt x="878978" y="3545049"/>
                    <a:pt x="870587" y="3547863"/>
                    <a:pt x="861157" y="3550297"/>
                  </a:cubicBezTo>
                  <a:lnTo>
                    <a:pt x="861157" y="3520181"/>
                  </a:lnTo>
                  <a:cubicBezTo>
                    <a:pt x="867038" y="3518254"/>
                    <a:pt x="872717" y="3516226"/>
                    <a:pt x="878192" y="3514097"/>
                  </a:cubicBezTo>
                  <a:cubicBezTo>
                    <a:pt x="883668" y="3511968"/>
                    <a:pt x="889068" y="3509584"/>
                    <a:pt x="894391" y="3506948"/>
                  </a:cubicBezTo>
                  <a:cubicBezTo>
                    <a:pt x="899715" y="3504312"/>
                    <a:pt x="905089" y="3501371"/>
                    <a:pt x="910514" y="3498126"/>
                  </a:cubicBezTo>
                  <a:cubicBezTo>
                    <a:pt x="915939" y="3494881"/>
                    <a:pt x="921541" y="3491180"/>
                    <a:pt x="927321" y="3487023"/>
                  </a:cubicBezTo>
                  <a:close/>
                  <a:moveTo>
                    <a:pt x="778464" y="3487023"/>
                  </a:moveTo>
                  <a:lnTo>
                    <a:pt x="793370" y="3487023"/>
                  </a:lnTo>
                  <a:lnTo>
                    <a:pt x="793370" y="3710003"/>
                  </a:lnTo>
                  <a:lnTo>
                    <a:pt x="758082" y="3710003"/>
                  </a:lnTo>
                  <a:lnTo>
                    <a:pt x="758082" y="3530219"/>
                  </a:lnTo>
                  <a:cubicBezTo>
                    <a:pt x="751694" y="3534783"/>
                    <a:pt x="744824" y="3538661"/>
                    <a:pt x="737473" y="3541855"/>
                  </a:cubicBezTo>
                  <a:cubicBezTo>
                    <a:pt x="730121" y="3545049"/>
                    <a:pt x="721730" y="3547863"/>
                    <a:pt x="712300" y="3550297"/>
                  </a:cubicBezTo>
                  <a:lnTo>
                    <a:pt x="712300" y="3520181"/>
                  </a:lnTo>
                  <a:cubicBezTo>
                    <a:pt x="718181" y="3518254"/>
                    <a:pt x="723860" y="3516226"/>
                    <a:pt x="729335" y="3514097"/>
                  </a:cubicBezTo>
                  <a:cubicBezTo>
                    <a:pt x="734811" y="3511968"/>
                    <a:pt x="740211" y="3509584"/>
                    <a:pt x="745535" y="3506948"/>
                  </a:cubicBezTo>
                  <a:cubicBezTo>
                    <a:pt x="750858" y="3504312"/>
                    <a:pt x="756232" y="3501371"/>
                    <a:pt x="761657" y="3498126"/>
                  </a:cubicBezTo>
                  <a:cubicBezTo>
                    <a:pt x="767082" y="3494881"/>
                    <a:pt x="772684" y="3491180"/>
                    <a:pt x="778464" y="3487023"/>
                  </a:cubicBezTo>
                  <a:close/>
                  <a:moveTo>
                    <a:pt x="629607" y="3487023"/>
                  </a:moveTo>
                  <a:lnTo>
                    <a:pt x="644513" y="3487023"/>
                  </a:lnTo>
                  <a:lnTo>
                    <a:pt x="644513" y="3710003"/>
                  </a:lnTo>
                  <a:lnTo>
                    <a:pt x="609225" y="3710003"/>
                  </a:lnTo>
                  <a:lnTo>
                    <a:pt x="609225" y="3530219"/>
                  </a:lnTo>
                  <a:cubicBezTo>
                    <a:pt x="602837" y="3534783"/>
                    <a:pt x="595967" y="3538661"/>
                    <a:pt x="588616" y="3541855"/>
                  </a:cubicBezTo>
                  <a:cubicBezTo>
                    <a:pt x="581264" y="3545049"/>
                    <a:pt x="572873" y="3547863"/>
                    <a:pt x="563443" y="3550297"/>
                  </a:cubicBezTo>
                  <a:lnTo>
                    <a:pt x="563443" y="3520181"/>
                  </a:lnTo>
                  <a:cubicBezTo>
                    <a:pt x="569324" y="3518254"/>
                    <a:pt x="575003" y="3516226"/>
                    <a:pt x="580478" y="3514097"/>
                  </a:cubicBezTo>
                  <a:cubicBezTo>
                    <a:pt x="585954" y="3511968"/>
                    <a:pt x="591354" y="3509584"/>
                    <a:pt x="596677" y="3506948"/>
                  </a:cubicBezTo>
                  <a:cubicBezTo>
                    <a:pt x="602001" y="3504312"/>
                    <a:pt x="607375" y="3501371"/>
                    <a:pt x="612800" y="3498126"/>
                  </a:cubicBezTo>
                  <a:cubicBezTo>
                    <a:pt x="618225" y="3494881"/>
                    <a:pt x="623827" y="3491180"/>
                    <a:pt x="629607" y="3487023"/>
                  </a:cubicBezTo>
                  <a:close/>
                  <a:moveTo>
                    <a:pt x="480750" y="3487023"/>
                  </a:moveTo>
                  <a:lnTo>
                    <a:pt x="495656" y="3487023"/>
                  </a:lnTo>
                  <a:lnTo>
                    <a:pt x="495656" y="3710003"/>
                  </a:lnTo>
                  <a:lnTo>
                    <a:pt x="460368" y="3710003"/>
                  </a:lnTo>
                  <a:lnTo>
                    <a:pt x="460368" y="3530219"/>
                  </a:lnTo>
                  <a:cubicBezTo>
                    <a:pt x="453980" y="3534783"/>
                    <a:pt x="447110" y="3538661"/>
                    <a:pt x="439759" y="3541855"/>
                  </a:cubicBezTo>
                  <a:cubicBezTo>
                    <a:pt x="432407" y="3545049"/>
                    <a:pt x="424016" y="3547863"/>
                    <a:pt x="414586" y="3550297"/>
                  </a:cubicBezTo>
                  <a:lnTo>
                    <a:pt x="414586" y="3520181"/>
                  </a:lnTo>
                  <a:cubicBezTo>
                    <a:pt x="420467" y="3518254"/>
                    <a:pt x="426146" y="3516226"/>
                    <a:pt x="431621" y="3514097"/>
                  </a:cubicBezTo>
                  <a:cubicBezTo>
                    <a:pt x="437097" y="3511968"/>
                    <a:pt x="442497" y="3509584"/>
                    <a:pt x="447821" y="3506948"/>
                  </a:cubicBezTo>
                  <a:cubicBezTo>
                    <a:pt x="453144" y="3504312"/>
                    <a:pt x="458518" y="3501371"/>
                    <a:pt x="463943" y="3498126"/>
                  </a:cubicBezTo>
                  <a:cubicBezTo>
                    <a:pt x="469368" y="3494881"/>
                    <a:pt x="474970" y="3491180"/>
                    <a:pt x="480750" y="3487023"/>
                  </a:cubicBezTo>
                  <a:close/>
                  <a:moveTo>
                    <a:pt x="11875949" y="3483150"/>
                  </a:moveTo>
                  <a:cubicBezTo>
                    <a:pt x="11923393" y="3483150"/>
                    <a:pt x="11947116" y="3520012"/>
                    <a:pt x="11947116" y="3593737"/>
                  </a:cubicBezTo>
                  <a:cubicBezTo>
                    <a:pt x="11947116" y="3630249"/>
                    <a:pt x="11940420" y="3658108"/>
                    <a:pt x="11927030" y="3677317"/>
                  </a:cubicBezTo>
                  <a:cubicBezTo>
                    <a:pt x="11913639" y="3696525"/>
                    <a:pt x="11894907" y="3706130"/>
                    <a:pt x="11870833" y="3706130"/>
                  </a:cubicBezTo>
                  <a:cubicBezTo>
                    <a:pt x="11848365" y="3706130"/>
                    <a:pt x="11830836" y="3696952"/>
                    <a:pt x="11818248" y="3678596"/>
                  </a:cubicBezTo>
                  <a:cubicBezTo>
                    <a:pt x="11805659" y="3660240"/>
                    <a:pt x="11799365" y="3633709"/>
                    <a:pt x="11799365" y="3599003"/>
                  </a:cubicBezTo>
                  <a:cubicBezTo>
                    <a:pt x="11799365" y="3560887"/>
                    <a:pt x="11805935" y="3532049"/>
                    <a:pt x="11819075" y="3512489"/>
                  </a:cubicBezTo>
                  <a:cubicBezTo>
                    <a:pt x="11832216" y="3492930"/>
                    <a:pt x="11851173" y="3483150"/>
                    <a:pt x="11875949" y="3483150"/>
                  </a:cubicBezTo>
                  <a:close/>
                  <a:moveTo>
                    <a:pt x="11190803" y="3483150"/>
                  </a:moveTo>
                  <a:cubicBezTo>
                    <a:pt x="11238247" y="3483150"/>
                    <a:pt x="11261970" y="3520012"/>
                    <a:pt x="11261970" y="3593737"/>
                  </a:cubicBezTo>
                  <a:cubicBezTo>
                    <a:pt x="11261970" y="3630249"/>
                    <a:pt x="11255274" y="3658108"/>
                    <a:pt x="11241884" y="3677317"/>
                  </a:cubicBezTo>
                  <a:cubicBezTo>
                    <a:pt x="11228493" y="3696525"/>
                    <a:pt x="11209761" y="3706130"/>
                    <a:pt x="11185687" y="3706130"/>
                  </a:cubicBezTo>
                  <a:cubicBezTo>
                    <a:pt x="11163219" y="3706130"/>
                    <a:pt x="11145690" y="3696952"/>
                    <a:pt x="11133102" y="3678596"/>
                  </a:cubicBezTo>
                  <a:cubicBezTo>
                    <a:pt x="11120513" y="3660240"/>
                    <a:pt x="11114219" y="3633709"/>
                    <a:pt x="11114219" y="3599003"/>
                  </a:cubicBezTo>
                  <a:cubicBezTo>
                    <a:pt x="11114219" y="3560887"/>
                    <a:pt x="11120789" y="3532049"/>
                    <a:pt x="11133929" y="3512489"/>
                  </a:cubicBezTo>
                  <a:cubicBezTo>
                    <a:pt x="11147070" y="3492930"/>
                    <a:pt x="11166027" y="3483150"/>
                    <a:pt x="11190803" y="3483150"/>
                  </a:cubicBezTo>
                  <a:close/>
                  <a:moveTo>
                    <a:pt x="9937869" y="3483150"/>
                  </a:moveTo>
                  <a:cubicBezTo>
                    <a:pt x="9985313" y="3483150"/>
                    <a:pt x="10009036" y="3520012"/>
                    <a:pt x="10009036" y="3593737"/>
                  </a:cubicBezTo>
                  <a:cubicBezTo>
                    <a:pt x="10009036" y="3630249"/>
                    <a:pt x="10002340" y="3658108"/>
                    <a:pt x="9988950" y="3677317"/>
                  </a:cubicBezTo>
                  <a:cubicBezTo>
                    <a:pt x="9975559" y="3696525"/>
                    <a:pt x="9956827" y="3706130"/>
                    <a:pt x="9932753" y="3706130"/>
                  </a:cubicBezTo>
                  <a:cubicBezTo>
                    <a:pt x="9910285" y="3706130"/>
                    <a:pt x="9892756" y="3696952"/>
                    <a:pt x="9880168" y="3678596"/>
                  </a:cubicBezTo>
                  <a:cubicBezTo>
                    <a:pt x="9867579" y="3660240"/>
                    <a:pt x="9861285" y="3633709"/>
                    <a:pt x="9861285" y="3599003"/>
                  </a:cubicBezTo>
                  <a:cubicBezTo>
                    <a:pt x="9861285" y="3560887"/>
                    <a:pt x="9867855" y="3532049"/>
                    <a:pt x="9880995" y="3512489"/>
                  </a:cubicBezTo>
                  <a:cubicBezTo>
                    <a:pt x="9894136" y="3492930"/>
                    <a:pt x="9913093" y="3483150"/>
                    <a:pt x="9937869" y="3483150"/>
                  </a:cubicBezTo>
                  <a:close/>
                  <a:moveTo>
                    <a:pt x="9715358" y="3483150"/>
                  </a:moveTo>
                  <a:cubicBezTo>
                    <a:pt x="9762802" y="3483150"/>
                    <a:pt x="9786525" y="3520012"/>
                    <a:pt x="9786525" y="3593737"/>
                  </a:cubicBezTo>
                  <a:cubicBezTo>
                    <a:pt x="9786525" y="3630249"/>
                    <a:pt x="9779829" y="3658108"/>
                    <a:pt x="9766439" y="3677317"/>
                  </a:cubicBezTo>
                  <a:cubicBezTo>
                    <a:pt x="9753048" y="3696525"/>
                    <a:pt x="9734316" y="3706130"/>
                    <a:pt x="9710242" y="3706130"/>
                  </a:cubicBezTo>
                  <a:cubicBezTo>
                    <a:pt x="9687774" y="3706130"/>
                    <a:pt x="9670245" y="3696952"/>
                    <a:pt x="9657657" y="3678596"/>
                  </a:cubicBezTo>
                  <a:cubicBezTo>
                    <a:pt x="9645068" y="3660240"/>
                    <a:pt x="9638774" y="3633709"/>
                    <a:pt x="9638774" y="3599003"/>
                  </a:cubicBezTo>
                  <a:cubicBezTo>
                    <a:pt x="9638774" y="3560887"/>
                    <a:pt x="9645344" y="3532049"/>
                    <a:pt x="9658484" y="3512489"/>
                  </a:cubicBezTo>
                  <a:cubicBezTo>
                    <a:pt x="9671625" y="3492930"/>
                    <a:pt x="9690582" y="3483150"/>
                    <a:pt x="9715358" y="3483150"/>
                  </a:cubicBezTo>
                  <a:close/>
                  <a:moveTo>
                    <a:pt x="6373956" y="3483150"/>
                  </a:moveTo>
                  <a:cubicBezTo>
                    <a:pt x="6421401" y="3483150"/>
                    <a:pt x="6445123" y="3520012"/>
                    <a:pt x="6445123" y="3593737"/>
                  </a:cubicBezTo>
                  <a:cubicBezTo>
                    <a:pt x="6445123" y="3630249"/>
                    <a:pt x="6438428" y="3658108"/>
                    <a:pt x="6425037" y="3677317"/>
                  </a:cubicBezTo>
                  <a:cubicBezTo>
                    <a:pt x="6411646" y="3696525"/>
                    <a:pt x="6392914" y="3706130"/>
                    <a:pt x="6368840" y="3706130"/>
                  </a:cubicBezTo>
                  <a:cubicBezTo>
                    <a:pt x="6346372" y="3706130"/>
                    <a:pt x="6328843" y="3696952"/>
                    <a:pt x="6316255" y="3678596"/>
                  </a:cubicBezTo>
                  <a:cubicBezTo>
                    <a:pt x="6303666" y="3660240"/>
                    <a:pt x="6297372" y="3633709"/>
                    <a:pt x="6297372" y="3599003"/>
                  </a:cubicBezTo>
                  <a:cubicBezTo>
                    <a:pt x="6297372" y="3560887"/>
                    <a:pt x="6303942" y="3532049"/>
                    <a:pt x="6317082" y="3512489"/>
                  </a:cubicBezTo>
                  <a:cubicBezTo>
                    <a:pt x="6330223" y="3492930"/>
                    <a:pt x="6349180" y="3483150"/>
                    <a:pt x="6373956" y="3483150"/>
                  </a:cubicBezTo>
                  <a:close/>
                  <a:moveTo>
                    <a:pt x="5786272" y="3483150"/>
                  </a:moveTo>
                  <a:cubicBezTo>
                    <a:pt x="5833719" y="3483150"/>
                    <a:pt x="5857440" y="3520012"/>
                    <a:pt x="5857440" y="3593737"/>
                  </a:cubicBezTo>
                  <a:cubicBezTo>
                    <a:pt x="5857440" y="3630249"/>
                    <a:pt x="5850744" y="3658108"/>
                    <a:pt x="5837355" y="3677317"/>
                  </a:cubicBezTo>
                  <a:cubicBezTo>
                    <a:pt x="5823963" y="3696525"/>
                    <a:pt x="5805230" y="3706130"/>
                    <a:pt x="5781158" y="3706130"/>
                  </a:cubicBezTo>
                  <a:cubicBezTo>
                    <a:pt x="5758689" y="3706130"/>
                    <a:pt x="5741161" y="3696952"/>
                    <a:pt x="5728572" y="3678596"/>
                  </a:cubicBezTo>
                  <a:cubicBezTo>
                    <a:pt x="5715984" y="3660240"/>
                    <a:pt x="5709690" y="3633709"/>
                    <a:pt x="5709690" y="3599003"/>
                  </a:cubicBezTo>
                  <a:cubicBezTo>
                    <a:pt x="5709690" y="3560887"/>
                    <a:pt x="5716259" y="3532049"/>
                    <a:pt x="5729400" y="3512489"/>
                  </a:cubicBezTo>
                  <a:cubicBezTo>
                    <a:pt x="5742540" y="3492930"/>
                    <a:pt x="5761498" y="3483150"/>
                    <a:pt x="5786272" y="3483150"/>
                  </a:cubicBezTo>
                  <a:close/>
                  <a:moveTo>
                    <a:pt x="5093284" y="3483150"/>
                  </a:moveTo>
                  <a:cubicBezTo>
                    <a:pt x="5140729" y="3483150"/>
                    <a:pt x="5164451" y="3520012"/>
                    <a:pt x="5164451" y="3593737"/>
                  </a:cubicBezTo>
                  <a:cubicBezTo>
                    <a:pt x="5164451" y="3630249"/>
                    <a:pt x="5157756" y="3658108"/>
                    <a:pt x="5144364" y="3677317"/>
                  </a:cubicBezTo>
                  <a:cubicBezTo>
                    <a:pt x="5130974" y="3696525"/>
                    <a:pt x="5112242" y="3706130"/>
                    <a:pt x="5088168" y="3706130"/>
                  </a:cubicBezTo>
                  <a:cubicBezTo>
                    <a:pt x="5065701" y="3706130"/>
                    <a:pt x="5048170" y="3696952"/>
                    <a:pt x="5035583" y="3678596"/>
                  </a:cubicBezTo>
                  <a:cubicBezTo>
                    <a:pt x="5022994" y="3660240"/>
                    <a:pt x="5016700" y="3633709"/>
                    <a:pt x="5016700" y="3599003"/>
                  </a:cubicBezTo>
                  <a:cubicBezTo>
                    <a:pt x="5016700" y="3560887"/>
                    <a:pt x="5023271" y="3532049"/>
                    <a:pt x="5036410" y="3512489"/>
                  </a:cubicBezTo>
                  <a:cubicBezTo>
                    <a:pt x="5049553" y="3492930"/>
                    <a:pt x="5068509" y="3483150"/>
                    <a:pt x="5093284" y="3483150"/>
                  </a:cubicBezTo>
                  <a:close/>
                  <a:moveTo>
                    <a:pt x="3839047" y="3483150"/>
                  </a:moveTo>
                  <a:cubicBezTo>
                    <a:pt x="3886491" y="3483150"/>
                    <a:pt x="3910214" y="3520012"/>
                    <a:pt x="3910214" y="3593737"/>
                  </a:cubicBezTo>
                  <a:cubicBezTo>
                    <a:pt x="3910214" y="3630249"/>
                    <a:pt x="3903519" y="3658108"/>
                    <a:pt x="3890128" y="3677317"/>
                  </a:cubicBezTo>
                  <a:cubicBezTo>
                    <a:pt x="3876737" y="3696525"/>
                    <a:pt x="3858005" y="3706130"/>
                    <a:pt x="3833931" y="3706130"/>
                  </a:cubicBezTo>
                  <a:cubicBezTo>
                    <a:pt x="3811463" y="3706130"/>
                    <a:pt x="3793934" y="3696952"/>
                    <a:pt x="3781346" y="3678596"/>
                  </a:cubicBezTo>
                  <a:cubicBezTo>
                    <a:pt x="3768757" y="3660240"/>
                    <a:pt x="3762464" y="3633709"/>
                    <a:pt x="3762464" y="3599003"/>
                  </a:cubicBezTo>
                  <a:cubicBezTo>
                    <a:pt x="3762464" y="3560887"/>
                    <a:pt x="3769034" y="3532049"/>
                    <a:pt x="3782173" y="3512489"/>
                  </a:cubicBezTo>
                  <a:cubicBezTo>
                    <a:pt x="3795313" y="3492930"/>
                    <a:pt x="3814271" y="3483150"/>
                    <a:pt x="3839047" y="3483150"/>
                  </a:cubicBezTo>
                  <a:close/>
                  <a:moveTo>
                    <a:pt x="3616537" y="3483150"/>
                  </a:moveTo>
                  <a:cubicBezTo>
                    <a:pt x="3663981" y="3483150"/>
                    <a:pt x="3687703" y="3520012"/>
                    <a:pt x="3687703" y="3593737"/>
                  </a:cubicBezTo>
                  <a:cubicBezTo>
                    <a:pt x="3687703" y="3630249"/>
                    <a:pt x="3681008" y="3658108"/>
                    <a:pt x="3667617" y="3677317"/>
                  </a:cubicBezTo>
                  <a:cubicBezTo>
                    <a:pt x="3654226" y="3696525"/>
                    <a:pt x="3635494" y="3706130"/>
                    <a:pt x="3611420" y="3706130"/>
                  </a:cubicBezTo>
                  <a:cubicBezTo>
                    <a:pt x="3588952" y="3706130"/>
                    <a:pt x="3571422" y="3696952"/>
                    <a:pt x="3558835" y="3678596"/>
                  </a:cubicBezTo>
                  <a:cubicBezTo>
                    <a:pt x="3546246" y="3660240"/>
                    <a:pt x="3539952" y="3633709"/>
                    <a:pt x="3539952" y="3599003"/>
                  </a:cubicBezTo>
                  <a:cubicBezTo>
                    <a:pt x="3539952" y="3560887"/>
                    <a:pt x="3546522" y="3532049"/>
                    <a:pt x="3559662" y="3512489"/>
                  </a:cubicBezTo>
                  <a:cubicBezTo>
                    <a:pt x="3572804" y="3492930"/>
                    <a:pt x="3591760" y="3483150"/>
                    <a:pt x="3616537" y="3483150"/>
                  </a:cubicBezTo>
                  <a:close/>
                  <a:moveTo>
                    <a:pt x="11868817" y="3137996"/>
                  </a:moveTo>
                  <a:cubicBezTo>
                    <a:pt x="11842637" y="3137996"/>
                    <a:pt x="11829547" y="3166834"/>
                    <a:pt x="11829547" y="3224510"/>
                  </a:cubicBezTo>
                  <a:cubicBezTo>
                    <a:pt x="11829547" y="3278474"/>
                    <a:pt x="11842386" y="3305457"/>
                    <a:pt x="11868065" y="3305457"/>
                  </a:cubicBezTo>
                  <a:cubicBezTo>
                    <a:pt x="11893341" y="3305457"/>
                    <a:pt x="11905980" y="3278023"/>
                    <a:pt x="11905980" y="3223156"/>
                  </a:cubicBezTo>
                  <a:cubicBezTo>
                    <a:pt x="11905980" y="3166382"/>
                    <a:pt x="11893592" y="3137996"/>
                    <a:pt x="11868817" y="3137996"/>
                  </a:cubicBezTo>
                  <a:close/>
                  <a:moveTo>
                    <a:pt x="11181652" y="3137996"/>
                  </a:moveTo>
                  <a:cubicBezTo>
                    <a:pt x="11155472" y="3137996"/>
                    <a:pt x="11142382" y="3166834"/>
                    <a:pt x="11142382" y="3224510"/>
                  </a:cubicBezTo>
                  <a:cubicBezTo>
                    <a:pt x="11142382" y="3278474"/>
                    <a:pt x="11155221" y="3305457"/>
                    <a:pt x="11180900" y="3305457"/>
                  </a:cubicBezTo>
                  <a:cubicBezTo>
                    <a:pt x="11206176" y="3305457"/>
                    <a:pt x="11218815" y="3278023"/>
                    <a:pt x="11218815" y="3223156"/>
                  </a:cubicBezTo>
                  <a:cubicBezTo>
                    <a:pt x="11218815" y="3166382"/>
                    <a:pt x="11206427" y="3137996"/>
                    <a:pt x="11181652" y="3137996"/>
                  </a:cubicBezTo>
                  <a:close/>
                  <a:moveTo>
                    <a:pt x="9924166" y="3137996"/>
                  </a:moveTo>
                  <a:cubicBezTo>
                    <a:pt x="9897986" y="3137996"/>
                    <a:pt x="9884896" y="3166834"/>
                    <a:pt x="9884896" y="3224510"/>
                  </a:cubicBezTo>
                  <a:cubicBezTo>
                    <a:pt x="9884896" y="3278474"/>
                    <a:pt x="9897735" y="3305457"/>
                    <a:pt x="9923414" y="3305457"/>
                  </a:cubicBezTo>
                  <a:cubicBezTo>
                    <a:pt x="9948690" y="3305457"/>
                    <a:pt x="9961329" y="3278023"/>
                    <a:pt x="9961329" y="3223156"/>
                  </a:cubicBezTo>
                  <a:cubicBezTo>
                    <a:pt x="9961329" y="3166382"/>
                    <a:pt x="9948941" y="3137996"/>
                    <a:pt x="9924166" y="3137996"/>
                  </a:cubicBezTo>
                  <a:close/>
                  <a:moveTo>
                    <a:pt x="9707272" y="3137996"/>
                  </a:moveTo>
                  <a:cubicBezTo>
                    <a:pt x="9681092" y="3137996"/>
                    <a:pt x="9668002" y="3166834"/>
                    <a:pt x="9668002" y="3224510"/>
                  </a:cubicBezTo>
                  <a:cubicBezTo>
                    <a:pt x="9668002" y="3278474"/>
                    <a:pt x="9680841" y="3305457"/>
                    <a:pt x="9706520" y="3305457"/>
                  </a:cubicBezTo>
                  <a:cubicBezTo>
                    <a:pt x="9731796" y="3305457"/>
                    <a:pt x="9744435" y="3278023"/>
                    <a:pt x="9744435" y="3223156"/>
                  </a:cubicBezTo>
                  <a:cubicBezTo>
                    <a:pt x="9744435" y="3166382"/>
                    <a:pt x="9732047" y="3137996"/>
                    <a:pt x="9707272" y="3137996"/>
                  </a:cubicBezTo>
                  <a:close/>
                  <a:moveTo>
                    <a:pt x="6330265" y="3137996"/>
                  </a:moveTo>
                  <a:cubicBezTo>
                    <a:pt x="6304085" y="3137996"/>
                    <a:pt x="6290995" y="3166834"/>
                    <a:pt x="6290995" y="3224510"/>
                  </a:cubicBezTo>
                  <a:cubicBezTo>
                    <a:pt x="6290995" y="3278474"/>
                    <a:pt x="6303834" y="3305457"/>
                    <a:pt x="6329513" y="3305457"/>
                  </a:cubicBezTo>
                  <a:cubicBezTo>
                    <a:pt x="6354790" y="3305457"/>
                    <a:pt x="6367428" y="3278023"/>
                    <a:pt x="6367428" y="3223156"/>
                  </a:cubicBezTo>
                  <a:cubicBezTo>
                    <a:pt x="6367428" y="3166382"/>
                    <a:pt x="6355040" y="3137996"/>
                    <a:pt x="6330265" y="3137996"/>
                  </a:cubicBezTo>
                  <a:close/>
                  <a:moveTo>
                    <a:pt x="6148770" y="3137996"/>
                  </a:moveTo>
                  <a:cubicBezTo>
                    <a:pt x="6122590" y="3137996"/>
                    <a:pt x="6109500" y="3166834"/>
                    <a:pt x="6109500" y="3224510"/>
                  </a:cubicBezTo>
                  <a:cubicBezTo>
                    <a:pt x="6109500" y="3278474"/>
                    <a:pt x="6122339" y="3305457"/>
                    <a:pt x="6148018" y="3305457"/>
                  </a:cubicBezTo>
                  <a:cubicBezTo>
                    <a:pt x="6173295" y="3305457"/>
                    <a:pt x="6185933" y="3278023"/>
                    <a:pt x="6185933" y="3223156"/>
                  </a:cubicBezTo>
                  <a:cubicBezTo>
                    <a:pt x="6185933" y="3166382"/>
                    <a:pt x="6173545" y="3137996"/>
                    <a:pt x="6148770" y="3137996"/>
                  </a:cubicBezTo>
                  <a:close/>
                  <a:moveTo>
                    <a:pt x="5817313" y="3137996"/>
                  </a:moveTo>
                  <a:cubicBezTo>
                    <a:pt x="5791132" y="3137996"/>
                    <a:pt x="5778043" y="3166834"/>
                    <a:pt x="5778043" y="3224510"/>
                  </a:cubicBezTo>
                  <a:cubicBezTo>
                    <a:pt x="5778043" y="3278474"/>
                    <a:pt x="5790882" y="3305457"/>
                    <a:pt x="5816561" y="3305457"/>
                  </a:cubicBezTo>
                  <a:cubicBezTo>
                    <a:pt x="5841837" y="3305457"/>
                    <a:pt x="5854477" y="3278023"/>
                    <a:pt x="5854477" y="3223156"/>
                  </a:cubicBezTo>
                  <a:cubicBezTo>
                    <a:pt x="5854477" y="3166382"/>
                    <a:pt x="5842087" y="3137996"/>
                    <a:pt x="5817313" y="3137996"/>
                  </a:cubicBezTo>
                  <a:close/>
                  <a:moveTo>
                    <a:pt x="5117746" y="3137996"/>
                  </a:moveTo>
                  <a:cubicBezTo>
                    <a:pt x="5091566" y="3137996"/>
                    <a:pt x="5078476" y="3166834"/>
                    <a:pt x="5078476" y="3224510"/>
                  </a:cubicBezTo>
                  <a:cubicBezTo>
                    <a:pt x="5078476" y="3278474"/>
                    <a:pt x="5091315" y="3305457"/>
                    <a:pt x="5116994" y="3305457"/>
                  </a:cubicBezTo>
                  <a:cubicBezTo>
                    <a:pt x="5142271" y="3305457"/>
                    <a:pt x="5154909" y="3278023"/>
                    <a:pt x="5154909" y="3223156"/>
                  </a:cubicBezTo>
                  <a:cubicBezTo>
                    <a:pt x="5154909" y="3166382"/>
                    <a:pt x="5142521" y="3137996"/>
                    <a:pt x="5117746" y="3137996"/>
                  </a:cubicBezTo>
                  <a:close/>
                  <a:moveTo>
                    <a:pt x="3857235" y="3137996"/>
                  </a:moveTo>
                  <a:cubicBezTo>
                    <a:pt x="3831054" y="3137996"/>
                    <a:pt x="3817965" y="3166834"/>
                    <a:pt x="3817965" y="3224510"/>
                  </a:cubicBezTo>
                  <a:cubicBezTo>
                    <a:pt x="3817965" y="3278474"/>
                    <a:pt x="3830804" y="3305457"/>
                    <a:pt x="3856483" y="3305457"/>
                  </a:cubicBezTo>
                  <a:cubicBezTo>
                    <a:pt x="3881760" y="3305457"/>
                    <a:pt x="3894397" y="3278023"/>
                    <a:pt x="3894397" y="3223156"/>
                  </a:cubicBezTo>
                  <a:cubicBezTo>
                    <a:pt x="3894397" y="3166382"/>
                    <a:pt x="3882010" y="3137996"/>
                    <a:pt x="3857235" y="3137996"/>
                  </a:cubicBezTo>
                  <a:close/>
                  <a:moveTo>
                    <a:pt x="3640341" y="3137996"/>
                  </a:moveTo>
                  <a:cubicBezTo>
                    <a:pt x="3614161" y="3137996"/>
                    <a:pt x="3601072" y="3166834"/>
                    <a:pt x="3601072" y="3224510"/>
                  </a:cubicBezTo>
                  <a:cubicBezTo>
                    <a:pt x="3601072" y="3278474"/>
                    <a:pt x="3613910" y="3305457"/>
                    <a:pt x="3639589" y="3305457"/>
                  </a:cubicBezTo>
                  <a:cubicBezTo>
                    <a:pt x="3664866" y="3305457"/>
                    <a:pt x="3677504" y="3278023"/>
                    <a:pt x="3677504" y="3223156"/>
                  </a:cubicBezTo>
                  <a:cubicBezTo>
                    <a:pt x="3677504" y="3166382"/>
                    <a:pt x="3665116" y="3137996"/>
                    <a:pt x="3640341" y="3137996"/>
                  </a:cubicBezTo>
                  <a:close/>
                  <a:moveTo>
                    <a:pt x="273451" y="3137996"/>
                  </a:moveTo>
                  <a:cubicBezTo>
                    <a:pt x="247271" y="3137996"/>
                    <a:pt x="234181" y="3166834"/>
                    <a:pt x="234181" y="3224510"/>
                  </a:cubicBezTo>
                  <a:cubicBezTo>
                    <a:pt x="234181" y="3278474"/>
                    <a:pt x="247020" y="3305457"/>
                    <a:pt x="272699" y="3305457"/>
                  </a:cubicBezTo>
                  <a:cubicBezTo>
                    <a:pt x="297976" y="3305457"/>
                    <a:pt x="310614" y="3278023"/>
                    <a:pt x="310614" y="3223156"/>
                  </a:cubicBezTo>
                  <a:cubicBezTo>
                    <a:pt x="310614" y="3166382"/>
                    <a:pt x="298226" y="3137996"/>
                    <a:pt x="273451" y="3137996"/>
                  </a:cubicBezTo>
                  <a:close/>
                  <a:moveTo>
                    <a:pt x="74929" y="3137996"/>
                  </a:moveTo>
                  <a:cubicBezTo>
                    <a:pt x="48749" y="3137996"/>
                    <a:pt x="35659" y="3166834"/>
                    <a:pt x="35659" y="3224510"/>
                  </a:cubicBezTo>
                  <a:cubicBezTo>
                    <a:pt x="35659" y="3278474"/>
                    <a:pt x="48498" y="3305457"/>
                    <a:pt x="74177" y="3305457"/>
                  </a:cubicBezTo>
                  <a:cubicBezTo>
                    <a:pt x="99454" y="3305457"/>
                    <a:pt x="112092" y="3278023"/>
                    <a:pt x="112092" y="3223156"/>
                  </a:cubicBezTo>
                  <a:cubicBezTo>
                    <a:pt x="112092" y="3166382"/>
                    <a:pt x="99704" y="3137996"/>
                    <a:pt x="74929" y="3137996"/>
                  </a:cubicBezTo>
                  <a:close/>
                  <a:moveTo>
                    <a:pt x="12088449" y="3110161"/>
                  </a:moveTo>
                  <a:lnTo>
                    <a:pt x="12103355" y="3110161"/>
                  </a:lnTo>
                  <a:lnTo>
                    <a:pt x="12103355" y="3333141"/>
                  </a:lnTo>
                  <a:lnTo>
                    <a:pt x="12068067" y="3333141"/>
                  </a:lnTo>
                  <a:lnTo>
                    <a:pt x="12068067" y="3153358"/>
                  </a:lnTo>
                  <a:cubicBezTo>
                    <a:pt x="12061679" y="3157921"/>
                    <a:pt x="12054809" y="3161799"/>
                    <a:pt x="12047458" y="3164993"/>
                  </a:cubicBezTo>
                  <a:cubicBezTo>
                    <a:pt x="12040106" y="3168188"/>
                    <a:pt x="12031715" y="3171001"/>
                    <a:pt x="12022285" y="3173435"/>
                  </a:cubicBezTo>
                  <a:lnTo>
                    <a:pt x="12022285" y="3143319"/>
                  </a:lnTo>
                  <a:cubicBezTo>
                    <a:pt x="12028166" y="3141393"/>
                    <a:pt x="12033845" y="3139365"/>
                    <a:pt x="12039320" y="3137235"/>
                  </a:cubicBezTo>
                  <a:cubicBezTo>
                    <a:pt x="12044796" y="3135106"/>
                    <a:pt x="12050196" y="3132723"/>
                    <a:pt x="12055519" y="3130086"/>
                  </a:cubicBezTo>
                  <a:cubicBezTo>
                    <a:pt x="12060843" y="3127450"/>
                    <a:pt x="12066217" y="3124509"/>
                    <a:pt x="12071642" y="3121265"/>
                  </a:cubicBezTo>
                  <a:cubicBezTo>
                    <a:pt x="12077067" y="3118020"/>
                    <a:pt x="12082669" y="3114319"/>
                    <a:pt x="12088449" y="3110161"/>
                  </a:cubicBezTo>
                  <a:close/>
                  <a:moveTo>
                    <a:pt x="11870472" y="3110161"/>
                  </a:moveTo>
                  <a:cubicBezTo>
                    <a:pt x="11917916" y="3110161"/>
                    <a:pt x="11941639" y="3147024"/>
                    <a:pt x="11941639" y="3220749"/>
                  </a:cubicBezTo>
                  <a:cubicBezTo>
                    <a:pt x="11941639" y="3257260"/>
                    <a:pt x="11934943" y="3285120"/>
                    <a:pt x="11921553" y="3304328"/>
                  </a:cubicBezTo>
                  <a:cubicBezTo>
                    <a:pt x="11908162" y="3323537"/>
                    <a:pt x="11889430" y="3333141"/>
                    <a:pt x="11865356" y="3333141"/>
                  </a:cubicBezTo>
                  <a:cubicBezTo>
                    <a:pt x="11842888" y="3333141"/>
                    <a:pt x="11825359" y="3323963"/>
                    <a:pt x="11812771" y="3305607"/>
                  </a:cubicBezTo>
                  <a:cubicBezTo>
                    <a:pt x="11800182" y="3287251"/>
                    <a:pt x="11793888" y="3260720"/>
                    <a:pt x="11793888" y="3226015"/>
                  </a:cubicBezTo>
                  <a:cubicBezTo>
                    <a:pt x="11793888" y="3187898"/>
                    <a:pt x="11800458" y="3159061"/>
                    <a:pt x="11813598" y="3139501"/>
                  </a:cubicBezTo>
                  <a:cubicBezTo>
                    <a:pt x="11826739" y="3119941"/>
                    <a:pt x="11845696" y="3110161"/>
                    <a:pt x="11870472" y="3110161"/>
                  </a:cubicBezTo>
                  <a:close/>
                  <a:moveTo>
                    <a:pt x="11183307" y="3110161"/>
                  </a:moveTo>
                  <a:cubicBezTo>
                    <a:pt x="11230751" y="3110161"/>
                    <a:pt x="11254474" y="3147024"/>
                    <a:pt x="11254474" y="3220749"/>
                  </a:cubicBezTo>
                  <a:cubicBezTo>
                    <a:pt x="11254474" y="3257260"/>
                    <a:pt x="11247778" y="3285120"/>
                    <a:pt x="11234388" y="3304328"/>
                  </a:cubicBezTo>
                  <a:cubicBezTo>
                    <a:pt x="11220997" y="3323537"/>
                    <a:pt x="11202265" y="3333141"/>
                    <a:pt x="11178191" y="3333141"/>
                  </a:cubicBezTo>
                  <a:cubicBezTo>
                    <a:pt x="11155723" y="3333141"/>
                    <a:pt x="11138194" y="3323963"/>
                    <a:pt x="11125606" y="3305607"/>
                  </a:cubicBezTo>
                  <a:cubicBezTo>
                    <a:pt x="11113017" y="3287251"/>
                    <a:pt x="11106723" y="3260720"/>
                    <a:pt x="11106723" y="3226015"/>
                  </a:cubicBezTo>
                  <a:cubicBezTo>
                    <a:pt x="11106723" y="3187898"/>
                    <a:pt x="11113293" y="3159061"/>
                    <a:pt x="11126433" y="3139501"/>
                  </a:cubicBezTo>
                  <a:cubicBezTo>
                    <a:pt x="11139574" y="3119941"/>
                    <a:pt x="11158531" y="3110161"/>
                    <a:pt x="11183307" y="3110161"/>
                  </a:cubicBezTo>
                  <a:close/>
                  <a:moveTo>
                    <a:pt x="10794576" y="3110161"/>
                  </a:moveTo>
                  <a:lnTo>
                    <a:pt x="10809482" y="3110161"/>
                  </a:lnTo>
                  <a:lnTo>
                    <a:pt x="10809482" y="3333141"/>
                  </a:lnTo>
                  <a:lnTo>
                    <a:pt x="10774194" y="3333141"/>
                  </a:lnTo>
                  <a:lnTo>
                    <a:pt x="10774194" y="3153358"/>
                  </a:lnTo>
                  <a:cubicBezTo>
                    <a:pt x="10767806" y="3157921"/>
                    <a:pt x="10760936" y="3161799"/>
                    <a:pt x="10753585" y="3164993"/>
                  </a:cubicBezTo>
                  <a:cubicBezTo>
                    <a:pt x="10746233" y="3168188"/>
                    <a:pt x="10737842" y="3171001"/>
                    <a:pt x="10728412" y="3173435"/>
                  </a:cubicBezTo>
                  <a:lnTo>
                    <a:pt x="10728412" y="3143319"/>
                  </a:lnTo>
                  <a:cubicBezTo>
                    <a:pt x="10734293" y="3141393"/>
                    <a:pt x="10739972" y="3139365"/>
                    <a:pt x="10745447" y="3137235"/>
                  </a:cubicBezTo>
                  <a:cubicBezTo>
                    <a:pt x="10750923" y="3135106"/>
                    <a:pt x="10756323" y="3132723"/>
                    <a:pt x="10761646" y="3130086"/>
                  </a:cubicBezTo>
                  <a:cubicBezTo>
                    <a:pt x="10766970" y="3127450"/>
                    <a:pt x="10772344" y="3124509"/>
                    <a:pt x="10777769" y="3121265"/>
                  </a:cubicBezTo>
                  <a:cubicBezTo>
                    <a:pt x="10783194" y="3118020"/>
                    <a:pt x="10788796" y="3114319"/>
                    <a:pt x="10794576" y="3110161"/>
                  </a:cubicBezTo>
                  <a:close/>
                  <a:moveTo>
                    <a:pt x="10431054" y="3110161"/>
                  </a:moveTo>
                  <a:lnTo>
                    <a:pt x="10445960" y="3110161"/>
                  </a:lnTo>
                  <a:lnTo>
                    <a:pt x="10445960" y="3333141"/>
                  </a:lnTo>
                  <a:lnTo>
                    <a:pt x="10410672" y="3333141"/>
                  </a:lnTo>
                  <a:lnTo>
                    <a:pt x="10410672" y="3153358"/>
                  </a:lnTo>
                  <a:cubicBezTo>
                    <a:pt x="10404284" y="3157921"/>
                    <a:pt x="10397414" y="3161799"/>
                    <a:pt x="10390063" y="3164993"/>
                  </a:cubicBezTo>
                  <a:cubicBezTo>
                    <a:pt x="10382711" y="3168188"/>
                    <a:pt x="10374320" y="3171001"/>
                    <a:pt x="10364890" y="3173435"/>
                  </a:cubicBezTo>
                  <a:lnTo>
                    <a:pt x="10364890" y="3143319"/>
                  </a:lnTo>
                  <a:cubicBezTo>
                    <a:pt x="10370771" y="3141393"/>
                    <a:pt x="10376450" y="3139365"/>
                    <a:pt x="10381925" y="3137235"/>
                  </a:cubicBezTo>
                  <a:cubicBezTo>
                    <a:pt x="10387401" y="3135106"/>
                    <a:pt x="10392801" y="3132723"/>
                    <a:pt x="10398124" y="3130086"/>
                  </a:cubicBezTo>
                  <a:cubicBezTo>
                    <a:pt x="10403448" y="3127450"/>
                    <a:pt x="10408822" y="3124509"/>
                    <a:pt x="10414247" y="3121265"/>
                  </a:cubicBezTo>
                  <a:cubicBezTo>
                    <a:pt x="10419672" y="3118020"/>
                    <a:pt x="10425274" y="3114319"/>
                    <a:pt x="10431054" y="3110161"/>
                  </a:cubicBezTo>
                  <a:close/>
                  <a:moveTo>
                    <a:pt x="10132191" y="3110161"/>
                  </a:moveTo>
                  <a:lnTo>
                    <a:pt x="10147097" y="3110161"/>
                  </a:lnTo>
                  <a:lnTo>
                    <a:pt x="10147097" y="3333141"/>
                  </a:lnTo>
                  <a:lnTo>
                    <a:pt x="10111809" y="3333141"/>
                  </a:lnTo>
                  <a:lnTo>
                    <a:pt x="10111809" y="3153358"/>
                  </a:lnTo>
                  <a:cubicBezTo>
                    <a:pt x="10105421" y="3157921"/>
                    <a:pt x="10098551" y="3161799"/>
                    <a:pt x="10091200" y="3164993"/>
                  </a:cubicBezTo>
                  <a:cubicBezTo>
                    <a:pt x="10083848" y="3168188"/>
                    <a:pt x="10075457" y="3171001"/>
                    <a:pt x="10066027" y="3173435"/>
                  </a:cubicBezTo>
                  <a:lnTo>
                    <a:pt x="10066027" y="3143319"/>
                  </a:lnTo>
                  <a:cubicBezTo>
                    <a:pt x="10071908" y="3141393"/>
                    <a:pt x="10077587" y="3139365"/>
                    <a:pt x="10083062" y="3137235"/>
                  </a:cubicBezTo>
                  <a:cubicBezTo>
                    <a:pt x="10088538" y="3135106"/>
                    <a:pt x="10093938" y="3132723"/>
                    <a:pt x="10099261" y="3130086"/>
                  </a:cubicBezTo>
                  <a:cubicBezTo>
                    <a:pt x="10104585" y="3127450"/>
                    <a:pt x="10109959" y="3124509"/>
                    <a:pt x="10115384" y="3121265"/>
                  </a:cubicBezTo>
                  <a:cubicBezTo>
                    <a:pt x="10120809" y="3118020"/>
                    <a:pt x="10126411" y="3114319"/>
                    <a:pt x="10132191" y="3110161"/>
                  </a:cubicBezTo>
                  <a:close/>
                  <a:moveTo>
                    <a:pt x="9925821" y="3110161"/>
                  </a:moveTo>
                  <a:cubicBezTo>
                    <a:pt x="9973265" y="3110161"/>
                    <a:pt x="9996988" y="3147024"/>
                    <a:pt x="9996988" y="3220749"/>
                  </a:cubicBezTo>
                  <a:cubicBezTo>
                    <a:pt x="9996988" y="3257260"/>
                    <a:pt x="9990292" y="3285120"/>
                    <a:pt x="9976902" y="3304328"/>
                  </a:cubicBezTo>
                  <a:cubicBezTo>
                    <a:pt x="9963511" y="3323537"/>
                    <a:pt x="9944779" y="3333141"/>
                    <a:pt x="9920705" y="3333141"/>
                  </a:cubicBezTo>
                  <a:cubicBezTo>
                    <a:pt x="9898237" y="3333141"/>
                    <a:pt x="9880708" y="3323963"/>
                    <a:pt x="9868120" y="3305607"/>
                  </a:cubicBezTo>
                  <a:cubicBezTo>
                    <a:pt x="9855531" y="3287251"/>
                    <a:pt x="9849237" y="3260720"/>
                    <a:pt x="9849237" y="3226015"/>
                  </a:cubicBezTo>
                  <a:cubicBezTo>
                    <a:pt x="9849237" y="3187898"/>
                    <a:pt x="9855807" y="3159061"/>
                    <a:pt x="9868947" y="3139501"/>
                  </a:cubicBezTo>
                  <a:cubicBezTo>
                    <a:pt x="9882088" y="3119941"/>
                    <a:pt x="9901045" y="3110161"/>
                    <a:pt x="9925821" y="3110161"/>
                  </a:cubicBezTo>
                  <a:close/>
                  <a:moveTo>
                    <a:pt x="9708927" y="3110161"/>
                  </a:moveTo>
                  <a:cubicBezTo>
                    <a:pt x="9756371" y="3110161"/>
                    <a:pt x="9780094" y="3147024"/>
                    <a:pt x="9780094" y="3220749"/>
                  </a:cubicBezTo>
                  <a:cubicBezTo>
                    <a:pt x="9780094" y="3257260"/>
                    <a:pt x="9773398" y="3285120"/>
                    <a:pt x="9760008" y="3304328"/>
                  </a:cubicBezTo>
                  <a:cubicBezTo>
                    <a:pt x="9746617" y="3323537"/>
                    <a:pt x="9727885" y="3333141"/>
                    <a:pt x="9703811" y="3333141"/>
                  </a:cubicBezTo>
                  <a:cubicBezTo>
                    <a:pt x="9681343" y="3333141"/>
                    <a:pt x="9663814" y="3323963"/>
                    <a:pt x="9651226" y="3305607"/>
                  </a:cubicBezTo>
                  <a:cubicBezTo>
                    <a:pt x="9638637" y="3287251"/>
                    <a:pt x="9632343" y="3260720"/>
                    <a:pt x="9632343" y="3226015"/>
                  </a:cubicBezTo>
                  <a:cubicBezTo>
                    <a:pt x="9632343" y="3187898"/>
                    <a:pt x="9638913" y="3159061"/>
                    <a:pt x="9652053" y="3139501"/>
                  </a:cubicBezTo>
                  <a:cubicBezTo>
                    <a:pt x="9665194" y="3119941"/>
                    <a:pt x="9684151" y="3110161"/>
                    <a:pt x="9708927" y="3110161"/>
                  </a:cubicBezTo>
                  <a:close/>
                  <a:moveTo>
                    <a:pt x="9539026" y="3110161"/>
                  </a:moveTo>
                  <a:lnTo>
                    <a:pt x="9553932" y="3110161"/>
                  </a:lnTo>
                  <a:lnTo>
                    <a:pt x="9553932" y="3333141"/>
                  </a:lnTo>
                  <a:lnTo>
                    <a:pt x="9518644" y="3333141"/>
                  </a:lnTo>
                  <a:lnTo>
                    <a:pt x="9518644" y="3153358"/>
                  </a:lnTo>
                  <a:cubicBezTo>
                    <a:pt x="9512256" y="3157921"/>
                    <a:pt x="9505386" y="3161799"/>
                    <a:pt x="9498035" y="3164993"/>
                  </a:cubicBezTo>
                  <a:cubicBezTo>
                    <a:pt x="9490683" y="3168188"/>
                    <a:pt x="9482292" y="3171001"/>
                    <a:pt x="9472862" y="3173435"/>
                  </a:cubicBezTo>
                  <a:lnTo>
                    <a:pt x="9472862" y="3143319"/>
                  </a:lnTo>
                  <a:cubicBezTo>
                    <a:pt x="9478743" y="3141393"/>
                    <a:pt x="9484422" y="3139365"/>
                    <a:pt x="9489897" y="3137235"/>
                  </a:cubicBezTo>
                  <a:cubicBezTo>
                    <a:pt x="9495373" y="3135106"/>
                    <a:pt x="9500773" y="3132723"/>
                    <a:pt x="9506096" y="3130086"/>
                  </a:cubicBezTo>
                  <a:cubicBezTo>
                    <a:pt x="9511420" y="3127450"/>
                    <a:pt x="9516794" y="3124509"/>
                    <a:pt x="9522219" y="3121265"/>
                  </a:cubicBezTo>
                  <a:cubicBezTo>
                    <a:pt x="9527644" y="3118020"/>
                    <a:pt x="9533246" y="3114319"/>
                    <a:pt x="9539026" y="3110161"/>
                  </a:cubicBezTo>
                  <a:close/>
                  <a:moveTo>
                    <a:pt x="9240163" y="3110161"/>
                  </a:moveTo>
                  <a:lnTo>
                    <a:pt x="9255069" y="3110161"/>
                  </a:lnTo>
                  <a:lnTo>
                    <a:pt x="9255069" y="3333141"/>
                  </a:lnTo>
                  <a:lnTo>
                    <a:pt x="9219781" y="3333141"/>
                  </a:lnTo>
                  <a:lnTo>
                    <a:pt x="9219781" y="3153358"/>
                  </a:lnTo>
                  <a:cubicBezTo>
                    <a:pt x="9213393" y="3157921"/>
                    <a:pt x="9206523" y="3161799"/>
                    <a:pt x="9199172" y="3164993"/>
                  </a:cubicBezTo>
                  <a:cubicBezTo>
                    <a:pt x="9191820" y="3168188"/>
                    <a:pt x="9183429" y="3171001"/>
                    <a:pt x="9173999" y="3173435"/>
                  </a:cubicBezTo>
                  <a:lnTo>
                    <a:pt x="9173999" y="3143319"/>
                  </a:lnTo>
                  <a:cubicBezTo>
                    <a:pt x="9179880" y="3141393"/>
                    <a:pt x="9185559" y="3139365"/>
                    <a:pt x="9191034" y="3137235"/>
                  </a:cubicBezTo>
                  <a:cubicBezTo>
                    <a:pt x="9196510" y="3135106"/>
                    <a:pt x="9201910" y="3132723"/>
                    <a:pt x="9207233" y="3130086"/>
                  </a:cubicBezTo>
                  <a:cubicBezTo>
                    <a:pt x="9212557" y="3127450"/>
                    <a:pt x="9217931" y="3124509"/>
                    <a:pt x="9223356" y="3121265"/>
                  </a:cubicBezTo>
                  <a:cubicBezTo>
                    <a:pt x="9228781" y="3118020"/>
                    <a:pt x="9234383" y="3114319"/>
                    <a:pt x="9240163" y="3110161"/>
                  </a:cubicBezTo>
                  <a:close/>
                  <a:moveTo>
                    <a:pt x="8864744" y="3110161"/>
                  </a:moveTo>
                  <a:lnTo>
                    <a:pt x="8879650" y="3110161"/>
                  </a:lnTo>
                  <a:lnTo>
                    <a:pt x="8879650" y="3333141"/>
                  </a:lnTo>
                  <a:lnTo>
                    <a:pt x="8844362" y="3333141"/>
                  </a:lnTo>
                  <a:lnTo>
                    <a:pt x="8844362" y="3153358"/>
                  </a:lnTo>
                  <a:cubicBezTo>
                    <a:pt x="8837974" y="3157921"/>
                    <a:pt x="8831104" y="3161799"/>
                    <a:pt x="8823753" y="3164993"/>
                  </a:cubicBezTo>
                  <a:cubicBezTo>
                    <a:pt x="8816401" y="3168188"/>
                    <a:pt x="8808010" y="3171001"/>
                    <a:pt x="8798580" y="3173435"/>
                  </a:cubicBezTo>
                  <a:lnTo>
                    <a:pt x="8798580" y="3143319"/>
                  </a:lnTo>
                  <a:cubicBezTo>
                    <a:pt x="8804461" y="3141393"/>
                    <a:pt x="8810140" y="3139365"/>
                    <a:pt x="8815615" y="3137235"/>
                  </a:cubicBezTo>
                  <a:cubicBezTo>
                    <a:pt x="8821091" y="3135106"/>
                    <a:pt x="8826491" y="3132723"/>
                    <a:pt x="8831814" y="3130086"/>
                  </a:cubicBezTo>
                  <a:cubicBezTo>
                    <a:pt x="8837138" y="3127450"/>
                    <a:pt x="8842512" y="3124509"/>
                    <a:pt x="8847937" y="3121265"/>
                  </a:cubicBezTo>
                  <a:cubicBezTo>
                    <a:pt x="8853362" y="3118020"/>
                    <a:pt x="8858964" y="3114319"/>
                    <a:pt x="8864744" y="3110161"/>
                  </a:cubicBezTo>
                  <a:close/>
                  <a:moveTo>
                    <a:pt x="8714738" y="3110161"/>
                  </a:moveTo>
                  <a:lnTo>
                    <a:pt x="8729644" y="3110161"/>
                  </a:lnTo>
                  <a:lnTo>
                    <a:pt x="8729644" y="3333141"/>
                  </a:lnTo>
                  <a:lnTo>
                    <a:pt x="8694356" y="3333141"/>
                  </a:lnTo>
                  <a:lnTo>
                    <a:pt x="8694356" y="3153358"/>
                  </a:lnTo>
                  <a:cubicBezTo>
                    <a:pt x="8687968" y="3157921"/>
                    <a:pt x="8681098" y="3161799"/>
                    <a:pt x="8673747" y="3164993"/>
                  </a:cubicBezTo>
                  <a:cubicBezTo>
                    <a:pt x="8666395" y="3168188"/>
                    <a:pt x="8658004" y="3171001"/>
                    <a:pt x="8648574" y="3173435"/>
                  </a:cubicBezTo>
                  <a:lnTo>
                    <a:pt x="8648574" y="3143319"/>
                  </a:lnTo>
                  <a:cubicBezTo>
                    <a:pt x="8654455" y="3141393"/>
                    <a:pt x="8660134" y="3139365"/>
                    <a:pt x="8665609" y="3137235"/>
                  </a:cubicBezTo>
                  <a:cubicBezTo>
                    <a:pt x="8671085" y="3135106"/>
                    <a:pt x="8676485" y="3132723"/>
                    <a:pt x="8681808" y="3130086"/>
                  </a:cubicBezTo>
                  <a:cubicBezTo>
                    <a:pt x="8687132" y="3127450"/>
                    <a:pt x="8692506" y="3124509"/>
                    <a:pt x="8697931" y="3121265"/>
                  </a:cubicBezTo>
                  <a:cubicBezTo>
                    <a:pt x="8703356" y="3118020"/>
                    <a:pt x="8708958" y="3114319"/>
                    <a:pt x="8714738" y="3110161"/>
                  </a:cubicBezTo>
                  <a:close/>
                  <a:moveTo>
                    <a:pt x="8565881" y="3110161"/>
                  </a:moveTo>
                  <a:lnTo>
                    <a:pt x="8580787" y="3110161"/>
                  </a:lnTo>
                  <a:lnTo>
                    <a:pt x="8580787" y="3333141"/>
                  </a:lnTo>
                  <a:lnTo>
                    <a:pt x="8545499" y="3333141"/>
                  </a:lnTo>
                  <a:lnTo>
                    <a:pt x="8545499" y="3153358"/>
                  </a:lnTo>
                  <a:cubicBezTo>
                    <a:pt x="8539111" y="3157921"/>
                    <a:pt x="8532241" y="3161799"/>
                    <a:pt x="8524890" y="3164993"/>
                  </a:cubicBezTo>
                  <a:cubicBezTo>
                    <a:pt x="8517538" y="3168188"/>
                    <a:pt x="8509147" y="3171001"/>
                    <a:pt x="8499717" y="3173435"/>
                  </a:cubicBezTo>
                  <a:lnTo>
                    <a:pt x="8499717" y="3143319"/>
                  </a:lnTo>
                  <a:cubicBezTo>
                    <a:pt x="8505598" y="3141393"/>
                    <a:pt x="8511277" y="3139365"/>
                    <a:pt x="8516752" y="3137235"/>
                  </a:cubicBezTo>
                  <a:cubicBezTo>
                    <a:pt x="8522228" y="3135106"/>
                    <a:pt x="8527628" y="3132723"/>
                    <a:pt x="8532951" y="3130086"/>
                  </a:cubicBezTo>
                  <a:cubicBezTo>
                    <a:pt x="8538275" y="3127450"/>
                    <a:pt x="8543649" y="3124509"/>
                    <a:pt x="8549074" y="3121265"/>
                  </a:cubicBezTo>
                  <a:cubicBezTo>
                    <a:pt x="8554499" y="3118020"/>
                    <a:pt x="8560101" y="3114319"/>
                    <a:pt x="8565881" y="3110161"/>
                  </a:cubicBezTo>
                  <a:close/>
                  <a:moveTo>
                    <a:pt x="7821713" y="3110161"/>
                  </a:moveTo>
                  <a:lnTo>
                    <a:pt x="7836619" y="3110161"/>
                  </a:lnTo>
                  <a:lnTo>
                    <a:pt x="7836619" y="3333141"/>
                  </a:lnTo>
                  <a:lnTo>
                    <a:pt x="7801331" y="3333141"/>
                  </a:lnTo>
                  <a:lnTo>
                    <a:pt x="7801331" y="3153358"/>
                  </a:lnTo>
                  <a:cubicBezTo>
                    <a:pt x="7794943" y="3157921"/>
                    <a:pt x="7788074" y="3161799"/>
                    <a:pt x="7780722" y="3164993"/>
                  </a:cubicBezTo>
                  <a:cubicBezTo>
                    <a:pt x="7773370" y="3168188"/>
                    <a:pt x="7764980" y="3171001"/>
                    <a:pt x="7755549" y="3173435"/>
                  </a:cubicBezTo>
                  <a:lnTo>
                    <a:pt x="7755549" y="3143319"/>
                  </a:lnTo>
                  <a:cubicBezTo>
                    <a:pt x="7761430" y="3141393"/>
                    <a:pt x="7767109" y="3139365"/>
                    <a:pt x="7772584" y="3137235"/>
                  </a:cubicBezTo>
                  <a:cubicBezTo>
                    <a:pt x="7778060" y="3135106"/>
                    <a:pt x="7783460" y="3132723"/>
                    <a:pt x="7788783" y="3130086"/>
                  </a:cubicBezTo>
                  <a:cubicBezTo>
                    <a:pt x="7794107" y="3127450"/>
                    <a:pt x="7799481" y="3124509"/>
                    <a:pt x="7804906" y="3121265"/>
                  </a:cubicBezTo>
                  <a:cubicBezTo>
                    <a:pt x="7810331" y="3118020"/>
                    <a:pt x="7815933" y="3114319"/>
                    <a:pt x="7821713" y="3110161"/>
                  </a:cubicBezTo>
                  <a:close/>
                  <a:moveTo>
                    <a:pt x="7671707" y="3110161"/>
                  </a:moveTo>
                  <a:lnTo>
                    <a:pt x="7686613" y="3110161"/>
                  </a:lnTo>
                  <a:lnTo>
                    <a:pt x="7686613" y="3333141"/>
                  </a:lnTo>
                  <a:lnTo>
                    <a:pt x="7651325" y="3333141"/>
                  </a:lnTo>
                  <a:lnTo>
                    <a:pt x="7651325" y="3153358"/>
                  </a:lnTo>
                  <a:cubicBezTo>
                    <a:pt x="7644937" y="3157921"/>
                    <a:pt x="7638068" y="3161799"/>
                    <a:pt x="7630716" y="3164993"/>
                  </a:cubicBezTo>
                  <a:cubicBezTo>
                    <a:pt x="7623364" y="3168188"/>
                    <a:pt x="7614974" y="3171001"/>
                    <a:pt x="7605543" y="3173435"/>
                  </a:cubicBezTo>
                  <a:lnTo>
                    <a:pt x="7605543" y="3143319"/>
                  </a:lnTo>
                  <a:cubicBezTo>
                    <a:pt x="7611424" y="3141393"/>
                    <a:pt x="7617103" y="3139365"/>
                    <a:pt x="7622578" y="3137235"/>
                  </a:cubicBezTo>
                  <a:cubicBezTo>
                    <a:pt x="7628054" y="3135106"/>
                    <a:pt x="7633454" y="3132723"/>
                    <a:pt x="7638777" y="3130086"/>
                  </a:cubicBezTo>
                  <a:cubicBezTo>
                    <a:pt x="7644101" y="3127450"/>
                    <a:pt x="7649475" y="3124509"/>
                    <a:pt x="7654900" y="3121265"/>
                  </a:cubicBezTo>
                  <a:cubicBezTo>
                    <a:pt x="7660325" y="3118020"/>
                    <a:pt x="7665927" y="3114319"/>
                    <a:pt x="7671707" y="3110161"/>
                  </a:cubicBezTo>
                  <a:close/>
                  <a:moveTo>
                    <a:pt x="7373993" y="3110161"/>
                  </a:moveTo>
                  <a:lnTo>
                    <a:pt x="7388899" y="3110161"/>
                  </a:lnTo>
                  <a:lnTo>
                    <a:pt x="7388899" y="3333141"/>
                  </a:lnTo>
                  <a:lnTo>
                    <a:pt x="7353611" y="3333141"/>
                  </a:lnTo>
                  <a:lnTo>
                    <a:pt x="7353611" y="3153358"/>
                  </a:lnTo>
                  <a:cubicBezTo>
                    <a:pt x="7347223" y="3157921"/>
                    <a:pt x="7340354" y="3161799"/>
                    <a:pt x="7333002" y="3164993"/>
                  </a:cubicBezTo>
                  <a:cubicBezTo>
                    <a:pt x="7325650" y="3168188"/>
                    <a:pt x="7317260" y="3171001"/>
                    <a:pt x="7307829" y="3173435"/>
                  </a:cubicBezTo>
                  <a:lnTo>
                    <a:pt x="7307829" y="3143319"/>
                  </a:lnTo>
                  <a:cubicBezTo>
                    <a:pt x="7313710" y="3141393"/>
                    <a:pt x="7319389" y="3139365"/>
                    <a:pt x="7324864" y="3137235"/>
                  </a:cubicBezTo>
                  <a:cubicBezTo>
                    <a:pt x="7330340" y="3135106"/>
                    <a:pt x="7335740" y="3132723"/>
                    <a:pt x="7341063" y="3130086"/>
                  </a:cubicBezTo>
                  <a:cubicBezTo>
                    <a:pt x="7346387" y="3127450"/>
                    <a:pt x="7351761" y="3124509"/>
                    <a:pt x="7357186" y="3121265"/>
                  </a:cubicBezTo>
                  <a:cubicBezTo>
                    <a:pt x="7362611" y="3118020"/>
                    <a:pt x="7368213" y="3114319"/>
                    <a:pt x="7373993" y="3110161"/>
                  </a:cubicBezTo>
                  <a:close/>
                  <a:moveTo>
                    <a:pt x="6993038" y="3110161"/>
                  </a:moveTo>
                  <a:lnTo>
                    <a:pt x="7007944" y="3110161"/>
                  </a:lnTo>
                  <a:lnTo>
                    <a:pt x="7007944" y="3333141"/>
                  </a:lnTo>
                  <a:lnTo>
                    <a:pt x="6972656" y="3333141"/>
                  </a:lnTo>
                  <a:lnTo>
                    <a:pt x="6972656" y="3153358"/>
                  </a:lnTo>
                  <a:cubicBezTo>
                    <a:pt x="6966268" y="3157921"/>
                    <a:pt x="6959399" y="3161799"/>
                    <a:pt x="6952047" y="3164993"/>
                  </a:cubicBezTo>
                  <a:cubicBezTo>
                    <a:pt x="6944695" y="3168188"/>
                    <a:pt x="6936305" y="3171001"/>
                    <a:pt x="6926874" y="3173435"/>
                  </a:cubicBezTo>
                  <a:lnTo>
                    <a:pt x="6926874" y="3143319"/>
                  </a:lnTo>
                  <a:cubicBezTo>
                    <a:pt x="6932755" y="3141393"/>
                    <a:pt x="6938434" y="3139365"/>
                    <a:pt x="6943909" y="3137235"/>
                  </a:cubicBezTo>
                  <a:cubicBezTo>
                    <a:pt x="6949385" y="3135106"/>
                    <a:pt x="6954785" y="3132723"/>
                    <a:pt x="6960108" y="3130086"/>
                  </a:cubicBezTo>
                  <a:cubicBezTo>
                    <a:pt x="6965432" y="3127450"/>
                    <a:pt x="6970806" y="3124509"/>
                    <a:pt x="6976231" y="3121265"/>
                  </a:cubicBezTo>
                  <a:cubicBezTo>
                    <a:pt x="6981656" y="3118020"/>
                    <a:pt x="6987258" y="3114319"/>
                    <a:pt x="6993038" y="3110161"/>
                  </a:cubicBezTo>
                  <a:close/>
                  <a:moveTo>
                    <a:pt x="6843032" y="3110161"/>
                  </a:moveTo>
                  <a:lnTo>
                    <a:pt x="6857938" y="3110161"/>
                  </a:lnTo>
                  <a:lnTo>
                    <a:pt x="6857938" y="3333141"/>
                  </a:lnTo>
                  <a:lnTo>
                    <a:pt x="6822650" y="3333141"/>
                  </a:lnTo>
                  <a:lnTo>
                    <a:pt x="6822650" y="3153358"/>
                  </a:lnTo>
                  <a:cubicBezTo>
                    <a:pt x="6816262" y="3157921"/>
                    <a:pt x="6809393" y="3161799"/>
                    <a:pt x="6802041" y="3164993"/>
                  </a:cubicBezTo>
                  <a:cubicBezTo>
                    <a:pt x="6794689" y="3168188"/>
                    <a:pt x="6786299" y="3171001"/>
                    <a:pt x="6776868" y="3173435"/>
                  </a:cubicBezTo>
                  <a:lnTo>
                    <a:pt x="6776868" y="3143319"/>
                  </a:lnTo>
                  <a:cubicBezTo>
                    <a:pt x="6782749" y="3141393"/>
                    <a:pt x="6788428" y="3139365"/>
                    <a:pt x="6793903" y="3137235"/>
                  </a:cubicBezTo>
                  <a:cubicBezTo>
                    <a:pt x="6799379" y="3135106"/>
                    <a:pt x="6804779" y="3132723"/>
                    <a:pt x="6810102" y="3130086"/>
                  </a:cubicBezTo>
                  <a:cubicBezTo>
                    <a:pt x="6815426" y="3127450"/>
                    <a:pt x="6820800" y="3124509"/>
                    <a:pt x="6826225" y="3121265"/>
                  </a:cubicBezTo>
                  <a:cubicBezTo>
                    <a:pt x="6831650" y="3118020"/>
                    <a:pt x="6837252" y="3114319"/>
                    <a:pt x="6843032" y="3110161"/>
                  </a:cubicBezTo>
                  <a:close/>
                  <a:moveTo>
                    <a:pt x="6694175" y="3110161"/>
                  </a:moveTo>
                  <a:lnTo>
                    <a:pt x="6709081" y="3110161"/>
                  </a:lnTo>
                  <a:lnTo>
                    <a:pt x="6709081" y="3333141"/>
                  </a:lnTo>
                  <a:lnTo>
                    <a:pt x="6673793" y="3333141"/>
                  </a:lnTo>
                  <a:lnTo>
                    <a:pt x="6673793" y="3153358"/>
                  </a:lnTo>
                  <a:cubicBezTo>
                    <a:pt x="6667405" y="3157921"/>
                    <a:pt x="6660536" y="3161799"/>
                    <a:pt x="6653184" y="3164993"/>
                  </a:cubicBezTo>
                  <a:cubicBezTo>
                    <a:pt x="6645832" y="3168188"/>
                    <a:pt x="6637442" y="3171001"/>
                    <a:pt x="6628011" y="3173435"/>
                  </a:cubicBezTo>
                  <a:lnTo>
                    <a:pt x="6628011" y="3143319"/>
                  </a:lnTo>
                  <a:cubicBezTo>
                    <a:pt x="6633892" y="3141393"/>
                    <a:pt x="6639571" y="3139365"/>
                    <a:pt x="6645046" y="3137235"/>
                  </a:cubicBezTo>
                  <a:cubicBezTo>
                    <a:pt x="6650522" y="3135106"/>
                    <a:pt x="6655922" y="3132723"/>
                    <a:pt x="6661245" y="3130086"/>
                  </a:cubicBezTo>
                  <a:cubicBezTo>
                    <a:pt x="6666569" y="3127450"/>
                    <a:pt x="6671943" y="3124509"/>
                    <a:pt x="6677368" y="3121265"/>
                  </a:cubicBezTo>
                  <a:cubicBezTo>
                    <a:pt x="6682793" y="3118020"/>
                    <a:pt x="6688395" y="3114319"/>
                    <a:pt x="6694175" y="3110161"/>
                  </a:cubicBezTo>
                  <a:close/>
                  <a:moveTo>
                    <a:pt x="6545318" y="3110161"/>
                  </a:moveTo>
                  <a:lnTo>
                    <a:pt x="6560224" y="3110161"/>
                  </a:lnTo>
                  <a:lnTo>
                    <a:pt x="6560224" y="3333141"/>
                  </a:lnTo>
                  <a:lnTo>
                    <a:pt x="6524936" y="3333141"/>
                  </a:lnTo>
                  <a:lnTo>
                    <a:pt x="6524936" y="3153358"/>
                  </a:lnTo>
                  <a:cubicBezTo>
                    <a:pt x="6518548" y="3157921"/>
                    <a:pt x="6511679" y="3161799"/>
                    <a:pt x="6504327" y="3164993"/>
                  </a:cubicBezTo>
                  <a:cubicBezTo>
                    <a:pt x="6496975" y="3168188"/>
                    <a:pt x="6488585" y="3171001"/>
                    <a:pt x="6479154" y="3173435"/>
                  </a:cubicBezTo>
                  <a:lnTo>
                    <a:pt x="6479154" y="3143319"/>
                  </a:lnTo>
                  <a:cubicBezTo>
                    <a:pt x="6485035" y="3141393"/>
                    <a:pt x="6490714" y="3139365"/>
                    <a:pt x="6496189" y="3137235"/>
                  </a:cubicBezTo>
                  <a:cubicBezTo>
                    <a:pt x="6501665" y="3135106"/>
                    <a:pt x="6507065" y="3132723"/>
                    <a:pt x="6512388" y="3130086"/>
                  </a:cubicBezTo>
                  <a:cubicBezTo>
                    <a:pt x="6517712" y="3127450"/>
                    <a:pt x="6523086" y="3124509"/>
                    <a:pt x="6528511" y="3121265"/>
                  </a:cubicBezTo>
                  <a:cubicBezTo>
                    <a:pt x="6533936" y="3118020"/>
                    <a:pt x="6539538" y="3114319"/>
                    <a:pt x="6545318" y="3110161"/>
                  </a:cubicBezTo>
                  <a:close/>
                  <a:moveTo>
                    <a:pt x="6331920" y="3110161"/>
                  </a:moveTo>
                  <a:cubicBezTo>
                    <a:pt x="6379365" y="3110161"/>
                    <a:pt x="6403087" y="3147024"/>
                    <a:pt x="6403087" y="3220749"/>
                  </a:cubicBezTo>
                  <a:cubicBezTo>
                    <a:pt x="6403087" y="3257260"/>
                    <a:pt x="6396392" y="3285120"/>
                    <a:pt x="6383001" y="3304328"/>
                  </a:cubicBezTo>
                  <a:cubicBezTo>
                    <a:pt x="6369610" y="3323537"/>
                    <a:pt x="6350878" y="3333141"/>
                    <a:pt x="6326804" y="3333141"/>
                  </a:cubicBezTo>
                  <a:cubicBezTo>
                    <a:pt x="6304336" y="3333141"/>
                    <a:pt x="6286807" y="3323963"/>
                    <a:pt x="6274219" y="3305607"/>
                  </a:cubicBezTo>
                  <a:cubicBezTo>
                    <a:pt x="6261630" y="3287251"/>
                    <a:pt x="6255336" y="3260720"/>
                    <a:pt x="6255336" y="3226015"/>
                  </a:cubicBezTo>
                  <a:cubicBezTo>
                    <a:pt x="6255336" y="3187898"/>
                    <a:pt x="6261906" y="3159061"/>
                    <a:pt x="6275046" y="3139501"/>
                  </a:cubicBezTo>
                  <a:cubicBezTo>
                    <a:pt x="6288187" y="3119941"/>
                    <a:pt x="6307144" y="3110161"/>
                    <a:pt x="6331920" y="3110161"/>
                  </a:cubicBezTo>
                  <a:close/>
                  <a:moveTo>
                    <a:pt x="6150425" y="3110161"/>
                  </a:moveTo>
                  <a:cubicBezTo>
                    <a:pt x="6197870" y="3110161"/>
                    <a:pt x="6221592" y="3147024"/>
                    <a:pt x="6221592" y="3220749"/>
                  </a:cubicBezTo>
                  <a:cubicBezTo>
                    <a:pt x="6221592" y="3257260"/>
                    <a:pt x="6214897" y="3285120"/>
                    <a:pt x="6201506" y="3304328"/>
                  </a:cubicBezTo>
                  <a:cubicBezTo>
                    <a:pt x="6188115" y="3323537"/>
                    <a:pt x="6169383" y="3333141"/>
                    <a:pt x="6145309" y="3333141"/>
                  </a:cubicBezTo>
                  <a:cubicBezTo>
                    <a:pt x="6122841" y="3333141"/>
                    <a:pt x="6105312" y="3323963"/>
                    <a:pt x="6092724" y="3305607"/>
                  </a:cubicBezTo>
                  <a:cubicBezTo>
                    <a:pt x="6080135" y="3287251"/>
                    <a:pt x="6073841" y="3260720"/>
                    <a:pt x="6073841" y="3226015"/>
                  </a:cubicBezTo>
                  <a:cubicBezTo>
                    <a:pt x="6073841" y="3187898"/>
                    <a:pt x="6080411" y="3159061"/>
                    <a:pt x="6093551" y="3139501"/>
                  </a:cubicBezTo>
                  <a:cubicBezTo>
                    <a:pt x="6106692" y="3119941"/>
                    <a:pt x="6125649" y="3110161"/>
                    <a:pt x="6150425" y="3110161"/>
                  </a:cubicBezTo>
                  <a:close/>
                  <a:moveTo>
                    <a:pt x="6019293" y="3110161"/>
                  </a:moveTo>
                  <a:lnTo>
                    <a:pt x="6034201" y="3110161"/>
                  </a:lnTo>
                  <a:lnTo>
                    <a:pt x="6034201" y="3333141"/>
                  </a:lnTo>
                  <a:lnTo>
                    <a:pt x="5998911" y="3333141"/>
                  </a:lnTo>
                  <a:lnTo>
                    <a:pt x="5998911" y="3153358"/>
                  </a:lnTo>
                  <a:cubicBezTo>
                    <a:pt x="5992523" y="3157921"/>
                    <a:pt x="5985656" y="3161799"/>
                    <a:pt x="5978302" y="3164993"/>
                  </a:cubicBezTo>
                  <a:cubicBezTo>
                    <a:pt x="5970951" y="3168188"/>
                    <a:pt x="5962560" y="3171001"/>
                    <a:pt x="5953129" y="3173435"/>
                  </a:cubicBezTo>
                  <a:lnTo>
                    <a:pt x="5953129" y="3143319"/>
                  </a:lnTo>
                  <a:cubicBezTo>
                    <a:pt x="5959010" y="3141393"/>
                    <a:pt x="5964689" y="3139365"/>
                    <a:pt x="5970164" y="3137235"/>
                  </a:cubicBezTo>
                  <a:cubicBezTo>
                    <a:pt x="5975640" y="3135106"/>
                    <a:pt x="5981042" y="3132723"/>
                    <a:pt x="5986363" y="3130086"/>
                  </a:cubicBezTo>
                  <a:cubicBezTo>
                    <a:pt x="5991687" y="3127450"/>
                    <a:pt x="5997061" y="3124509"/>
                    <a:pt x="6002488" y="3121265"/>
                  </a:cubicBezTo>
                  <a:cubicBezTo>
                    <a:pt x="6007911" y="3118020"/>
                    <a:pt x="6013513" y="3114319"/>
                    <a:pt x="6019293" y="3110161"/>
                  </a:cubicBezTo>
                  <a:close/>
                  <a:moveTo>
                    <a:pt x="5818968" y="3110161"/>
                  </a:moveTo>
                  <a:cubicBezTo>
                    <a:pt x="5866414" y="3110161"/>
                    <a:pt x="5890135" y="3147024"/>
                    <a:pt x="5890135" y="3220749"/>
                  </a:cubicBezTo>
                  <a:cubicBezTo>
                    <a:pt x="5890135" y="3257260"/>
                    <a:pt x="5883439" y="3285120"/>
                    <a:pt x="5870048" y="3304328"/>
                  </a:cubicBezTo>
                  <a:cubicBezTo>
                    <a:pt x="5856659" y="3323537"/>
                    <a:pt x="5837927" y="3333141"/>
                    <a:pt x="5813852" y="3333141"/>
                  </a:cubicBezTo>
                  <a:cubicBezTo>
                    <a:pt x="5791385" y="3333141"/>
                    <a:pt x="5773854" y="3323963"/>
                    <a:pt x="5761266" y="3305607"/>
                  </a:cubicBezTo>
                  <a:cubicBezTo>
                    <a:pt x="5748678" y="3287251"/>
                    <a:pt x="5742384" y="3260720"/>
                    <a:pt x="5742384" y="3226015"/>
                  </a:cubicBezTo>
                  <a:cubicBezTo>
                    <a:pt x="5742384" y="3187898"/>
                    <a:pt x="5748954" y="3159061"/>
                    <a:pt x="5762094" y="3139501"/>
                  </a:cubicBezTo>
                  <a:cubicBezTo>
                    <a:pt x="5775236" y="3119941"/>
                    <a:pt x="5794191" y="3110161"/>
                    <a:pt x="5818968" y="3110161"/>
                  </a:cubicBezTo>
                  <a:close/>
                  <a:moveTo>
                    <a:pt x="5119401" y="3110161"/>
                  </a:moveTo>
                  <a:cubicBezTo>
                    <a:pt x="5166847" y="3110161"/>
                    <a:pt x="5190567" y="3147024"/>
                    <a:pt x="5190567" y="3220749"/>
                  </a:cubicBezTo>
                  <a:cubicBezTo>
                    <a:pt x="5190567" y="3257260"/>
                    <a:pt x="5183872" y="3285120"/>
                    <a:pt x="5170483" y="3304328"/>
                  </a:cubicBezTo>
                  <a:cubicBezTo>
                    <a:pt x="5157092" y="3323537"/>
                    <a:pt x="5138359" y="3333141"/>
                    <a:pt x="5114285" y="3333141"/>
                  </a:cubicBezTo>
                  <a:cubicBezTo>
                    <a:pt x="5091817" y="3333141"/>
                    <a:pt x="5074288" y="3323963"/>
                    <a:pt x="5061701" y="3305607"/>
                  </a:cubicBezTo>
                  <a:cubicBezTo>
                    <a:pt x="5049111" y="3287251"/>
                    <a:pt x="5042817" y="3260720"/>
                    <a:pt x="5042817" y="3226015"/>
                  </a:cubicBezTo>
                  <a:cubicBezTo>
                    <a:pt x="5042817" y="3187898"/>
                    <a:pt x="5049388" y="3159061"/>
                    <a:pt x="5062526" y="3139501"/>
                  </a:cubicBezTo>
                  <a:cubicBezTo>
                    <a:pt x="5075669" y="3119941"/>
                    <a:pt x="5094626" y="3110161"/>
                    <a:pt x="5119401" y="3110161"/>
                  </a:cubicBezTo>
                  <a:close/>
                  <a:moveTo>
                    <a:pt x="4734951" y="3110161"/>
                  </a:moveTo>
                  <a:lnTo>
                    <a:pt x="4749856" y="3110161"/>
                  </a:lnTo>
                  <a:lnTo>
                    <a:pt x="4749856" y="3333141"/>
                  </a:lnTo>
                  <a:lnTo>
                    <a:pt x="4714569" y="3333141"/>
                  </a:lnTo>
                  <a:lnTo>
                    <a:pt x="4714569" y="3153358"/>
                  </a:lnTo>
                  <a:cubicBezTo>
                    <a:pt x="4708179" y="3157921"/>
                    <a:pt x="4701311" y="3161799"/>
                    <a:pt x="4693960" y="3164993"/>
                  </a:cubicBezTo>
                  <a:cubicBezTo>
                    <a:pt x="4686607" y="3168188"/>
                    <a:pt x="4678217" y="3171001"/>
                    <a:pt x="4668786" y="3173435"/>
                  </a:cubicBezTo>
                  <a:lnTo>
                    <a:pt x="4668786" y="3143319"/>
                  </a:lnTo>
                  <a:cubicBezTo>
                    <a:pt x="4674668" y="3141393"/>
                    <a:pt x="4680347" y="3139365"/>
                    <a:pt x="4685822" y="3137235"/>
                  </a:cubicBezTo>
                  <a:cubicBezTo>
                    <a:pt x="4691297" y="3135106"/>
                    <a:pt x="4696697" y="3132723"/>
                    <a:pt x="4702020" y="3130086"/>
                  </a:cubicBezTo>
                  <a:cubicBezTo>
                    <a:pt x="4707344" y="3127450"/>
                    <a:pt x="4712717" y="3124509"/>
                    <a:pt x="4718143" y="3121265"/>
                  </a:cubicBezTo>
                  <a:cubicBezTo>
                    <a:pt x="4723568" y="3118020"/>
                    <a:pt x="4729171" y="3114319"/>
                    <a:pt x="4734951" y="3110161"/>
                  </a:cubicBezTo>
                  <a:close/>
                  <a:moveTo>
                    <a:pt x="4377441" y="3110161"/>
                  </a:moveTo>
                  <a:lnTo>
                    <a:pt x="4392346" y="3110161"/>
                  </a:lnTo>
                  <a:lnTo>
                    <a:pt x="4392346" y="3333141"/>
                  </a:lnTo>
                  <a:lnTo>
                    <a:pt x="4357058" y="3333141"/>
                  </a:lnTo>
                  <a:lnTo>
                    <a:pt x="4357058" y="3153358"/>
                  </a:lnTo>
                  <a:cubicBezTo>
                    <a:pt x="4350669" y="3157921"/>
                    <a:pt x="4343801" y="3161799"/>
                    <a:pt x="4336449" y="3164993"/>
                  </a:cubicBezTo>
                  <a:cubicBezTo>
                    <a:pt x="4329098" y="3168188"/>
                    <a:pt x="4320707" y="3171001"/>
                    <a:pt x="4311276" y="3173435"/>
                  </a:cubicBezTo>
                  <a:lnTo>
                    <a:pt x="4311276" y="3143319"/>
                  </a:lnTo>
                  <a:cubicBezTo>
                    <a:pt x="4317157" y="3141393"/>
                    <a:pt x="4322836" y="3139365"/>
                    <a:pt x="4328311" y="3137235"/>
                  </a:cubicBezTo>
                  <a:cubicBezTo>
                    <a:pt x="4333786" y="3135106"/>
                    <a:pt x="4339187" y="3132723"/>
                    <a:pt x="4344510" y="3130086"/>
                  </a:cubicBezTo>
                  <a:cubicBezTo>
                    <a:pt x="4349833" y="3127450"/>
                    <a:pt x="4355209" y="3124509"/>
                    <a:pt x="4360634" y="3121265"/>
                  </a:cubicBezTo>
                  <a:cubicBezTo>
                    <a:pt x="4366057" y="3118020"/>
                    <a:pt x="4371660" y="3114319"/>
                    <a:pt x="4377441" y="3110161"/>
                  </a:cubicBezTo>
                  <a:close/>
                  <a:moveTo>
                    <a:pt x="4078579" y="3110161"/>
                  </a:moveTo>
                  <a:lnTo>
                    <a:pt x="4093484" y="3110161"/>
                  </a:lnTo>
                  <a:lnTo>
                    <a:pt x="4093484" y="3333141"/>
                  </a:lnTo>
                  <a:lnTo>
                    <a:pt x="4058197" y="3333141"/>
                  </a:lnTo>
                  <a:lnTo>
                    <a:pt x="4058197" y="3153358"/>
                  </a:lnTo>
                  <a:cubicBezTo>
                    <a:pt x="4051809" y="3157921"/>
                    <a:pt x="4044939" y="3161799"/>
                    <a:pt x="4037588" y="3164993"/>
                  </a:cubicBezTo>
                  <a:cubicBezTo>
                    <a:pt x="4030236" y="3168188"/>
                    <a:pt x="4021846" y="3171001"/>
                    <a:pt x="4012416" y="3173435"/>
                  </a:cubicBezTo>
                  <a:lnTo>
                    <a:pt x="4012416" y="3143319"/>
                  </a:lnTo>
                  <a:cubicBezTo>
                    <a:pt x="4018297" y="3141393"/>
                    <a:pt x="4023974" y="3139365"/>
                    <a:pt x="4029449" y="3137235"/>
                  </a:cubicBezTo>
                  <a:cubicBezTo>
                    <a:pt x="4034926" y="3135106"/>
                    <a:pt x="4040325" y="3132723"/>
                    <a:pt x="4045649" y="3130086"/>
                  </a:cubicBezTo>
                  <a:cubicBezTo>
                    <a:pt x="4050973" y="3127450"/>
                    <a:pt x="4056347" y="3124509"/>
                    <a:pt x="4061772" y="3121265"/>
                  </a:cubicBezTo>
                  <a:cubicBezTo>
                    <a:pt x="4067198" y="3118020"/>
                    <a:pt x="4072798" y="3114319"/>
                    <a:pt x="4078579" y="3110161"/>
                  </a:cubicBezTo>
                  <a:close/>
                  <a:moveTo>
                    <a:pt x="3858890" y="3110161"/>
                  </a:moveTo>
                  <a:cubicBezTo>
                    <a:pt x="3906334" y="3110161"/>
                    <a:pt x="3930057" y="3147024"/>
                    <a:pt x="3930057" y="3220749"/>
                  </a:cubicBezTo>
                  <a:cubicBezTo>
                    <a:pt x="3930057" y="3257260"/>
                    <a:pt x="3923362" y="3285120"/>
                    <a:pt x="3909971" y="3304328"/>
                  </a:cubicBezTo>
                  <a:cubicBezTo>
                    <a:pt x="3896580" y="3323537"/>
                    <a:pt x="3877848" y="3333141"/>
                    <a:pt x="3853774" y="3333141"/>
                  </a:cubicBezTo>
                  <a:cubicBezTo>
                    <a:pt x="3831305" y="3333141"/>
                    <a:pt x="3813777" y="3323963"/>
                    <a:pt x="3801189" y="3305607"/>
                  </a:cubicBezTo>
                  <a:cubicBezTo>
                    <a:pt x="3788600" y="3287251"/>
                    <a:pt x="3782306" y="3260720"/>
                    <a:pt x="3782306" y="3226015"/>
                  </a:cubicBezTo>
                  <a:cubicBezTo>
                    <a:pt x="3782306" y="3187898"/>
                    <a:pt x="3788876" y="3159061"/>
                    <a:pt x="3802016" y="3139501"/>
                  </a:cubicBezTo>
                  <a:cubicBezTo>
                    <a:pt x="3815157" y="3119941"/>
                    <a:pt x="3834114" y="3110161"/>
                    <a:pt x="3858890" y="3110161"/>
                  </a:cubicBezTo>
                  <a:close/>
                  <a:moveTo>
                    <a:pt x="3641996" y="3110161"/>
                  </a:moveTo>
                  <a:cubicBezTo>
                    <a:pt x="3689440" y="3110161"/>
                    <a:pt x="3713163" y="3147024"/>
                    <a:pt x="3713163" y="3220749"/>
                  </a:cubicBezTo>
                  <a:cubicBezTo>
                    <a:pt x="3713163" y="3257260"/>
                    <a:pt x="3706468" y="3285120"/>
                    <a:pt x="3693077" y="3304328"/>
                  </a:cubicBezTo>
                  <a:cubicBezTo>
                    <a:pt x="3679686" y="3323537"/>
                    <a:pt x="3660954" y="3333141"/>
                    <a:pt x="3636881" y="3333141"/>
                  </a:cubicBezTo>
                  <a:cubicBezTo>
                    <a:pt x="3614412" y="3333141"/>
                    <a:pt x="3596884" y="3323963"/>
                    <a:pt x="3584295" y="3305607"/>
                  </a:cubicBezTo>
                  <a:cubicBezTo>
                    <a:pt x="3571707" y="3287251"/>
                    <a:pt x="3565413" y="3260720"/>
                    <a:pt x="3565413" y="3226015"/>
                  </a:cubicBezTo>
                  <a:cubicBezTo>
                    <a:pt x="3565413" y="3187898"/>
                    <a:pt x="3571983" y="3159061"/>
                    <a:pt x="3585122" y="3139501"/>
                  </a:cubicBezTo>
                  <a:cubicBezTo>
                    <a:pt x="3598263" y="3119941"/>
                    <a:pt x="3617220" y="3110161"/>
                    <a:pt x="3641996" y="3110161"/>
                  </a:cubicBezTo>
                  <a:close/>
                  <a:moveTo>
                    <a:pt x="3482114" y="3110161"/>
                  </a:moveTo>
                  <a:lnTo>
                    <a:pt x="3497021" y="3110161"/>
                  </a:lnTo>
                  <a:lnTo>
                    <a:pt x="3497021" y="3333141"/>
                  </a:lnTo>
                  <a:lnTo>
                    <a:pt x="3461732" y="3333141"/>
                  </a:lnTo>
                  <a:lnTo>
                    <a:pt x="3461732" y="3153358"/>
                  </a:lnTo>
                  <a:cubicBezTo>
                    <a:pt x="3455344" y="3157921"/>
                    <a:pt x="3448474" y="3161799"/>
                    <a:pt x="3441123" y="3164993"/>
                  </a:cubicBezTo>
                  <a:cubicBezTo>
                    <a:pt x="3433771" y="3168188"/>
                    <a:pt x="3425381" y="3171001"/>
                    <a:pt x="3415951" y="3173435"/>
                  </a:cubicBezTo>
                  <a:lnTo>
                    <a:pt x="3415951" y="3143319"/>
                  </a:lnTo>
                  <a:cubicBezTo>
                    <a:pt x="3421832" y="3141393"/>
                    <a:pt x="3427510" y="3139365"/>
                    <a:pt x="3432986" y="3137235"/>
                  </a:cubicBezTo>
                  <a:cubicBezTo>
                    <a:pt x="3438461" y="3135106"/>
                    <a:pt x="3443862" y="3132723"/>
                    <a:pt x="3449184" y="3130086"/>
                  </a:cubicBezTo>
                  <a:cubicBezTo>
                    <a:pt x="3454508" y="3127450"/>
                    <a:pt x="3459882" y="3124509"/>
                    <a:pt x="3465307" y="3121265"/>
                  </a:cubicBezTo>
                  <a:cubicBezTo>
                    <a:pt x="3470733" y="3118020"/>
                    <a:pt x="3476334" y="3114319"/>
                    <a:pt x="3482114" y="3110161"/>
                  </a:cubicBezTo>
                  <a:close/>
                  <a:moveTo>
                    <a:pt x="3183252" y="3110161"/>
                  </a:moveTo>
                  <a:lnTo>
                    <a:pt x="3198157" y="3110161"/>
                  </a:lnTo>
                  <a:lnTo>
                    <a:pt x="3198157" y="3333141"/>
                  </a:lnTo>
                  <a:lnTo>
                    <a:pt x="3162870" y="3333141"/>
                  </a:lnTo>
                  <a:lnTo>
                    <a:pt x="3162870" y="3153358"/>
                  </a:lnTo>
                  <a:cubicBezTo>
                    <a:pt x="3156482" y="3157921"/>
                    <a:pt x="3149612" y="3161799"/>
                    <a:pt x="3142260" y="3164993"/>
                  </a:cubicBezTo>
                  <a:cubicBezTo>
                    <a:pt x="3134908" y="3168188"/>
                    <a:pt x="3126518" y="3171001"/>
                    <a:pt x="3117087" y="3173435"/>
                  </a:cubicBezTo>
                  <a:lnTo>
                    <a:pt x="3117087" y="3143319"/>
                  </a:lnTo>
                  <a:cubicBezTo>
                    <a:pt x="3122968" y="3141393"/>
                    <a:pt x="3128648" y="3139365"/>
                    <a:pt x="3134122" y="3137235"/>
                  </a:cubicBezTo>
                  <a:cubicBezTo>
                    <a:pt x="3139598" y="3135106"/>
                    <a:pt x="3144998" y="3132723"/>
                    <a:pt x="3150322" y="3130086"/>
                  </a:cubicBezTo>
                  <a:cubicBezTo>
                    <a:pt x="3155645" y="3127450"/>
                    <a:pt x="3161019" y="3124509"/>
                    <a:pt x="3166445" y="3121265"/>
                  </a:cubicBezTo>
                  <a:cubicBezTo>
                    <a:pt x="3171869" y="3118020"/>
                    <a:pt x="3177471" y="3114319"/>
                    <a:pt x="3183252" y="3110161"/>
                  </a:cubicBezTo>
                  <a:close/>
                  <a:moveTo>
                    <a:pt x="2804036" y="3110161"/>
                  </a:moveTo>
                  <a:lnTo>
                    <a:pt x="2818942" y="3110161"/>
                  </a:lnTo>
                  <a:lnTo>
                    <a:pt x="2818942" y="3333141"/>
                  </a:lnTo>
                  <a:lnTo>
                    <a:pt x="2783655" y="3333141"/>
                  </a:lnTo>
                  <a:lnTo>
                    <a:pt x="2783655" y="3153358"/>
                  </a:lnTo>
                  <a:cubicBezTo>
                    <a:pt x="2777266" y="3157921"/>
                    <a:pt x="2770396" y="3161799"/>
                    <a:pt x="2763045" y="3164993"/>
                  </a:cubicBezTo>
                  <a:cubicBezTo>
                    <a:pt x="2755694" y="3168188"/>
                    <a:pt x="2747303" y="3171001"/>
                    <a:pt x="2737872" y="3173435"/>
                  </a:cubicBezTo>
                  <a:lnTo>
                    <a:pt x="2737872" y="3143319"/>
                  </a:lnTo>
                  <a:cubicBezTo>
                    <a:pt x="2743753" y="3141393"/>
                    <a:pt x="2749432" y="3139365"/>
                    <a:pt x="2754907" y="3137235"/>
                  </a:cubicBezTo>
                  <a:cubicBezTo>
                    <a:pt x="2760383" y="3135106"/>
                    <a:pt x="2765783" y="3132723"/>
                    <a:pt x="2771106" y="3130086"/>
                  </a:cubicBezTo>
                  <a:cubicBezTo>
                    <a:pt x="2776430" y="3127450"/>
                    <a:pt x="2781804" y="3124509"/>
                    <a:pt x="2787229" y="3121265"/>
                  </a:cubicBezTo>
                  <a:cubicBezTo>
                    <a:pt x="2792654" y="3118020"/>
                    <a:pt x="2798256" y="3114319"/>
                    <a:pt x="2804036" y="3110161"/>
                  </a:cubicBezTo>
                  <a:close/>
                  <a:moveTo>
                    <a:pt x="2654030" y="3110161"/>
                  </a:moveTo>
                  <a:lnTo>
                    <a:pt x="2668936" y="3110161"/>
                  </a:lnTo>
                  <a:lnTo>
                    <a:pt x="2668936" y="3333141"/>
                  </a:lnTo>
                  <a:lnTo>
                    <a:pt x="2633648" y="3333141"/>
                  </a:lnTo>
                  <a:lnTo>
                    <a:pt x="2633648" y="3153358"/>
                  </a:lnTo>
                  <a:cubicBezTo>
                    <a:pt x="2627260" y="3157921"/>
                    <a:pt x="2620390" y="3161799"/>
                    <a:pt x="2613039" y="3164993"/>
                  </a:cubicBezTo>
                  <a:cubicBezTo>
                    <a:pt x="2605687" y="3168188"/>
                    <a:pt x="2597297" y="3171001"/>
                    <a:pt x="2587866" y="3173435"/>
                  </a:cubicBezTo>
                  <a:lnTo>
                    <a:pt x="2587866" y="3143319"/>
                  </a:lnTo>
                  <a:cubicBezTo>
                    <a:pt x="2593747" y="3141393"/>
                    <a:pt x="2599426" y="3139365"/>
                    <a:pt x="2604901" y="3137235"/>
                  </a:cubicBezTo>
                  <a:cubicBezTo>
                    <a:pt x="2610377" y="3135106"/>
                    <a:pt x="2615777" y="3132723"/>
                    <a:pt x="2621100" y="3130086"/>
                  </a:cubicBezTo>
                  <a:cubicBezTo>
                    <a:pt x="2626424" y="3127450"/>
                    <a:pt x="2631798" y="3124509"/>
                    <a:pt x="2637223" y="3121265"/>
                  </a:cubicBezTo>
                  <a:cubicBezTo>
                    <a:pt x="2642648" y="3118020"/>
                    <a:pt x="2648250" y="3114319"/>
                    <a:pt x="2654030" y="3110161"/>
                  </a:cubicBezTo>
                  <a:close/>
                  <a:moveTo>
                    <a:pt x="2505173" y="3110161"/>
                  </a:moveTo>
                  <a:lnTo>
                    <a:pt x="2520079" y="3110161"/>
                  </a:lnTo>
                  <a:lnTo>
                    <a:pt x="2520079" y="3333141"/>
                  </a:lnTo>
                  <a:lnTo>
                    <a:pt x="2484791" y="3333141"/>
                  </a:lnTo>
                  <a:lnTo>
                    <a:pt x="2484791" y="3153358"/>
                  </a:lnTo>
                  <a:cubicBezTo>
                    <a:pt x="2478403" y="3157921"/>
                    <a:pt x="2471533" y="3161799"/>
                    <a:pt x="2464183" y="3164993"/>
                  </a:cubicBezTo>
                  <a:cubicBezTo>
                    <a:pt x="2456830" y="3168188"/>
                    <a:pt x="2448440" y="3171001"/>
                    <a:pt x="2439009" y="3173435"/>
                  </a:cubicBezTo>
                  <a:lnTo>
                    <a:pt x="2439009" y="3143319"/>
                  </a:lnTo>
                  <a:cubicBezTo>
                    <a:pt x="2444890" y="3141393"/>
                    <a:pt x="2450569" y="3139365"/>
                    <a:pt x="2456044" y="3137235"/>
                  </a:cubicBezTo>
                  <a:cubicBezTo>
                    <a:pt x="2461520" y="3135106"/>
                    <a:pt x="2466920" y="3132723"/>
                    <a:pt x="2472243" y="3130086"/>
                  </a:cubicBezTo>
                  <a:cubicBezTo>
                    <a:pt x="2477567" y="3127450"/>
                    <a:pt x="2482941" y="3124509"/>
                    <a:pt x="2488366" y="3121265"/>
                  </a:cubicBezTo>
                  <a:cubicBezTo>
                    <a:pt x="2493791" y="3118020"/>
                    <a:pt x="2499393" y="3114319"/>
                    <a:pt x="2505173" y="3110161"/>
                  </a:cubicBezTo>
                  <a:close/>
                  <a:moveTo>
                    <a:pt x="1749921" y="3110161"/>
                  </a:moveTo>
                  <a:lnTo>
                    <a:pt x="1764827" y="3110161"/>
                  </a:lnTo>
                  <a:lnTo>
                    <a:pt x="1764827" y="3333141"/>
                  </a:lnTo>
                  <a:lnTo>
                    <a:pt x="1729539" y="3333141"/>
                  </a:lnTo>
                  <a:lnTo>
                    <a:pt x="1729539" y="3153358"/>
                  </a:lnTo>
                  <a:cubicBezTo>
                    <a:pt x="1723151" y="3157921"/>
                    <a:pt x="1716281" y="3161799"/>
                    <a:pt x="1708930" y="3164993"/>
                  </a:cubicBezTo>
                  <a:cubicBezTo>
                    <a:pt x="1701578" y="3168188"/>
                    <a:pt x="1693187" y="3171001"/>
                    <a:pt x="1683757" y="3173435"/>
                  </a:cubicBezTo>
                  <a:lnTo>
                    <a:pt x="1683757" y="3143319"/>
                  </a:lnTo>
                  <a:cubicBezTo>
                    <a:pt x="1689638" y="3141393"/>
                    <a:pt x="1695317" y="3139365"/>
                    <a:pt x="1700792" y="3137235"/>
                  </a:cubicBezTo>
                  <a:cubicBezTo>
                    <a:pt x="1706268" y="3135106"/>
                    <a:pt x="1711668" y="3132723"/>
                    <a:pt x="1716991" y="3130086"/>
                  </a:cubicBezTo>
                  <a:cubicBezTo>
                    <a:pt x="1722315" y="3127450"/>
                    <a:pt x="1727689" y="3124509"/>
                    <a:pt x="1733114" y="3121265"/>
                  </a:cubicBezTo>
                  <a:cubicBezTo>
                    <a:pt x="1738539" y="3118020"/>
                    <a:pt x="1744141" y="3114319"/>
                    <a:pt x="1749921" y="3110161"/>
                  </a:cubicBezTo>
                  <a:close/>
                  <a:moveTo>
                    <a:pt x="1599915" y="3110161"/>
                  </a:moveTo>
                  <a:lnTo>
                    <a:pt x="1614821" y="3110161"/>
                  </a:lnTo>
                  <a:lnTo>
                    <a:pt x="1614821" y="3333141"/>
                  </a:lnTo>
                  <a:lnTo>
                    <a:pt x="1579533" y="3333141"/>
                  </a:lnTo>
                  <a:lnTo>
                    <a:pt x="1579533" y="3153358"/>
                  </a:lnTo>
                  <a:cubicBezTo>
                    <a:pt x="1573145" y="3157921"/>
                    <a:pt x="1566275" y="3161799"/>
                    <a:pt x="1558924" y="3164993"/>
                  </a:cubicBezTo>
                  <a:cubicBezTo>
                    <a:pt x="1551572" y="3168188"/>
                    <a:pt x="1543181" y="3171001"/>
                    <a:pt x="1533751" y="3173435"/>
                  </a:cubicBezTo>
                  <a:lnTo>
                    <a:pt x="1533751" y="3143319"/>
                  </a:lnTo>
                  <a:cubicBezTo>
                    <a:pt x="1539632" y="3141393"/>
                    <a:pt x="1545311" y="3139365"/>
                    <a:pt x="1550786" y="3137235"/>
                  </a:cubicBezTo>
                  <a:cubicBezTo>
                    <a:pt x="1556262" y="3135106"/>
                    <a:pt x="1561662" y="3132723"/>
                    <a:pt x="1566985" y="3130086"/>
                  </a:cubicBezTo>
                  <a:cubicBezTo>
                    <a:pt x="1572309" y="3127450"/>
                    <a:pt x="1577683" y="3124509"/>
                    <a:pt x="1583108" y="3121265"/>
                  </a:cubicBezTo>
                  <a:cubicBezTo>
                    <a:pt x="1588533" y="3118020"/>
                    <a:pt x="1594135" y="3114319"/>
                    <a:pt x="1599915" y="3110161"/>
                  </a:cubicBezTo>
                  <a:close/>
                  <a:moveTo>
                    <a:pt x="1302201" y="3110161"/>
                  </a:moveTo>
                  <a:lnTo>
                    <a:pt x="1317107" y="3110161"/>
                  </a:lnTo>
                  <a:lnTo>
                    <a:pt x="1317107" y="3333141"/>
                  </a:lnTo>
                  <a:lnTo>
                    <a:pt x="1281819" y="3333141"/>
                  </a:lnTo>
                  <a:lnTo>
                    <a:pt x="1281819" y="3153358"/>
                  </a:lnTo>
                  <a:cubicBezTo>
                    <a:pt x="1275431" y="3157921"/>
                    <a:pt x="1268561" y="3161799"/>
                    <a:pt x="1261210" y="3164993"/>
                  </a:cubicBezTo>
                  <a:cubicBezTo>
                    <a:pt x="1253858" y="3168188"/>
                    <a:pt x="1245467" y="3171001"/>
                    <a:pt x="1236037" y="3173435"/>
                  </a:cubicBezTo>
                  <a:lnTo>
                    <a:pt x="1236037" y="3143319"/>
                  </a:lnTo>
                  <a:cubicBezTo>
                    <a:pt x="1241918" y="3141393"/>
                    <a:pt x="1247597" y="3139365"/>
                    <a:pt x="1253072" y="3137235"/>
                  </a:cubicBezTo>
                  <a:cubicBezTo>
                    <a:pt x="1258548" y="3135106"/>
                    <a:pt x="1263948" y="3132723"/>
                    <a:pt x="1269271" y="3130086"/>
                  </a:cubicBezTo>
                  <a:cubicBezTo>
                    <a:pt x="1274595" y="3127450"/>
                    <a:pt x="1279969" y="3124509"/>
                    <a:pt x="1285394" y="3121265"/>
                  </a:cubicBezTo>
                  <a:cubicBezTo>
                    <a:pt x="1290819" y="3118020"/>
                    <a:pt x="1296421" y="3114319"/>
                    <a:pt x="1302201" y="3110161"/>
                  </a:cubicBezTo>
                  <a:close/>
                  <a:moveTo>
                    <a:pt x="927321" y="3110161"/>
                  </a:moveTo>
                  <a:lnTo>
                    <a:pt x="942227" y="3110161"/>
                  </a:lnTo>
                  <a:lnTo>
                    <a:pt x="942227" y="3333141"/>
                  </a:lnTo>
                  <a:lnTo>
                    <a:pt x="906939" y="3333141"/>
                  </a:lnTo>
                  <a:lnTo>
                    <a:pt x="906939" y="3153358"/>
                  </a:lnTo>
                  <a:cubicBezTo>
                    <a:pt x="900551" y="3157921"/>
                    <a:pt x="893681" y="3161799"/>
                    <a:pt x="886330" y="3164993"/>
                  </a:cubicBezTo>
                  <a:cubicBezTo>
                    <a:pt x="878978" y="3168188"/>
                    <a:pt x="870587" y="3171001"/>
                    <a:pt x="861157" y="3173435"/>
                  </a:cubicBezTo>
                  <a:lnTo>
                    <a:pt x="861157" y="3143319"/>
                  </a:lnTo>
                  <a:cubicBezTo>
                    <a:pt x="867038" y="3141393"/>
                    <a:pt x="872717" y="3139365"/>
                    <a:pt x="878192" y="3137235"/>
                  </a:cubicBezTo>
                  <a:cubicBezTo>
                    <a:pt x="883668" y="3135106"/>
                    <a:pt x="889068" y="3132723"/>
                    <a:pt x="894391" y="3130086"/>
                  </a:cubicBezTo>
                  <a:cubicBezTo>
                    <a:pt x="899715" y="3127450"/>
                    <a:pt x="905089" y="3124509"/>
                    <a:pt x="910514" y="3121265"/>
                  </a:cubicBezTo>
                  <a:cubicBezTo>
                    <a:pt x="915939" y="3118020"/>
                    <a:pt x="921541" y="3114319"/>
                    <a:pt x="927321" y="3110161"/>
                  </a:cubicBezTo>
                  <a:close/>
                  <a:moveTo>
                    <a:pt x="778464" y="3110161"/>
                  </a:moveTo>
                  <a:lnTo>
                    <a:pt x="793370" y="3110161"/>
                  </a:lnTo>
                  <a:lnTo>
                    <a:pt x="793370" y="3333141"/>
                  </a:lnTo>
                  <a:lnTo>
                    <a:pt x="758082" y="3333141"/>
                  </a:lnTo>
                  <a:lnTo>
                    <a:pt x="758082" y="3153358"/>
                  </a:lnTo>
                  <a:cubicBezTo>
                    <a:pt x="751694" y="3157921"/>
                    <a:pt x="744824" y="3161799"/>
                    <a:pt x="737473" y="3164993"/>
                  </a:cubicBezTo>
                  <a:cubicBezTo>
                    <a:pt x="730121" y="3168188"/>
                    <a:pt x="721731" y="3171001"/>
                    <a:pt x="712300" y="3173435"/>
                  </a:cubicBezTo>
                  <a:lnTo>
                    <a:pt x="712300" y="3143319"/>
                  </a:lnTo>
                  <a:cubicBezTo>
                    <a:pt x="718181" y="3141393"/>
                    <a:pt x="723860" y="3139365"/>
                    <a:pt x="729335" y="3137235"/>
                  </a:cubicBezTo>
                  <a:cubicBezTo>
                    <a:pt x="734811" y="3135106"/>
                    <a:pt x="740211" y="3132723"/>
                    <a:pt x="745534" y="3130086"/>
                  </a:cubicBezTo>
                  <a:cubicBezTo>
                    <a:pt x="750858" y="3127450"/>
                    <a:pt x="756232" y="3124509"/>
                    <a:pt x="761657" y="3121265"/>
                  </a:cubicBezTo>
                  <a:cubicBezTo>
                    <a:pt x="767082" y="3118020"/>
                    <a:pt x="772684" y="3114319"/>
                    <a:pt x="778464" y="3110161"/>
                  </a:cubicBezTo>
                  <a:close/>
                  <a:moveTo>
                    <a:pt x="629607" y="3110161"/>
                  </a:moveTo>
                  <a:lnTo>
                    <a:pt x="644513" y="3110161"/>
                  </a:lnTo>
                  <a:lnTo>
                    <a:pt x="644513" y="3333141"/>
                  </a:lnTo>
                  <a:lnTo>
                    <a:pt x="609225" y="3333141"/>
                  </a:lnTo>
                  <a:lnTo>
                    <a:pt x="609225" y="3153358"/>
                  </a:lnTo>
                  <a:cubicBezTo>
                    <a:pt x="602837" y="3157921"/>
                    <a:pt x="595967" y="3161799"/>
                    <a:pt x="588616" y="3164993"/>
                  </a:cubicBezTo>
                  <a:cubicBezTo>
                    <a:pt x="581264" y="3168188"/>
                    <a:pt x="572873" y="3171001"/>
                    <a:pt x="563443" y="3173435"/>
                  </a:cubicBezTo>
                  <a:lnTo>
                    <a:pt x="563443" y="3143319"/>
                  </a:lnTo>
                  <a:cubicBezTo>
                    <a:pt x="569324" y="3141393"/>
                    <a:pt x="575003" y="3139365"/>
                    <a:pt x="580478" y="3137235"/>
                  </a:cubicBezTo>
                  <a:cubicBezTo>
                    <a:pt x="585954" y="3135106"/>
                    <a:pt x="591354" y="3132723"/>
                    <a:pt x="596677" y="3130086"/>
                  </a:cubicBezTo>
                  <a:cubicBezTo>
                    <a:pt x="602001" y="3127450"/>
                    <a:pt x="607375" y="3124509"/>
                    <a:pt x="612800" y="3121265"/>
                  </a:cubicBezTo>
                  <a:cubicBezTo>
                    <a:pt x="618225" y="3118020"/>
                    <a:pt x="623827" y="3114319"/>
                    <a:pt x="629607" y="3110161"/>
                  </a:cubicBezTo>
                  <a:close/>
                  <a:moveTo>
                    <a:pt x="480750" y="3110161"/>
                  </a:moveTo>
                  <a:lnTo>
                    <a:pt x="495656" y="3110161"/>
                  </a:lnTo>
                  <a:lnTo>
                    <a:pt x="495656" y="3333141"/>
                  </a:lnTo>
                  <a:lnTo>
                    <a:pt x="460368" y="3333141"/>
                  </a:lnTo>
                  <a:lnTo>
                    <a:pt x="460368" y="3153358"/>
                  </a:lnTo>
                  <a:cubicBezTo>
                    <a:pt x="453980" y="3157921"/>
                    <a:pt x="447111" y="3161799"/>
                    <a:pt x="439759" y="3164993"/>
                  </a:cubicBezTo>
                  <a:cubicBezTo>
                    <a:pt x="432407" y="3168188"/>
                    <a:pt x="424017" y="3171001"/>
                    <a:pt x="414586" y="3173435"/>
                  </a:cubicBezTo>
                  <a:lnTo>
                    <a:pt x="414586" y="3143319"/>
                  </a:lnTo>
                  <a:cubicBezTo>
                    <a:pt x="420467" y="3141393"/>
                    <a:pt x="426146" y="3139365"/>
                    <a:pt x="431621" y="3137235"/>
                  </a:cubicBezTo>
                  <a:cubicBezTo>
                    <a:pt x="437097" y="3135106"/>
                    <a:pt x="442497" y="3132723"/>
                    <a:pt x="447820" y="3130086"/>
                  </a:cubicBezTo>
                  <a:cubicBezTo>
                    <a:pt x="453144" y="3127450"/>
                    <a:pt x="458518" y="3124509"/>
                    <a:pt x="463943" y="3121265"/>
                  </a:cubicBezTo>
                  <a:cubicBezTo>
                    <a:pt x="469368" y="3118020"/>
                    <a:pt x="474970" y="3114319"/>
                    <a:pt x="480750" y="3110161"/>
                  </a:cubicBezTo>
                  <a:close/>
                  <a:moveTo>
                    <a:pt x="275106" y="3110161"/>
                  </a:moveTo>
                  <a:cubicBezTo>
                    <a:pt x="322550" y="3110161"/>
                    <a:pt x="346273" y="3147024"/>
                    <a:pt x="346273" y="3220749"/>
                  </a:cubicBezTo>
                  <a:cubicBezTo>
                    <a:pt x="346273" y="3257260"/>
                    <a:pt x="339578" y="3285120"/>
                    <a:pt x="326187" y="3304328"/>
                  </a:cubicBezTo>
                  <a:cubicBezTo>
                    <a:pt x="312796" y="3323537"/>
                    <a:pt x="294064" y="3333141"/>
                    <a:pt x="269990" y="3333141"/>
                  </a:cubicBezTo>
                  <a:cubicBezTo>
                    <a:pt x="247522" y="3333141"/>
                    <a:pt x="229993" y="3323963"/>
                    <a:pt x="217405" y="3305607"/>
                  </a:cubicBezTo>
                  <a:cubicBezTo>
                    <a:pt x="204816" y="3287251"/>
                    <a:pt x="198522" y="3260720"/>
                    <a:pt x="198522" y="3226015"/>
                  </a:cubicBezTo>
                  <a:cubicBezTo>
                    <a:pt x="198522" y="3187898"/>
                    <a:pt x="205092" y="3159061"/>
                    <a:pt x="218232" y="3139501"/>
                  </a:cubicBezTo>
                  <a:cubicBezTo>
                    <a:pt x="231373" y="3119941"/>
                    <a:pt x="250330" y="3110161"/>
                    <a:pt x="275106" y="3110161"/>
                  </a:cubicBezTo>
                  <a:close/>
                  <a:moveTo>
                    <a:pt x="76584" y="3110161"/>
                  </a:moveTo>
                  <a:cubicBezTo>
                    <a:pt x="124029" y="3110161"/>
                    <a:pt x="147751" y="3147024"/>
                    <a:pt x="147751" y="3220749"/>
                  </a:cubicBezTo>
                  <a:cubicBezTo>
                    <a:pt x="147751" y="3257260"/>
                    <a:pt x="141056" y="3285120"/>
                    <a:pt x="127665" y="3304328"/>
                  </a:cubicBezTo>
                  <a:cubicBezTo>
                    <a:pt x="114274" y="3323537"/>
                    <a:pt x="95542" y="3333141"/>
                    <a:pt x="71468" y="3333141"/>
                  </a:cubicBezTo>
                  <a:cubicBezTo>
                    <a:pt x="49000" y="3333141"/>
                    <a:pt x="31471" y="3323963"/>
                    <a:pt x="18883" y="3305607"/>
                  </a:cubicBezTo>
                  <a:cubicBezTo>
                    <a:pt x="6294" y="3287251"/>
                    <a:pt x="0" y="3260720"/>
                    <a:pt x="0" y="3226015"/>
                  </a:cubicBezTo>
                  <a:cubicBezTo>
                    <a:pt x="0" y="3187898"/>
                    <a:pt x="6570" y="3159061"/>
                    <a:pt x="19710" y="3139501"/>
                  </a:cubicBezTo>
                  <a:cubicBezTo>
                    <a:pt x="32851" y="3119941"/>
                    <a:pt x="51808" y="3110161"/>
                    <a:pt x="76584" y="3110161"/>
                  </a:cubicBezTo>
                  <a:close/>
                  <a:moveTo>
                    <a:pt x="10090194" y="2836964"/>
                  </a:moveTo>
                  <a:cubicBezTo>
                    <a:pt x="10064014" y="2836964"/>
                    <a:pt x="10050924" y="2865802"/>
                    <a:pt x="10050924" y="2923478"/>
                  </a:cubicBezTo>
                  <a:cubicBezTo>
                    <a:pt x="10050924" y="2977442"/>
                    <a:pt x="10063763" y="3004425"/>
                    <a:pt x="10089442" y="3004425"/>
                  </a:cubicBezTo>
                  <a:cubicBezTo>
                    <a:pt x="10114718" y="3004425"/>
                    <a:pt x="10127357" y="2976991"/>
                    <a:pt x="10127357" y="2922124"/>
                  </a:cubicBezTo>
                  <a:cubicBezTo>
                    <a:pt x="10127357" y="2865350"/>
                    <a:pt x="10114969" y="2836964"/>
                    <a:pt x="10090194" y="2836964"/>
                  </a:cubicBezTo>
                  <a:close/>
                  <a:moveTo>
                    <a:pt x="9869271" y="2836964"/>
                  </a:moveTo>
                  <a:cubicBezTo>
                    <a:pt x="9843091" y="2836964"/>
                    <a:pt x="9830001" y="2865802"/>
                    <a:pt x="9830001" y="2923478"/>
                  </a:cubicBezTo>
                  <a:cubicBezTo>
                    <a:pt x="9830001" y="2977442"/>
                    <a:pt x="9842840" y="3004425"/>
                    <a:pt x="9868519" y="3004425"/>
                  </a:cubicBezTo>
                  <a:cubicBezTo>
                    <a:pt x="9893795" y="3004425"/>
                    <a:pt x="9906434" y="2976991"/>
                    <a:pt x="9906434" y="2922124"/>
                  </a:cubicBezTo>
                  <a:cubicBezTo>
                    <a:pt x="9906434" y="2865350"/>
                    <a:pt x="9894046" y="2836964"/>
                    <a:pt x="9869271" y="2836964"/>
                  </a:cubicBezTo>
                  <a:close/>
                  <a:moveTo>
                    <a:pt x="9207610" y="2836964"/>
                  </a:moveTo>
                  <a:cubicBezTo>
                    <a:pt x="9181430" y="2836964"/>
                    <a:pt x="9168340" y="2865802"/>
                    <a:pt x="9168340" y="2923478"/>
                  </a:cubicBezTo>
                  <a:cubicBezTo>
                    <a:pt x="9168340" y="2977442"/>
                    <a:pt x="9181179" y="3004425"/>
                    <a:pt x="9206858" y="3004425"/>
                  </a:cubicBezTo>
                  <a:cubicBezTo>
                    <a:pt x="9232134" y="3004425"/>
                    <a:pt x="9244773" y="2976991"/>
                    <a:pt x="9244773" y="2922124"/>
                  </a:cubicBezTo>
                  <a:cubicBezTo>
                    <a:pt x="9244773" y="2865350"/>
                    <a:pt x="9232385" y="2836964"/>
                    <a:pt x="9207610" y="2836964"/>
                  </a:cubicBezTo>
                  <a:close/>
                  <a:moveTo>
                    <a:pt x="8986687" y="2836964"/>
                  </a:moveTo>
                  <a:cubicBezTo>
                    <a:pt x="8960507" y="2836964"/>
                    <a:pt x="8947417" y="2865802"/>
                    <a:pt x="8947417" y="2923478"/>
                  </a:cubicBezTo>
                  <a:cubicBezTo>
                    <a:pt x="8947417" y="2977442"/>
                    <a:pt x="8960256" y="3004425"/>
                    <a:pt x="8985935" y="3004425"/>
                  </a:cubicBezTo>
                  <a:cubicBezTo>
                    <a:pt x="9011211" y="3004425"/>
                    <a:pt x="9023850" y="2976991"/>
                    <a:pt x="9023850" y="2922124"/>
                  </a:cubicBezTo>
                  <a:cubicBezTo>
                    <a:pt x="9023850" y="2865350"/>
                    <a:pt x="9011462" y="2836964"/>
                    <a:pt x="8986687" y="2836964"/>
                  </a:cubicBezTo>
                  <a:close/>
                  <a:moveTo>
                    <a:pt x="6137225" y="2836964"/>
                  </a:moveTo>
                  <a:cubicBezTo>
                    <a:pt x="6111045" y="2836964"/>
                    <a:pt x="6097955" y="2865802"/>
                    <a:pt x="6097955" y="2923478"/>
                  </a:cubicBezTo>
                  <a:cubicBezTo>
                    <a:pt x="6097955" y="2977442"/>
                    <a:pt x="6110794" y="3004425"/>
                    <a:pt x="6136473" y="3004425"/>
                  </a:cubicBezTo>
                  <a:cubicBezTo>
                    <a:pt x="6161750" y="3004425"/>
                    <a:pt x="6174388" y="2976991"/>
                    <a:pt x="6174388" y="2922124"/>
                  </a:cubicBezTo>
                  <a:cubicBezTo>
                    <a:pt x="6174388" y="2865350"/>
                    <a:pt x="6162000" y="2836964"/>
                    <a:pt x="6137225" y="2836964"/>
                  </a:cubicBezTo>
                  <a:close/>
                  <a:moveTo>
                    <a:pt x="4034143" y="2836964"/>
                  </a:moveTo>
                  <a:cubicBezTo>
                    <a:pt x="4007963" y="2836964"/>
                    <a:pt x="3994873" y="2865802"/>
                    <a:pt x="3994873" y="2923478"/>
                  </a:cubicBezTo>
                  <a:cubicBezTo>
                    <a:pt x="3994873" y="2977442"/>
                    <a:pt x="4007712" y="3004425"/>
                    <a:pt x="4033391" y="3004425"/>
                  </a:cubicBezTo>
                  <a:cubicBezTo>
                    <a:pt x="4058668" y="3004425"/>
                    <a:pt x="4071306" y="2976991"/>
                    <a:pt x="4071306" y="2922124"/>
                  </a:cubicBezTo>
                  <a:cubicBezTo>
                    <a:pt x="4071306" y="2865350"/>
                    <a:pt x="4058917" y="2836964"/>
                    <a:pt x="4034143" y="2836964"/>
                  </a:cubicBezTo>
                  <a:close/>
                  <a:moveTo>
                    <a:pt x="3813220" y="2836964"/>
                  </a:moveTo>
                  <a:cubicBezTo>
                    <a:pt x="3787040" y="2836964"/>
                    <a:pt x="3773950" y="2865802"/>
                    <a:pt x="3773950" y="2923478"/>
                  </a:cubicBezTo>
                  <a:cubicBezTo>
                    <a:pt x="3773950" y="2977442"/>
                    <a:pt x="3786789" y="3004425"/>
                    <a:pt x="3812467" y="3004425"/>
                  </a:cubicBezTo>
                  <a:cubicBezTo>
                    <a:pt x="3837744" y="3004425"/>
                    <a:pt x="3850383" y="2976991"/>
                    <a:pt x="3850383" y="2922124"/>
                  </a:cubicBezTo>
                  <a:cubicBezTo>
                    <a:pt x="3850383" y="2865350"/>
                    <a:pt x="3837995" y="2836964"/>
                    <a:pt x="3813220" y="2836964"/>
                  </a:cubicBezTo>
                  <a:close/>
                  <a:moveTo>
                    <a:pt x="3151560" y="2836964"/>
                  </a:moveTo>
                  <a:cubicBezTo>
                    <a:pt x="3125380" y="2836964"/>
                    <a:pt x="3112290" y="2865802"/>
                    <a:pt x="3112290" y="2923478"/>
                  </a:cubicBezTo>
                  <a:cubicBezTo>
                    <a:pt x="3112290" y="2977442"/>
                    <a:pt x="3125129" y="3004425"/>
                    <a:pt x="3150807" y="3004425"/>
                  </a:cubicBezTo>
                  <a:cubicBezTo>
                    <a:pt x="3176084" y="3004425"/>
                    <a:pt x="3188723" y="2976991"/>
                    <a:pt x="3188723" y="2922124"/>
                  </a:cubicBezTo>
                  <a:cubicBezTo>
                    <a:pt x="3188723" y="2865350"/>
                    <a:pt x="3176335" y="2836964"/>
                    <a:pt x="3151560" y="2836964"/>
                  </a:cubicBezTo>
                  <a:close/>
                  <a:moveTo>
                    <a:pt x="2930637" y="2836964"/>
                  </a:moveTo>
                  <a:cubicBezTo>
                    <a:pt x="2904457" y="2836964"/>
                    <a:pt x="2891367" y="2865802"/>
                    <a:pt x="2891367" y="2923478"/>
                  </a:cubicBezTo>
                  <a:cubicBezTo>
                    <a:pt x="2891367" y="2977442"/>
                    <a:pt x="2904206" y="3004425"/>
                    <a:pt x="2929884" y="3004425"/>
                  </a:cubicBezTo>
                  <a:cubicBezTo>
                    <a:pt x="2955161" y="3004425"/>
                    <a:pt x="2967800" y="2976991"/>
                    <a:pt x="2967800" y="2922124"/>
                  </a:cubicBezTo>
                  <a:cubicBezTo>
                    <a:pt x="2967800" y="2865350"/>
                    <a:pt x="2955412" y="2836964"/>
                    <a:pt x="2930637" y="2836964"/>
                  </a:cubicBezTo>
                  <a:close/>
                  <a:moveTo>
                    <a:pt x="78039" y="2834954"/>
                  </a:moveTo>
                  <a:cubicBezTo>
                    <a:pt x="51859" y="2834954"/>
                    <a:pt x="38769" y="2863792"/>
                    <a:pt x="38769" y="2921468"/>
                  </a:cubicBezTo>
                  <a:cubicBezTo>
                    <a:pt x="38769" y="2975432"/>
                    <a:pt x="51608" y="3002415"/>
                    <a:pt x="77287" y="3002415"/>
                  </a:cubicBezTo>
                  <a:cubicBezTo>
                    <a:pt x="102564" y="3002415"/>
                    <a:pt x="115202" y="2974981"/>
                    <a:pt x="115202" y="2920114"/>
                  </a:cubicBezTo>
                  <a:cubicBezTo>
                    <a:pt x="115202" y="2863340"/>
                    <a:pt x="102814" y="2834954"/>
                    <a:pt x="78039" y="2834954"/>
                  </a:cubicBezTo>
                  <a:close/>
                  <a:moveTo>
                    <a:pt x="11918627" y="2809130"/>
                  </a:moveTo>
                  <a:lnTo>
                    <a:pt x="11933533" y="2809130"/>
                  </a:lnTo>
                  <a:lnTo>
                    <a:pt x="11933533" y="3032110"/>
                  </a:lnTo>
                  <a:lnTo>
                    <a:pt x="11898245" y="3032110"/>
                  </a:lnTo>
                  <a:lnTo>
                    <a:pt x="11898245" y="2852327"/>
                  </a:lnTo>
                  <a:cubicBezTo>
                    <a:pt x="11891857" y="2856890"/>
                    <a:pt x="11884987" y="2860768"/>
                    <a:pt x="11877636" y="2863962"/>
                  </a:cubicBezTo>
                  <a:cubicBezTo>
                    <a:pt x="11870284" y="2867157"/>
                    <a:pt x="11861893" y="2869970"/>
                    <a:pt x="11852463" y="2872404"/>
                  </a:cubicBezTo>
                  <a:lnTo>
                    <a:pt x="11852463" y="2842288"/>
                  </a:lnTo>
                  <a:cubicBezTo>
                    <a:pt x="11858344" y="2840362"/>
                    <a:pt x="11864023" y="2838334"/>
                    <a:pt x="11869498" y="2836204"/>
                  </a:cubicBezTo>
                  <a:cubicBezTo>
                    <a:pt x="11874974" y="2834075"/>
                    <a:pt x="11880374" y="2831692"/>
                    <a:pt x="11885697" y="2829055"/>
                  </a:cubicBezTo>
                  <a:cubicBezTo>
                    <a:pt x="11891021" y="2826419"/>
                    <a:pt x="11896395" y="2823478"/>
                    <a:pt x="11901820" y="2820234"/>
                  </a:cubicBezTo>
                  <a:cubicBezTo>
                    <a:pt x="11907245" y="2816989"/>
                    <a:pt x="11912847" y="2813288"/>
                    <a:pt x="11918627" y="2809130"/>
                  </a:cubicBezTo>
                  <a:close/>
                  <a:moveTo>
                    <a:pt x="11535759" y="2809130"/>
                  </a:moveTo>
                  <a:lnTo>
                    <a:pt x="11550665" y="2809130"/>
                  </a:lnTo>
                  <a:lnTo>
                    <a:pt x="11550665" y="3032110"/>
                  </a:lnTo>
                  <a:lnTo>
                    <a:pt x="11515377" y="3032110"/>
                  </a:lnTo>
                  <a:lnTo>
                    <a:pt x="11515377" y="2852327"/>
                  </a:lnTo>
                  <a:cubicBezTo>
                    <a:pt x="11508989" y="2856890"/>
                    <a:pt x="11502119" y="2860768"/>
                    <a:pt x="11494768" y="2863962"/>
                  </a:cubicBezTo>
                  <a:cubicBezTo>
                    <a:pt x="11487416" y="2867157"/>
                    <a:pt x="11479025" y="2869970"/>
                    <a:pt x="11469595" y="2872404"/>
                  </a:cubicBezTo>
                  <a:lnTo>
                    <a:pt x="11469595" y="2842288"/>
                  </a:lnTo>
                  <a:cubicBezTo>
                    <a:pt x="11475476" y="2840362"/>
                    <a:pt x="11481155" y="2838334"/>
                    <a:pt x="11486630" y="2836204"/>
                  </a:cubicBezTo>
                  <a:cubicBezTo>
                    <a:pt x="11492106" y="2834075"/>
                    <a:pt x="11497506" y="2831692"/>
                    <a:pt x="11502829" y="2829055"/>
                  </a:cubicBezTo>
                  <a:cubicBezTo>
                    <a:pt x="11508153" y="2826419"/>
                    <a:pt x="11513527" y="2823478"/>
                    <a:pt x="11518952" y="2820234"/>
                  </a:cubicBezTo>
                  <a:cubicBezTo>
                    <a:pt x="11524377" y="2816989"/>
                    <a:pt x="11529979" y="2813288"/>
                    <a:pt x="11535759" y="2809130"/>
                  </a:cubicBezTo>
                  <a:close/>
                  <a:moveTo>
                    <a:pt x="11391633" y="2809130"/>
                  </a:moveTo>
                  <a:lnTo>
                    <a:pt x="11406539" y="2809130"/>
                  </a:lnTo>
                  <a:lnTo>
                    <a:pt x="11406539" y="3032110"/>
                  </a:lnTo>
                  <a:lnTo>
                    <a:pt x="11371251" y="3032110"/>
                  </a:lnTo>
                  <a:lnTo>
                    <a:pt x="11371251" y="2852327"/>
                  </a:lnTo>
                  <a:cubicBezTo>
                    <a:pt x="11364863" y="2856890"/>
                    <a:pt x="11357993" y="2860768"/>
                    <a:pt x="11350642" y="2863962"/>
                  </a:cubicBezTo>
                  <a:cubicBezTo>
                    <a:pt x="11343290" y="2867157"/>
                    <a:pt x="11334899" y="2869970"/>
                    <a:pt x="11325469" y="2872404"/>
                  </a:cubicBezTo>
                  <a:lnTo>
                    <a:pt x="11325469" y="2842288"/>
                  </a:lnTo>
                  <a:cubicBezTo>
                    <a:pt x="11331350" y="2840362"/>
                    <a:pt x="11337029" y="2838334"/>
                    <a:pt x="11342504" y="2836204"/>
                  </a:cubicBezTo>
                  <a:cubicBezTo>
                    <a:pt x="11347980" y="2834075"/>
                    <a:pt x="11353380" y="2831692"/>
                    <a:pt x="11358703" y="2829055"/>
                  </a:cubicBezTo>
                  <a:cubicBezTo>
                    <a:pt x="11364027" y="2826419"/>
                    <a:pt x="11369401" y="2823478"/>
                    <a:pt x="11374826" y="2820234"/>
                  </a:cubicBezTo>
                  <a:cubicBezTo>
                    <a:pt x="11380251" y="2816989"/>
                    <a:pt x="11385853" y="2813288"/>
                    <a:pt x="11391633" y="2809130"/>
                  </a:cubicBezTo>
                  <a:close/>
                  <a:moveTo>
                    <a:pt x="11247508" y="2809130"/>
                  </a:moveTo>
                  <a:lnTo>
                    <a:pt x="11262414" y="2809130"/>
                  </a:lnTo>
                  <a:lnTo>
                    <a:pt x="11262414" y="3032110"/>
                  </a:lnTo>
                  <a:lnTo>
                    <a:pt x="11227126" y="3032110"/>
                  </a:lnTo>
                  <a:lnTo>
                    <a:pt x="11227126" y="2852327"/>
                  </a:lnTo>
                  <a:cubicBezTo>
                    <a:pt x="11220738" y="2856890"/>
                    <a:pt x="11213868" y="2860768"/>
                    <a:pt x="11206517" y="2863962"/>
                  </a:cubicBezTo>
                  <a:cubicBezTo>
                    <a:pt x="11199165" y="2867157"/>
                    <a:pt x="11190774" y="2869970"/>
                    <a:pt x="11181344" y="2872404"/>
                  </a:cubicBezTo>
                  <a:lnTo>
                    <a:pt x="11181344" y="2842288"/>
                  </a:lnTo>
                  <a:cubicBezTo>
                    <a:pt x="11187225" y="2840362"/>
                    <a:pt x="11192904" y="2838334"/>
                    <a:pt x="11198379" y="2836204"/>
                  </a:cubicBezTo>
                  <a:cubicBezTo>
                    <a:pt x="11203855" y="2834075"/>
                    <a:pt x="11209255" y="2831692"/>
                    <a:pt x="11214578" y="2829055"/>
                  </a:cubicBezTo>
                  <a:cubicBezTo>
                    <a:pt x="11219902" y="2826419"/>
                    <a:pt x="11225276" y="2823478"/>
                    <a:pt x="11230701" y="2820234"/>
                  </a:cubicBezTo>
                  <a:cubicBezTo>
                    <a:pt x="11236126" y="2816989"/>
                    <a:pt x="11241728" y="2813288"/>
                    <a:pt x="11247508" y="2809130"/>
                  </a:cubicBezTo>
                  <a:close/>
                  <a:moveTo>
                    <a:pt x="11103383" y="2809130"/>
                  </a:moveTo>
                  <a:lnTo>
                    <a:pt x="11118289" y="2809130"/>
                  </a:lnTo>
                  <a:lnTo>
                    <a:pt x="11118289" y="3032110"/>
                  </a:lnTo>
                  <a:lnTo>
                    <a:pt x="11083001" y="3032110"/>
                  </a:lnTo>
                  <a:lnTo>
                    <a:pt x="11083001" y="2852327"/>
                  </a:lnTo>
                  <a:cubicBezTo>
                    <a:pt x="11076613" y="2856890"/>
                    <a:pt x="11069743" y="2860768"/>
                    <a:pt x="11062392" y="2863962"/>
                  </a:cubicBezTo>
                  <a:cubicBezTo>
                    <a:pt x="11055040" y="2867157"/>
                    <a:pt x="11046649" y="2869970"/>
                    <a:pt x="11037219" y="2872404"/>
                  </a:cubicBezTo>
                  <a:lnTo>
                    <a:pt x="11037219" y="2842288"/>
                  </a:lnTo>
                  <a:cubicBezTo>
                    <a:pt x="11043100" y="2840362"/>
                    <a:pt x="11048779" y="2838334"/>
                    <a:pt x="11054254" y="2836204"/>
                  </a:cubicBezTo>
                  <a:cubicBezTo>
                    <a:pt x="11059730" y="2834075"/>
                    <a:pt x="11065130" y="2831692"/>
                    <a:pt x="11070453" y="2829055"/>
                  </a:cubicBezTo>
                  <a:cubicBezTo>
                    <a:pt x="11075777" y="2826419"/>
                    <a:pt x="11081151" y="2823478"/>
                    <a:pt x="11086576" y="2820234"/>
                  </a:cubicBezTo>
                  <a:cubicBezTo>
                    <a:pt x="11092001" y="2816989"/>
                    <a:pt x="11097603" y="2813288"/>
                    <a:pt x="11103383" y="2809130"/>
                  </a:cubicBezTo>
                  <a:close/>
                  <a:moveTo>
                    <a:pt x="10959258" y="2809130"/>
                  </a:moveTo>
                  <a:lnTo>
                    <a:pt x="10974164" y="2809130"/>
                  </a:lnTo>
                  <a:lnTo>
                    <a:pt x="10974164" y="3032110"/>
                  </a:lnTo>
                  <a:lnTo>
                    <a:pt x="10938876" y="3032110"/>
                  </a:lnTo>
                  <a:lnTo>
                    <a:pt x="10938876" y="2852327"/>
                  </a:lnTo>
                  <a:cubicBezTo>
                    <a:pt x="10932488" y="2856890"/>
                    <a:pt x="10925618" y="2860768"/>
                    <a:pt x="10918267" y="2863962"/>
                  </a:cubicBezTo>
                  <a:cubicBezTo>
                    <a:pt x="10910915" y="2867157"/>
                    <a:pt x="10902524" y="2869970"/>
                    <a:pt x="10893094" y="2872404"/>
                  </a:cubicBezTo>
                  <a:lnTo>
                    <a:pt x="10893094" y="2842288"/>
                  </a:lnTo>
                  <a:cubicBezTo>
                    <a:pt x="10898975" y="2840362"/>
                    <a:pt x="10904654" y="2838334"/>
                    <a:pt x="10910129" y="2836204"/>
                  </a:cubicBezTo>
                  <a:cubicBezTo>
                    <a:pt x="10915605" y="2834075"/>
                    <a:pt x="10921005" y="2831692"/>
                    <a:pt x="10926328" y="2829055"/>
                  </a:cubicBezTo>
                  <a:cubicBezTo>
                    <a:pt x="10931652" y="2826419"/>
                    <a:pt x="10937026" y="2823478"/>
                    <a:pt x="10942451" y="2820234"/>
                  </a:cubicBezTo>
                  <a:cubicBezTo>
                    <a:pt x="10947876" y="2816989"/>
                    <a:pt x="10953478" y="2813288"/>
                    <a:pt x="10959258" y="2809130"/>
                  </a:cubicBezTo>
                  <a:close/>
                  <a:moveTo>
                    <a:pt x="10571025" y="2809130"/>
                  </a:moveTo>
                  <a:lnTo>
                    <a:pt x="10585931" y="2809130"/>
                  </a:lnTo>
                  <a:lnTo>
                    <a:pt x="10585931" y="3032110"/>
                  </a:lnTo>
                  <a:lnTo>
                    <a:pt x="10550643" y="3032110"/>
                  </a:lnTo>
                  <a:lnTo>
                    <a:pt x="10550643" y="2852327"/>
                  </a:lnTo>
                  <a:cubicBezTo>
                    <a:pt x="10544255" y="2856890"/>
                    <a:pt x="10537385" y="2860768"/>
                    <a:pt x="10530034" y="2863962"/>
                  </a:cubicBezTo>
                  <a:cubicBezTo>
                    <a:pt x="10522682" y="2867157"/>
                    <a:pt x="10514291" y="2869970"/>
                    <a:pt x="10504861" y="2872404"/>
                  </a:cubicBezTo>
                  <a:lnTo>
                    <a:pt x="10504861" y="2842288"/>
                  </a:lnTo>
                  <a:cubicBezTo>
                    <a:pt x="10510742" y="2840362"/>
                    <a:pt x="10516421" y="2838334"/>
                    <a:pt x="10521896" y="2836204"/>
                  </a:cubicBezTo>
                  <a:cubicBezTo>
                    <a:pt x="10527372" y="2834075"/>
                    <a:pt x="10532772" y="2831692"/>
                    <a:pt x="10538095" y="2829055"/>
                  </a:cubicBezTo>
                  <a:cubicBezTo>
                    <a:pt x="10543419" y="2826419"/>
                    <a:pt x="10548793" y="2823478"/>
                    <a:pt x="10554218" y="2820234"/>
                  </a:cubicBezTo>
                  <a:cubicBezTo>
                    <a:pt x="10559643" y="2816989"/>
                    <a:pt x="10565245" y="2813288"/>
                    <a:pt x="10571025" y="2809130"/>
                  </a:cubicBezTo>
                  <a:close/>
                  <a:moveTo>
                    <a:pt x="10304917" y="2809130"/>
                  </a:moveTo>
                  <a:lnTo>
                    <a:pt x="10319823" y="2809130"/>
                  </a:lnTo>
                  <a:lnTo>
                    <a:pt x="10319823" y="3032110"/>
                  </a:lnTo>
                  <a:lnTo>
                    <a:pt x="10284535" y="3032110"/>
                  </a:lnTo>
                  <a:lnTo>
                    <a:pt x="10284535" y="2852327"/>
                  </a:lnTo>
                  <a:cubicBezTo>
                    <a:pt x="10278147" y="2856890"/>
                    <a:pt x="10271277" y="2860768"/>
                    <a:pt x="10263926" y="2863962"/>
                  </a:cubicBezTo>
                  <a:cubicBezTo>
                    <a:pt x="10256574" y="2867157"/>
                    <a:pt x="10248183" y="2869970"/>
                    <a:pt x="10238753" y="2872404"/>
                  </a:cubicBezTo>
                  <a:lnTo>
                    <a:pt x="10238753" y="2842288"/>
                  </a:lnTo>
                  <a:cubicBezTo>
                    <a:pt x="10244634" y="2840362"/>
                    <a:pt x="10250313" y="2838334"/>
                    <a:pt x="10255788" y="2836204"/>
                  </a:cubicBezTo>
                  <a:cubicBezTo>
                    <a:pt x="10261264" y="2834075"/>
                    <a:pt x="10266664" y="2831692"/>
                    <a:pt x="10271987" y="2829055"/>
                  </a:cubicBezTo>
                  <a:cubicBezTo>
                    <a:pt x="10277311" y="2826419"/>
                    <a:pt x="10282685" y="2823478"/>
                    <a:pt x="10288110" y="2820234"/>
                  </a:cubicBezTo>
                  <a:cubicBezTo>
                    <a:pt x="10293535" y="2816989"/>
                    <a:pt x="10299137" y="2813288"/>
                    <a:pt x="10304917" y="2809130"/>
                  </a:cubicBezTo>
                  <a:close/>
                  <a:moveTo>
                    <a:pt x="9693318" y="2809130"/>
                  </a:moveTo>
                  <a:lnTo>
                    <a:pt x="9708224" y="2809130"/>
                  </a:lnTo>
                  <a:lnTo>
                    <a:pt x="9708224" y="3032110"/>
                  </a:lnTo>
                  <a:lnTo>
                    <a:pt x="9672936" y="3032110"/>
                  </a:lnTo>
                  <a:lnTo>
                    <a:pt x="9672936" y="2852327"/>
                  </a:lnTo>
                  <a:cubicBezTo>
                    <a:pt x="9666548" y="2856890"/>
                    <a:pt x="9659678" y="2860768"/>
                    <a:pt x="9652327" y="2863962"/>
                  </a:cubicBezTo>
                  <a:cubicBezTo>
                    <a:pt x="9644975" y="2867157"/>
                    <a:pt x="9636584" y="2869970"/>
                    <a:pt x="9627154" y="2872404"/>
                  </a:cubicBezTo>
                  <a:lnTo>
                    <a:pt x="9627154" y="2842288"/>
                  </a:lnTo>
                  <a:cubicBezTo>
                    <a:pt x="9633035" y="2840362"/>
                    <a:pt x="9638714" y="2838334"/>
                    <a:pt x="9644189" y="2836204"/>
                  </a:cubicBezTo>
                  <a:cubicBezTo>
                    <a:pt x="9649665" y="2834075"/>
                    <a:pt x="9655065" y="2831692"/>
                    <a:pt x="9660388" y="2829055"/>
                  </a:cubicBezTo>
                  <a:cubicBezTo>
                    <a:pt x="9665712" y="2826419"/>
                    <a:pt x="9671086" y="2823478"/>
                    <a:pt x="9676511" y="2820234"/>
                  </a:cubicBezTo>
                  <a:cubicBezTo>
                    <a:pt x="9681936" y="2816989"/>
                    <a:pt x="9687538" y="2813288"/>
                    <a:pt x="9693318" y="2809130"/>
                  </a:cubicBezTo>
                  <a:close/>
                  <a:moveTo>
                    <a:pt x="9427209" y="2809130"/>
                  </a:moveTo>
                  <a:lnTo>
                    <a:pt x="9442115" y="2809130"/>
                  </a:lnTo>
                  <a:lnTo>
                    <a:pt x="9442115" y="3032110"/>
                  </a:lnTo>
                  <a:lnTo>
                    <a:pt x="9406827" y="3032110"/>
                  </a:lnTo>
                  <a:lnTo>
                    <a:pt x="9406827" y="2852327"/>
                  </a:lnTo>
                  <a:cubicBezTo>
                    <a:pt x="9400439" y="2856890"/>
                    <a:pt x="9393569" y="2860768"/>
                    <a:pt x="9386218" y="2863962"/>
                  </a:cubicBezTo>
                  <a:cubicBezTo>
                    <a:pt x="9378866" y="2867157"/>
                    <a:pt x="9370475" y="2869970"/>
                    <a:pt x="9361045" y="2872404"/>
                  </a:cubicBezTo>
                  <a:lnTo>
                    <a:pt x="9361045" y="2842288"/>
                  </a:lnTo>
                  <a:cubicBezTo>
                    <a:pt x="9366926" y="2840362"/>
                    <a:pt x="9372605" y="2838334"/>
                    <a:pt x="9378080" y="2836204"/>
                  </a:cubicBezTo>
                  <a:cubicBezTo>
                    <a:pt x="9383556" y="2834075"/>
                    <a:pt x="9388956" y="2831692"/>
                    <a:pt x="9394279" y="2829055"/>
                  </a:cubicBezTo>
                  <a:cubicBezTo>
                    <a:pt x="9399603" y="2826419"/>
                    <a:pt x="9404977" y="2823478"/>
                    <a:pt x="9410402" y="2820234"/>
                  </a:cubicBezTo>
                  <a:cubicBezTo>
                    <a:pt x="9415827" y="2816989"/>
                    <a:pt x="9421429" y="2813288"/>
                    <a:pt x="9427209" y="2809130"/>
                  </a:cubicBezTo>
                  <a:close/>
                  <a:moveTo>
                    <a:pt x="8820862" y="2809130"/>
                  </a:moveTo>
                  <a:lnTo>
                    <a:pt x="8835768" y="2809130"/>
                  </a:lnTo>
                  <a:lnTo>
                    <a:pt x="8835768" y="3032110"/>
                  </a:lnTo>
                  <a:lnTo>
                    <a:pt x="8800480" y="3032110"/>
                  </a:lnTo>
                  <a:lnTo>
                    <a:pt x="8800480" y="2852327"/>
                  </a:lnTo>
                  <a:cubicBezTo>
                    <a:pt x="8794092" y="2856890"/>
                    <a:pt x="8787222" y="2860768"/>
                    <a:pt x="8779871" y="2863962"/>
                  </a:cubicBezTo>
                  <a:cubicBezTo>
                    <a:pt x="8772519" y="2867157"/>
                    <a:pt x="8764128" y="2869970"/>
                    <a:pt x="8754698" y="2872404"/>
                  </a:cubicBezTo>
                  <a:lnTo>
                    <a:pt x="8754698" y="2842288"/>
                  </a:lnTo>
                  <a:cubicBezTo>
                    <a:pt x="8760579" y="2840362"/>
                    <a:pt x="8766258" y="2838334"/>
                    <a:pt x="8771733" y="2836204"/>
                  </a:cubicBezTo>
                  <a:cubicBezTo>
                    <a:pt x="8777209" y="2834075"/>
                    <a:pt x="8782609" y="2831692"/>
                    <a:pt x="8787932" y="2829055"/>
                  </a:cubicBezTo>
                  <a:cubicBezTo>
                    <a:pt x="8793256" y="2826419"/>
                    <a:pt x="8798630" y="2823478"/>
                    <a:pt x="8804055" y="2820234"/>
                  </a:cubicBezTo>
                  <a:cubicBezTo>
                    <a:pt x="8809480" y="2816989"/>
                    <a:pt x="8815082" y="2813288"/>
                    <a:pt x="8820862" y="2809130"/>
                  </a:cubicBezTo>
                  <a:close/>
                  <a:moveTo>
                    <a:pt x="8554754" y="2809130"/>
                  </a:moveTo>
                  <a:lnTo>
                    <a:pt x="8569660" y="2809130"/>
                  </a:lnTo>
                  <a:lnTo>
                    <a:pt x="8569660" y="3032110"/>
                  </a:lnTo>
                  <a:lnTo>
                    <a:pt x="8534372" y="3032110"/>
                  </a:lnTo>
                  <a:lnTo>
                    <a:pt x="8534372" y="2852327"/>
                  </a:lnTo>
                  <a:cubicBezTo>
                    <a:pt x="8527984" y="2856890"/>
                    <a:pt x="8521114" y="2860768"/>
                    <a:pt x="8513763" y="2863962"/>
                  </a:cubicBezTo>
                  <a:cubicBezTo>
                    <a:pt x="8506411" y="2867157"/>
                    <a:pt x="8498020" y="2869970"/>
                    <a:pt x="8488590" y="2872404"/>
                  </a:cubicBezTo>
                  <a:lnTo>
                    <a:pt x="8488590" y="2842288"/>
                  </a:lnTo>
                  <a:cubicBezTo>
                    <a:pt x="8494471" y="2840362"/>
                    <a:pt x="8500150" y="2838334"/>
                    <a:pt x="8505625" y="2836204"/>
                  </a:cubicBezTo>
                  <a:cubicBezTo>
                    <a:pt x="8511101" y="2834075"/>
                    <a:pt x="8516501" y="2831692"/>
                    <a:pt x="8521824" y="2829055"/>
                  </a:cubicBezTo>
                  <a:cubicBezTo>
                    <a:pt x="8527148" y="2826419"/>
                    <a:pt x="8532522" y="2823478"/>
                    <a:pt x="8537947" y="2820234"/>
                  </a:cubicBezTo>
                  <a:cubicBezTo>
                    <a:pt x="8543372" y="2816989"/>
                    <a:pt x="8548974" y="2813288"/>
                    <a:pt x="8554754" y="2809130"/>
                  </a:cubicBezTo>
                  <a:close/>
                  <a:moveTo>
                    <a:pt x="8142986" y="2809130"/>
                  </a:moveTo>
                  <a:lnTo>
                    <a:pt x="8157893" y="2809130"/>
                  </a:lnTo>
                  <a:lnTo>
                    <a:pt x="8157893" y="3032110"/>
                  </a:lnTo>
                  <a:lnTo>
                    <a:pt x="8122605" y="3032110"/>
                  </a:lnTo>
                  <a:lnTo>
                    <a:pt x="8122605" y="2852327"/>
                  </a:lnTo>
                  <a:cubicBezTo>
                    <a:pt x="8116217" y="2856890"/>
                    <a:pt x="8109347" y="2860768"/>
                    <a:pt x="8101995" y="2863962"/>
                  </a:cubicBezTo>
                  <a:cubicBezTo>
                    <a:pt x="8094644" y="2867157"/>
                    <a:pt x="8086253" y="2869970"/>
                    <a:pt x="8076823" y="2872404"/>
                  </a:cubicBezTo>
                  <a:lnTo>
                    <a:pt x="8076823" y="2842288"/>
                  </a:lnTo>
                  <a:cubicBezTo>
                    <a:pt x="8082704" y="2840362"/>
                    <a:pt x="8088382" y="2838334"/>
                    <a:pt x="8093858" y="2836204"/>
                  </a:cubicBezTo>
                  <a:cubicBezTo>
                    <a:pt x="8099334" y="2834075"/>
                    <a:pt x="8104733" y="2831692"/>
                    <a:pt x="8110057" y="2829055"/>
                  </a:cubicBezTo>
                  <a:cubicBezTo>
                    <a:pt x="8115380" y="2826419"/>
                    <a:pt x="8120755" y="2823478"/>
                    <a:pt x="8126179" y="2820234"/>
                  </a:cubicBezTo>
                  <a:cubicBezTo>
                    <a:pt x="8131605" y="2816989"/>
                    <a:pt x="8137207" y="2813288"/>
                    <a:pt x="8142986" y="2809130"/>
                  </a:cubicBezTo>
                  <a:close/>
                  <a:moveTo>
                    <a:pt x="8009932" y="2809130"/>
                  </a:moveTo>
                  <a:lnTo>
                    <a:pt x="8024839" y="2809130"/>
                  </a:lnTo>
                  <a:lnTo>
                    <a:pt x="8024839" y="3032110"/>
                  </a:lnTo>
                  <a:lnTo>
                    <a:pt x="7989551" y="3032110"/>
                  </a:lnTo>
                  <a:lnTo>
                    <a:pt x="7989551" y="2852327"/>
                  </a:lnTo>
                  <a:cubicBezTo>
                    <a:pt x="7983163" y="2856890"/>
                    <a:pt x="7976293" y="2860768"/>
                    <a:pt x="7968941" y="2863962"/>
                  </a:cubicBezTo>
                  <a:cubicBezTo>
                    <a:pt x="7961590" y="2867157"/>
                    <a:pt x="7953199" y="2869970"/>
                    <a:pt x="7943769" y="2872404"/>
                  </a:cubicBezTo>
                  <a:lnTo>
                    <a:pt x="7943769" y="2842288"/>
                  </a:lnTo>
                  <a:cubicBezTo>
                    <a:pt x="7949650" y="2840362"/>
                    <a:pt x="7955328" y="2838334"/>
                    <a:pt x="7960804" y="2836204"/>
                  </a:cubicBezTo>
                  <a:cubicBezTo>
                    <a:pt x="7966280" y="2834075"/>
                    <a:pt x="7971679" y="2831692"/>
                    <a:pt x="7977003" y="2829055"/>
                  </a:cubicBezTo>
                  <a:cubicBezTo>
                    <a:pt x="7982326" y="2826419"/>
                    <a:pt x="7987701" y="2823478"/>
                    <a:pt x="7993125" y="2820234"/>
                  </a:cubicBezTo>
                  <a:cubicBezTo>
                    <a:pt x="7998551" y="2816989"/>
                    <a:pt x="8004153" y="2813288"/>
                    <a:pt x="8009932" y="2809130"/>
                  </a:cubicBezTo>
                  <a:close/>
                  <a:moveTo>
                    <a:pt x="7876878" y="2809130"/>
                  </a:moveTo>
                  <a:lnTo>
                    <a:pt x="7891785" y="2809130"/>
                  </a:lnTo>
                  <a:lnTo>
                    <a:pt x="7891785" y="3032110"/>
                  </a:lnTo>
                  <a:lnTo>
                    <a:pt x="7856497" y="3032110"/>
                  </a:lnTo>
                  <a:lnTo>
                    <a:pt x="7856497" y="2852327"/>
                  </a:lnTo>
                  <a:cubicBezTo>
                    <a:pt x="7850109" y="2856890"/>
                    <a:pt x="7843239" y="2860768"/>
                    <a:pt x="7835887" y="2863962"/>
                  </a:cubicBezTo>
                  <a:cubicBezTo>
                    <a:pt x="7828536" y="2867157"/>
                    <a:pt x="7820145" y="2869970"/>
                    <a:pt x="7810715" y="2872404"/>
                  </a:cubicBezTo>
                  <a:lnTo>
                    <a:pt x="7810715" y="2842288"/>
                  </a:lnTo>
                  <a:cubicBezTo>
                    <a:pt x="7816596" y="2840362"/>
                    <a:pt x="7822274" y="2838334"/>
                    <a:pt x="7827750" y="2836204"/>
                  </a:cubicBezTo>
                  <a:cubicBezTo>
                    <a:pt x="7833226" y="2834075"/>
                    <a:pt x="7838625" y="2831692"/>
                    <a:pt x="7843949" y="2829055"/>
                  </a:cubicBezTo>
                  <a:cubicBezTo>
                    <a:pt x="7849272" y="2826419"/>
                    <a:pt x="7854647" y="2823478"/>
                    <a:pt x="7860071" y="2820234"/>
                  </a:cubicBezTo>
                  <a:cubicBezTo>
                    <a:pt x="7865497" y="2816989"/>
                    <a:pt x="7871099" y="2813288"/>
                    <a:pt x="7876878" y="2809130"/>
                  </a:cubicBezTo>
                  <a:close/>
                  <a:moveTo>
                    <a:pt x="7734266" y="2809130"/>
                  </a:moveTo>
                  <a:lnTo>
                    <a:pt x="7749173" y="2809130"/>
                  </a:lnTo>
                  <a:lnTo>
                    <a:pt x="7749173" y="3032110"/>
                  </a:lnTo>
                  <a:lnTo>
                    <a:pt x="7713885" y="3032110"/>
                  </a:lnTo>
                  <a:lnTo>
                    <a:pt x="7713885" y="2852327"/>
                  </a:lnTo>
                  <a:cubicBezTo>
                    <a:pt x="7707497" y="2856890"/>
                    <a:pt x="7700627" y="2860768"/>
                    <a:pt x="7693275" y="2863962"/>
                  </a:cubicBezTo>
                  <a:cubicBezTo>
                    <a:pt x="7685924" y="2867157"/>
                    <a:pt x="7677533" y="2869970"/>
                    <a:pt x="7668103" y="2872404"/>
                  </a:cubicBezTo>
                  <a:lnTo>
                    <a:pt x="7668103" y="2842288"/>
                  </a:lnTo>
                  <a:cubicBezTo>
                    <a:pt x="7673984" y="2840362"/>
                    <a:pt x="7679662" y="2838334"/>
                    <a:pt x="7685138" y="2836204"/>
                  </a:cubicBezTo>
                  <a:cubicBezTo>
                    <a:pt x="7690614" y="2834075"/>
                    <a:pt x="7696013" y="2831692"/>
                    <a:pt x="7701337" y="2829055"/>
                  </a:cubicBezTo>
                  <a:cubicBezTo>
                    <a:pt x="7706660" y="2826419"/>
                    <a:pt x="7712035" y="2823478"/>
                    <a:pt x="7717459" y="2820234"/>
                  </a:cubicBezTo>
                  <a:cubicBezTo>
                    <a:pt x="7722885" y="2816989"/>
                    <a:pt x="7728487" y="2813288"/>
                    <a:pt x="7734266" y="2809130"/>
                  </a:cubicBezTo>
                  <a:close/>
                  <a:moveTo>
                    <a:pt x="6986928" y="2809130"/>
                  </a:moveTo>
                  <a:lnTo>
                    <a:pt x="7001834" y="2809130"/>
                  </a:lnTo>
                  <a:lnTo>
                    <a:pt x="7001834" y="3032110"/>
                  </a:lnTo>
                  <a:lnTo>
                    <a:pt x="6966546" y="3032110"/>
                  </a:lnTo>
                  <a:lnTo>
                    <a:pt x="6966546" y="2852327"/>
                  </a:lnTo>
                  <a:cubicBezTo>
                    <a:pt x="6960158" y="2856890"/>
                    <a:pt x="6953289" y="2860768"/>
                    <a:pt x="6945937" y="2863962"/>
                  </a:cubicBezTo>
                  <a:cubicBezTo>
                    <a:pt x="6938585" y="2867157"/>
                    <a:pt x="6930195" y="2869970"/>
                    <a:pt x="6920764" y="2872404"/>
                  </a:cubicBezTo>
                  <a:lnTo>
                    <a:pt x="6920764" y="2842288"/>
                  </a:lnTo>
                  <a:cubicBezTo>
                    <a:pt x="6926645" y="2840362"/>
                    <a:pt x="6932324" y="2838334"/>
                    <a:pt x="6937799" y="2836204"/>
                  </a:cubicBezTo>
                  <a:cubicBezTo>
                    <a:pt x="6943275" y="2834075"/>
                    <a:pt x="6948675" y="2831692"/>
                    <a:pt x="6953998" y="2829055"/>
                  </a:cubicBezTo>
                  <a:cubicBezTo>
                    <a:pt x="6959322" y="2826419"/>
                    <a:pt x="6964696" y="2823478"/>
                    <a:pt x="6970121" y="2820234"/>
                  </a:cubicBezTo>
                  <a:cubicBezTo>
                    <a:pt x="6975546" y="2816989"/>
                    <a:pt x="6981148" y="2813288"/>
                    <a:pt x="6986928" y="2809130"/>
                  </a:cubicBezTo>
                  <a:close/>
                  <a:moveTo>
                    <a:pt x="6842802" y="2809130"/>
                  </a:moveTo>
                  <a:lnTo>
                    <a:pt x="6857708" y="2809130"/>
                  </a:lnTo>
                  <a:lnTo>
                    <a:pt x="6857708" y="3032110"/>
                  </a:lnTo>
                  <a:lnTo>
                    <a:pt x="6822420" y="3032110"/>
                  </a:lnTo>
                  <a:lnTo>
                    <a:pt x="6822420" y="2852327"/>
                  </a:lnTo>
                  <a:cubicBezTo>
                    <a:pt x="6816032" y="2856890"/>
                    <a:pt x="6809163" y="2860768"/>
                    <a:pt x="6801811" y="2863962"/>
                  </a:cubicBezTo>
                  <a:cubicBezTo>
                    <a:pt x="6794459" y="2867157"/>
                    <a:pt x="6786069" y="2869970"/>
                    <a:pt x="6776638" y="2872404"/>
                  </a:cubicBezTo>
                  <a:lnTo>
                    <a:pt x="6776638" y="2842288"/>
                  </a:lnTo>
                  <a:cubicBezTo>
                    <a:pt x="6782519" y="2840362"/>
                    <a:pt x="6788198" y="2838334"/>
                    <a:pt x="6793673" y="2836204"/>
                  </a:cubicBezTo>
                  <a:cubicBezTo>
                    <a:pt x="6799149" y="2834075"/>
                    <a:pt x="6804549" y="2831692"/>
                    <a:pt x="6809872" y="2829055"/>
                  </a:cubicBezTo>
                  <a:cubicBezTo>
                    <a:pt x="6815196" y="2826419"/>
                    <a:pt x="6820570" y="2823478"/>
                    <a:pt x="6825995" y="2820234"/>
                  </a:cubicBezTo>
                  <a:cubicBezTo>
                    <a:pt x="6831420" y="2816989"/>
                    <a:pt x="6837022" y="2813288"/>
                    <a:pt x="6842802" y="2809130"/>
                  </a:cubicBezTo>
                  <a:close/>
                  <a:moveTo>
                    <a:pt x="5862574" y="2809130"/>
                  </a:moveTo>
                  <a:lnTo>
                    <a:pt x="5877481" y="2809130"/>
                  </a:lnTo>
                  <a:lnTo>
                    <a:pt x="5877481" y="3032110"/>
                  </a:lnTo>
                  <a:lnTo>
                    <a:pt x="5842193" y="3032110"/>
                  </a:lnTo>
                  <a:lnTo>
                    <a:pt x="5842193" y="2852327"/>
                  </a:lnTo>
                  <a:cubicBezTo>
                    <a:pt x="5835804" y="2856890"/>
                    <a:pt x="5828935" y="2860768"/>
                    <a:pt x="5821582" y="2863962"/>
                  </a:cubicBezTo>
                  <a:cubicBezTo>
                    <a:pt x="5814233" y="2867157"/>
                    <a:pt x="5805841" y="2869970"/>
                    <a:pt x="5796410" y="2872404"/>
                  </a:cubicBezTo>
                  <a:lnTo>
                    <a:pt x="5796410" y="2842288"/>
                  </a:lnTo>
                  <a:cubicBezTo>
                    <a:pt x="5802292" y="2840362"/>
                    <a:pt x="5807970" y="2838334"/>
                    <a:pt x="5813446" y="2836204"/>
                  </a:cubicBezTo>
                  <a:cubicBezTo>
                    <a:pt x="5818922" y="2834075"/>
                    <a:pt x="5824321" y="2831692"/>
                    <a:pt x="5829644" y="2829055"/>
                  </a:cubicBezTo>
                  <a:cubicBezTo>
                    <a:pt x="5834968" y="2826419"/>
                    <a:pt x="5840342" y="2823478"/>
                    <a:pt x="5845767" y="2820234"/>
                  </a:cubicBezTo>
                  <a:cubicBezTo>
                    <a:pt x="5851192" y="2816989"/>
                    <a:pt x="5856795" y="2813288"/>
                    <a:pt x="5862574" y="2809130"/>
                  </a:cubicBezTo>
                  <a:close/>
                  <a:moveTo>
                    <a:pt x="5479705" y="2809130"/>
                  </a:moveTo>
                  <a:lnTo>
                    <a:pt x="5494614" y="2809130"/>
                  </a:lnTo>
                  <a:lnTo>
                    <a:pt x="5494614" y="3032110"/>
                  </a:lnTo>
                  <a:lnTo>
                    <a:pt x="5459325" y="3032110"/>
                  </a:lnTo>
                  <a:lnTo>
                    <a:pt x="5459325" y="2852327"/>
                  </a:lnTo>
                  <a:cubicBezTo>
                    <a:pt x="5452937" y="2856890"/>
                    <a:pt x="5446067" y="2860768"/>
                    <a:pt x="5438715" y="2863962"/>
                  </a:cubicBezTo>
                  <a:cubicBezTo>
                    <a:pt x="5431364" y="2867157"/>
                    <a:pt x="5422973" y="2869970"/>
                    <a:pt x="5413543" y="2872404"/>
                  </a:cubicBezTo>
                  <a:lnTo>
                    <a:pt x="5413543" y="2842288"/>
                  </a:lnTo>
                  <a:cubicBezTo>
                    <a:pt x="5419424" y="2840362"/>
                    <a:pt x="5425102" y="2838334"/>
                    <a:pt x="5430578" y="2836204"/>
                  </a:cubicBezTo>
                  <a:cubicBezTo>
                    <a:pt x="5436054" y="2834075"/>
                    <a:pt x="5441453" y="2831692"/>
                    <a:pt x="5446777" y="2829055"/>
                  </a:cubicBezTo>
                  <a:cubicBezTo>
                    <a:pt x="5452100" y="2826419"/>
                    <a:pt x="5457475" y="2823478"/>
                    <a:pt x="5462899" y="2820234"/>
                  </a:cubicBezTo>
                  <a:cubicBezTo>
                    <a:pt x="5468325" y="2816989"/>
                    <a:pt x="5473927" y="2813288"/>
                    <a:pt x="5479705" y="2809130"/>
                  </a:cubicBezTo>
                  <a:close/>
                  <a:moveTo>
                    <a:pt x="5335580" y="2809130"/>
                  </a:moveTo>
                  <a:lnTo>
                    <a:pt x="5350487" y="2809130"/>
                  </a:lnTo>
                  <a:lnTo>
                    <a:pt x="5350487" y="3032110"/>
                  </a:lnTo>
                  <a:lnTo>
                    <a:pt x="5315200" y="3032110"/>
                  </a:lnTo>
                  <a:lnTo>
                    <a:pt x="5315200" y="2852327"/>
                  </a:lnTo>
                  <a:cubicBezTo>
                    <a:pt x="5308811" y="2856890"/>
                    <a:pt x="5301941" y="2860768"/>
                    <a:pt x="5294589" y="2863962"/>
                  </a:cubicBezTo>
                  <a:cubicBezTo>
                    <a:pt x="5287238" y="2867157"/>
                    <a:pt x="5278847" y="2869970"/>
                    <a:pt x="5269417" y="2872404"/>
                  </a:cubicBezTo>
                  <a:lnTo>
                    <a:pt x="5269417" y="2842288"/>
                  </a:lnTo>
                  <a:cubicBezTo>
                    <a:pt x="5275298" y="2840362"/>
                    <a:pt x="5280977" y="2838334"/>
                    <a:pt x="5286452" y="2836204"/>
                  </a:cubicBezTo>
                  <a:cubicBezTo>
                    <a:pt x="5291928" y="2834075"/>
                    <a:pt x="5297327" y="2831692"/>
                    <a:pt x="5302652" y="2829055"/>
                  </a:cubicBezTo>
                  <a:cubicBezTo>
                    <a:pt x="5307974" y="2826419"/>
                    <a:pt x="5313349" y="2823478"/>
                    <a:pt x="5318773" y="2820234"/>
                  </a:cubicBezTo>
                  <a:cubicBezTo>
                    <a:pt x="5324198" y="2816989"/>
                    <a:pt x="5329801" y="2813288"/>
                    <a:pt x="5335580" y="2809130"/>
                  </a:cubicBezTo>
                  <a:close/>
                  <a:moveTo>
                    <a:pt x="5191455" y="2809130"/>
                  </a:moveTo>
                  <a:lnTo>
                    <a:pt x="5206362" y="2809130"/>
                  </a:lnTo>
                  <a:lnTo>
                    <a:pt x="5206362" y="3032110"/>
                  </a:lnTo>
                  <a:lnTo>
                    <a:pt x="5171074" y="3032110"/>
                  </a:lnTo>
                  <a:lnTo>
                    <a:pt x="5171074" y="2852327"/>
                  </a:lnTo>
                  <a:cubicBezTo>
                    <a:pt x="5164686" y="2856890"/>
                    <a:pt x="5157816" y="2860768"/>
                    <a:pt x="5150464" y="2863962"/>
                  </a:cubicBezTo>
                  <a:cubicBezTo>
                    <a:pt x="5143114" y="2867157"/>
                    <a:pt x="5134722" y="2869970"/>
                    <a:pt x="5125292" y="2872404"/>
                  </a:cubicBezTo>
                  <a:lnTo>
                    <a:pt x="5125292" y="2842288"/>
                  </a:lnTo>
                  <a:cubicBezTo>
                    <a:pt x="5131172" y="2840362"/>
                    <a:pt x="5136851" y="2838334"/>
                    <a:pt x="5142326" y="2836204"/>
                  </a:cubicBezTo>
                  <a:cubicBezTo>
                    <a:pt x="5147803" y="2834075"/>
                    <a:pt x="5153202" y="2831692"/>
                    <a:pt x="5158526" y="2829055"/>
                  </a:cubicBezTo>
                  <a:cubicBezTo>
                    <a:pt x="5163849" y="2826419"/>
                    <a:pt x="5169223" y="2823478"/>
                    <a:pt x="5174648" y="2820234"/>
                  </a:cubicBezTo>
                  <a:cubicBezTo>
                    <a:pt x="5180074" y="2816989"/>
                    <a:pt x="5185676" y="2813288"/>
                    <a:pt x="5191455" y="2809130"/>
                  </a:cubicBezTo>
                  <a:close/>
                  <a:moveTo>
                    <a:pt x="5047330" y="2809130"/>
                  </a:moveTo>
                  <a:lnTo>
                    <a:pt x="5062237" y="2809130"/>
                  </a:lnTo>
                  <a:lnTo>
                    <a:pt x="5062237" y="3032110"/>
                  </a:lnTo>
                  <a:lnTo>
                    <a:pt x="5026949" y="3032110"/>
                  </a:lnTo>
                  <a:lnTo>
                    <a:pt x="5026949" y="2852327"/>
                  </a:lnTo>
                  <a:cubicBezTo>
                    <a:pt x="5020561" y="2856890"/>
                    <a:pt x="5013691" y="2860768"/>
                    <a:pt x="5006339" y="2863962"/>
                  </a:cubicBezTo>
                  <a:cubicBezTo>
                    <a:pt x="4998988" y="2867157"/>
                    <a:pt x="4990597" y="2869970"/>
                    <a:pt x="4981168" y="2872404"/>
                  </a:cubicBezTo>
                  <a:lnTo>
                    <a:pt x="4981168" y="2842288"/>
                  </a:lnTo>
                  <a:cubicBezTo>
                    <a:pt x="4987047" y="2840362"/>
                    <a:pt x="4992726" y="2838334"/>
                    <a:pt x="4998201" y="2836204"/>
                  </a:cubicBezTo>
                  <a:cubicBezTo>
                    <a:pt x="5003678" y="2834075"/>
                    <a:pt x="5009078" y="2831692"/>
                    <a:pt x="5014401" y="2829055"/>
                  </a:cubicBezTo>
                  <a:cubicBezTo>
                    <a:pt x="5019724" y="2826419"/>
                    <a:pt x="5025099" y="2823478"/>
                    <a:pt x="5030524" y="2820234"/>
                  </a:cubicBezTo>
                  <a:cubicBezTo>
                    <a:pt x="5035950" y="2816989"/>
                    <a:pt x="5041550" y="2813288"/>
                    <a:pt x="5047330" y="2809130"/>
                  </a:cubicBezTo>
                  <a:close/>
                  <a:moveTo>
                    <a:pt x="4903206" y="2809130"/>
                  </a:moveTo>
                  <a:lnTo>
                    <a:pt x="4918113" y="2809130"/>
                  </a:lnTo>
                  <a:lnTo>
                    <a:pt x="4918113" y="3032110"/>
                  </a:lnTo>
                  <a:lnTo>
                    <a:pt x="4882824" y="3032110"/>
                  </a:lnTo>
                  <a:lnTo>
                    <a:pt x="4882824" y="2852327"/>
                  </a:lnTo>
                  <a:cubicBezTo>
                    <a:pt x="4876437" y="2856890"/>
                    <a:pt x="4869567" y="2860768"/>
                    <a:pt x="4862214" y="2863962"/>
                  </a:cubicBezTo>
                  <a:cubicBezTo>
                    <a:pt x="4854863" y="2867157"/>
                    <a:pt x="4846471" y="2869970"/>
                    <a:pt x="4837041" y="2872404"/>
                  </a:cubicBezTo>
                  <a:lnTo>
                    <a:pt x="4837041" y="2842288"/>
                  </a:lnTo>
                  <a:cubicBezTo>
                    <a:pt x="4842923" y="2840362"/>
                    <a:pt x="4848601" y="2838334"/>
                    <a:pt x="4854077" y="2836204"/>
                  </a:cubicBezTo>
                  <a:cubicBezTo>
                    <a:pt x="4859552" y="2834075"/>
                    <a:pt x="4864952" y="2831692"/>
                    <a:pt x="4870276" y="2829055"/>
                  </a:cubicBezTo>
                  <a:cubicBezTo>
                    <a:pt x="4875598" y="2826419"/>
                    <a:pt x="4880975" y="2823478"/>
                    <a:pt x="4886398" y="2820234"/>
                  </a:cubicBezTo>
                  <a:cubicBezTo>
                    <a:pt x="4891825" y="2816989"/>
                    <a:pt x="4897426" y="2813288"/>
                    <a:pt x="4903206" y="2809130"/>
                  </a:cubicBezTo>
                  <a:close/>
                  <a:moveTo>
                    <a:pt x="4514973" y="2809130"/>
                  </a:moveTo>
                  <a:lnTo>
                    <a:pt x="4529879" y="2809130"/>
                  </a:lnTo>
                  <a:lnTo>
                    <a:pt x="4529879" y="3032110"/>
                  </a:lnTo>
                  <a:lnTo>
                    <a:pt x="4494591" y="3032110"/>
                  </a:lnTo>
                  <a:lnTo>
                    <a:pt x="4494591" y="2852327"/>
                  </a:lnTo>
                  <a:cubicBezTo>
                    <a:pt x="4488203" y="2856890"/>
                    <a:pt x="4481333" y="2860768"/>
                    <a:pt x="4473982" y="2863962"/>
                  </a:cubicBezTo>
                  <a:cubicBezTo>
                    <a:pt x="4466630" y="2867157"/>
                    <a:pt x="4458240" y="2869970"/>
                    <a:pt x="4448809" y="2872404"/>
                  </a:cubicBezTo>
                  <a:lnTo>
                    <a:pt x="4448809" y="2842288"/>
                  </a:lnTo>
                  <a:cubicBezTo>
                    <a:pt x="4454690" y="2840362"/>
                    <a:pt x="4460369" y="2838334"/>
                    <a:pt x="4465844" y="2836204"/>
                  </a:cubicBezTo>
                  <a:cubicBezTo>
                    <a:pt x="4471320" y="2834075"/>
                    <a:pt x="4476719" y="2831692"/>
                    <a:pt x="4482043" y="2829055"/>
                  </a:cubicBezTo>
                  <a:cubicBezTo>
                    <a:pt x="4487367" y="2826419"/>
                    <a:pt x="4492741" y="2823478"/>
                    <a:pt x="4498166" y="2820234"/>
                  </a:cubicBezTo>
                  <a:cubicBezTo>
                    <a:pt x="4503591" y="2816989"/>
                    <a:pt x="4509192" y="2813288"/>
                    <a:pt x="4514973" y="2809130"/>
                  </a:cubicBezTo>
                  <a:close/>
                  <a:moveTo>
                    <a:pt x="4248864" y="2809130"/>
                  </a:moveTo>
                  <a:lnTo>
                    <a:pt x="4263771" y="2809130"/>
                  </a:lnTo>
                  <a:lnTo>
                    <a:pt x="4263771" y="3032110"/>
                  </a:lnTo>
                  <a:lnTo>
                    <a:pt x="4228483" y="3032110"/>
                  </a:lnTo>
                  <a:lnTo>
                    <a:pt x="4228483" y="2852327"/>
                  </a:lnTo>
                  <a:cubicBezTo>
                    <a:pt x="4222095" y="2856890"/>
                    <a:pt x="4215226" y="2860768"/>
                    <a:pt x="4207874" y="2863962"/>
                  </a:cubicBezTo>
                  <a:cubicBezTo>
                    <a:pt x="4200521" y="2867157"/>
                    <a:pt x="4192131" y="2869970"/>
                    <a:pt x="4182701" y="2872404"/>
                  </a:cubicBezTo>
                  <a:lnTo>
                    <a:pt x="4182701" y="2842288"/>
                  </a:lnTo>
                  <a:cubicBezTo>
                    <a:pt x="4188582" y="2840362"/>
                    <a:pt x="4194260" y="2838334"/>
                    <a:pt x="4199736" y="2836204"/>
                  </a:cubicBezTo>
                  <a:cubicBezTo>
                    <a:pt x="4205212" y="2834075"/>
                    <a:pt x="4210612" y="2831692"/>
                    <a:pt x="4215934" y="2829055"/>
                  </a:cubicBezTo>
                  <a:cubicBezTo>
                    <a:pt x="4221259" y="2826419"/>
                    <a:pt x="4226632" y="2823478"/>
                    <a:pt x="4232057" y="2820234"/>
                  </a:cubicBezTo>
                  <a:cubicBezTo>
                    <a:pt x="4237483" y="2816989"/>
                    <a:pt x="4243085" y="2813288"/>
                    <a:pt x="4248864" y="2809130"/>
                  </a:cubicBezTo>
                  <a:close/>
                  <a:moveTo>
                    <a:pt x="3637267" y="2809130"/>
                  </a:moveTo>
                  <a:lnTo>
                    <a:pt x="3652173" y="2809130"/>
                  </a:lnTo>
                  <a:lnTo>
                    <a:pt x="3652173" y="3032110"/>
                  </a:lnTo>
                  <a:lnTo>
                    <a:pt x="3616885" y="3032110"/>
                  </a:lnTo>
                  <a:lnTo>
                    <a:pt x="3616885" y="2852327"/>
                  </a:lnTo>
                  <a:cubicBezTo>
                    <a:pt x="3610497" y="2856890"/>
                    <a:pt x="3603627" y="2860768"/>
                    <a:pt x="3596276" y="2863962"/>
                  </a:cubicBezTo>
                  <a:cubicBezTo>
                    <a:pt x="3588924" y="2867157"/>
                    <a:pt x="3580532" y="2869970"/>
                    <a:pt x="3571102" y="2872404"/>
                  </a:cubicBezTo>
                  <a:lnTo>
                    <a:pt x="3571102" y="2842288"/>
                  </a:lnTo>
                  <a:cubicBezTo>
                    <a:pt x="3576983" y="2840362"/>
                    <a:pt x="3582663" y="2838334"/>
                    <a:pt x="3588139" y="2836204"/>
                  </a:cubicBezTo>
                  <a:cubicBezTo>
                    <a:pt x="3593613" y="2834075"/>
                    <a:pt x="3599013" y="2831692"/>
                    <a:pt x="3604337" y="2829055"/>
                  </a:cubicBezTo>
                  <a:cubicBezTo>
                    <a:pt x="3609661" y="2826419"/>
                    <a:pt x="3615035" y="2823478"/>
                    <a:pt x="3620459" y="2820234"/>
                  </a:cubicBezTo>
                  <a:cubicBezTo>
                    <a:pt x="3625884" y="2816989"/>
                    <a:pt x="3631486" y="2813288"/>
                    <a:pt x="3637267" y="2809130"/>
                  </a:cubicBezTo>
                  <a:close/>
                  <a:moveTo>
                    <a:pt x="3371159" y="2809130"/>
                  </a:moveTo>
                  <a:lnTo>
                    <a:pt x="3386065" y="2809130"/>
                  </a:lnTo>
                  <a:lnTo>
                    <a:pt x="3386065" y="3032110"/>
                  </a:lnTo>
                  <a:lnTo>
                    <a:pt x="3350777" y="3032110"/>
                  </a:lnTo>
                  <a:lnTo>
                    <a:pt x="3350777" y="2852327"/>
                  </a:lnTo>
                  <a:cubicBezTo>
                    <a:pt x="3344390" y="2856890"/>
                    <a:pt x="3337519" y="2860768"/>
                    <a:pt x="3330168" y="2863962"/>
                  </a:cubicBezTo>
                  <a:cubicBezTo>
                    <a:pt x="3322816" y="2867157"/>
                    <a:pt x="3314425" y="2869970"/>
                    <a:pt x="3304995" y="2872404"/>
                  </a:cubicBezTo>
                  <a:lnTo>
                    <a:pt x="3304995" y="2842288"/>
                  </a:lnTo>
                  <a:cubicBezTo>
                    <a:pt x="3310876" y="2840362"/>
                    <a:pt x="3316555" y="2838334"/>
                    <a:pt x="3322030" y="2836204"/>
                  </a:cubicBezTo>
                  <a:cubicBezTo>
                    <a:pt x="3327507" y="2834075"/>
                    <a:pt x="3332905" y="2831692"/>
                    <a:pt x="3338229" y="2829055"/>
                  </a:cubicBezTo>
                  <a:cubicBezTo>
                    <a:pt x="3343554" y="2826419"/>
                    <a:pt x="3348927" y="2823478"/>
                    <a:pt x="3354351" y="2820234"/>
                  </a:cubicBezTo>
                  <a:cubicBezTo>
                    <a:pt x="3359778" y="2816989"/>
                    <a:pt x="3365379" y="2813288"/>
                    <a:pt x="3371159" y="2809130"/>
                  </a:cubicBezTo>
                  <a:close/>
                  <a:moveTo>
                    <a:pt x="2764812" y="2809130"/>
                  </a:moveTo>
                  <a:lnTo>
                    <a:pt x="2779718" y="2809130"/>
                  </a:lnTo>
                  <a:lnTo>
                    <a:pt x="2779718" y="3032110"/>
                  </a:lnTo>
                  <a:lnTo>
                    <a:pt x="2744430" y="3032110"/>
                  </a:lnTo>
                  <a:lnTo>
                    <a:pt x="2744430" y="2852327"/>
                  </a:lnTo>
                  <a:cubicBezTo>
                    <a:pt x="2738042" y="2856890"/>
                    <a:pt x="2731172" y="2860768"/>
                    <a:pt x="2723821" y="2863962"/>
                  </a:cubicBezTo>
                  <a:cubicBezTo>
                    <a:pt x="2716469" y="2867157"/>
                    <a:pt x="2708078" y="2869970"/>
                    <a:pt x="2698648" y="2872404"/>
                  </a:cubicBezTo>
                  <a:lnTo>
                    <a:pt x="2698648" y="2842288"/>
                  </a:lnTo>
                  <a:cubicBezTo>
                    <a:pt x="2704529" y="2840362"/>
                    <a:pt x="2710208" y="2838334"/>
                    <a:pt x="2715683" y="2836204"/>
                  </a:cubicBezTo>
                  <a:cubicBezTo>
                    <a:pt x="2721159" y="2834075"/>
                    <a:pt x="2726558" y="2831692"/>
                    <a:pt x="2731882" y="2829055"/>
                  </a:cubicBezTo>
                  <a:cubicBezTo>
                    <a:pt x="2737206" y="2826419"/>
                    <a:pt x="2742580" y="2823478"/>
                    <a:pt x="2748004" y="2820234"/>
                  </a:cubicBezTo>
                  <a:cubicBezTo>
                    <a:pt x="2753430" y="2816989"/>
                    <a:pt x="2759032" y="2813288"/>
                    <a:pt x="2764812" y="2809130"/>
                  </a:cubicBezTo>
                  <a:close/>
                  <a:moveTo>
                    <a:pt x="2498704" y="2809130"/>
                  </a:moveTo>
                  <a:lnTo>
                    <a:pt x="2513610" y="2809130"/>
                  </a:lnTo>
                  <a:lnTo>
                    <a:pt x="2513610" y="3032110"/>
                  </a:lnTo>
                  <a:lnTo>
                    <a:pt x="2478322" y="3032110"/>
                  </a:lnTo>
                  <a:lnTo>
                    <a:pt x="2478322" y="2852327"/>
                  </a:lnTo>
                  <a:cubicBezTo>
                    <a:pt x="2471934" y="2856890"/>
                    <a:pt x="2465064" y="2860768"/>
                    <a:pt x="2457713" y="2863962"/>
                  </a:cubicBezTo>
                  <a:cubicBezTo>
                    <a:pt x="2450361" y="2867157"/>
                    <a:pt x="2441970" y="2869970"/>
                    <a:pt x="2432540" y="2872404"/>
                  </a:cubicBezTo>
                  <a:lnTo>
                    <a:pt x="2432540" y="2842288"/>
                  </a:lnTo>
                  <a:cubicBezTo>
                    <a:pt x="2438421" y="2840362"/>
                    <a:pt x="2444100" y="2838334"/>
                    <a:pt x="2449575" y="2836204"/>
                  </a:cubicBezTo>
                  <a:cubicBezTo>
                    <a:pt x="2455051" y="2834075"/>
                    <a:pt x="2460450" y="2831692"/>
                    <a:pt x="2465774" y="2829055"/>
                  </a:cubicBezTo>
                  <a:cubicBezTo>
                    <a:pt x="2471098" y="2826419"/>
                    <a:pt x="2476472" y="2823478"/>
                    <a:pt x="2481896" y="2820234"/>
                  </a:cubicBezTo>
                  <a:cubicBezTo>
                    <a:pt x="2487322" y="2816989"/>
                    <a:pt x="2492924" y="2813288"/>
                    <a:pt x="2498704" y="2809130"/>
                  </a:cubicBezTo>
                  <a:close/>
                  <a:moveTo>
                    <a:pt x="2086937" y="2809130"/>
                  </a:moveTo>
                  <a:lnTo>
                    <a:pt x="2101843" y="2809130"/>
                  </a:lnTo>
                  <a:lnTo>
                    <a:pt x="2101843" y="3032110"/>
                  </a:lnTo>
                  <a:lnTo>
                    <a:pt x="2066555" y="3032110"/>
                  </a:lnTo>
                  <a:lnTo>
                    <a:pt x="2066555" y="2852327"/>
                  </a:lnTo>
                  <a:cubicBezTo>
                    <a:pt x="2060167" y="2856890"/>
                    <a:pt x="2053297" y="2860768"/>
                    <a:pt x="2045946" y="2863962"/>
                  </a:cubicBezTo>
                  <a:cubicBezTo>
                    <a:pt x="2038594" y="2867157"/>
                    <a:pt x="2030203" y="2869970"/>
                    <a:pt x="2020773" y="2872404"/>
                  </a:cubicBezTo>
                  <a:lnTo>
                    <a:pt x="2020773" y="2842288"/>
                  </a:lnTo>
                  <a:cubicBezTo>
                    <a:pt x="2026654" y="2840362"/>
                    <a:pt x="2032333" y="2838334"/>
                    <a:pt x="2037808" y="2836204"/>
                  </a:cubicBezTo>
                  <a:cubicBezTo>
                    <a:pt x="2043284" y="2834075"/>
                    <a:pt x="2048684" y="2831692"/>
                    <a:pt x="2054007" y="2829055"/>
                  </a:cubicBezTo>
                  <a:cubicBezTo>
                    <a:pt x="2059331" y="2826419"/>
                    <a:pt x="2064705" y="2823478"/>
                    <a:pt x="2070129" y="2820234"/>
                  </a:cubicBezTo>
                  <a:cubicBezTo>
                    <a:pt x="2075555" y="2816989"/>
                    <a:pt x="2081157" y="2813288"/>
                    <a:pt x="2086937" y="2809130"/>
                  </a:cubicBezTo>
                  <a:close/>
                  <a:moveTo>
                    <a:pt x="1953883" y="2809130"/>
                  </a:moveTo>
                  <a:lnTo>
                    <a:pt x="1968789" y="2809130"/>
                  </a:lnTo>
                  <a:lnTo>
                    <a:pt x="1968789" y="3032110"/>
                  </a:lnTo>
                  <a:lnTo>
                    <a:pt x="1933501" y="3032110"/>
                  </a:lnTo>
                  <a:lnTo>
                    <a:pt x="1933501" y="2852327"/>
                  </a:lnTo>
                  <a:cubicBezTo>
                    <a:pt x="1927113" y="2856890"/>
                    <a:pt x="1920243" y="2860768"/>
                    <a:pt x="1912892" y="2863962"/>
                  </a:cubicBezTo>
                  <a:cubicBezTo>
                    <a:pt x="1905540" y="2867157"/>
                    <a:pt x="1897149" y="2869970"/>
                    <a:pt x="1887719" y="2872404"/>
                  </a:cubicBezTo>
                  <a:lnTo>
                    <a:pt x="1887719" y="2842288"/>
                  </a:lnTo>
                  <a:cubicBezTo>
                    <a:pt x="1893600" y="2840362"/>
                    <a:pt x="1899279" y="2838334"/>
                    <a:pt x="1904754" y="2836204"/>
                  </a:cubicBezTo>
                  <a:cubicBezTo>
                    <a:pt x="1910230" y="2834075"/>
                    <a:pt x="1915630" y="2831692"/>
                    <a:pt x="1920953" y="2829055"/>
                  </a:cubicBezTo>
                  <a:cubicBezTo>
                    <a:pt x="1926277" y="2826419"/>
                    <a:pt x="1931651" y="2823478"/>
                    <a:pt x="1937075" y="2820234"/>
                  </a:cubicBezTo>
                  <a:cubicBezTo>
                    <a:pt x="1942501" y="2816989"/>
                    <a:pt x="1948103" y="2813288"/>
                    <a:pt x="1953883" y="2809130"/>
                  </a:cubicBezTo>
                  <a:close/>
                  <a:moveTo>
                    <a:pt x="1820829" y="2809130"/>
                  </a:moveTo>
                  <a:lnTo>
                    <a:pt x="1835735" y="2809130"/>
                  </a:lnTo>
                  <a:lnTo>
                    <a:pt x="1835735" y="3032110"/>
                  </a:lnTo>
                  <a:lnTo>
                    <a:pt x="1800447" y="3032110"/>
                  </a:lnTo>
                  <a:lnTo>
                    <a:pt x="1800447" y="2852327"/>
                  </a:lnTo>
                  <a:cubicBezTo>
                    <a:pt x="1794059" y="2856890"/>
                    <a:pt x="1787189" y="2860768"/>
                    <a:pt x="1779838" y="2863962"/>
                  </a:cubicBezTo>
                  <a:cubicBezTo>
                    <a:pt x="1772486" y="2867157"/>
                    <a:pt x="1764095" y="2869970"/>
                    <a:pt x="1754665" y="2872404"/>
                  </a:cubicBezTo>
                  <a:lnTo>
                    <a:pt x="1754665" y="2842288"/>
                  </a:lnTo>
                  <a:cubicBezTo>
                    <a:pt x="1760546" y="2840362"/>
                    <a:pt x="1766225" y="2838334"/>
                    <a:pt x="1771700" y="2836204"/>
                  </a:cubicBezTo>
                  <a:cubicBezTo>
                    <a:pt x="1777176" y="2834075"/>
                    <a:pt x="1782576" y="2831692"/>
                    <a:pt x="1787899" y="2829055"/>
                  </a:cubicBezTo>
                  <a:cubicBezTo>
                    <a:pt x="1793223" y="2826419"/>
                    <a:pt x="1798597" y="2823478"/>
                    <a:pt x="1804022" y="2820234"/>
                  </a:cubicBezTo>
                  <a:cubicBezTo>
                    <a:pt x="1809447" y="2816989"/>
                    <a:pt x="1815049" y="2813288"/>
                    <a:pt x="1820829" y="2809130"/>
                  </a:cubicBezTo>
                  <a:close/>
                  <a:moveTo>
                    <a:pt x="1678217" y="2809130"/>
                  </a:moveTo>
                  <a:lnTo>
                    <a:pt x="1693123" y="2809130"/>
                  </a:lnTo>
                  <a:lnTo>
                    <a:pt x="1693123" y="3032110"/>
                  </a:lnTo>
                  <a:lnTo>
                    <a:pt x="1657835" y="3032110"/>
                  </a:lnTo>
                  <a:lnTo>
                    <a:pt x="1657835" y="2852327"/>
                  </a:lnTo>
                  <a:cubicBezTo>
                    <a:pt x="1651447" y="2856890"/>
                    <a:pt x="1644577" y="2860768"/>
                    <a:pt x="1637226" y="2863962"/>
                  </a:cubicBezTo>
                  <a:cubicBezTo>
                    <a:pt x="1629874" y="2867157"/>
                    <a:pt x="1621483" y="2869970"/>
                    <a:pt x="1612053" y="2872404"/>
                  </a:cubicBezTo>
                  <a:lnTo>
                    <a:pt x="1612053" y="2842288"/>
                  </a:lnTo>
                  <a:cubicBezTo>
                    <a:pt x="1617934" y="2840362"/>
                    <a:pt x="1623613" y="2838334"/>
                    <a:pt x="1629088" y="2836204"/>
                  </a:cubicBezTo>
                  <a:cubicBezTo>
                    <a:pt x="1634564" y="2834075"/>
                    <a:pt x="1639964" y="2831692"/>
                    <a:pt x="1645287" y="2829055"/>
                  </a:cubicBezTo>
                  <a:cubicBezTo>
                    <a:pt x="1650611" y="2826419"/>
                    <a:pt x="1655985" y="2823478"/>
                    <a:pt x="1661410" y="2820234"/>
                  </a:cubicBezTo>
                  <a:cubicBezTo>
                    <a:pt x="1666835" y="2816989"/>
                    <a:pt x="1672437" y="2813288"/>
                    <a:pt x="1678217" y="2809130"/>
                  </a:cubicBezTo>
                  <a:close/>
                  <a:moveTo>
                    <a:pt x="922825" y="2809130"/>
                  </a:moveTo>
                  <a:lnTo>
                    <a:pt x="937731" y="2809130"/>
                  </a:lnTo>
                  <a:lnTo>
                    <a:pt x="937731" y="3032110"/>
                  </a:lnTo>
                  <a:lnTo>
                    <a:pt x="902443" y="3032110"/>
                  </a:lnTo>
                  <a:lnTo>
                    <a:pt x="902443" y="2852327"/>
                  </a:lnTo>
                  <a:cubicBezTo>
                    <a:pt x="896055" y="2856890"/>
                    <a:pt x="889185" y="2860768"/>
                    <a:pt x="881834" y="2863962"/>
                  </a:cubicBezTo>
                  <a:cubicBezTo>
                    <a:pt x="874482" y="2867157"/>
                    <a:pt x="866091" y="2869970"/>
                    <a:pt x="856661" y="2872404"/>
                  </a:cubicBezTo>
                  <a:lnTo>
                    <a:pt x="856661" y="2842288"/>
                  </a:lnTo>
                  <a:cubicBezTo>
                    <a:pt x="862542" y="2840362"/>
                    <a:pt x="868221" y="2838334"/>
                    <a:pt x="873696" y="2836204"/>
                  </a:cubicBezTo>
                  <a:cubicBezTo>
                    <a:pt x="879172" y="2834075"/>
                    <a:pt x="884572" y="2831692"/>
                    <a:pt x="889895" y="2829055"/>
                  </a:cubicBezTo>
                  <a:cubicBezTo>
                    <a:pt x="895219" y="2826419"/>
                    <a:pt x="900593" y="2823478"/>
                    <a:pt x="906018" y="2820234"/>
                  </a:cubicBezTo>
                  <a:cubicBezTo>
                    <a:pt x="911443" y="2816989"/>
                    <a:pt x="917045" y="2813288"/>
                    <a:pt x="922825" y="2809130"/>
                  </a:cubicBezTo>
                  <a:close/>
                  <a:moveTo>
                    <a:pt x="789771" y="2809130"/>
                  </a:moveTo>
                  <a:lnTo>
                    <a:pt x="804677" y="2809130"/>
                  </a:lnTo>
                  <a:lnTo>
                    <a:pt x="804677" y="3032110"/>
                  </a:lnTo>
                  <a:lnTo>
                    <a:pt x="769389" y="3032110"/>
                  </a:lnTo>
                  <a:lnTo>
                    <a:pt x="769389" y="2852327"/>
                  </a:lnTo>
                  <a:cubicBezTo>
                    <a:pt x="763001" y="2856890"/>
                    <a:pt x="756131" y="2860768"/>
                    <a:pt x="748780" y="2863962"/>
                  </a:cubicBezTo>
                  <a:cubicBezTo>
                    <a:pt x="741428" y="2867157"/>
                    <a:pt x="733037" y="2869970"/>
                    <a:pt x="723607" y="2872404"/>
                  </a:cubicBezTo>
                  <a:lnTo>
                    <a:pt x="723607" y="2842288"/>
                  </a:lnTo>
                  <a:cubicBezTo>
                    <a:pt x="729488" y="2840362"/>
                    <a:pt x="735167" y="2838334"/>
                    <a:pt x="740642" y="2836204"/>
                  </a:cubicBezTo>
                  <a:cubicBezTo>
                    <a:pt x="746118" y="2834075"/>
                    <a:pt x="751518" y="2831692"/>
                    <a:pt x="756841" y="2829055"/>
                  </a:cubicBezTo>
                  <a:cubicBezTo>
                    <a:pt x="762165" y="2826419"/>
                    <a:pt x="767539" y="2823478"/>
                    <a:pt x="772964" y="2820234"/>
                  </a:cubicBezTo>
                  <a:cubicBezTo>
                    <a:pt x="778389" y="2816989"/>
                    <a:pt x="783991" y="2813288"/>
                    <a:pt x="789771" y="2809130"/>
                  </a:cubicBezTo>
                  <a:close/>
                  <a:moveTo>
                    <a:pt x="10091849" y="2809129"/>
                  </a:moveTo>
                  <a:cubicBezTo>
                    <a:pt x="10139293" y="2809129"/>
                    <a:pt x="10163016" y="2845992"/>
                    <a:pt x="10163016" y="2919717"/>
                  </a:cubicBezTo>
                  <a:cubicBezTo>
                    <a:pt x="10163016" y="2956228"/>
                    <a:pt x="10156320" y="2984088"/>
                    <a:pt x="10142930" y="3003296"/>
                  </a:cubicBezTo>
                  <a:cubicBezTo>
                    <a:pt x="10129539" y="3022505"/>
                    <a:pt x="10110807" y="3032109"/>
                    <a:pt x="10086733" y="3032109"/>
                  </a:cubicBezTo>
                  <a:cubicBezTo>
                    <a:pt x="10064265" y="3032109"/>
                    <a:pt x="10046736" y="3022931"/>
                    <a:pt x="10034148" y="3004575"/>
                  </a:cubicBezTo>
                  <a:cubicBezTo>
                    <a:pt x="10021559" y="2986219"/>
                    <a:pt x="10015265" y="2959688"/>
                    <a:pt x="10015265" y="2924983"/>
                  </a:cubicBezTo>
                  <a:cubicBezTo>
                    <a:pt x="10015265" y="2886866"/>
                    <a:pt x="10021835" y="2858029"/>
                    <a:pt x="10034975" y="2838469"/>
                  </a:cubicBezTo>
                  <a:cubicBezTo>
                    <a:pt x="10048116" y="2818909"/>
                    <a:pt x="10067073" y="2809129"/>
                    <a:pt x="10091849" y="2809129"/>
                  </a:cubicBezTo>
                  <a:close/>
                  <a:moveTo>
                    <a:pt x="9870926" y="2809129"/>
                  </a:moveTo>
                  <a:cubicBezTo>
                    <a:pt x="9918370" y="2809129"/>
                    <a:pt x="9942093" y="2845992"/>
                    <a:pt x="9942093" y="2919717"/>
                  </a:cubicBezTo>
                  <a:cubicBezTo>
                    <a:pt x="9942093" y="2956228"/>
                    <a:pt x="9935397" y="2984088"/>
                    <a:pt x="9922007" y="3003296"/>
                  </a:cubicBezTo>
                  <a:cubicBezTo>
                    <a:pt x="9908616" y="3022505"/>
                    <a:pt x="9889884" y="3032109"/>
                    <a:pt x="9865810" y="3032109"/>
                  </a:cubicBezTo>
                  <a:cubicBezTo>
                    <a:pt x="9843342" y="3032109"/>
                    <a:pt x="9825813" y="3022931"/>
                    <a:pt x="9813225" y="3004575"/>
                  </a:cubicBezTo>
                  <a:cubicBezTo>
                    <a:pt x="9800636" y="2986219"/>
                    <a:pt x="9794342" y="2959688"/>
                    <a:pt x="9794342" y="2924983"/>
                  </a:cubicBezTo>
                  <a:cubicBezTo>
                    <a:pt x="9794342" y="2886866"/>
                    <a:pt x="9800912" y="2858029"/>
                    <a:pt x="9814052" y="2838469"/>
                  </a:cubicBezTo>
                  <a:cubicBezTo>
                    <a:pt x="9827193" y="2818909"/>
                    <a:pt x="9846150" y="2809129"/>
                    <a:pt x="9870926" y="2809129"/>
                  </a:cubicBezTo>
                  <a:close/>
                  <a:moveTo>
                    <a:pt x="9209265" y="2809129"/>
                  </a:moveTo>
                  <a:cubicBezTo>
                    <a:pt x="9256709" y="2809129"/>
                    <a:pt x="9280432" y="2845992"/>
                    <a:pt x="9280432" y="2919717"/>
                  </a:cubicBezTo>
                  <a:cubicBezTo>
                    <a:pt x="9280432" y="2956228"/>
                    <a:pt x="9273736" y="2984088"/>
                    <a:pt x="9260346" y="3003296"/>
                  </a:cubicBezTo>
                  <a:cubicBezTo>
                    <a:pt x="9246955" y="3022505"/>
                    <a:pt x="9228223" y="3032109"/>
                    <a:pt x="9204149" y="3032109"/>
                  </a:cubicBezTo>
                  <a:cubicBezTo>
                    <a:pt x="9181681" y="3032109"/>
                    <a:pt x="9164152" y="3022931"/>
                    <a:pt x="9151564" y="3004575"/>
                  </a:cubicBezTo>
                  <a:cubicBezTo>
                    <a:pt x="9138975" y="2986219"/>
                    <a:pt x="9132681" y="2959688"/>
                    <a:pt x="9132681" y="2924983"/>
                  </a:cubicBezTo>
                  <a:cubicBezTo>
                    <a:pt x="9132681" y="2886866"/>
                    <a:pt x="9139251" y="2858029"/>
                    <a:pt x="9152391" y="2838469"/>
                  </a:cubicBezTo>
                  <a:cubicBezTo>
                    <a:pt x="9165532" y="2818909"/>
                    <a:pt x="9184489" y="2809129"/>
                    <a:pt x="9209265" y="2809129"/>
                  </a:cubicBezTo>
                  <a:close/>
                  <a:moveTo>
                    <a:pt x="8988342" y="2809129"/>
                  </a:moveTo>
                  <a:cubicBezTo>
                    <a:pt x="9035786" y="2809129"/>
                    <a:pt x="9059509" y="2845992"/>
                    <a:pt x="9059509" y="2919717"/>
                  </a:cubicBezTo>
                  <a:cubicBezTo>
                    <a:pt x="9059509" y="2956228"/>
                    <a:pt x="9052813" y="2984088"/>
                    <a:pt x="9039423" y="3003296"/>
                  </a:cubicBezTo>
                  <a:cubicBezTo>
                    <a:pt x="9026032" y="3022505"/>
                    <a:pt x="9007300" y="3032109"/>
                    <a:pt x="8983226" y="3032109"/>
                  </a:cubicBezTo>
                  <a:cubicBezTo>
                    <a:pt x="8960758" y="3032109"/>
                    <a:pt x="8943229" y="3022931"/>
                    <a:pt x="8930641" y="3004575"/>
                  </a:cubicBezTo>
                  <a:cubicBezTo>
                    <a:pt x="8918052" y="2986219"/>
                    <a:pt x="8911758" y="2959688"/>
                    <a:pt x="8911758" y="2924983"/>
                  </a:cubicBezTo>
                  <a:cubicBezTo>
                    <a:pt x="8911758" y="2886866"/>
                    <a:pt x="8918328" y="2858029"/>
                    <a:pt x="8931468" y="2838469"/>
                  </a:cubicBezTo>
                  <a:cubicBezTo>
                    <a:pt x="8944609" y="2818909"/>
                    <a:pt x="8963566" y="2809129"/>
                    <a:pt x="8988342" y="2809129"/>
                  </a:cubicBezTo>
                  <a:close/>
                  <a:moveTo>
                    <a:pt x="6138880" y="2809129"/>
                  </a:moveTo>
                  <a:cubicBezTo>
                    <a:pt x="6186325" y="2809129"/>
                    <a:pt x="6210047" y="2845992"/>
                    <a:pt x="6210047" y="2919717"/>
                  </a:cubicBezTo>
                  <a:cubicBezTo>
                    <a:pt x="6210047" y="2956228"/>
                    <a:pt x="6203352" y="2984088"/>
                    <a:pt x="6189961" y="3003296"/>
                  </a:cubicBezTo>
                  <a:cubicBezTo>
                    <a:pt x="6176570" y="3022505"/>
                    <a:pt x="6157838" y="3032109"/>
                    <a:pt x="6133764" y="3032109"/>
                  </a:cubicBezTo>
                  <a:cubicBezTo>
                    <a:pt x="6111296" y="3032109"/>
                    <a:pt x="6093767" y="3022931"/>
                    <a:pt x="6081179" y="3004575"/>
                  </a:cubicBezTo>
                  <a:cubicBezTo>
                    <a:pt x="6068590" y="2986219"/>
                    <a:pt x="6062296" y="2959688"/>
                    <a:pt x="6062296" y="2924983"/>
                  </a:cubicBezTo>
                  <a:cubicBezTo>
                    <a:pt x="6062296" y="2886866"/>
                    <a:pt x="6068866" y="2858029"/>
                    <a:pt x="6082006" y="2838469"/>
                  </a:cubicBezTo>
                  <a:cubicBezTo>
                    <a:pt x="6095147" y="2818909"/>
                    <a:pt x="6114104" y="2809129"/>
                    <a:pt x="6138880" y="2809129"/>
                  </a:cubicBezTo>
                  <a:close/>
                  <a:moveTo>
                    <a:pt x="4035798" y="2809129"/>
                  </a:moveTo>
                  <a:cubicBezTo>
                    <a:pt x="4083242" y="2809129"/>
                    <a:pt x="4106965" y="2845992"/>
                    <a:pt x="4106965" y="2919717"/>
                  </a:cubicBezTo>
                  <a:cubicBezTo>
                    <a:pt x="4106965" y="2956228"/>
                    <a:pt x="4100270" y="2984088"/>
                    <a:pt x="4086879" y="3003296"/>
                  </a:cubicBezTo>
                  <a:cubicBezTo>
                    <a:pt x="4073488" y="3022505"/>
                    <a:pt x="4054756" y="3032109"/>
                    <a:pt x="4030682" y="3032109"/>
                  </a:cubicBezTo>
                  <a:cubicBezTo>
                    <a:pt x="4008214" y="3032109"/>
                    <a:pt x="3990685" y="3022931"/>
                    <a:pt x="3978097" y="3004575"/>
                  </a:cubicBezTo>
                  <a:cubicBezTo>
                    <a:pt x="3965508" y="2986219"/>
                    <a:pt x="3959214" y="2959688"/>
                    <a:pt x="3959214" y="2924983"/>
                  </a:cubicBezTo>
                  <a:cubicBezTo>
                    <a:pt x="3959214" y="2886866"/>
                    <a:pt x="3965784" y="2858029"/>
                    <a:pt x="3978924" y="2838469"/>
                  </a:cubicBezTo>
                  <a:cubicBezTo>
                    <a:pt x="3992065" y="2818909"/>
                    <a:pt x="4011022" y="2809129"/>
                    <a:pt x="4035798" y="2809129"/>
                  </a:cubicBezTo>
                  <a:close/>
                  <a:moveTo>
                    <a:pt x="3814874" y="2809129"/>
                  </a:moveTo>
                  <a:cubicBezTo>
                    <a:pt x="3862319" y="2809129"/>
                    <a:pt x="3886042" y="2845992"/>
                    <a:pt x="3886042" y="2919717"/>
                  </a:cubicBezTo>
                  <a:cubicBezTo>
                    <a:pt x="3886042" y="2956228"/>
                    <a:pt x="3879345" y="2984088"/>
                    <a:pt x="3865956" y="3003296"/>
                  </a:cubicBezTo>
                  <a:cubicBezTo>
                    <a:pt x="3852564" y="3022505"/>
                    <a:pt x="3833832" y="3032109"/>
                    <a:pt x="3809759" y="3032109"/>
                  </a:cubicBezTo>
                  <a:cubicBezTo>
                    <a:pt x="3787289" y="3032109"/>
                    <a:pt x="3769762" y="3022931"/>
                    <a:pt x="3757174" y="3004575"/>
                  </a:cubicBezTo>
                  <a:cubicBezTo>
                    <a:pt x="3744585" y="2986219"/>
                    <a:pt x="3738291" y="2959688"/>
                    <a:pt x="3738291" y="2924983"/>
                  </a:cubicBezTo>
                  <a:cubicBezTo>
                    <a:pt x="3738291" y="2886866"/>
                    <a:pt x="3744861" y="2858029"/>
                    <a:pt x="3758001" y="2838469"/>
                  </a:cubicBezTo>
                  <a:cubicBezTo>
                    <a:pt x="3771141" y="2818909"/>
                    <a:pt x="3790098" y="2809129"/>
                    <a:pt x="3814874" y="2809129"/>
                  </a:cubicBezTo>
                  <a:close/>
                  <a:moveTo>
                    <a:pt x="3153215" y="2809129"/>
                  </a:moveTo>
                  <a:cubicBezTo>
                    <a:pt x="3200659" y="2809129"/>
                    <a:pt x="3224382" y="2845992"/>
                    <a:pt x="3224382" y="2919717"/>
                  </a:cubicBezTo>
                  <a:cubicBezTo>
                    <a:pt x="3224382" y="2956228"/>
                    <a:pt x="3217686" y="2984088"/>
                    <a:pt x="3204296" y="3003296"/>
                  </a:cubicBezTo>
                  <a:cubicBezTo>
                    <a:pt x="3190905" y="3022505"/>
                    <a:pt x="3172172" y="3032109"/>
                    <a:pt x="3148099" y="3032109"/>
                  </a:cubicBezTo>
                  <a:cubicBezTo>
                    <a:pt x="3125630" y="3032109"/>
                    <a:pt x="3108102" y="3022931"/>
                    <a:pt x="3095514" y="3004575"/>
                  </a:cubicBezTo>
                  <a:cubicBezTo>
                    <a:pt x="3082925" y="2986219"/>
                    <a:pt x="3076631" y="2959688"/>
                    <a:pt x="3076631" y="2924983"/>
                  </a:cubicBezTo>
                  <a:cubicBezTo>
                    <a:pt x="3076631" y="2886866"/>
                    <a:pt x="3083201" y="2858029"/>
                    <a:pt x="3096341" y="2838469"/>
                  </a:cubicBezTo>
                  <a:cubicBezTo>
                    <a:pt x="3109481" y="2818909"/>
                    <a:pt x="3128439" y="2809129"/>
                    <a:pt x="3153215" y="2809129"/>
                  </a:cubicBezTo>
                  <a:close/>
                  <a:moveTo>
                    <a:pt x="2932291" y="2809129"/>
                  </a:moveTo>
                  <a:cubicBezTo>
                    <a:pt x="2979736" y="2809129"/>
                    <a:pt x="3003459" y="2845992"/>
                    <a:pt x="3003459" y="2919717"/>
                  </a:cubicBezTo>
                  <a:cubicBezTo>
                    <a:pt x="3003459" y="2956228"/>
                    <a:pt x="2996763" y="2984088"/>
                    <a:pt x="2983373" y="3003296"/>
                  </a:cubicBezTo>
                  <a:cubicBezTo>
                    <a:pt x="2969982" y="3022505"/>
                    <a:pt x="2951249" y="3032109"/>
                    <a:pt x="2927176" y="3032109"/>
                  </a:cubicBezTo>
                  <a:cubicBezTo>
                    <a:pt x="2904707" y="3032109"/>
                    <a:pt x="2887179" y="3022931"/>
                    <a:pt x="2874591" y="3004575"/>
                  </a:cubicBezTo>
                  <a:cubicBezTo>
                    <a:pt x="2862002" y="2986219"/>
                    <a:pt x="2855708" y="2959688"/>
                    <a:pt x="2855708" y="2924983"/>
                  </a:cubicBezTo>
                  <a:cubicBezTo>
                    <a:pt x="2855708" y="2886866"/>
                    <a:pt x="2862278" y="2858029"/>
                    <a:pt x="2875418" y="2838469"/>
                  </a:cubicBezTo>
                  <a:cubicBezTo>
                    <a:pt x="2888558" y="2818909"/>
                    <a:pt x="2907515" y="2809129"/>
                    <a:pt x="2932291" y="2809129"/>
                  </a:cubicBezTo>
                  <a:close/>
                  <a:moveTo>
                    <a:pt x="79694" y="2807119"/>
                  </a:moveTo>
                  <a:cubicBezTo>
                    <a:pt x="127138" y="2807119"/>
                    <a:pt x="150861" y="2843982"/>
                    <a:pt x="150861" y="2917707"/>
                  </a:cubicBezTo>
                  <a:cubicBezTo>
                    <a:pt x="150861" y="2954218"/>
                    <a:pt x="144165" y="2982078"/>
                    <a:pt x="130775" y="3001286"/>
                  </a:cubicBezTo>
                  <a:cubicBezTo>
                    <a:pt x="117384" y="3020495"/>
                    <a:pt x="98652" y="3030099"/>
                    <a:pt x="74578" y="3030099"/>
                  </a:cubicBezTo>
                  <a:cubicBezTo>
                    <a:pt x="52110" y="3030099"/>
                    <a:pt x="34581" y="3020921"/>
                    <a:pt x="21993" y="3002565"/>
                  </a:cubicBezTo>
                  <a:cubicBezTo>
                    <a:pt x="9404" y="2984209"/>
                    <a:pt x="3110" y="2957678"/>
                    <a:pt x="3110" y="2922973"/>
                  </a:cubicBezTo>
                  <a:cubicBezTo>
                    <a:pt x="3110" y="2884856"/>
                    <a:pt x="9680" y="2856019"/>
                    <a:pt x="22820" y="2836459"/>
                  </a:cubicBezTo>
                  <a:cubicBezTo>
                    <a:pt x="35961" y="2816899"/>
                    <a:pt x="54918" y="2807119"/>
                    <a:pt x="79694" y="2807119"/>
                  </a:cubicBezTo>
                  <a:close/>
                  <a:moveTo>
                    <a:pt x="9131180" y="2508571"/>
                  </a:moveTo>
                  <a:cubicBezTo>
                    <a:pt x="9105000" y="2508571"/>
                    <a:pt x="9091910" y="2537409"/>
                    <a:pt x="9091910" y="2595085"/>
                  </a:cubicBezTo>
                  <a:cubicBezTo>
                    <a:pt x="9091910" y="2649049"/>
                    <a:pt x="9104749" y="2676032"/>
                    <a:pt x="9130428" y="2676032"/>
                  </a:cubicBezTo>
                  <a:cubicBezTo>
                    <a:pt x="9155704" y="2676032"/>
                    <a:pt x="9168343" y="2648598"/>
                    <a:pt x="9168343" y="2593731"/>
                  </a:cubicBezTo>
                  <a:cubicBezTo>
                    <a:pt x="9168343" y="2536957"/>
                    <a:pt x="9155955" y="2508571"/>
                    <a:pt x="9131180" y="2508571"/>
                  </a:cubicBezTo>
                  <a:close/>
                  <a:moveTo>
                    <a:pt x="8789423" y="2508571"/>
                  </a:moveTo>
                  <a:cubicBezTo>
                    <a:pt x="8763243" y="2508571"/>
                    <a:pt x="8750153" y="2537409"/>
                    <a:pt x="8750153" y="2595085"/>
                  </a:cubicBezTo>
                  <a:cubicBezTo>
                    <a:pt x="8750153" y="2649049"/>
                    <a:pt x="8762992" y="2676032"/>
                    <a:pt x="8788671" y="2676032"/>
                  </a:cubicBezTo>
                  <a:cubicBezTo>
                    <a:pt x="8813947" y="2676032"/>
                    <a:pt x="8826586" y="2648598"/>
                    <a:pt x="8826586" y="2593731"/>
                  </a:cubicBezTo>
                  <a:cubicBezTo>
                    <a:pt x="8826586" y="2536957"/>
                    <a:pt x="8814198" y="2508571"/>
                    <a:pt x="8789423" y="2508571"/>
                  </a:cubicBezTo>
                  <a:close/>
                  <a:moveTo>
                    <a:pt x="8088021" y="2508571"/>
                  </a:moveTo>
                  <a:cubicBezTo>
                    <a:pt x="8061841" y="2508571"/>
                    <a:pt x="8048751" y="2537409"/>
                    <a:pt x="8048751" y="2595085"/>
                  </a:cubicBezTo>
                  <a:cubicBezTo>
                    <a:pt x="8048751" y="2649049"/>
                    <a:pt x="8061590" y="2676032"/>
                    <a:pt x="8087269" y="2676032"/>
                  </a:cubicBezTo>
                  <a:cubicBezTo>
                    <a:pt x="8112546" y="2676032"/>
                    <a:pt x="8125184" y="2648598"/>
                    <a:pt x="8125184" y="2593731"/>
                  </a:cubicBezTo>
                  <a:cubicBezTo>
                    <a:pt x="8125184" y="2536957"/>
                    <a:pt x="8112796" y="2508571"/>
                    <a:pt x="8088021" y="2508571"/>
                  </a:cubicBezTo>
                  <a:close/>
                  <a:moveTo>
                    <a:pt x="6829532" y="2508571"/>
                  </a:moveTo>
                  <a:cubicBezTo>
                    <a:pt x="6803352" y="2508571"/>
                    <a:pt x="6790262" y="2537409"/>
                    <a:pt x="6790262" y="2595085"/>
                  </a:cubicBezTo>
                  <a:cubicBezTo>
                    <a:pt x="6790262" y="2649049"/>
                    <a:pt x="6803101" y="2676032"/>
                    <a:pt x="6828780" y="2676032"/>
                  </a:cubicBezTo>
                  <a:cubicBezTo>
                    <a:pt x="6854057" y="2676032"/>
                    <a:pt x="6866695" y="2648598"/>
                    <a:pt x="6866695" y="2593731"/>
                  </a:cubicBezTo>
                  <a:cubicBezTo>
                    <a:pt x="6866695" y="2536957"/>
                    <a:pt x="6854307" y="2508571"/>
                    <a:pt x="6829532" y="2508571"/>
                  </a:cubicBezTo>
                  <a:close/>
                  <a:moveTo>
                    <a:pt x="6616438" y="2508571"/>
                  </a:moveTo>
                  <a:cubicBezTo>
                    <a:pt x="6590258" y="2508571"/>
                    <a:pt x="6577168" y="2537409"/>
                    <a:pt x="6577168" y="2595085"/>
                  </a:cubicBezTo>
                  <a:cubicBezTo>
                    <a:pt x="6577168" y="2649049"/>
                    <a:pt x="6590007" y="2676032"/>
                    <a:pt x="6615686" y="2676032"/>
                  </a:cubicBezTo>
                  <a:cubicBezTo>
                    <a:pt x="6640963" y="2676032"/>
                    <a:pt x="6653601" y="2648598"/>
                    <a:pt x="6653601" y="2593731"/>
                  </a:cubicBezTo>
                  <a:cubicBezTo>
                    <a:pt x="6653601" y="2536957"/>
                    <a:pt x="6641213" y="2508571"/>
                    <a:pt x="6616438" y="2508571"/>
                  </a:cubicBezTo>
                  <a:close/>
                  <a:moveTo>
                    <a:pt x="3070764" y="2508571"/>
                  </a:moveTo>
                  <a:cubicBezTo>
                    <a:pt x="3044584" y="2508571"/>
                    <a:pt x="3031494" y="2537409"/>
                    <a:pt x="3031494" y="2595085"/>
                  </a:cubicBezTo>
                  <a:cubicBezTo>
                    <a:pt x="3031494" y="2649049"/>
                    <a:pt x="3044333" y="2676032"/>
                    <a:pt x="3070012" y="2676032"/>
                  </a:cubicBezTo>
                  <a:cubicBezTo>
                    <a:pt x="3095289" y="2676032"/>
                    <a:pt x="3107927" y="2648598"/>
                    <a:pt x="3107927" y="2593731"/>
                  </a:cubicBezTo>
                  <a:cubicBezTo>
                    <a:pt x="3107927" y="2536957"/>
                    <a:pt x="3095539" y="2508571"/>
                    <a:pt x="3070764" y="2508571"/>
                  </a:cubicBezTo>
                  <a:close/>
                  <a:moveTo>
                    <a:pt x="2723961" y="2508571"/>
                  </a:moveTo>
                  <a:cubicBezTo>
                    <a:pt x="2697781" y="2508571"/>
                    <a:pt x="2684691" y="2537409"/>
                    <a:pt x="2684691" y="2595085"/>
                  </a:cubicBezTo>
                  <a:cubicBezTo>
                    <a:pt x="2684691" y="2649049"/>
                    <a:pt x="2697530" y="2676032"/>
                    <a:pt x="2723209" y="2676032"/>
                  </a:cubicBezTo>
                  <a:cubicBezTo>
                    <a:pt x="2748486" y="2676032"/>
                    <a:pt x="2761124" y="2648598"/>
                    <a:pt x="2761124" y="2593731"/>
                  </a:cubicBezTo>
                  <a:cubicBezTo>
                    <a:pt x="2761124" y="2536957"/>
                    <a:pt x="2748736" y="2508571"/>
                    <a:pt x="2723961" y="2508571"/>
                  </a:cubicBezTo>
                  <a:close/>
                  <a:moveTo>
                    <a:pt x="2032595" y="2508571"/>
                  </a:moveTo>
                  <a:cubicBezTo>
                    <a:pt x="2006416" y="2508571"/>
                    <a:pt x="1993326" y="2537409"/>
                    <a:pt x="1993326" y="2595085"/>
                  </a:cubicBezTo>
                  <a:cubicBezTo>
                    <a:pt x="1993326" y="2649049"/>
                    <a:pt x="2006165" y="2676032"/>
                    <a:pt x="2031843" y="2676032"/>
                  </a:cubicBezTo>
                  <a:cubicBezTo>
                    <a:pt x="2057120" y="2676032"/>
                    <a:pt x="2069759" y="2648598"/>
                    <a:pt x="2069759" y="2593731"/>
                  </a:cubicBezTo>
                  <a:cubicBezTo>
                    <a:pt x="2069759" y="2536957"/>
                    <a:pt x="2057371" y="2508571"/>
                    <a:pt x="2032595" y="2508571"/>
                  </a:cubicBezTo>
                  <a:close/>
                  <a:moveTo>
                    <a:pt x="777389" y="2508571"/>
                  </a:moveTo>
                  <a:cubicBezTo>
                    <a:pt x="751209" y="2508571"/>
                    <a:pt x="738119" y="2537409"/>
                    <a:pt x="738119" y="2595085"/>
                  </a:cubicBezTo>
                  <a:cubicBezTo>
                    <a:pt x="738119" y="2649049"/>
                    <a:pt x="750958" y="2676032"/>
                    <a:pt x="776637" y="2676032"/>
                  </a:cubicBezTo>
                  <a:cubicBezTo>
                    <a:pt x="801914" y="2676032"/>
                    <a:pt x="814552" y="2648598"/>
                    <a:pt x="814552" y="2593731"/>
                  </a:cubicBezTo>
                  <a:cubicBezTo>
                    <a:pt x="814552" y="2536957"/>
                    <a:pt x="802164" y="2508571"/>
                    <a:pt x="777389" y="2508571"/>
                  </a:cubicBezTo>
                  <a:close/>
                  <a:moveTo>
                    <a:pt x="556789" y="2508571"/>
                  </a:moveTo>
                  <a:cubicBezTo>
                    <a:pt x="530609" y="2508571"/>
                    <a:pt x="517519" y="2537409"/>
                    <a:pt x="517519" y="2595085"/>
                  </a:cubicBezTo>
                  <a:cubicBezTo>
                    <a:pt x="517519" y="2649049"/>
                    <a:pt x="530358" y="2676032"/>
                    <a:pt x="556037" y="2676032"/>
                  </a:cubicBezTo>
                  <a:cubicBezTo>
                    <a:pt x="581314" y="2676032"/>
                    <a:pt x="593952" y="2648598"/>
                    <a:pt x="593952" y="2593731"/>
                  </a:cubicBezTo>
                  <a:cubicBezTo>
                    <a:pt x="593952" y="2536957"/>
                    <a:pt x="581564" y="2508571"/>
                    <a:pt x="556789" y="2508571"/>
                  </a:cubicBezTo>
                  <a:close/>
                  <a:moveTo>
                    <a:pt x="12035876" y="2480736"/>
                  </a:moveTo>
                  <a:lnTo>
                    <a:pt x="12050782" y="2480736"/>
                  </a:lnTo>
                  <a:lnTo>
                    <a:pt x="12050782" y="2703716"/>
                  </a:lnTo>
                  <a:lnTo>
                    <a:pt x="12015494" y="2703716"/>
                  </a:lnTo>
                  <a:lnTo>
                    <a:pt x="12015494" y="2523933"/>
                  </a:lnTo>
                  <a:cubicBezTo>
                    <a:pt x="12009106" y="2528496"/>
                    <a:pt x="12002236" y="2532374"/>
                    <a:pt x="11994885" y="2535568"/>
                  </a:cubicBezTo>
                  <a:cubicBezTo>
                    <a:pt x="11987533" y="2538763"/>
                    <a:pt x="11979142" y="2541576"/>
                    <a:pt x="11969712" y="2544010"/>
                  </a:cubicBezTo>
                  <a:lnTo>
                    <a:pt x="11969712" y="2513894"/>
                  </a:lnTo>
                  <a:cubicBezTo>
                    <a:pt x="11975593" y="2511968"/>
                    <a:pt x="11981272" y="2509939"/>
                    <a:pt x="11986747" y="2507810"/>
                  </a:cubicBezTo>
                  <a:cubicBezTo>
                    <a:pt x="11992223" y="2505681"/>
                    <a:pt x="11997623" y="2503298"/>
                    <a:pt x="12002946" y="2500661"/>
                  </a:cubicBezTo>
                  <a:cubicBezTo>
                    <a:pt x="12008270" y="2498025"/>
                    <a:pt x="12013644" y="2495084"/>
                    <a:pt x="12019069" y="2491839"/>
                  </a:cubicBezTo>
                  <a:cubicBezTo>
                    <a:pt x="12024494" y="2488595"/>
                    <a:pt x="12030096" y="2484893"/>
                    <a:pt x="12035876" y="2480736"/>
                  </a:cubicBezTo>
                  <a:close/>
                  <a:moveTo>
                    <a:pt x="11663311" y="2480736"/>
                  </a:moveTo>
                  <a:lnTo>
                    <a:pt x="11678217" y="2480736"/>
                  </a:lnTo>
                  <a:lnTo>
                    <a:pt x="11678217" y="2703716"/>
                  </a:lnTo>
                  <a:lnTo>
                    <a:pt x="11642929" y="2703716"/>
                  </a:lnTo>
                  <a:lnTo>
                    <a:pt x="11642929" y="2523933"/>
                  </a:lnTo>
                  <a:cubicBezTo>
                    <a:pt x="11636541" y="2528496"/>
                    <a:pt x="11629671" y="2532374"/>
                    <a:pt x="11622320" y="2535568"/>
                  </a:cubicBezTo>
                  <a:cubicBezTo>
                    <a:pt x="11614968" y="2538763"/>
                    <a:pt x="11606577" y="2541576"/>
                    <a:pt x="11597147" y="2544010"/>
                  </a:cubicBezTo>
                  <a:lnTo>
                    <a:pt x="11597147" y="2513894"/>
                  </a:lnTo>
                  <a:cubicBezTo>
                    <a:pt x="11603028" y="2511968"/>
                    <a:pt x="11608707" y="2509939"/>
                    <a:pt x="11614182" y="2507810"/>
                  </a:cubicBezTo>
                  <a:cubicBezTo>
                    <a:pt x="11619658" y="2505681"/>
                    <a:pt x="11625058" y="2503298"/>
                    <a:pt x="11630381" y="2500661"/>
                  </a:cubicBezTo>
                  <a:cubicBezTo>
                    <a:pt x="11635705" y="2498025"/>
                    <a:pt x="11641079" y="2495084"/>
                    <a:pt x="11646504" y="2491839"/>
                  </a:cubicBezTo>
                  <a:cubicBezTo>
                    <a:pt x="11651929" y="2488595"/>
                    <a:pt x="11657531" y="2484893"/>
                    <a:pt x="11663311" y="2480736"/>
                  </a:cubicBezTo>
                  <a:close/>
                  <a:moveTo>
                    <a:pt x="11513338" y="2480736"/>
                  </a:moveTo>
                  <a:lnTo>
                    <a:pt x="11528244" y="2480736"/>
                  </a:lnTo>
                  <a:lnTo>
                    <a:pt x="11528244" y="2703716"/>
                  </a:lnTo>
                  <a:lnTo>
                    <a:pt x="11492956" y="2703716"/>
                  </a:lnTo>
                  <a:lnTo>
                    <a:pt x="11492956" y="2523933"/>
                  </a:lnTo>
                  <a:cubicBezTo>
                    <a:pt x="11486568" y="2528496"/>
                    <a:pt x="11479698" y="2532374"/>
                    <a:pt x="11472347" y="2535568"/>
                  </a:cubicBezTo>
                  <a:cubicBezTo>
                    <a:pt x="11464995" y="2538763"/>
                    <a:pt x="11456604" y="2541576"/>
                    <a:pt x="11447174" y="2544010"/>
                  </a:cubicBezTo>
                  <a:lnTo>
                    <a:pt x="11447174" y="2513894"/>
                  </a:lnTo>
                  <a:cubicBezTo>
                    <a:pt x="11453055" y="2511968"/>
                    <a:pt x="11458734" y="2509939"/>
                    <a:pt x="11464209" y="2507810"/>
                  </a:cubicBezTo>
                  <a:cubicBezTo>
                    <a:pt x="11469685" y="2505681"/>
                    <a:pt x="11475085" y="2503298"/>
                    <a:pt x="11480408" y="2500661"/>
                  </a:cubicBezTo>
                  <a:cubicBezTo>
                    <a:pt x="11485732" y="2498025"/>
                    <a:pt x="11491106" y="2495084"/>
                    <a:pt x="11496531" y="2491839"/>
                  </a:cubicBezTo>
                  <a:cubicBezTo>
                    <a:pt x="11501956" y="2488595"/>
                    <a:pt x="11507558" y="2484893"/>
                    <a:pt x="11513338" y="2480736"/>
                  </a:cubicBezTo>
                  <a:close/>
                  <a:moveTo>
                    <a:pt x="11363365" y="2480736"/>
                  </a:moveTo>
                  <a:lnTo>
                    <a:pt x="11378271" y="2480736"/>
                  </a:lnTo>
                  <a:lnTo>
                    <a:pt x="11378271" y="2703716"/>
                  </a:lnTo>
                  <a:lnTo>
                    <a:pt x="11342983" y="2703716"/>
                  </a:lnTo>
                  <a:lnTo>
                    <a:pt x="11342983" y="2523933"/>
                  </a:lnTo>
                  <a:cubicBezTo>
                    <a:pt x="11336595" y="2528496"/>
                    <a:pt x="11329725" y="2532374"/>
                    <a:pt x="11322374" y="2535568"/>
                  </a:cubicBezTo>
                  <a:cubicBezTo>
                    <a:pt x="11315022" y="2538763"/>
                    <a:pt x="11306631" y="2541576"/>
                    <a:pt x="11297201" y="2544010"/>
                  </a:cubicBezTo>
                  <a:lnTo>
                    <a:pt x="11297201" y="2513894"/>
                  </a:lnTo>
                  <a:cubicBezTo>
                    <a:pt x="11303082" y="2511968"/>
                    <a:pt x="11308761" y="2509939"/>
                    <a:pt x="11314236" y="2507810"/>
                  </a:cubicBezTo>
                  <a:cubicBezTo>
                    <a:pt x="11319712" y="2505681"/>
                    <a:pt x="11325112" y="2503298"/>
                    <a:pt x="11330435" y="2500661"/>
                  </a:cubicBezTo>
                  <a:cubicBezTo>
                    <a:pt x="11335759" y="2498025"/>
                    <a:pt x="11341133" y="2495084"/>
                    <a:pt x="11346558" y="2491839"/>
                  </a:cubicBezTo>
                  <a:cubicBezTo>
                    <a:pt x="11351983" y="2488595"/>
                    <a:pt x="11357585" y="2484893"/>
                    <a:pt x="11363365" y="2480736"/>
                  </a:cubicBezTo>
                  <a:close/>
                  <a:moveTo>
                    <a:pt x="10620407" y="2480736"/>
                  </a:moveTo>
                  <a:lnTo>
                    <a:pt x="10635313" y="2480736"/>
                  </a:lnTo>
                  <a:lnTo>
                    <a:pt x="10635313" y="2703716"/>
                  </a:lnTo>
                  <a:lnTo>
                    <a:pt x="10600025" y="2703716"/>
                  </a:lnTo>
                  <a:lnTo>
                    <a:pt x="10600025" y="2523933"/>
                  </a:lnTo>
                  <a:cubicBezTo>
                    <a:pt x="10593637" y="2528496"/>
                    <a:pt x="10586767" y="2532374"/>
                    <a:pt x="10579416" y="2535568"/>
                  </a:cubicBezTo>
                  <a:cubicBezTo>
                    <a:pt x="10572064" y="2538763"/>
                    <a:pt x="10563673" y="2541576"/>
                    <a:pt x="10554243" y="2544010"/>
                  </a:cubicBezTo>
                  <a:lnTo>
                    <a:pt x="10554243" y="2513894"/>
                  </a:lnTo>
                  <a:cubicBezTo>
                    <a:pt x="10560124" y="2511968"/>
                    <a:pt x="10565803" y="2509939"/>
                    <a:pt x="10571278" y="2507810"/>
                  </a:cubicBezTo>
                  <a:cubicBezTo>
                    <a:pt x="10576754" y="2505681"/>
                    <a:pt x="10582154" y="2503298"/>
                    <a:pt x="10587477" y="2500661"/>
                  </a:cubicBezTo>
                  <a:cubicBezTo>
                    <a:pt x="10592801" y="2498025"/>
                    <a:pt x="10598175" y="2495084"/>
                    <a:pt x="10603600" y="2491839"/>
                  </a:cubicBezTo>
                  <a:cubicBezTo>
                    <a:pt x="10609025" y="2488595"/>
                    <a:pt x="10614627" y="2484893"/>
                    <a:pt x="10620407" y="2480736"/>
                  </a:cubicBezTo>
                  <a:close/>
                  <a:moveTo>
                    <a:pt x="10469278" y="2480736"/>
                  </a:moveTo>
                  <a:lnTo>
                    <a:pt x="10484184" y="2480736"/>
                  </a:lnTo>
                  <a:lnTo>
                    <a:pt x="10484184" y="2703716"/>
                  </a:lnTo>
                  <a:lnTo>
                    <a:pt x="10448896" y="2703716"/>
                  </a:lnTo>
                  <a:lnTo>
                    <a:pt x="10448896" y="2523933"/>
                  </a:lnTo>
                  <a:cubicBezTo>
                    <a:pt x="10442508" y="2528496"/>
                    <a:pt x="10435638" y="2532374"/>
                    <a:pt x="10428287" y="2535568"/>
                  </a:cubicBezTo>
                  <a:cubicBezTo>
                    <a:pt x="10420935" y="2538763"/>
                    <a:pt x="10412544" y="2541576"/>
                    <a:pt x="10403114" y="2544010"/>
                  </a:cubicBezTo>
                  <a:lnTo>
                    <a:pt x="10403114" y="2513894"/>
                  </a:lnTo>
                  <a:cubicBezTo>
                    <a:pt x="10408995" y="2511968"/>
                    <a:pt x="10414674" y="2509939"/>
                    <a:pt x="10420149" y="2507810"/>
                  </a:cubicBezTo>
                  <a:cubicBezTo>
                    <a:pt x="10425625" y="2505681"/>
                    <a:pt x="10431025" y="2503298"/>
                    <a:pt x="10436348" y="2500661"/>
                  </a:cubicBezTo>
                  <a:cubicBezTo>
                    <a:pt x="10441672" y="2498025"/>
                    <a:pt x="10447046" y="2495084"/>
                    <a:pt x="10452471" y="2491839"/>
                  </a:cubicBezTo>
                  <a:cubicBezTo>
                    <a:pt x="10457896" y="2488595"/>
                    <a:pt x="10463498" y="2484893"/>
                    <a:pt x="10469278" y="2480736"/>
                  </a:cubicBezTo>
                  <a:close/>
                  <a:moveTo>
                    <a:pt x="10169331" y="2480736"/>
                  </a:moveTo>
                  <a:lnTo>
                    <a:pt x="10184237" y="2480736"/>
                  </a:lnTo>
                  <a:lnTo>
                    <a:pt x="10184237" y="2703716"/>
                  </a:lnTo>
                  <a:lnTo>
                    <a:pt x="10148949" y="2703716"/>
                  </a:lnTo>
                  <a:lnTo>
                    <a:pt x="10148949" y="2523933"/>
                  </a:lnTo>
                  <a:cubicBezTo>
                    <a:pt x="10142561" y="2528496"/>
                    <a:pt x="10135691" y="2532374"/>
                    <a:pt x="10128340" y="2535568"/>
                  </a:cubicBezTo>
                  <a:cubicBezTo>
                    <a:pt x="10120988" y="2538763"/>
                    <a:pt x="10112597" y="2541576"/>
                    <a:pt x="10103167" y="2544010"/>
                  </a:cubicBezTo>
                  <a:lnTo>
                    <a:pt x="10103167" y="2513894"/>
                  </a:lnTo>
                  <a:cubicBezTo>
                    <a:pt x="10109048" y="2511968"/>
                    <a:pt x="10114727" y="2509939"/>
                    <a:pt x="10120202" y="2507810"/>
                  </a:cubicBezTo>
                  <a:cubicBezTo>
                    <a:pt x="10125678" y="2505681"/>
                    <a:pt x="10131078" y="2503298"/>
                    <a:pt x="10136401" y="2500661"/>
                  </a:cubicBezTo>
                  <a:cubicBezTo>
                    <a:pt x="10141725" y="2498025"/>
                    <a:pt x="10147099" y="2495084"/>
                    <a:pt x="10152524" y="2491839"/>
                  </a:cubicBezTo>
                  <a:cubicBezTo>
                    <a:pt x="10157949" y="2488595"/>
                    <a:pt x="10163551" y="2484893"/>
                    <a:pt x="10169331" y="2480736"/>
                  </a:cubicBezTo>
                  <a:close/>
                  <a:moveTo>
                    <a:pt x="9784303" y="2480736"/>
                  </a:moveTo>
                  <a:lnTo>
                    <a:pt x="9799209" y="2480736"/>
                  </a:lnTo>
                  <a:lnTo>
                    <a:pt x="9799209" y="2703716"/>
                  </a:lnTo>
                  <a:lnTo>
                    <a:pt x="9763921" y="2703716"/>
                  </a:lnTo>
                  <a:lnTo>
                    <a:pt x="9763921" y="2523933"/>
                  </a:lnTo>
                  <a:cubicBezTo>
                    <a:pt x="9757533" y="2528496"/>
                    <a:pt x="9750663" y="2532374"/>
                    <a:pt x="9743312" y="2535568"/>
                  </a:cubicBezTo>
                  <a:cubicBezTo>
                    <a:pt x="9735960" y="2538763"/>
                    <a:pt x="9727569" y="2541576"/>
                    <a:pt x="9718139" y="2544010"/>
                  </a:cubicBezTo>
                  <a:lnTo>
                    <a:pt x="9718139" y="2513894"/>
                  </a:lnTo>
                  <a:cubicBezTo>
                    <a:pt x="9724020" y="2511968"/>
                    <a:pt x="9729699" y="2509939"/>
                    <a:pt x="9735174" y="2507810"/>
                  </a:cubicBezTo>
                  <a:cubicBezTo>
                    <a:pt x="9740650" y="2505681"/>
                    <a:pt x="9746050" y="2503298"/>
                    <a:pt x="9751373" y="2500661"/>
                  </a:cubicBezTo>
                  <a:cubicBezTo>
                    <a:pt x="9756697" y="2498025"/>
                    <a:pt x="9762071" y="2495084"/>
                    <a:pt x="9767496" y="2491839"/>
                  </a:cubicBezTo>
                  <a:cubicBezTo>
                    <a:pt x="9772921" y="2488595"/>
                    <a:pt x="9778523" y="2484893"/>
                    <a:pt x="9784303" y="2480736"/>
                  </a:cubicBezTo>
                  <a:close/>
                  <a:moveTo>
                    <a:pt x="9633174" y="2480736"/>
                  </a:moveTo>
                  <a:lnTo>
                    <a:pt x="9648080" y="2480736"/>
                  </a:lnTo>
                  <a:lnTo>
                    <a:pt x="9648080" y="2703716"/>
                  </a:lnTo>
                  <a:lnTo>
                    <a:pt x="9612792" y="2703716"/>
                  </a:lnTo>
                  <a:lnTo>
                    <a:pt x="9612792" y="2523933"/>
                  </a:lnTo>
                  <a:cubicBezTo>
                    <a:pt x="9606404" y="2528496"/>
                    <a:pt x="9599534" y="2532374"/>
                    <a:pt x="9592183" y="2535568"/>
                  </a:cubicBezTo>
                  <a:cubicBezTo>
                    <a:pt x="9584831" y="2538763"/>
                    <a:pt x="9576440" y="2541576"/>
                    <a:pt x="9567010" y="2544010"/>
                  </a:cubicBezTo>
                  <a:lnTo>
                    <a:pt x="9567010" y="2513894"/>
                  </a:lnTo>
                  <a:cubicBezTo>
                    <a:pt x="9572891" y="2511968"/>
                    <a:pt x="9578570" y="2509939"/>
                    <a:pt x="9584045" y="2507810"/>
                  </a:cubicBezTo>
                  <a:cubicBezTo>
                    <a:pt x="9589521" y="2505681"/>
                    <a:pt x="9594921" y="2503298"/>
                    <a:pt x="9600244" y="2500661"/>
                  </a:cubicBezTo>
                  <a:cubicBezTo>
                    <a:pt x="9605568" y="2498025"/>
                    <a:pt x="9610942" y="2495084"/>
                    <a:pt x="9616367" y="2491839"/>
                  </a:cubicBezTo>
                  <a:cubicBezTo>
                    <a:pt x="9621792" y="2488595"/>
                    <a:pt x="9627394" y="2484893"/>
                    <a:pt x="9633174" y="2480736"/>
                  </a:cubicBezTo>
                  <a:close/>
                  <a:moveTo>
                    <a:pt x="9483201" y="2480736"/>
                  </a:moveTo>
                  <a:lnTo>
                    <a:pt x="9498107" y="2480736"/>
                  </a:lnTo>
                  <a:lnTo>
                    <a:pt x="9498107" y="2703716"/>
                  </a:lnTo>
                  <a:lnTo>
                    <a:pt x="9462819" y="2703716"/>
                  </a:lnTo>
                  <a:lnTo>
                    <a:pt x="9462819" y="2523933"/>
                  </a:lnTo>
                  <a:cubicBezTo>
                    <a:pt x="9456431" y="2528496"/>
                    <a:pt x="9449561" y="2532374"/>
                    <a:pt x="9442210" y="2535568"/>
                  </a:cubicBezTo>
                  <a:cubicBezTo>
                    <a:pt x="9434858" y="2538763"/>
                    <a:pt x="9426467" y="2541576"/>
                    <a:pt x="9417037" y="2544010"/>
                  </a:cubicBezTo>
                  <a:lnTo>
                    <a:pt x="9417037" y="2513894"/>
                  </a:lnTo>
                  <a:cubicBezTo>
                    <a:pt x="9422918" y="2511968"/>
                    <a:pt x="9428597" y="2509939"/>
                    <a:pt x="9434072" y="2507810"/>
                  </a:cubicBezTo>
                  <a:cubicBezTo>
                    <a:pt x="9439548" y="2505681"/>
                    <a:pt x="9444948" y="2503298"/>
                    <a:pt x="9450271" y="2500661"/>
                  </a:cubicBezTo>
                  <a:cubicBezTo>
                    <a:pt x="9455595" y="2498025"/>
                    <a:pt x="9460969" y="2495084"/>
                    <a:pt x="9466394" y="2491839"/>
                  </a:cubicBezTo>
                  <a:cubicBezTo>
                    <a:pt x="9471819" y="2488595"/>
                    <a:pt x="9477421" y="2484893"/>
                    <a:pt x="9483201" y="2480736"/>
                  </a:cubicBezTo>
                  <a:close/>
                  <a:moveTo>
                    <a:pt x="9333228" y="2480736"/>
                  </a:moveTo>
                  <a:lnTo>
                    <a:pt x="9348134" y="2480736"/>
                  </a:lnTo>
                  <a:lnTo>
                    <a:pt x="9348134" y="2703716"/>
                  </a:lnTo>
                  <a:lnTo>
                    <a:pt x="9312846" y="2703716"/>
                  </a:lnTo>
                  <a:lnTo>
                    <a:pt x="9312846" y="2523933"/>
                  </a:lnTo>
                  <a:cubicBezTo>
                    <a:pt x="9306458" y="2528496"/>
                    <a:pt x="9299588" y="2532374"/>
                    <a:pt x="9292237" y="2535568"/>
                  </a:cubicBezTo>
                  <a:cubicBezTo>
                    <a:pt x="9284885" y="2538763"/>
                    <a:pt x="9276494" y="2541576"/>
                    <a:pt x="9267064" y="2544010"/>
                  </a:cubicBezTo>
                  <a:lnTo>
                    <a:pt x="9267064" y="2513894"/>
                  </a:lnTo>
                  <a:cubicBezTo>
                    <a:pt x="9272945" y="2511968"/>
                    <a:pt x="9278624" y="2509939"/>
                    <a:pt x="9284099" y="2507810"/>
                  </a:cubicBezTo>
                  <a:cubicBezTo>
                    <a:pt x="9289575" y="2505681"/>
                    <a:pt x="9294975" y="2503298"/>
                    <a:pt x="9300298" y="2500661"/>
                  </a:cubicBezTo>
                  <a:cubicBezTo>
                    <a:pt x="9305622" y="2498025"/>
                    <a:pt x="9310996" y="2495084"/>
                    <a:pt x="9316421" y="2491839"/>
                  </a:cubicBezTo>
                  <a:cubicBezTo>
                    <a:pt x="9321846" y="2488595"/>
                    <a:pt x="9327448" y="2484893"/>
                    <a:pt x="9333228" y="2480736"/>
                  </a:cubicBezTo>
                  <a:close/>
                  <a:moveTo>
                    <a:pt x="9132835" y="2480736"/>
                  </a:moveTo>
                  <a:cubicBezTo>
                    <a:pt x="9180279" y="2480736"/>
                    <a:pt x="9204002" y="2517599"/>
                    <a:pt x="9204002" y="2591324"/>
                  </a:cubicBezTo>
                  <a:cubicBezTo>
                    <a:pt x="9204002" y="2627835"/>
                    <a:pt x="9197306" y="2655695"/>
                    <a:pt x="9183916" y="2674903"/>
                  </a:cubicBezTo>
                  <a:cubicBezTo>
                    <a:pt x="9170525" y="2694111"/>
                    <a:pt x="9151793" y="2703716"/>
                    <a:pt x="9127719" y="2703716"/>
                  </a:cubicBezTo>
                  <a:cubicBezTo>
                    <a:pt x="9105251" y="2703716"/>
                    <a:pt x="9087722" y="2694538"/>
                    <a:pt x="9075134" y="2676182"/>
                  </a:cubicBezTo>
                  <a:cubicBezTo>
                    <a:pt x="9062545" y="2657826"/>
                    <a:pt x="9056251" y="2631295"/>
                    <a:pt x="9056251" y="2596590"/>
                  </a:cubicBezTo>
                  <a:cubicBezTo>
                    <a:pt x="9056251" y="2558473"/>
                    <a:pt x="9062821" y="2529635"/>
                    <a:pt x="9075961" y="2510075"/>
                  </a:cubicBezTo>
                  <a:cubicBezTo>
                    <a:pt x="9089102" y="2490516"/>
                    <a:pt x="9108059" y="2480736"/>
                    <a:pt x="9132835" y="2480736"/>
                  </a:cubicBezTo>
                  <a:close/>
                  <a:moveTo>
                    <a:pt x="9001759" y="2480736"/>
                  </a:moveTo>
                  <a:lnTo>
                    <a:pt x="9016665" y="2480736"/>
                  </a:lnTo>
                  <a:lnTo>
                    <a:pt x="9016665" y="2703716"/>
                  </a:lnTo>
                  <a:lnTo>
                    <a:pt x="8981377" y="2703716"/>
                  </a:lnTo>
                  <a:lnTo>
                    <a:pt x="8981377" y="2523933"/>
                  </a:lnTo>
                  <a:cubicBezTo>
                    <a:pt x="8974989" y="2528496"/>
                    <a:pt x="8968119" y="2532374"/>
                    <a:pt x="8960768" y="2535568"/>
                  </a:cubicBezTo>
                  <a:cubicBezTo>
                    <a:pt x="8953416" y="2538763"/>
                    <a:pt x="8945025" y="2541576"/>
                    <a:pt x="8935595" y="2544010"/>
                  </a:cubicBezTo>
                  <a:lnTo>
                    <a:pt x="8935595" y="2513894"/>
                  </a:lnTo>
                  <a:cubicBezTo>
                    <a:pt x="8941476" y="2511968"/>
                    <a:pt x="8947155" y="2509939"/>
                    <a:pt x="8952630" y="2507810"/>
                  </a:cubicBezTo>
                  <a:cubicBezTo>
                    <a:pt x="8958106" y="2505681"/>
                    <a:pt x="8963506" y="2503298"/>
                    <a:pt x="8968829" y="2500661"/>
                  </a:cubicBezTo>
                  <a:cubicBezTo>
                    <a:pt x="8974153" y="2498025"/>
                    <a:pt x="8979527" y="2495084"/>
                    <a:pt x="8984952" y="2491839"/>
                  </a:cubicBezTo>
                  <a:cubicBezTo>
                    <a:pt x="8990377" y="2488595"/>
                    <a:pt x="8995979" y="2484893"/>
                    <a:pt x="9001759" y="2480736"/>
                  </a:cubicBezTo>
                  <a:close/>
                  <a:moveTo>
                    <a:pt x="8791078" y="2480736"/>
                  </a:moveTo>
                  <a:cubicBezTo>
                    <a:pt x="8838522" y="2480736"/>
                    <a:pt x="8862245" y="2517599"/>
                    <a:pt x="8862245" y="2591324"/>
                  </a:cubicBezTo>
                  <a:cubicBezTo>
                    <a:pt x="8862245" y="2627835"/>
                    <a:pt x="8855549" y="2655695"/>
                    <a:pt x="8842159" y="2674903"/>
                  </a:cubicBezTo>
                  <a:cubicBezTo>
                    <a:pt x="8828768" y="2694111"/>
                    <a:pt x="8810036" y="2703716"/>
                    <a:pt x="8785962" y="2703716"/>
                  </a:cubicBezTo>
                  <a:cubicBezTo>
                    <a:pt x="8763494" y="2703716"/>
                    <a:pt x="8745965" y="2694538"/>
                    <a:pt x="8733377" y="2676182"/>
                  </a:cubicBezTo>
                  <a:cubicBezTo>
                    <a:pt x="8720788" y="2657826"/>
                    <a:pt x="8714494" y="2631295"/>
                    <a:pt x="8714494" y="2596590"/>
                  </a:cubicBezTo>
                  <a:cubicBezTo>
                    <a:pt x="8714494" y="2558473"/>
                    <a:pt x="8721064" y="2529635"/>
                    <a:pt x="8734204" y="2510075"/>
                  </a:cubicBezTo>
                  <a:cubicBezTo>
                    <a:pt x="8747345" y="2490516"/>
                    <a:pt x="8766302" y="2480736"/>
                    <a:pt x="8791078" y="2480736"/>
                  </a:cubicBezTo>
                  <a:close/>
                  <a:moveTo>
                    <a:pt x="8089676" y="2480736"/>
                  </a:moveTo>
                  <a:cubicBezTo>
                    <a:pt x="8137121" y="2480736"/>
                    <a:pt x="8160843" y="2517599"/>
                    <a:pt x="8160843" y="2591324"/>
                  </a:cubicBezTo>
                  <a:cubicBezTo>
                    <a:pt x="8160843" y="2627835"/>
                    <a:pt x="8154148" y="2655695"/>
                    <a:pt x="8140757" y="2674903"/>
                  </a:cubicBezTo>
                  <a:cubicBezTo>
                    <a:pt x="8127366" y="2694111"/>
                    <a:pt x="8108634" y="2703716"/>
                    <a:pt x="8084560" y="2703716"/>
                  </a:cubicBezTo>
                  <a:cubicBezTo>
                    <a:pt x="8062092" y="2703716"/>
                    <a:pt x="8044563" y="2694538"/>
                    <a:pt x="8031975" y="2676182"/>
                  </a:cubicBezTo>
                  <a:cubicBezTo>
                    <a:pt x="8019386" y="2657826"/>
                    <a:pt x="8013092" y="2631295"/>
                    <a:pt x="8013092" y="2596590"/>
                  </a:cubicBezTo>
                  <a:cubicBezTo>
                    <a:pt x="8013092" y="2558473"/>
                    <a:pt x="8019662" y="2529635"/>
                    <a:pt x="8032802" y="2510075"/>
                  </a:cubicBezTo>
                  <a:cubicBezTo>
                    <a:pt x="8045943" y="2490516"/>
                    <a:pt x="8064900" y="2480736"/>
                    <a:pt x="8089676" y="2480736"/>
                  </a:cubicBezTo>
                  <a:close/>
                  <a:moveTo>
                    <a:pt x="7710515" y="2480736"/>
                  </a:moveTo>
                  <a:lnTo>
                    <a:pt x="7725421" y="2480736"/>
                  </a:lnTo>
                  <a:lnTo>
                    <a:pt x="7725421" y="2703716"/>
                  </a:lnTo>
                  <a:lnTo>
                    <a:pt x="7690133" y="2703716"/>
                  </a:lnTo>
                  <a:lnTo>
                    <a:pt x="7690133" y="2523933"/>
                  </a:lnTo>
                  <a:cubicBezTo>
                    <a:pt x="7683745" y="2528496"/>
                    <a:pt x="7676876" y="2532374"/>
                    <a:pt x="7669524" y="2535568"/>
                  </a:cubicBezTo>
                  <a:cubicBezTo>
                    <a:pt x="7662172" y="2538763"/>
                    <a:pt x="7653782" y="2541576"/>
                    <a:pt x="7644351" y="2544010"/>
                  </a:cubicBezTo>
                  <a:lnTo>
                    <a:pt x="7644351" y="2513894"/>
                  </a:lnTo>
                  <a:cubicBezTo>
                    <a:pt x="7650232" y="2511968"/>
                    <a:pt x="7655911" y="2509939"/>
                    <a:pt x="7661386" y="2507810"/>
                  </a:cubicBezTo>
                  <a:cubicBezTo>
                    <a:pt x="7666862" y="2505681"/>
                    <a:pt x="7672262" y="2503298"/>
                    <a:pt x="7677585" y="2500661"/>
                  </a:cubicBezTo>
                  <a:cubicBezTo>
                    <a:pt x="7682909" y="2498025"/>
                    <a:pt x="7688283" y="2495084"/>
                    <a:pt x="7693708" y="2491839"/>
                  </a:cubicBezTo>
                  <a:cubicBezTo>
                    <a:pt x="7699133" y="2488595"/>
                    <a:pt x="7704735" y="2484893"/>
                    <a:pt x="7710515" y="2480736"/>
                  </a:cubicBezTo>
                  <a:close/>
                  <a:moveTo>
                    <a:pt x="7348573" y="2480736"/>
                  </a:moveTo>
                  <a:lnTo>
                    <a:pt x="7363479" y="2480736"/>
                  </a:lnTo>
                  <a:lnTo>
                    <a:pt x="7363479" y="2703716"/>
                  </a:lnTo>
                  <a:lnTo>
                    <a:pt x="7328191" y="2703716"/>
                  </a:lnTo>
                  <a:lnTo>
                    <a:pt x="7328191" y="2523933"/>
                  </a:lnTo>
                  <a:cubicBezTo>
                    <a:pt x="7321803" y="2528496"/>
                    <a:pt x="7314934" y="2532374"/>
                    <a:pt x="7307582" y="2535568"/>
                  </a:cubicBezTo>
                  <a:cubicBezTo>
                    <a:pt x="7300230" y="2538763"/>
                    <a:pt x="7291840" y="2541576"/>
                    <a:pt x="7282409" y="2544010"/>
                  </a:cubicBezTo>
                  <a:lnTo>
                    <a:pt x="7282409" y="2513894"/>
                  </a:lnTo>
                  <a:cubicBezTo>
                    <a:pt x="7288290" y="2511968"/>
                    <a:pt x="7293969" y="2509939"/>
                    <a:pt x="7299444" y="2507810"/>
                  </a:cubicBezTo>
                  <a:cubicBezTo>
                    <a:pt x="7304920" y="2505681"/>
                    <a:pt x="7310320" y="2503298"/>
                    <a:pt x="7315643" y="2500661"/>
                  </a:cubicBezTo>
                  <a:cubicBezTo>
                    <a:pt x="7320967" y="2498025"/>
                    <a:pt x="7326341" y="2495084"/>
                    <a:pt x="7331766" y="2491839"/>
                  </a:cubicBezTo>
                  <a:cubicBezTo>
                    <a:pt x="7337191" y="2488595"/>
                    <a:pt x="7342793" y="2484893"/>
                    <a:pt x="7348573" y="2480736"/>
                  </a:cubicBezTo>
                  <a:close/>
                  <a:moveTo>
                    <a:pt x="7048627" y="2480736"/>
                  </a:moveTo>
                  <a:lnTo>
                    <a:pt x="7063533" y="2480736"/>
                  </a:lnTo>
                  <a:lnTo>
                    <a:pt x="7063533" y="2703716"/>
                  </a:lnTo>
                  <a:lnTo>
                    <a:pt x="7028245" y="2703716"/>
                  </a:lnTo>
                  <a:lnTo>
                    <a:pt x="7028245" y="2523933"/>
                  </a:lnTo>
                  <a:cubicBezTo>
                    <a:pt x="7021857" y="2528496"/>
                    <a:pt x="7014988" y="2532374"/>
                    <a:pt x="7007636" y="2535568"/>
                  </a:cubicBezTo>
                  <a:cubicBezTo>
                    <a:pt x="7000284" y="2538763"/>
                    <a:pt x="6991894" y="2541576"/>
                    <a:pt x="6982463" y="2544010"/>
                  </a:cubicBezTo>
                  <a:lnTo>
                    <a:pt x="6982463" y="2513894"/>
                  </a:lnTo>
                  <a:cubicBezTo>
                    <a:pt x="6988344" y="2511968"/>
                    <a:pt x="6994023" y="2509939"/>
                    <a:pt x="6999498" y="2507810"/>
                  </a:cubicBezTo>
                  <a:cubicBezTo>
                    <a:pt x="7004974" y="2505681"/>
                    <a:pt x="7010374" y="2503298"/>
                    <a:pt x="7015697" y="2500661"/>
                  </a:cubicBezTo>
                  <a:cubicBezTo>
                    <a:pt x="7021021" y="2498025"/>
                    <a:pt x="7026395" y="2495084"/>
                    <a:pt x="7031820" y="2491839"/>
                  </a:cubicBezTo>
                  <a:cubicBezTo>
                    <a:pt x="7037245" y="2488595"/>
                    <a:pt x="7042847" y="2484893"/>
                    <a:pt x="7048627" y="2480736"/>
                  </a:cubicBezTo>
                  <a:close/>
                  <a:moveTo>
                    <a:pt x="6831187" y="2480736"/>
                  </a:moveTo>
                  <a:cubicBezTo>
                    <a:pt x="6878632" y="2480736"/>
                    <a:pt x="6902354" y="2517599"/>
                    <a:pt x="6902354" y="2591324"/>
                  </a:cubicBezTo>
                  <a:cubicBezTo>
                    <a:pt x="6902354" y="2627835"/>
                    <a:pt x="6895659" y="2655695"/>
                    <a:pt x="6882268" y="2674903"/>
                  </a:cubicBezTo>
                  <a:cubicBezTo>
                    <a:pt x="6868877" y="2694111"/>
                    <a:pt x="6850145" y="2703716"/>
                    <a:pt x="6826071" y="2703716"/>
                  </a:cubicBezTo>
                  <a:cubicBezTo>
                    <a:pt x="6803603" y="2703716"/>
                    <a:pt x="6786074" y="2694538"/>
                    <a:pt x="6773486" y="2676182"/>
                  </a:cubicBezTo>
                  <a:cubicBezTo>
                    <a:pt x="6760897" y="2657826"/>
                    <a:pt x="6754603" y="2631295"/>
                    <a:pt x="6754603" y="2596590"/>
                  </a:cubicBezTo>
                  <a:cubicBezTo>
                    <a:pt x="6754603" y="2558473"/>
                    <a:pt x="6761173" y="2529635"/>
                    <a:pt x="6774313" y="2510075"/>
                  </a:cubicBezTo>
                  <a:cubicBezTo>
                    <a:pt x="6787454" y="2490516"/>
                    <a:pt x="6806411" y="2480736"/>
                    <a:pt x="6831187" y="2480736"/>
                  </a:cubicBezTo>
                  <a:close/>
                  <a:moveTo>
                    <a:pt x="6618093" y="2480736"/>
                  </a:moveTo>
                  <a:cubicBezTo>
                    <a:pt x="6665538" y="2480736"/>
                    <a:pt x="6689260" y="2517599"/>
                    <a:pt x="6689260" y="2591324"/>
                  </a:cubicBezTo>
                  <a:cubicBezTo>
                    <a:pt x="6689260" y="2627835"/>
                    <a:pt x="6682565" y="2655695"/>
                    <a:pt x="6669174" y="2674903"/>
                  </a:cubicBezTo>
                  <a:cubicBezTo>
                    <a:pt x="6655783" y="2694111"/>
                    <a:pt x="6637051" y="2703716"/>
                    <a:pt x="6612977" y="2703716"/>
                  </a:cubicBezTo>
                  <a:cubicBezTo>
                    <a:pt x="6590509" y="2703716"/>
                    <a:pt x="6572980" y="2694538"/>
                    <a:pt x="6560392" y="2676182"/>
                  </a:cubicBezTo>
                  <a:cubicBezTo>
                    <a:pt x="6547803" y="2657826"/>
                    <a:pt x="6541509" y="2631295"/>
                    <a:pt x="6541509" y="2596590"/>
                  </a:cubicBezTo>
                  <a:cubicBezTo>
                    <a:pt x="6541509" y="2558473"/>
                    <a:pt x="6548079" y="2529635"/>
                    <a:pt x="6561219" y="2510075"/>
                  </a:cubicBezTo>
                  <a:cubicBezTo>
                    <a:pt x="6574360" y="2490516"/>
                    <a:pt x="6593317" y="2480736"/>
                    <a:pt x="6618093" y="2480736"/>
                  </a:cubicBezTo>
                  <a:close/>
                  <a:moveTo>
                    <a:pt x="6456544" y="2480736"/>
                  </a:moveTo>
                  <a:lnTo>
                    <a:pt x="6471450" y="2480736"/>
                  </a:lnTo>
                  <a:lnTo>
                    <a:pt x="6471450" y="2703716"/>
                  </a:lnTo>
                  <a:lnTo>
                    <a:pt x="6436162" y="2703716"/>
                  </a:lnTo>
                  <a:lnTo>
                    <a:pt x="6436162" y="2523933"/>
                  </a:lnTo>
                  <a:cubicBezTo>
                    <a:pt x="6429774" y="2528496"/>
                    <a:pt x="6422905" y="2532374"/>
                    <a:pt x="6415553" y="2535568"/>
                  </a:cubicBezTo>
                  <a:cubicBezTo>
                    <a:pt x="6408201" y="2538763"/>
                    <a:pt x="6399811" y="2541576"/>
                    <a:pt x="6390380" y="2544010"/>
                  </a:cubicBezTo>
                  <a:lnTo>
                    <a:pt x="6390380" y="2513894"/>
                  </a:lnTo>
                  <a:cubicBezTo>
                    <a:pt x="6396261" y="2511968"/>
                    <a:pt x="6401940" y="2509939"/>
                    <a:pt x="6407415" y="2507810"/>
                  </a:cubicBezTo>
                  <a:cubicBezTo>
                    <a:pt x="6412891" y="2505681"/>
                    <a:pt x="6418291" y="2503298"/>
                    <a:pt x="6423614" y="2500661"/>
                  </a:cubicBezTo>
                  <a:cubicBezTo>
                    <a:pt x="6428938" y="2498025"/>
                    <a:pt x="6434312" y="2495084"/>
                    <a:pt x="6439737" y="2491839"/>
                  </a:cubicBezTo>
                  <a:cubicBezTo>
                    <a:pt x="6445162" y="2488595"/>
                    <a:pt x="6450764" y="2484893"/>
                    <a:pt x="6456544" y="2480736"/>
                  </a:cubicBezTo>
                  <a:close/>
                  <a:moveTo>
                    <a:pt x="6156598" y="2480736"/>
                  </a:moveTo>
                  <a:lnTo>
                    <a:pt x="6171504" y="2480736"/>
                  </a:lnTo>
                  <a:lnTo>
                    <a:pt x="6171504" y="2703716"/>
                  </a:lnTo>
                  <a:lnTo>
                    <a:pt x="6136216" y="2703716"/>
                  </a:lnTo>
                  <a:lnTo>
                    <a:pt x="6136216" y="2523933"/>
                  </a:lnTo>
                  <a:cubicBezTo>
                    <a:pt x="6129828" y="2528496"/>
                    <a:pt x="6122959" y="2532374"/>
                    <a:pt x="6115607" y="2535568"/>
                  </a:cubicBezTo>
                  <a:cubicBezTo>
                    <a:pt x="6108255" y="2538763"/>
                    <a:pt x="6099865" y="2541576"/>
                    <a:pt x="6090434" y="2544010"/>
                  </a:cubicBezTo>
                  <a:lnTo>
                    <a:pt x="6090434" y="2513894"/>
                  </a:lnTo>
                  <a:cubicBezTo>
                    <a:pt x="6096315" y="2511968"/>
                    <a:pt x="6101994" y="2509939"/>
                    <a:pt x="6107469" y="2507810"/>
                  </a:cubicBezTo>
                  <a:cubicBezTo>
                    <a:pt x="6112945" y="2505681"/>
                    <a:pt x="6118345" y="2503298"/>
                    <a:pt x="6123668" y="2500661"/>
                  </a:cubicBezTo>
                  <a:cubicBezTo>
                    <a:pt x="6128992" y="2498025"/>
                    <a:pt x="6134366" y="2495084"/>
                    <a:pt x="6139791" y="2491839"/>
                  </a:cubicBezTo>
                  <a:cubicBezTo>
                    <a:pt x="6145216" y="2488595"/>
                    <a:pt x="6150818" y="2484893"/>
                    <a:pt x="6156598" y="2480736"/>
                  </a:cubicBezTo>
                  <a:close/>
                  <a:moveTo>
                    <a:pt x="5973070" y="2480736"/>
                  </a:moveTo>
                  <a:lnTo>
                    <a:pt x="5987976" y="2480736"/>
                  </a:lnTo>
                  <a:lnTo>
                    <a:pt x="5987976" y="2703716"/>
                  </a:lnTo>
                  <a:lnTo>
                    <a:pt x="5952688" y="2703716"/>
                  </a:lnTo>
                  <a:lnTo>
                    <a:pt x="5952688" y="2523933"/>
                  </a:lnTo>
                  <a:cubicBezTo>
                    <a:pt x="5946299" y="2528496"/>
                    <a:pt x="5939431" y="2532374"/>
                    <a:pt x="5932078" y="2535568"/>
                  </a:cubicBezTo>
                  <a:cubicBezTo>
                    <a:pt x="5924727" y="2538763"/>
                    <a:pt x="5916337" y="2541576"/>
                    <a:pt x="5906905" y="2544010"/>
                  </a:cubicBezTo>
                  <a:lnTo>
                    <a:pt x="5906905" y="2513894"/>
                  </a:lnTo>
                  <a:cubicBezTo>
                    <a:pt x="5912787" y="2511968"/>
                    <a:pt x="5918466" y="2509939"/>
                    <a:pt x="5923941" y="2507810"/>
                  </a:cubicBezTo>
                  <a:cubicBezTo>
                    <a:pt x="5929417" y="2505681"/>
                    <a:pt x="5934817" y="2503298"/>
                    <a:pt x="5940139" y="2500661"/>
                  </a:cubicBezTo>
                  <a:cubicBezTo>
                    <a:pt x="5945464" y="2498025"/>
                    <a:pt x="5950838" y="2495084"/>
                    <a:pt x="5956262" y="2491839"/>
                  </a:cubicBezTo>
                  <a:cubicBezTo>
                    <a:pt x="5961687" y="2488595"/>
                    <a:pt x="5967290" y="2484893"/>
                    <a:pt x="5973070" y="2480736"/>
                  </a:cubicBezTo>
                  <a:close/>
                  <a:moveTo>
                    <a:pt x="5605408" y="2480736"/>
                  </a:moveTo>
                  <a:lnTo>
                    <a:pt x="5620313" y="2480736"/>
                  </a:lnTo>
                  <a:lnTo>
                    <a:pt x="5620313" y="2703716"/>
                  </a:lnTo>
                  <a:lnTo>
                    <a:pt x="5585026" y="2703716"/>
                  </a:lnTo>
                  <a:lnTo>
                    <a:pt x="5585026" y="2523933"/>
                  </a:lnTo>
                  <a:cubicBezTo>
                    <a:pt x="5578638" y="2528496"/>
                    <a:pt x="5571769" y="2532374"/>
                    <a:pt x="5564417" y="2535568"/>
                  </a:cubicBezTo>
                  <a:cubicBezTo>
                    <a:pt x="5557064" y="2538763"/>
                    <a:pt x="5548675" y="2541576"/>
                    <a:pt x="5539244" y="2544010"/>
                  </a:cubicBezTo>
                  <a:lnTo>
                    <a:pt x="5539244" y="2513894"/>
                  </a:lnTo>
                  <a:cubicBezTo>
                    <a:pt x="5545125" y="2511968"/>
                    <a:pt x="5550804" y="2509939"/>
                    <a:pt x="5556279" y="2507810"/>
                  </a:cubicBezTo>
                  <a:cubicBezTo>
                    <a:pt x="5561755" y="2505681"/>
                    <a:pt x="5567154" y="2503298"/>
                    <a:pt x="5572478" y="2500661"/>
                  </a:cubicBezTo>
                  <a:cubicBezTo>
                    <a:pt x="5577802" y="2498025"/>
                    <a:pt x="5583176" y="2495084"/>
                    <a:pt x="5588600" y="2491839"/>
                  </a:cubicBezTo>
                  <a:cubicBezTo>
                    <a:pt x="5594026" y="2488595"/>
                    <a:pt x="5599628" y="2484893"/>
                    <a:pt x="5605408" y="2480736"/>
                  </a:cubicBezTo>
                  <a:close/>
                  <a:moveTo>
                    <a:pt x="5455435" y="2480736"/>
                  </a:moveTo>
                  <a:lnTo>
                    <a:pt x="5470341" y="2480736"/>
                  </a:lnTo>
                  <a:lnTo>
                    <a:pt x="5470341" y="2703716"/>
                  </a:lnTo>
                  <a:lnTo>
                    <a:pt x="5435053" y="2703716"/>
                  </a:lnTo>
                  <a:lnTo>
                    <a:pt x="5435053" y="2523933"/>
                  </a:lnTo>
                  <a:cubicBezTo>
                    <a:pt x="5428664" y="2528496"/>
                    <a:pt x="5421796" y="2532374"/>
                    <a:pt x="5414443" y="2535568"/>
                  </a:cubicBezTo>
                  <a:cubicBezTo>
                    <a:pt x="5407092" y="2538763"/>
                    <a:pt x="5398702" y="2541576"/>
                    <a:pt x="5389271" y="2544010"/>
                  </a:cubicBezTo>
                  <a:lnTo>
                    <a:pt x="5389271" y="2513894"/>
                  </a:lnTo>
                  <a:cubicBezTo>
                    <a:pt x="5395152" y="2511968"/>
                    <a:pt x="5400831" y="2509939"/>
                    <a:pt x="5406306" y="2507810"/>
                  </a:cubicBezTo>
                  <a:cubicBezTo>
                    <a:pt x="5411782" y="2505681"/>
                    <a:pt x="5417182" y="2503298"/>
                    <a:pt x="5422505" y="2500661"/>
                  </a:cubicBezTo>
                  <a:cubicBezTo>
                    <a:pt x="5427829" y="2498025"/>
                    <a:pt x="5433203" y="2495084"/>
                    <a:pt x="5438628" y="2491839"/>
                  </a:cubicBezTo>
                  <a:cubicBezTo>
                    <a:pt x="5444053" y="2488595"/>
                    <a:pt x="5449655" y="2484893"/>
                    <a:pt x="5455435" y="2480736"/>
                  </a:cubicBezTo>
                  <a:close/>
                  <a:moveTo>
                    <a:pt x="5305462" y="2480736"/>
                  </a:moveTo>
                  <a:lnTo>
                    <a:pt x="5320368" y="2480736"/>
                  </a:lnTo>
                  <a:lnTo>
                    <a:pt x="5320368" y="2703716"/>
                  </a:lnTo>
                  <a:lnTo>
                    <a:pt x="5285079" y="2703716"/>
                  </a:lnTo>
                  <a:lnTo>
                    <a:pt x="5285079" y="2523933"/>
                  </a:lnTo>
                  <a:cubicBezTo>
                    <a:pt x="5278692" y="2528496"/>
                    <a:pt x="5271823" y="2532374"/>
                    <a:pt x="5264471" y="2535568"/>
                  </a:cubicBezTo>
                  <a:cubicBezTo>
                    <a:pt x="5257119" y="2538763"/>
                    <a:pt x="5248729" y="2541576"/>
                    <a:pt x="5239298" y="2544010"/>
                  </a:cubicBezTo>
                  <a:lnTo>
                    <a:pt x="5239298" y="2513894"/>
                  </a:lnTo>
                  <a:cubicBezTo>
                    <a:pt x="5245179" y="2511968"/>
                    <a:pt x="5250858" y="2509939"/>
                    <a:pt x="5256333" y="2507810"/>
                  </a:cubicBezTo>
                  <a:cubicBezTo>
                    <a:pt x="5261809" y="2505681"/>
                    <a:pt x="5267209" y="2503298"/>
                    <a:pt x="5272532" y="2500661"/>
                  </a:cubicBezTo>
                  <a:cubicBezTo>
                    <a:pt x="5277857" y="2498025"/>
                    <a:pt x="5283230" y="2495084"/>
                    <a:pt x="5288656" y="2491839"/>
                  </a:cubicBezTo>
                  <a:cubicBezTo>
                    <a:pt x="5294080" y="2488595"/>
                    <a:pt x="5299681" y="2484893"/>
                    <a:pt x="5305462" y="2480736"/>
                  </a:cubicBezTo>
                  <a:close/>
                  <a:moveTo>
                    <a:pt x="4556784" y="2480736"/>
                  </a:moveTo>
                  <a:lnTo>
                    <a:pt x="4571690" y="2480736"/>
                  </a:lnTo>
                  <a:lnTo>
                    <a:pt x="4571690" y="2703716"/>
                  </a:lnTo>
                  <a:lnTo>
                    <a:pt x="4536402" y="2703716"/>
                  </a:lnTo>
                  <a:lnTo>
                    <a:pt x="4536402" y="2523933"/>
                  </a:lnTo>
                  <a:cubicBezTo>
                    <a:pt x="4530014" y="2528496"/>
                    <a:pt x="4523145" y="2532374"/>
                    <a:pt x="4515793" y="2535568"/>
                  </a:cubicBezTo>
                  <a:cubicBezTo>
                    <a:pt x="4508441" y="2538763"/>
                    <a:pt x="4500051" y="2541576"/>
                    <a:pt x="4490620" y="2544010"/>
                  </a:cubicBezTo>
                  <a:lnTo>
                    <a:pt x="4490620" y="2513894"/>
                  </a:lnTo>
                  <a:cubicBezTo>
                    <a:pt x="4496501" y="2511968"/>
                    <a:pt x="4502179" y="2509939"/>
                    <a:pt x="4507655" y="2507810"/>
                  </a:cubicBezTo>
                  <a:cubicBezTo>
                    <a:pt x="4513131" y="2505681"/>
                    <a:pt x="4518531" y="2503298"/>
                    <a:pt x="4523854" y="2500661"/>
                  </a:cubicBezTo>
                  <a:cubicBezTo>
                    <a:pt x="4529178" y="2498025"/>
                    <a:pt x="4534552" y="2495084"/>
                    <a:pt x="4539977" y="2491839"/>
                  </a:cubicBezTo>
                  <a:cubicBezTo>
                    <a:pt x="4545402" y="2488595"/>
                    <a:pt x="4551004" y="2484893"/>
                    <a:pt x="4556784" y="2480736"/>
                  </a:cubicBezTo>
                  <a:close/>
                  <a:moveTo>
                    <a:pt x="4406811" y="2480736"/>
                  </a:moveTo>
                  <a:lnTo>
                    <a:pt x="4421716" y="2480736"/>
                  </a:lnTo>
                  <a:lnTo>
                    <a:pt x="4421716" y="2703716"/>
                  </a:lnTo>
                  <a:lnTo>
                    <a:pt x="4386429" y="2703716"/>
                  </a:lnTo>
                  <a:lnTo>
                    <a:pt x="4386429" y="2523933"/>
                  </a:lnTo>
                  <a:cubicBezTo>
                    <a:pt x="4380041" y="2528496"/>
                    <a:pt x="4373171" y="2532374"/>
                    <a:pt x="4365820" y="2535568"/>
                  </a:cubicBezTo>
                  <a:cubicBezTo>
                    <a:pt x="4358468" y="2538763"/>
                    <a:pt x="4350078" y="2541576"/>
                    <a:pt x="4340647" y="2544010"/>
                  </a:cubicBezTo>
                  <a:lnTo>
                    <a:pt x="4340647" y="2513894"/>
                  </a:lnTo>
                  <a:cubicBezTo>
                    <a:pt x="4346527" y="2511968"/>
                    <a:pt x="4352207" y="2509939"/>
                    <a:pt x="4357682" y="2507810"/>
                  </a:cubicBezTo>
                  <a:cubicBezTo>
                    <a:pt x="4363158" y="2505681"/>
                    <a:pt x="4368557" y="2503298"/>
                    <a:pt x="4373881" y="2500661"/>
                  </a:cubicBezTo>
                  <a:cubicBezTo>
                    <a:pt x="4379205" y="2498025"/>
                    <a:pt x="4384579" y="2495084"/>
                    <a:pt x="4390004" y="2491839"/>
                  </a:cubicBezTo>
                  <a:cubicBezTo>
                    <a:pt x="4395429" y="2488595"/>
                    <a:pt x="4401031" y="2484893"/>
                    <a:pt x="4406811" y="2480736"/>
                  </a:cubicBezTo>
                  <a:close/>
                  <a:moveTo>
                    <a:pt x="4106866" y="2480736"/>
                  </a:moveTo>
                  <a:lnTo>
                    <a:pt x="4121772" y="2480736"/>
                  </a:lnTo>
                  <a:lnTo>
                    <a:pt x="4121772" y="2703716"/>
                  </a:lnTo>
                  <a:lnTo>
                    <a:pt x="4086484" y="2703716"/>
                  </a:lnTo>
                  <a:lnTo>
                    <a:pt x="4086484" y="2523933"/>
                  </a:lnTo>
                  <a:cubicBezTo>
                    <a:pt x="4080096" y="2528496"/>
                    <a:pt x="4073226" y="2532374"/>
                    <a:pt x="4065875" y="2535568"/>
                  </a:cubicBezTo>
                  <a:cubicBezTo>
                    <a:pt x="4058523" y="2538763"/>
                    <a:pt x="4050133" y="2541576"/>
                    <a:pt x="4040701" y="2544010"/>
                  </a:cubicBezTo>
                  <a:lnTo>
                    <a:pt x="4040701" y="2513894"/>
                  </a:lnTo>
                  <a:cubicBezTo>
                    <a:pt x="4046583" y="2511968"/>
                    <a:pt x="4052262" y="2509939"/>
                    <a:pt x="4057737" y="2507810"/>
                  </a:cubicBezTo>
                  <a:cubicBezTo>
                    <a:pt x="4063213" y="2505681"/>
                    <a:pt x="4068613" y="2503298"/>
                    <a:pt x="4073936" y="2500661"/>
                  </a:cubicBezTo>
                  <a:cubicBezTo>
                    <a:pt x="4079260" y="2498025"/>
                    <a:pt x="4084634" y="2495084"/>
                    <a:pt x="4090059" y="2491839"/>
                  </a:cubicBezTo>
                  <a:cubicBezTo>
                    <a:pt x="4095484" y="2488595"/>
                    <a:pt x="4101086" y="2484893"/>
                    <a:pt x="4106866" y="2480736"/>
                  </a:cubicBezTo>
                  <a:close/>
                  <a:moveTo>
                    <a:pt x="3726275" y="2480736"/>
                  </a:moveTo>
                  <a:lnTo>
                    <a:pt x="3741181" y="2480736"/>
                  </a:lnTo>
                  <a:lnTo>
                    <a:pt x="3741181" y="2703716"/>
                  </a:lnTo>
                  <a:lnTo>
                    <a:pt x="3705893" y="2703716"/>
                  </a:lnTo>
                  <a:lnTo>
                    <a:pt x="3705893" y="2523933"/>
                  </a:lnTo>
                  <a:cubicBezTo>
                    <a:pt x="3699504" y="2528496"/>
                    <a:pt x="3692634" y="2532374"/>
                    <a:pt x="3685283" y="2535568"/>
                  </a:cubicBezTo>
                  <a:cubicBezTo>
                    <a:pt x="3677932" y="2538763"/>
                    <a:pt x="3669541" y="2541576"/>
                    <a:pt x="3660111" y="2544010"/>
                  </a:cubicBezTo>
                  <a:lnTo>
                    <a:pt x="3660111" y="2513894"/>
                  </a:lnTo>
                  <a:cubicBezTo>
                    <a:pt x="3665992" y="2511968"/>
                    <a:pt x="3671671" y="2509939"/>
                    <a:pt x="3677146" y="2507810"/>
                  </a:cubicBezTo>
                  <a:cubicBezTo>
                    <a:pt x="3682621" y="2505681"/>
                    <a:pt x="3688022" y="2503298"/>
                    <a:pt x="3693344" y="2500661"/>
                  </a:cubicBezTo>
                  <a:cubicBezTo>
                    <a:pt x="3698668" y="2498025"/>
                    <a:pt x="3704042" y="2495084"/>
                    <a:pt x="3709468" y="2491839"/>
                  </a:cubicBezTo>
                  <a:cubicBezTo>
                    <a:pt x="3714892" y="2488595"/>
                    <a:pt x="3720495" y="2484893"/>
                    <a:pt x="3726275" y="2480736"/>
                  </a:cubicBezTo>
                  <a:close/>
                  <a:moveTo>
                    <a:pt x="3576301" y="2480736"/>
                  </a:moveTo>
                  <a:lnTo>
                    <a:pt x="3591208" y="2480736"/>
                  </a:lnTo>
                  <a:lnTo>
                    <a:pt x="3591208" y="2703716"/>
                  </a:lnTo>
                  <a:lnTo>
                    <a:pt x="3555920" y="2703716"/>
                  </a:lnTo>
                  <a:lnTo>
                    <a:pt x="3555920" y="2523933"/>
                  </a:lnTo>
                  <a:cubicBezTo>
                    <a:pt x="3549532" y="2528496"/>
                    <a:pt x="3542662" y="2532374"/>
                    <a:pt x="3535311" y="2535568"/>
                  </a:cubicBezTo>
                  <a:cubicBezTo>
                    <a:pt x="3527958" y="2538763"/>
                    <a:pt x="3519568" y="2541576"/>
                    <a:pt x="3510138" y="2544010"/>
                  </a:cubicBezTo>
                  <a:lnTo>
                    <a:pt x="3510138" y="2513894"/>
                  </a:lnTo>
                  <a:cubicBezTo>
                    <a:pt x="3516019" y="2511968"/>
                    <a:pt x="3521698" y="2509939"/>
                    <a:pt x="3527173" y="2507810"/>
                  </a:cubicBezTo>
                  <a:cubicBezTo>
                    <a:pt x="3532648" y="2505681"/>
                    <a:pt x="3538049" y="2503298"/>
                    <a:pt x="3543372" y="2500661"/>
                  </a:cubicBezTo>
                  <a:cubicBezTo>
                    <a:pt x="3548695" y="2498025"/>
                    <a:pt x="3554069" y="2495084"/>
                    <a:pt x="3559494" y="2491839"/>
                  </a:cubicBezTo>
                  <a:cubicBezTo>
                    <a:pt x="3564920" y="2488595"/>
                    <a:pt x="3570522" y="2484893"/>
                    <a:pt x="3576301" y="2480736"/>
                  </a:cubicBezTo>
                  <a:close/>
                  <a:moveTo>
                    <a:pt x="3426329" y="2480736"/>
                  </a:moveTo>
                  <a:lnTo>
                    <a:pt x="3441235" y="2480736"/>
                  </a:lnTo>
                  <a:lnTo>
                    <a:pt x="3441235" y="2703716"/>
                  </a:lnTo>
                  <a:lnTo>
                    <a:pt x="3405947" y="2703716"/>
                  </a:lnTo>
                  <a:lnTo>
                    <a:pt x="3405947" y="2523933"/>
                  </a:lnTo>
                  <a:cubicBezTo>
                    <a:pt x="3399559" y="2528496"/>
                    <a:pt x="3392689" y="2532374"/>
                    <a:pt x="3385338" y="2535568"/>
                  </a:cubicBezTo>
                  <a:cubicBezTo>
                    <a:pt x="3377986" y="2538763"/>
                    <a:pt x="3369596" y="2541576"/>
                    <a:pt x="3360165" y="2544010"/>
                  </a:cubicBezTo>
                  <a:lnTo>
                    <a:pt x="3360165" y="2513894"/>
                  </a:lnTo>
                  <a:cubicBezTo>
                    <a:pt x="3366046" y="2511968"/>
                    <a:pt x="3371725" y="2509939"/>
                    <a:pt x="3377200" y="2507810"/>
                  </a:cubicBezTo>
                  <a:cubicBezTo>
                    <a:pt x="3382676" y="2505681"/>
                    <a:pt x="3388076" y="2503298"/>
                    <a:pt x="3393399" y="2500661"/>
                  </a:cubicBezTo>
                  <a:cubicBezTo>
                    <a:pt x="3398722" y="2498025"/>
                    <a:pt x="3404097" y="2495084"/>
                    <a:pt x="3409521" y="2491839"/>
                  </a:cubicBezTo>
                  <a:cubicBezTo>
                    <a:pt x="3414947" y="2488595"/>
                    <a:pt x="3420549" y="2484893"/>
                    <a:pt x="3426329" y="2480736"/>
                  </a:cubicBezTo>
                  <a:close/>
                  <a:moveTo>
                    <a:pt x="3276356" y="2480736"/>
                  </a:moveTo>
                  <a:lnTo>
                    <a:pt x="3291262" y="2480736"/>
                  </a:lnTo>
                  <a:lnTo>
                    <a:pt x="3291262" y="2703716"/>
                  </a:lnTo>
                  <a:lnTo>
                    <a:pt x="3255974" y="2703716"/>
                  </a:lnTo>
                  <a:lnTo>
                    <a:pt x="3255974" y="2523933"/>
                  </a:lnTo>
                  <a:cubicBezTo>
                    <a:pt x="3249586" y="2528496"/>
                    <a:pt x="3242716" y="2532374"/>
                    <a:pt x="3235365" y="2535568"/>
                  </a:cubicBezTo>
                  <a:cubicBezTo>
                    <a:pt x="3228013" y="2538763"/>
                    <a:pt x="3219623" y="2541576"/>
                    <a:pt x="3210192" y="2544010"/>
                  </a:cubicBezTo>
                  <a:lnTo>
                    <a:pt x="3210192" y="2513894"/>
                  </a:lnTo>
                  <a:cubicBezTo>
                    <a:pt x="3216073" y="2511968"/>
                    <a:pt x="3221752" y="2509939"/>
                    <a:pt x="3227227" y="2507810"/>
                  </a:cubicBezTo>
                  <a:cubicBezTo>
                    <a:pt x="3232702" y="2505681"/>
                    <a:pt x="3238103" y="2503298"/>
                    <a:pt x="3243426" y="2500661"/>
                  </a:cubicBezTo>
                  <a:cubicBezTo>
                    <a:pt x="3248750" y="2498025"/>
                    <a:pt x="3254124" y="2495084"/>
                    <a:pt x="3259549" y="2491839"/>
                  </a:cubicBezTo>
                  <a:cubicBezTo>
                    <a:pt x="3264974" y="2488595"/>
                    <a:pt x="3270576" y="2484893"/>
                    <a:pt x="3276356" y="2480736"/>
                  </a:cubicBezTo>
                  <a:close/>
                  <a:moveTo>
                    <a:pt x="3072419" y="2480736"/>
                  </a:moveTo>
                  <a:cubicBezTo>
                    <a:pt x="3119863" y="2480736"/>
                    <a:pt x="3143586" y="2517599"/>
                    <a:pt x="3143586" y="2591324"/>
                  </a:cubicBezTo>
                  <a:cubicBezTo>
                    <a:pt x="3143586" y="2627835"/>
                    <a:pt x="3136891" y="2655695"/>
                    <a:pt x="3123500" y="2674903"/>
                  </a:cubicBezTo>
                  <a:cubicBezTo>
                    <a:pt x="3110109" y="2694111"/>
                    <a:pt x="3091377" y="2703716"/>
                    <a:pt x="3067303" y="2703716"/>
                  </a:cubicBezTo>
                  <a:cubicBezTo>
                    <a:pt x="3044835" y="2703716"/>
                    <a:pt x="3027306" y="2694538"/>
                    <a:pt x="3014718" y="2676182"/>
                  </a:cubicBezTo>
                  <a:cubicBezTo>
                    <a:pt x="3002129" y="2657826"/>
                    <a:pt x="2995835" y="2631295"/>
                    <a:pt x="2995835" y="2596590"/>
                  </a:cubicBezTo>
                  <a:cubicBezTo>
                    <a:pt x="2995835" y="2558473"/>
                    <a:pt x="3002405" y="2529635"/>
                    <a:pt x="3015545" y="2510075"/>
                  </a:cubicBezTo>
                  <a:cubicBezTo>
                    <a:pt x="3028686" y="2490516"/>
                    <a:pt x="3047643" y="2480736"/>
                    <a:pt x="3072419" y="2480736"/>
                  </a:cubicBezTo>
                  <a:close/>
                  <a:moveTo>
                    <a:pt x="2942173" y="2480736"/>
                  </a:moveTo>
                  <a:lnTo>
                    <a:pt x="2957079" y="2480736"/>
                  </a:lnTo>
                  <a:lnTo>
                    <a:pt x="2957079" y="2703716"/>
                  </a:lnTo>
                  <a:lnTo>
                    <a:pt x="2921791" y="2703716"/>
                  </a:lnTo>
                  <a:lnTo>
                    <a:pt x="2921791" y="2523933"/>
                  </a:lnTo>
                  <a:cubicBezTo>
                    <a:pt x="2915403" y="2528496"/>
                    <a:pt x="2908533" y="2532374"/>
                    <a:pt x="2901182" y="2535568"/>
                  </a:cubicBezTo>
                  <a:cubicBezTo>
                    <a:pt x="2893830" y="2538763"/>
                    <a:pt x="2885440" y="2541576"/>
                    <a:pt x="2876008" y="2544010"/>
                  </a:cubicBezTo>
                  <a:lnTo>
                    <a:pt x="2876008" y="2513894"/>
                  </a:lnTo>
                  <a:cubicBezTo>
                    <a:pt x="2881890" y="2511968"/>
                    <a:pt x="2887569" y="2509939"/>
                    <a:pt x="2893044" y="2507810"/>
                  </a:cubicBezTo>
                  <a:cubicBezTo>
                    <a:pt x="2898520" y="2505681"/>
                    <a:pt x="2903920" y="2503298"/>
                    <a:pt x="2909242" y="2500661"/>
                  </a:cubicBezTo>
                  <a:cubicBezTo>
                    <a:pt x="2914567" y="2498025"/>
                    <a:pt x="2919941" y="2495084"/>
                    <a:pt x="2925366" y="2491839"/>
                  </a:cubicBezTo>
                  <a:cubicBezTo>
                    <a:pt x="2930790" y="2488595"/>
                    <a:pt x="2936393" y="2484893"/>
                    <a:pt x="2942173" y="2480736"/>
                  </a:cubicBezTo>
                  <a:close/>
                  <a:moveTo>
                    <a:pt x="2725616" y="2480736"/>
                  </a:moveTo>
                  <a:cubicBezTo>
                    <a:pt x="2773060" y="2480736"/>
                    <a:pt x="2796783" y="2517599"/>
                    <a:pt x="2796783" y="2591324"/>
                  </a:cubicBezTo>
                  <a:cubicBezTo>
                    <a:pt x="2796783" y="2627835"/>
                    <a:pt x="2790088" y="2655695"/>
                    <a:pt x="2776697" y="2674903"/>
                  </a:cubicBezTo>
                  <a:cubicBezTo>
                    <a:pt x="2763306" y="2694111"/>
                    <a:pt x="2744574" y="2703716"/>
                    <a:pt x="2720500" y="2703716"/>
                  </a:cubicBezTo>
                  <a:cubicBezTo>
                    <a:pt x="2698031" y="2703716"/>
                    <a:pt x="2680503" y="2694538"/>
                    <a:pt x="2667915" y="2676182"/>
                  </a:cubicBezTo>
                  <a:cubicBezTo>
                    <a:pt x="2655326" y="2657826"/>
                    <a:pt x="2649032" y="2631295"/>
                    <a:pt x="2649032" y="2596590"/>
                  </a:cubicBezTo>
                  <a:cubicBezTo>
                    <a:pt x="2649032" y="2558473"/>
                    <a:pt x="2655602" y="2529635"/>
                    <a:pt x="2668742" y="2510075"/>
                  </a:cubicBezTo>
                  <a:cubicBezTo>
                    <a:pt x="2681883" y="2490516"/>
                    <a:pt x="2700840" y="2480736"/>
                    <a:pt x="2725616" y="2480736"/>
                  </a:cubicBezTo>
                  <a:close/>
                  <a:moveTo>
                    <a:pt x="2034250" y="2480736"/>
                  </a:moveTo>
                  <a:cubicBezTo>
                    <a:pt x="2081695" y="2480736"/>
                    <a:pt x="2105417" y="2517599"/>
                    <a:pt x="2105417" y="2591324"/>
                  </a:cubicBezTo>
                  <a:cubicBezTo>
                    <a:pt x="2105417" y="2627835"/>
                    <a:pt x="2098723" y="2655695"/>
                    <a:pt x="2085332" y="2674903"/>
                  </a:cubicBezTo>
                  <a:cubicBezTo>
                    <a:pt x="2071941" y="2694111"/>
                    <a:pt x="2053208" y="2703716"/>
                    <a:pt x="2029134" y="2703716"/>
                  </a:cubicBezTo>
                  <a:cubicBezTo>
                    <a:pt x="2006666" y="2703716"/>
                    <a:pt x="1989138" y="2694538"/>
                    <a:pt x="1976549" y="2676182"/>
                  </a:cubicBezTo>
                  <a:cubicBezTo>
                    <a:pt x="1963960" y="2657826"/>
                    <a:pt x="1957666" y="2631295"/>
                    <a:pt x="1957666" y="2596590"/>
                  </a:cubicBezTo>
                  <a:cubicBezTo>
                    <a:pt x="1957666" y="2558473"/>
                    <a:pt x="1964236" y="2529635"/>
                    <a:pt x="1977376" y="2510075"/>
                  </a:cubicBezTo>
                  <a:cubicBezTo>
                    <a:pt x="1990517" y="2490516"/>
                    <a:pt x="2009474" y="2480736"/>
                    <a:pt x="2034250" y="2480736"/>
                  </a:cubicBezTo>
                  <a:close/>
                  <a:moveTo>
                    <a:pt x="1661890" y="2480736"/>
                  </a:moveTo>
                  <a:lnTo>
                    <a:pt x="1676796" y="2480736"/>
                  </a:lnTo>
                  <a:lnTo>
                    <a:pt x="1676796" y="2703716"/>
                  </a:lnTo>
                  <a:lnTo>
                    <a:pt x="1641507" y="2703716"/>
                  </a:lnTo>
                  <a:lnTo>
                    <a:pt x="1641507" y="2523933"/>
                  </a:lnTo>
                  <a:cubicBezTo>
                    <a:pt x="1635120" y="2528496"/>
                    <a:pt x="1628249" y="2532374"/>
                    <a:pt x="1620898" y="2535568"/>
                  </a:cubicBezTo>
                  <a:cubicBezTo>
                    <a:pt x="1613546" y="2538763"/>
                    <a:pt x="1605156" y="2541576"/>
                    <a:pt x="1595726" y="2544010"/>
                  </a:cubicBezTo>
                  <a:lnTo>
                    <a:pt x="1595726" y="2513894"/>
                  </a:lnTo>
                  <a:cubicBezTo>
                    <a:pt x="1601607" y="2511968"/>
                    <a:pt x="1607286" y="2509939"/>
                    <a:pt x="1612761" y="2507810"/>
                  </a:cubicBezTo>
                  <a:cubicBezTo>
                    <a:pt x="1618236" y="2505681"/>
                    <a:pt x="1623637" y="2503298"/>
                    <a:pt x="1628960" y="2500661"/>
                  </a:cubicBezTo>
                  <a:cubicBezTo>
                    <a:pt x="1634284" y="2498025"/>
                    <a:pt x="1639657" y="2495084"/>
                    <a:pt x="1645083" y="2491839"/>
                  </a:cubicBezTo>
                  <a:cubicBezTo>
                    <a:pt x="1650508" y="2488595"/>
                    <a:pt x="1656109" y="2484893"/>
                    <a:pt x="1661890" y="2480736"/>
                  </a:cubicBezTo>
                  <a:close/>
                  <a:moveTo>
                    <a:pt x="1285224" y="2480736"/>
                  </a:moveTo>
                  <a:lnTo>
                    <a:pt x="1300130" y="2480736"/>
                  </a:lnTo>
                  <a:lnTo>
                    <a:pt x="1300130" y="2703716"/>
                  </a:lnTo>
                  <a:lnTo>
                    <a:pt x="1264841" y="2703716"/>
                  </a:lnTo>
                  <a:lnTo>
                    <a:pt x="1264841" y="2523933"/>
                  </a:lnTo>
                  <a:cubicBezTo>
                    <a:pt x="1258454" y="2528496"/>
                    <a:pt x="1251583" y="2532374"/>
                    <a:pt x="1244232" y="2535568"/>
                  </a:cubicBezTo>
                  <a:cubicBezTo>
                    <a:pt x="1236881" y="2538763"/>
                    <a:pt x="1228490" y="2541576"/>
                    <a:pt x="1219060" y="2544010"/>
                  </a:cubicBezTo>
                  <a:lnTo>
                    <a:pt x="1219060" y="2513894"/>
                  </a:lnTo>
                  <a:cubicBezTo>
                    <a:pt x="1224940" y="2511968"/>
                    <a:pt x="1230619" y="2509939"/>
                    <a:pt x="1236094" y="2507810"/>
                  </a:cubicBezTo>
                  <a:cubicBezTo>
                    <a:pt x="1241571" y="2505681"/>
                    <a:pt x="1246971" y="2503298"/>
                    <a:pt x="1252294" y="2500661"/>
                  </a:cubicBezTo>
                  <a:cubicBezTo>
                    <a:pt x="1257618" y="2498025"/>
                    <a:pt x="1262992" y="2495084"/>
                    <a:pt x="1268416" y="2491839"/>
                  </a:cubicBezTo>
                  <a:cubicBezTo>
                    <a:pt x="1273842" y="2488595"/>
                    <a:pt x="1279443" y="2484893"/>
                    <a:pt x="1285224" y="2480736"/>
                  </a:cubicBezTo>
                  <a:close/>
                  <a:moveTo>
                    <a:pt x="985278" y="2480736"/>
                  </a:moveTo>
                  <a:lnTo>
                    <a:pt x="1000183" y="2480736"/>
                  </a:lnTo>
                  <a:lnTo>
                    <a:pt x="1000183" y="2703716"/>
                  </a:lnTo>
                  <a:lnTo>
                    <a:pt x="964896" y="2703716"/>
                  </a:lnTo>
                  <a:lnTo>
                    <a:pt x="964896" y="2523933"/>
                  </a:lnTo>
                  <a:cubicBezTo>
                    <a:pt x="958508" y="2528496"/>
                    <a:pt x="951638" y="2532374"/>
                    <a:pt x="944286" y="2535568"/>
                  </a:cubicBezTo>
                  <a:cubicBezTo>
                    <a:pt x="936935" y="2538763"/>
                    <a:pt x="928544" y="2541576"/>
                    <a:pt x="919114" y="2544010"/>
                  </a:cubicBezTo>
                  <a:lnTo>
                    <a:pt x="919114" y="2513894"/>
                  </a:lnTo>
                  <a:cubicBezTo>
                    <a:pt x="924995" y="2511968"/>
                    <a:pt x="930674" y="2509939"/>
                    <a:pt x="936149" y="2507810"/>
                  </a:cubicBezTo>
                  <a:cubicBezTo>
                    <a:pt x="941624" y="2505681"/>
                    <a:pt x="947024" y="2503298"/>
                    <a:pt x="952348" y="2500661"/>
                  </a:cubicBezTo>
                  <a:cubicBezTo>
                    <a:pt x="957672" y="2498025"/>
                    <a:pt x="963046" y="2495084"/>
                    <a:pt x="968471" y="2491839"/>
                  </a:cubicBezTo>
                  <a:cubicBezTo>
                    <a:pt x="973896" y="2488595"/>
                    <a:pt x="979498" y="2484893"/>
                    <a:pt x="985278" y="2480736"/>
                  </a:cubicBezTo>
                  <a:close/>
                  <a:moveTo>
                    <a:pt x="779044" y="2480736"/>
                  </a:moveTo>
                  <a:cubicBezTo>
                    <a:pt x="826488" y="2480736"/>
                    <a:pt x="850211" y="2517599"/>
                    <a:pt x="850211" y="2591324"/>
                  </a:cubicBezTo>
                  <a:cubicBezTo>
                    <a:pt x="850211" y="2627835"/>
                    <a:pt x="843515" y="2655695"/>
                    <a:pt x="830125" y="2674903"/>
                  </a:cubicBezTo>
                  <a:cubicBezTo>
                    <a:pt x="816734" y="2694111"/>
                    <a:pt x="798002" y="2703716"/>
                    <a:pt x="773928" y="2703716"/>
                  </a:cubicBezTo>
                  <a:cubicBezTo>
                    <a:pt x="751460" y="2703716"/>
                    <a:pt x="733931" y="2694538"/>
                    <a:pt x="721343" y="2676182"/>
                  </a:cubicBezTo>
                  <a:cubicBezTo>
                    <a:pt x="708754" y="2657826"/>
                    <a:pt x="702460" y="2631295"/>
                    <a:pt x="702460" y="2596590"/>
                  </a:cubicBezTo>
                  <a:cubicBezTo>
                    <a:pt x="702460" y="2558473"/>
                    <a:pt x="709030" y="2529635"/>
                    <a:pt x="722170" y="2510075"/>
                  </a:cubicBezTo>
                  <a:cubicBezTo>
                    <a:pt x="735311" y="2490516"/>
                    <a:pt x="754267" y="2480736"/>
                    <a:pt x="779044" y="2480736"/>
                  </a:cubicBezTo>
                  <a:close/>
                  <a:moveTo>
                    <a:pt x="558444" y="2480736"/>
                  </a:moveTo>
                  <a:cubicBezTo>
                    <a:pt x="605888" y="2480736"/>
                    <a:pt x="629611" y="2517599"/>
                    <a:pt x="629611" y="2591324"/>
                  </a:cubicBezTo>
                  <a:cubicBezTo>
                    <a:pt x="629611" y="2627835"/>
                    <a:pt x="622915" y="2655695"/>
                    <a:pt x="609525" y="2674903"/>
                  </a:cubicBezTo>
                  <a:cubicBezTo>
                    <a:pt x="596134" y="2694111"/>
                    <a:pt x="577402" y="2703716"/>
                    <a:pt x="553328" y="2703716"/>
                  </a:cubicBezTo>
                  <a:cubicBezTo>
                    <a:pt x="530860" y="2703716"/>
                    <a:pt x="513331" y="2694538"/>
                    <a:pt x="500742" y="2676182"/>
                  </a:cubicBezTo>
                  <a:cubicBezTo>
                    <a:pt x="488154" y="2657826"/>
                    <a:pt x="481860" y="2631295"/>
                    <a:pt x="481860" y="2596590"/>
                  </a:cubicBezTo>
                  <a:cubicBezTo>
                    <a:pt x="481860" y="2558473"/>
                    <a:pt x="488430" y="2529635"/>
                    <a:pt x="501570" y="2510075"/>
                  </a:cubicBezTo>
                  <a:cubicBezTo>
                    <a:pt x="514711" y="2490516"/>
                    <a:pt x="533668" y="2480736"/>
                    <a:pt x="558444" y="2480736"/>
                  </a:cubicBezTo>
                  <a:close/>
                  <a:moveTo>
                    <a:pt x="391282" y="2480736"/>
                  </a:moveTo>
                  <a:lnTo>
                    <a:pt x="406188" y="2480736"/>
                  </a:lnTo>
                  <a:lnTo>
                    <a:pt x="406188" y="2703716"/>
                  </a:lnTo>
                  <a:lnTo>
                    <a:pt x="370900" y="2703716"/>
                  </a:lnTo>
                  <a:lnTo>
                    <a:pt x="370900" y="2523933"/>
                  </a:lnTo>
                  <a:cubicBezTo>
                    <a:pt x="364512" y="2528496"/>
                    <a:pt x="357642" y="2532374"/>
                    <a:pt x="350291" y="2535568"/>
                  </a:cubicBezTo>
                  <a:cubicBezTo>
                    <a:pt x="342939" y="2538763"/>
                    <a:pt x="334547" y="2541576"/>
                    <a:pt x="325118" y="2544010"/>
                  </a:cubicBezTo>
                  <a:lnTo>
                    <a:pt x="325118" y="2513894"/>
                  </a:lnTo>
                  <a:cubicBezTo>
                    <a:pt x="330999" y="2511968"/>
                    <a:pt x="336677" y="2509939"/>
                    <a:pt x="342153" y="2507810"/>
                  </a:cubicBezTo>
                  <a:cubicBezTo>
                    <a:pt x="347629" y="2505681"/>
                    <a:pt x="353029" y="2503298"/>
                    <a:pt x="358352" y="2500661"/>
                  </a:cubicBezTo>
                  <a:cubicBezTo>
                    <a:pt x="363676" y="2498025"/>
                    <a:pt x="369050" y="2495084"/>
                    <a:pt x="374475" y="2491839"/>
                  </a:cubicBezTo>
                  <a:cubicBezTo>
                    <a:pt x="379900" y="2488595"/>
                    <a:pt x="385502" y="2484893"/>
                    <a:pt x="391282" y="2480736"/>
                  </a:cubicBezTo>
                  <a:close/>
                  <a:moveTo>
                    <a:pt x="91336" y="2480736"/>
                  </a:moveTo>
                  <a:lnTo>
                    <a:pt x="106242" y="2480736"/>
                  </a:lnTo>
                  <a:lnTo>
                    <a:pt x="106242" y="2703716"/>
                  </a:lnTo>
                  <a:lnTo>
                    <a:pt x="70954" y="2703716"/>
                  </a:lnTo>
                  <a:lnTo>
                    <a:pt x="70954" y="2523933"/>
                  </a:lnTo>
                  <a:cubicBezTo>
                    <a:pt x="64566" y="2528496"/>
                    <a:pt x="57696" y="2532374"/>
                    <a:pt x="50345" y="2535568"/>
                  </a:cubicBezTo>
                  <a:cubicBezTo>
                    <a:pt x="42993" y="2538763"/>
                    <a:pt x="34602" y="2541576"/>
                    <a:pt x="25172" y="2544010"/>
                  </a:cubicBezTo>
                  <a:lnTo>
                    <a:pt x="25172" y="2513894"/>
                  </a:lnTo>
                  <a:cubicBezTo>
                    <a:pt x="31053" y="2511968"/>
                    <a:pt x="36732" y="2509939"/>
                    <a:pt x="42207" y="2507810"/>
                  </a:cubicBezTo>
                  <a:cubicBezTo>
                    <a:pt x="47683" y="2505681"/>
                    <a:pt x="53083" y="2503298"/>
                    <a:pt x="58406" y="2500661"/>
                  </a:cubicBezTo>
                  <a:cubicBezTo>
                    <a:pt x="63730" y="2498025"/>
                    <a:pt x="69104" y="2495084"/>
                    <a:pt x="74529" y="2491839"/>
                  </a:cubicBezTo>
                  <a:cubicBezTo>
                    <a:pt x="79954" y="2488595"/>
                    <a:pt x="85556" y="2484893"/>
                    <a:pt x="91336" y="2480736"/>
                  </a:cubicBezTo>
                  <a:close/>
                  <a:moveTo>
                    <a:pt x="11987506" y="2204600"/>
                  </a:moveTo>
                  <a:cubicBezTo>
                    <a:pt x="11961326" y="2204600"/>
                    <a:pt x="11948236" y="2233438"/>
                    <a:pt x="11948236" y="2291114"/>
                  </a:cubicBezTo>
                  <a:cubicBezTo>
                    <a:pt x="11948236" y="2345078"/>
                    <a:pt x="11961075" y="2372061"/>
                    <a:pt x="11986754" y="2372061"/>
                  </a:cubicBezTo>
                  <a:cubicBezTo>
                    <a:pt x="12012030" y="2372061"/>
                    <a:pt x="12024669" y="2344627"/>
                    <a:pt x="12024669" y="2289760"/>
                  </a:cubicBezTo>
                  <a:cubicBezTo>
                    <a:pt x="12024669" y="2232986"/>
                    <a:pt x="12012281" y="2204600"/>
                    <a:pt x="11987506" y="2204600"/>
                  </a:cubicBezTo>
                  <a:close/>
                  <a:moveTo>
                    <a:pt x="11770996" y="2204600"/>
                  </a:moveTo>
                  <a:cubicBezTo>
                    <a:pt x="11744816" y="2204600"/>
                    <a:pt x="11731726" y="2233438"/>
                    <a:pt x="11731726" y="2291114"/>
                  </a:cubicBezTo>
                  <a:cubicBezTo>
                    <a:pt x="11731726" y="2345078"/>
                    <a:pt x="11744565" y="2372061"/>
                    <a:pt x="11770244" y="2372061"/>
                  </a:cubicBezTo>
                  <a:cubicBezTo>
                    <a:pt x="11795520" y="2372061"/>
                    <a:pt x="11808159" y="2344627"/>
                    <a:pt x="11808159" y="2289760"/>
                  </a:cubicBezTo>
                  <a:cubicBezTo>
                    <a:pt x="11808159" y="2232986"/>
                    <a:pt x="11795771" y="2204600"/>
                    <a:pt x="11770996" y="2204600"/>
                  </a:cubicBezTo>
                  <a:close/>
                  <a:moveTo>
                    <a:pt x="6976208" y="2204600"/>
                  </a:moveTo>
                  <a:cubicBezTo>
                    <a:pt x="6950028" y="2204600"/>
                    <a:pt x="6936938" y="2233438"/>
                    <a:pt x="6936938" y="2291114"/>
                  </a:cubicBezTo>
                  <a:cubicBezTo>
                    <a:pt x="6936938" y="2345078"/>
                    <a:pt x="6949777" y="2372061"/>
                    <a:pt x="6975456" y="2372061"/>
                  </a:cubicBezTo>
                  <a:cubicBezTo>
                    <a:pt x="7000733" y="2372061"/>
                    <a:pt x="7013371" y="2344627"/>
                    <a:pt x="7013371" y="2289760"/>
                  </a:cubicBezTo>
                  <a:cubicBezTo>
                    <a:pt x="7013371" y="2232986"/>
                    <a:pt x="7000983" y="2204600"/>
                    <a:pt x="6976208" y="2204600"/>
                  </a:cubicBezTo>
                  <a:close/>
                  <a:moveTo>
                    <a:pt x="6759698" y="2204600"/>
                  </a:moveTo>
                  <a:cubicBezTo>
                    <a:pt x="6733518" y="2204600"/>
                    <a:pt x="6720428" y="2233438"/>
                    <a:pt x="6720428" y="2291114"/>
                  </a:cubicBezTo>
                  <a:cubicBezTo>
                    <a:pt x="6720428" y="2345078"/>
                    <a:pt x="6733267" y="2372061"/>
                    <a:pt x="6758946" y="2372061"/>
                  </a:cubicBezTo>
                  <a:cubicBezTo>
                    <a:pt x="6784223" y="2372061"/>
                    <a:pt x="6796861" y="2344627"/>
                    <a:pt x="6796861" y="2289760"/>
                  </a:cubicBezTo>
                  <a:cubicBezTo>
                    <a:pt x="6796861" y="2232986"/>
                    <a:pt x="6784473" y="2204600"/>
                    <a:pt x="6759698" y="2204600"/>
                  </a:cubicBezTo>
                  <a:close/>
                  <a:moveTo>
                    <a:pt x="6141921" y="2204600"/>
                  </a:moveTo>
                  <a:cubicBezTo>
                    <a:pt x="6115741" y="2204600"/>
                    <a:pt x="6102651" y="2233438"/>
                    <a:pt x="6102651" y="2291114"/>
                  </a:cubicBezTo>
                  <a:cubicBezTo>
                    <a:pt x="6102651" y="2345078"/>
                    <a:pt x="6115490" y="2372061"/>
                    <a:pt x="6141169" y="2372061"/>
                  </a:cubicBezTo>
                  <a:cubicBezTo>
                    <a:pt x="6166446" y="2372061"/>
                    <a:pt x="6179084" y="2344627"/>
                    <a:pt x="6179084" y="2289760"/>
                  </a:cubicBezTo>
                  <a:cubicBezTo>
                    <a:pt x="6179084" y="2232986"/>
                    <a:pt x="6166696" y="2204600"/>
                    <a:pt x="6141921" y="2204600"/>
                  </a:cubicBezTo>
                  <a:close/>
                  <a:moveTo>
                    <a:pt x="5925411" y="2204600"/>
                  </a:moveTo>
                  <a:cubicBezTo>
                    <a:pt x="5899231" y="2204600"/>
                    <a:pt x="5886141" y="2233438"/>
                    <a:pt x="5886141" y="2291114"/>
                  </a:cubicBezTo>
                  <a:cubicBezTo>
                    <a:pt x="5886141" y="2345078"/>
                    <a:pt x="5898981" y="2372061"/>
                    <a:pt x="5924659" y="2372061"/>
                  </a:cubicBezTo>
                  <a:cubicBezTo>
                    <a:pt x="5949935" y="2372061"/>
                    <a:pt x="5962574" y="2344627"/>
                    <a:pt x="5962574" y="2289760"/>
                  </a:cubicBezTo>
                  <a:cubicBezTo>
                    <a:pt x="5962574" y="2232986"/>
                    <a:pt x="5950186" y="2204600"/>
                    <a:pt x="5925411" y="2204600"/>
                  </a:cubicBezTo>
                  <a:close/>
                  <a:moveTo>
                    <a:pt x="5701303" y="2204600"/>
                  </a:moveTo>
                  <a:cubicBezTo>
                    <a:pt x="5675125" y="2204600"/>
                    <a:pt x="5662035" y="2233438"/>
                    <a:pt x="5662035" y="2291114"/>
                  </a:cubicBezTo>
                  <a:cubicBezTo>
                    <a:pt x="5662035" y="2345078"/>
                    <a:pt x="5674873" y="2372061"/>
                    <a:pt x="5700551" y="2372061"/>
                  </a:cubicBezTo>
                  <a:cubicBezTo>
                    <a:pt x="5725828" y="2372061"/>
                    <a:pt x="5738467" y="2344627"/>
                    <a:pt x="5738467" y="2289760"/>
                  </a:cubicBezTo>
                  <a:cubicBezTo>
                    <a:pt x="5738467" y="2232986"/>
                    <a:pt x="5726080" y="2204600"/>
                    <a:pt x="5701303" y="2204600"/>
                  </a:cubicBezTo>
                  <a:close/>
                  <a:moveTo>
                    <a:pt x="923326" y="2204600"/>
                  </a:moveTo>
                  <a:cubicBezTo>
                    <a:pt x="897146" y="2204600"/>
                    <a:pt x="884056" y="2233438"/>
                    <a:pt x="884056" y="2291114"/>
                  </a:cubicBezTo>
                  <a:cubicBezTo>
                    <a:pt x="884056" y="2345078"/>
                    <a:pt x="896895" y="2372061"/>
                    <a:pt x="922574" y="2372061"/>
                  </a:cubicBezTo>
                  <a:cubicBezTo>
                    <a:pt x="947851" y="2372061"/>
                    <a:pt x="960489" y="2344627"/>
                    <a:pt x="960489" y="2289760"/>
                  </a:cubicBezTo>
                  <a:cubicBezTo>
                    <a:pt x="960489" y="2232986"/>
                    <a:pt x="948102" y="2204600"/>
                    <a:pt x="923326" y="2204600"/>
                  </a:cubicBezTo>
                  <a:close/>
                  <a:moveTo>
                    <a:pt x="707049" y="2204600"/>
                  </a:moveTo>
                  <a:cubicBezTo>
                    <a:pt x="680870" y="2204600"/>
                    <a:pt x="667781" y="2233438"/>
                    <a:pt x="667781" y="2291114"/>
                  </a:cubicBezTo>
                  <a:cubicBezTo>
                    <a:pt x="667781" y="2345078"/>
                    <a:pt x="680621" y="2372061"/>
                    <a:pt x="706298" y="2372061"/>
                  </a:cubicBezTo>
                  <a:cubicBezTo>
                    <a:pt x="731575" y="2372061"/>
                    <a:pt x="744214" y="2344627"/>
                    <a:pt x="744214" y="2289760"/>
                  </a:cubicBezTo>
                  <a:cubicBezTo>
                    <a:pt x="744214" y="2232986"/>
                    <a:pt x="731826" y="2204600"/>
                    <a:pt x="707049" y="2204600"/>
                  </a:cubicBezTo>
                  <a:close/>
                  <a:moveTo>
                    <a:pt x="85445" y="2204600"/>
                  </a:moveTo>
                  <a:cubicBezTo>
                    <a:pt x="59265" y="2204600"/>
                    <a:pt x="46174" y="2233438"/>
                    <a:pt x="46174" y="2291114"/>
                  </a:cubicBezTo>
                  <a:cubicBezTo>
                    <a:pt x="46174" y="2345078"/>
                    <a:pt x="59012" y="2372061"/>
                    <a:pt x="84690" y="2372061"/>
                  </a:cubicBezTo>
                  <a:cubicBezTo>
                    <a:pt x="109967" y="2372061"/>
                    <a:pt x="122606" y="2344627"/>
                    <a:pt x="122606" y="2289760"/>
                  </a:cubicBezTo>
                  <a:cubicBezTo>
                    <a:pt x="122606" y="2232986"/>
                    <a:pt x="110219" y="2204600"/>
                    <a:pt x="85445" y="2204600"/>
                  </a:cubicBezTo>
                  <a:close/>
                  <a:moveTo>
                    <a:pt x="11989161" y="2176765"/>
                  </a:moveTo>
                  <a:cubicBezTo>
                    <a:pt x="12036605" y="2176765"/>
                    <a:pt x="12060328" y="2213628"/>
                    <a:pt x="12060328" y="2287352"/>
                  </a:cubicBezTo>
                  <a:cubicBezTo>
                    <a:pt x="12060328" y="2323864"/>
                    <a:pt x="12053632" y="2351724"/>
                    <a:pt x="12040242" y="2370932"/>
                  </a:cubicBezTo>
                  <a:cubicBezTo>
                    <a:pt x="12026851" y="2390140"/>
                    <a:pt x="12008119" y="2399745"/>
                    <a:pt x="11984045" y="2399745"/>
                  </a:cubicBezTo>
                  <a:cubicBezTo>
                    <a:pt x="11961577" y="2399745"/>
                    <a:pt x="11944048" y="2390567"/>
                    <a:pt x="11931460" y="2372211"/>
                  </a:cubicBezTo>
                  <a:cubicBezTo>
                    <a:pt x="11918871" y="2353855"/>
                    <a:pt x="11912577" y="2327324"/>
                    <a:pt x="11912577" y="2292619"/>
                  </a:cubicBezTo>
                  <a:cubicBezTo>
                    <a:pt x="11912577" y="2254502"/>
                    <a:pt x="11919147" y="2225664"/>
                    <a:pt x="11932287" y="2206104"/>
                  </a:cubicBezTo>
                  <a:cubicBezTo>
                    <a:pt x="11945428" y="2186545"/>
                    <a:pt x="11964385" y="2176765"/>
                    <a:pt x="11989161" y="2176765"/>
                  </a:cubicBezTo>
                  <a:close/>
                  <a:moveTo>
                    <a:pt x="11772651" y="2176765"/>
                  </a:moveTo>
                  <a:cubicBezTo>
                    <a:pt x="11820095" y="2176765"/>
                    <a:pt x="11843818" y="2213628"/>
                    <a:pt x="11843818" y="2287352"/>
                  </a:cubicBezTo>
                  <a:cubicBezTo>
                    <a:pt x="11843818" y="2323864"/>
                    <a:pt x="11837122" y="2351724"/>
                    <a:pt x="11823732" y="2370932"/>
                  </a:cubicBezTo>
                  <a:cubicBezTo>
                    <a:pt x="11810341" y="2390140"/>
                    <a:pt x="11791609" y="2399745"/>
                    <a:pt x="11767535" y="2399745"/>
                  </a:cubicBezTo>
                  <a:cubicBezTo>
                    <a:pt x="11745067" y="2399745"/>
                    <a:pt x="11727538" y="2390567"/>
                    <a:pt x="11714950" y="2372211"/>
                  </a:cubicBezTo>
                  <a:cubicBezTo>
                    <a:pt x="11702361" y="2353855"/>
                    <a:pt x="11696067" y="2327324"/>
                    <a:pt x="11696067" y="2292619"/>
                  </a:cubicBezTo>
                  <a:cubicBezTo>
                    <a:pt x="11696067" y="2254502"/>
                    <a:pt x="11702637" y="2225664"/>
                    <a:pt x="11715777" y="2206104"/>
                  </a:cubicBezTo>
                  <a:cubicBezTo>
                    <a:pt x="11728918" y="2186545"/>
                    <a:pt x="11747875" y="2176765"/>
                    <a:pt x="11772651" y="2176765"/>
                  </a:cubicBezTo>
                  <a:close/>
                  <a:moveTo>
                    <a:pt x="11621096" y="2176765"/>
                  </a:moveTo>
                  <a:lnTo>
                    <a:pt x="11636002" y="2176765"/>
                  </a:lnTo>
                  <a:lnTo>
                    <a:pt x="11636002" y="2399745"/>
                  </a:lnTo>
                  <a:lnTo>
                    <a:pt x="11600714" y="2399745"/>
                  </a:lnTo>
                  <a:lnTo>
                    <a:pt x="11600714" y="2219962"/>
                  </a:lnTo>
                  <a:cubicBezTo>
                    <a:pt x="11594326" y="2224525"/>
                    <a:pt x="11587456" y="2228403"/>
                    <a:pt x="11580105" y="2231597"/>
                  </a:cubicBezTo>
                  <a:cubicBezTo>
                    <a:pt x="11572753" y="2234792"/>
                    <a:pt x="11564362" y="2237605"/>
                    <a:pt x="11554932" y="2240039"/>
                  </a:cubicBezTo>
                  <a:lnTo>
                    <a:pt x="11554932" y="2209923"/>
                  </a:lnTo>
                  <a:cubicBezTo>
                    <a:pt x="11560813" y="2207997"/>
                    <a:pt x="11566492" y="2205968"/>
                    <a:pt x="11571967" y="2203839"/>
                  </a:cubicBezTo>
                  <a:cubicBezTo>
                    <a:pt x="11577443" y="2201710"/>
                    <a:pt x="11582843" y="2199326"/>
                    <a:pt x="11588166" y="2196690"/>
                  </a:cubicBezTo>
                  <a:cubicBezTo>
                    <a:pt x="11593490" y="2194054"/>
                    <a:pt x="11598864" y="2191113"/>
                    <a:pt x="11604289" y="2187868"/>
                  </a:cubicBezTo>
                  <a:cubicBezTo>
                    <a:pt x="11609714" y="2184624"/>
                    <a:pt x="11615316" y="2180922"/>
                    <a:pt x="11621096" y="2176765"/>
                  </a:cubicBezTo>
                  <a:close/>
                  <a:moveTo>
                    <a:pt x="11318321" y="2176765"/>
                  </a:moveTo>
                  <a:lnTo>
                    <a:pt x="11333227" y="2176765"/>
                  </a:lnTo>
                  <a:lnTo>
                    <a:pt x="11333227" y="2399745"/>
                  </a:lnTo>
                  <a:lnTo>
                    <a:pt x="11297939" y="2399745"/>
                  </a:lnTo>
                  <a:lnTo>
                    <a:pt x="11297939" y="2219962"/>
                  </a:lnTo>
                  <a:cubicBezTo>
                    <a:pt x="11291551" y="2224525"/>
                    <a:pt x="11284681" y="2228403"/>
                    <a:pt x="11277330" y="2231597"/>
                  </a:cubicBezTo>
                  <a:cubicBezTo>
                    <a:pt x="11269978" y="2234792"/>
                    <a:pt x="11261587" y="2237605"/>
                    <a:pt x="11252157" y="2240039"/>
                  </a:cubicBezTo>
                  <a:lnTo>
                    <a:pt x="11252157" y="2209923"/>
                  </a:lnTo>
                  <a:cubicBezTo>
                    <a:pt x="11258038" y="2207997"/>
                    <a:pt x="11263717" y="2205968"/>
                    <a:pt x="11269192" y="2203839"/>
                  </a:cubicBezTo>
                  <a:cubicBezTo>
                    <a:pt x="11274668" y="2201710"/>
                    <a:pt x="11280068" y="2199326"/>
                    <a:pt x="11285391" y="2196690"/>
                  </a:cubicBezTo>
                  <a:cubicBezTo>
                    <a:pt x="11290715" y="2194054"/>
                    <a:pt x="11296089" y="2191113"/>
                    <a:pt x="11301514" y="2187868"/>
                  </a:cubicBezTo>
                  <a:cubicBezTo>
                    <a:pt x="11306939" y="2184624"/>
                    <a:pt x="11312541" y="2180922"/>
                    <a:pt x="11318321" y="2176765"/>
                  </a:cubicBezTo>
                  <a:close/>
                  <a:moveTo>
                    <a:pt x="10941157" y="2176765"/>
                  </a:moveTo>
                  <a:lnTo>
                    <a:pt x="10956063" y="2176765"/>
                  </a:lnTo>
                  <a:lnTo>
                    <a:pt x="10956063" y="2399745"/>
                  </a:lnTo>
                  <a:lnTo>
                    <a:pt x="10920775" y="2399745"/>
                  </a:lnTo>
                  <a:lnTo>
                    <a:pt x="10920775" y="2219962"/>
                  </a:lnTo>
                  <a:cubicBezTo>
                    <a:pt x="10914387" y="2224525"/>
                    <a:pt x="10907517" y="2228403"/>
                    <a:pt x="10900166" y="2231597"/>
                  </a:cubicBezTo>
                  <a:cubicBezTo>
                    <a:pt x="10892814" y="2234792"/>
                    <a:pt x="10884423" y="2237605"/>
                    <a:pt x="10874993" y="2240039"/>
                  </a:cubicBezTo>
                  <a:lnTo>
                    <a:pt x="10874993" y="2209923"/>
                  </a:lnTo>
                  <a:cubicBezTo>
                    <a:pt x="10880874" y="2207997"/>
                    <a:pt x="10886553" y="2205968"/>
                    <a:pt x="10892028" y="2203839"/>
                  </a:cubicBezTo>
                  <a:cubicBezTo>
                    <a:pt x="10897504" y="2201710"/>
                    <a:pt x="10902904" y="2199326"/>
                    <a:pt x="10908227" y="2196690"/>
                  </a:cubicBezTo>
                  <a:cubicBezTo>
                    <a:pt x="10913551" y="2194054"/>
                    <a:pt x="10918925" y="2191113"/>
                    <a:pt x="10924350" y="2187868"/>
                  </a:cubicBezTo>
                  <a:cubicBezTo>
                    <a:pt x="10929775" y="2184624"/>
                    <a:pt x="10935377" y="2180922"/>
                    <a:pt x="10941157" y="2176765"/>
                  </a:cubicBezTo>
                  <a:close/>
                  <a:moveTo>
                    <a:pt x="10792300" y="2176765"/>
                  </a:moveTo>
                  <a:lnTo>
                    <a:pt x="10807206" y="2176765"/>
                  </a:lnTo>
                  <a:lnTo>
                    <a:pt x="10807206" y="2399745"/>
                  </a:lnTo>
                  <a:lnTo>
                    <a:pt x="10771918" y="2399745"/>
                  </a:lnTo>
                  <a:lnTo>
                    <a:pt x="10771918" y="2219962"/>
                  </a:lnTo>
                  <a:cubicBezTo>
                    <a:pt x="10765530" y="2224525"/>
                    <a:pt x="10758660" y="2228403"/>
                    <a:pt x="10751309" y="2231597"/>
                  </a:cubicBezTo>
                  <a:cubicBezTo>
                    <a:pt x="10743957" y="2234792"/>
                    <a:pt x="10735566" y="2237605"/>
                    <a:pt x="10726136" y="2240039"/>
                  </a:cubicBezTo>
                  <a:lnTo>
                    <a:pt x="10726136" y="2209923"/>
                  </a:lnTo>
                  <a:cubicBezTo>
                    <a:pt x="10732017" y="2207997"/>
                    <a:pt x="10737696" y="2205968"/>
                    <a:pt x="10743171" y="2203839"/>
                  </a:cubicBezTo>
                  <a:cubicBezTo>
                    <a:pt x="10748647" y="2201710"/>
                    <a:pt x="10754047" y="2199326"/>
                    <a:pt x="10759370" y="2196690"/>
                  </a:cubicBezTo>
                  <a:cubicBezTo>
                    <a:pt x="10764694" y="2194054"/>
                    <a:pt x="10770068" y="2191113"/>
                    <a:pt x="10775493" y="2187868"/>
                  </a:cubicBezTo>
                  <a:cubicBezTo>
                    <a:pt x="10780918" y="2184624"/>
                    <a:pt x="10786520" y="2180922"/>
                    <a:pt x="10792300" y="2176765"/>
                  </a:cubicBezTo>
                  <a:close/>
                  <a:moveTo>
                    <a:pt x="10638382" y="2176765"/>
                  </a:moveTo>
                  <a:lnTo>
                    <a:pt x="10653288" y="2176765"/>
                  </a:lnTo>
                  <a:lnTo>
                    <a:pt x="10653288" y="2399745"/>
                  </a:lnTo>
                  <a:lnTo>
                    <a:pt x="10618000" y="2399745"/>
                  </a:lnTo>
                  <a:lnTo>
                    <a:pt x="10618000" y="2219962"/>
                  </a:lnTo>
                  <a:cubicBezTo>
                    <a:pt x="10611612" y="2224525"/>
                    <a:pt x="10604742" y="2228403"/>
                    <a:pt x="10597391" y="2231597"/>
                  </a:cubicBezTo>
                  <a:cubicBezTo>
                    <a:pt x="10590039" y="2234792"/>
                    <a:pt x="10581648" y="2237605"/>
                    <a:pt x="10572218" y="2240039"/>
                  </a:cubicBezTo>
                  <a:lnTo>
                    <a:pt x="10572218" y="2209923"/>
                  </a:lnTo>
                  <a:cubicBezTo>
                    <a:pt x="10578099" y="2207997"/>
                    <a:pt x="10583778" y="2205968"/>
                    <a:pt x="10589253" y="2203839"/>
                  </a:cubicBezTo>
                  <a:cubicBezTo>
                    <a:pt x="10594729" y="2201710"/>
                    <a:pt x="10600129" y="2199326"/>
                    <a:pt x="10605452" y="2196690"/>
                  </a:cubicBezTo>
                  <a:cubicBezTo>
                    <a:pt x="10610776" y="2194054"/>
                    <a:pt x="10616150" y="2191113"/>
                    <a:pt x="10621575" y="2187868"/>
                  </a:cubicBezTo>
                  <a:cubicBezTo>
                    <a:pt x="10627000" y="2184624"/>
                    <a:pt x="10632602" y="2180922"/>
                    <a:pt x="10638382" y="2176765"/>
                  </a:cubicBezTo>
                  <a:close/>
                  <a:moveTo>
                    <a:pt x="10489525" y="2176765"/>
                  </a:moveTo>
                  <a:lnTo>
                    <a:pt x="10504431" y="2176765"/>
                  </a:lnTo>
                  <a:lnTo>
                    <a:pt x="10504431" y="2399745"/>
                  </a:lnTo>
                  <a:lnTo>
                    <a:pt x="10469143" y="2399745"/>
                  </a:lnTo>
                  <a:lnTo>
                    <a:pt x="10469143" y="2219962"/>
                  </a:lnTo>
                  <a:cubicBezTo>
                    <a:pt x="10462755" y="2224525"/>
                    <a:pt x="10455885" y="2228403"/>
                    <a:pt x="10448534" y="2231597"/>
                  </a:cubicBezTo>
                  <a:cubicBezTo>
                    <a:pt x="10441182" y="2234792"/>
                    <a:pt x="10432791" y="2237605"/>
                    <a:pt x="10423361" y="2240039"/>
                  </a:cubicBezTo>
                  <a:lnTo>
                    <a:pt x="10423361" y="2209923"/>
                  </a:lnTo>
                  <a:cubicBezTo>
                    <a:pt x="10429242" y="2207997"/>
                    <a:pt x="10434921" y="2205968"/>
                    <a:pt x="10440396" y="2203839"/>
                  </a:cubicBezTo>
                  <a:cubicBezTo>
                    <a:pt x="10445872" y="2201710"/>
                    <a:pt x="10451272" y="2199326"/>
                    <a:pt x="10456595" y="2196690"/>
                  </a:cubicBezTo>
                  <a:cubicBezTo>
                    <a:pt x="10461919" y="2194054"/>
                    <a:pt x="10467293" y="2191113"/>
                    <a:pt x="10472718" y="2187868"/>
                  </a:cubicBezTo>
                  <a:cubicBezTo>
                    <a:pt x="10478143" y="2184624"/>
                    <a:pt x="10483745" y="2180922"/>
                    <a:pt x="10489525" y="2176765"/>
                  </a:cubicBezTo>
                  <a:close/>
                  <a:moveTo>
                    <a:pt x="9768134" y="2176765"/>
                  </a:moveTo>
                  <a:lnTo>
                    <a:pt x="9783040" y="2176765"/>
                  </a:lnTo>
                  <a:lnTo>
                    <a:pt x="9783040" y="2399745"/>
                  </a:lnTo>
                  <a:lnTo>
                    <a:pt x="9747752" y="2399745"/>
                  </a:lnTo>
                  <a:lnTo>
                    <a:pt x="9747752" y="2219962"/>
                  </a:lnTo>
                  <a:cubicBezTo>
                    <a:pt x="9741364" y="2224525"/>
                    <a:pt x="9734494" y="2228403"/>
                    <a:pt x="9727143" y="2231597"/>
                  </a:cubicBezTo>
                  <a:cubicBezTo>
                    <a:pt x="9719791" y="2234792"/>
                    <a:pt x="9711400" y="2237605"/>
                    <a:pt x="9701970" y="2240039"/>
                  </a:cubicBezTo>
                  <a:lnTo>
                    <a:pt x="9701970" y="2209923"/>
                  </a:lnTo>
                  <a:cubicBezTo>
                    <a:pt x="9707851" y="2207997"/>
                    <a:pt x="9713530" y="2205968"/>
                    <a:pt x="9719005" y="2203839"/>
                  </a:cubicBezTo>
                  <a:cubicBezTo>
                    <a:pt x="9724481" y="2201710"/>
                    <a:pt x="9729881" y="2199326"/>
                    <a:pt x="9735204" y="2196690"/>
                  </a:cubicBezTo>
                  <a:cubicBezTo>
                    <a:pt x="9740528" y="2194054"/>
                    <a:pt x="9745902" y="2191113"/>
                    <a:pt x="9751327" y="2187868"/>
                  </a:cubicBezTo>
                  <a:cubicBezTo>
                    <a:pt x="9756752" y="2184624"/>
                    <a:pt x="9762354" y="2180922"/>
                    <a:pt x="9768134" y="2176765"/>
                  </a:cubicBezTo>
                  <a:close/>
                  <a:moveTo>
                    <a:pt x="9619277" y="2176765"/>
                  </a:moveTo>
                  <a:lnTo>
                    <a:pt x="9634183" y="2176765"/>
                  </a:lnTo>
                  <a:lnTo>
                    <a:pt x="9634183" y="2399745"/>
                  </a:lnTo>
                  <a:lnTo>
                    <a:pt x="9598895" y="2399745"/>
                  </a:lnTo>
                  <a:lnTo>
                    <a:pt x="9598895" y="2219962"/>
                  </a:lnTo>
                  <a:cubicBezTo>
                    <a:pt x="9592507" y="2224525"/>
                    <a:pt x="9585637" y="2228403"/>
                    <a:pt x="9578286" y="2231597"/>
                  </a:cubicBezTo>
                  <a:cubicBezTo>
                    <a:pt x="9570934" y="2234792"/>
                    <a:pt x="9562543" y="2237605"/>
                    <a:pt x="9553113" y="2240039"/>
                  </a:cubicBezTo>
                  <a:lnTo>
                    <a:pt x="9553113" y="2209923"/>
                  </a:lnTo>
                  <a:cubicBezTo>
                    <a:pt x="9558994" y="2207997"/>
                    <a:pt x="9564673" y="2205968"/>
                    <a:pt x="9570148" y="2203839"/>
                  </a:cubicBezTo>
                  <a:cubicBezTo>
                    <a:pt x="9575624" y="2201710"/>
                    <a:pt x="9581024" y="2199326"/>
                    <a:pt x="9586347" y="2196690"/>
                  </a:cubicBezTo>
                  <a:cubicBezTo>
                    <a:pt x="9591671" y="2194054"/>
                    <a:pt x="9597045" y="2191113"/>
                    <a:pt x="9602470" y="2187868"/>
                  </a:cubicBezTo>
                  <a:cubicBezTo>
                    <a:pt x="9607895" y="2184624"/>
                    <a:pt x="9613497" y="2180922"/>
                    <a:pt x="9619277" y="2176765"/>
                  </a:cubicBezTo>
                  <a:close/>
                  <a:moveTo>
                    <a:pt x="8816172" y="2176765"/>
                  </a:moveTo>
                  <a:lnTo>
                    <a:pt x="8831078" y="2176765"/>
                  </a:lnTo>
                  <a:lnTo>
                    <a:pt x="8831078" y="2399745"/>
                  </a:lnTo>
                  <a:lnTo>
                    <a:pt x="8795790" y="2399745"/>
                  </a:lnTo>
                  <a:lnTo>
                    <a:pt x="8795790" y="2219962"/>
                  </a:lnTo>
                  <a:cubicBezTo>
                    <a:pt x="8789402" y="2224525"/>
                    <a:pt x="8782532" y="2228403"/>
                    <a:pt x="8775181" y="2231597"/>
                  </a:cubicBezTo>
                  <a:cubicBezTo>
                    <a:pt x="8767829" y="2234792"/>
                    <a:pt x="8759438" y="2237605"/>
                    <a:pt x="8750008" y="2240039"/>
                  </a:cubicBezTo>
                  <a:lnTo>
                    <a:pt x="8750008" y="2209923"/>
                  </a:lnTo>
                  <a:cubicBezTo>
                    <a:pt x="8755889" y="2207997"/>
                    <a:pt x="8761568" y="2205968"/>
                    <a:pt x="8767043" y="2203839"/>
                  </a:cubicBezTo>
                  <a:cubicBezTo>
                    <a:pt x="8772519" y="2201710"/>
                    <a:pt x="8777919" y="2199326"/>
                    <a:pt x="8783242" y="2196690"/>
                  </a:cubicBezTo>
                  <a:cubicBezTo>
                    <a:pt x="8788566" y="2194054"/>
                    <a:pt x="8793940" y="2191113"/>
                    <a:pt x="8799365" y="2187868"/>
                  </a:cubicBezTo>
                  <a:cubicBezTo>
                    <a:pt x="8804790" y="2184624"/>
                    <a:pt x="8810392" y="2180922"/>
                    <a:pt x="8816172" y="2176765"/>
                  </a:cubicBezTo>
                  <a:close/>
                  <a:moveTo>
                    <a:pt x="8437565" y="2176765"/>
                  </a:moveTo>
                  <a:lnTo>
                    <a:pt x="8452471" y="2176765"/>
                  </a:lnTo>
                  <a:lnTo>
                    <a:pt x="8452471" y="2399745"/>
                  </a:lnTo>
                  <a:lnTo>
                    <a:pt x="8417183" y="2399745"/>
                  </a:lnTo>
                  <a:lnTo>
                    <a:pt x="8417183" y="2219962"/>
                  </a:lnTo>
                  <a:cubicBezTo>
                    <a:pt x="8410795" y="2224525"/>
                    <a:pt x="8403925" y="2228403"/>
                    <a:pt x="8396574" y="2231597"/>
                  </a:cubicBezTo>
                  <a:cubicBezTo>
                    <a:pt x="8389222" y="2234792"/>
                    <a:pt x="8380831" y="2237605"/>
                    <a:pt x="8371401" y="2240039"/>
                  </a:cubicBezTo>
                  <a:lnTo>
                    <a:pt x="8371401" y="2209923"/>
                  </a:lnTo>
                  <a:cubicBezTo>
                    <a:pt x="8377282" y="2207997"/>
                    <a:pt x="8382961" y="2205968"/>
                    <a:pt x="8388436" y="2203839"/>
                  </a:cubicBezTo>
                  <a:cubicBezTo>
                    <a:pt x="8393912" y="2201710"/>
                    <a:pt x="8399312" y="2199326"/>
                    <a:pt x="8404635" y="2196690"/>
                  </a:cubicBezTo>
                  <a:cubicBezTo>
                    <a:pt x="8409959" y="2194054"/>
                    <a:pt x="8415333" y="2191113"/>
                    <a:pt x="8420758" y="2187868"/>
                  </a:cubicBezTo>
                  <a:cubicBezTo>
                    <a:pt x="8426183" y="2184624"/>
                    <a:pt x="8431785" y="2180922"/>
                    <a:pt x="8437565" y="2176765"/>
                  </a:cubicBezTo>
                  <a:close/>
                  <a:moveTo>
                    <a:pt x="8288708" y="2176765"/>
                  </a:moveTo>
                  <a:lnTo>
                    <a:pt x="8303614" y="2176765"/>
                  </a:lnTo>
                  <a:lnTo>
                    <a:pt x="8303614" y="2399745"/>
                  </a:lnTo>
                  <a:lnTo>
                    <a:pt x="8268326" y="2399745"/>
                  </a:lnTo>
                  <a:lnTo>
                    <a:pt x="8268326" y="2219962"/>
                  </a:lnTo>
                  <a:cubicBezTo>
                    <a:pt x="8261938" y="2224525"/>
                    <a:pt x="8255069" y="2228403"/>
                    <a:pt x="8247717" y="2231597"/>
                  </a:cubicBezTo>
                  <a:cubicBezTo>
                    <a:pt x="8240365" y="2234792"/>
                    <a:pt x="8231975" y="2237605"/>
                    <a:pt x="8222544" y="2240039"/>
                  </a:cubicBezTo>
                  <a:lnTo>
                    <a:pt x="8222544" y="2209923"/>
                  </a:lnTo>
                  <a:cubicBezTo>
                    <a:pt x="8228425" y="2207997"/>
                    <a:pt x="8234104" y="2205968"/>
                    <a:pt x="8239579" y="2203839"/>
                  </a:cubicBezTo>
                  <a:cubicBezTo>
                    <a:pt x="8245055" y="2201710"/>
                    <a:pt x="8250455" y="2199326"/>
                    <a:pt x="8255778" y="2196690"/>
                  </a:cubicBezTo>
                  <a:cubicBezTo>
                    <a:pt x="8261102" y="2194054"/>
                    <a:pt x="8266476" y="2191113"/>
                    <a:pt x="8271901" y="2187868"/>
                  </a:cubicBezTo>
                  <a:cubicBezTo>
                    <a:pt x="8277326" y="2184624"/>
                    <a:pt x="8282928" y="2180922"/>
                    <a:pt x="8288708" y="2176765"/>
                  </a:cubicBezTo>
                  <a:close/>
                  <a:moveTo>
                    <a:pt x="8134790" y="2176765"/>
                  </a:moveTo>
                  <a:lnTo>
                    <a:pt x="8149696" y="2176765"/>
                  </a:lnTo>
                  <a:lnTo>
                    <a:pt x="8149696" y="2399745"/>
                  </a:lnTo>
                  <a:lnTo>
                    <a:pt x="8114408" y="2399745"/>
                  </a:lnTo>
                  <a:lnTo>
                    <a:pt x="8114408" y="2219962"/>
                  </a:lnTo>
                  <a:cubicBezTo>
                    <a:pt x="8108020" y="2224525"/>
                    <a:pt x="8101151" y="2228403"/>
                    <a:pt x="8093799" y="2231597"/>
                  </a:cubicBezTo>
                  <a:cubicBezTo>
                    <a:pt x="8086447" y="2234792"/>
                    <a:pt x="8078057" y="2237605"/>
                    <a:pt x="8068626" y="2240039"/>
                  </a:cubicBezTo>
                  <a:lnTo>
                    <a:pt x="8068626" y="2209923"/>
                  </a:lnTo>
                  <a:cubicBezTo>
                    <a:pt x="8074507" y="2207997"/>
                    <a:pt x="8080186" y="2205968"/>
                    <a:pt x="8085661" y="2203839"/>
                  </a:cubicBezTo>
                  <a:cubicBezTo>
                    <a:pt x="8091137" y="2201710"/>
                    <a:pt x="8096537" y="2199326"/>
                    <a:pt x="8101860" y="2196690"/>
                  </a:cubicBezTo>
                  <a:cubicBezTo>
                    <a:pt x="8107184" y="2194054"/>
                    <a:pt x="8112558" y="2191113"/>
                    <a:pt x="8117983" y="2187868"/>
                  </a:cubicBezTo>
                  <a:cubicBezTo>
                    <a:pt x="8123408" y="2184624"/>
                    <a:pt x="8129010" y="2180922"/>
                    <a:pt x="8134790" y="2176765"/>
                  </a:cubicBezTo>
                  <a:close/>
                  <a:moveTo>
                    <a:pt x="7985933" y="2176765"/>
                  </a:moveTo>
                  <a:lnTo>
                    <a:pt x="8000839" y="2176765"/>
                  </a:lnTo>
                  <a:lnTo>
                    <a:pt x="8000839" y="2399745"/>
                  </a:lnTo>
                  <a:lnTo>
                    <a:pt x="7965551" y="2399745"/>
                  </a:lnTo>
                  <a:lnTo>
                    <a:pt x="7965551" y="2219962"/>
                  </a:lnTo>
                  <a:cubicBezTo>
                    <a:pt x="7959163" y="2224525"/>
                    <a:pt x="7952294" y="2228403"/>
                    <a:pt x="7944942" y="2231597"/>
                  </a:cubicBezTo>
                  <a:cubicBezTo>
                    <a:pt x="7937590" y="2234792"/>
                    <a:pt x="7929200" y="2237605"/>
                    <a:pt x="7919769" y="2240039"/>
                  </a:cubicBezTo>
                  <a:lnTo>
                    <a:pt x="7919769" y="2209923"/>
                  </a:lnTo>
                  <a:cubicBezTo>
                    <a:pt x="7925650" y="2207997"/>
                    <a:pt x="7931329" y="2205968"/>
                    <a:pt x="7936804" y="2203839"/>
                  </a:cubicBezTo>
                  <a:cubicBezTo>
                    <a:pt x="7942280" y="2201710"/>
                    <a:pt x="7947680" y="2199326"/>
                    <a:pt x="7953003" y="2196690"/>
                  </a:cubicBezTo>
                  <a:cubicBezTo>
                    <a:pt x="7958327" y="2194054"/>
                    <a:pt x="7963701" y="2191113"/>
                    <a:pt x="7969126" y="2187868"/>
                  </a:cubicBezTo>
                  <a:cubicBezTo>
                    <a:pt x="7974551" y="2184624"/>
                    <a:pt x="7980153" y="2180922"/>
                    <a:pt x="7985933" y="2176765"/>
                  </a:cubicBezTo>
                  <a:close/>
                  <a:moveTo>
                    <a:pt x="7837076" y="2176765"/>
                  </a:moveTo>
                  <a:lnTo>
                    <a:pt x="7851982" y="2176765"/>
                  </a:lnTo>
                  <a:lnTo>
                    <a:pt x="7851982" y="2399745"/>
                  </a:lnTo>
                  <a:lnTo>
                    <a:pt x="7816694" y="2399745"/>
                  </a:lnTo>
                  <a:lnTo>
                    <a:pt x="7816694" y="2219962"/>
                  </a:lnTo>
                  <a:cubicBezTo>
                    <a:pt x="7810306" y="2224525"/>
                    <a:pt x="7803437" y="2228403"/>
                    <a:pt x="7796085" y="2231597"/>
                  </a:cubicBezTo>
                  <a:cubicBezTo>
                    <a:pt x="7788733" y="2234792"/>
                    <a:pt x="7780343" y="2237605"/>
                    <a:pt x="7770912" y="2240039"/>
                  </a:cubicBezTo>
                  <a:lnTo>
                    <a:pt x="7770912" y="2209923"/>
                  </a:lnTo>
                  <a:cubicBezTo>
                    <a:pt x="7776793" y="2207997"/>
                    <a:pt x="7782472" y="2205968"/>
                    <a:pt x="7787947" y="2203839"/>
                  </a:cubicBezTo>
                  <a:cubicBezTo>
                    <a:pt x="7793423" y="2201710"/>
                    <a:pt x="7798823" y="2199326"/>
                    <a:pt x="7804146" y="2196690"/>
                  </a:cubicBezTo>
                  <a:cubicBezTo>
                    <a:pt x="7809470" y="2194054"/>
                    <a:pt x="7814844" y="2191113"/>
                    <a:pt x="7820269" y="2187868"/>
                  </a:cubicBezTo>
                  <a:cubicBezTo>
                    <a:pt x="7825694" y="2184624"/>
                    <a:pt x="7831296" y="2180922"/>
                    <a:pt x="7837076" y="2176765"/>
                  </a:cubicBezTo>
                  <a:close/>
                  <a:moveTo>
                    <a:pt x="7484989" y="2176765"/>
                  </a:moveTo>
                  <a:lnTo>
                    <a:pt x="7499895" y="2176765"/>
                  </a:lnTo>
                  <a:lnTo>
                    <a:pt x="7499895" y="2399745"/>
                  </a:lnTo>
                  <a:lnTo>
                    <a:pt x="7464607" y="2399745"/>
                  </a:lnTo>
                  <a:lnTo>
                    <a:pt x="7464607" y="2219962"/>
                  </a:lnTo>
                  <a:cubicBezTo>
                    <a:pt x="7458219" y="2224525"/>
                    <a:pt x="7451350" y="2228403"/>
                    <a:pt x="7443998" y="2231597"/>
                  </a:cubicBezTo>
                  <a:cubicBezTo>
                    <a:pt x="7436646" y="2234792"/>
                    <a:pt x="7428256" y="2237605"/>
                    <a:pt x="7418825" y="2240039"/>
                  </a:cubicBezTo>
                  <a:lnTo>
                    <a:pt x="7418825" y="2209923"/>
                  </a:lnTo>
                  <a:cubicBezTo>
                    <a:pt x="7424706" y="2207997"/>
                    <a:pt x="7430385" y="2205968"/>
                    <a:pt x="7435860" y="2203839"/>
                  </a:cubicBezTo>
                  <a:cubicBezTo>
                    <a:pt x="7441336" y="2201710"/>
                    <a:pt x="7446736" y="2199326"/>
                    <a:pt x="7452059" y="2196690"/>
                  </a:cubicBezTo>
                  <a:cubicBezTo>
                    <a:pt x="7457383" y="2194054"/>
                    <a:pt x="7462757" y="2191113"/>
                    <a:pt x="7468182" y="2187868"/>
                  </a:cubicBezTo>
                  <a:cubicBezTo>
                    <a:pt x="7473607" y="2184624"/>
                    <a:pt x="7479209" y="2180922"/>
                    <a:pt x="7484989" y="2176765"/>
                  </a:cubicBezTo>
                  <a:close/>
                  <a:moveTo>
                    <a:pt x="7187275" y="2176765"/>
                  </a:moveTo>
                  <a:lnTo>
                    <a:pt x="7202181" y="2176765"/>
                  </a:lnTo>
                  <a:lnTo>
                    <a:pt x="7202181" y="2399745"/>
                  </a:lnTo>
                  <a:lnTo>
                    <a:pt x="7166893" y="2399745"/>
                  </a:lnTo>
                  <a:lnTo>
                    <a:pt x="7166893" y="2219962"/>
                  </a:lnTo>
                  <a:cubicBezTo>
                    <a:pt x="7160505" y="2224525"/>
                    <a:pt x="7153636" y="2228403"/>
                    <a:pt x="7146284" y="2231597"/>
                  </a:cubicBezTo>
                  <a:cubicBezTo>
                    <a:pt x="7138932" y="2234792"/>
                    <a:pt x="7130542" y="2237605"/>
                    <a:pt x="7121111" y="2240039"/>
                  </a:cubicBezTo>
                  <a:lnTo>
                    <a:pt x="7121111" y="2209923"/>
                  </a:lnTo>
                  <a:cubicBezTo>
                    <a:pt x="7126992" y="2207997"/>
                    <a:pt x="7132671" y="2205968"/>
                    <a:pt x="7138146" y="2203839"/>
                  </a:cubicBezTo>
                  <a:cubicBezTo>
                    <a:pt x="7143622" y="2201710"/>
                    <a:pt x="7149022" y="2199326"/>
                    <a:pt x="7154345" y="2196690"/>
                  </a:cubicBezTo>
                  <a:cubicBezTo>
                    <a:pt x="7159669" y="2194054"/>
                    <a:pt x="7165043" y="2191113"/>
                    <a:pt x="7170468" y="2187868"/>
                  </a:cubicBezTo>
                  <a:cubicBezTo>
                    <a:pt x="7175893" y="2184624"/>
                    <a:pt x="7181495" y="2180922"/>
                    <a:pt x="7187275" y="2176765"/>
                  </a:cubicBezTo>
                  <a:close/>
                  <a:moveTo>
                    <a:pt x="6977863" y="2176765"/>
                  </a:moveTo>
                  <a:cubicBezTo>
                    <a:pt x="7025308" y="2176765"/>
                    <a:pt x="7049030" y="2213628"/>
                    <a:pt x="7049030" y="2287352"/>
                  </a:cubicBezTo>
                  <a:cubicBezTo>
                    <a:pt x="7049030" y="2323864"/>
                    <a:pt x="7042335" y="2351724"/>
                    <a:pt x="7028944" y="2370932"/>
                  </a:cubicBezTo>
                  <a:cubicBezTo>
                    <a:pt x="7015553" y="2390140"/>
                    <a:pt x="6996821" y="2399745"/>
                    <a:pt x="6972747" y="2399745"/>
                  </a:cubicBezTo>
                  <a:cubicBezTo>
                    <a:pt x="6950279" y="2399745"/>
                    <a:pt x="6932750" y="2390567"/>
                    <a:pt x="6920162" y="2372211"/>
                  </a:cubicBezTo>
                  <a:cubicBezTo>
                    <a:pt x="6907573" y="2353855"/>
                    <a:pt x="6901279" y="2327324"/>
                    <a:pt x="6901279" y="2292619"/>
                  </a:cubicBezTo>
                  <a:cubicBezTo>
                    <a:pt x="6901279" y="2254502"/>
                    <a:pt x="6907849" y="2225664"/>
                    <a:pt x="6920989" y="2206104"/>
                  </a:cubicBezTo>
                  <a:cubicBezTo>
                    <a:pt x="6934130" y="2186545"/>
                    <a:pt x="6953087" y="2176765"/>
                    <a:pt x="6977863" y="2176765"/>
                  </a:cubicBezTo>
                  <a:close/>
                  <a:moveTo>
                    <a:pt x="6761353" y="2176765"/>
                  </a:moveTo>
                  <a:cubicBezTo>
                    <a:pt x="6808798" y="2176765"/>
                    <a:pt x="6832520" y="2213628"/>
                    <a:pt x="6832520" y="2287352"/>
                  </a:cubicBezTo>
                  <a:cubicBezTo>
                    <a:pt x="6832520" y="2323864"/>
                    <a:pt x="6825825" y="2351724"/>
                    <a:pt x="6812434" y="2370932"/>
                  </a:cubicBezTo>
                  <a:cubicBezTo>
                    <a:pt x="6799043" y="2390140"/>
                    <a:pt x="6780311" y="2399745"/>
                    <a:pt x="6756237" y="2399745"/>
                  </a:cubicBezTo>
                  <a:cubicBezTo>
                    <a:pt x="6733769" y="2399745"/>
                    <a:pt x="6716240" y="2390567"/>
                    <a:pt x="6703652" y="2372211"/>
                  </a:cubicBezTo>
                  <a:cubicBezTo>
                    <a:pt x="6691063" y="2353855"/>
                    <a:pt x="6684769" y="2327324"/>
                    <a:pt x="6684769" y="2292619"/>
                  </a:cubicBezTo>
                  <a:cubicBezTo>
                    <a:pt x="6684769" y="2254502"/>
                    <a:pt x="6691339" y="2225664"/>
                    <a:pt x="6704479" y="2206104"/>
                  </a:cubicBezTo>
                  <a:cubicBezTo>
                    <a:pt x="6717620" y="2186545"/>
                    <a:pt x="6736577" y="2176765"/>
                    <a:pt x="6761353" y="2176765"/>
                  </a:cubicBezTo>
                  <a:close/>
                  <a:moveTo>
                    <a:pt x="6615046" y="2176765"/>
                  </a:moveTo>
                  <a:lnTo>
                    <a:pt x="6629952" y="2176765"/>
                  </a:lnTo>
                  <a:lnTo>
                    <a:pt x="6629952" y="2399745"/>
                  </a:lnTo>
                  <a:lnTo>
                    <a:pt x="6594664" y="2399745"/>
                  </a:lnTo>
                  <a:lnTo>
                    <a:pt x="6594664" y="2219962"/>
                  </a:lnTo>
                  <a:cubicBezTo>
                    <a:pt x="6588276" y="2224525"/>
                    <a:pt x="6581407" y="2228403"/>
                    <a:pt x="6574055" y="2231597"/>
                  </a:cubicBezTo>
                  <a:cubicBezTo>
                    <a:pt x="6566703" y="2234792"/>
                    <a:pt x="6558313" y="2237605"/>
                    <a:pt x="6548882" y="2240039"/>
                  </a:cubicBezTo>
                  <a:lnTo>
                    <a:pt x="6548882" y="2209923"/>
                  </a:lnTo>
                  <a:cubicBezTo>
                    <a:pt x="6554763" y="2207997"/>
                    <a:pt x="6560442" y="2205968"/>
                    <a:pt x="6565917" y="2203839"/>
                  </a:cubicBezTo>
                  <a:cubicBezTo>
                    <a:pt x="6571393" y="2201710"/>
                    <a:pt x="6576793" y="2199326"/>
                    <a:pt x="6582116" y="2196690"/>
                  </a:cubicBezTo>
                  <a:cubicBezTo>
                    <a:pt x="6587440" y="2194054"/>
                    <a:pt x="6592814" y="2191113"/>
                    <a:pt x="6598239" y="2187868"/>
                  </a:cubicBezTo>
                  <a:cubicBezTo>
                    <a:pt x="6603664" y="2184624"/>
                    <a:pt x="6609266" y="2180922"/>
                    <a:pt x="6615046" y="2176765"/>
                  </a:cubicBezTo>
                  <a:close/>
                  <a:moveTo>
                    <a:pt x="6317332" y="2176765"/>
                  </a:moveTo>
                  <a:lnTo>
                    <a:pt x="6332238" y="2176765"/>
                  </a:lnTo>
                  <a:lnTo>
                    <a:pt x="6332238" y="2399745"/>
                  </a:lnTo>
                  <a:lnTo>
                    <a:pt x="6296950" y="2399745"/>
                  </a:lnTo>
                  <a:lnTo>
                    <a:pt x="6296950" y="2219962"/>
                  </a:lnTo>
                  <a:cubicBezTo>
                    <a:pt x="6290562" y="2224525"/>
                    <a:pt x="6283693" y="2228403"/>
                    <a:pt x="6276341" y="2231597"/>
                  </a:cubicBezTo>
                  <a:cubicBezTo>
                    <a:pt x="6268989" y="2234792"/>
                    <a:pt x="6260599" y="2237605"/>
                    <a:pt x="6251168" y="2240039"/>
                  </a:cubicBezTo>
                  <a:lnTo>
                    <a:pt x="6251168" y="2209923"/>
                  </a:lnTo>
                  <a:cubicBezTo>
                    <a:pt x="6257049" y="2207997"/>
                    <a:pt x="6262728" y="2205968"/>
                    <a:pt x="6268203" y="2203839"/>
                  </a:cubicBezTo>
                  <a:cubicBezTo>
                    <a:pt x="6273679" y="2201710"/>
                    <a:pt x="6279079" y="2199326"/>
                    <a:pt x="6284402" y="2196690"/>
                  </a:cubicBezTo>
                  <a:cubicBezTo>
                    <a:pt x="6289726" y="2194054"/>
                    <a:pt x="6295100" y="2191113"/>
                    <a:pt x="6300525" y="2187868"/>
                  </a:cubicBezTo>
                  <a:cubicBezTo>
                    <a:pt x="6305950" y="2184624"/>
                    <a:pt x="6311552" y="2180922"/>
                    <a:pt x="6317332" y="2176765"/>
                  </a:cubicBezTo>
                  <a:close/>
                  <a:moveTo>
                    <a:pt x="6143576" y="2176765"/>
                  </a:moveTo>
                  <a:cubicBezTo>
                    <a:pt x="6191021" y="2176765"/>
                    <a:pt x="6214743" y="2213628"/>
                    <a:pt x="6214743" y="2287352"/>
                  </a:cubicBezTo>
                  <a:cubicBezTo>
                    <a:pt x="6214743" y="2323864"/>
                    <a:pt x="6208048" y="2351724"/>
                    <a:pt x="6194657" y="2370932"/>
                  </a:cubicBezTo>
                  <a:cubicBezTo>
                    <a:pt x="6181266" y="2390140"/>
                    <a:pt x="6162534" y="2399745"/>
                    <a:pt x="6138460" y="2399745"/>
                  </a:cubicBezTo>
                  <a:cubicBezTo>
                    <a:pt x="6115992" y="2399745"/>
                    <a:pt x="6098463" y="2390567"/>
                    <a:pt x="6085875" y="2372211"/>
                  </a:cubicBezTo>
                  <a:cubicBezTo>
                    <a:pt x="6073286" y="2353855"/>
                    <a:pt x="6066992" y="2327324"/>
                    <a:pt x="6066992" y="2292619"/>
                  </a:cubicBezTo>
                  <a:cubicBezTo>
                    <a:pt x="6066992" y="2254502"/>
                    <a:pt x="6073562" y="2225664"/>
                    <a:pt x="6086702" y="2206104"/>
                  </a:cubicBezTo>
                  <a:cubicBezTo>
                    <a:pt x="6099843" y="2186545"/>
                    <a:pt x="6118800" y="2176765"/>
                    <a:pt x="6143576" y="2176765"/>
                  </a:cubicBezTo>
                  <a:close/>
                  <a:moveTo>
                    <a:pt x="5927066" y="2176765"/>
                  </a:moveTo>
                  <a:cubicBezTo>
                    <a:pt x="5974510" y="2176765"/>
                    <a:pt x="5998233" y="2213628"/>
                    <a:pt x="5998233" y="2287352"/>
                  </a:cubicBezTo>
                  <a:cubicBezTo>
                    <a:pt x="5998233" y="2323864"/>
                    <a:pt x="5991537" y="2351724"/>
                    <a:pt x="5978148" y="2370932"/>
                  </a:cubicBezTo>
                  <a:cubicBezTo>
                    <a:pt x="5964756" y="2390140"/>
                    <a:pt x="5946024" y="2399745"/>
                    <a:pt x="5921951" y="2399745"/>
                  </a:cubicBezTo>
                  <a:cubicBezTo>
                    <a:pt x="5899481" y="2399745"/>
                    <a:pt x="5881953" y="2390567"/>
                    <a:pt x="5869364" y="2372211"/>
                  </a:cubicBezTo>
                  <a:cubicBezTo>
                    <a:pt x="5856776" y="2353855"/>
                    <a:pt x="5850483" y="2327324"/>
                    <a:pt x="5850483" y="2292619"/>
                  </a:cubicBezTo>
                  <a:cubicBezTo>
                    <a:pt x="5850483" y="2254502"/>
                    <a:pt x="5857053" y="2225664"/>
                    <a:pt x="5870192" y="2206104"/>
                  </a:cubicBezTo>
                  <a:cubicBezTo>
                    <a:pt x="5883332" y="2186545"/>
                    <a:pt x="5902290" y="2176765"/>
                    <a:pt x="5927066" y="2176765"/>
                  </a:cubicBezTo>
                  <a:close/>
                  <a:moveTo>
                    <a:pt x="5702958" y="2176765"/>
                  </a:moveTo>
                  <a:cubicBezTo>
                    <a:pt x="5750404" y="2176765"/>
                    <a:pt x="5774126" y="2213628"/>
                    <a:pt x="5774126" y="2287352"/>
                  </a:cubicBezTo>
                  <a:cubicBezTo>
                    <a:pt x="5774126" y="2323864"/>
                    <a:pt x="5767431" y="2351724"/>
                    <a:pt x="5754041" y="2370932"/>
                  </a:cubicBezTo>
                  <a:cubicBezTo>
                    <a:pt x="5740649" y="2390140"/>
                    <a:pt x="5721916" y="2399745"/>
                    <a:pt x="5697845" y="2399745"/>
                  </a:cubicBezTo>
                  <a:cubicBezTo>
                    <a:pt x="5675374" y="2399745"/>
                    <a:pt x="5657847" y="2390567"/>
                    <a:pt x="5645258" y="2372211"/>
                  </a:cubicBezTo>
                  <a:cubicBezTo>
                    <a:pt x="5632670" y="2353855"/>
                    <a:pt x="5626376" y="2327324"/>
                    <a:pt x="5626376" y="2292619"/>
                  </a:cubicBezTo>
                  <a:cubicBezTo>
                    <a:pt x="5626376" y="2254502"/>
                    <a:pt x="5632945" y="2225664"/>
                    <a:pt x="5646086" y="2206104"/>
                  </a:cubicBezTo>
                  <a:cubicBezTo>
                    <a:pt x="5659226" y="2186545"/>
                    <a:pt x="5678184" y="2176765"/>
                    <a:pt x="5702958" y="2176765"/>
                  </a:cubicBezTo>
                  <a:close/>
                  <a:moveTo>
                    <a:pt x="5545678" y="2176765"/>
                  </a:moveTo>
                  <a:lnTo>
                    <a:pt x="5560587" y="2176765"/>
                  </a:lnTo>
                  <a:lnTo>
                    <a:pt x="5560587" y="2399745"/>
                  </a:lnTo>
                  <a:lnTo>
                    <a:pt x="5525299" y="2399745"/>
                  </a:lnTo>
                  <a:lnTo>
                    <a:pt x="5525299" y="2219962"/>
                  </a:lnTo>
                  <a:cubicBezTo>
                    <a:pt x="5518910" y="2224525"/>
                    <a:pt x="5512039" y="2228403"/>
                    <a:pt x="5504689" y="2231597"/>
                  </a:cubicBezTo>
                  <a:cubicBezTo>
                    <a:pt x="5497337" y="2234792"/>
                    <a:pt x="5488945" y="2237605"/>
                    <a:pt x="5479516" y="2240039"/>
                  </a:cubicBezTo>
                  <a:lnTo>
                    <a:pt x="5479516" y="2209923"/>
                  </a:lnTo>
                  <a:cubicBezTo>
                    <a:pt x="5485396" y="2207997"/>
                    <a:pt x="5491075" y="2205968"/>
                    <a:pt x="5496550" y="2203839"/>
                  </a:cubicBezTo>
                  <a:cubicBezTo>
                    <a:pt x="5502026" y="2201710"/>
                    <a:pt x="5507425" y="2199326"/>
                    <a:pt x="5512750" y="2196690"/>
                  </a:cubicBezTo>
                  <a:cubicBezTo>
                    <a:pt x="5518072" y="2194054"/>
                    <a:pt x="5523447" y="2191113"/>
                    <a:pt x="5528872" y="2187868"/>
                  </a:cubicBezTo>
                  <a:cubicBezTo>
                    <a:pt x="5534298" y="2184624"/>
                    <a:pt x="5539899" y="2180922"/>
                    <a:pt x="5545678" y="2176765"/>
                  </a:cubicBezTo>
                  <a:close/>
                  <a:moveTo>
                    <a:pt x="5247965" y="2176765"/>
                  </a:moveTo>
                  <a:lnTo>
                    <a:pt x="5262872" y="2176765"/>
                  </a:lnTo>
                  <a:lnTo>
                    <a:pt x="5262872" y="2399745"/>
                  </a:lnTo>
                  <a:lnTo>
                    <a:pt x="5227584" y="2399745"/>
                  </a:lnTo>
                  <a:lnTo>
                    <a:pt x="5227584" y="2219962"/>
                  </a:lnTo>
                  <a:cubicBezTo>
                    <a:pt x="5221197" y="2224525"/>
                    <a:pt x="5214327" y="2228403"/>
                    <a:pt x="5206974" y="2231597"/>
                  </a:cubicBezTo>
                  <a:cubicBezTo>
                    <a:pt x="5199623" y="2234792"/>
                    <a:pt x="5191232" y="2237605"/>
                    <a:pt x="5181802" y="2240039"/>
                  </a:cubicBezTo>
                  <a:lnTo>
                    <a:pt x="5181802" y="2209923"/>
                  </a:lnTo>
                  <a:cubicBezTo>
                    <a:pt x="5187683" y="2207997"/>
                    <a:pt x="5193361" y="2205968"/>
                    <a:pt x="5198836" y="2203839"/>
                  </a:cubicBezTo>
                  <a:cubicBezTo>
                    <a:pt x="5204313" y="2201710"/>
                    <a:pt x="5209712" y="2199326"/>
                    <a:pt x="5215036" y="2196690"/>
                  </a:cubicBezTo>
                  <a:cubicBezTo>
                    <a:pt x="5220359" y="2194054"/>
                    <a:pt x="5225733" y="2191113"/>
                    <a:pt x="5231158" y="2187868"/>
                  </a:cubicBezTo>
                  <a:cubicBezTo>
                    <a:pt x="5236583" y="2184624"/>
                    <a:pt x="5242185" y="2180922"/>
                    <a:pt x="5247965" y="2176765"/>
                  </a:cubicBezTo>
                  <a:close/>
                  <a:moveTo>
                    <a:pt x="4873220" y="2176765"/>
                  </a:moveTo>
                  <a:lnTo>
                    <a:pt x="4888126" y="2176765"/>
                  </a:lnTo>
                  <a:lnTo>
                    <a:pt x="4888126" y="2399745"/>
                  </a:lnTo>
                  <a:lnTo>
                    <a:pt x="4852838" y="2399745"/>
                  </a:lnTo>
                  <a:lnTo>
                    <a:pt x="4852838" y="2219962"/>
                  </a:lnTo>
                  <a:cubicBezTo>
                    <a:pt x="4846450" y="2224525"/>
                    <a:pt x="4839580" y="2228403"/>
                    <a:pt x="4832228" y="2231597"/>
                  </a:cubicBezTo>
                  <a:cubicBezTo>
                    <a:pt x="4824878" y="2234792"/>
                    <a:pt x="4816488" y="2237605"/>
                    <a:pt x="4807057" y="2240039"/>
                  </a:cubicBezTo>
                  <a:lnTo>
                    <a:pt x="4807057" y="2209923"/>
                  </a:lnTo>
                  <a:cubicBezTo>
                    <a:pt x="4812938" y="2207997"/>
                    <a:pt x="4818616" y="2205968"/>
                    <a:pt x="4824092" y="2203839"/>
                  </a:cubicBezTo>
                  <a:cubicBezTo>
                    <a:pt x="4829568" y="2201710"/>
                    <a:pt x="4834966" y="2199326"/>
                    <a:pt x="4840292" y="2196690"/>
                  </a:cubicBezTo>
                  <a:cubicBezTo>
                    <a:pt x="4845614" y="2194054"/>
                    <a:pt x="4850988" y="2191113"/>
                    <a:pt x="4856413" y="2187868"/>
                  </a:cubicBezTo>
                  <a:cubicBezTo>
                    <a:pt x="4861838" y="2184624"/>
                    <a:pt x="4867440" y="2180922"/>
                    <a:pt x="4873220" y="2176765"/>
                  </a:cubicBezTo>
                  <a:close/>
                  <a:moveTo>
                    <a:pt x="4729612" y="2176765"/>
                  </a:moveTo>
                  <a:lnTo>
                    <a:pt x="4744518" y="2176765"/>
                  </a:lnTo>
                  <a:lnTo>
                    <a:pt x="4744518" y="2399745"/>
                  </a:lnTo>
                  <a:lnTo>
                    <a:pt x="4709230" y="2399745"/>
                  </a:lnTo>
                  <a:lnTo>
                    <a:pt x="4709230" y="2219962"/>
                  </a:lnTo>
                  <a:cubicBezTo>
                    <a:pt x="4702842" y="2224525"/>
                    <a:pt x="4695973" y="2228403"/>
                    <a:pt x="4688621" y="2231597"/>
                  </a:cubicBezTo>
                  <a:cubicBezTo>
                    <a:pt x="4681270" y="2234792"/>
                    <a:pt x="4672879" y="2237605"/>
                    <a:pt x="4663449" y="2240039"/>
                  </a:cubicBezTo>
                  <a:lnTo>
                    <a:pt x="4663449" y="2209923"/>
                  </a:lnTo>
                  <a:cubicBezTo>
                    <a:pt x="4669329" y="2207997"/>
                    <a:pt x="4675008" y="2205968"/>
                    <a:pt x="4680483" y="2203839"/>
                  </a:cubicBezTo>
                  <a:cubicBezTo>
                    <a:pt x="4685960" y="2201710"/>
                    <a:pt x="4691358" y="2199326"/>
                    <a:pt x="4696683" y="2196690"/>
                  </a:cubicBezTo>
                  <a:cubicBezTo>
                    <a:pt x="4702006" y="2194054"/>
                    <a:pt x="4707380" y="2191113"/>
                    <a:pt x="4712804" y="2187868"/>
                  </a:cubicBezTo>
                  <a:cubicBezTo>
                    <a:pt x="4718231" y="2184624"/>
                    <a:pt x="4723832" y="2180922"/>
                    <a:pt x="4729612" y="2176765"/>
                  </a:cubicBezTo>
                  <a:close/>
                  <a:moveTo>
                    <a:pt x="4586004" y="2176765"/>
                  </a:moveTo>
                  <a:lnTo>
                    <a:pt x="4600910" y="2176765"/>
                  </a:lnTo>
                  <a:lnTo>
                    <a:pt x="4600910" y="2399745"/>
                  </a:lnTo>
                  <a:lnTo>
                    <a:pt x="4565622" y="2399745"/>
                  </a:lnTo>
                  <a:lnTo>
                    <a:pt x="4565622" y="2219962"/>
                  </a:lnTo>
                  <a:cubicBezTo>
                    <a:pt x="4559235" y="2224525"/>
                    <a:pt x="4552364" y="2228403"/>
                    <a:pt x="4545013" y="2231597"/>
                  </a:cubicBezTo>
                  <a:cubicBezTo>
                    <a:pt x="4537661" y="2234792"/>
                    <a:pt x="4529271" y="2237605"/>
                    <a:pt x="4519841" y="2240039"/>
                  </a:cubicBezTo>
                  <a:lnTo>
                    <a:pt x="4519841" y="2209923"/>
                  </a:lnTo>
                  <a:cubicBezTo>
                    <a:pt x="4525721" y="2207997"/>
                    <a:pt x="4531400" y="2205968"/>
                    <a:pt x="4536875" y="2203839"/>
                  </a:cubicBezTo>
                  <a:cubicBezTo>
                    <a:pt x="4542352" y="2201710"/>
                    <a:pt x="4547750" y="2199326"/>
                    <a:pt x="4553076" y="2196690"/>
                  </a:cubicBezTo>
                  <a:cubicBezTo>
                    <a:pt x="4558398" y="2194054"/>
                    <a:pt x="4563773" y="2191113"/>
                    <a:pt x="4569196" y="2187868"/>
                  </a:cubicBezTo>
                  <a:cubicBezTo>
                    <a:pt x="4574624" y="2184624"/>
                    <a:pt x="4580224" y="2180922"/>
                    <a:pt x="4586004" y="2176765"/>
                  </a:cubicBezTo>
                  <a:close/>
                  <a:moveTo>
                    <a:pt x="4442396" y="2176765"/>
                  </a:moveTo>
                  <a:lnTo>
                    <a:pt x="4457303" y="2176765"/>
                  </a:lnTo>
                  <a:lnTo>
                    <a:pt x="4457303" y="2399745"/>
                  </a:lnTo>
                  <a:lnTo>
                    <a:pt x="4422014" y="2399745"/>
                  </a:lnTo>
                  <a:lnTo>
                    <a:pt x="4422014" y="2219962"/>
                  </a:lnTo>
                  <a:cubicBezTo>
                    <a:pt x="4415627" y="2224525"/>
                    <a:pt x="4408756" y="2228403"/>
                    <a:pt x="4401405" y="2231597"/>
                  </a:cubicBezTo>
                  <a:cubicBezTo>
                    <a:pt x="4394053" y="2234792"/>
                    <a:pt x="4385663" y="2237605"/>
                    <a:pt x="4376233" y="2240039"/>
                  </a:cubicBezTo>
                  <a:lnTo>
                    <a:pt x="4376233" y="2209923"/>
                  </a:lnTo>
                  <a:cubicBezTo>
                    <a:pt x="4382113" y="2207997"/>
                    <a:pt x="4387792" y="2205968"/>
                    <a:pt x="4393267" y="2203839"/>
                  </a:cubicBezTo>
                  <a:cubicBezTo>
                    <a:pt x="4398744" y="2201710"/>
                    <a:pt x="4404142" y="2199326"/>
                    <a:pt x="4409467" y="2196690"/>
                  </a:cubicBezTo>
                  <a:cubicBezTo>
                    <a:pt x="4414790" y="2194054"/>
                    <a:pt x="4420165" y="2191113"/>
                    <a:pt x="4425590" y="2187868"/>
                  </a:cubicBezTo>
                  <a:cubicBezTo>
                    <a:pt x="4431016" y="2184624"/>
                    <a:pt x="4436616" y="2180922"/>
                    <a:pt x="4442396" y="2176765"/>
                  </a:cubicBezTo>
                  <a:close/>
                  <a:moveTo>
                    <a:pt x="3702228" y="2176765"/>
                  </a:moveTo>
                  <a:lnTo>
                    <a:pt x="3717133" y="2176765"/>
                  </a:lnTo>
                  <a:lnTo>
                    <a:pt x="3717133" y="2399745"/>
                  </a:lnTo>
                  <a:lnTo>
                    <a:pt x="3681845" y="2399745"/>
                  </a:lnTo>
                  <a:lnTo>
                    <a:pt x="3681845" y="2219962"/>
                  </a:lnTo>
                  <a:cubicBezTo>
                    <a:pt x="3675458" y="2224525"/>
                    <a:pt x="3668588" y="2228403"/>
                    <a:pt x="3661236" y="2231597"/>
                  </a:cubicBezTo>
                  <a:cubicBezTo>
                    <a:pt x="3653885" y="2234792"/>
                    <a:pt x="3645492" y="2237605"/>
                    <a:pt x="3636063" y="2240039"/>
                  </a:cubicBezTo>
                  <a:lnTo>
                    <a:pt x="3636063" y="2209923"/>
                  </a:lnTo>
                  <a:cubicBezTo>
                    <a:pt x="3641944" y="2207997"/>
                    <a:pt x="3647623" y="2205968"/>
                    <a:pt x="3653098" y="2203839"/>
                  </a:cubicBezTo>
                  <a:cubicBezTo>
                    <a:pt x="3658573" y="2201710"/>
                    <a:pt x="3663973" y="2199326"/>
                    <a:pt x="3669298" y="2196690"/>
                  </a:cubicBezTo>
                  <a:cubicBezTo>
                    <a:pt x="3674622" y="2194054"/>
                    <a:pt x="3679995" y="2191113"/>
                    <a:pt x="3685419" y="2187868"/>
                  </a:cubicBezTo>
                  <a:cubicBezTo>
                    <a:pt x="3690846" y="2184624"/>
                    <a:pt x="3696447" y="2180922"/>
                    <a:pt x="3702228" y="2176765"/>
                  </a:cubicBezTo>
                  <a:close/>
                  <a:moveTo>
                    <a:pt x="3553371" y="2176765"/>
                  </a:moveTo>
                  <a:lnTo>
                    <a:pt x="3568277" y="2176765"/>
                  </a:lnTo>
                  <a:lnTo>
                    <a:pt x="3568277" y="2399745"/>
                  </a:lnTo>
                  <a:lnTo>
                    <a:pt x="3532989" y="2399745"/>
                  </a:lnTo>
                  <a:lnTo>
                    <a:pt x="3532989" y="2219962"/>
                  </a:lnTo>
                  <a:cubicBezTo>
                    <a:pt x="3526600" y="2224525"/>
                    <a:pt x="3519731" y="2228403"/>
                    <a:pt x="3512380" y="2231597"/>
                  </a:cubicBezTo>
                  <a:cubicBezTo>
                    <a:pt x="3505027" y="2234792"/>
                    <a:pt x="3496637" y="2237605"/>
                    <a:pt x="3487206" y="2240039"/>
                  </a:cubicBezTo>
                  <a:lnTo>
                    <a:pt x="3487206" y="2209923"/>
                  </a:lnTo>
                  <a:cubicBezTo>
                    <a:pt x="3493088" y="2207997"/>
                    <a:pt x="3498767" y="2205968"/>
                    <a:pt x="3504242" y="2203839"/>
                  </a:cubicBezTo>
                  <a:cubicBezTo>
                    <a:pt x="3509717" y="2201710"/>
                    <a:pt x="3515117" y="2199326"/>
                    <a:pt x="3520441" y="2196690"/>
                  </a:cubicBezTo>
                  <a:cubicBezTo>
                    <a:pt x="3525764" y="2194054"/>
                    <a:pt x="3531139" y="2191113"/>
                    <a:pt x="3536563" y="2187868"/>
                  </a:cubicBezTo>
                  <a:cubicBezTo>
                    <a:pt x="3541988" y="2184624"/>
                    <a:pt x="3547591" y="2180922"/>
                    <a:pt x="3553371" y="2176765"/>
                  </a:cubicBezTo>
                  <a:close/>
                  <a:moveTo>
                    <a:pt x="2748702" y="2176765"/>
                  </a:moveTo>
                  <a:lnTo>
                    <a:pt x="2763608" y="2176765"/>
                  </a:lnTo>
                  <a:lnTo>
                    <a:pt x="2763608" y="2399745"/>
                  </a:lnTo>
                  <a:lnTo>
                    <a:pt x="2728321" y="2399745"/>
                  </a:lnTo>
                  <a:lnTo>
                    <a:pt x="2728321" y="2219962"/>
                  </a:lnTo>
                  <a:cubicBezTo>
                    <a:pt x="2721933" y="2224525"/>
                    <a:pt x="2715062" y="2228403"/>
                    <a:pt x="2707711" y="2231597"/>
                  </a:cubicBezTo>
                  <a:cubicBezTo>
                    <a:pt x="2700359" y="2234792"/>
                    <a:pt x="2691969" y="2237605"/>
                    <a:pt x="2682538" y="2240039"/>
                  </a:cubicBezTo>
                  <a:lnTo>
                    <a:pt x="2682538" y="2209923"/>
                  </a:lnTo>
                  <a:cubicBezTo>
                    <a:pt x="2688420" y="2207997"/>
                    <a:pt x="2694098" y="2205968"/>
                    <a:pt x="2699574" y="2203839"/>
                  </a:cubicBezTo>
                  <a:cubicBezTo>
                    <a:pt x="2705048" y="2201710"/>
                    <a:pt x="2710449" y="2199326"/>
                    <a:pt x="2715773" y="2196690"/>
                  </a:cubicBezTo>
                  <a:cubicBezTo>
                    <a:pt x="2721097" y="2194054"/>
                    <a:pt x="2726470" y="2191113"/>
                    <a:pt x="2731895" y="2187868"/>
                  </a:cubicBezTo>
                  <a:cubicBezTo>
                    <a:pt x="2737320" y="2184624"/>
                    <a:pt x="2742921" y="2180922"/>
                    <a:pt x="2748702" y="2176765"/>
                  </a:cubicBezTo>
                  <a:close/>
                  <a:moveTo>
                    <a:pt x="2355943" y="2176765"/>
                  </a:moveTo>
                  <a:lnTo>
                    <a:pt x="2370850" y="2176765"/>
                  </a:lnTo>
                  <a:lnTo>
                    <a:pt x="2370850" y="2399745"/>
                  </a:lnTo>
                  <a:lnTo>
                    <a:pt x="2335562" y="2399745"/>
                  </a:lnTo>
                  <a:lnTo>
                    <a:pt x="2335562" y="2219962"/>
                  </a:lnTo>
                  <a:cubicBezTo>
                    <a:pt x="2329174" y="2224525"/>
                    <a:pt x="2322304" y="2228403"/>
                    <a:pt x="2314952" y="2231597"/>
                  </a:cubicBezTo>
                  <a:cubicBezTo>
                    <a:pt x="2307600" y="2234792"/>
                    <a:pt x="2299210" y="2237605"/>
                    <a:pt x="2289780" y="2240039"/>
                  </a:cubicBezTo>
                  <a:lnTo>
                    <a:pt x="2289780" y="2209923"/>
                  </a:lnTo>
                  <a:cubicBezTo>
                    <a:pt x="2295661" y="2207997"/>
                    <a:pt x="2301338" y="2205968"/>
                    <a:pt x="2306815" y="2203839"/>
                  </a:cubicBezTo>
                  <a:cubicBezTo>
                    <a:pt x="2312290" y="2201710"/>
                    <a:pt x="2317689" y="2199326"/>
                    <a:pt x="2323013" y="2196690"/>
                  </a:cubicBezTo>
                  <a:cubicBezTo>
                    <a:pt x="2328337" y="2194054"/>
                    <a:pt x="2333711" y="2191113"/>
                    <a:pt x="2339135" y="2187868"/>
                  </a:cubicBezTo>
                  <a:cubicBezTo>
                    <a:pt x="2344561" y="2184624"/>
                    <a:pt x="2350163" y="2180922"/>
                    <a:pt x="2355943" y="2176765"/>
                  </a:cubicBezTo>
                  <a:close/>
                  <a:moveTo>
                    <a:pt x="2212336" y="2176765"/>
                  </a:moveTo>
                  <a:lnTo>
                    <a:pt x="2227242" y="2176765"/>
                  </a:lnTo>
                  <a:lnTo>
                    <a:pt x="2227242" y="2399745"/>
                  </a:lnTo>
                  <a:lnTo>
                    <a:pt x="2191954" y="2399745"/>
                  </a:lnTo>
                  <a:lnTo>
                    <a:pt x="2191954" y="2219962"/>
                  </a:lnTo>
                  <a:cubicBezTo>
                    <a:pt x="2185566" y="2224525"/>
                    <a:pt x="2178696" y="2228403"/>
                    <a:pt x="2171344" y="2231597"/>
                  </a:cubicBezTo>
                  <a:cubicBezTo>
                    <a:pt x="2163993" y="2234792"/>
                    <a:pt x="2155601" y="2237605"/>
                    <a:pt x="2146172" y="2240039"/>
                  </a:cubicBezTo>
                  <a:lnTo>
                    <a:pt x="2146172" y="2209923"/>
                  </a:lnTo>
                  <a:cubicBezTo>
                    <a:pt x="2152053" y="2207997"/>
                    <a:pt x="2157731" y="2205968"/>
                    <a:pt x="2163206" y="2203839"/>
                  </a:cubicBezTo>
                  <a:cubicBezTo>
                    <a:pt x="2168682" y="2201710"/>
                    <a:pt x="2174080" y="2199326"/>
                    <a:pt x="2179406" y="2196690"/>
                  </a:cubicBezTo>
                  <a:cubicBezTo>
                    <a:pt x="2184729" y="2194054"/>
                    <a:pt x="2190103" y="2191113"/>
                    <a:pt x="2195528" y="2187868"/>
                  </a:cubicBezTo>
                  <a:cubicBezTo>
                    <a:pt x="2200953" y="2184624"/>
                    <a:pt x="2206554" y="2180922"/>
                    <a:pt x="2212336" y="2176765"/>
                  </a:cubicBezTo>
                  <a:close/>
                  <a:moveTo>
                    <a:pt x="2068726" y="2176765"/>
                  </a:moveTo>
                  <a:lnTo>
                    <a:pt x="2083633" y="2176765"/>
                  </a:lnTo>
                  <a:lnTo>
                    <a:pt x="2083633" y="2399745"/>
                  </a:lnTo>
                  <a:lnTo>
                    <a:pt x="2048345" y="2399745"/>
                  </a:lnTo>
                  <a:lnTo>
                    <a:pt x="2048345" y="2219962"/>
                  </a:lnTo>
                  <a:cubicBezTo>
                    <a:pt x="2041957" y="2224525"/>
                    <a:pt x="2035088" y="2228403"/>
                    <a:pt x="2027735" y="2231597"/>
                  </a:cubicBezTo>
                  <a:cubicBezTo>
                    <a:pt x="2020384" y="2234792"/>
                    <a:pt x="2011993" y="2237605"/>
                    <a:pt x="2002563" y="2240039"/>
                  </a:cubicBezTo>
                  <a:lnTo>
                    <a:pt x="2002563" y="2209923"/>
                  </a:lnTo>
                  <a:cubicBezTo>
                    <a:pt x="2008444" y="2207997"/>
                    <a:pt x="2014123" y="2205968"/>
                    <a:pt x="2019598" y="2203839"/>
                  </a:cubicBezTo>
                  <a:cubicBezTo>
                    <a:pt x="2025074" y="2201710"/>
                    <a:pt x="2030474" y="2199326"/>
                    <a:pt x="2035796" y="2196690"/>
                  </a:cubicBezTo>
                  <a:cubicBezTo>
                    <a:pt x="2041121" y="2194054"/>
                    <a:pt x="2046495" y="2191113"/>
                    <a:pt x="2051918" y="2187868"/>
                  </a:cubicBezTo>
                  <a:cubicBezTo>
                    <a:pt x="2057344" y="2184624"/>
                    <a:pt x="2062947" y="2180922"/>
                    <a:pt x="2068726" y="2176765"/>
                  </a:cubicBezTo>
                  <a:close/>
                  <a:moveTo>
                    <a:pt x="1925119" y="2176765"/>
                  </a:moveTo>
                  <a:lnTo>
                    <a:pt x="1940025" y="2176765"/>
                  </a:lnTo>
                  <a:lnTo>
                    <a:pt x="1940025" y="2399745"/>
                  </a:lnTo>
                  <a:lnTo>
                    <a:pt x="1904738" y="2399745"/>
                  </a:lnTo>
                  <a:lnTo>
                    <a:pt x="1904738" y="2219962"/>
                  </a:lnTo>
                  <a:cubicBezTo>
                    <a:pt x="1898350" y="2224525"/>
                    <a:pt x="1891479" y="2228403"/>
                    <a:pt x="1884128" y="2231597"/>
                  </a:cubicBezTo>
                  <a:cubicBezTo>
                    <a:pt x="1876776" y="2234792"/>
                    <a:pt x="1868386" y="2237605"/>
                    <a:pt x="1858955" y="2240039"/>
                  </a:cubicBezTo>
                  <a:lnTo>
                    <a:pt x="1858955" y="2209923"/>
                  </a:lnTo>
                  <a:cubicBezTo>
                    <a:pt x="1864837" y="2207997"/>
                    <a:pt x="1870515" y="2205968"/>
                    <a:pt x="1875991" y="2203839"/>
                  </a:cubicBezTo>
                  <a:cubicBezTo>
                    <a:pt x="1881466" y="2201710"/>
                    <a:pt x="1886866" y="2199326"/>
                    <a:pt x="1892190" y="2196690"/>
                  </a:cubicBezTo>
                  <a:cubicBezTo>
                    <a:pt x="1897514" y="2194054"/>
                    <a:pt x="1902887" y="2191113"/>
                    <a:pt x="1908312" y="2187868"/>
                  </a:cubicBezTo>
                  <a:cubicBezTo>
                    <a:pt x="1913738" y="2184624"/>
                    <a:pt x="1919339" y="2180922"/>
                    <a:pt x="1925119" y="2176765"/>
                  </a:cubicBezTo>
                  <a:close/>
                  <a:moveTo>
                    <a:pt x="1781511" y="2176765"/>
                  </a:moveTo>
                  <a:lnTo>
                    <a:pt x="1796417" y="2176765"/>
                  </a:lnTo>
                  <a:lnTo>
                    <a:pt x="1796417" y="2399745"/>
                  </a:lnTo>
                  <a:lnTo>
                    <a:pt x="1761130" y="2399745"/>
                  </a:lnTo>
                  <a:lnTo>
                    <a:pt x="1761130" y="2219962"/>
                  </a:lnTo>
                  <a:cubicBezTo>
                    <a:pt x="1754742" y="2224525"/>
                    <a:pt x="1747872" y="2228403"/>
                    <a:pt x="1740520" y="2231597"/>
                  </a:cubicBezTo>
                  <a:cubicBezTo>
                    <a:pt x="1733169" y="2234792"/>
                    <a:pt x="1724778" y="2237605"/>
                    <a:pt x="1715347" y="2240039"/>
                  </a:cubicBezTo>
                  <a:lnTo>
                    <a:pt x="1715347" y="2209923"/>
                  </a:lnTo>
                  <a:cubicBezTo>
                    <a:pt x="1721229" y="2207997"/>
                    <a:pt x="1726907" y="2205968"/>
                    <a:pt x="1732383" y="2203839"/>
                  </a:cubicBezTo>
                  <a:cubicBezTo>
                    <a:pt x="1737858" y="2201710"/>
                    <a:pt x="1743258" y="2199326"/>
                    <a:pt x="1748582" y="2196690"/>
                  </a:cubicBezTo>
                  <a:cubicBezTo>
                    <a:pt x="1753905" y="2194054"/>
                    <a:pt x="1759279" y="2191113"/>
                    <a:pt x="1764704" y="2187868"/>
                  </a:cubicBezTo>
                  <a:cubicBezTo>
                    <a:pt x="1770129" y="2184624"/>
                    <a:pt x="1775731" y="2180922"/>
                    <a:pt x="1781511" y="2176765"/>
                  </a:cubicBezTo>
                  <a:close/>
                  <a:moveTo>
                    <a:pt x="1433813" y="2176765"/>
                  </a:moveTo>
                  <a:lnTo>
                    <a:pt x="1448720" y="2176765"/>
                  </a:lnTo>
                  <a:lnTo>
                    <a:pt x="1448720" y="2399745"/>
                  </a:lnTo>
                  <a:lnTo>
                    <a:pt x="1413432" y="2399745"/>
                  </a:lnTo>
                  <a:lnTo>
                    <a:pt x="1413432" y="2219962"/>
                  </a:lnTo>
                  <a:cubicBezTo>
                    <a:pt x="1407044" y="2224525"/>
                    <a:pt x="1400174" y="2228403"/>
                    <a:pt x="1392822" y="2231597"/>
                  </a:cubicBezTo>
                  <a:cubicBezTo>
                    <a:pt x="1385471" y="2234792"/>
                    <a:pt x="1377080" y="2237605"/>
                    <a:pt x="1367650" y="2240039"/>
                  </a:cubicBezTo>
                  <a:lnTo>
                    <a:pt x="1367650" y="2209923"/>
                  </a:lnTo>
                  <a:cubicBezTo>
                    <a:pt x="1373531" y="2207997"/>
                    <a:pt x="1379210" y="2205968"/>
                    <a:pt x="1384685" y="2203839"/>
                  </a:cubicBezTo>
                  <a:cubicBezTo>
                    <a:pt x="1390159" y="2201710"/>
                    <a:pt x="1395559" y="2199326"/>
                    <a:pt x="1400884" y="2196690"/>
                  </a:cubicBezTo>
                  <a:cubicBezTo>
                    <a:pt x="1406207" y="2194054"/>
                    <a:pt x="1411581" y="2191113"/>
                    <a:pt x="1417006" y="2187868"/>
                  </a:cubicBezTo>
                  <a:cubicBezTo>
                    <a:pt x="1422431" y="2184624"/>
                    <a:pt x="1428034" y="2180922"/>
                    <a:pt x="1433813" y="2176765"/>
                  </a:cubicBezTo>
                  <a:close/>
                  <a:moveTo>
                    <a:pt x="1136100" y="2176765"/>
                  </a:moveTo>
                  <a:lnTo>
                    <a:pt x="1151006" y="2176765"/>
                  </a:lnTo>
                  <a:lnTo>
                    <a:pt x="1151006" y="2399745"/>
                  </a:lnTo>
                  <a:lnTo>
                    <a:pt x="1115718" y="2399745"/>
                  </a:lnTo>
                  <a:lnTo>
                    <a:pt x="1115718" y="2219962"/>
                  </a:lnTo>
                  <a:cubicBezTo>
                    <a:pt x="1109330" y="2224525"/>
                    <a:pt x="1102460" y="2228403"/>
                    <a:pt x="1095109" y="2231597"/>
                  </a:cubicBezTo>
                  <a:cubicBezTo>
                    <a:pt x="1087758" y="2234792"/>
                    <a:pt x="1079366" y="2237605"/>
                    <a:pt x="1069936" y="2240039"/>
                  </a:cubicBezTo>
                  <a:lnTo>
                    <a:pt x="1069936" y="2209923"/>
                  </a:lnTo>
                  <a:cubicBezTo>
                    <a:pt x="1075817" y="2207997"/>
                    <a:pt x="1081496" y="2205968"/>
                    <a:pt x="1086971" y="2203839"/>
                  </a:cubicBezTo>
                  <a:cubicBezTo>
                    <a:pt x="1092447" y="2201710"/>
                    <a:pt x="1097847" y="2199326"/>
                    <a:pt x="1103170" y="2196690"/>
                  </a:cubicBezTo>
                  <a:cubicBezTo>
                    <a:pt x="1108494" y="2194054"/>
                    <a:pt x="1113868" y="2191113"/>
                    <a:pt x="1119293" y="2187868"/>
                  </a:cubicBezTo>
                  <a:cubicBezTo>
                    <a:pt x="1124718" y="2184624"/>
                    <a:pt x="1130320" y="2180922"/>
                    <a:pt x="1136100" y="2176765"/>
                  </a:cubicBezTo>
                  <a:close/>
                  <a:moveTo>
                    <a:pt x="924981" y="2176765"/>
                  </a:moveTo>
                  <a:cubicBezTo>
                    <a:pt x="972425" y="2176765"/>
                    <a:pt x="996148" y="2213628"/>
                    <a:pt x="996148" y="2287352"/>
                  </a:cubicBezTo>
                  <a:cubicBezTo>
                    <a:pt x="996148" y="2323864"/>
                    <a:pt x="989453" y="2351724"/>
                    <a:pt x="976062" y="2370932"/>
                  </a:cubicBezTo>
                  <a:cubicBezTo>
                    <a:pt x="962671" y="2390140"/>
                    <a:pt x="943939" y="2399745"/>
                    <a:pt x="919866" y="2399745"/>
                  </a:cubicBezTo>
                  <a:cubicBezTo>
                    <a:pt x="897397" y="2399745"/>
                    <a:pt x="879869" y="2390567"/>
                    <a:pt x="867279" y="2372211"/>
                  </a:cubicBezTo>
                  <a:cubicBezTo>
                    <a:pt x="854692" y="2353855"/>
                    <a:pt x="848398" y="2327324"/>
                    <a:pt x="848398" y="2292619"/>
                  </a:cubicBezTo>
                  <a:cubicBezTo>
                    <a:pt x="848398" y="2254502"/>
                    <a:pt x="854968" y="2225664"/>
                    <a:pt x="868108" y="2206104"/>
                  </a:cubicBezTo>
                  <a:cubicBezTo>
                    <a:pt x="881248" y="2186545"/>
                    <a:pt x="900206" y="2176765"/>
                    <a:pt x="924981" y="2176765"/>
                  </a:cubicBezTo>
                  <a:close/>
                  <a:moveTo>
                    <a:pt x="708705" y="2176765"/>
                  </a:moveTo>
                  <a:cubicBezTo>
                    <a:pt x="756150" y="2176765"/>
                    <a:pt x="779872" y="2213628"/>
                    <a:pt x="779872" y="2287352"/>
                  </a:cubicBezTo>
                  <a:cubicBezTo>
                    <a:pt x="779872" y="2323864"/>
                    <a:pt x="773176" y="2351724"/>
                    <a:pt x="759785" y="2370932"/>
                  </a:cubicBezTo>
                  <a:cubicBezTo>
                    <a:pt x="746395" y="2390140"/>
                    <a:pt x="727662" y="2399745"/>
                    <a:pt x="703590" y="2399745"/>
                  </a:cubicBezTo>
                  <a:cubicBezTo>
                    <a:pt x="681120" y="2399745"/>
                    <a:pt x="663593" y="2390567"/>
                    <a:pt x="651004" y="2372211"/>
                  </a:cubicBezTo>
                  <a:cubicBezTo>
                    <a:pt x="638416" y="2353855"/>
                    <a:pt x="632122" y="2327324"/>
                    <a:pt x="632122" y="2292619"/>
                  </a:cubicBezTo>
                  <a:cubicBezTo>
                    <a:pt x="632122" y="2254502"/>
                    <a:pt x="638691" y="2225664"/>
                    <a:pt x="651832" y="2206104"/>
                  </a:cubicBezTo>
                  <a:cubicBezTo>
                    <a:pt x="664972" y="2186545"/>
                    <a:pt x="683931" y="2176765"/>
                    <a:pt x="708705" y="2176765"/>
                  </a:cubicBezTo>
                  <a:close/>
                  <a:moveTo>
                    <a:pt x="560572" y="2176765"/>
                  </a:moveTo>
                  <a:lnTo>
                    <a:pt x="575479" y="2176765"/>
                  </a:lnTo>
                  <a:lnTo>
                    <a:pt x="575479" y="2399745"/>
                  </a:lnTo>
                  <a:lnTo>
                    <a:pt x="540191" y="2399745"/>
                  </a:lnTo>
                  <a:lnTo>
                    <a:pt x="540191" y="2219962"/>
                  </a:lnTo>
                  <a:cubicBezTo>
                    <a:pt x="533803" y="2224525"/>
                    <a:pt x="526933" y="2228403"/>
                    <a:pt x="519581" y="2231597"/>
                  </a:cubicBezTo>
                  <a:cubicBezTo>
                    <a:pt x="512230" y="2234792"/>
                    <a:pt x="503839" y="2237605"/>
                    <a:pt x="494409" y="2240039"/>
                  </a:cubicBezTo>
                  <a:lnTo>
                    <a:pt x="494409" y="2209923"/>
                  </a:lnTo>
                  <a:cubicBezTo>
                    <a:pt x="500290" y="2207997"/>
                    <a:pt x="505969" y="2205968"/>
                    <a:pt x="511444" y="2203839"/>
                  </a:cubicBezTo>
                  <a:cubicBezTo>
                    <a:pt x="516920" y="2201710"/>
                    <a:pt x="522319" y="2199326"/>
                    <a:pt x="527643" y="2196690"/>
                  </a:cubicBezTo>
                  <a:cubicBezTo>
                    <a:pt x="532966" y="2194054"/>
                    <a:pt x="538342" y="2191113"/>
                    <a:pt x="543766" y="2187868"/>
                  </a:cubicBezTo>
                  <a:cubicBezTo>
                    <a:pt x="549191" y="2184624"/>
                    <a:pt x="554793" y="2180922"/>
                    <a:pt x="560572" y="2176765"/>
                  </a:cubicBezTo>
                  <a:close/>
                  <a:moveTo>
                    <a:pt x="262859" y="2176765"/>
                  </a:moveTo>
                  <a:lnTo>
                    <a:pt x="277764" y="2176765"/>
                  </a:lnTo>
                  <a:lnTo>
                    <a:pt x="277764" y="2399745"/>
                  </a:lnTo>
                  <a:lnTo>
                    <a:pt x="242478" y="2399745"/>
                  </a:lnTo>
                  <a:lnTo>
                    <a:pt x="242478" y="2219962"/>
                  </a:lnTo>
                  <a:cubicBezTo>
                    <a:pt x="236089" y="2224525"/>
                    <a:pt x="229220" y="2228403"/>
                    <a:pt x="221869" y="2231597"/>
                  </a:cubicBezTo>
                  <a:cubicBezTo>
                    <a:pt x="214516" y="2234792"/>
                    <a:pt x="206126" y="2237605"/>
                    <a:pt x="196695" y="2240039"/>
                  </a:cubicBezTo>
                  <a:lnTo>
                    <a:pt x="196695" y="2209923"/>
                  </a:lnTo>
                  <a:cubicBezTo>
                    <a:pt x="202577" y="2207997"/>
                    <a:pt x="208255" y="2205968"/>
                    <a:pt x="213729" y="2203839"/>
                  </a:cubicBezTo>
                  <a:cubicBezTo>
                    <a:pt x="219206" y="2201710"/>
                    <a:pt x="224606" y="2199326"/>
                    <a:pt x="229928" y="2196690"/>
                  </a:cubicBezTo>
                  <a:cubicBezTo>
                    <a:pt x="235253" y="2194054"/>
                    <a:pt x="240626" y="2191113"/>
                    <a:pt x="246052" y="2187868"/>
                  </a:cubicBezTo>
                  <a:cubicBezTo>
                    <a:pt x="251477" y="2184624"/>
                    <a:pt x="257080" y="2180922"/>
                    <a:pt x="262859" y="2176765"/>
                  </a:cubicBezTo>
                  <a:close/>
                  <a:moveTo>
                    <a:pt x="87099" y="2176765"/>
                  </a:moveTo>
                  <a:cubicBezTo>
                    <a:pt x="134543" y="2176765"/>
                    <a:pt x="158266" y="2213628"/>
                    <a:pt x="158266" y="2287352"/>
                  </a:cubicBezTo>
                  <a:cubicBezTo>
                    <a:pt x="158266" y="2323864"/>
                    <a:pt x="151570" y="2351724"/>
                    <a:pt x="138180" y="2370932"/>
                  </a:cubicBezTo>
                  <a:cubicBezTo>
                    <a:pt x="124789" y="2390140"/>
                    <a:pt x="106058" y="2399745"/>
                    <a:pt x="81984" y="2399745"/>
                  </a:cubicBezTo>
                  <a:cubicBezTo>
                    <a:pt x="59516" y="2399745"/>
                    <a:pt x="41986" y="2390567"/>
                    <a:pt x="29398" y="2372211"/>
                  </a:cubicBezTo>
                  <a:cubicBezTo>
                    <a:pt x="16810" y="2353855"/>
                    <a:pt x="10515" y="2327324"/>
                    <a:pt x="10515" y="2292619"/>
                  </a:cubicBezTo>
                  <a:cubicBezTo>
                    <a:pt x="10515" y="2254502"/>
                    <a:pt x="17085" y="2225664"/>
                    <a:pt x="30225" y="2206104"/>
                  </a:cubicBezTo>
                  <a:cubicBezTo>
                    <a:pt x="43366" y="2186545"/>
                    <a:pt x="62323" y="2176765"/>
                    <a:pt x="87099" y="2176765"/>
                  </a:cubicBezTo>
                  <a:close/>
                  <a:moveTo>
                    <a:pt x="11895120" y="1870182"/>
                  </a:moveTo>
                  <a:cubicBezTo>
                    <a:pt x="11868940" y="1870182"/>
                    <a:pt x="11855850" y="1899020"/>
                    <a:pt x="11855850" y="1956697"/>
                  </a:cubicBezTo>
                  <a:cubicBezTo>
                    <a:pt x="11855850" y="2010660"/>
                    <a:pt x="11868689" y="2037642"/>
                    <a:pt x="11894368" y="2037642"/>
                  </a:cubicBezTo>
                  <a:cubicBezTo>
                    <a:pt x="11919644" y="2037642"/>
                    <a:pt x="11932283" y="2010209"/>
                    <a:pt x="11932283" y="1955343"/>
                  </a:cubicBezTo>
                  <a:cubicBezTo>
                    <a:pt x="11932283" y="1898568"/>
                    <a:pt x="11919895" y="1870182"/>
                    <a:pt x="11895120" y="1870182"/>
                  </a:cubicBezTo>
                  <a:close/>
                  <a:moveTo>
                    <a:pt x="11188558" y="1870182"/>
                  </a:moveTo>
                  <a:cubicBezTo>
                    <a:pt x="11162378" y="1870182"/>
                    <a:pt x="11149288" y="1899020"/>
                    <a:pt x="11149288" y="1956697"/>
                  </a:cubicBezTo>
                  <a:cubicBezTo>
                    <a:pt x="11149288" y="2010660"/>
                    <a:pt x="11162127" y="2037642"/>
                    <a:pt x="11187806" y="2037642"/>
                  </a:cubicBezTo>
                  <a:cubicBezTo>
                    <a:pt x="11213082" y="2037642"/>
                    <a:pt x="11225721" y="2010209"/>
                    <a:pt x="11225721" y="1955343"/>
                  </a:cubicBezTo>
                  <a:cubicBezTo>
                    <a:pt x="11225721" y="1898568"/>
                    <a:pt x="11213333" y="1870182"/>
                    <a:pt x="11188558" y="1870182"/>
                  </a:cubicBezTo>
                  <a:close/>
                  <a:moveTo>
                    <a:pt x="9941039" y="1870182"/>
                  </a:moveTo>
                  <a:cubicBezTo>
                    <a:pt x="9914859" y="1870182"/>
                    <a:pt x="9901769" y="1899020"/>
                    <a:pt x="9901769" y="1956697"/>
                  </a:cubicBezTo>
                  <a:cubicBezTo>
                    <a:pt x="9901769" y="2010660"/>
                    <a:pt x="9914608" y="2037642"/>
                    <a:pt x="9940287" y="2037642"/>
                  </a:cubicBezTo>
                  <a:cubicBezTo>
                    <a:pt x="9965563" y="2037642"/>
                    <a:pt x="9978202" y="2010209"/>
                    <a:pt x="9978202" y="1955343"/>
                  </a:cubicBezTo>
                  <a:cubicBezTo>
                    <a:pt x="9978202" y="1898568"/>
                    <a:pt x="9965814" y="1870182"/>
                    <a:pt x="9941039" y="1870182"/>
                  </a:cubicBezTo>
                  <a:close/>
                  <a:moveTo>
                    <a:pt x="9721595" y="1870182"/>
                  </a:moveTo>
                  <a:cubicBezTo>
                    <a:pt x="9695415" y="1870182"/>
                    <a:pt x="9682325" y="1899020"/>
                    <a:pt x="9682325" y="1956697"/>
                  </a:cubicBezTo>
                  <a:cubicBezTo>
                    <a:pt x="9682325" y="2010660"/>
                    <a:pt x="9695164" y="2037642"/>
                    <a:pt x="9720843" y="2037642"/>
                  </a:cubicBezTo>
                  <a:cubicBezTo>
                    <a:pt x="9746119" y="2037642"/>
                    <a:pt x="9758758" y="2010209"/>
                    <a:pt x="9758758" y="1955343"/>
                  </a:cubicBezTo>
                  <a:cubicBezTo>
                    <a:pt x="9758758" y="1898568"/>
                    <a:pt x="9746370" y="1870182"/>
                    <a:pt x="9721595" y="1870182"/>
                  </a:cubicBezTo>
                  <a:close/>
                  <a:moveTo>
                    <a:pt x="6366950" y="1870182"/>
                  </a:moveTo>
                  <a:cubicBezTo>
                    <a:pt x="6340770" y="1870182"/>
                    <a:pt x="6327680" y="1899020"/>
                    <a:pt x="6327680" y="1956697"/>
                  </a:cubicBezTo>
                  <a:cubicBezTo>
                    <a:pt x="6327680" y="2010660"/>
                    <a:pt x="6340519" y="2037642"/>
                    <a:pt x="6366198" y="2037642"/>
                  </a:cubicBezTo>
                  <a:cubicBezTo>
                    <a:pt x="6391475" y="2037642"/>
                    <a:pt x="6404113" y="2010209"/>
                    <a:pt x="6404113" y="1955343"/>
                  </a:cubicBezTo>
                  <a:cubicBezTo>
                    <a:pt x="6404113" y="1898568"/>
                    <a:pt x="6391725" y="1870182"/>
                    <a:pt x="6366950" y="1870182"/>
                  </a:cubicBezTo>
                  <a:close/>
                  <a:moveTo>
                    <a:pt x="5831864" y="1870182"/>
                  </a:moveTo>
                  <a:cubicBezTo>
                    <a:pt x="5805684" y="1870182"/>
                    <a:pt x="5792595" y="1899020"/>
                    <a:pt x="5792595" y="1956697"/>
                  </a:cubicBezTo>
                  <a:cubicBezTo>
                    <a:pt x="5792595" y="2010660"/>
                    <a:pt x="5805433" y="2037642"/>
                    <a:pt x="5831113" y="2037642"/>
                  </a:cubicBezTo>
                  <a:cubicBezTo>
                    <a:pt x="5856389" y="2037642"/>
                    <a:pt x="5869027" y="2010209"/>
                    <a:pt x="5869027" y="1955343"/>
                  </a:cubicBezTo>
                  <a:cubicBezTo>
                    <a:pt x="5869027" y="1898568"/>
                    <a:pt x="5856640" y="1870182"/>
                    <a:pt x="5831864" y="1870182"/>
                  </a:cubicBezTo>
                  <a:close/>
                  <a:moveTo>
                    <a:pt x="5134215" y="1870182"/>
                  </a:moveTo>
                  <a:cubicBezTo>
                    <a:pt x="5108036" y="1870182"/>
                    <a:pt x="5094945" y="1899020"/>
                    <a:pt x="5094945" y="1956697"/>
                  </a:cubicBezTo>
                  <a:cubicBezTo>
                    <a:pt x="5094945" y="2010660"/>
                    <a:pt x="5107784" y="2037642"/>
                    <a:pt x="5133463" y="2037642"/>
                  </a:cubicBezTo>
                  <a:cubicBezTo>
                    <a:pt x="5158739" y="2037642"/>
                    <a:pt x="5171378" y="2010209"/>
                    <a:pt x="5171378" y="1955343"/>
                  </a:cubicBezTo>
                  <a:cubicBezTo>
                    <a:pt x="5171378" y="1898568"/>
                    <a:pt x="5158990" y="1870182"/>
                    <a:pt x="5134215" y="1870182"/>
                  </a:cubicBezTo>
                  <a:close/>
                  <a:moveTo>
                    <a:pt x="3882478" y="1870182"/>
                  </a:moveTo>
                  <a:cubicBezTo>
                    <a:pt x="3856298" y="1870182"/>
                    <a:pt x="3843208" y="1899020"/>
                    <a:pt x="3843208" y="1956697"/>
                  </a:cubicBezTo>
                  <a:cubicBezTo>
                    <a:pt x="3843208" y="2010660"/>
                    <a:pt x="3856047" y="2037642"/>
                    <a:pt x="3881726" y="2037642"/>
                  </a:cubicBezTo>
                  <a:cubicBezTo>
                    <a:pt x="3907002" y="2037642"/>
                    <a:pt x="3919642" y="2010209"/>
                    <a:pt x="3919642" y="1955343"/>
                  </a:cubicBezTo>
                  <a:cubicBezTo>
                    <a:pt x="3919642" y="1898568"/>
                    <a:pt x="3907253" y="1870182"/>
                    <a:pt x="3882478" y="1870182"/>
                  </a:cubicBezTo>
                  <a:close/>
                  <a:moveTo>
                    <a:pt x="3657815" y="1870182"/>
                  </a:moveTo>
                  <a:cubicBezTo>
                    <a:pt x="3631634" y="1870182"/>
                    <a:pt x="3618545" y="1899020"/>
                    <a:pt x="3618545" y="1956697"/>
                  </a:cubicBezTo>
                  <a:cubicBezTo>
                    <a:pt x="3618545" y="2010660"/>
                    <a:pt x="3631383" y="2037642"/>
                    <a:pt x="3657061" y="2037642"/>
                  </a:cubicBezTo>
                  <a:cubicBezTo>
                    <a:pt x="3682339" y="2037642"/>
                    <a:pt x="3694977" y="2010209"/>
                    <a:pt x="3694977" y="1955343"/>
                  </a:cubicBezTo>
                  <a:cubicBezTo>
                    <a:pt x="3694977" y="1898568"/>
                    <a:pt x="3682590" y="1870182"/>
                    <a:pt x="3657815" y="1870182"/>
                  </a:cubicBezTo>
                  <a:close/>
                  <a:moveTo>
                    <a:pt x="295699" y="1870182"/>
                  </a:moveTo>
                  <a:cubicBezTo>
                    <a:pt x="269519" y="1870182"/>
                    <a:pt x="256429" y="1899020"/>
                    <a:pt x="256429" y="1956697"/>
                  </a:cubicBezTo>
                  <a:cubicBezTo>
                    <a:pt x="256429" y="2010660"/>
                    <a:pt x="269268" y="2037642"/>
                    <a:pt x="294947" y="2037642"/>
                  </a:cubicBezTo>
                  <a:cubicBezTo>
                    <a:pt x="320224" y="2037642"/>
                    <a:pt x="332862" y="2010209"/>
                    <a:pt x="332862" y="1955343"/>
                  </a:cubicBezTo>
                  <a:cubicBezTo>
                    <a:pt x="332862" y="1898568"/>
                    <a:pt x="320474" y="1870182"/>
                    <a:pt x="295699" y="1870182"/>
                  </a:cubicBezTo>
                  <a:close/>
                  <a:moveTo>
                    <a:pt x="12088449" y="1842348"/>
                  </a:moveTo>
                  <a:lnTo>
                    <a:pt x="12103355" y="1842348"/>
                  </a:lnTo>
                  <a:lnTo>
                    <a:pt x="12103355" y="2065327"/>
                  </a:lnTo>
                  <a:lnTo>
                    <a:pt x="12068067" y="2065327"/>
                  </a:lnTo>
                  <a:lnTo>
                    <a:pt x="12068067" y="1885544"/>
                  </a:lnTo>
                  <a:cubicBezTo>
                    <a:pt x="12061679" y="1890108"/>
                    <a:pt x="12054809" y="1893985"/>
                    <a:pt x="12047458" y="1897179"/>
                  </a:cubicBezTo>
                  <a:cubicBezTo>
                    <a:pt x="12040106" y="1900374"/>
                    <a:pt x="12031715" y="1903188"/>
                    <a:pt x="12022285" y="1905622"/>
                  </a:cubicBezTo>
                  <a:lnTo>
                    <a:pt x="12022285" y="1875506"/>
                  </a:lnTo>
                  <a:cubicBezTo>
                    <a:pt x="12028166" y="1873580"/>
                    <a:pt x="12033845" y="1871550"/>
                    <a:pt x="12039320" y="1869422"/>
                  </a:cubicBezTo>
                  <a:cubicBezTo>
                    <a:pt x="12044796" y="1867293"/>
                    <a:pt x="12050196" y="1864909"/>
                    <a:pt x="12055519" y="1862273"/>
                  </a:cubicBezTo>
                  <a:cubicBezTo>
                    <a:pt x="12060843" y="1859637"/>
                    <a:pt x="12066217" y="1856696"/>
                    <a:pt x="12071642" y="1853451"/>
                  </a:cubicBezTo>
                  <a:cubicBezTo>
                    <a:pt x="12077067" y="1850207"/>
                    <a:pt x="12082669" y="1846504"/>
                    <a:pt x="12088449" y="1842348"/>
                  </a:cubicBezTo>
                  <a:close/>
                  <a:moveTo>
                    <a:pt x="11896775" y="1842348"/>
                  </a:moveTo>
                  <a:cubicBezTo>
                    <a:pt x="11944219" y="1842348"/>
                    <a:pt x="11967942" y="1879210"/>
                    <a:pt x="11967942" y="1952935"/>
                  </a:cubicBezTo>
                  <a:cubicBezTo>
                    <a:pt x="11967942" y="1989447"/>
                    <a:pt x="11961246" y="2017306"/>
                    <a:pt x="11947856" y="2036514"/>
                  </a:cubicBezTo>
                  <a:cubicBezTo>
                    <a:pt x="11934465" y="2055722"/>
                    <a:pt x="11915733" y="2065327"/>
                    <a:pt x="11891659" y="2065327"/>
                  </a:cubicBezTo>
                  <a:cubicBezTo>
                    <a:pt x="11869191" y="2065327"/>
                    <a:pt x="11851662" y="2056149"/>
                    <a:pt x="11839074" y="2037793"/>
                  </a:cubicBezTo>
                  <a:cubicBezTo>
                    <a:pt x="11826485" y="2019437"/>
                    <a:pt x="11820191" y="1992907"/>
                    <a:pt x="11820191" y="1958202"/>
                  </a:cubicBezTo>
                  <a:cubicBezTo>
                    <a:pt x="11820191" y="1920085"/>
                    <a:pt x="11826761" y="1891247"/>
                    <a:pt x="11839901" y="1871686"/>
                  </a:cubicBezTo>
                  <a:cubicBezTo>
                    <a:pt x="11853042" y="1852127"/>
                    <a:pt x="11871999" y="1842348"/>
                    <a:pt x="11896775" y="1842348"/>
                  </a:cubicBezTo>
                  <a:close/>
                  <a:moveTo>
                    <a:pt x="11190213" y="1842348"/>
                  </a:moveTo>
                  <a:cubicBezTo>
                    <a:pt x="11237657" y="1842348"/>
                    <a:pt x="11261380" y="1879210"/>
                    <a:pt x="11261380" y="1952935"/>
                  </a:cubicBezTo>
                  <a:cubicBezTo>
                    <a:pt x="11261380" y="1989447"/>
                    <a:pt x="11254684" y="2017306"/>
                    <a:pt x="11241294" y="2036514"/>
                  </a:cubicBezTo>
                  <a:cubicBezTo>
                    <a:pt x="11227903" y="2055722"/>
                    <a:pt x="11209171" y="2065327"/>
                    <a:pt x="11185097" y="2065327"/>
                  </a:cubicBezTo>
                  <a:cubicBezTo>
                    <a:pt x="11162629" y="2065327"/>
                    <a:pt x="11145100" y="2056149"/>
                    <a:pt x="11132512" y="2037793"/>
                  </a:cubicBezTo>
                  <a:cubicBezTo>
                    <a:pt x="11119923" y="2019437"/>
                    <a:pt x="11113629" y="1992907"/>
                    <a:pt x="11113629" y="1958202"/>
                  </a:cubicBezTo>
                  <a:cubicBezTo>
                    <a:pt x="11113629" y="1920085"/>
                    <a:pt x="11120199" y="1891247"/>
                    <a:pt x="11133339" y="1871686"/>
                  </a:cubicBezTo>
                  <a:cubicBezTo>
                    <a:pt x="11146480" y="1852127"/>
                    <a:pt x="11165437" y="1842348"/>
                    <a:pt x="11190213" y="1842348"/>
                  </a:cubicBezTo>
                  <a:close/>
                  <a:moveTo>
                    <a:pt x="10816495" y="1842348"/>
                  </a:moveTo>
                  <a:lnTo>
                    <a:pt x="10831401" y="1842348"/>
                  </a:lnTo>
                  <a:lnTo>
                    <a:pt x="10831401" y="2065327"/>
                  </a:lnTo>
                  <a:lnTo>
                    <a:pt x="10796113" y="2065327"/>
                  </a:lnTo>
                  <a:lnTo>
                    <a:pt x="10796113" y="1885544"/>
                  </a:lnTo>
                  <a:cubicBezTo>
                    <a:pt x="10789725" y="1890108"/>
                    <a:pt x="10782855" y="1893985"/>
                    <a:pt x="10775504" y="1897179"/>
                  </a:cubicBezTo>
                  <a:cubicBezTo>
                    <a:pt x="10768152" y="1900374"/>
                    <a:pt x="10759761" y="1903188"/>
                    <a:pt x="10750331" y="1905622"/>
                  </a:cubicBezTo>
                  <a:lnTo>
                    <a:pt x="10750331" y="1875506"/>
                  </a:lnTo>
                  <a:cubicBezTo>
                    <a:pt x="10756212" y="1873580"/>
                    <a:pt x="10761891" y="1871550"/>
                    <a:pt x="10767366" y="1869422"/>
                  </a:cubicBezTo>
                  <a:cubicBezTo>
                    <a:pt x="10772842" y="1867293"/>
                    <a:pt x="10778242" y="1864909"/>
                    <a:pt x="10783565" y="1862273"/>
                  </a:cubicBezTo>
                  <a:cubicBezTo>
                    <a:pt x="10788889" y="1859637"/>
                    <a:pt x="10794263" y="1856696"/>
                    <a:pt x="10799688" y="1853451"/>
                  </a:cubicBezTo>
                  <a:cubicBezTo>
                    <a:pt x="10805113" y="1850207"/>
                    <a:pt x="10810715" y="1846504"/>
                    <a:pt x="10816495" y="1842348"/>
                  </a:cubicBezTo>
                  <a:close/>
                  <a:moveTo>
                    <a:pt x="10444287" y="1842348"/>
                  </a:moveTo>
                  <a:lnTo>
                    <a:pt x="10459193" y="1842348"/>
                  </a:lnTo>
                  <a:lnTo>
                    <a:pt x="10459193" y="2065327"/>
                  </a:lnTo>
                  <a:lnTo>
                    <a:pt x="10423905" y="2065327"/>
                  </a:lnTo>
                  <a:lnTo>
                    <a:pt x="10423905" y="1885544"/>
                  </a:lnTo>
                  <a:cubicBezTo>
                    <a:pt x="10417517" y="1890108"/>
                    <a:pt x="10410647" y="1893985"/>
                    <a:pt x="10403296" y="1897179"/>
                  </a:cubicBezTo>
                  <a:cubicBezTo>
                    <a:pt x="10395944" y="1900374"/>
                    <a:pt x="10387553" y="1903188"/>
                    <a:pt x="10378123" y="1905622"/>
                  </a:cubicBezTo>
                  <a:lnTo>
                    <a:pt x="10378123" y="1875506"/>
                  </a:lnTo>
                  <a:cubicBezTo>
                    <a:pt x="10384004" y="1873580"/>
                    <a:pt x="10389683" y="1871550"/>
                    <a:pt x="10395158" y="1869422"/>
                  </a:cubicBezTo>
                  <a:cubicBezTo>
                    <a:pt x="10400634" y="1867293"/>
                    <a:pt x="10406034" y="1864909"/>
                    <a:pt x="10411357" y="1862273"/>
                  </a:cubicBezTo>
                  <a:cubicBezTo>
                    <a:pt x="10416681" y="1859637"/>
                    <a:pt x="10422055" y="1856696"/>
                    <a:pt x="10427480" y="1853451"/>
                  </a:cubicBezTo>
                  <a:cubicBezTo>
                    <a:pt x="10432905" y="1850207"/>
                    <a:pt x="10438507" y="1846504"/>
                    <a:pt x="10444287" y="1842348"/>
                  </a:cubicBezTo>
                  <a:close/>
                  <a:moveTo>
                    <a:pt x="10157071" y="1842348"/>
                  </a:moveTo>
                  <a:lnTo>
                    <a:pt x="10171977" y="1842348"/>
                  </a:lnTo>
                  <a:lnTo>
                    <a:pt x="10171977" y="2065327"/>
                  </a:lnTo>
                  <a:lnTo>
                    <a:pt x="10136689" y="2065327"/>
                  </a:lnTo>
                  <a:lnTo>
                    <a:pt x="10136689" y="1885544"/>
                  </a:lnTo>
                  <a:cubicBezTo>
                    <a:pt x="10130301" y="1890108"/>
                    <a:pt x="10123431" y="1893985"/>
                    <a:pt x="10116080" y="1897179"/>
                  </a:cubicBezTo>
                  <a:cubicBezTo>
                    <a:pt x="10108728" y="1900374"/>
                    <a:pt x="10100337" y="1903188"/>
                    <a:pt x="10090907" y="1905622"/>
                  </a:cubicBezTo>
                  <a:lnTo>
                    <a:pt x="10090907" y="1875506"/>
                  </a:lnTo>
                  <a:cubicBezTo>
                    <a:pt x="10096788" y="1873580"/>
                    <a:pt x="10102467" y="1871550"/>
                    <a:pt x="10107942" y="1869422"/>
                  </a:cubicBezTo>
                  <a:cubicBezTo>
                    <a:pt x="10113418" y="1867293"/>
                    <a:pt x="10118818" y="1864909"/>
                    <a:pt x="10124141" y="1862273"/>
                  </a:cubicBezTo>
                  <a:cubicBezTo>
                    <a:pt x="10129465" y="1859637"/>
                    <a:pt x="10134839" y="1856696"/>
                    <a:pt x="10140264" y="1853451"/>
                  </a:cubicBezTo>
                  <a:cubicBezTo>
                    <a:pt x="10145689" y="1850207"/>
                    <a:pt x="10151291" y="1846504"/>
                    <a:pt x="10157071" y="1842348"/>
                  </a:cubicBezTo>
                  <a:close/>
                  <a:moveTo>
                    <a:pt x="9942694" y="1842348"/>
                  </a:moveTo>
                  <a:cubicBezTo>
                    <a:pt x="9990138" y="1842348"/>
                    <a:pt x="10013861" y="1879210"/>
                    <a:pt x="10013861" y="1952935"/>
                  </a:cubicBezTo>
                  <a:cubicBezTo>
                    <a:pt x="10013861" y="1989447"/>
                    <a:pt x="10007165" y="2017306"/>
                    <a:pt x="9993775" y="2036514"/>
                  </a:cubicBezTo>
                  <a:cubicBezTo>
                    <a:pt x="9980384" y="2055722"/>
                    <a:pt x="9961652" y="2065327"/>
                    <a:pt x="9937578" y="2065327"/>
                  </a:cubicBezTo>
                  <a:cubicBezTo>
                    <a:pt x="9915110" y="2065327"/>
                    <a:pt x="9897581" y="2056149"/>
                    <a:pt x="9884993" y="2037793"/>
                  </a:cubicBezTo>
                  <a:cubicBezTo>
                    <a:pt x="9872404" y="2019437"/>
                    <a:pt x="9866110" y="1992907"/>
                    <a:pt x="9866110" y="1958202"/>
                  </a:cubicBezTo>
                  <a:cubicBezTo>
                    <a:pt x="9866110" y="1920085"/>
                    <a:pt x="9872680" y="1891247"/>
                    <a:pt x="9885820" y="1871686"/>
                  </a:cubicBezTo>
                  <a:cubicBezTo>
                    <a:pt x="9898961" y="1852127"/>
                    <a:pt x="9917918" y="1842348"/>
                    <a:pt x="9942694" y="1842348"/>
                  </a:cubicBezTo>
                  <a:close/>
                  <a:moveTo>
                    <a:pt x="9723250" y="1842348"/>
                  </a:moveTo>
                  <a:cubicBezTo>
                    <a:pt x="9770694" y="1842348"/>
                    <a:pt x="9794417" y="1879210"/>
                    <a:pt x="9794417" y="1952935"/>
                  </a:cubicBezTo>
                  <a:cubicBezTo>
                    <a:pt x="9794417" y="1989447"/>
                    <a:pt x="9787721" y="2017306"/>
                    <a:pt x="9774331" y="2036514"/>
                  </a:cubicBezTo>
                  <a:cubicBezTo>
                    <a:pt x="9760940" y="2055722"/>
                    <a:pt x="9742208" y="2065327"/>
                    <a:pt x="9718134" y="2065327"/>
                  </a:cubicBezTo>
                  <a:cubicBezTo>
                    <a:pt x="9695666" y="2065327"/>
                    <a:pt x="9678137" y="2056149"/>
                    <a:pt x="9665549" y="2037793"/>
                  </a:cubicBezTo>
                  <a:cubicBezTo>
                    <a:pt x="9652960" y="2019437"/>
                    <a:pt x="9646666" y="1992907"/>
                    <a:pt x="9646666" y="1958202"/>
                  </a:cubicBezTo>
                  <a:cubicBezTo>
                    <a:pt x="9646666" y="1920085"/>
                    <a:pt x="9653236" y="1891247"/>
                    <a:pt x="9666376" y="1871686"/>
                  </a:cubicBezTo>
                  <a:cubicBezTo>
                    <a:pt x="9679517" y="1852127"/>
                    <a:pt x="9698474" y="1842348"/>
                    <a:pt x="9723250" y="1842348"/>
                  </a:cubicBezTo>
                  <a:close/>
                  <a:moveTo>
                    <a:pt x="9556263" y="1842348"/>
                  </a:moveTo>
                  <a:lnTo>
                    <a:pt x="9571169" y="1842348"/>
                  </a:lnTo>
                  <a:lnTo>
                    <a:pt x="9571169" y="2065327"/>
                  </a:lnTo>
                  <a:lnTo>
                    <a:pt x="9535881" y="2065327"/>
                  </a:lnTo>
                  <a:lnTo>
                    <a:pt x="9535881" y="1885544"/>
                  </a:lnTo>
                  <a:cubicBezTo>
                    <a:pt x="9529493" y="1890108"/>
                    <a:pt x="9522623" y="1893985"/>
                    <a:pt x="9515272" y="1897179"/>
                  </a:cubicBezTo>
                  <a:cubicBezTo>
                    <a:pt x="9507920" y="1900374"/>
                    <a:pt x="9499529" y="1903188"/>
                    <a:pt x="9490099" y="1905622"/>
                  </a:cubicBezTo>
                  <a:lnTo>
                    <a:pt x="9490099" y="1875506"/>
                  </a:lnTo>
                  <a:cubicBezTo>
                    <a:pt x="9495980" y="1873580"/>
                    <a:pt x="9501659" y="1871550"/>
                    <a:pt x="9507134" y="1869422"/>
                  </a:cubicBezTo>
                  <a:cubicBezTo>
                    <a:pt x="9512610" y="1867293"/>
                    <a:pt x="9518010" y="1864909"/>
                    <a:pt x="9523333" y="1862273"/>
                  </a:cubicBezTo>
                  <a:cubicBezTo>
                    <a:pt x="9528657" y="1859637"/>
                    <a:pt x="9534031" y="1856696"/>
                    <a:pt x="9539456" y="1853451"/>
                  </a:cubicBezTo>
                  <a:cubicBezTo>
                    <a:pt x="9544881" y="1850207"/>
                    <a:pt x="9550483" y="1846504"/>
                    <a:pt x="9556263" y="1842348"/>
                  </a:cubicBezTo>
                  <a:close/>
                  <a:moveTo>
                    <a:pt x="9269047" y="1842348"/>
                  </a:moveTo>
                  <a:lnTo>
                    <a:pt x="9283953" y="1842348"/>
                  </a:lnTo>
                  <a:lnTo>
                    <a:pt x="9283953" y="2065327"/>
                  </a:lnTo>
                  <a:lnTo>
                    <a:pt x="9248665" y="2065327"/>
                  </a:lnTo>
                  <a:lnTo>
                    <a:pt x="9248665" y="1885544"/>
                  </a:lnTo>
                  <a:cubicBezTo>
                    <a:pt x="9242277" y="1890108"/>
                    <a:pt x="9235407" y="1893985"/>
                    <a:pt x="9228056" y="1897179"/>
                  </a:cubicBezTo>
                  <a:cubicBezTo>
                    <a:pt x="9220704" y="1900374"/>
                    <a:pt x="9212313" y="1903188"/>
                    <a:pt x="9202883" y="1905622"/>
                  </a:cubicBezTo>
                  <a:lnTo>
                    <a:pt x="9202883" y="1875506"/>
                  </a:lnTo>
                  <a:cubicBezTo>
                    <a:pt x="9208764" y="1873580"/>
                    <a:pt x="9214443" y="1871550"/>
                    <a:pt x="9219918" y="1869422"/>
                  </a:cubicBezTo>
                  <a:cubicBezTo>
                    <a:pt x="9225394" y="1867293"/>
                    <a:pt x="9230794" y="1864909"/>
                    <a:pt x="9236117" y="1862273"/>
                  </a:cubicBezTo>
                  <a:cubicBezTo>
                    <a:pt x="9241441" y="1859637"/>
                    <a:pt x="9246815" y="1856696"/>
                    <a:pt x="9252240" y="1853451"/>
                  </a:cubicBezTo>
                  <a:cubicBezTo>
                    <a:pt x="9257665" y="1850207"/>
                    <a:pt x="9263267" y="1846504"/>
                    <a:pt x="9269047" y="1842348"/>
                  </a:cubicBezTo>
                  <a:close/>
                  <a:moveTo>
                    <a:pt x="8879256" y="1842348"/>
                  </a:moveTo>
                  <a:lnTo>
                    <a:pt x="8894162" y="1842348"/>
                  </a:lnTo>
                  <a:lnTo>
                    <a:pt x="8894162" y="2065327"/>
                  </a:lnTo>
                  <a:lnTo>
                    <a:pt x="8858874" y="2065327"/>
                  </a:lnTo>
                  <a:lnTo>
                    <a:pt x="8858874" y="1885544"/>
                  </a:lnTo>
                  <a:cubicBezTo>
                    <a:pt x="8852486" y="1890108"/>
                    <a:pt x="8845616" y="1893985"/>
                    <a:pt x="8838265" y="1897179"/>
                  </a:cubicBezTo>
                  <a:cubicBezTo>
                    <a:pt x="8830913" y="1900374"/>
                    <a:pt x="8822522" y="1903188"/>
                    <a:pt x="8813092" y="1905622"/>
                  </a:cubicBezTo>
                  <a:lnTo>
                    <a:pt x="8813092" y="1875506"/>
                  </a:lnTo>
                  <a:cubicBezTo>
                    <a:pt x="8818973" y="1873580"/>
                    <a:pt x="8824652" y="1871550"/>
                    <a:pt x="8830127" y="1869422"/>
                  </a:cubicBezTo>
                  <a:cubicBezTo>
                    <a:pt x="8835603" y="1867293"/>
                    <a:pt x="8841003" y="1864909"/>
                    <a:pt x="8846326" y="1862273"/>
                  </a:cubicBezTo>
                  <a:cubicBezTo>
                    <a:pt x="8851650" y="1859637"/>
                    <a:pt x="8857024" y="1856696"/>
                    <a:pt x="8862449" y="1853451"/>
                  </a:cubicBezTo>
                  <a:cubicBezTo>
                    <a:pt x="8867874" y="1850207"/>
                    <a:pt x="8873476" y="1846504"/>
                    <a:pt x="8879256" y="1842348"/>
                  </a:cubicBezTo>
                  <a:close/>
                  <a:moveTo>
                    <a:pt x="8735648" y="1842348"/>
                  </a:moveTo>
                  <a:lnTo>
                    <a:pt x="8750554" y="1842348"/>
                  </a:lnTo>
                  <a:lnTo>
                    <a:pt x="8750554" y="2065327"/>
                  </a:lnTo>
                  <a:lnTo>
                    <a:pt x="8715266" y="2065327"/>
                  </a:lnTo>
                  <a:lnTo>
                    <a:pt x="8715266" y="1885544"/>
                  </a:lnTo>
                  <a:cubicBezTo>
                    <a:pt x="8708878" y="1890108"/>
                    <a:pt x="8702008" y="1893985"/>
                    <a:pt x="8694657" y="1897179"/>
                  </a:cubicBezTo>
                  <a:cubicBezTo>
                    <a:pt x="8687305" y="1900374"/>
                    <a:pt x="8678914" y="1903188"/>
                    <a:pt x="8669484" y="1905622"/>
                  </a:cubicBezTo>
                  <a:lnTo>
                    <a:pt x="8669484" y="1875506"/>
                  </a:lnTo>
                  <a:cubicBezTo>
                    <a:pt x="8675365" y="1873580"/>
                    <a:pt x="8681044" y="1871550"/>
                    <a:pt x="8686519" y="1869422"/>
                  </a:cubicBezTo>
                  <a:cubicBezTo>
                    <a:pt x="8691995" y="1867293"/>
                    <a:pt x="8697395" y="1864909"/>
                    <a:pt x="8702718" y="1862273"/>
                  </a:cubicBezTo>
                  <a:cubicBezTo>
                    <a:pt x="8708042" y="1859637"/>
                    <a:pt x="8713416" y="1856696"/>
                    <a:pt x="8718841" y="1853451"/>
                  </a:cubicBezTo>
                  <a:cubicBezTo>
                    <a:pt x="8724266" y="1850207"/>
                    <a:pt x="8729868" y="1846504"/>
                    <a:pt x="8735648" y="1842348"/>
                  </a:cubicBezTo>
                  <a:close/>
                  <a:moveTo>
                    <a:pt x="8592040" y="1842348"/>
                  </a:moveTo>
                  <a:lnTo>
                    <a:pt x="8606946" y="1842348"/>
                  </a:lnTo>
                  <a:lnTo>
                    <a:pt x="8606946" y="2065327"/>
                  </a:lnTo>
                  <a:lnTo>
                    <a:pt x="8571658" y="2065327"/>
                  </a:lnTo>
                  <a:lnTo>
                    <a:pt x="8571658" y="1885544"/>
                  </a:lnTo>
                  <a:cubicBezTo>
                    <a:pt x="8565270" y="1890108"/>
                    <a:pt x="8558400" y="1893985"/>
                    <a:pt x="8551049" y="1897179"/>
                  </a:cubicBezTo>
                  <a:cubicBezTo>
                    <a:pt x="8543697" y="1900374"/>
                    <a:pt x="8535306" y="1903188"/>
                    <a:pt x="8525876" y="1905622"/>
                  </a:cubicBezTo>
                  <a:lnTo>
                    <a:pt x="8525876" y="1875506"/>
                  </a:lnTo>
                  <a:cubicBezTo>
                    <a:pt x="8531757" y="1873580"/>
                    <a:pt x="8537436" y="1871550"/>
                    <a:pt x="8542911" y="1869422"/>
                  </a:cubicBezTo>
                  <a:cubicBezTo>
                    <a:pt x="8548387" y="1867293"/>
                    <a:pt x="8553787" y="1864909"/>
                    <a:pt x="8559110" y="1862273"/>
                  </a:cubicBezTo>
                  <a:cubicBezTo>
                    <a:pt x="8564434" y="1859637"/>
                    <a:pt x="8569808" y="1856696"/>
                    <a:pt x="8575233" y="1853451"/>
                  </a:cubicBezTo>
                  <a:cubicBezTo>
                    <a:pt x="8580658" y="1850207"/>
                    <a:pt x="8586260" y="1846504"/>
                    <a:pt x="8592040" y="1842348"/>
                  </a:cubicBezTo>
                  <a:close/>
                  <a:moveTo>
                    <a:pt x="7830039" y="1842348"/>
                  </a:moveTo>
                  <a:lnTo>
                    <a:pt x="7844946" y="1842348"/>
                  </a:lnTo>
                  <a:lnTo>
                    <a:pt x="7844946" y="2065327"/>
                  </a:lnTo>
                  <a:lnTo>
                    <a:pt x="7809658" y="2065327"/>
                  </a:lnTo>
                  <a:lnTo>
                    <a:pt x="7809658" y="1885544"/>
                  </a:lnTo>
                  <a:cubicBezTo>
                    <a:pt x="7803270" y="1890108"/>
                    <a:pt x="7796400" y="1893985"/>
                    <a:pt x="7789048" y="1897179"/>
                  </a:cubicBezTo>
                  <a:cubicBezTo>
                    <a:pt x="7781697" y="1900374"/>
                    <a:pt x="7773306" y="1903188"/>
                    <a:pt x="7763876" y="1905622"/>
                  </a:cubicBezTo>
                  <a:lnTo>
                    <a:pt x="7763876" y="1875506"/>
                  </a:lnTo>
                  <a:cubicBezTo>
                    <a:pt x="7769757" y="1873580"/>
                    <a:pt x="7775435" y="1871550"/>
                    <a:pt x="7780911" y="1869422"/>
                  </a:cubicBezTo>
                  <a:cubicBezTo>
                    <a:pt x="7786387" y="1867293"/>
                    <a:pt x="7791786" y="1864909"/>
                    <a:pt x="7797110" y="1862273"/>
                  </a:cubicBezTo>
                  <a:cubicBezTo>
                    <a:pt x="7802433" y="1859637"/>
                    <a:pt x="7807808" y="1856696"/>
                    <a:pt x="7813232" y="1853451"/>
                  </a:cubicBezTo>
                  <a:cubicBezTo>
                    <a:pt x="7818658" y="1850207"/>
                    <a:pt x="7824260" y="1846504"/>
                    <a:pt x="7830039" y="1842348"/>
                  </a:cubicBezTo>
                  <a:close/>
                  <a:moveTo>
                    <a:pt x="7686431" y="1842348"/>
                  </a:moveTo>
                  <a:lnTo>
                    <a:pt x="7701338" y="1842348"/>
                  </a:lnTo>
                  <a:lnTo>
                    <a:pt x="7701338" y="2065327"/>
                  </a:lnTo>
                  <a:lnTo>
                    <a:pt x="7666050" y="2065327"/>
                  </a:lnTo>
                  <a:lnTo>
                    <a:pt x="7666050" y="1885544"/>
                  </a:lnTo>
                  <a:cubicBezTo>
                    <a:pt x="7659662" y="1890108"/>
                    <a:pt x="7652792" y="1893985"/>
                    <a:pt x="7645440" y="1897179"/>
                  </a:cubicBezTo>
                  <a:cubicBezTo>
                    <a:pt x="7638089" y="1900374"/>
                    <a:pt x="7629698" y="1903188"/>
                    <a:pt x="7620268" y="1905622"/>
                  </a:cubicBezTo>
                  <a:lnTo>
                    <a:pt x="7620268" y="1875506"/>
                  </a:lnTo>
                  <a:cubicBezTo>
                    <a:pt x="7626149" y="1873580"/>
                    <a:pt x="7631827" y="1871550"/>
                    <a:pt x="7637303" y="1869422"/>
                  </a:cubicBezTo>
                  <a:cubicBezTo>
                    <a:pt x="7642779" y="1867293"/>
                    <a:pt x="7648178" y="1864909"/>
                    <a:pt x="7653502" y="1862273"/>
                  </a:cubicBezTo>
                  <a:cubicBezTo>
                    <a:pt x="7658825" y="1859637"/>
                    <a:pt x="7664200" y="1856696"/>
                    <a:pt x="7669624" y="1853451"/>
                  </a:cubicBezTo>
                  <a:cubicBezTo>
                    <a:pt x="7675050" y="1850207"/>
                    <a:pt x="7680652" y="1846504"/>
                    <a:pt x="7686431" y="1842348"/>
                  </a:cubicBezTo>
                  <a:close/>
                  <a:moveTo>
                    <a:pt x="7399215" y="1842348"/>
                  </a:moveTo>
                  <a:lnTo>
                    <a:pt x="7414122" y="1842348"/>
                  </a:lnTo>
                  <a:lnTo>
                    <a:pt x="7414122" y="2065327"/>
                  </a:lnTo>
                  <a:lnTo>
                    <a:pt x="7378834" y="2065327"/>
                  </a:lnTo>
                  <a:lnTo>
                    <a:pt x="7378834" y="1885544"/>
                  </a:lnTo>
                  <a:cubicBezTo>
                    <a:pt x="7372446" y="1890108"/>
                    <a:pt x="7365576" y="1893985"/>
                    <a:pt x="7358224" y="1897179"/>
                  </a:cubicBezTo>
                  <a:cubicBezTo>
                    <a:pt x="7350873" y="1900374"/>
                    <a:pt x="7342482" y="1903188"/>
                    <a:pt x="7333052" y="1905622"/>
                  </a:cubicBezTo>
                  <a:lnTo>
                    <a:pt x="7333052" y="1875506"/>
                  </a:lnTo>
                  <a:cubicBezTo>
                    <a:pt x="7338933" y="1873580"/>
                    <a:pt x="7344611" y="1871550"/>
                    <a:pt x="7350087" y="1869422"/>
                  </a:cubicBezTo>
                  <a:cubicBezTo>
                    <a:pt x="7355563" y="1867293"/>
                    <a:pt x="7360962" y="1864909"/>
                    <a:pt x="7366286" y="1862273"/>
                  </a:cubicBezTo>
                  <a:cubicBezTo>
                    <a:pt x="7371609" y="1859637"/>
                    <a:pt x="7376984" y="1856696"/>
                    <a:pt x="7382408" y="1853451"/>
                  </a:cubicBezTo>
                  <a:cubicBezTo>
                    <a:pt x="7387834" y="1850207"/>
                    <a:pt x="7393436" y="1846504"/>
                    <a:pt x="7399215" y="1842348"/>
                  </a:cubicBezTo>
                  <a:close/>
                  <a:moveTo>
                    <a:pt x="7000631" y="1842348"/>
                  </a:moveTo>
                  <a:lnTo>
                    <a:pt x="7015537" y="1842348"/>
                  </a:lnTo>
                  <a:lnTo>
                    <a:pt x="7015537" y="2065327"/>
                  </a:lnTo>
                  <a:lnTo>
                    <a:pt x="6980249" y="2065327"/>
                  </a:lnTo>
                  <a:lnTo>
                    <a:pt x="6980249" y="1885544"/>
                  </a:lnTo>
                  <a:cubicBezTo>
                    <a:pt x="6973861" y="1890108"/>
                    <a:pt x="6966992" y="1893985"/>
                    <a:pt x="6959640" y="1897179"/>
                  </a:cubicBezTo>
                  <a:cubicBezTo>
                    <a:pt x="6952288" y="1900374"/>
                    <a:pt x="6943898" y="1903188"/>
                    <a:pt x="6934467" y="1905622"/>
                  </a:cubicBezTo>
                  <a:lnTo>
                    <a:pt x="6934467" y="1875506"/>
                  </a:lnTo>
                  <a:cubicBezTo>
                    <a:pt x="6940348" y="1873580"/>
                    <a:pt x="6946027" y="1871550"/>
                    <a:pt x="6951502" y="1869422"/>
                  </a:cubicBezTo>
                  <a:cubicBezTo>
                    <a:pt x="6956978" y="1867293"/>
                    <a:pt x="6962378" y="1864909"/>
                    <a:pt x="6967701" y="1862273"/>
                  </a:cubicBezTo>
                  <a:cubicBezTo>
                    <a:pt x="6973025" y="1859637"/>
                    <a:pt x="6978399" y="1856696"/>
                    <a:pt x="6983824" y="1853451"/>
                  </a:cubicBezTo>
                  <a:cubicBezTo>
                    <a:pt x="6989249" y="1850207"/>
                    <a:pt x="6994851" y="1846504"/>
                    <a:pt x="7000631" y="1842348"/>
                  </a:cubicBezTo>
                  <a:close/>
                  <a:moveTo>
                    <a:pt x="6857023" y="1842348"/>
                  </a:moveTo>
                  <a:lnTo>
                    <a:pt x="6871929" y="1842348"/>
                  </a:lnTo>
                  <a:lnTo>
                    <a:pt x="6871929" y="2065327"/>
                  </a:lnTo>
                  <a:lnTo>
                    <a:pt x="6836641" y="2065327"/>
                  </a:lnTo>
                  <a:lnTo>
                    <a:pt x="6836641" y="1885544"/>
                  </a:lnTo>
                  <a:cubicBezTo>
                    <a:pt x="6830253" y="1890108"/>
                    <a:pt x="6823384" y="1893985"/>
                    <a:pt x="6816032" y="1897179"/>
                  </a:cubicBezTo>
                  <a:cubicBezTo>
                    <a:pt x="6808680" y="1900374"/>
                    <a:pt x="6800290" y="1903188"/>
                    <a:pt x="6790859" y="1905622"/>
                  </a:cubicBezTo>
                  <a:lnTo>
                    <a:pt x="6790859" y="1875506"/>
                  </a:lnTo>
                  <a:cubicBezTo>
                    <a:pt x="6796740" y="1873580"/>
                    <a:pt x="6802419" y="1871550"/>
                    <a:pt x="6807894" y="1869422"/>
                  </a:cubicBezTo>
                  <a:cubicBezTo>
                    <a:pt x="6813370" y="1867293"/>
                    <a:pt x="6818770" y="1864909"/>
                    <a:pt x="6824093" y="1862273"/>
                  </a:cubicBezTo>
                  <a:cubicBezTo>
                    <a:pt x="6829417" y="1859637"/>
                    <a:pt x="6834791" y="1856696"/>
                    <a:pt x="6840216" y="1853451"/>
                  </a:cubicBezTo>
                  <a:cubicBezTo>
                    <a:pt x="6845641" y="1850207"/>
                    <a:pt x="6851243" y="1846504"/>
                    <a:pt x="6857023" y="1842348"/>
                  </a:cubicBezTo>
                  <a:close/>
                  <a:moveTo>
                    <a:pt x="6713415" y="1842348"/>
                  </a:moveTo>
                  <a:lnTo>
                    <a:pt x="6728321" y="1842348"/>
                  </a:lnTo>
                  <a:lnTo>
                    <a:pt x="6728321" y="2065327"/>
                  </a:lnTo>
                  <a:lnTo>
                    <a:pt x="6693033" y="2065327"/>
                  </a:lnTo>
                  <a:lnTo>
                    <a:pt x="6693033" y="1885544"/>
                  </a:lnTo>
                  <a:cubicBezTo>
                    <a:pt x="6686645" y="1890108"/>
                    <a:pt x="6679776" y="1893985"/>
                    <a:pt x="6672424" y="1897179"/>
                  </a:cubicBezTo>
                  <a:cubicBezTo>
                    <a:pt x="6665072" y="1900374"/>
                    <a:pt x="6656682" y="1903188"/>
                    <a:pt x="6647251" y="1905622"/>
                  </a:cubicBezTo>
                  <a:lnTo>
                    <a:pt x="6647251" y="1875506"/>
                  </a:lnTo>
                  <a:cubicBezTo>
                    <a:pt x="6653132" y="1873580"/>
                    <a:pt x="6658811" y="1871550"/>
                    <a:pt x="6664286" y="1869422"/>
                  </a:cubicBezTo>
                  <a:cubicBezTo>
                    <a:pt x="6669762" y="1867293"/>
                    <a:pt x="6675162" y="1864909"/>
                    <a:pt x="6680485" y="1862273"/>
                  </a:cubicBezTo>
                  <a:cubicBezTo>
                    <a:pt x="6685809" y="1859637"/>
                    <a:pt x="6691183" y="1856696"/>
                    <a:pt x="6696608" y="1853451"/>
                  </a:cubicBezTo>
                  <a:cubicBezTo>
                    <a:pt x="6702033" y="1850207"/>
                    <a:pt x="6707635" y="1846504"/>
                    <a:pt x="6713415" y="1842348"/>
                  </a:cubicBezTo>
                  <a:close/>
                  <a:moveTo>
                    <a:pt x="6569807" y="1842348"/>
                  </a:moveTo>
                  <a:lnTo>
                    <a:pt x="6584713" y="1842348"/>
                  </a:lnTo>
                  <a:lnTo>
                    <a:pt x="6584713" y="2065327"/>
                  </a:lnTo>
                  <a:lnTo>
                    <a:pt x="6549425" y="2065327"/>
                  </a:lnTo>
                  <a:lnTo>
                    <a:pt x="6549425" y="1885544"/>
                  </a:lnTo>
                  <a:cubicBezTo>
                    <a:pt x="6543037" y="1890108"/>
                    <a:pt x="6536168" y="1893985"/>
                    <a:pt x="6528816" y="1897179"/>
                  </a:cubicBezTo>
                  <a:cubicBezTo>
                    <a:pt x="6521464" y="1900374"/>
                    <a:pt x="6513074" y="1903188"/>
                    <a:pt x="6503643" y="1905622"/>
                  </a:cubicBezTo>
                  <a:lnTo>
                    <a:pt x="6503643" y="1875506"/>
                  </a:lnTo>
                  <a:cubicBezTo>
                    <a:pt x="6509524" y="1873580"/>
                    <a:pt x="6515203" y="1871550"/>
                    <a:pt x="6520678" y="1869422"/>
                  </a:cubicBezTo>
                  <a:cubicBezTo>
                    <a:pt x="6526154" y="1867293"/>
                    <a:pt x="6531554" y="1864909"/>
                    <a:pt x="6536877" y="1862273"/>
                  </a:cubicBezTo>
                  <a:cubicBezTo>
                    <a:pt x="6542201" y="1859637"/>
                    <a:pt x="6547575" y="1856696"/>
                    <a:pt x="6553000" y="1853451"/>
                  </a:cubicBezTo>
                  <a:cubicBezTo>
                    <a:pt x="6558425" y="1850207"/>
                    <a:pt x="6564027" y="1846504"/>
                    <a:pt x="6569807" y="1842348"/>
                  </a:cubicBezTo>
                  <a:close/>
                  <a:moveTo>
                    <a:pt x="6368605" y="1842348"/>
                  </a:moveTo>
                  <a:cubicBezTo>
                    <a:pt x="6416050" y="1842348"/>
                    <a:pt x="6439772" y="1879210"/>
                    <a:pt x="6439772" y="1952935"/>
                  </a:cubicBezTo>
                  <a:cubicBezTo>
                    <a:pt x="6439772" y="1989447"/>
                    <a:pt x="6433077" y="2017306"/>
                    <a:pt x="6419686" y="2036514"/>
                  </a:cubicBezTo>
                  <a:cubicBezTo>
                    <a:pt x="6406295" y="2055722"/>
                    <a:pt x="6387563" y="2065327"/>
                    <a:pt x="6363489" y="2065327"/>
                  </a:cubicBezTo>
                  <a:cubicBezTo>
                    <a:pt x="6341021" y="2065327"/>
                    <a:pt x="6323492" y="2056149"/>
                    <a:pt x="6310904" y="2037793"/>
                  </a:cubicBezTo>
                  <a:cubicBezTo>
                    <a:pt x="6298315" y="2019437"/>
                    <a:pt x="6292021" y="1992907"/>
                    <a:pt x="6292021" y="1958202"/>
                  </a:cubicBezTo>
                  <a:cubicBezTo>
                    <a:pt x="6292021" y="1920085"/>
                    <a:pt x="6298591" y="1891247"/>
                    <a:pt x="6311731" y="1871686"/>
                  </a:cubicBezTo>
                  <a:cubicBezTo>
                    <a:pt x="6324872" y="1852127"/>
                    <a:pt x="6343829" y="1842348"/>
                    <a:pt x="6368605" y="1842348"/>
                  </a:cubicBezTo>
                  <a:close/>
                  <a:moveTo>
                    <a:pt x="6033478" y="1842348"/>
                  </a:moveTo>
                  <a:lnTo>
                    <a:pt x="6048383" y="1842348"/>
                  </a:lnTo>
                  <a:lnTo>
                    <a:pt x="6048383" y="2065327"/>
                  </a:lnTo>
                  <a:lnTo>
                    <a:pt x="6013095" y="2065327"/>
                  </a:lnTo>
                  <a:lnTo>
                    <a:pt x="6013095" y="1885544"/>
                  </a:lnTo>
                  <a:cubicBezTo>
                    <a:pt x="6006707" y="1890108"/>
                    <a:pt x="5999838" y="1893985"/>
                    <a:pt x="5992487" y="1897179"/>
                  </a:cubicBezTo>
                  <a:cubicBezTo>
                    <a:pt x="5985135" y="1900374"/>
                    <a:pt x="5976744" y="1903188"/>
                    <a:pt x="5967315" y="1905622"/>
                  </a:cubicBezTo>
                  <a:lnTo>
                    <a:pt x="5967315" y="1875506"/>
                  </a:lnTo>
                  <a:cubicBezTo>
                    <a:pt x="5973194" y="1873580"/>
                    <a:pt x="5978874" y="1871550"/>
                    <a:pt x="5984348" y="1869422"/>
                  </a:cubicBezTo>
                  <a:cubicBezTo>
                    <a:pt x="5989824" y="1867293"/>
                    <a:pt x="5995224" y="1864909"/>
                    <a:pt x="6000547" y="1862273"/>
                  </a:cubicBezTo>
                  <a:cubicBezTo>
                    <a:pt x="6005871" y="1859637"/>
                    <a:pt x="6011246" y="1856696"/>
                    <a:pt x="6016670" y="1853451"/>
                  </a:cubicBezTo>
                  <a:cubicBezTo>
                    <a:pt x="6022096" y="1850207"/>
                    <a:pt x="6027697" y="1846504"/>
                    <a:pt x="6033478" y="1842348"/>
                  </a:cubicBezTo>
                  <a:close/>
                  <a:moveTo>
                    <a:pt x="5833520" y="1842348"/>
                  </a:moveTo>
                  <a:cubicBezTo>
                    <a:pt x="5880965" y="1842348"/>
                    <a:pt x="5904686" y="1879210"/>
                    <a:pt x="5904686" y="1952935"/>
                  </a:cubicBezTo>
                  <a:cubicBezTo>
                    <a:pt x="5904686" y="1989447"/>
                    <a:pt x="5897991" y="2017306"/>
                    <a:pt x="5884601" y="2036514"/>
                  </a:cubicBezTo>
                  <a:cubicBezTo>
                    <a:pt x="5871210" y="2055722"/>
                    <a:pt x="5852477" y="2065327"/>
                    <a:pt x="5828403" y="2065327"/>
                  </a:cubicBezTo>
                  <a:cubicBezTo>
                    <a:pt x="5805935" y="2065327"/>
                    <a:pt x="5788407" y="2056149"/>
                    <a:pt x="5775818" y="2037793"/>
                  </a:cubicBezTo>
                  <a:cubicBezTo>
                    <a:pt x="5763229" y="2019437"/>
                    <a:pt x="5756935" y="1992907"/>
                    <a:pt x="5756935" y="1958202"/>
                  </a:cubicBezTo>
                  <a:cubicBezTo>
                    <a:pt x="5756935" y="1920085"/>
                    <a:pt x="5763506" y="1891247"/>
                    <a:pt x="5776646" y="1871686"/>
                  </a:cubicBezTo>
                  <a:cubicBezTo>
                    <a:pt x="5789787" y="1852127"/>
                    <a:pt x="5808744" y="1842348"/>
                    <a:pt x="5833520" y="1842348"/>
                  </a:cubicBezTo>
                  <a:close/>
                  <a:moveTo>
                    <a:pt x="5135870" y="1842348"/>
                  </a:moveTo>
                  <a:cubicBezTo>
                    <a:pt x="5183315" y="1842348"/>
                    <a:pt x="5207037" y="1879210"/>
                    <a:pt x="5207037" y="1952935"/>
                  </a:cubicBezTo>
                  <a:cubicBezTo>
                    <a:pt x="5207037" y="1989447"/>
                    <a:pt x="5200342" y="2017306"/>
                    <a:pt x="5186950" y="2036514"/>
                  </a:cubicBezTo>
                  <a:cubicBezTo>
                    <a:pt x="5173561" y="2055722"/>
                    <a:pt x="5154828" y="2065327"/>
                    <a:pt x="5130754" y="2065327"/>
                  </a:cubicBezTo>
                  <a:cubicBezTo>
                    <a:pt x="5108286" y="2065327"/>
                    <a:pt x="5090756" y="2056149"/>
                    <a:pt x="5078168" y="2037793"/>
                  </a:cubicBezTo>
                  <a:cubicBezTo>
                    <a:pt x="5065580" y="2019437"/>
                    <a:pt x="5059286" y="1992907"/>
                    <a:pt x="5059286" y="1958202"/>
                  </a:cubicBezTo>
                  <a:cubicBezTo>
                    <a:pt x="5059286" y="1920085"/>
                    <a:pt x="5065856" y="1891247"/>
                    <a:pt x="5078996" y="1871686"/>
                  </a:cubicBezTo>
                  <a:cubicBezTo>
                    <a:pt x="5092137" y="1852127"/>
                    <a:pt x="5111094" y="1842348"/>
                    <a:pt x="5135870" y="1842348"/>
                  </a:cubicBezTo>
                  <a:close/>
                  <a:moveTo>
                    <a:pt x="4761526" y="1842348"/>
                  </a:moveTo>
                  <a:lnTo>
                    <a:pt x="4776431" y="1842348"/>
                  </a:lnTo>
                  <a:lnTo>
                    <a:pt x="4776431" y="2065327"/>
                  </a:lnTo>
                  <a:lnTo>
                    <a:pt x="4741143" y="2065327"/>
                  </a:lnTo>
                  <a:lnTo>
                    <a:pt x="4741143" y="1885544"/>
                  </a:lnTo>
                  <a:cubicBezTo>
                    <a:pt x="4734755" y="1890108"/>
                    <a:pt x="4727885" y="1893985"/>
                    <a:pt x="4720534" y="1897179"/>
                  </a:cubicBezTo>
                  <a:cubicBezTo>
                    <a:pt x="4713182" y="1900374"/>
                    <a:pt x="4704792" y="1903188"/>
                    <a:pt x="4695361" y="1905622"/>
                  </a:cubicBezTo>
                  <a:lnTo>
                    <a:pt x="4695361" y="1875506"/>
                  </a:lnTo>
                  <a:cubicBezTo>
                    <a:pt x="4701241" y="1873580"/>
                    <a:pt x="4706921" y="1871550"/>
                    <a:pt x="4712395" y="1869422"/>
                  </a:cubicBezTo>
                  <a:cubicBezTo>
                    <a:pt x="4717872" y="1867293"/>
                    <a:pt x="4723271" y="1864909"/>
                    <a:pt x="4728594" y="1862273"/>
                  </a:cubicBezTo>
                  <a:cubicBezTo>
                    <a:pt x="4733919" y="1859637"/>
                    <a:pt x="4739293" y="1856696"/>
                    <a:pt x="4744717" y="1853451"/>
                  </a:cubicBezTo>
                  <a:cubicBezTo>
                    <a:pt x="4750143" y="1850207"/>
                    <a:pt x="4755744" y="1846504"/>
                    <a:pt x="4761526" y="1842348"/>
                  </a:cubicBezTo>
                  <a:close/>
                  <a:moveTo>
                    <a:pt x="4392240" y="1842348"/>
                  </a:moveTo>
                  <a:lnTo>
                    <a:pt x="4407147" y="1842348"/>
                  </a:lnTo>
                  <a:lnTo>
                    <a:pt x="4407147" y="2065327"/>
                  </a:lnTo>
                  <a:lnTo>
                    <a:pt x="4371860" y="2065327"/>
                  </a:lnTo>
                  <a:lnTo>
                    <a:pt x="4371860" y="1885544"/>
                  </a:lnTo>
                  <a:cubicBezTo>
                    <a:pt x="4365472" y="1890108"/>
                    <a:pt x="4358602" y="1893985"/>
                    <a:pt x="4351250" y="1897179"/>
                  </a:cubicBezTo>
                  <a:cubicBezTo>
                    <a:pt x="4343899" y="1900374"/>
                    <a:pt x="4335508" y="1903188"/>
                    <a:pt x="4326077" y="1905622"/>
                  </a:cubicBezTo>
                  <a:lnTo>
                    <a:pt x="4326077" y="1875506"/>
                  </a:lnTo>
                  <a:cubicBezTo>
                    <a:pt x="4331958" y="1873580"/>
                    <a:pt x="4337636" y="1871550"/>
                    <a:pt x="4343113" y="1869422"/>
                  </a:cubicBezTo>
                  <a:cubicBezTo>
                    <a:pt x="4348588" y="1867293"/>
                    <a:pt x="4353988" y="1864909"/>
                    <a:pt x="4359312" y="1862273"/>
                  </a:cubicBezTo>
                  <a:cubicBezTo>
                    <a:pt x="4364634" y="1859637"/>
                    <a:pt x="4370010" y="1856696"/>
                    <a:pt x="4375433" y="1853451"/>
                  </a:cubicBezTo>
                  <a:cubicBezTo>
                    <a:pt x="4380859" y="1850207"/>
                    <a:pt x="4386462" y="1846504"/>
                    <a:pt x="4392240" y="1842348"/>
                  </a:cubicBezTo>
                  <a:close/>
                  <a:moveTo>
                    <a:pt x="4091705" y="1842348"/>
                  </a:moveTo>
                  <a:lnTo>
                    <a:pt x="4106611" y="1842348"/>
                  </a:lnTo>
                  <a:lnTo>
                    <a:pt x="4106611" y="2065327"/>
                  </a:lnTo>
                  <a:lnTo>
                    <a:pt x="4071322" y="2065327"/>
                  </a:lnTo>
                  <a:lnTo>
                    <a:pt x="4071322" y="1885544"/>
                  </a:lnTo>
                  <a:cubicBezTo>
                    <a:pt x="4064935" y="1890108"/>
                    <a:pt x="4058065" y="1893985"/>
                    <a:pt x="4050714" y="1897179"/>
                  </a:cubicBezTo>
                  <a:cubicBezTo>
                    <a:pt x="4043362" y="1900374"/>
                    <a:pt x="4034970" y="1903188"/>
                    <a:pt x="4025540" y="1905622"/>
                  </a:cubicBezTo>
                  <a:lnTo>
                    <a:pt x="4025540" y="1875506"/>
                  </a:lnTo>
                  <a:cubicBezTo>
                    <a:pt x="4031421" y="1873580"/>
                    <a:pt x="4037100" y="1871550"/>
                    <a:pt x="4042575" y="1869422"/>
                  </a:cubicBezTo>
                  <a:cubicBezTo>
                    <a:pt x="4048051" y="1867293"/>
                    <a:pt x="4053451" y="1864909"/>
                    <a:pt x="4058774" y="1862273"/>
                  </a:cubicBezTo>
                  <a:cubicBezTo>
                    <a:pt x="4064098" y="1859637"/>
                    <a:pt x="4069473" y="1856696"/>
                    <a:pt x="4074897" y="1853451"/>
                  </a:cubicBezTo>
                  <a:cubicBezTo>
                    <a:pt x="4080323" y="1850207"/>
                    <a:pt x="4085924" y="1846504"/>
                    <a:pt x="4091705" y="1842348"/>
                  </a:cubicBezTo>
                  <a:close/>
                  <a:moveTo>
                    <a:pt x="3884133" y="1842348"/>
                  </a:moveTo>
                  <a:cubicBezTo>
                    <a:pt x="3931577" y="1842348"/>
                    <a:pt x="3955300" y="1879210"/>
                    <a:pt x="3955300" y="1952935"/>
                  </a:cubicBezTo>
                  <a:cubicBezTo>
                    <a:pt x="3955300" y="1989447"/>
                    <a:pt x="3948604" y="2017306"/>
                    <a:pt x="3935215" y="2036514"/>
                  </a:cubicBezTo>
                  <a:cubicBezTo>
                    <a:pt x="3921823" y="2055722"/>
                    <a:pt x="3903090" y="2065327"/>
                    <a:pt x="3879017" y="2065327"/>
                  </a:cubicBezTo>
                  <a:cubicBezTo>
                    <a:pt x="3856548" y="2065327"/>
                    <a:pt x="3839020" y="2056149"/>
                    <a:pt x="3826433" y="2037793"/>
                  </a:cubicBezTo>
                  <a:cubicBezTo>
                    <a:pt x="3813843" y="2019437"/>
                    <a:pt x="3807549" y="1992907"/>
                    <a:pt x="3807549" y="1958202"/>
                  </a:cubicBezTo>
                  <a:cubicBezTo>
                    <a:pt x="3807549" y="1920085"/>
                    <a:pt x="3814119" y="1891247"/>
                    <a:pt x="3827259" y="1871686"/>
                  </a:cubicBezTo>
                  <a:cubicBezTo>
                    <a:pt x="3840399" y="1852127"/>
                    <a:pt x="3859358" y="1842348"/>
                    <a:pt x="3884133" y="1842348"/>
                  </a:cubicBezTo>
                  <a:close/>
                  <a:moveTo>
                    <a:pt x="3659468" y="1842348"/>
                  </a:moveTo>
                  <a:cubicBezTo>
                    <a:pt x="3706913" y="1842348"/>
                    <a:pt x="3730636" y="1879210"/>
                    <a:pt x="3730636" y="1952935"/>
                  </a:cubicBezTo>
                  <a:cubicBezTo>
                    <a:pt x="3730636" y="1989447"/>
                    <a:pt x="3723940" y="2017306"/>
                    <a:pt x="3710550" y="2036514"/>
                  </a:cubicBezTo>
                  <a:cubicBezTo>
                    <a:pt x="3697160" y="2055722"/>
                    <a:pt x="3678427" y="2065327"/>
                    <a:pt x="3654354" y="2065327"/>
                  </a:cubicBezTo>
                  <a:cubicBezTo>
                    <a:pt x="3631885" y="2065327"/>
                    <a:pt x="3614357" y="2056149"/>
                    <a:pt x="3601769" y="2037793"/>
                  </a:cubicBezTo>
                  <a:cubicBezTo>
                    <a:pt x="3589180" y="2019437"/>
                    <a:pt x="3582886" y="1992907"/>
                    <a:pt x="3582886" y="1958202"/>
                  </a:cubicBezTo>
                  <a:cubicBezTo>
                    <a:pt x="3582886" y="1920085"/>
                    <a:pt x="3589456" y="1891247"/>
                    <a:pt x="3602596" y="1871686"/>
                  </a:cubicBezTo>
                  <a:cubicBezTo>
                    <a:pt x="3615736" y="1852127"/>
                    <a:pt x="3634693" y="1842348"/>
                    <a:pt x="3659468" y="1842348"/>
                  </a:cubicBezTo>
                  <a:close/>
                  <a:moveTo>
                    <a:pt x="3513017" y="1842348"/>
                  </a:moveTo>
                  <a:lnTo>
                    <a:pt x="3527924" y="1842348"/>
                  </a:lnTo>
                  <a:lnTo>
                    <a:pt x="3527924" y="2065327"/>
                  </a:lnTo>
                  <a:lnTo>
                    <a:pt x="3492635" y="2065327"/>
                  </a:lnTo>
                  <a:lnTo>
                    <a:pt x="3492635" y="1885544"/>
                  </a:lnTo>
                  <a:cubicBezTo>
                    <a:pt x="3486247" y="1890108"/>
                    <a:pt x="3479377" y="1893985"/>
                    <a:pt x="3472027" y="1897179"/>
                  </a:cubicBezTo>
                  <a:cubicBezTo>
                    <a:pt x="3464674" y="1900374"/>
                    <a:pt x="3456284" y="1903188"/>
                    <a:pt x="3446854" y="1905622"/>
                  </a:cubicBezTo>
                  <a:lnTo>
                    <a:pt x="3446854" y="1875506"/>
                  </a:lnTo>
                  <a:cubicBezTo>
                    <a:pt x="3452735" y="1873580"/>
                    <a:pt x="3458413" y="1871550"/>
                    <a:pt x="3463889" y="1869422"/>
                  </a:cubicBezTo>
                  <a:cubicBezTo>
                    <a:pt x="3469364" y="1867293"/>
                    <a:pt x="3474763" y="1864909"/>
                    <a:pt x="3480087" y="1862273"/>
                  </a:cubicBezTo>
                  <a:cubicBezTo>
                    <a:pt x="3485411" y="1859637"/>
                    <a:pt x="3490785" y="1856696"/>
                    <a:pt x="3496210" y="1853451"/>
                  </a:cubicBezTo>
                  <a:cubicBezTo>
                    <a:pt x="3501636" y="1850207"/>
                    <a:pt x="3507237" y="1846504"/>
                    <a:pt x="3513017" y="1842348"/>
                  </a:cubicBezTo>
                  <a:close/>
                  <a:moveTo>
                    <a:pt x="3208218" y="1842348"/>
                  </a:moveTo>
                  <a:lnTo>
                    <a:pt x="3223124" y="1842348"/>
                  </a:lnTo>
                  <a:lnTo>
                    <a:pt x="3223124" y="2065327"/>
                  </a:lnTo>
                  <a:lnTo>
                    <a:pt x="3187836" y="2065327"/>
                  </a:lnTo>
                  <a:lnTo>
                    <a:pt x="3187836" y="1885544"/>
                  </a:lnTo>
                  <a:cubicBezTo>
                    <a:pt x="3181448" y="1890108"/>
                    <a:pt x="3174578" y="1893985"/>
                    <a:pt x="3167227" y="1897179"/>
                  </a:cubicBezTo>
                  <a:cubicBezTo>
                    <a:pt x="3159874" y="1900374"/>
                    <a:pt x="3151483" y="1903188"/>
                    <a:pt x="3142053" y="1905622"/>
                  </a:cubicBezTo>
                  <a:lnTo>
                    <a:pt x="3142053" y="1875506"/>
                  </a:lnTo>
                  <a:cubicBezTo>
                    <a:pt x="3147935" y="1873580"/>
                    <a:pt x="3153614" y="1871550"/>
                    <a:pt x="3159089" y="1869422"/>
                  </a:cubicBezTo>
                  <a:cubicBezTo>
                    <a:pt x="3164565" y="1867293"/>
                    <a:pt x="3169964" y="1864909"/>
                    <a:pt x="3175288" y="1862273"/>
                  </a:cubicBezTo>
                  <a:cubicBezTo>
                    <a:pt x="3180612" y="1859637"/>
                    <a:pt x="3185985" y="1856696"/>
                    <a:pt x="3191409" y="1853451"/>
                  </a:cubicBezTo>
                  <a:cubicBezTo>
                    <a:pt x="3196835" y="1850207"/>
                    <a:pt x="3202438" y="1846504"/>
                    <a:pt x="3208218" y="1842348"/>
                  </a:cubicBezTo>
                  <a:close/>
                  <a:moveTo>
                    <a:pt x="2813523" y="1842348"/>
                  </a:moveTo>
                  <a:lnTo>
                    <a:pt x="2828429" y="1842348"/>
                  </a:lnTo>
                  <a:lnTo>
                    <a:pt x="2828429" y="2065327"/>
                  </a:lnTo>
                  <a:lnTo>
                    <a:pt x="2793141" y="2065327"/>
                  </a:lnTo>
                  <a:lnTo>
                    <a:pt x="2793141" y="1885544"/>
                  </a:lnTo>
                  <a:cubicBezTo>
                    <a:pt x="2786752" y="1890108"/>
                    <a:pt x="2779883" y="1893985"/>
                    <a:pt x="2772531" y="1897179"/>
                  </a:cubicBezTo>
                  <a:cubicBezTo>
                    <a:pt x="2765180" y="1900374"/>
                    <a:pt x="2756789" y="1903188"/>
                    <a:pt x="2747358" y="1905622"/>
                  </a:cubicBezTo>
                  <a:lnTo>
                    <a:pt x="2747358" y="1875506"/>
                  </a:lnTo>
                  <a:cubicBezTo>
                    <a:pt x="2753240" y="1873580"/>
                    <a:pt x="2758919" y="1871550"/>
                    <a:pt x="2764394" y="1869422"/>
                  </a:cubicBezTo>
                  <a:cubicBezTo>
                    <a:pt x="2769870" y="1867293"/>
                    <a:pt x="2775268" y="1864909"/>
                    <a:pt x="2780592" y="1862273"/>
                  </a:cubicBezTo>
                  <a:cubicBezTo>
                    <a:pt x="2785917" y="1859637"/>
                    <a:pt x="2791290" y="1856696"/>
                    <a:pt x="2796715" y="1853451"/>
                  </a:cubicBezTo>
                  <a:cubicBezTo>
                    <a:pt x="2802141" y="1850207"/>
                    <a:pt x="2807743" y="1846504"/>
                    <a:pt x="2813523" y="1842348"/>
                  </a:cubicBezTo>
                  <a:close/>
                  <a:moveTo>
                    <a:pt x="2662929" y="1842348"/>
                  </a:moveTo>
                  <a:lnTo>
                    <a:pt x="2677834" y="1842348"/>
                  </a:lnTo>
                  <a:lnTo>
                    <a:pt x="2677834" y="2065327"/>
                  </a:lnTo>
                  <a:lnTo>
                    <a:pt x="2642547" y="2065327"/>
                  </a:lnTo>
                  <a:lnTo>
                    <a:pt x="2642547" y="1885544"/>
                  </a:lnTo>
                  <a:cubicBezTo>
                    <a:pt x="2636159" y="1890108"/>
                    <a:pt x="2629289" y="1893985"/>
                    <a:pt x="2621937" y="1897179"/>
                  </a:cubicBezTo>
                  <a:cubicBezTo>
                    <a:pt x="2614586" y="1900374"/>
                    <a:pt x="2606195" y="1903188"/>
                    <a:pt x="2596765" y="1905622"/>
                  </a:cubicBezTo>
                  <a:lnTo>
                    <a:pt x="2596765" y="1875506"/>
                  </a:lnTo>
                  <a:cubicBezTo>
                    <a:pt x="2602646" y="1873580"/>
                    <a:pt x="2608325" y="1871550"/>
                    <a:pt x="2613800" y="1869422"/>
                  </a:cubicBezTo>
                  <a:cubicBezTo>
                    <a:pt x="2619276" y="1867293"/>
                    <a:pt x="2624675" y="1864909"/>
                    <a:pt x="2629998" y="1862273"/>
                  </a:cubicBezTo>
                  <a:cubicBezTo>
                    <a:pt x="2635322" y="1859637"/>
                    <a:pt x="2640696" y="1856696"/>
                    <a:pt x="2646120" y="1853451"/>
                  </a:cubicBezTo>
                  <a:cubicBezTo>
                    <a:pt x="2651547" y="1850207"/>
                    <a:pt x="2657149" y="1846504"/>
                    <a:pt x="2662929" y="1842348"/>
                  </a:cubicBezTo>
                  <a:close/>
                  <a:moveTo>
                    <a:pt x="2529603" y="1842348"/>
                  </a:moveTo>
                  <a:lnTo>
                    <a:pt x="2544509" y="1842348"/>
                  </a:lnTo>
                  <a:lnTo>
                    <a:pt x="2544509" y="2065327"/>
                  </a:lnTo>
                  <a:lnTo>
                    <a:pt x="2509221" y="2065327"/>
                  </a:lnTo>
                  <a:lnTo>
                    <a:pt x="2509221" y="1885544"/>
                  </a:lnTo>
                  <a:cubicBezTo>
                    <a:pt x="2502834" y="1890108"/>
                    <a:pt x="2495963" y="1893985"/>
                    <a:pt x="2488613" y="1897179"/>
                  </a:cubicBezTo>
                  <a:cubicBezTo>
                    <a:pt x="2481260" y="1900374"/>
                    <a:pt x="2472869" y="1903188"/>
                    <a:pt x="2463440" y="1905622"/>
                  </a:cubicBezTo>
                  <a:lnTo>
                    <a:pt x="2463440" y="1875506"/>
                  </a:lnTo>
                  <a:cubicBezTo>
                    <a:pt x="2469321" y="1873580"/>
                    <a:pt x="2474999" y="1871550"/>
                    <a:pt x="2480475" y="1869422"/>
                  </a:cubicBezTo>
                  <a:cubicBezTo>
                    <a:pt x="2485951" y="1867293"/>
                    <a:pt x="2491349" y="1864909"/>
                    <a:pt x="2496673" y="1862273"/>
                  </a:cubicBezTo>
                  <a:cubicBezTo>
                    <a:pt x="2501998" y="1859637"/>
                    <a:pt x="2507372" y="1856696"/>
                    <a:pt x="2512795" y="1853451"/>
                  </a:cubicBezTo>
                  <a:cubicBezTo>
                    <a:pt x="2518222" y="1850207"/>
                    <a:pt x="2523823" y="1846504"/>
                    <a:pt x="2529603" y="1842348"/>
                  </a:cubicBezTo>
                  <a:close/>
                  <a:moveTo>
                    <a:pt x="1775939" y="1842348"/>
                  </a:moveTo>
                  <a:lnTo>
                    <a:pt x="1790845" y="1842348"/>
                  </a:lnTo>
                  <a:lnTo>
                    <a:pt x="1790845" y="2065327"/>
                  </a:lnTo>
                  <a:lnTo>
                    <a:pt x="1755557" y="2065327"/>
                  </a:lnTo>
                  <a:lnTo>
                    <a:pt x="1755557" y="1885544"/>
                  </a:lnTo>
                  <a:cubicBezTo>
                    <a:pt x="1749170" y="1890108"/>
                    <a:pt x="1742299" y="1893985"/>
                    <a:pt x="1734948" y="1897179"/>
                  </a:cubicBezTo>
                  <a:cubicBezTo>
                    <a:pt x="1727596" y="1900374"/>
                    <a:pt x="1719205" y="1903188"/>
                    <a:pt x="1709775" y="1905622"/>
                  </a:cubicBezTo>
                  <a:lnTo>
                    <a:pt x="1709775" y="1875506"/>
                  </a:lnTo>
                  <a:cubicBezTo>
                    <a:pt x="1715656" y="1873580"/>
                    <a:pt x="1721335" y="1871550"/>
                    <a:pt x="1726810" y="1869422"/>
                  </a:cubicBezTo>
                  <a:cubicBezTo>
                    <a:pt x="1732286" y="1867293"/>
                    <a:pt x="1737686" y="1864909"/>
                    <a:pt x="1743009" y="1862273"/>
                  </a:cubicBezTo>
                  <a:cubicBezTo>
                    <a:pt x="1748333" y="1859637"/>
                    <a:pt x="1753707" y="1856696"/>
                    <a:pt x="1759132" y="1853451"/>
                  </a:cubicBezTo>
                  <a:cubicBezTo>
                    <a:pt x="1764557" y="1850207"/>
                    <a:pt x="1770159" y="1846504"/>
                    <a:pt x="1775939" y="1842348"/>
                  </a:cubicBezTo>
                  <a:close/>
                  <a:moveTo>
                    <a:pt x="1622547" y="1842348"/>
                  </a:moveTo>
                  <a:lnTo>
                    <a:pt x="1637453" y="1842348"/>
                  </a:lnTo>
                  <a:lnTo>
                    <a:pt x="1637453" y="2065327"/>
                  </a:lnTo>
                  <a:lnTo>
                    <a:pt x="1602165" y="2065327"/>
                  </a:lnTo>
                  <a:lnTo>
                    <a:pt x="1602165" y="1885544"/>
                  </a:lnTo>
                  <a:cubicBezTo>
                    <a:pt x="1595777" y="1890108"/>
                    <a:pt x="1588907" y="1893985"/>
                    <a:pt x="1581556" y="1897179"/>
                  </a:cubicBezTo>
                  <a:cubicBezTo>
                    <a:pt x="1574204" y="1900374"/>
                    <a:pt x="1565813" y="1903188"/>
                    <a:pt x="1556383" y="1905622"/>
                  </a:cubicBezTo>
                  <a:lnTo>
                    <a:pt x="1556383" y="1875506"/>
                  </a:lnTo>
                  <a:cubicBezTo>
                    <a:pt x="1562264" y="1873580"/>
                    <a:pt x="1567943" y="1871550"/>
                    <a:pt x="1573418" y="1869422"/>
                  </a:cubicBezTo>
                  <a:cubicBezTo>
                    <a:pt x="1578894" y="1867293"/>
                    <a:pt x="1584294" y="1864909"/>
                    <a:pt x="1589617" y="1862273"/>
                  </a:cubicBezTo>
                  <a:cubicBezTo>
                    <a:pt x="1594941" y="1859637"/>
                    <a:pt x="1600315" y="1856696"/>
                    <a:pt x="1605740" y="1853451"/>
                  </a:cubicBezTo>
                  <a:cubicBezTo>
                    <a:pt x="1611165" y="1850207"/>
                    <a:pt x="1616767" y="1846504"/>
                    <a:pt x="1622547" y="1842348"/>
                  </a:cubicBezTo>
                  <a:close/>
                  <a:moveTo>
                    <a:pt x="1328478" y="1842348"/>
                  </a:moveTo>
                  <a:lnTo>
                    <a:pt x="1343384" y="1842348"/>
                  </a:lnTo>
                  <a:lnTo>
                    <a:pt x="1343384" y="2065327"/>
                  </a:lnTo>
                  <a:lnTo>
                    <a:pt x="1308096" y="2065327"/>
                  </a:lnTo>
                  <a:lnTo>
                    <a:pt x="1308096" y="1885544"/>
                  </a:lnTo>
                  <a:cubicBezTo>
                    <a:pt x="1301708" y="1890108"/>
                    <a:pt x="1294838" y="1893985"/>
                    <a:pt x="1287487" y="1897179"/>
                  </a:cubicBezTo>
                  <a:cubicBezTo>
                    <a:pt x="1280135" y="1900374"/>
                    <a:pt x="1271744" y="1903188"/>
                    <a:pt x="1262314" y="1905622"/>
                  </a:cubicBezTo>
                  <a:lnTo>
                    <a:pt x="1262314" y="1875506"/>
                  </a:lnTo>
                  <a:cubicBezTo>
                    <a:pt x="1268195" y="1873580"/>
                    <a:pt x="1273874" y="1871550"/>
                    <a:pt x="1279349" y="1869422"/>
                  </a:cubicBezTo>
                  <a:cubicBezTo>
                    <a:pt x="1284825" y="1867293"/>
                    <a:pt x="1290225" y="1864909"/>
                    <a:pt x="1295548" y="1862273"/>
                  </a:cubicBezTo>
                  <a:cubicBezTo>
                    <a:pt x="1300872" y="1859637"/>
                    <a:pt x="1306246" y="1856696"/>
                    <a:pt x="1311671" y="1853451"/>
                  </a:cubicBezTo>
                  <a:cubicBezTo>
                    <a:pt x="1317096" y="1850207"/>
                    <a:pt x="1322698" y="1846504"/>
                    <a:pt x="1328478" y="1842348"/>
                  </a:cubicBezTo>
                  <a:close/>
                  <a:moveTo>
                    <a:pt x="953339" y="1842348"/>
                  </a:moveTo>
                  <a:lnTo>
                    <a:pt x="968245" y="1842348"/>
                  </a:lnTo>
                  <a:lnTo>
                    <a:pt x="968245" y="2065327"/>
                  </a:lnTo>
                  <a:lnTo>
                    <a:pt x="932957" y="2065327"/>
                  </a:lnTo>
                  <a:lnTo>
                    <a:pt x="932957" y="1885544"/>
                  </a:lnTo>
                  <a:cubicBezTo>
                    <a:pt x="926569" y="1890108"/>
                    <a:pt x="919699" y="1893985"/>
                    <a:pt x="912348" y="1897179"/>
                  </a:cubicBezTo>
                  <a:cubicBezTo>
                    <a:pt x="904996" y="1900374"/>
                    <a:pt x="896605" y="1903188"/>
                    <a:pt x="887175" y="1905622"/>
                  </a:cubicBezTo>
                  <a:lnTo>
                    <a:pt x="887175" y="1875506"/>
                  </a:lnTo>
                  <a:cubicBezTo>
                    <a:pt x="893056" y="1873580"/>
                    <a:pt x="898735" y="1871550"/>
                    <a:pt x="904210" y="1869422"/>
                  </a:cubicBezTo>
                  <a:cubicBezTo>
                    <a:pt x="909686" y="1867293"/>
                    <a:pt x="915086" y="1864909"/>
                    <a:pt x="920409" y="1862273"/>
                  </a:cubicBezTo>
                  <a:cubicBezTo>
                    <a:pt x="925733" y="1859637"/>
                    <a:pt x="931107" y="1856696"/>
                    <a:pt x="936532" y="1853451"/>
                  </a:cubicBezTo>
                  <a:cubicBezTo>
                    <a:pt x="941957" y="1850207"/>
                    <a:pt x="947559" y="1846504"/>
                    <a:pt x="953339" y="1842348"/>
                  </a:cubicBezTo>
                  <a:close/>
                  <a:moveTo>
                    <a:pt x="804482" y="1842348"/>
                  </a:moveTo>
                  <a:lnTo>
                    <a:pt x="819388" y="1842348"/>
                  </a:lnTo>
                  <a:lnTo>
                    <a:pt x="819388" y="2065327"/>
                  </a:lnTo>
                  <a:lnTo>
                    <a:pt x="784100" y="2065327"/>
                  </a:lnTo>
                  <a:lnTo>
                    <a:pt x="784100" y="1885544"/>
                  </a:lnTo>
                  <a:cubicBezTo>
                    <a:pt x="777712" y="1890108"/>
                    <a:pt x="770842" y="1893985"/>
                    <a:pt x="763491" y="1897179"/>
                  </a:cubicBezTo>
                  <a:cubicBezTo>
                    <a:pt x="756139" y="1900374"/>
                    <a:pt x="747748" y="1903188"/>
                    <a:pt x="738318" y="1905622"/>
                  </a:cubicBezTo>
                  <a:lnTo>
                    <a:pt x="738318" y="1875506"/>
                  </a:lnTo>
                  <a:cubicBezTo>
                    <a:pt x="744199" y="1873580"/>
                    <a:pt x="749878" y="1871550"/>
                    <a:pt x="755353" y="1869422"/>
                  </a:cubicBezTo>
                  <a:cubicBezTo>
                    <a:pt x="760829" y="1867293"/>
                    <a:pt x="766229" y="1864909"/>
                    <a:pt x="771552" y="1862273"/>
                  </a:cubicBezTo>
                  <a:cubicBezTo>
                    <a:pt x="776876" y="1859637"/>
                    <a:pt x="782250" y="1856696"/>
                    <a:pt x="787675" y="1853451"/>
                  </a:cubicBezTo>
                  <a:cubicBezTo>
                    <a:pt x="793100" y="1850207"/>
                    <a:pt x="798702" y="1846504"/>
                    <a:pt x="804482" y="1842348"/>
                  </a:cubicBezTo>
                  <a:close/>
                  <a:moveTo>
                    <a:pt x="655625" y="1842348"/>
                  </a:moveTo>
                  <a:lnTo>
                    <a:pt x="670531" y="1842348"/>
                  </a:lnTo>
                  <a:lnTo>
                    <a:pt x="670531" y="2065327"/>
                  </a:lnTo>
                  <a:lnTo>
                    <a:pt x="635243" y="2065327"/>
                  </a:lnTo>
                  <a:lnTo>
                    <a:pt x="635243" y="1885544"/>
                  </a:lnTo>
                  <a:cubicBezTo>
                    <a:pt x="628855" y="1890108"/>
                    <a:pt x="621985" y="1893985"/>
                    <a:pt x="614634" y="1897179"/>
                  </a:cubicBezTo>
                  <a:cubicBezTo>
                    <a:pt x="607282" y="1900374"/>
                    <a:pt x="598891" y="1903188"/>
                    <a:pt x="589461" y="1905622"/>
                  </a:cubicBezTo>
                  <a:lnTo>
                    <a:pt x="589461" y="1875506"/>
                  </a:lnTo>
                  <a:cubicBezTo>
                    <a:pt x="595342" y="1873580"/>
                    <a:pt x="601021" y="1871550"/>
                    <a:pt x="606496" y="1869422"/>
                  </a:cubicBezTo>
                  <a:cubicBezTo>
                    <a:pt x="611972" y="1867293"/>
                    <a:pt x="617372" y="1864909"/>
                    <a:pt x="622695" y="1862273"/>
                  </a:cubicBezTo>
                  <a:cubicBezTo>
                    <a:pt x="628019" y="1859637"/>
                    <a:pt x="633393" y="1856696"/>
                    <a:pt x="638818" y="1853451"/>
                  </a:cubicBezTo>
                  <a:cubicBezTo>
                    <a:pt x="644243" y="1850207"/>
                    <a:pt x="649845" y="1846504"/>
                    <a:pt x="655625" y="1842348"/>
                  </a:cubicBezTo>
                  <a:close/>
                  <a:moveTo>
                    <a:pt x="506768" y="1842348"/>
                  </a:moveTo>
                  <a:lnTo>
                    <a:pt x="521674" y="1842348"/>
                  </a:lnTo>
                  <a:lnTo>
                    <a:pt x="521674" y="2065327"/>
                  </a:lnTo>
                  <a:lnTo>
                    <a:pt x="486386" y="2065327"/>
                  </a:lnTo>
                  <a:lnTo>
                    <a:pt x="486386" y="1885544"/>
                  </a:lnTo>
                  <a:cubicBezTo>
                    <a:pt x="479998" y="1890108"/>
                    <a:pt x="473128" y="1893985"/>
                    <a:pt x="465777" y="1897179"/>
                  </a:cubicBezTo>
                  <a:cubicBezTo>
                    <a:pt x="458425" y="1900374"/>
                    <a:pt x="450034" y="1903188"/>
                    <a:pt x="440604" y="1905622"/>
                  </a:cubicBezTo>
                  <a:lnTo>
                    <a:pt x="440604" y="1875506"/>
                  </a:lnTo>
                  <a:cubicBezTo>
                    <a:pt x="446485" y="1873580"/>
                    <a:pt x="452164" y="1871550"/>
                    <a:pt x="457639" y="1869422"/>
                  </a:cubicBezTo>
                  <a:cubicBezTo>
                    <a:pt x="463115" y="1867293"/>
                    <a:pt x="468515" y="1864909"/>
                    <a:pt x="473838" y="1862273"/>
                  </a:cubicBezTo>
                  <a:cubicBezTo>
                    <a:pt x="479162" y="1859637"/>
                    <a:pt x="484536" y="1856696"/>
                    <a:pt x="489961" y="1853451"/>
                  </a:cubicBezTo>
                  <a:cubicBezTo>
                    <a:pt x="495386" y="1850207"/>
                    <a:pt x="500988" y="1846504"/>
                    <a:pt x="506768" y="1842348"/>
                  </a:cubicBezTo>
                  <a:close/>
                  <a:moveTo>
                    <a:pt x="297354" y="1842348"/>
                  </a:moveTo>
                  <a:cubicBezTo>
                    <a:pt x="344798" y="1842348"/>
                    <a:pt x="368521" y="1879210"/>
                    <a:pt x="368521" y="1952935"/>
                  </a:cubicBezTo>
                  <a:cubicBezTo>
                    <a:pt x="368521" y="1989447"/>
                    <a:pt x="361826" y="2017306"/>
                    <a:pt x="348435" y="2036514"/>
                  </a:cubicBezTo>
                  <a:cubicBezTo>
                    <a:pt x="335044" y="2055722"/>
                    <a:pt x="316312" y="2065327"/>
                    <a:pt x="292238" y="2065327"/>
                  </a:cubicBezTo>
                  <a:cubicBezTo>
                    <a:pt x="269770" y="2065327"/>
                    <a:pt x="252241" y="2056149"/>
                    <a:pt x="239653" y="2037793"/>
                  </a:cubicBezTo>
                  <a:cubicBezTo>
                    <a:pt x="227064" y="2019437"/>
                    <a:pt x="220770" y="1992907"/>
                    <a:pt x="220770" y="1958202"/>
                  </a:cubicBezTo>
                  <a:cubicBezTo>
                    <a:pt x="220770" y="1920085"/>
                    <a:pt x="227340" y="1891247"/>
                    <a:pt x="240480" y="1871686"/>
                  </a:cubicBezTo>
                  <a:cubicBezTo>
                    <a:pt x="253621" y="1852127"/>
                    <a:pt x="272578" y="1842348"/>
                    <a:pt x="297354" y="1842348"/>
                  </a:cubicBezTo>
                  <a:close/>
                  <a:moveTo>
                    <a:pt x="10090194" y="1549837"/>
                  </a:moveTo>
                  <a:cubicBezTo>
                    <a:pt x="10064014" y="1549837"/>
                    <a:pt x="10050924" y="1578675"/>
                    <a:pt x="10050924" y="1636351"/>
                  </a:cubicBezTo>
                  <a:cubicBezTo>
                    <a:pt x="10050924" y="1690315"/>
                    <a:pt x="10063763" y="1717298"/>
                    <a:pt x="10089442" y="1717298"/>
                  </a:cubicBezTo>
                  <a:cubicBezTo>
                    <a:pt x="10114718" y="1717298"/>
                    <a:pt x="10127357" y="1689865"/>
                    <a:pt x="10127357" y="1634998"/>
                  </a:cubicBezTo>
                  <a:cubicBezTo>
                    <a:pt x="10127357" y="1578223"/>
                    <a:pt x="10114969" y="1549837"/>
                    <a:pt x="10090194" y="1549837"/>
                  </a:cubicBezTo>
                  <a:close/>
                  <a:moveTo>
                    <a:pt x="9869271" y="1549837"/>
                  </a:moveTo>
                  <a:cubicBezTo>
                    <a:pt x="9843091" y="1549837"/>
                    <a:pt x="9830001" y="1578675"/>
                    <a:pt x="9830001" y="1636351"/>
                  </a:cubicBezTo>
                  <a:cubicBezTo>
                    <a:pt x="9830001" y="1690315"/>
                    <a:pt x="9842840" y="1717298"/>
                    <a:pt x="9868519" y="1717298"/>
                  </a:cubicBezTo>
                  <a:cubicBezTo>
                    <a:pt x="9893795" y="1717298"/>
                    <a:pt x="9906434" y="1689865"/>
                    <a:pt x="9906434" y="1634998"/>
                  </a:cubicBezTo>
                  <a:cubicBezTo>
                    <a:pt x="9906434" y="1578223"/>
                    <a:pt x="9894046" y="1549837"/>
                    <a:pt x="9869271" y="1549837"/>
                  </a:cubicBezTo>
                  <a:close/>
                  <a:moveTo>
                    <a:pt x="9207611" y="1549837"/>
                  </a:moveTo>
                  <a:cubicBezTo>
                    <a:pt x="9181431" y="1549837"/>
                    <a:pt x="9168341" y="1578675"/>
                    <a:pt x="9168341" y="1636351"/>
                  </a:cubicBezTo>
                  <a:cubicBezTo>
                    <a:pt x="9168341" y="1690315"/>
                    <a:pt x="9181180" y="1717298"/>
                    <a:pt x="9206859" y="1717298"/>
                  </a:cubicBezTo>
                  <a:cubicBezTo>
                    <a:pt x="9232135" y="1717298"/>
                    <a:pt x="9244774" y="1689865"/>
                    <a:pt x="9244774" y="1634998"/>
                  </a:cubicBezTo>
                  <a:cubicBezTo>
                    <a:pt x="9244774" y="1578223"/>
                    <a:pt x="9232386" y="1549837"/>
                    <a:pt x="9207611" y="1549837"/>
                  </a:cubicBezTo>
                  <a:close/>
                  <a:moveTo>
                    <a:pt x="8986688" y="1549837"/>
                  </a:moveTo>
                  <a:cubicBezTo>
                    <a:pt x="8960508" y="1549837"/>
                    <a:pt x="8947418" y="1578675"/>
                    <a:pt x="8947418" y="1636351"/>
                  </a:cubicBezTo>
                  <a:cubicBezTo>
                    <a:pt x="8947418" y="1690315"/>
                    <a:pt x="8960257" y="1717298"/>
                    <a:pt x="8985936" y="1717298"/>
                  </a:cubicBezTo>
                  <a:cubicBezTo>
                    <a:pt x="9011212" y="1717298"/>
                    <a:pt x="9023851" y="1689865"/>
                    <a:pt x="9023851" y="1634998"/>
                  </a:cubicBezTo>
                  <a:cubicBezTo>
                    <a:pt x="9023851" y="1578223"/>
                    <a:pt x="9011463" y="1549837"/>
                    <a:pt x="8986688" y="1549837"/>
                  </a:cubicBezTo>
                  <a:close/>
                  <a:moveTo>
                    <a:pt x="4034142" y="1549837"/>
                  </a:moveTo>
                  <a:cubicBezTo>
                    <a:pt x="4007962" y="1549837"/>
                    <a:pt x="3994872" y="1578675"/>
                    <a:pt x="3994872" y="1636351"/>
                  </a:cubicBezTo>
                  <a:cubicBezTo>
                    <a:pt x="3994872" y="1690315"/>
                    <a:pt x="4007711" y="1717298"/>
                    <a:pt x="4033390" y="1717298"/>
                  </a:cubicBezTo>
                  <a:cubicBezTo>
                    <a:pt x="4058667" y="1717298"/>
                    <a:pt x="4071305" y="1689865"/>
                    <a:pt x="4071305" y="1634998"/>
                  </a:cubicBezTo>
                  <a:cubicBezTo>
                    <a:pt x="4071305" y="1578223"/>
                    <a:pt x="4058917" y="1549837"/>
                    <a:pt x="4034142" y="1549837"/>
                  </a:cubicBezTo>
                  <a:close/>
                  <a:moveTo>
                    <a:pt x="3813219" y="1549837"/>
                  </a:moveTo>
                  <a:cubicBezTo>
                    <a:pt x="3787039" y="1549837"/>
                    <a:pt x="3773949" y="1578675"/>
                    <a:pt x="3773949" y="1636351"/>
                  </a:cubicBezTo>
                  <a:cubicBezTo>
                    <a:pt x="3773949" y="1690315"/>
                    <a:pt x="3786789" y="1717298"/>
                    <a:pt x="3812467" y="1717298"/>
                  </a:cubicBezTo>
                  <a:cubicBezTo>
                    <a:pt x="3837744" y="1717298"/>
                    <a:pt x="3850382" y="1689865"/>
                    <a:pt x="3850382" y="1634998"/>
                  </a:cubicBezTo>
                  <a:cubicBezTo>
                    <a:pt x="3850382" y="1578223"/>
                    <a:pt x="3837995" y="1549837"/>
                    <a:pt x="3813219" y="1549837"/>
                  </a:cubicBezTo>
                  <a:close/>
                  <a:moveTo>
                    <a:pt x="3151559" y="1549837"/>
                  </a:moveTo>
                  <a:cubicBezTo>
                    <a:pt x="3125380" y="1549837"/>
                    <a:pt x="3112289" y="1578675"/>
                    <a:pt x="3112289" y="1636351"/>
                  </a:cubicBezTo>
                  <a:cubicBezTo>
                    <a:pt x="3112289" y="1690315"/>
                    <a:pt x="3125129" y="1717298"/>
                    <a:pt x="3150808" y="1717298"/>
                  </a:cubicBezTo>
                  <a:cubicBezTo>
                    <a:pt x="3176084" y="1717298"/>
                    <a:pt x="3188723" y="1689865"/>
                    <a:pt x="3188723" y="1634998"/>
                  </a:cubicBezTo>
                  <a:cubicBezTo>
                    <a:pt x="3188723" y="1578223"/>
                    <a:pt x="3176334" y="1549837"/>
                    <a:pt x="3151559" y="1549837"/>
                  </a:cubicBezTo>
                  <a:close/>
                  <a:moveTo>
                    <a:pt x="2930637" y="1549837"/>
                  </a:moveTo>
                  <a:cubicBezTo>
                    <a:pt x="2904456" y="1549837"/>
                    <a:pt x="2891366" y="1578675"/>
                    <a:pt x="2891366" y="1636351"/>
                  </a:cubicBezTo>
                  <a:cubicBezTo>
                    <a:pt x="2891366" y="1690315"/>
                    <a:pt x="2904206" y="1717298"/>
                    <a:pt x="2929884" y="1717298"/>
                  </a:cubicBezTo>
                  <a:cubicBezTo>
                    <a:pt x="2955161" y="1717298"/>
                    <a:pt x="2967799" y="1689865"/>
                    <a:pt x="2967799" y="1634998"/>
                  </a:cubicBezTo>
                  <a:cubicBezTo>
                    <a:pt x="2967799" y="1578223"/>
                    <a:pt x="2955412" y="1549837"/>
                    <a:pt x="2930637" y="1549837"/>
                  </a:cubicBezTo>
                  <a:close/>
                  <a:moveTo>
                    <a:pt x="11918627" y="1522003"/>
                  </a:moveTo>
                  <a:lnTo>
                    <a:pt x="11933533" y="1522003"/>
                  </a:lnTo>
                  <a:lnTo>
                    <a:pt x="11933533" y="1744984"/>
                  </a:lnTo>
                  <a:lnTo>
                    <a:pt x="11898245" y="1744984"/>
                  </a:lnTo>
                  <a:lnTo>
                    <a:pt x="11898245" y="1565200"/>
                  </a:lnTo>
                  <a:cubicBezTo>
                    <a:pt x="11891857" y="1569764"/>
                    <a:pt x="11884987" y="1573641"/>
                    <a:pt x="11877636" y="1576836"/>
                  </a:cubicBezTo>
                  <a:cubicBezTo>
                    <a:pt x="11870284" y="1580031"/>
                    <a:pt x="11861893" y="1582843"/>
                    <a:pt x="11852463" y="1585278"/>
                  </a:cubicBezTo>
                  <a:lnTo>
                    <a:pt x="11852463" y="1555161"/>
                  </a:lnTo>
                  <a:cubicBezTo>
                    <a:pt x="11858344" y="1553236"/>
                    <a:pt x="11864023" y="1551207"/>
                    <a:pt x="11869498" y="1549078"/>
                  </a:cubicBezTo>
                  <a:cubicBezTo>
                    <a:pt x="11874974" y="1546948"/>
                    <a:pt x="11880374" y="1544566"/>
                    <a:pt x="11885697" y="1541929"/>
                  </a:cubicBezTo>
                  <a:cubicBezTo>
                    <a:pt x="11891021" y="1539292"/>
                    <a:pt x="11896395" y="1536351"/>
                    <a:pt x="11901820" y="1533106"/>
                  </a:cubicBezTo>
                  <a:cubicBezTo>
                    <a:pt x="11907245" y="1529862"/>
                    <a:pt x="11912847" y="1526162"/>
                    <a:pt x="11918627" y="1522003"/>
                  </a:cubicBezTo>
                  <a:close/>
                  <a:moveTo>
                    <a:pt x="11535759" y="1522003"/>
                  </a:moveTo>
                  <a:lnTo>
                    <a:pt x="11550665" y="1522003"/>
                  </a:lnTo>
                  <a:lnTo>
                    <a:pt x="11550665" y="1744984"/>
                  </a:lnTo>
                  <a:lnTo>
                    <a:pt x="11515377" y="1744984"/>
                  </a:lnTo>
                  <a:lnTo>
                    <a:pt x="11515377" y="1565200"/>
                  </a:lnTo>
                  <a:cubicBezTo>
                    <a:pt x="11508989" y="1569764"/>
                    <a:pt x="11502119" y="1573641"/>
                    <a:pt x="11494768" y="1576836"/>
                  </a:cubicBezTo>
                  <a:cubicBezTo>
                    <a:pt x="11487416" y="1580031"/>
                    <a:pt x="11479025" y="1582843"/>
                    <a:pt x="11469595" y="1585278"/>
                  </a:cubicBezTo>
                  <a:lnTo>
                    <a:pt x="11469595" y="1555161"/>
                  </a:lnTo>
                  <a:cubicBezTo>
                    <a:pt x="11475476" y="1553236"/>
                    <a:pt x="11481155" y="1551207"/>
                    <a:pt x="11486630" y="1549078"/>
                  </a:cubicBezTo>
                  <a:cubicBezTo>
                    <a:pt x="11492106" y="1546948"/>
                    <a:pt x="11497506" y="1544566"/>
                    <a:pt x="11502829" y="1541929"/>
                  </a:cubicBezTo>
                  <a:cubicBezTo>
                    <a:pt x="11508153" y="1539292"/>
                    <a:pt x="11513527" y="1536351"/>
                    <a:pt x="11518952" y="1533106"/>
                  </a:cubicBezTo>
                  <a:cubicBezTo>
                    <a:pt x="11524377" y="1529862"/>
                    <a:pt x="11529979" y="1526162"/>
                    <a:pt x="11535759" y="1522003"/>
                  </a:cubicBezTo>
                  <a:close/>
                  <a:moveTo>
                    <a:pt x="11391633" y="1522003"/>
                  </a:moveTo>
                  <a:lnTo>
                    <a:pt x="11406539" y="1522003"/>
                  </a:lnTo>
                  <a:lnTo>
                    <a:pt x="11406539" y="1744984"/>
                  </a:lnTo>
                  <a:lnTo>
                    <a:pt x="11371251" y="1744984"/>
                  </a:lnTo>
                  <a:lnTo>
                    <a:pt x="11371251" y="1565200"/>
                  </a:lnTo>
                  <a:cubicBezTo>
                    <a:pt x="11364863" y="1569764"/>
                    <a:pt x="11357993" y="1573641"/>
                    <a:pt x="11350642" y="1576836"/>
                  </a:cubicBezTo>
                  <a:cubicBezTo>
                    <a:pt x="11343290" y="1580031"/>
                    <a:pt x="11334899" y="1582843"/>
                    <a:pt x="11325469" y="1585278"/>
                  </a:cubicBezTo>
                  <a:lnTo>
                    <a:pt x="11325469" y="1555161"/>
                  </a:lnTo>
                  <a:cubicBezTo>
                    <a:pt x="11331350" y="1553236"/>
                    <a:pt x="11337029" y="1551207"/>
                    <a:pt x="11342504" y="1549078"/>
                  </a:cubicBezTo>
                  <a:cubicBezTo>
                    <a:pt x="11347980" y="1546948"/>
                    <a:pt x="11353380" y="1544566"/>
                    <a:pt x="11358703" y="1541929"/>
                  </a:cubicBezTo>
                  <a:cubicBezTo>
                    <a:pt x="11364027" y="1539292"/>
                    <a:pt x="11369401" y="1536351"/>
                    <a:pt x="11374826" y="1533106"/>
                  </a:cubicBezTo>
                  <a:cubicBezTo>
                    <a:pt x="11380251" y="1529862"/>
                    <a:pt x="11385853" y="1526162"/>
                    <a:pt x="11391633" y="1522003"/>
                  </a:cubicBezTo>
                  <a:close/>
                  <a:moveTo>
                    <a:pt x="11247508" y="1522003"/>
                  </a:moveTo>
                  <a:lnTo>
                    <a:pt x="11262414" y="1522003"/>
                  </a:lnTo>
                  <a:lnTo>
                    <a:pt x="11262414" y="1744984"/>
                  </a:lnTo>
                  <a:lnTo>
                    <a:pt x="11227126" y="1744984"/>
                  </a:lnTo>
                  <a:lnTo>
                    <a:pt x="11227126" y="1565200"/>
                  </a:lnTo>
                  <a:cubicBezTo>
                    <a:pt x="11220738" y="1569764"/>
                    <a:pt x="11213868" y="1573641"/>
                    <a:pt x="11206517" y="1576836"/>
                  </a:cubicBezTo>
                  <a:cubicBezTo>
                    <a:pt x="11199165" y="1580031"/>
                    <a:pt x="11190774" y="1582843"/>
                    <a:pt x="11181344" y="1585278"/>
                  </a:cubicBezTo>
                  <a:lnTo>
                    <a:pt x="11181344" y="1555161"/>
                  </a:lnTo>
                  <a:cubicBezTo>
                    <a:pt x="11187225" y="1553236"/>
                    <a:pt x="11192904" y="1551207"/>
                    <a:pt x="11198379" y="1549078"/>
                  </a:cubicBezTo>
                  <a:cubicBezTo>
                    <a:pt x="11203855" y="1546948"/>
                    <a:pt x="11209255" y="1544566"/>
                    <a:pt x="11214578" y="1541929"/>
                  </a:cubicBezTo>
                  <a:cubicBezTo>
                    <a:pt x="11219902" y="1539292"/>
                    <a:pt x="11225276" y="1536351"/>
                    <a:pt x="11230701" y="1533106"/>
                  </a:cubicBezTo>
                  <a:cubicBezTo>
                    <a:pt x="11236126" y="1529862"/>
                    <a:pt x="11241728" y="1526162"/>
                    <a:pt x="11247508" y="1522003"/>
                  </a:cubicBezTo>
                  <a:close/>
                  <a:moveTo>
                    <a:pt x="11103383" y="1522003"/>
                  </a:moveTo>
                  <a:lnTo>
                    <a:pt x="11118289" y="1522003"/>
                  </a:lnTo>
                  <a:lnTo>
                    <a:pt x="11118289" y="1744984"/>
                  </a:lnTo>
                  <a:lnTo>
                    <a:pt x="11083001" y="1744984"/>
                  </a:lnTo>
                  <a:lnTo>
                    <a:pt x="11083001" y="1565200"/>
                  </a:lnTo>
                  <a:cubicBezTo>
                    <a:pt x="11076613" y="1569764"/>
                    <a:pt x="11069743" y="1573641"/>
                    <a:pt x="11062392" y="1576836"/>
                  </a:cubicBezTo>
                  <a:cubicBezTo>
                    <a:pt x="11055040" y="1580031"/>
                    <a:pt x="11046649" y="1582843"/>
                    <a:pt x="11037219" y="1585278"/>
                  </a:cubicBezTo>
                  <a:lnTo>
                    <a:pt x="11037219" y="1555161"/>
                  </a:lnTo>
                  <a:cubicBezTo>
                    <a:pt x="11043100" y="1553236"/>
                    <a:pt x="11048779" y="1551207"/>
                    <a:pt x="11054254" y="1549078"/>
                  </a:cubicBezTo>
                  <a:cubicBezTo>
                    <a:pt x="11059730" y="1546948"/>
                    <a:pt x="11065130" y="1544566"/>
                    <a:pt x="11070453" y="1541929"/>
                  </a:cubicBezTo>
                  <a:cubicBezTo>
                    <a:pt x="11075777" y="1539292"/>
                    <a:pt x="11081151" y="1536351"/>
                    <a:pt x="11086576" y="1533106"/>
                  </a:cubicBezTo>
                  <a:cubicBezTo>
                    <a:pt x="11092001" y="1529862"/>
                    <a:pt x="11097603" y="1526162"/>
                    <a:pt x="11103383" y="1522003"/>
                  </a:cubicBezTo>
                  <a:close/>
                  <a:moveTo>
                    <a:pt x="10959258" y="1522003"/>
                  </a:moveTo>
                  <a:lnTo>
                    <a:pt x="10974164" y="1522003"/>
                  </a:lnTo>
                  <a:lnTo>
                    <a:pt x="10974164" y="1744984"/>
                  </a:lnTo>
                  <a:lnTo>
                    <a:pt x="10938876" y="1744984"/>
                  </a:lnTo>
                  <a:lnTo>
                    <a:pt x="10938876" y="1565200"/>
                  </a:lnTo>
                  <a:cubicBezTo>
                    <a:pt x="10932488" y="1569764"/>
                    <a:pt x="10925618" y="1573641"/>
                    <a:pt x="10918267" y="1576836"/>
                  </a:cubicBezTo>
                  <a:cubicBezTo>
                    <a:pt x="10910915" y="1580031"/>
                    <a:pt x="10902524" y="1582843"/>
                    <a:pt x="10893094" y="1585278"/>
                  </a:cubicBezTo>
                  <a:lnTo>
                    <a:pt x="10893094" y="1555161"/>
                  </a:lnTo>
                  <a:cubicBezTo>
                    <a:pt x="10898975" y="1553236"/>
                    <a:pt x="10904654" y="1551207"/>
                    <a:pt x="10910129" y="1549078"/>
                  </a:cubicBezTo>
                  <a:cubicBezTo>
                    <a:pt x="10915605" y="1546948"/>
                    <a:pt x="10921005" y="1544566"/>
                    <a:pt x="10926328" y="1541929"/>
                  </a:cubicBezTo>
                  <a:cubicBezTo>
                    <a:pt x="10931652" y="1539292"/>
                    <a:pt x="10937026" y="1536351"/>
                    <a:pt x="10942451" y="1533106"/>
                  </a:cubicBezTo>
                  <a:cubicBezTo>
                    <a:pt x="10947876" y="1529862"/>
                    <a:pt x="10953478" y="1526162"/>
                    <a:pt x="10959258" y="1522003"/>
                  </a:cubicBezTo>
                  <a:close/>
                  <a:moveTo>
                    <a:pt x="10571025" y="1522003"/>
                  </a:moveTo>
                  <a:lnTo>
                    <a:pt x="10585931" y="1522003"/>
                  </a:lnTo>
                  <a:lnTo>
                    <a:pt x="10585931" y="1744984"/>
                  </a:lnTo>
                  <a:lnTo>
                    <a:pt x="10550643" y="1744984"/>
                  </a:lnTo>
                  <a:lnTo>
                    <a:pt x="10550643" y="1565200"/>
                  </a:lnTo>
                  <a:cubicBezTo>
                    <a:pt x="10544255" y="1569764"/>
                    <a:pt x="10537385" y="1573641"/>
                    <a:pt x="10530034" y="1576836"/>
                  </a:cubicBezTo>
                  <a:cubicBezTo>
                    <a:pt x="10522682" y="1580031"/>
                    <a:pt x="10514291" y="1582843"/>
                    <a:pt x="10504861" y="1585278"/>
                  </a:cubicBezTo>
                  <a:lnTo>
                    <a:pt x="10504861" y="1555161"/>
                  </a:lnTo>
                  <a:cubicBezTo>
                    <a:pt x="10510742" y="1553236"/>
                    <a:pt x="10516421" y="1551207"/>
                    <a:pt x="10521896" y="1549078"/>
                  </a:cubicBezTo>
                  <a:cubicBezTo>
                    <a:pt x="10527372" y="1546948"/>
                    <a:pt x="10532772" y="1544566"/>
                    <a:pt x="10538095" y="1541929"/>
                  </a:cubicBezTo>
                  <a:cubicBezTo>
                    <a:pt x="10543419" y="1539292"/>
                    <a:pt x="10548793" y="1536351"/>
                    <a:pt x="10554218" y="1533106"/>
                  </a:cubicBezTo>
                  <a:cubicBezTo>
                    <a:pt x="10559643" y="1529862"/>
                    <a:pt x="10565245" y="1526162"/>
                    <a:pt x="10571025" y="1522003"/>
                  </a:cubicBezTo>
                  <a:close/>
                  <a:moveTo>
                    <a:pt x="10304917" y="1522003"/>
                  </a:moveTo>
                  <a:lnTo>
                    <a:pt x="10319823" y="1522003"/>
                  </a:lnTo>
                  <a:lnTo>
                    <a:pt x="10319823" y="1744984"/>
                  </a:lnTo>
                  <a:lnTo>
                    <a:pt x="10284535" y="1744984"/>
                  </a:lnTo>
                  <a:lnTo>
                    <a:pt x="10284535" y="1565200"/>
                  </a:lnTo>
                  <a:cubicBezTo>
                    <a:pt x="10278147" y="1569764"/>
                    <a:pt x="10271277" y="1573641"/>
                    <a:pt x="10263926" y="1576836"/>
                  </a:cubicBezTo>
                  <a:cubicBezTo>
                    <a:pt x="10256574" y="1580031"/>
                    <a:pt x="10248183" y="1582843"/>
                    <a:pt x="10238753" y="1585278"/>
                  </a:cubicBezTo>
                  <a:lnTo>
                    <a:pt x="10238753" y="1555161"/>
                  </a:lnTo>
                  <a:cubicBezTo>
                    <a:pt x="10244634" y="1553236"/>
                    <a:pt x="10250313" y="1551207"/>
                    <a:pt x="10255788" y="1549078"/>
                  </a:cubicBezTo>
                  <a:cubicBezTo>
                    <a:pt x="10261264" y="1546948"/>
                    <a:pt x="10266664" y="1544566"/>
                    <a:pt x="10271987" y="1541929"/>
                  </a:cubicBezTo>
                  <a:cubicBezTo>
                    <a:pt x="10277311" y="1539292"/>
                    <a:pt x="10282685" y="1536351"/>
                    <a:pt x="10288110" y="1533106"/>
                  </a:cubicBezTo>
                  <a:cubicBezTo>
                    <a:pt x="10293535" y="1529862"/>
                    <a:pt x="10299137" y="1526162"/>
                    <a:pt x="10304917" y="1522003"/>
                  </a:cubicBezTo>
                  <a:close/>
                  <a:moveTo>
                    <a:pt x="9693318" y="1522003"/>
                  </a:moveTo>
                  <a:lnTo>
                    <a:pt x="9708224" y="1522003"/>
                  </a:lnTo>
                  <a:lnTo>
                    <a:pt x="9708224" y="1744984"/>
                  </a:lnTo>
                  <a:lnTo>
                    <a:pt x="9672936" y="1744984"/>
                  </a:lnTo>
                  <a:lnTo>
                    <a:pt x="9672936" y="1565200"/>
                  </a:lnTo>
                  <a:cubicBezTo>
                    <a:pt x="9666548" y="1569764"/>
                    <a:pt x="9659678" y="1573641"/>
                    <a:pt x="9652327" y="1576836"/>
                  </a:cubicBezTo>
                  <a:cubicBezTo>
                    <a:pt x="9644975" y="1580031"/>
                    <a:pt x="9636584" y="1582843"/>
                    <a:pt x="9627154" y="1585278"/>
                  </a:cubicBezTo>
                  <a:lnTo>
                    <a:pt x="9627154" y="1555161"/>
                  </a:lnTo>
                  <a:cubicBezTo>
                    <a:pt x="9633035" y="1553236"/>
                    <a:pt x="9638714" y="1551207"/>
                    <a:pt x="9644189" y="1549078"/>
                  </a:cubicBezTo>
                  <a:cubicBezTo>
                    <a:pt x="9649665" y="1546948"/>
                    <a:pt x="9655065" y="1544566"/>
                    <a:pt x="9660388" y="1541929"/>
                  </a:cubicBezTo>
                  <a:cubicBezTo>
                    <a:pt x="9665712" y="1539292"/>
                    <a:pt x="9671086" y="1536351"/>
                    <a:pt x="9676511" y="1533106"/>
                  </a:cubicBezTo>
                  <a:cubicBezTo>
                    <a:pt x="9681936" y="1529862"/>
                    <a:pt x="9687538" y="1526162"/>
                    <a:pt x="9693318" y="1522003"/>
                  </a:cubicBezTo>
                  <a:close/>
                  <a:moveTo>
                    <a:pt x="9427210" y="1522003"/>
                  </a:moveTo>
                  <a:lnTo>
                    <a:pt x="9442116" y="1522003"/>
                  </a:lnTo>
                  <a:lnTo>
                    <a:pt x="9442116" y="1744984"/>
                  </a:lnTo>
                  <a:lnTo>
                    <a:pt x="9406828" y="1744984"/>
                  </a:lnTo>
                  <a:lnTo>
                    <a:pt x="9406828" y="1565200"/>
                  </a:lnTo>
                  <a:cubicBezTo>
                    <a:pt x="9400440" y="1569764"/>
                    <a:pt x="9393570" y="1573641"/>
                    <a:pt x="9386219" y="1576836"/>
                  </a:cubicBezTo>
                  <a:cubicBezTo>
                    <a:pt x="9378867" y="1580031"/>
                    <a:pt x="9370476" y="1582843"/>
                    <a:pt x="9361046" y="1585278"/>
                  </a:cubicBezTo>
                  <a:lnTo>
                    <a:pt x="9361046" y="1555161"/>
                  </a:lnTo>
                  <a:cubicBezTo>
                    <a:pt x="9366927" y="1553236"/>
                    <a:pt x="9372606" y="1551207"/>
                    <a:pt x="9378081" y="1549078"/>
                  </a:cubicBezTo>
                  <a:cubicBezTo>
                    <a:pt x="9383557" y="1546948"/>
                    <a:pt x="9388957" y="1544566"/>
                    <a:pt x="9394280" y="1541929"/>
                  </a:cubicBezTo>
                  <a:cubicBezTo>
                    <a:pt x="9399604" y="1539292"/>
                    <a:pt x="9404978" y="1536351"/>
                    <a:pt x="9410403" y="1533106"/>
                  </a:cubicBezTo>
                  <a:cubicBezTo>
                    <a:pt x="9415828" y="1529862"/>
                    <a:pt x="9421430" y="1526162"/>
                    <a:pt x="9427210" y="1522003"/>
                  </a:cubicBezTo>
                  <a:close/>
                  <a:moveTo>
                    <a:pt x="8820863" y="1522003"/>
                  </a:moveTo>
                  <a:lnTo>
                    <a:pt x="8835769" y="1522003"/>
                  </a:lnTo>
                  <a:lnTo>
                    <a:pt x="8835769" y="1744984"/>
                  </a:lnTo>
                  <a:lnTo>
                    <a:pt x="8800481" y="1744984"/>
                  </a:lnTo>
                  <a:lnTo>
                    <a:pt x="8800481" y="1565200"/>
                  </a:lnTo>
                  <a:cubicBezTo>
                    <a:pt x="8794093" y="1569764"/>
                    <a:pt x="8787223" y="1573641"/>
                    <a:pt x="8779872" y="1576836"/>
                  </a:cubicBezTo>
                  <a:cubicBezTo>
                    <a:pt x="8772520" y="1580031"/>
                    <a:pt x="8764129" y="1582843"/>
                    <a:pt x="8754699" y="1585278"/>
                  </a:cubicBezTo>
                  <a:lnTo>
                    <a:pt x="8754699" y="1555161"/>
                  </a:lnTo>
                  <a:cubicBezTo>
                    <a:pt x="8760580" y="1553236"/>
                    <a:pt x="8766259" y="1551207"/>
                    <a:pt x="8771734" y="1549078"/>
                  </a:cubicBezTo>
                  <a:cubicBezTo>
                    <a:pt x="8777210" y="1546948"/>
                    <a:pt x="8782610" y="1544566"/>
                    <a:pt x="8787933" y="1541929"/>
                  </a:cubicBezTo>
                  <a:cubicBezTo>
                    <a:pt x="8793257" y="1539292"/>
                    <a:pt x="8798631" y="1536351"/>
                    <a:pt x="8804056" y="1533106"/>
                  </a:cubicBezTo>
                  <a:cubicBezTo>
                    <a:pt x="8809481" y="1529862"/>
                    <a:pt x="8815083" y="1526162"/>
                    <a:pt x="8820863" y="1522003"/>
                  </a:cubicBezTo>
                  <a:close/>
                  <a:moveTo>
                    <a:pt x="8554755" y="1522003"/>
                  </a:moveTo>
                  <a:lnTo>
                    <a:pt x="8569661" y="1522003"/>
                  </a:lnTo>
                  <a:lnTo>
                    <a:pt x="8569661" y="1744984"/>
                  </a:lnTo>
                  <a:lnTo>
                    <a:pt x="8534373" y="1744984"/>
                  </a:lnTo>
                  <a:lnTo>
                    <a:pt x="8534373" y="1565200"/>
                  </a:lnTo>
                  <a:cubicBezTo>
                    <a:pt x="8527985" y="1569764"/>
                    <a:pt x="8521115" y="1573641"/>
                    <a:pt x="8513764" y="1576836"/>
                  </a:cubicBezTo>
                  <a:cubicBezTo>
                    <a:pt x="8506412" y="1580031"/>
                    <a:pt x="8498021" y="1582843"/>
                    <a:pt x="8488591" y="1585278"/>
                  </a:cubicBezTo>
                  <a:lnTo>
                    <a:pt x="8488591" y="1555161"/>
                  </a:lnTo>
                  <a:cubicBezTo>
                    <a:pt x="8494472" y="1553236"/>
                    <a:pt x="8500151" y="1551207"/>
                    <a:pt x="8505626" y="1549078"/>
                  </a:cubicBezTo>
                  <a:cubicBezTo>
                    <a:pt x="8511102" y="1546948"/>
                    <a:pt x="8516502" y="1544566"/>
                    <a:pt x="8521825" y="1541929"/>
                  </a:cubicBezTo>
                  <a:cubicBezTo>
                    <a:pt x="8527149" y="1539292"/>
                    <a:pt x="8532523" y="1536351"/>
                    <a:pt x="8537948" y="1533106"/>
                  </a:cubicBezTo>
                  <a:cubicBezTo>
                    <a:pt x="8543373" y="1529862"/>
                    <a:pt x="8548975" y="1526162"/>
                    <a:pt x="8554755" y="1522003"/>
                  </a:cubicBezTo>
                  <a:close/>
                  <a:moveTo>
                    <a:pt x="8142987" y="1522003"/>
                  </a:moveTo>
                  <a:lnTo>
                    <a:pt x="8157894" y="1522003"/>
                  </a:lnTo>
                  <a:lnTo>
                    <a:pt x="8157894" y="1744984"/>
                  </a:lnTo>
                  <a:lnTo>
                    <a:pt x="8122606" y="1744984"/>
                  </a:lnTo>
                  <a:lnTo>
                    <a:pt x="8122606" y="1565200"/>
                  </a:lnTo>
                  <a:cubicBezTo>
                    <a:pt x="8116218" y="1569764"/>
                    <a:pt x="8109348" y="1573641"/>
                    <a:pt x="8101996" y="1576836"/>
                  </a:cubicBezTo>
                  <a:cubicBezTo>
                    <a:pt x="8094645" y="1580031"/>
                    <a:pt x="8086254" y="1582843"/>
                    <a:pt x="8076824" y="1585278"/>
                  </a:cubicBezTo>
                  <a:lnTo>
                    <a:pt x="8076824" y="1555161"/>
                  </a:lnTo>
                  <a:cubicBezTo>
                    <a:pt x="8082705" y="1553236"/>
                    <a:pt x="8088383" y="1551207"/>
                    <a:pt x="8093859" y="1549078"/>
                  </a:cubicBezTo>
                  <a:cubicBezTo>
                    <a:pt x="8099335" y="1546948"/>
                    <a:pt x="8104734" y="1544566"/>
                    <a:pt x="8110058" y="1541929"/>
                  </a:cubicBezTo>
                  <a:cubicBezTo>
                    <a:pt x="8115381" y="1539292"/>
                    <a:pt x="8120756" y="1536351"/>
                    <a:pt x="8126180" y="1533106"/>
                  </a:cubicBezTo>
                  <a:cubicBezTo>
                    <a:pt x="8131606" y="1529862"/>
                    <a:pt x="8137208" y="1526162"/>
                    <a:pt x="8142987" y="1522003"/>
                  </a:cubicBezTo>
                  <a:close/>
                  <a:moveTo>
                    <a:pt x="8009933" y="1522003"/>
                  </a:moveTo>
                  <a:lnTo>
                    <a:pt x="8024840" y="1522003"/>
                  </a:lnTo>
                  <a:lnTo>
                    <a:pt x="8024840" y="1744984"/>
                  </a:lnTo>
                  <a:lnTo>
                    <a:pt x="7989552" y="1744984"/>
                  </a:lnTo>
                  <a:lnTo>
                    <a:pt x="7989552" y="1565200"/>
                  </a:lnTo>
                  <a:cubicBezTo>
                    <a:pt x="7983164" y="1569764"/>
                    <a:pt x="7976294" y="1573641"/>
                    <a:pt x="7968942" y="1576836"/>
                  </a:cubicBezTo>
                  <a:cubicBezTo>
                    <a:pt x="7961591" y="1580031"/>
                    <a:pt x="7953200" y="1582843"/>
                    <a:pt x="7943770" y="1585278"/>
                  </a:cubicBezTo>
                  <a:lnTo>
                    <a:pt x="7943770" y="1555161"/>
                  </a:lnTo>
                  <a:cubicBezTo>
                    <a:pt x="7949651" y="1553236"/>
                    <a:pt x="7955329" y="1551207"/>
                    <a:pt x="7960805" y="1549078"/>
                  </a:cubicBezTo>
                  <a:cubicBezTo>
                    <a:pt x="7966281" y="1546948"/>
                    <a:pt x="7971680" y="1544566"/>
                    <a:pt x="7977004" y="1541929"/>
                  </a:cubicBezTo>
                  <a:cubicBezTo>
                    <a:pt x="7982327" y="1539292"/>
                    <a:pt x="7987702" y="1536351"/>
                    <a:pt x="7993126" y="1533106"/>
                  </a:cubicBezTo>
                  <a:cubicBezTo>
                    <a:pt x="7998552" y="1529862"/>
                    <a:pt x="8004154" y="1526162"/>
                    <a:pt x="8009933" y="1522003"/>
                  </a:cubicBezTo>
                  <a:close/>
                  <a:moveTo>
                    <a:pt x="7876879" y="1522003"/>
                  </a:moveTo>
                  <a:lnTo>
                    <a:pt x="7891786" y="1522003"/>
                  </a:lnTo>
                  <a:lnTo>
                    <a:pt x="7891786" y="1744984"/>
                  </a:lnTo>
                  <a:lnTo>
                    <a:pt x="7856498" y="1744984"/>
                  </a:lnTo>
                  <a:lnTo>
                    <a:pt x="7856498" y="1565200"/>
                  </a:lnTo>
                  <a:cubicBezTo>
                    <a:pt x="7850110" y="1569764"/>
                    <a:pt x="7843240" y="1573641"/>
                    <a:pt x="7835888" y="1576836"/>
                  </a:cubicBezTo>
                  <a:cubicBezTo>
                    <a:pt x="7828537" y="1580031"/>
                    <a:pt x="7820146" y="1582843"/>
                    <a:pt x="7810716" y="1585278"/>
                  </a:cubicBezTo>
                  <a:lnTo>
                    <a:pt x="7810716" y="1555161"/>
                  </a:lnTo>
                  <a:cubicBezTo>
                    <a:pt x="7816597" y="1553236"/>
                    <a:pt x="7822275" y="1551207"/>
                    <a:pt x="7827751" y="1549078"/>
                  </a:cubicBezTo>
                  <a:cubicBezTo>
                    <a:pt x="7833227" y="1546948"/>
                    <a:pt x="7838626" y="1544566"/>
                    <a:pt x="7843950" y="1541929"/>
                  </a:cubicBezTo>
                  <a:cubicBezTo>
                    <a:pt x="7849273" y="1539292"/>
                    <a:pt x="7854648" y="1536351"/>
                    <a:pt x="7860072" y="1533106"/>
                  </a:cubicBezTo>
                  <a:cubicBezTo>
                    <a:pt x="7865498" y="1529862"/>
                    <a:pt x="7871100" y="1526162"/>
                    <a:pt x="7876879" y="1522003"/>
                  </a:cubicBezTo>
                  <a:close/>
                  <a:moveTo>
                    <a:pt x="7734267" y="1522003"/>
                  </a:moveTo>
                  <a:lnTo>
                    <a:pt x="7749174" y="1522003"/>
                  </a:lnTo>
                  <a:lnTo>
                    <a:pt x="7749174" y="1744984"/>
                  </a:lnTo>
                  <a:lnTo>
                    <a:pt x="7713886" y="1744984"/>
                  </a:lnTo>
                  <a:lnTo>
                    <a:pt x="7713886" y="1565200"/>
                  </a:lnTo>
                  <a:cubicBezTo>
                    <a:pt x="7707498" y="1569764"/>
                    <a:pt x="7700628" y="1573641"/>
                    <a:pt x="7693276" y="1576836"/>
                  </a:cubicBezTo>
                  <a:cubicBezTo>
                    <a:pt x="7685925" y="1580031"/>
                    <a:pt x="7677534" y="1582843"/>
                    <a:pt x="7668104" y="1585278"/>
                  </a:cubicBezTo>
                  <a:lnTo>
                    <a:pt x="7668104" y="1555161"/>
                  </a:lnTo>
                  <a:cubicBezTo>
                    <a:pt x="7673985" y="1553236"/>
                    <a:pt x="7679663" y="1551207"/>
                    <a:pt x="7685139" y="1549078"/>
                  </a:cubicBezTo>
                  <a:cubicBezTo>
                    <a:pt x="7690615" y="1546948"/>
                    <a:pt x="7696014" y="1544566"/>
                    <a:pt x="7701338" y="1541929"/>
                  </a:cubicBezTo>
                  <a:cubicBezTo>
                    <a:pt x="7706661" y="1539292"/>
                    <a:pt x="7712036" y="1536351"/>
                    <a:pt x="7717460" y="1533106"/>
                  </a:cubicBezTo>
                  <a:cubicBezTo>
                    <a:pt x="7722886" y="1529862"/>
                    <a:pt x="7728488" y="1526162"/>
                    <a:pt x="7734267" y="1522003"/>
                  </a:cubicBezTo>
                  <a:close/>
                  <a:moveTo>
                    <a:pt x="6986927" y="1522003"/>
                  </a:moveTo>
                  <a:lnTo>
                    <a:pt x="7001834" y="1522003"/>
                  </a:lnTo>
                  <a:lnTo>
                    <a:pt x="7001834" y="1744984"/>
                  </a:lnTo>
                  <a:lnTo>
                    <a:pt x="6966546" y="1744984"/>
                  </a:lnTo>
                  <a:lnTo>
                    <a:pt x="6966546" y="1565200"/>
                  </a:lnTo>
                  <a:cubicBezTo>
                    <a:pt x="6960158" y="1569764"/>
                    <a:pt x="6953288" y="1573641"/>
                    <a:pt x="6945936" y="1576836"/>
                  </a:cubicBezTo>
                  <a:cubicBezTo>
                    <a:pt x="6938585" y="1580031"/>
                    <a:pt x="6930194" y="1582843"/>
                    <a:pt x="6920764" y="1585278"/>
                  </a:cubicBezTo>
                  <a:lnTo>
                    <a:pt x="6920764" y="1555161"/>
                  </a:lnTo>
                  <a:cubicBezTo>
                    <a:pt x="6926645" y="1553236"/>
                    <a:pt x="6932323" y="1551207"/>
                    <a:pt x="6937799" y="1549078"/>
                  </a:cubicBezTo>
                  <a:cubicBezTo>
                    <a:pt x="6943275" y="1546948"/>
                    <a:pt x="6948674" y="1544566"/>
                    <a:pt x="6953998" y="1541929"/>
                  </a:cubicBezTo>
                  <a:cubicBezTo>
                    <a:pt x="6959321" y="1539292"/>
                    <a:pt x="6964696" y="1536351"/>
                    <a:pt x="6970120" y="1533106"/>
                  </a:cubicBezTo>
                  <a:cubicBezTo>
                    <a:pt x="6975546" y="1529862"/>
                    <a:pt x="6981148" y="1526162"/>
                    <a:pt x="6986927" y="1522003"/>
                  </a:cubicBezTo>
                  <a:close/>
                  <a:moveTo>
                    <a:pt x="6842801" y="1522003"/>
                  </a:moveTo>
                  <a:lnTo>
                    <a:pt x="6857708" y="1522003"/>
                  </a:lnTo>
                  <a:lnTo>
                    <a:pt x="6857708" y="1744984"/>
                  </a:lnTo>
                  <a:lnTo>
                    <a:pt x="6822420" y="1744984"/>
                  </a:lnTo>
                  <a:lnTo>
                    <a:pt x="6822420" y="1565200"/>
                  </a:lnTo>
                  <a:cubicBezTo>
                    <a:pt x="6816032" y="1569764"/>
                    <a:pt x="6809162" y="1573641"/>
                    <a:pt x="6801810" y="1576836"/>
                  </a:cubicBezTo>
                  <a:cubicBezTo>
                    <a:pt x="6794459" y="1580031"/>
                    <a:pt x="6786068" y="1582843"/>
                    <a:pt x="6776638" y="1585278"/>
                  </a:cubicBezTo>
                  <a:lnTo>
                    <a:pt x="6776638" y="1555161"/>
                  </a:lnTo>
                  <a:cubicBezTo>
                    <a:pt x="6782519" y="1553236"/>
                    <a:pt x="6788197" y="1551207"/>
                    <a:pt x="6793673" y="1549078"/>
                  </a:cubicBezTo>
                  <a:cubicBezTo>
                    <a:pt x="6799149" y="1546948"/>
                    <a:pt x="6804548" y="1544566"/>
                    <a:pt x="6809872" y="1541929"/>
                  </a:cubicBezTo>
                  <a:cubicBezTo>
                    <a:pt x="6815195" y="1539292"/>
                    <a:pt x="6820570" y="1536351"/>
                    <a:pt x="6825994" y="1533106"/>
                  </a:cubicBezTo>
                  <a:cubicBezTo>
                    <a:pt x="6831420" y="1529862"/>
                    <a:pt x="6837022" y="1526162"/>
                    <a:pt x="6842801" y="1522003"/>
                  </a:cubicBezTo>
                  <a:close/>
                  <a:moveTo>
                    <a:pt x="6150824" y="1522003"/>
                  </a:moveTo>
                  <a:lnTo>
                    <a:pt x="6165731" y="1522003"/>
                  </a:lnTo>
                  <a:lnTo>
                    <a:pt x="6165731" y="1744984"/>
                  </a:lnTo>
                  <a:lnTo>
                    <a:pt x="6130443" y="1744984"/>
                  </a:lnTo>
                  <a:lnTo>
                    <a:pt x="6130443" y="1565200"/>
                  </a:lnTo>
                  <a:cubicBezTo>
                    <a:pt x="6124055" y="1569764"/>
                    <a:pt x="6117185" y="1573641"/>
                    <a:pt x="6109833" y="1576836"/>
                  </a:cubicBezTo>
                  <a:cubicBezTo>
                    <a:pt x="6102482" y="1580031"/>
                    <a:pt x="6094091" y="1582843"/>
                    <a:pt x="6084661" y="1585278"/>
                  </a:cubicBezTo>
                  <a:lnTo>
                    <a:pt x="6084661" y="1555161"/>
                  </a:lnTo>
                  <a:cubicBezTo>
                    <a:pt x="6090542" y="1553236"/>
                    <a:pt x="6096220" y="1551207"/>
                    <a:pt x="6101696" y="1549078"/>
                  </a:cubicBezTo>
                  <a:cubicBezTo>
                    <a:pt x="6107172" y="1546948"/>
                    <a:pt x="6112571" y="1544566"/>
                    <a:pt x="6117895" y="1541929"/>
                  </a:cubicBezTo>
                  <a:cubicBezTo>
                    <a:pt x="6123218" y="1539292"/>
                    <a:pt x="6128593" y="1536351"/>
                    <a:pt x="6134017" y="1533106"/>
                  </a:cubicBezTo>
                  <a:cubicBezTo>
                    <a:pt x="6139443" y="1529862"/>
                    <a:pt x="6145045" y="1526162"/>
                    <a:pt x="6150824" y="1522003"/>
                  </a:cubicBezTo>
                  <a:close/>
                  <a:moveTo>
                    <a:pt x="5862574" y="1522003"/>
                  </a:moveTo>
                  <a:lnTo>
                    <a:pt x="5877481" y="1522003"/>
                  </a:lnTo>
                  <a:lnTo>
                    <a:pt x="5877481" y="1744984"/>
                  </a:lnTo>
                  <a:lnTo>
                    <a:pt x="5842193" y="1744984"/>
                  </a:lnTo>
                  <a:lnTo>
                    <a:pt x="5842193" y="1565200"/>
                  </a:lnTo>
                  <a:cubicBezTo>
                    <a:pt x="5835804" y="1569764"/>
                    <a:pt x="5828935" y="1573641"/>
                    <a:pt x="5821582" y="1576836"/>
                  </a:cubicBezTo>
                  <a:cubicBezTo>
                    <a:pt x="5814232" y="1580031"/>
                    <a:pt x="5805840" y="1582843"/>
                    <a:pt x="5796410" y="1585278"/>
                  </a:cubicBezTo>
                  <a:lnTo>
                    <a:pt x="5796410" y="1555161"/>
                  </a:lnTo>
                  <a:cubicBezTo>
                    <a:pt x="5802291" y="1553236"/>
                    <a:pt x="5807969" y="1551207"/>
                    <a:pt x="5813446" y="1549078"/>
                  </a:cubicBezTo>
                  <a:cubicBezTo>
                    <a:pt x="5818921" y="1546948"/>
                    <a:pt x="5824321" y="1544566"/>
                    <a:pt x="5829644" y="1541929"/>
                  </a:cubicBezTo>
                  <a:cubicBezTo>
                    <a:pt x="5834968" y="1539292"/>
                    <a:pt x="5840342" y="1536351"/>
                    <a:pt x="5845767" y="1533106"/>
                  </a:cubicBezTo>
                  <a:cubicBezTo>
                    <a:pt x="5851192" y="1529862"/>
                    <a:pt x="5856794" y="1526162"/>
                    <a:pt x="5862574" y="1522003"/>
                  </a:cubicBezTo>
                  <a:close/>
                  <a:moveTo>
                    <a:pt x="5479705" y="1522003"/>
                  </a:moveTo>
                  <a:lnTo>
                    <a:pt x="5494612" y="1522003"/>
                  </a:lnTo>
                  <a:lnTo>
                    <a:pt x="5494612" y="1744984"/>
                  </a:lnTo>
                  <a:lnTo>
                    <a:pt x="5459325" y="1744984"/>
                  </a:lnTo>
                  <a:lnTo>
                    <a:pt x="5459325" y="1565200"/>
                  </a:lnTo>
                  <a:cubicBezTo>
                    <a:pt x="5452937" y="1569764"/>
                    <a:pt x="5446067" y="1573641"/>
                    <a:pt x="5438715" y="1576836"/>
                  </a:cubicBezTo>
                  <a:cubicBezTo>
                    <a:pt x="5431364" y="1580031"/>
                    <a:pt x="5422973" y="1582843"/>
                    <a:pt x="5413543" y="1585278"/>
                  </a:cubicBezTo>
                  <a:lnTo>
                    <a:pt x="5413543" y="1555161"/>
                  </a:lnTo>
                  <a:cubicBezTo>
                    <a:pt x="5419424" y="1553236"/>
                    <a:pt x="5425102" y="1551207"/>
                    <a:pt x="5430578" y="1549078"/>
                  </a:cubicBezTo>
                  <a:cubicBezTo>
                    <a:pt x="5436054" y="1546948"/>
                    <a:pt x="5441453" y="1544566"/>
                    <a:pt x="5446777" y="1541929"/>
                  </a:cubicBezTo>
                  <a:cubicBezTo>
                    <a:pt x="5452100" y="1539292"/>
                    <a:pt x="5457475" y="1536351"/>
                    <a:pt x="5462898" y="1533106"/>
                  </a:cubicBezTo>
                  <a:cubicBezTo>
                    <a:pt x="5468325" y="1529862"/>
                    <a:pt x="5473927" y="1526162"/>
                    <a:pt x="5479705" y="1522003"/>
                  </a:cubicBezTo>
                  <a:close/>
                  <a:moveTo>
                    <a:pt x="5335580" y="1522003"/>
                  </a:moveTo>
                  <a:lnTo>
                    <a:pt x="5350487" y="1522003"/>
                  </a:lnTo>
                  <a:lnTo>
                    <a:pt x="5350487" y="1744984"/>
                  </a:lnTo>
                  <a:lnTo>
                    <a:pt x="5315199" y="1744984"/>
                  </a:lnTo>
                  <a:lnTo>
                    <a:pt x="5315199" y="1565200"/>
                  </a:lnTo>
                  <a:cubicBezTo>
                    <a:pt x="5308810" y="1569764"/>
                    <a:pt x="5301941" y="1573641"/>
                    <a:pt x="5294589" y="1576836"/>
                  </a:cubicBezTo>
                  <a:cubicBezTo>
                    <a:pt x="5287238" y="1580031"/>
                    <a:pt x="5278847" y="1582843"/>
                    <a:pt x="5269417" y="1585278"/>
                  </a:cubicBezTo>
                  <a:lnTo>
                    <a:pt x="5269417" y="1555161"/>
                  </a:lnTo>
                  <a:cubicBezTo>
                    <a:pt x="5275298" y="1553236"/>
                    <a:pt x="5280976" y="1551207"/>
                    <a:pt x="5286452" y="1549078"/>
                  </a:cubicBezTo>
                  <a:cubicBezTo>
                    <a:pt x="5291928" y="1546948"/>
                    <a:pt x="5297327" y="1544566"/>
                    <a:pt x="5302650" y="1541929"/>
                  </a:cubicBezTo>
                  <a:cubicBezTo>
                    <a:pt x="5307974" y="1539292"/>
                    <a:pt x="5313349" y="1536351"/>
                    <a:pt x="5318773" y="1533106"/>
                  </a:cubicBezTo>
                  <a:cubicBezTo>
                    <a:pt x="5324198" y="1529862"/>
                    <a:pt x="5329801" y="1526162"/>
                    <a:pt x="5335580" y="1522003"/>
                  </a:cubicBezTo>
                  <a:close/>
                  <a:moveTo>
                    <a:pt x="5191455" y="1522003"/>
                  </a:moveTo>
                  <a:lnTo>
                    <a:pt x="5206362" y="1522003"/>
                  </a:lnTo>
                  <a:lnTo>
                    <a:pt x="5206362" y="1744984"/>
                  </a:lnTo>
                  <a:lnTo>
                    <a:pt x="5171074" y="1744984"/>
                  </a:lnTo>
                  <a:lnTo>
                    <a:pt x="5171074" y="1565200"/>
                  </a:lnTo>
                  <a:cubicBezTo>
                    <a:pt x="5164686" y="1569764"/>
                    <a:pt x="5157816" y="1573641"/>
                    <a:pt x="5150464" y="1576836"/>
                  </a:cubicBezTo>
                  <a:cubicBezTo>
                    <a:pt x="5143113" y="1580031"/>
                    <a:pt x="5134721" y="1582843"/>
                    <a:pt x="5125291" y="1585278"/>
                  </a:cubicBezTo>
                  <a:lnTo>
                    <a:pt x="5125291" y="1555161"/>
                  </a:lnTo>
                  <a:cubicBezTo>
                    <a:pt x="5131172" y="1553236"/>
                    <a:pt x="5136851" y="1551207"/>
                    <a:pt x="5142326" y="1549078"/>
                  </a:cubicBezTo>
                  <a:cubicBezTo>
                    <a:pt x="5147803" y="1546948"/>
                    <a:pt x="5153202" y="1544566"/>
                    <a:pt x="5158526" y="1541929"/>
                  </a:cubicBezTo>
                  <a:cubicBezTo>
                    <a:pt x="5163848" y="1539292"/>
                    <a:pt x="5169223" y="1536351"/>
                    <a:pt x="5174648" y="1533106"/>
                  </a:cubicBezTo>
                  <a:cubicBezTo>
                    <a:pt x="5180074" y="1529862"/>
                    <a:pt x="5185676" y="1526162"/>
                    <a:pt x="5191455" y="1522003"/>
                  </a:cubicBezTo>
                  <a:close/>
                  <a:moveTo>
                    <a:pt x="5047329" y="1522003"/>
                  </a:moveTo>
                  <a:lnTo>
                    <a:pt x="5062237" y="1522003"/>
                  </a:lnTo>
                  <a:lnTo>
                    <a:pt x="5062237" y="1744984"/>
                  </a:lnTo>
                  <a:lnTo>
                    <a:pt x="5026949" y="1744984"/>
                  </a:lnTo>
                  <a:lnTo>
                    <a:pt x="5026949" y="1565200"/>
                  </a:lnTo>
                  <a:cubicBezTo>
                    <a:pt x="5020561" y="1569764"/>
                    <a:pt x="5013691" y="1573641"/>
                    <a:pt x="5006339" y="1576836"/>
                  </a:cubicBezTo>
                  <a:cubicBezTo>
                    <a:pt x="4998988" y="1580031"/>
                    <a:pt x="4990597" y="1582843"/>
                    <a:pt x="4981166" y="1585278"/>
                  </a:cubicBezTo>
                  <a:lnTo>
                    <a:pt x="4981166" y="1555161"/>
                  </a:lnTo>
                  <a:cubicBezTo>
                    <a:pt x="4987047" y="1553236"/>
                    <a:pt x="4992725" y="1551207"/>
                    <a:pt x="4998201" y="1549078"/>
                  </a:cubicBezTo>
                  <a:cubicBezTo>
                    <a:pt x="5003677" y="1546948"/>
                    <a:pt x="5009077" y="1544566"/>
                    <a:pt x="5014401" y="1541929"/>
                  </a:cubicBezTo>
                  <a:cubicBezTo>
                    <a:pt x="5019723" y="1539292"/>
                    <a:pt x="5025099" y="1536351"/>
                    <a:pt x="5030524" y="1533106"/>
                  </a:cubicBezTo>
                  <a:cubicBezTo>
                    <a:pt x="5035948" y="1529862"/>
                    <a:pt x="5041550" y="1526162"/>
                    <a:pt x="5047329" y="1522003"/>
                  </a:cubicBezTo>
                  <a:close/>
                  <a:moveTo>
                    <a:pt x="4903204" y="1522003"/>
                  </a:moveTo>
                  <a:lnTo>
                    <a:pt x="4918113" y="1522003"/>
                  </a:lnTo>
                  <a:lnTo>
                    <a:pt x="4918113" y="1744984"/>
                  </a:lnTo>
                  <a:lnTo>
                    <a:pt x="4882824" y="1744984"/>
                  </a:lnTo>
                  <a:lnTo>
                    <a:pt x="4882824" y="1565200"/>
                  </a:lnTo>
                  <a:cubicBezTo>
                    <a:pt x="4876436" y="1569764"/>
                    <a:pt x="4869566" y="1573641"/>
                    <a:pt x="4862214" y="1576836"/>
                  </a:cubicBezTo>
                  <a:cubicBezTo>
                    <a:pt x="4854863" y="1580031"/>
                    <a:pt x="4846471" y="1582843"/>
                    <a:pt x="4837041" y="1585278"/>
                  </a:cubicBezTo>
                  <a:lnTo>
                    <a:pt x="4837041" y="1555161"/>
                  </a:lnTo>
                  <a:cubicBezTo>
                    <a:pt x="4842923" y="1553236"/>
                    <a:pt x="4848601" y="1551207"/>
                    <a:pt x="4854077" y="1549078"/>
                  </a:cubicBezTo>
                  <a:cubicBezTo>
                    <a:pt x="4859552" y="1546948"/>
                    <a:pt x="4864952" y="1544566"/>
                    <a:pt x="4870276" y="1541929"/>
                  </a:cubicBezTo>
                  <a:cubicBezTo>
                    <a:pt x="4875598" y="1539292"/>
                    <a:pt x="4880974" y="1536351"/>
                    <a:pt x="4886398" y="1533106"/>
                  </a:cubicBezTo>
                  <a:cubicBezTo>
                    <a:pt x="4891824" y="1529862"/>
                    <a:pt x="4897426" y="1526162"/>
                    <a:pt x="4903204" y="1522003"/>
                  </a:cubicBezTo>
                  <a:close/>
                  <a:moveTo>
                    <a:pt x="4514973" y="1522003"/>
                  </a:moveTo>
                  <a:lnTo>
                    <a:pt x="4529878" y="1522003"/>
                  </a:lnTo>
                  <a:lnTo>
                    <a:pt x="4529878" y="1744984"/>
                  </a:lnTo>
                  <a:lnTo>
                    <a:pt x="4494591" y="1744984"/>
                  </a:lnTo>
                  <a:lnTo>
                    <a:pt x="4494591" y="1565200"/>
                  </a:lnTo>
                  <a:cubicBezTo>
                    <a:pt x="4488202" y="1569764"/>
                    <a:pt x="4481333" y="1573641"/>
                    <a:pt x="4473982" y="1576836"/>
                  </a:cubicBezTo>
                  <a:cubicBezTo>
                    <a:pt x="4466630" y="1580031"/>
                    <a:pt x="4458240" y="1582843"/>
                    <a:pt x="4448809" y="1585278"/>
                  </a:cubicBezTo>
                  <a:lnTo>
                    <a:pt x="4448809" y="1555161"/>
                  </a:lnTo>
                  <a:cubicBezTo>
                    <a:pt x="4454690" y="1553236"/>
                    <a:pt x="4460369" y="1551207"/>
                    <a:pt x="4465844" y="1549078"/>
                  </a:cubicBezTo>
                  <a:cubicBezTo>
                    <a:pt x="4471320" y="1546948"/>
                    <a:pt x="4476719" y="1544566"/>
                    <a:pt x="4482043" y="1541929"/>
                  </a:cubicBezTo>
                  <a:cubicBezTo>
                    <a:pt x="4487367" y="1539292"/>
                    <a:pt x="4492741" y="1536351"/>
                    <a:pt x="4498165" y="1533106"/>
                  </a:cubicBezTo>
                  <a:cubicBezTo>
                    <a:pt x="4503591" y="1529862"/>
                    <a:pt x="4509192" y="1526162"/>
                    <a:pt x="4514973" y="1522003"/>
                  </a:cubicBezTo>
                  <a:close/>
                  <a:moveTo>
                    <a:pt x="4248864" y="1522003"/>
                  </a:moveTo>
                  <a:lnTo>
                    <a:pt x="4263771" y="1522003"/>
                  </a:lnTo>
                  <a:lnTo>
                    <a:pt x="4263771" y="1744984"/>
                  </a:lnTo>
                  <a:lnTo>
                    <a:pt x="4228482" y="1744984"/>
                  </a:lnTo>
                  <a:lnTo>
                    <a:pt x="4228482" y="1565200"/>
                  </a:lnTo>
                  <a:cubicBezTo>
                    <a:pt x="4222095" y="1569764"/>
                    <a:pt x="4215226" y="1573641"/>
                    <a:pt x="4207874" y="1576836"/>
                  </a:cubicBezTo>
                  <a:cubicBezTo>
                    <a:pt x="4200521" y="1580031"/>
                    <a:pt x="4192131" y="1582843"/>
                    <a:pt x="4182701" y="1585278"/>
                  </a:cubicBezTo>
                  <a:lnTo>
                    <a:pt x="4182701" y="1555161"/>
                  </a:lnTo>
                  <a:cubicBezTo>
                    <a:pt x="4188582" y="1553236"/>
                    <a:pt x="4194260" y="1551207"/>
                    <a:pt x="4199735" y="1549078"/>
                  </a:cubicBezTo>
                  <a:cubicBezTo>
                    <a:pt x="4205212" y="1546948"/>
                    <a:pt x="4210612" y="1544566"/>
                    <a:pt x="4215934" y="1541929"/>
                  </a:cubicBezTo>
                  <a:cubicBezTo>
                    <a:pt x="4221259" y="1539292"/>
                    <a:pt x="4226632" y="1536351"/>
                    <a:pt x="4232057" y="1533106"/>
                  </a:cubicBezTo>
                  <a:cubicBezTo>
                    <a:pt x="4237483" y="1529862"/>
                    <a:pt x="4243085" y="1526162"/>
                    <a:pt x="4248864" y="1522003"/>
                  </a:cubicBezTo>
                  <a:close/>
                  <a:moveTo>
                    <a:pt x="3637266" y="1522003"/>
                  </a:moveTo>
                  <a:lnTo>
                    <a:pt x="3652172" y="1522003"/>
                  </a:lnTo>
                  <a:lnTo>
                    <a:pt x="3652172" y="1744984"/>
                  </a:lnTo>
                  <a:lnTo>
                    <a:pt x="3616884" y="1744984"/>
                  </a:lnTo>
                  <a:lnTo>
                    <a:pt x="3616884" y="1565200"/>
                  </a:lnTo>
                  <a:cubicBezTo>
                    <a:pt x="3610497" y="1569764"/>
                    <a:pt x="3603626" y="1573641"/>
                    <a:pt x="3596275" y="1576836"/>
                  </a:cubicBezTo>
                  <a:cubicBezTo>
                    <a:pt x="3588923" y="1580031"/>
                    <a:pt x="3580534" y="1582843"/>
                    <a:pt x="3571102" y="1585278"/>
                  </a:cubicBezTo>
                  <a:lnTo>
                    <a:pt x="3571102" y="1555161"/>
                  </a:lnTo>
                  <a:cubicBezTo>
                    <a:pt x="3576983" y="1553236"/>
                    <a:pt x="3582662" y="1551207"/>
                    <a:pt x="3588137" y="1549078"/>
                  </a:cubicBezTo>
                  <a:cubicBezTo>
                    <a:pt x="3593613" y="1546948"/>
                    <a:pt x="3599013" y="1544566"/>
                    <a:pt x="3604336" y="1541929"/>
                  </a:cubicBezTo>
                  <a:cubicBezTo>
                    <a:pt x="3609661" y="1539292"/>
                    <a:pt x="3615035" y="1536351"/>
                    <a:pt x="3620460" y="1533106"/>
                  </a:cubicBezTo>
                  <a:cubicBezTo>
                    <a:pt x="3625884" y="1529862"/>
                    <a:pt x="3631486" y="1526162"/>
                    <a:pt x="3637266" y="1522003"/>
                  </a:cubicBezTo>
                  <a:close/>
                  <a:moveTo>
                    <a:pt x="3371159" y="1522003"/>
                  </a:moveTo>
                  <a:lnTo>
                    <a:pt x="3386064" y="1522003"/>
                  </a:lnTo>
                  <a:lnTo>
                    <a:pt x="3386064" y="1744984"/>
                  </a:lnTo>
                  <a:lnTo>
                    <a:pt x="3350777" y="1744984"/>
                  </a:lnTo>
                  <a:lnTo>
                    <a:pt x="3350777" y="1565200"/>
                  </a:lnTo>
                  <a:cubicBezTo>
                    <a:pt x="3344388" y="1569764"/>
                    <a:pt x="3337519" y="1573641"/>
                    <a:pt x="3330167" y="1576836"/>
                  </a:cubicBezTo>
                  <a:cubicBezTo>
                    <a:pt x="3322816" y="1580031"/>
                    <a:pt x="3314425" y="1582843"/>
                    <a:pt x="3304994" y="1585278"/>
                  </a:cubicBezTo>
                  <a:lnTo>
                    <a:pt x="3304994" y="1555161"/>
                  </a:lnTo>
                  <a:cubicBezTo>
                    <a:pt x="3310875" y="1553236"/>
                    <a:pt x="3316554" y="1551207"/>
                    <a:pt x="3322030" y="1549078"/>
                  </a:cubicBezTo>
                  <a:cubicBezTo>
                    <a:pt x="3327505" y="1546948"/>
                    <a:pt x="3332905" y="1544566"/>
                    <a:pt x="3338229" y="1541929"/>
                  </a:cubicBezTo>
                  <a:cubicBezTo>
                    <a:pt x="3343552" y="1539292"/>
                    <a:pt x="3348927" y="1536351"/>
                    <a:pt x="3354351" y="1533106"/>
                  </a:cubicBezTo>
                  <a:cubicBezTo>
                    <a:pt x="3359776" y="1529862"/>
                    <a:pt x="3365379" y="1526162"/>
                    <a:pt x="3371159" y="1522003"/>
                  </a:cubicBezTo>
                  <a:close/>
                  <a:moveTo>
                    <a:pt x="2764811" y="1522003"/>
                  </a:moveTo>
                  <a:lnTo>
                    <a:pt x="2779717" y="1522003"/>
                  </a:lnTo>
                  <a:lnTo>
                    <a:pt x="2779717" y="1744984"/>
                  </a:lnTo>
                  <a:lnTo>
                    <a:pt x="2744429" y="1744984"/>
                  </a:lnTo>
                  <a:lnTo>
                    <a:pt x="2744429" y="1565200"/>
                  </a:lnTo>
                  <a:cubicBezTo>
                    <a:pt x="2738041" y="1569764"/>
                    <a:pt x="2731171" y="1573641"/>
                    <a:pt x="2723820" y="1576836"/>
                  </a:cubicBezTo>
                  <a:cubicBezTo>
                    <a:pt x="2716468" y="1580031"/>
                    <a:pt x="2708078" y="1582843"/>
                    <a:pt x="2698648" y="1585278"/>
                  </a:cubicBezTo>
                  <a:lnTo>
                    <a:pt x="2698648" y="1555161"/>
                  </a:lnTo>
                  <a:cubicBezTo>
                    <a:pt x="2704528" y="1553236"/>
                    <a:pt x="2710207" y="1551207"/>
                    <a:pt x="2715682" y="1549078"/>
                  </a:cubicBezTo>
                  <a:cubicBezTo>
                    <a:pt x="2721159" y="1546948"/>
                    <a:pt x="2726558" y="1544566"/>
                    <a:pt x="2731881" y="1541929"/>
                  </a:cubicBezTo>
                  <a:cubicBezTo>
                    <a:pt x="2737205" y="1539292"/>
                    <a:pt x="2742579" y="1536351"/>
                    <a:pt x="2748004" y="1533106"/>
                  </a:cubicBezTo>
                  <a:cubicBezTo>
                    <a:pt x="2753429" y="1529862"/>
                    <a:pt x="2759031" y="1526162"/>
                    <a:pt x="2764811" y="1522003"/>
                  </a:cubicBezTo>
                  <a:close/>
                  <a:moveTo>
                    <a:pt x="2498703" y="1522003"/>
                  </a:moveTo>
                  <a:lnTo>
                    <a:pt x="2513609" y="1522003"/>
                  </a:lnTo>
                  <a:lnTo>
                    <a:pt x="2513609" y="1744984"/>
                  </a:lnTo>
                  <a:lnTo>
                    <a:pt x="2478321" y="1744984"/>
                  </a:lnTo>
                  <a:lnTo>
                    <a:pt x="2478321" y="1565200"/>
                  </a:lnTo>
                  <a:cubicBezTo>
                    <a:pt x="2471933" y="1569764"/>
                    <a:pt x="2465063" y="1573641"/>
                    <a:pt x="2457712" y="1576836"/>
                  </a:cubicBezTo>
                  <a:cubicBezTo>
                    <a:pt x="2450360" y="1580031"/>
                    <a:pt x="2441970" y="1582843"/>
                    <a:pt x="2432539" y="1585278"/>
                  </a:cubicBezTo>
                  <a:lnTo>
                    <a:pt x="2432539" y="1555161"/>
                  </a:lnTo>
                  <a:cubicBezTo>
                    <a:pt x="2438420" y="1553236"/>
                    <a:pt x="2444099" y="1551207"/>
                    <a:pt x="2449574" y="1549078"/>
                  </a:cubicBezTo>
                  <a:cubicBezTo>
                    <a:pt x="2455050" y="1546948"/>
                    <a:pt x="2460450" y="1544566"/>
                    <a:pt x="2465773" y="1541929"/>
                  </a:cubicBezTo>
                  <a:cubicBezTo>
                    <a:pt x="2471097" y="1539292"/>
                    <a:pt x="2476471" y="1536351"/>
                    <a:pt x="2481896" y="1533106"/>
                  </a:cubicBezTo>
                  <a:cubicBezTo>
                    <a:pt x="2487321" y="1529862"/>
                    <a:pt x="2492923" y="1526162"/>
                    <a:pt x="2498703" y="1522003"/>
                  </a:cubicBezTo>
                  <a:close/>
                  <a:moveTo>
                    <a:pt x="2086936" y="1522003"/>
                  </a:moveTo>
                  <a:lnTo>
                    <a:pt x="2101842" y="1522003"/>
                  </a:lnTo>
                  <a:lnTo>
                    <a:pt x="2101842" y="1744984"/>
                  </a:lnTo>
                  <a:lnTo>
                    <a:pt x="2066554" y="1744984"/>
                  </a:lnTo>
                  <a:lnTo>
                    <a:pt x="2066554" y="1565200"/>
                  </a:lnTo>
                  <a:cubicBezTo>
                    <a:pt x="2060167" y="1569764"/>
                    <a:pt x="2053297" y="1573641"/>
                    <a:pt x="2045945" y="1576836"/>
                  </a:cubicBezTo>
                  <a:cubicBezTo>
                    <a:pt x="2038593" y="1580031"/>
                    <a:pt x="2030203" y="1582843"/>
                    <a:pt x="2020772" y="1585278"/>
                  </a:cubicBezTo>
                  <a:lnTo>
                    <a:pt x="2020772" y="1555161"/>
                  </a:lnTo>
                  <a:cubicBezTo>
                    <a:pt x="2026653" y="1553236"/>
                    <a:pt x="2032332" y="1551207"/>
                    <a:pt x="2037808" y="1549078"/>
                  </a:cubicBezTo>
                  <a:cubicBezTo>
                    <a:pt x="2043283" y="1546948"/>
                    <a:pt x="2048683" y="1544566"/>
                    <a:pt x="2054006" y="1541929"/>
                  </a:cubicBezTo>
                  <a:cubicBezTo>
                    <a:pt x="2059330" y="1539292"/>
                    <a:pt x="2064704" y="1536351"/>
                    <a:pt x="2070129" y="1533106"/>
                  </a:cubicBezTo>
                  <a:cubicBezTo>
                    <a:pt x="2075555" y="1529862"/>
                    <a:pt x="2081156" y="1526162"/>
                    <a:pt x="2086936" y="1522003"/>
                  </a:cubicBezTo>
                  <a:close/>
                  <a:moveTo>
                    <a:pt x="1953882" y="1522003"/>
                  </a:moveTo>
                  <a:lnTo>
                    <a:pt x="1968788" y="1522003"/>
                  </a:lnTo>
                  <a:lnTo>
                    <a:pt x="1968788" y="1744984"/>
                  </a:lnTo>
                  <a:lnTo>
                    <a:pt x="1933501" y="1744984"/>
                  </a:lnTo>
                  <a:lnTo>
                    <a:pt x="1933501" y="1565200"/>
                  </a:lnTo>
                  <a:cubicBezTo>
                    <a:pt x="1927112" y="1569764"/>
                    <a:pt x="1920243" y="1573641"/>
                    <a:pt x="1912891" y="1576836"/>
                  </a:cubicBezTo>
                  <a:cubicBezTo>
                    <a:pt x="1905539" y="1580031"/>
                    <a:pt x="1897149" y="1582843"/>
                    <a:pt x="1887718" y="1585278"/>
                  </a:cubicBezTo>
                  <a:lnTo>
                    <a:pt x="1887718" y="1555161"/>
                  </a:lnTo>
                  <a:cubicBezTo>
                    <a:pt x="1893600" y="1553236"/>
                    <a:pt x="1899278" y="1551207"/>
                    <a:pt x="1904753" y="1549078"/>
                  </a:cubicBezTo>
                  <a:cubicBezTo>
                    <a:pt x="1910229" y="1546948"/>
                    <a:pt x="1915629" y="1544566"/>
                    <a:pt x="1920952" y="1541929"/>
                  </a:cubicBezTo>
                  <a:cubicBezTo>
                    <a:pt x="1926276" y="1539292"/>
                    <a:pt x="1931650" y="1536351"/>
                    <a:pt x="1937075" y="1533106"/>
                  </a:cubicBezTo>
                  <a:cubicBezTo>
                    <a:pt x="1942500" y="1529862"/>
                    <a:pt x="1948102" y="1526162"/>
                    <a:pt x="1953882" y="1522003"/>
                  </a:cubicBezTo>
                  <a:close/>
                  <a:moveTo>
                    <a:pt x="1820828" y="1522003"/>
                  </a:moveTo>
                  <a:lnTo>
                    <a:pt x="1835734" y="1522003"/>
                  </a:lnTo>
                  <a:lnTo>
                    <a:pt x="1835734" y="1744984"/>
                  </a:lnTo>
                  <a:lnTo>
                    <a:pt x="1800447" y="1744984"/>
                  </a:lnTo>
                  <a:lnTo>
                    <a:pt x="1800447" y="1565200"/>
                  </a:lnTo>
                  <a:cubicBezTo>
                    <a:pt x="1794058" y="1569764"/>
                    <a:pt x="1787189" y="1573641"/>
                    <a:pt x="1779837" y="1576836"/>
                  </a:cubicBezTo>
                  <a:cubicBezTo>
                    <a:pt x="1772486" y="1580031"/>
                    <a:pt x="1764094" y="1582843"/>
                    <a:pt x="1754664" y="1585278"/>
                  </a:cubicBezTo>
                  <a:lnTo>
                    <a:pt x="1754664" y="1555161"/>
                  </a:lnTo>
                  <a:cubicBezTo>
                    <a:pt x="1760545" y="1553236"/>
                    <a:pt x="1766224" y="1551207"/>
                    <a:pt x="1771699" y="1549078"/>
                  </a:cubicBezTo>
                  <a:cubicBezTo>
                    <a:pt x="1777175" y="1546948"/>
                    <a:pt x="1782575" y="1544566"/>
                    <a:pt x="1787898" y="1541929"/>
                  </a:cubicBezTo>
                  <a:cubicBezTo>
                    <a:pt x="1793222" y="1539292"/>
                    <a:pt x="1798596" y="1536351"/>
                    <a:pt x="1804021" y="1533106"/>
                  </a:cubicBezTo>
                  <a:cubicBezTo>
                    <a:pt x="1809446" y="1529862"/>
                    <a:pt x="1815048" y="1526162"/>
                    <a:pt x="1820828" y="1522003"/>
                  </a:cubicBezTo>
                  <a:close/>
                  <a:moveTo>
                    <a:pt x="1678216" y="1522003"/>
                  </a:moveTo>
                  <a:lnTo>
                    <a:pt x="1693123" y="1522003"/>
                  </a:lnTo>
                  <a:lnTo>
                    <a:pt x="1693123" y="1744984"/>
                  </a:lnTo>
                  <a:lnTo>
                    <a:pt x="1657834" y="1744984"/>
                  </a:lnTo>
                  <a:lnTo>
                    <a:pt x="1657834" y="1565200"/>
                  </a:lnTo>
                  <a:cubicBezTo>
                    <a:pt x="1651447" y="1569764"/>
                    <a:pt x="1644577" y="1573641"/>
                    <a:pt x="1637225" y="1576836"/>
                  </a:cubicBezTo>
                  <a:cubicBezTo>
                    <a:pt x="1629873" y="1580031"/>
                    <a:pt x="1621483" y="1582843"/>
                    <a:pt x="1612053" y="1585278"/>
                  </a:cubicBezTo>
                  <a:lnTo>
                    <a:pt x="1612053" y="1555161"/>
                  </a:lnTo>
                  <a:cubicBezTo>
                    <a:pt x="1617933" y="1553236"/>
                    <a:pt x="1623612" y="1551207"/>
                    <a:pt x="1629088" y="1549078"/>
                  </a:cubicBezTo>
                  <a:cubicBezTo>
                    <a:pt x="1634563" y="1546948"/>
                    <a:pt x="1639963" y="1544566"/>
                    <a:pt x="1645287" y="1541929"/>
                  </a:cubicBezTo>
                  <a:cubicBezTo>
                    <a:pt x="1650610" y="1539292"/>
                    <a:pt x="1655984" y="1536351"/>
                    <a:pt x="1661409" y="1533106"/>
                  </a:cubicBezTo>
                  <a:cubicBezTo>
                    <a:pt x="1666834" y="1529862"/>
                    <a:pt x="1672436" y="1526162"/>
                    <a:pt x="1678216" y="1522003"/>
                  </a:cubicBezTo>
                  <a:close/>
                  <a:moveTo>
                    <a:pt x="922825" y="1522003"/>
                  </a:moveTo>
                  <a:lnTo>
                    <a:pt x="937731" y="1522003"/>
                  </a:lnTo>
                  <a:lnTo>
                    <a:pt x="937731" y="1744984"/>
                  </a:lnTo>
                  <a:lnTo>
                    <a:pt x="902443" y="1744984"/>
                  </a:lnTo>
                  <a:lnTo>
                    <a:pt x="902443" y="1565200"/>
                  </a:lnTo>
                  <a:cubicBezTo>
                    <a:pt x="896055" y="1569764"/>
                    <a:pt x="889185" y="1573641"/>
                    <a:pt x="881833" y="1576836"/>
                  </a:cubicBezTo>
                  <a:cubicBezTo>
                    <a:pt x="874482" y="1580031"/>
                    <a:pt x="866091" y="1582843"/>
                    <a:pt x="856661" y="1585278"/>
                  </a:cubicBezTo>
                  <a:lnTo>
                    <a:pt x="856661" y="1555161"/>
                  </a:lnTo>
                  <a:cubicBezTo>
                    <a:pt x="862542" y="1553236"/>
                    <a:pt x="868220" y="1551207"/>
                    <a:pt x="873696" y="1549078"/>
                  </a:cubicBezTo>
                  <a:cubicBezTo>
                    <a:pt x="879172" y="1546948"/>
                    <a:pt x="884571" y="1544566"/>
                    <a:pt x="889895" y="1541929"/>
                  </a:cubicBezTo>
                  <a:cubicBezTo>
                    <a:pt x="895218" y="1539292"/>
                    <a:pt x="900593" y="1536351"/>
                    <a:pt x="906017" y="1533106"/>
                  </a:cubicBezTo>
                  <a:cubicBezTo>
                    <a:pt x="911443" y="1529862"/>
                    <a:pt x="917045" y="1526162"/>
                    <a:pt x="922825" y="1522003"/>
                  </a:cubicBezTo>
                  <a:close/>
                  <a:moveTo>
                    <a:pt x="789770" y="1522003"/>
                  </a:moveTo>
                  <a:lnTo>
                    <a:pt x="804677" y="1522003"/>
                  </a:lnTo>
                  <a:lnTo>
                    <a:pt x="804677" y="1744984"/>
                  </a:lnTo>
                  <a:lnTo>
                    <a:pt x="769389" y="1744984"/>
                  </a:lnTo>
                  <a:lnTo>
                    <a:pt x="769389" y="1565200"/>
                  </a:lnTo>
                  <a:cubicBezTo>
                    <a:pt x="763001" y="1569764"/>
                    <a:pt x="756131" y="1573641"/>
                    <a:pt x="748779" y="1576836"/>
                  </a:cubicBezTo>
                  <a:cubicBezTo>
                    <a:pt x="741428" y="1580031"/>
                    <a:pt x="733037" y="1582843"/>
                    <a:pt x="723607" y="1585278"/>
                  </a:cubicBezTo>
                  <a:lnTo>
                    <a:pt x="723607" y="1555161"/>
                  </a:lnTo>
                  <a:cubicBezTo>
                    <a:pt x="729488" y="1553236"/>
                    <a:pt x="735167" y="1551207"/>
                    <a:pt x="740642" y="1549078"/>
                  </a:cubicBezTo>
                  <a:cubicBezTo>
                    <a:pt x="746117" y="1546948"/>
                    <a:pt x="751517" y="1544566"/>
                    <a:pt x="756841" y="1541929"/>
                  </a:cubicBezTo>
                  <a:cubicBezTo>
                    <a:pt x="762164" y="1539292"/>
                    <a:pt x="767539" y="1536351"/>
                    <a:pt x="772963" y="1533106"/>
                  </a:cubicBezTo>
                  <a:cubicBezTo>
                    <a:pt x="778388" y="1529862"/>
                    <a:pt x="783991" y="1526162"/>
                    <a:pt x="789770" y="1522003"/>
                  </a:cubicBezTo>
                  <a:close/>
                  <a:moveTo>
                    <a:pt x="10091849" y="1522002"/>
                  </a:moveTo>
                  <a:cubicBezTo>
                    <a:pt x="10139293" y="1522002"/>
                    <a:pt x="10163016" y="1558865"/>
                    <a:pt x="10163016" y="1632590"/>
                  </a:cubicBezTo>
                  <a:cubicBezTo>
                    <a:pt x="10163016" y="1669101"/>
                    <a:pt x="10156320" y="1696962"/>
                    <a:pt x="10142930" y="1716169"/>
                  </a:cubicBezTo>
                  <a:cubicBezTo>
                    <a:pt x="10129539" y="1735377"/>
                    <a:pt x="10110807" y="1744982"/>
                    <a:pt x="10086733" y="1744982"/>
                  </a:cubicBezTo>
                  <a:cubicBezTo>
                    <a:pt x="10064265" y="1744982"/>
                    <a:pt x="10046736" y="1735804"/>
                    <a:pt x="10034148" y="1717449"/>
                  </a:cubicBezTo>
                  <a:cubicBezTo>
                    <a:pt x="10021559" y="1699092"/>
                    <a:pt x="10015265" y="1672561"/>
                    <a:pt x="10015265" y="1637857"/>
                  </a:cubicBezTo>
                  <a:cubicBezTo>
                    <a:pt x="10015265" y="1599739"/>
                    <a:pt x="10021835" y="1570902"/>
                    <a:pt x="10034975" y="1551343"/>
                  </a:cubicBezTo>
                  <a:cubicBezTo>
                    <a:pt x="10048116" y="1531782"/>
                    <a:pt x="10067073" y="1522002"/>
                    <a:pt x="10091849" y="1522002"/>
                  </a:cubicBezTo>
                  <a:close/>
                  <a:moveTo>
                    <a:pt x="9870926" y="1522002"/>
                  </a:moveTo>
                  <a:cubicBezTo>
                    <a:pt x="9918370" y="1522002"/>
                    <a:pt x="9942093" y="1558865"/>
                    <a:pt x="9942093" y="1632590"/>
                  </a:cubicBezTo>
                  <a:cubicBezTo>
                    <a:pt x="9942093" y="1669101"/>
                    <a:pt x="9935397" y="1696962"/>
                    <a:pt x="9922007" y="1716169"/>
                  </a:cubicBezTo>
                  <a:cubicBezTo>
                    <a:pt x="9908616" y="1735377"/>
                    <a:pt x="9889884" y="1744982"/>
                    <a:pt x="9865810" y="1744982"/>
                  </a:cubicBezTo>
                  <a:cubicBezTo>
                    <a:pt x="9843342" y="1744982"/>
                    <a:pt x="9825813" y="1735804"/>
                    <a:pt x="9813225" y="1717449"/>
                  </a:cubicBezTo>
                  <a:cubicBezTo>
                    <a:pt x="9800636" y="1699092"/>
                    <a:pt x="9794342" y="1672561"/>
                    <a:pt x="9794342" y="1637857"/>
                  </a:cubicBezTo>
                  <a:cubicBezTo>
                    <a:pt x="9794342" y="1599739"/>
                    <a:pt x="9800912" y="1570902"/>
                    <a:pt x="9814052" y="1551343"/>
                  </a:cubicBezTo>
                  <a:cubicBezTo>
                    <a:pt x="9827193" y="1531782"/>
                    <a:pt x="9846150" y="1522002"/>
                    <a:pt x="9870926" y="1522002"/>
                  </a:cubicBezTo>
                  <a:close/>
                  <a:moveTo>
                    <a:pt x="9209266" y="1522002"/>
                  </a:moveTo>
                  <a:cubicBezTo>
                    <a:pt x="9256710" y="1522002"/>
                    <a:pt x="9280433" y="1558865"/>
                    <a:pt x="9280433" y="1632590"/>
                  </a:cubicBezTo>
                  <a:cubicBezTo>
                    <a:pt x="9280433" y="1669101"/>
                    <a:pt x="9273737" y="1696962"/>
                    <a:pt x="9260347" y="1716169"/>
                  </a:cubicBezTo>
                  <a:cubicBezTo>
                    <a:pt x="9246956" y="1735377"/>
                    <a:pt x="9228224" y="1744982"/>
                    <a:pt x="9204150" y="1744982"/>
                  </a:cubicBezTo>
                  <a:cubicBezTo>
                    <a:pt x="9181682" y="1744982"/>
                    <a:pt x="9164153" y="1735804"/>
                    <a:pt x="9151565" y="1717449"/>
                  </a:cubicBezTo>
                  <a:cubicBezTo>
                    <a:pt x="9138976" y="1699092"/>
                    <a:pt x="9132682" y="1672561"/>
                    <a:pt x="9132682" y="1637857"/>
                  </a:cubicBezTo>
                  <a:cubicBezTo>
                    <a:pt x="9132682" y="1599739"/>
                    <a:pt x="9139252" y="1570902"/>
                    <a:pt x="9152392" y="1551343"/>
                  </a:cubicBezTo>
                  <a:cubicBezTo>
                    <a:pt x="9165533" y="1531782"/>
                    <a:pt x="9184490" y="1522002"/>
                    <a:pt x="9209266" y="1522002"/>
                  </a:cubicBezTo>
                  <a:close/>
                  <a:moveTo>
                    <a:pt x="8988343" y="1522002"/>
                  </a:moveTo>
                  <a:cubicBezTo>
                    <a:pt x="9035787" y="1522002"/>
                    <a:pt x="9059510" y="1558865"/>
                    <a:pt x="9059510" y="1632590"/>
                  </a:cubicBezTo>
                  <a:cubicBezTo>
                    <a:pt x="9059510" y="1669101"/>
                    <a:pt x="9052814" y="1696962"/>
                    <a:pt x="9039424" y="1716169"/>
                  </a:cubicBezTo>
                  <a:cubicBezTo>
                    <a:pt x="9026033" y="1735377"/>
                    <a:pt x="9007301" y="1744982"/>
                    <a:pt x="8983227" y="1744982"/>
                  </a:cubicBezTo>
                  <a:cubicBezTo>
                    <a:pt x="8960759" y="1744982"/>
                    <a:pt x="8943230" y="1735804"/>
                    <a:pt x="8930642" y="1717449"/>
                  </a:cubicBezTo>
                  <a:cubicBezTo>
                    <a:pt x="8918053" y="1699092"/>
                    <a:pt x="8911759" y="1672561"/>
                    <a:pt x="8911759" y="1637857"/>
                  </a:cubicBezTo>
                  <a:cubicBezTo>
                    <a:pt x="8911759" y="1599739"/>
                    <a:pt x="8918329" y="1570902"/>
                    <a:pt x="8931469" y="1551343"/>
                  </a:cubicBezTo>
                  <a:cubicBezTo>
                    <a:pt x="8944610" y="1531782"/>
                    <a:pt x="8963567" y="1522002"/>
                    <a:pt x="8988343" y="1522002"/>
                  </a:cubicBezTo>
                  <a:close/>
                  <a:moveTo>
                    <a:pt x="4035797" y="1522002"/>
                  </a:moveTo>
                  <a:cubicBezTo>
                    <a:pt x="4083241" y="1522002"/>
                    <a:pt x="4106964" y="1558865"/>
                    <a:pt x="4106964" y="1632590"/>
                  </a:cubicBezTo>
                  <a:cubicBezTo>
                    <a:pt x="4106964" y="1669101"/>
                    <a:pt x="4100269" y="1696962"/>
                    <a:pt x="4086878" y="1716169"/>
                  </a:cubicBezTo>
                  <a:cubicBezTo>
                    <a:pt x="4073487" y="1735377"/>
                    <a:pt x="4054756" y="1744982"/>
                    <a:pt x="4030681" y="1744982"/>
                  </a:cubicBezTo>
                  <a:cubicBezTo>
                    <a:pt x="4008213" y="1744982"/>
                    <a:pt x="3990684" y="1735804"/>
                    <a:pt x="3978096" y="1717449"/>
                  </a:cubicBezTo>
                  <a:cubicBezTo>
                    <a:pt x="3965507" y="1699092"/>
                    <a:pt x="3959213" y="1672561"/>
                    <a:pt x="3959213" y="1637857"/>
                  </a:cubicBezTo>
                  <a:cubicBezTo>
                    <a:pt x="3959213" y="1599739"/>
                    <a:pt x="3965783" y="1570902"/>
                    <a:pt x="3978923" y="1551343"/>
                  </a:cubicBezTo>
                  <a:cubicBezTo>
                    <a:pt x="3992064" y="1531782"/>
                    <a:pt x="4011022" y="1522002"/>
                    <a:pt x="4035797" y="1522002"/>
                  </a:cubicBezTo>
                  <a:close/>
                  <a:moveTo>
                    <a:pt x="3814874" y="1522002"/>
                  </a:moveTo>
                  <a:cubicBezTo>
                    <a:pt x="3862319" y="1522002"/>
                    <a:pt x="3886042" y="1558865"/>
                    <a:pt x="3886042" y="1632590"/>
                  </a:cubicBezTo>
                  <a:cubicBezTo>
                    <a:pt x="3886042" y="1669101"/>
                    <a:pt x="3879346" y="1696962"/>
                    <a:pt x="3865955" y="1716169"/>
                  </a:cubicBezTo>
                  <a:cubicBezTo>
                    <a:pt x="3852564" y="1735377"/>
                    <a:pt x="3833832" y="1744982"/>
                    <a:pt x="3809758" y="1744982"/>
                  </a:cubicBezTo>
                  <a:cubicBezTo>
                    <a:pt x="3787290" y="1744982"/>
                    <a:pt x="3769761" y="1735804"/>
                    <a:pt x="3757173" y="1717449"/>
                  </a:cubicBezTo>
                  <a:cubicBezTo>
                    <a:pt x="3744584" y="1699092"/>
                    <a:pt x="3738290" y="1672561"/>
                    <a:pt x="3738290" y="1637857"/>
                  </a:cubicBezTo>
                  <a:cubicBezTo>
                    <a:pt x="3738290" y="1599739"/>
                    <a:pt x="3744860" y="1570902"/>
                    <a:pt x="3758000" y="1551343"/>
                  </a:cubicBezTo>
                  <a:cubicBezTo>
                    <a:pt x="3771141" y="1531782"/>
                    <a:pt x="3790098" y="1522002"/>
                    <a:pt x="3814874" y="1522002"/>
                  </a:cubicBezTo>
                  <a:close/>
                  <a:moveTo>
                    <a:pt x="3153215" y="1522002"/>
                  </a:moveTo>
                  <a:cubicBezTo>
                    <a:pt x="3200659" y="1522002"/>
                    <a:pt x="3224382" y="1558865"/>
                    <a:pt x="3224382" y="1632590"/>
                  </a:cubicBezTo>
                  <a:cubicBezTo>
                    <a:pt x="3224382" y="1669101"/>
                    <a:pt x="3217686" y="1696962"/>
                    <a:pt x="3204295" y="1716169"/>
                  </a:cubicBezTo>
                  <a:cubicBezTo>
                    <a:pt x="3190904" y="1735377"/>
                    <a:pt x="3172172" y="1744982"/>
                    <a:pt x="3148098" y="1744982"/>
                  </a:cubicBezTo>
                  <a:cubicBezTo>
                    <a:pt x="3125631" y="1744982"/>
                    <a:pt x="3108101" y="1735804"/>
                    <a:pt x="3095513" y="1717449"/>
                  </a:cubicBezTo>
                  <a:cubicBezTo>
                    <a:pt x="3082924" y="1699092"/>
                    <a:pt x="3076630" y="1672561"/>
                    <a:pt x="3076630" y="1637857"/>
                  </a:cubicBezTo>
                  <a:cubicBezTo>
                    <a:pt x="3076630" y="1599739"/>
                    <a:pt x="3083200" y="1570902"/>
                    <a:pt x="3096340" y="1551343"/>
                  </a:cubicBezTo>
                  <a:cubicBezTo>
                    <a:pt x="3109481" y="1531782"/>
                    <a:pt x="3128439" y="1522002"/>
                    <a:pt x="3153215" y="1522002"/>
                  </a:cubicBezTo>
                  <a:close/>
                  <a:moveTo>
                    <a:pt x="2932291" y="1522002"/>
                  </a:moveTo>
                  <a:cubicBezTo>
                    <a:pt x="2979736" y="1522002"/>
                    <a:pt x="3003458" y="1558865"/>
                    <a:pt x="3003458" y="1632590"/>
                  </a:cubicBezTo>
                  <a:cubicBezTo>
                    <a:pt x="3003458" y="1669101"/>
                    <a:pt x="2996763" y="1696962"/>
                    <a:pt x="2983372" y="1716169"/>
                  </a:cubicBezTo>
                  <a:cubicBezTo>
                    <a:pt x="2969981" y="1735377"/>
                    <a:pt x="2951249" y="1744982"/>
                    <a:pt x="2927176" y="1744982"/>
                  </a:cubicBezTo>
                  <a:cubicBezTo>
                    <a:pt x="2904707" y="1744982"/>
                    <a:pt x="2887178" y="1735804"/>
                    <a:pt x="2874590" y="1717449"/>
                  </a:cubicBezTo>
                  <a:cubicBezTo>
                    <a:pt x="2862001" y="1699092"/>
                    <a:pt x="2855708" y="1672561"/>
                    <a:pt x="2855708" y="1637857"/>
                  </a:cubicBezTo>
                  <a:cubicBezTo>
                    <a:pt x="2855708" y="1599739"/>
                    <a:pt x="2862277" y="1570902"/>
                    <a:pt x="2875417" y="1551343"/>
                  </a:cubicBezTo>
                  <a:cubicBezTo>
                    <a:pt x="2888558" y="1531782"/>
                    <a:pt x="2907515" y="1522002"/>
                    <a:pt x="2932291" y="1522002"/>
                  </a:cubicBezTo>
                  <a:close/>
                  <a:moveTo>
                    <a:pt x="111672" y="1522002"/>
                  </a:moveTo>
                  <a:lnTo>
                    <a:pt x="126579" y="1522002"/>
                  </a:lnTo>
                  <a:lnTo>
                    <a:pt x="126579" y="1744982"/>
                  </a:lnTo>
                  <a:lnTo>
                    <a:pt x="91291" y="1744982"/>
                  </a:lnTo>
                  <a:lnTo>
                    <a:pt x="91291" y="1565199"/>
                  </a:lnTo>
                  <a:cubicBezTo>
                    <a:pt x="84903" y="1569763"/>
                    <a:pt x="78033" y="1573641"/>
                    <a:pt x="70681" y="1576835"/>
                  </a:cubicBezTo>
                  <a:cubicBezTo>
                    <a:pt x="63330" y="1580030"/>
                    <a:pt x="54939" y="1582842"/>
                    <a:pt x="45509" y="1585277"/>
                  </a:cubicBezTo>
                  <a:lnTo>
                    <a:pt x="45509" y="1555160"/>
                  </a:lnTo>
                  <a:cubicBezTo>
                    <a:pt x="51390" y="1553235"/>
                    <a:pt x="57068" y="1551206"/>
                    <a:pt x="62544" y="1549076"/>
                  </a:cubicBezTo>
                  <a:cubicBezTo>
                    <a:pt x="68019" y="1546948"/>
                    <a:pt x="73419" y="1544565"/>
                    <a:pt x="78743" y="1541927"/>
                  </a:cubicBezTo>
                  <a:cubicBezTo>
                    <a:pt x="84066" y="1539291"/>
                    <a:pt x="89441" y="1536350"/>
                    <a:pt x="94865" y="1533105"/>
                  </a:cubicBezTo>
                  <a:cubicBezTo>
                    <a:pt x="100291" y="1529861"/>
                    <a:pt x="105893" y="1526160"/>
                    <a:pt x="111672" y="1522002"/>
                  </a:cubicBezTo>
                  <a:close/>
                  <a:moveTo>
                    <a:pt x="9137689" y="1236534"/>
                  </a:moveTo>
                  <a:cubicBezTo>
                    <a:pt x="9111509" y="1236534"/>
                    <a:pt x="9098419" y="1265372"/>
                    <a:pt x="9098419" y="1323048"/>
                  </a:cubicBezTo>
                  <a:cubicBezTo>
                    <a:pt x="9098419" y="1377012"/>
                    <a:pt x="9111258" y="1403995"/>
                    <a:pt x="9136937" y="1403995"/>
                  </a:cubicBezTo>
                  <a:cubicBezTo>
                    <a:pt x="9162213" y="1403995"/>
                    <a:pt x="9174852" y="1376561"/>
                    <a:pt x="9174852" y="1321695"/>
                  </a:cubicBezTo>
                  <a:cubicBezTo>
                    <a:pt x="9174852" y="1264921"/>
                    <a:pt x="9162464" y="1236534"/>
                    <a:pt x="9137689" y="1236534"/>
                  </a:cubicBezTo>
                  <a:close/>
                  <a:moveTo>
                    <a:pt x="8795932" y="1236534"/>
                  </a:moveTo>
                  <a:cubicBezTo>
                    <a:pt x="8769752" y="1236534"/>
                    <a:pt x="8756662" y="1265372"/>
                    <a:pt x="8756662" y="1323048"/>
                  </a:cubicBezTo>
                  <a:cubicBezTo>
                    <a:pt x="8756662" y="1377012"/>
                    <a:pt x="8769501" y="1403995"/>
                    <a:pt x="8795180" y="1403995"/>
                  </a:cubicBezTo>
                  <a:cubicBezTo>
                    <a:pt x="8820456" y="1403995"/>
                    <a:pt x="8833095" y="1376561"/>
                    <a:pt x="8833095" y="1321695"/>
                  </a:cubicBezTo>
                  <a:cubicBezTo>
                    <a:pt x="8833095" y="1264921"/>
                    <a:pt x="8820707" y="1236534"/>
                    <a:pt x="8795932" y="1236534"/>
                  </a:cubicBezTo>
                  <a:close/>
                  <a:moveTo>
                    <a:pt x="8094530" y="1236534"/>
                  </a:moveTo>
                  <a:cubicBezTo>
                    <a:pt x="8068350" y="1236534"/>
                    <a:pt x="8055260" y="1265372"/>
                    <a:pt x="8055260" y="1323048"/>
                  </a:cubicBezTo>
                  <a:cubicBezTo>
                    <a:pt x="8055260" y="1377012"/>
                    <a:pt x="8068099" y="1403995"/>
                    <a:pt x="8093778" y="1403995"/>
                  </a:cubicBezTo>
                  <a:cubicBezTo>
                    <a:pt x="8119055" y="1403995"/>
                    <a:pt x="8131693" y="1376561"/>
                    <a:pt x="8131693" y="1321695"/>
                  </a:cubicBezTo>
                  <a:cubicBezTo>
                    <a:pt x="8131693" y="1264921"/>
                    <a:pt x="8119305" y="1236534"/>
                    <a:pt x="8094530" y="1236534"/>
                  </a:cubicBezTo>
                  <a:close/>
                  <a:moveTo>
                    <a:pt x="6836041" y="1236534"/>
                  </a:moveTo>
                  <a:cubicBezTo>
                    <a:pt x="6809861" y="1236534"/>
                    <a:pt x="6796771" y="1265372"/>
                    <a:pt x="6796771" y="1323048"/>
                  </a:cubicBezTo>
                  <a:cubicBezTo>
                    <a:pt x="6796771" y="1377012"/>
                    <a:pt x="6809610" y="1403995"/>
                    <a:pt x="6835289" y="1403995"/>
                  </a:cubicBezTo>
                  <a:cubicBezTo>
                    <a:pt x="6860566" y="1403995"/>
                    <a:pt x="6873204" y="1376561"/>
                    <a:pt x="6873204" y="1321695"/>
                  </a:cubicBezTo>
                  <a:cubicBezTo>
                    <a:pt x="6873204" y="1264921"/>
                    <a:pt x="6860816" y="1236534"/>
                    <a:pt x="6836041" y="1236534"/>
                  </a:cubicBezTo>
                  <a:close/>
                  <a:moveTo>
                    <a:pt x="6622947" y="1236534"/>
                  </a:moveTo>
                  <a:cubicBezTo>
                    <a:pt x="6596767" y="1236534"/>
                    <a:pt x="6583677" y="1265372"/>
                    <a:pt x="6583677" y="1323048"/>
                  </a:cubicBezTo>
                  <a:cubicBezTo>
                    <a:pt x="6583677" y="1377012"/>
                    <a:pt x="6596516" y="1403995"/>
                    <a:pt x="6622195" y="1403995"/>
                  </a:cubicBezTo>
                  <a:cubicBezTo>
                    <a:pt x="6647472" y="1403995"/>
                    <a:pt x="6660110" y="1376561"/>
                    <a:pt x="6660110" y="1321695"/>
                  </a:cubicBezTo>
                  <a:cubicBezTo>
                    <a:pt x="6660110" y="1264921"/>
                    <a:pt x="6647722" y="1236534"/>
                    <a:pt x="6622947" y="1236534"/>
                  </a:cubicBezTo>
                  <a:close/>
                  <a:moveTo>
                    <a:pt x="3077272" y="1236534"/>
                  </a:moveTo>
                  <a:cubicBezTo>
                    <a:pt x="3051092" y="1236534"/>
                    <a:pt x="3038002" y="1265372"/>
                    <a:pt x="3038002" y="1323048"/>
                  </a:cubicBezTo>
                  <a:cubicBezTo>
                    <a:pt x="3038002" y="1377012"/>
                    <a:pt x="3050841" y="1403995"/>
                    <a:pt x="3076520" y="1403995"/>
                  </a:cubicBezTo>
                  <a:cubicBezTo>
                    <a:pt x="3101797" y="1403995"/>
                    <a:pt x="3114435" y="1376561"/>
                    <a:pt x="3114435" y="1321695"/>
                  </a:cubicBezTo>
                  <a:cubicBezTo>
                    <a:pt x="3114435" y="1264921"/>
                    <a:pt x="3102047" y="1236534"/>
                    <a:pt x="3077272" y="1236534"/>
                  </a:cubicBezTo>
                  <a:close/>
                  <a:moveTo>
                    <a:pt x="2730469" y="1236534"/>
                  </a:moveTo>
                  <a:cubicBezTo>
                    <a:pt x="2704289" y="1236534"/>
                    <a:pt x="2691199" y="1265372"/>
                    <a:pt x="2691199" y="1323048"/>
                  </a:cubicBezTo>
                  <a:cubicBezTo>
                    <a:pt x="2691199" y="1377012"/>
                    <a:pt x="2704038" y="1403995"/>
                    <a:pt x="2729717" y="1403995"/>
                  </a:cubicBezTo>
                  <a:cubicBezTo>
                    <a:pt x="2754994" y="1403995"/>
                    <a:pt x="2767632" y="1376561"/>
                    <a:pt x="2767632" y="1321695"/>
                  </a:cubicBezTo>
                  <a:cubicBezTo>
                    <a:pt x="2767632" y="1264921"/>
                    <a:pt x="2755244" y="1236534"/>
                    <a:pt x="2730469" y="1236534"/>
                  </a:cubicBezTo>
                  <a:close/>
                  <a:moveTo>
                    <a:pt x="2039104" y="1236534"/>
                  </a:moveTo>
                  <a:cubicBezTo>
                    <a:pt x="2012924" y="1236534"/>
                    <a:pt x="1999834" y="1265372"/>
                    <a:pt x="1999834" y="1323048"/>
                  </a:cubicBezTo>
                  <a:cubicBezTo>
                    <a:pt x="1999834" y="1377012"/>
                    <a:pt x="2012673" y="1403995"/>
                    <a:pt x="2038352" y="1403995"/>
                  </a:cubicBezTo>
                  <a:cubicBezTo>
                    <a:pt x="2063629" y="1403995"/>
                    <a:pt x="2076267" y="1376561"/>
                    <a:pt x="2076267" y="1321695"/>
                  </a:cubicBezTo>
                  <a:cubicBezTo>
                    <a:pt x="2076267" y="1264921"/>
                    <a:pt x="2063879" y="1236534"/>
                    <a:pt x="2039104" y="1236534"/>
                  </a:cubicBezTo>
                  <a:close/>
                  <a:moveTo>
                    <a:pt x="783897" y="1236534"/>
                  </a:moveTo>
                  <a:cubicBezTo>
                    <a:pt x="757717" y="1236534"/>
                    <a:pt x="744627" y="1265372"/>
                    <a:pt x="744627" y="1323048"/>
                  </a:cubicBezTo>
                  <a:cubicBezTo>
                    <a:pt x="744627" y="1377012"/>
                    <a:pt x="757466" y="1403995"/>
                    <a:pt x="783145" y="1403995"/>
                  </a:cubicBezTo>
                  <a:cubicBezTo>
                    <a:pt x="808422" y="1403995"/>
                    <a:pt x="821060" y="1376561"/>
                    <a:pt x="821060" y="1321695"/>
                  </a:cubicBezTo>
                  <a:cubicBezTo>
                    <a:pt x="821060" y="1264921"/>
                    <a:pt x="808672" y="1236534"/>
                    <a:pt x="783897" y="1236534"/>
                  </a:cubicBezTo>
                  <a:close/>
                  <a:moveTo>
                    <a:pt x="563297" y="1236534"/>
                  </a:moveTo>
                  <a:cubicBezTo>
                    <a:pt x="537117" y="1236534"/>
                    <a:pt x="524027" y="1265372"/>
                    <a:pt x="524027" y="1323048"/>
                  </a:cubicBezTo>
                  <a:cubicBezTo>
                    <a:pt x="524027" y="1377012"/>
                    <a:pt x="536866" y="1403995"/>
                    <a:pt x="562545" y="1403995"/>
                  </a:cubicBezTo>
                  <a:cubicBezTo>
                    <a:pt x="587822" y="1403995"/>
                    <a:pt x="600460" y="1376561"/>
                    <a:pt x="600460" y="1321695"/>
                  </a:cubicBezTo>
                  <a:cubicBezTo>
                    <a:pt x="600460" y="1264921"/>
                    <a:pt x="588072" y="1236534"/>
                    <a:pt x="563297" y="1236534"/>
                  </a:cubicBezTo>
                  <a:close/>
                  <a:moveTo>
                    <a:pt x="12042385" y="1208700"/>
                  </a:moveTo>
                  <a:lnTo>
                    <a:pt x="12057291" y="1208700"/>
                  </a:lnTo>
                  <a:lnTo>
                    <a:pt x="12057291" y="1431679"/>
                  </a:lnTo>
                  <a:lnTo>
                    <a:pt x="12022003" y="1431679"/>
                  </a:lnTo>
                  <a:lnTo>
                    <a:pt x="12022003" y="1251896"/>
                  </a:lnTo>
                  <a:cubicBezTo>
                    <a:pt x="12015615" y="1256459"/>
                    <a:pt x="12008745" y="1260337"/>
                    <a:pt x="12001394" y="1263531"/>
                  </a:cubicBezTo>
                  <a:cubicBezTo>
                    <a:pt x="11994042" y="1266726"/>
                    <a:pt x="11985651" y="1269539"/>
                    <a:pt x="11976221" y="1271973"/>
                  </a:cubicBezTo>
                  <a:lnTo>
                    <a:pt x="11976221" y="1241857"/>
                  </a:lnTo>
                  <a:cubicBezTo>
                    <a:pt x="11982102" y="1239931"/>
                    <a:pt x="11987781" y="1237902"/>
                    <a:pt x="11993256" y="1235773"/>
                  </a:cubicBezTo>
                  <a:cubicBezTo>
                    <a:pt x="11998732" y="1233645"/>
                    <a:pt x="12004132" y="1231262"/>
                    <a:pt x="12009455" y="1228624"/>
                  </a:cubicBezTo>
                  <a:cubicBezTo>
                    <a:pt x="12014779" y="1225988"/>
                    <a:pt x="12020153" y="1223048"/>
                    <a:pt x="12025578" y="1219803"/>
                  </a:cubicBezTo>
                  <a:cubicBezTo>
                    <a:pt x="12031003" y="1216559"/>
                    <a:pt x="12036605" y="1212856"/>
                    <a:pt x="12042385" y="1208700"/>
                  </a:cubicBezTo>
                  <a:close/>
                  <a:moveTo>
                    <a:pt x="11669820" y="1208700"/>
                  </a:moveTo>
                  <a:lnTo>
                    <a:pt x="11684726" y="1208700"/>
                  </a:lnTo>
                  <a:lnTo>
                    <a:pt x="11684726" y="1431679"/>
                  </a:lnTo>
                  <a:lnTo>
                    <a:pt x="11649438" y="1431679"/>
                  </a:lnTo>
                  <a:lnTo>
                    <a:pt x="11649438" y="1251896"/>
                  </a:lnTo>
                  <a:cubicBezTo>
                    <a:pt x="11643050" y="1256459"/>
                    <a:pt x="11636180" y="1260337"/>
                    <a:pt x="11628829" y="1263531"/>
                  </a:cubicBezTo>
                  <a:cubicBezTo>
                    <a:pt x="11621477" y="1266726"/>
                    <a:pt x="11613086" y="1269539"/>
                    <a:pt x="11603656" y="1271973"/>
                  </a:cubicBezTo>
                  <a:lnTo>
                    <a:pt x="11603656" y="1241857"/>
                  </a:lnTo>
                  <a:cubicBezTo>
                    <a:pt x="11609537" y="1239931"/>
                    <a:pt x="11615216" y="1237902"/>
                    <a:pt x="11620691" y="1235773"/>
                  </a:cubicBezTo>
                  <a:cubicBezTo>
                    <a:pt x="11626167" y="1233645"/>
                    <a:pt x="11631567" y="1231262"/>
                    <a:pt x="11636890" y="1228624"/>
                  </a:cubicBezTo>
                  <a:cubicBezTo>
                    <a:pt x="11642214" y="1225988"/>
                    <a:pt x="11647588" y="1223048"/>
                    <a:pt x="11653013" y="1219803"/>
                  </a:cubicBezTo>
                  <a:cubicBezTo>
                    <a:pt x="11658438" y="1216559"/>
                    <a:pt x="11664040" y="1212856"/>
                    <a:pt x="11669820" y="1208700"/>
                  </a:cubicBezTo>
                  <a:close/>
                  <a:moveTo>
                    <a:pt x="11519847" y="1208700"/>
                  </a:moveTo>
                  <a:lnTo>
                    <a:pt x="11534753" y="1208700"/>
                  </a:lnTo>
                  <a:lnTo>
                    <a:pt x="11534753" y="1431679"/>
                  </a:lnTo>
                  <a:lnTo>
                    <a:pt x="11499465" y="1431679"/>
                  </a:lnTo>
                  <a:lnTo>
                    <a:pt x="11499465" y="1251896"/>
                  </a:lnTo>
                  <a:cubicBezTo>
                    <a:pt x="11493077" y="1256459"/>
                    <a:pt x="11486207" y="1260337"/>
                    <a:pt x="11478856" y="1263531"/>
                  </a:cubicBezTo>
                  <a:cubicBezTo>
                    <a:pt x="11471504" y="1266726"/>
                    <a:pt x="11463113" y="1269539"/>
                    <a:pt x="11453683" y="1271973"/>
                  </a:cubicBezTo>
                  <a:lnTo>
                    <a:pt x="11453683" y="1241857"/>
                  </a:lnTo>
                  <a:cubicBezTo>
                    <a:pt x="11459564" y="1239931"/>
                    <a:pt x="11465243" y="1237902"/>
                    <a:pt x="11470718" y="1235773"/>
                  </a:cubicBezTo>
                  <a:cubicBezTo>
                    <a:pt x="11476194" y="1233645"/>
                    <a:pt x="11481594" y="1231262"/>
                    <a:pt x="11486917" y="1228624"/>
                  </a:cubicBezTo>
                  <a:cubicBezTo>
                    <a:pt x="11492241" y="1225988"/>
                    <a:pt x="11497615" y="1223048"/>
                    <a:pt x="11503040" y="1219803"/>
                  </a:cubicBezTo>
                  <a:cubicBezTo>
                    <a:pt x="11508465" y="1216559"/>
                    <a:pt x="11514067" y="1212856"/>
                    <a:pt x="11519847" y="1208700"/>
                  </a:cubicBezTo>
                  <a:close/>
                  <a:moveTo>
                    <a:pt x="11369874" y="1208700"/>
                  </a:moveTo>
                  <a:lnTo>
                    <a:pt x="11384780" y="1208700"/>
                  </a:lnTo>
                  <a:lnTo>
                    <a:pt x="11384780" y="1431679"/>
                  </a:lnTo>
                  <a:lnTo>
                    <a:pt x="11349492" y="1431679"/>
                  </a:lnTo>
                  <a:lnTo>
                    <a:pt x="11349492" y="1251896"/>
                  </a:lnTo>
                  <a:cubicBezTo>
                    <a:pt x="11343104" y="1256459"/>
                    <a:pt x="11336234" y="1260337"/>
                    <a:pt x="11328883" y="1263531"/>
                  </a:cubicBezTo>
                  <a:cubicBezTo>
                    <a:pt x="11321531" y="1266726"/>
                    <a:pt x="11313140" y="1269539"/>
                    <a:pt x="11303710" y="1271973"/>
                  </a:cubicBezTo>
                  <a:lnTo>
                    <a:pt x="11303710" y="1241857"/>
                  </a:lnTo>
                  <a:cubicBezTo>
                    <a:pt x="11309591" y="1239931"/>
                    <a:pt x="11315270" y="1237902"/>
                    <a:pt x="11320745" y="1235773"/>
                  </a:cubicBezTo>
                  <a:cubicBezTo>
                    <a:pt x="11326221" y="1233645"/>
                    <a:pt x="11331621" y="1231262"/>
                    <a:pt x="11336944" y="1228624"/>
                  </a:cubicBezTo>
                  <a:cubicBezTo>
                    <a:pt x="11342268" y="1225988"/>
                    <a:pt x="11347642" y="1223048"/>
                    <a:pt x="11353067" y="1219803"/>
                  </a:cubicBezTo>
                  <a:cubicBezTo>
                    <a:pt x="11358492" y="1216559"/>
                    <a:pt x="11364094" y="1212856"/>
                    <a:pt x="11369874" y="1208700"/>
                  </a:cubicBezTo>
                  <a:close/>
                  <a:moveTo>
                    <a:pt x="10626916" y="1208700"/>
                  </a:moveTo>
                  <a:lnTo>
                    <a:pt x="10641822" y="1208700"/>
                  </a:lnTo>
                  <a:lnTo>
                    <a:pt x="10641822" y="1431679"/>
                  </a:lnTo>
                  <a:lnTo>
                    <a:pt x="10606534" y="1431679"/>
                  </a:lnTo>
                  <a:lnTo>
                    <a:pt x="10606534" y="1251896"/>
                  </a:lnTo>
                  <a:cubicBezTo>
                    <a:pt x="10600146" y="1256459"/>
                    <a:pt x="10593276" y="1260337"/>
                    <a:pt x="10585925" y="1263531"/>
                  </a:cubicBezTo>
                  <a:cubicBezTo>
                    <a:pt x="10578573" y="1266726"/>
                    <a:pt x="10570182" y="1269539"/>
                    <a:pt x="10560752" y="1271973"/>
                  </a:cubicBezTo>
                  <a:lnTo>
                    <a:pt x="10560752" y="1241857"/>
                  </a:lnTo>
                  <a:cubicBezTo>
                    <a:pt x="10566633" y="1239931"/>
                    <a:pt x="10572312" y="1237902"/>
                    <a:pt x="10577787" y="1235773"/>
                  </a:cubicBezTo>
                  <a:cubicBezTo>
                    <a:pt x="10583263" y="1233645"/>
                    <a:pt x="10588663" y="1231262"/>
                    <a:pt x="10593986" y="1228624"/>
                  </a:cubicBezTo>
                  <a:cubicBezTo>
                    <a:pt x="10599310" y="1225988"/>
                    <a:pt x="10604684" y="1223048"/>
                    <a:pt x="10610109" y="1219803"/>
                  </a:cubicBezTo>
                  <a:cubicBezTo>
                    <a:pt x="10615534" y="1216559"/>
                    <a:pt x="10621136" y="1212856"/>
                    <a:pt x="10626916" y="1208700"/>
                  </a:cubicBezTo>
                  <a:close/>
                  <a:moveTo>
                    <a:pt x="10475787" y="1208700"/>
                  </a:moveTo>
                  <a:lnTo>
                    <a:pt x="10490693" y="1208700"/>
                  </a:lnTo>
                  <a:lnTo>
                    <a:pt x="10490693" y="1431679"/>
                  </a:lnTo>
                  <a:lnTo>
                    <a:pt x="10455405" y="1431679"/>
                  </a:lnTo>
                  <a:lnTo>
                    <a:pt x="10455405" y="1251896"/>
                  </a:lnTo>
                  <a:cubicBezTo>
                    <a:pt x="10449017" y="1256459"/>
                    <a:pt x="10442147" y="1260337"/>
                    <a:pt x="10434796" y="1263531"/>
                  </a:cubicBezTo>
                  <a:cubicBezTo>
                    <a:pt x="10427444" y="1266726"/>
                    <a:pt x="10419053" y="1269539"/>
                    <a:pt x="10409623" y="1271973"/>
                  </a:cubicBezTo>
                  <a:lnTo>
                    <a:pt x="10409623" y="1241857"/>
                  </a:lnTo>
                  <a:cubicBezTo>
                    <a:pt x="10415504" y="1239931"/>
                    <a:pt x="10421183" y="1237902"/>
                    <a:pt x="10426658" y="1235773"/>
                  </a:cubicBezTo>
                  <a:cubicBezTo>
                    <a:pt x="10432134" y="1233645"/>
                    <a:pt x="10437534" y="1231262"/>
                    <a:pt x="10442857" y="1228624"/>
                  </a:cubicBezTo>
                  <a:cubicBezTo>
                    <a:pt x="10448181" y="1225988"/>
                    <a:pt x="10453555" y="1223048"/>
                    <a:pt x="10458980" y="1219803"/>
                  </a:cubicBezTo>
                  <a:cubicBezTo>
                    <a:pt x="10464405" y="1216559"/>
                    <a:pt x="10470007" y="1212856"/>
                    <a:pt x="10475787" y="1208700"/>
                  </a:cubicBezTo>
                  <a:close/>
                  <a:moveTo>
                    <a:pt x="10175840" y="1208700"/>
                  </a:moveTo>
                  <a:lnTo>
                    <a:pt x="10190746" y="1208700"/>
                  </a:lnTo>
                  <a:lnTo>
                    <a:pt x="10190746" y="1431679"/>
                  </a:lnTo>
                  <a:lnTo>
                    <a:pt x="10155458" y="1431679"/>
                  </a:lnTo>
                  <a:lnTo>
                    <a:pt x="10155458" y="1251896"/>
                  </a:lnTo>
                  <a:cubicBezTo>
                    <a:pt x="10149070" y="1256459"/>
                    <a:pt x="10142200" y="1260337"/>
                    <a:pt x="10134849" y="1263531"/>
                  </a:cubicBezTo>
                  <a:cubicBezTo>
                    <a:pt x="10127497" y="1266726"/>
                    <a:pt x="10119106" y="1269539"/>
                    <a:pt x="10109676" y="1271973"/>
                  </a:cubicBezTo>
                  <a:lnTo>
                    <a:pt x="10109676" y="1241857"/>
                  </a:lnTo>
                  <a:cubicBezTo>
                    <a:pt x="10115557" y="1239931"/>
                    <a:pt x="10121236" y="1237902"/>
                    <a:pt x="10126711" y="1235773"/>
                  </a:cubicBezTo>
                  <a:cubicBezTo>
                    <a:pt x="10132187" y="1233645"/>
                    <a:pt x="10137587" y="1231262"/>
                    <a:pt x="10142910" y="1228624"/>
                  </a:cubicBezTo>
                  <a:cubicBezTo>
                    <a:pt x="10148234" y="1225988"/>
                    <a:pt x="10153608" y="1223048"/>
                    <a:pt x="10159033" y="1219803"/>
                  </a:cubicBezTo>
                  <a:cubicBezTo>
                    <a:pt x="10164458" y="1216559"/>
                    <a:pt x="10170060" y="1212856"/>
                    <a:pt x="10175840" y="1208700"/>
                  </a:cubicBezTo>
                  <a:close/>
                  <a:moveTo>
                    <a:pt x="9790812" y="1208700"/>
                  </a:moveTo>
                  <a:lnTo>
                    <a:pt x="9805718" y="1208700"/>
                  </a:lnTo>
                  <a:lnTo>
                    <a:pt x="9805718" y="1431679"/>
                  </a:lnTo>
                  <a:lnTo>
                    <a:pt x="9770430" y="1431679"/>
                  </a:lnTo>
                  <a:lnTo>
                    <a:pt x="9770430" y="1251896"/>
                  </a:lnTo>
                  <a:cubicBezTo>
                    <a:pt x="9764042" y="1256459"/>
                    <a:pt x="9757172" y="1260337"/>
                    <a:pt x="9749821" y="1263531"/>
                  </a:cubicBezTo>
                  <a:cubicBezTo>
                    <a:pt x="9742469" y="1266726"/>
                    <a:pt x="9734078" y="1269539"/>
                    <a:pt x="9724648" y="1271973"/>
                  </a:cubicBezTo>
                  <a:lnTo>
                    <a:pt x="9724648" y="1241857"/>
                  </a:lnTo>
                  <a:cubicBezTo>
                    <a:pt x="9730529" y="1239931"/>
                    <a:pt x="9736208" y="1237902"/>
                    <a:pt x="9741683" y="1235773"/>
                  </a:cubicBezTo>
                  <a:cubicBezTo>
                    <a:pt x="9747159" y="1233645"/>
                    <a:pt x="9752559" y="1231262"/>
                    <a:pt x="9757882" y="1228624"/>
                  </a:cubicBezTo>
                  <a:cubicBezTo>
                    <a:pt x="9763206" y="1225988"/>
                    <a:pt x="9768580" y="1223048"/>
                    <a:pt x="9774005" y="1219803"/>
                  </a:cubicBezTo>
                  <a:cubicBezTo>
                    <a:pt x="9779430" y="1216559"/>
                    <a:pt x="9785032" y="1212856"/>
                    <a:pt x="9790812" y="1208700"/>
                  </a:cubicBezTo>
                  <a:close/>
                  <a:moveTo>
                    <a:pt x="9639683" y="1208700"/>
                  </a:moveTo>
                  <a:lnTo>
                    <a:pt x="9654589" y="1208700"/>
                  </a:lnTo>
                  <a:lnTo>
                    <a:pt x="9654589" y="1431679"/>
                  </a:lnTo>
                  <a:lnTo>
                    <a:pt x="9619301" y="1431679"/>
                  </a:lnTo>
                  <a:lnTo>
                    <a:pt x="9619301" y="1251896"/>
                  </a:lnTo>
                  <a:cubicBezTo>
                    <a:pt x="9612913" y="1256459"/>
                    <a:pt x="9606043" y="1260337"/>
                    <a:pt x="9598692" y="1263531"/>
                  </a:cubicBezTo>
                  <a:cubicBezTo>
                    <a:pt x="9591340" y="1266726"/>
                    <a:pt x="9582949" y="1269539"/>
                    <a:pt x="9573519" y="1271973"/>
                  </a:cubicBezTo>
                  <a:lnTo>
                    <a:pt x="9573519" y="1241857"/>
                  </a:lnTo>
                  <a:cubicBezTo>
                    <a:pt x="9579400" y="1239931"/>
                    <a:pt x="9585079" y="1237902"/>
                    <a:pt x="9590554" y="1235773"/>
                  </a:cubicBezTo>
                  <a:cubicBezTo>
                    <a:pt x="9596030" y="1233645"/>
                    <a:pt x="9601430" y="1231262"/>
                    <a:pt x="9606753" y="1228624"/>
                  </a:cubicBezTo>
                  <a:cubicBezTo>
                    <a:pt x="9612077" y="1225988"/>
                    <a:pt x="9617451" y="1223048"/>
                    <a:pt x="9622876" y="1219803"/>
                  </a:cubicBezTo>
                  <a:cubicBezTo>
                    <a:pt x="9628301" y="1216559"/>
                    <a:pt x="9633903" y="1212856"/>
                    <a:pt x="9639683" y="1208700"/>
                  </a:cubicBezTo>
                  <a:close/>
                  <a:moveTo>
                    <a:pt x="9489710" y="1208700"/>
                  </a:moveTo>
                  <a:lnTo>
                    <a:pt x="9504616" y="1208700"/>
                  </a:lnTo>
                  <a:lnTo>
                    <a:pt x="9504616" y="1431679"/>
                  </a:lnTo>
                  <a:lnTo>
                    <a:pt x="9469328" y="1431679"/>
                  </a:lnTo>
                  <a:lnTo>
                    <a:pt x="9469328" y="1251896"/>
                  </a:lnTo>
                  <a:cubicBezTo>
                    <a:pt x="9462940" y="1256459"/>
                    <a:pt x="9456070" y="1260337"/>
                    <a:pt x="9448719" y="1263531"/>
                  </a:cubicBezTo>
                  <a:cubicBezTo>
                    <a:pt x="9441367" y="1266726"/>
                    <a:pt x="9432976" y="1269539"/>
                    <a:pt x="9423546" y="1271973"/>
                  </a:cubicBezTo>
                  <a:lnTo>
                    <a:pt x="9423546" y="1241857"/>
                  </a:lnTo>
                  <a:cubicBezTo>
                    <a:pt x="9429427" y="1239931"/>
                    <a:pt x="9435106" y="1237902"/>
                    <a:pt x="9440581" y="1235773"/>
                  </a:cubicBezTo>
                  <a:cubicBezTo>
                    <a:pt x="9446057" y="1233645"/>
                    <a:pt x="9451457" y="1231262"/>
                    <a:pt x="9456780" y="1228624"/>
                  </a:cubicBezTo>
                  <a:cubicBezTo>
                    <a:pt x="9462104" y="1225988"/>
                    <a:pt x="9467478" y="1223048"/>
                    <a:pt x="9472903" y="1219803"/>
                  </a:cubicBezTo>
                  <a:cubicBezTo>
                    <a:pt x="9478328" y="1216559"/>
                    <a:pt x="9483930" y="1212856"/>
                    <a:pt x="9489710" y="1208700"/>
                  </a:cubicBezTo>
                  <a:close/>
                  <a:moveTo>
                    <a:pt x="9339737" y="1208700"/>
                  </a:moveTo>
                  <a:lnTo>
                    <a:pt x="9354643" y="1208700"/>
                  </a:lnTo>
                  <a:lnTo>
                    <a:pt x="9354643" y="1431679"/>
                  </a:lnTo>
                  <a:lnTo>
                    <a:pt x="9319355" y="1431679"/>
                  </a:lnTo>
                  <a:lnTo>
                    <a:pt x="9319355" y="1251896"/>
                  </a:lnTo>
                  <a:cubicBezTo>
                    <a:pt x="9312967" y="1256459"/>
                    <a:pt x="9306097" y="1260337"/>
                    <a:pt x="9298746" y="1263531"/>
                  </a:cubicBezTo>
                  <a:cubicBezTo>
                    <a:pt x="9291394" y="1266726"/>
                    <a:pt x="9283003" y="1269539"/>
                    <a:pt x="9273573" y="1271973"/>
                  </a:cubicBezTo>
                  <a:lnTo>
                    <a:pt x="9273573" y="1241857"/>
                  </a:lnTo>
                  <a:cubicBezTo>
                    <a:pt x="9279454" y="1239931"/>
                    <a:pt x="9285133" y="1237902"/>
                    <a:pt x="9290608" y="1235773"/>
                  </a:cubicBezTo>
                  <a:cubicBezTo>
                    <a:pt x="9296084" y="1233645"/>
                    <a:pt x="9301484" y="1231262"/>
                    <a:pt x="9306807" y="1228624"/>
                  </a:cubicBezTo>
                  <a:cubicBezTo>
                    <a:pt x="9312131" y="1225988"/>
                    <a:pt x="9317505" y="1223048"/>
                    <a:pt x="9322930" y="1219803"/>
                  </a:cubicBezTo>
                  <a:cubicBezTo>
                    <a:pt x="9328355" y="1216559"/>
                    <a:pt x="9333957" y="1212856"/>
                    <a:pt x="9339737" y="1208700"/>
                  </a:cubicBezTo>
                  <a:close/>
                  <a:moveTo>
                    <a:pt x="9139344" y="1208700"/>
                  </a:moveTo>
                  <a:cubicBezTo>
                    <a:pt x="9186788" y="1208700"/>
                    <a:pt x="9210511" y="1245562"/>
                    <a:pt x="9210511" y="1319287"/>
                  </a:cubicBezTo>
                  <a:cubicBezTo>
                    <a:pt x="9210511" y="1355798"/>
                    <a:pt x="9203815" y="1383658"/>
                    <a:pt x="9190425" y="1402866"/>
                  </a:cubicBezTo>
                  <a:cubicBezTo>
                    <a:pt x="9177034" y="1422074"/>
                    <a:pt x="9158302" y="1431679"/>
                    <a:pt x="9134228" y="1431679"/>
                  </a:cubicBezTo>
                  <a:cubicBezTo>
                    <a:pt x="9111760" y="1431679"/>
                    <a:pt x="9094231" y="1422501"/>
                    <a:pt x="9081643" y="1404145"/>
                  </a:cubicBezTo>
                  <a:cubicBezTo>
                    <a:pt x="9069054" y="1385789"/>
                    <a:pt x="9062760" y="1359259"/>
                    <a:pt x="9062760" y="1324553"/>
                  </a:cubicBezTo>
                  <a:cubicBezTo>
                    <a:pt x="9062760" y="1286436"/>
                    <a:pt x="9069330" y="1257599"/>
                    <a:pt x="9082470" y="1238039"/>
                  </a:cubicBezTo>
                  <a:cubicBezTo>
                    <a:pt x="9095611" y="1218479"/>
                    <a:pt x="9114568" y="1208700"/>
                    <a:pt x="9139344" y="1208700"/>
                  </a:cubicBezTo>
                  <a:close/>
                  <a:moveTo>
                    <a:pt x="9008268" y="1208700"/>
                  </a:moveTo>
                  <a:lnTo>
                    <a:pt x="9023174" y="1208700"/>
                  </a:lnTo>
                  <a:lnTo>
                    <a:pt x="9023174" y="1431679"/>
                  </a:lnTo>
                  <a:lnTo>
                    <a:pt x="8987886" y="1431679"/>
                  </a:lnTo>
                  <a:lnTo>
                    <a:pt x="8987886" y="1251896"/>
                  </a:lnTo>
                  <a:cubicBezTo>
                    <a:pt x="8981498" y="1256459"/>
                    <a:pt x="8974628" y="1260337"/>
                    <a:pt x="8967277" y="1263531"/>
                  </a:cubicBezTo>
                  <a:cubicBezTo>
                    <a:pt x="8959925" y="1266726"/>
                    <a:pt x="8951534" y="1269539"/>
                    <a:pt x="8942104" y="1271973"/>
                  </a:cubicBezTo>
                  <a:lnTo>
                    <a:pt x="8942104" y="1241857"/>
                  </a:lnTo>
                  <a:cubicBezTo>
                    <a:pt x="8947985" y="1239931"/>
                    <a:pt x="8953664" y="1237902"/>
                    <a:pt x="8959139" y="1235773"/>
                  </a:cubicBezTo>
                  <a:cubicBezTo>
                    <a:pt x="8964615" y="1233645"/>
                    <a:pt x="8970015" y="1231262"/>
                    <a:pt x="8975338" y="1228624"/>
                  </a:cubicBezTo>
                  <a:cubicBezTo>
                    <a:pt x="8980662" y="1225988"/>
                    <a:pt x="8986036" y="1223048"/>
                    <a:pt x="8991461" y="1219803"/>
                  </a:cubicBezTo>
                  <a:cubicBezTo>
                    <a:pt x="8996886" y="1216559"/>
                    <a:pt x="9002488" y="1212856"/>
                    <a:pt x="9008268" y="1208700"/>
                  </a:cubicBezTo>
                  <a:close/>
                  <a:moveTo>
                    <a:pt x="8797587" y="1208700"/>
                  </a:moveTo>
                  <a:cubicBezTo>
                    <a:pt x="8845031" y="1208700"/>
                    <a:pt x="8868754" y="1245562"/>
                    <a:pt x="8868754" y="1319287"/>
                  </a:cubicBezTo>
                  <a:cubicBezTo>
                    <a:pt x="8868754" y="1355798"/>
                    <a:pt x="8862058" y="1383658"/>
                    <a:pt x="8848668" y="1402866"/>
                  </a:cubicBezTo>
                  <a:cubicBezTo>
                    <a:pt x="8835277" y="1422074"/>
                    <a:pt x="8816545" y="1431679"/>
                    <a:pt x="8792471" y="1431679"/>
                  </a:cubicBezTo>
                  <a:cubicBezTo>
                    <a:pt x="8770003" y="1431679"/>
                    <a:pt x="8752474" y="1422501"/>
                    <a:pt x="8739886" y="1404145"/>
                  </a:cubicBezTo>
                  <a:cubicBezTo>
                    <a:pt x="8727297" y="1385789"/>
                    <a:pt x="8721003" y="1359259"/>
                    <a:pt x="8721003" y="1324553"/>
                  </a:cubicBezTo>
                  <a:cubicBezTo>
                    <a:pt x="8721003" y="1286436"/>
                    <a:pt x="8727573" y="1257599"/>
                    <a:pt x="8740713" y="1238039"/>
                  </a:cubicBezTo>
                  <a:cubicBezTo>
                    <a:pt x="8753854" y="1218479"/>
                    <a:pt x="8772811" y="1208700"/>
                    <a:pt x="8797587" y="1208700"/>
                  </a:cubicBezTo>
                  <a:close/>
                  <a:moveTo>
                    <a:pt x="8096185" y="1208700"/>
                  </a:moveTo>
                  <a:cubicBezTo>
                    <a:pt x="8143630" y="1208700"/>
                    <a:pt x="8167352" y="1245562"/>
                    <a:pt x="8167352" y="1319287"/>
                  </a:cubicBezTo>
                  <a:cubicBezTo>
                    <a:pt x="8167352" y="1355798"/>
                    <a:pt x="8160657" y="1383658"/>
                    <a:pt x="8147266" y="1402866"/>
                  </a:cubicBezTo>
                  <a:cubicBezTo>
                    <a:pt x="8133875" y="1422074"/>
                    <a:pt x="8115143" y="1431679"/>
                    <a:pt x="8091069" y="1431679"/>
                  </a:cubicBezTo>
                  <a:cubicBezTo>
                    <a:pt x="8068601" y="1431679"/>
                    <a:pt x="8051072" y="1422501"/>
                    <a:pt x="8038484" y="1404145"/>
                  </a:cubicBezTo>
                  <a:cubicBezTo>
                    <a:pt x="8025895" y="1385789"/>
                    <a:pt x="8019601" y="1359259"/>
                    <a:pt x="8019601" y="1324553"/>
                  </a:cubicBezTo>
                  <a:cubicBezTo>
                    <a:pt x="8019601" y="1286436"/>
                    <a:pt x="8026171" y="1257599"/>
                    <a:pt x="8039311" y="1238039"/>
                  </a:cubicBezTo>
                  <a:cubicBezTo>
                    <a:pt x="8052452" y="1218479"/>
                    <a:pt x="8071409" y="1208700"/>
                    <a:pt x="8096185" y="1208700"/>
                  </a:cubicBezTo>
                  <a:close/>
                  <a:moveTo>
                    <a:pt x="7717024" y="1208700"/>
                  </a:moveTo>
                  <a:lnTo>
                    <a:pt x="7731930" y="1208700"/>
                  </a:lnTo>
                  <a:lnTo>
                    <a:pt x="7731930" y="1431679"/>
                  </a:lnTo>
                  <a:lnTo>
                    <a:pt x="7696642" y="1431679"/>
                  </a:lnTo>
                  <a:lnTo>
                    <a:pt x="7696642" y="1251896"/>
                  </a:lnTo>
                  <a:cubicBezTo>
                    <a:pt x="7690254" y="1256459"/>
                    <a:pt x="7683385" y="1260337"/>
                    <a:pt x="7676033" y="1263531"/>
                  </a:cubicBezTo>
                  <a:cubicBezTo>
                    <a:pt x="7668681" y="1266726"/>
                    <a:pt x="7660291" y="1269539"/>
                    <a:pt x="7650860" y="1271973"/>
                  </a:cubicBezTo>
                  <a:lnTo>
                    <a:pt x="7650860" y="1241857"/>
                  </a:lnTo>
                  <a:cubicBezTo>
                    <a:pt x="7656741" y="1239931"/>
                    <a:pt x="7662420" y="1237902"/>
                    <a:pt x="7667895" y="1235773"/>
                  </a:cubicBezTo>
                  <a:cubicBezTo>
                    <a:pt x="7673371" y="1233645"/>
                    <a:pt x="7678771" y="1231262"/>
                    <a:pt x="7684094" y="1228624"/>
                  </a:cubicBezTo>
                  <a:cubicBezTo>
                    <a:pt x="7689418" y="1225988"/>
                    <a:pt x="7694792" y="1223048"/>
                    <a:pt x="7700217" y="1219803"/>
                  </a:cubicBezTo>
                  <a:cubicBezTo>
                    <a:pt x="7705642" y="1216559"/>
                    <a:pt x="7711244" y="1212856"/>
                    <a:pt x="7717024" y="1208700"/>
                  </a:cubicBezTo>
                  <a:close/>
                  <a:moveTo>
                    <a:pt x="7355082" y="1208700"/>
                  </a:moveTo>
                  <a:lnTo>
                    <a:pt x="7369988" y="1208700"/>
                  </a:lnTo>
                  <a:lnTo>
                    <a:pt x="7369988" y="1431679"/>
                  </a:lnTo>
                  <a:lnTo>
                    <a:pt x="7334700" y="1431679"/>
                  </a:lnTo>
                  <a:lnTo>
                    <a:pt x="7334700" y="1251896"/>
                  </a:lnTo>
                  <a:cubicBezTo>
                    <a:pt x="7328312" y="1256459"/>
                    <a:pt x="7321443" y="1260337"/>
                    <a:pt x="7314091" y="1263531"/>
                  </a:cubicBezTo>
                  <a:cubicBezTo>
                    <a:pt x="7306739" y="1266726"/>
                    <a:pt x="7298349" y="1269539"/>
                    <a:pt x="7288918" y="1271973"/>
                  </a:cubicBezTo>
                  <a:lnTo>
                    <a:pt x="7288918" y="1241857"/>
                  </a:lnTo>
                  <a:cubicBezTo>
                    <a:pt x="7294799" y="1239931"/>
                    <a:pt x="7300478" y="1237902"/>
                    <a:pt x="7305953" y="1235773"/>
                  </a:cubicBezTo>
                  <a:cubicBezTo>
                    <a:pt x="7311429" y="1233645"/>
                    <a:pt x="7316829" y="1231262"/>
                    <a:pt x="7322152" y="1228624"/>
                  </a:cubicBezTo>
                  <a:cubicBezTo>
                    <a:pt x="7327476" y="1225988"/>
                    <a:pt x="7332850" y="1223048"/>
                    <a:pt x="7338275" y="1219803"/>
                  </a:cubicBezTo>
                  <a:cubicBezTo>
                    <a:pt x="7343700" y="1216559"/>
                    <a:pt x="7349302" y="1212856"/>
                    <a:pt x="7355082" y="1208700"/>
                  </a:cubicBezTo>
                  <a:close/>
                  <a:moveTo>
                    <a:pt x="7055136" y="1208700"/>
                  </a:moveTo>
                  <a:lnTo>
                    <a:pt x="7070042" y="1208700"/>
                  </a:lnTo>
                  <a:lnTo>
                    <a:pt x="7070042" y="1431679"/>
                  </a:lnTo>
                  <a:lnTo>
                    <a:pt x="7034754" y="1431679"/>
                  </a:lnTo>
                  <a:lnTo>
                    <a:pt x="7034754" y="1251896"/>
                  </a:lnTo>
                  <a:cubicBezTo>
                    <a:pt x="7028366" y="1256459"/>
                    <a:pt x="7021497" y="1260337"/>
                    <a:pt x="7014145" y="1263531"/>
                  </a:cubicBezTo>
                  <a:cubicBezTo>
                    <a:pt x="7006793" y="1266726"/>
                    <a:pt x="6998403" y="1269539"/>
                    <a:pt x="6988972" y="1271973"/>
                  </a:cubicBezTo>
                  <a:lnTo>
                    <a:pt x="6988972" y="1241857"/>
                  </a:lnTo>
                  <a:cubicBezTo>
                    <a:pt x="6994853" y="1239931"/>
                    <a:pt x="7000532" y="1237902"/>
                    <a:pt x="7006007" y="1235773"/>
                  </a:cubicBezTo>
                  <a:cubicBezTo>
                    <a:pt x="7011483" y="1233645"/>
                    <a:pt x="7016883" y="1231262"/>
                    <a:pt x="7022206" y="1228624"/>
                  </a:cubicBezTo>
                  <a:cubicBezTo>
                    <a:pt x="7027530" y="1225988"/>
                    <a:pt x="7032904" y="1223048"/>
                    <a:pt x="7038329" y="1219803"/>
                  </a:cubicBezTo>
                  <a:cubicBezTo>
                    <a:pt x="7043754" y="1216559"/>
                    <a:pt x="7049356" y="1212856"/>
                    <a:pt x="7055136" y="1208700"/>
                  </a:cubicBezTo>
                  <a:close/>
                  <a:moveTo>
                    <a:pt x="6837696" y="1208700"/>
                  </a:moveTo>
                  <a:cubicBezTo>
                    <a:pt x="6885141" y="1208700"/>
                    <a:pt x="6908863" y="1245562"/>
                    <a:pt x="6908863" y="1319287"/>
                  </a:cubicBezTo>
                  <a:cubicBezTo>
                    <a:pt x="6908863" y="1355798"/>
                    <a:pt x="6902168" y="1383658"/>
                    <a:pt x="6888777" y="1402866"/>
                  </a:cubicBezTo>
                  <a:cubicBezTo>
                    <a:pt x="6875386" y="1422074"/>
                    <a:pt x="6856654" y="1431679"/>
                    <a:pt x="6832580" y="1431679"/>
                  </a:cubicBezTo>
                  <a:cubicBezTo>
                    <a:pt x="6810112" y="1431679"/>
                    <a:pt x="6792583" y="1422501"/>
                    <a:pt x="6779995" y="1404145"/>
                  </a:cubicBezTo>
                  <a:cubicBezTo>
                    <a:pt x="6767406" y="1385789"/>
                    <a:pt x="6761112" y="1359259"/>
                    <a:pt x="6761112" y="1324553"/>
                  </a:cubicBezTo>
                  <a:cubicBezTo>
                    <a:pt x="6761112" y="1286436"/>
                    <a:pt x="6767682" y="1257599"/>
                    <a:pt x="6780822" y="1238039"/>
                  </a:cubicBezTo>
                  <a:cubicBezTo>
                    <a:pt x="6793963" y="1218479"/>
                    <a:pt x="6812920" y="1208700"/>
                    <a:pt x="6837696" y="1208700"/>
                  </a:cubicBezTo>
                  <a:close/>
                  <a:moveTo>
                    <a:pt x="6624602" y="1208700"/>
                  </a:moveTo>
                  <a:cubicBezTo>
                    <a:pt x="6672047" y="1208700"/>
                    <a:pt x="6695769" y="1245562"/>
                    <a:pt x="6695769" y="1319287"/>
                  </a:cubicBezTo>
                  <a:cubicBezTo>
                    <a:pt x="6695769" y="1355798"/>
                    <a:pt x="6689074" y="1383658"/>
                    <a:pt x="6675683" y="1402866"/>
                  </a:cubicBezTo>
                  <a:cubicBezTo>
                    <a:pt x="6662292" y="1422074"/>
                    <a:pt x="6643560" y="1431679"/>
                    <a:pt x="6619486" y="1431679"/>
                  </a:cubicBezTo>
                  <a:cubicBezTo>
                    <a:pt x="6597018" y="1431679"/>
                    <a:pt x="6579489" y="1422501"/>
                    <a:pt x="6566901" y="1404145"/>
                  </a:cubicBezTo>
                  <a:cubicBezTo>
                    <a:pt x="6554312" y="1385789"/>
                    <a:pt x="6548018" y="1359259"/>
                    <a:pt x="6548018" y="1324553"/>
                  </a:cubicBezTo>
                  <a:cubicBezTo>
                    <a:pt x="6548018" y="1286436"/>
                    <a:pt x="6554588" y="1257599"/>
                    <a:pt x="6567728" y="1238039"/>
                  </a:cubicBezTo>
                  <a:cubicBezTo>
                    <a:pt x="6580869" y="1218479"/>
                    <a:pt x="6599826" y="1208700"/>
                    <a:pt x="6624602" y="1208700"/>
                  </a:cubicBezTo>
                  <a:close/>
                  <a:moveTo>
                    <a:pt x="6463053" y="1208700"/>
                  </a:moveTo>
                  <a:lnTo>
                    <a:pt x="6477959" y="1208700"/>
                  </a:lnTo>
                  <a:lnTo>
                    <a:pt x="6477959" y="1431679"/>
                  </a:lnTo>
                  <a:lnTo>
                    <a:pt x="6442671" y="1431679"/>
                  </a:lnTo>
                  <a:lnTo>
                    <a:pt x="6442671" y="1251896"/>
                  </a:lnTo>
                  <a:cubicBezTo>
                    <a:pt x="6436283" y="1256459"/>
                    <a:pt x="6429414" y="1260337"/>
                    <a:pt x="6422062" y="1263531"/>
                  </a:cubicBezTo>
                  <a:cubicBezTo>
                    <a:pt x="6414710" y="1266726"/>
                    <a:pt x="6406320" y="1269539"/>
                    <a:pt x="6396889" y="1271973"/>
                  </a:cubicBezTo>
                  <a:lnTo>
                    <a:pt x="6396889" y="1241857"/>
                  </a:lnTo>
                  <a:cubicBezTo>
                    <a:pt x="6402770" y="1239931"/>
                    <a:pt x="6408449" y="1237902"/>
                    <a:pt x="6413924" y="1235773"/>
                  </a:cubicBezTo>
                  <a:cubicBezTo>
                    <a:pt x="6419400" y="1233645"/>
                    <a:pt x="6424800" y="1231262"/>
                    <a:pt x="6430123" y="1228624"/>
                  </a:cubicBezTo>
                  <a:cubicBezTo>
                    <a:pt x="6435447" y="1225988"/>
                    <a:pt x="6440821" y="1223048"/>
                    <a:pt x="6446246" y="1219803"/>
                  </a:cubicBezTo>
                  <a:cubicBezTo>
                    <a:pt x="6451671" y="1216559"/>
                    <a:pt x="6457273" y="1212856"/>
                    <a:pt x="6463053" y="1208700"/>
                  </a:cubicBezTo>
                  <a:close/>
                  <a:moveTo>
                    <a:pt x="6163107" y="1208700"/>
                  </a:moveTo>
                  <a:lnTo>
                    <a:pt x="6178013" y="1208700"/>
                  </a:lnTo>
                  <a:lnTo>
                    <a:pt x="6178013" y="1431679"/>
                  </a:lnTo>
                  <a:lnTo>
                    <a:pt x="6142725" y="1431679"/>
                  </a:lnTo>
                  <a:lnTo>
                    <a:pt x="6142725" y="1251896"/>
                  </a:lnTo>
                  <a:cubicBezTo>
                    <a:pt x="6136337" y="1256459"/>
                    <a:pt x="6129468" y="1260337"/>
                    <a:pt x="6122116" y="1263531"/>
                  </a:cubicBezTo>
                  <a:cubicBezTo>
                    <a:pt x="6114764" y="1266726"/>
                    <a:pt x="6106374" y="1269539"/>
                    <a:pt x="6096943" y="1271973"/>
                  </a:cubicBezTo>
                  <a:lnTo>
                    <a:pt x="6096943" y="1241857"/>
                  </a:lnTo>
                  <a:cubicBezTo>
                    <a:pt x="6102824" y="1239931"/>
                    <a:pt x="6108503" y="1237902"/>
                    <a:pt x="6113978" y="1235773"/>
                  </a:cubicBezTo>
                  <a:cubicBezTo>
                    <a:pt x="6119454" y="1233645"/>
                    <a:pt x="6124854" y="1231262"/>
                    <a:pt x="6130177" y="1228624"/>
                  </a:cubicBezTo>
                  <a:cubicBezTo>
                    <a:pt x="6135501" y="1225988"/>
                    <a:pt x="6140875" y="1223048"/>
                    <a:pt x="6146300" y="1219803"/>
                  </a:cubicBezTo>
                  <a:cubicBezTo>
                    <a:pt x="6151725" y="1216559"/>
                    <a:pt x="6157327" y="1212856"/>
                    <a:pt x="6163107" y="1208700"/>
                  </a:cubicBezTo>
                  <a:close/>
                  <a:moveTo>
                    <a:pt x="5979578" y="1208700"/>
                  </a:moveTo>
                  <a:lnTo>
                    <a:pt x="5994484" y="1208700"/>
                  </a:lnTo>
                  <a:lnTo>
                    <a:pt x="5994484" y="1431679"/>
                  </a:lnTo>
                  <a:lnTo>
                    <a:pt x="5959196" y="1431679"/>
                  </a:lnTo>
                  <a:lnTo>
                    <a:pt x="5959196" y="1251896"/>
                  </a:lnTo>
                  <a:cubicBezTo>
                    <a:pt x="5952808" y="1256459"/>
                    <a:pt x="5945939" y="1260337"/>
                    <a:pt x="5938587" y="1263531"/>
                  </a:cubicBezTo>
                  <a:cubicBezTo>
                    <a:pt x="5931236" y="1266726"/>
                    <a:pt x="5922846" y="1269539"/>
                    <a:pt x="5913415" y="1271973"/>
                  </a:cubicBezTo>
                  <a:lnTo>
                    <a:pt x="5913415" y="1241857"/>
                  </a:lnTo>
                  <a:cubicBezTo>
                    <a:pt x="5919296" y="1239931"/>
                    <a:pt x="5924974" y="1237902"/>
                    <a:pt x="5930450" y="1235773"/>
                  </a:cubicBezTo>
                  <a:cubicBezTo>
                    <a:pt x="5935926" y="1233645"/>
                    <a:pt x="5941325" y="1231262"/>
                    <a:pt x="5946648" y="1228624"/>
                  </a:cubicBezTo>
                  <a:cubicBezTo>
                    <a:pt x="5951973" y="1225988"/>
                    <a:pt x="5957347" y="1223048"/>
                    <a:pt x="5962771" y="1219803"/>
                  </a:cubicBezTo>
                  <a:cubicBezTo>
                    <a:pt x="5968196" y="1216559"/>
                    <a:pt x="5973799" y="1212856"/>
                    <a:pt x="5979578" y="1208700"/>
                  </a:cubicBezTo>
                  <a:close/>
                  <a:moveTo>
                    <a:pt x="5611916" y="1208700"/>
                  </a:moveTo>
                  <a:lnTo>
                    <a:pt x="5626822" y="1208700"/>
                  </a:lnTo>
                  <a:lnTo>
                    <a:pt x="5626822" y="1431679"/>
                  </a:lnTo>
                  <a:lnTo>
                    <a:pt x="5591534" y="1431679"/>
                  </a:lnTo>
                  <a:lnTo>
                    <a:pt x="5591534" y="1251896"/>
                  </a:lnTo>
                  <a:cubicBezTo>
                    <a:pt x="5585147" y="1256459"/>
                    <a:pt x="5578277" y="1260337"/>
                    <a:pt x="5570926" y="1263531"/>
                  </a:cubicBezTo>
                  <a:cubicBezTo>
                    <a:pt x="5563574" y="1266726"/>
                    <a:pt x="5555183" y="1269539"/>
                    <a:pt x="5545753" y="1271973"/>
                  </a:cubicBezTo>
                  <a:lnTo>
                    <a:pt x="5545753" y="1241857"/>
                  </a:lnTo>
                  <a:cubicBezTo>
                    <a:pt x="5551633" y="1239931"/>
                    <a:pt x="5557312" y="1237902"/>
                    <a:pt x="5562787" y="1235773"/>
                  </a:cubicBezTo>
                  <a:cubicBezTo>
                    <a:pt x="5568263" y="1233645"/>
                    <a:pt x="5573663" y="1231262"/>
                    <a:pt x="5578987" y="1228624"/>
                  </a:cubicBezTo>
                  <a:cubicBezTo>
                    <a:pt x="5584310" y="1225988"/>
                    <a:pt x="5589684" y="1223048"/>
                    <a:pt x="5595109" y="1219803"/>
                  </a:cubicBezTo>
                  <a:cubicBezTo>
                    <a:pt x="5600535" y="1216559"/>
                    <a:pt x="5606136" y="1212856"/>
                    <a:pt x="5611916" y="1208700"/>
                  </a:cubicBezTo>
                  <a:close/>
                  <a:moveTo>
                    <a:pt x="5461944" y="1208700"/>
                  </a:moveTo>
                  <a:lnTo>
                    <a:pt x="5476850" y="1208700"/>
                  </a:lnTo>
                  <a:lnTo>
                    <a:pt x="5476850" y="1431679"/>
                  </a:lnTo>
                  <a:lnTo>
                    <a:pt x="5441562" y="1431679"/>
                  </a:lnTo>
                  <a:lnTo>
                    <a:pt x="5441562" y="1251896"/>
                  </a:lnTo>
                  <a:cubicBezTo>
                    <a:pt x="5435173" y="1256459"/>
                    <a:pt x="5428305" y="1260337"/>
                    <a:pt x="5420952" y="1263531"/>
                  </a:cubicBezTo>
                  <a:cubicBezTo>
                    <a:pt x="5413601" y="1266726"/>
                    <a:pt x="5405211" y="1269539"/>
                    <a:pt x="5395779" y="1271973"/>
                  </a:cubicBezTo>
                  <a:lnTo>
                    <a:pt x="5395779" y="1241857"/>
                  </a:lnTo>
                  <a:cubicBezTo>
                    <a:pt x="5401661" y="1239931"/>
                    <a:pt x="5407340" y="1237902"/>
                    <a:pt x="5412815" y="1235773"/>
                  </a:cubicBezTo>
                  <a:cubicBezTo>
                    <a:pt x="5418291" y="1233645"/>
                    <a:pt x="5423691" y="1231262"/>
                    <a:pt x="5429013" y="1228624"/>
                  </a:cubicBezTo>
                  <a:cubicBezTo>
                    <a:pt x="5434338" y="1225988"/>
                    <a:pt x="5439711" y="1223048"/>
                    <a:pt x="5445137" y="1219803"/>
                  </a:cubicBezTo>
                  <a:cubicBezTo>
                    <a:pt x="5450561" y="1216559"/>
                    <a:pt x="5456164" y="1212856"/>
                    <a:pt x="5461944" y="1208700"/>
                  </a:cubicBezTo>
                  <a:close/>
                  <a:moveTo>
                    <a:pt x="5311970" y="1208700"/>
                  </a:moveTo>
                  <a:lnTo>
                    <a:pt x="5326877" y="1208700"/>
                  </a:lnTo>
                  <a:lnTo>
                    <a:pt x="5326877" y="1431679"/>
                  </a:lnTo>
                  <a:lnTo>
                    <a:pt x="5291589" y="1431679"/>
                  </a:lnTo>
                  <a:lnTo>
                    <a:pt x="5291589" y="1251896"/>
                  </a:lnTo>
                  <a:cubicBezTo>
                    <a:pt x="5285201" y="1256459"/>
                    <a:pt x="5278332" y="1260337"/>
                    <a:pt x="5270980" y="1263531"/>
                  </a:cubicBezTo>
                  <a:cubicBezTo>
                    <a:pt x="5263627" y="1266726"/>
                    <a:pt x="5255237" y="1269539"/>
                    <a:pt x="5245806" y="1271973"/>
                  </a:cubicBezTo>
                  <a:lnTo>
                    <a:pt x="5245806" y="1241857"/>
                  </a:lnTo>
                  <a:cubicBezTo>
                    <a:pt x="5251687" y="1239931"/>
                    <a:pt x="5257366" y="1237902"/>
                    <a:pt x="5262841" y="1235773"/>
                  </a:cubicBezTo>
                  <a:cubicBezTo>
                    <a:pt x="5268318" y="1233645"/>
                    <a:pt x="5273717" y="1231262"/>
                    <a:pt x="5279041" y="1228624"/>
                  </a:cubicBezTo>
                  <a:cubicBezTo>
                    <a:pt x="5284364" y="1225988"/>
                    <a:pt x="5289738" y="1223048"/>
                    <a:pt x="5295163" y="1219803"/>
                  </a:cubicBezTo>
                  <a:cubicBezTo>
                    <a:pt x="5300589" y="1216559"/>
                    <a:pt x="5306191" y="1212856"/>
                    <a:pt x="5311970" y="1208700"/>
                  </a:cubicBezTo>
                  <a:close/>
                  <a:moveTo>
                    <a:pt x="4563292" y="1208700"/>
                  </a:moveTo>
                  <a:lnTo>
                    <a:pt x="4578199" y="1208700"/>
                  </a:lnTo>
                  <a:lnTo>
                    <a:pt x="4578199" y="1431679"/>
                  </a:lnTo>
                  <a:lnTo>
                    <a:pt x="4542910" y="1431679"/>
                  </a:lnTo>
                  <a:lnTo>
                    <a:pt x="4542910" y="1251896"/>
                  </a:lnTo>
                  <a:cubicBezTo>
                    <a:pt x="4536523" y="1256459"/>
                    <a:pt x="4529654" y="1260337"/>
                    <a:pt x="4522301" y="1263531"/>
                  </a:cubicBezTo>
                  <a:cubicBezTo>
                    <a:pt x="4514949" y="1266726"/>
                    <a:pt x="4506560" y="1269539"/>
                    <a:pt x="4497129" y="1271973"/>
                  </a:cubicBezTo>
                  <a:lnTo>
                    <a:pt x="4497129" y="1241857"/>
                  </a:lnTo>
                  <a:cubicBezTo>
                    <a:pt x="4503009" y="1239931"/>
                    <a:pt x="4508688" y="1237902"/>
                    <a:pt x="4514163" y="1235773"/>
                  </a:cubicBezTo>
                  <a:cubicBezTo>
                    <a:pt x="4519640" y="1233645"/>
                    <a:pt x="4525040" y="1231262"/>
                    <a:pt x="4530362" y="1228624"/>
                  </a:cubicBezTo>
                  <a:cubicBezTo>
                    <a:pt x="4535687" y="1225988"/>
                    <a:pt x="4541061" y="1223048"/>
                    <a:pt x="4546485" y="1219803"/>
                  </a:cubicBezTo>
                  <a:cubicBezTo>
                    <a:pt x="4551911" y="1216559"/>
                    <a:pt x="4557512" y="1212856"/>
                    <a:pt x="4563292" y="1208700"/>
                  </a:cubicBezTo>
                  <a:close/>
                  <a:moveTo>
                    <a:pt x="4413319" y="1208700"/>
                  </a:moveTo>
                  <a:lnTo>
                    <a:pt x="4428226" y="1208700"/>
                  </a:lnTo>
                  <a:lnTo>
                    <a:pt x="4428226" y="1431679"/>
                  </a:lnTo>
                  <a:lnTo>
                    <a:pt x="4392937" y="1431679"/>
                  </a:lnTo>
                  <a:lnTo>
                    <a:pt x="4392937" y="1251896"/>
                  </a:lnTo>
                  <a:cubicBezTo>
                    <a:pt x="4386550" y="1256459"/>
                    <a:pt x="4379681" y="1260337"/>
                    <a:pt x="4372329" y="1263531"/>
                  </a:cubicBezTo>
                  <a:cubicBezTo>
                    <a:pt x="4364976" y="1266726"/>
                    <a:pt x="4356586" y="1269539"/>
                    <a:pt x="4347156" y="1271973"/>
                  </a:cubicBezTo>
                  <a:lnTo>
                    <a:pt x="4347156" y="1241857"/>
                  </a:lnTo>
                  <a:cubicBezTo>
                    <a:pt x="4353037" y="1239931"/>
                    <a:pt x="4358715" y="1237902"/>
                    <a:pt x="4364190" y="1235773"/>
                  </a:cubicBezTo>
                  <a:cubicBezTo>
                    <a:pt x="4369666" y="1233645"/>
                    <a:pt x="4375067" y="1231262"/>
                    <a:pt x="4380389" y="1228624"/>
                  </a:cubicBezTo>
                  <a:cubicBezTo>
                    <a:pt x="4385713" y="1225988"/>
                    <a:pt x="4391087" y="1223048"/>
                    <a:pt x="4396513" y="1219803"/>
                  </a:cubicBezTo>
                  <a:cubicBezTo>
                    <a:pt x="4401938" y="1216559"/>
                    <a:pt x="4407539" y="1212856"/>
                    <a:pt x="4413319" y="1208700"/>
                  </a:cubicBezTo>
                  <a:close/>
                  <a:moveTo>
                    <a:pt x="4113374" y="1208700"/>
                  </a:moveTo>
                  <a:lnTo>
                    <a:pt x="4128280" y="1208700"/>
                  </a:lnTo>
                  <a:lnTo>
                    <a:pt x="4128280" y="1431679"/>
                  </a:lnTo>
                  <a:lnTo>
                    <a:pt x="4092992" y="1431679"/>
                  </a:lnTo>
                  <a:lnTo>
                    <a:pt x="4092992" y="1251896"/>
                  </a:lnTo>
                  <a:cubicBezTo>
                    <a:pt x="4086604" y="1256459"/>
                    <a:pt x="4079734" y="1260337"/>
                    <a:pt x="4072383" y="1263531"/>
                  </a:cubicBezTo>
                  <a:cubicBezTo>
                    <a:pt x="4065031" y="1266726"/>
                    <a:pt x="4056641" y="1269539"/>
                    <a:pt x="4047210" y="1271973"/>
                  </a:cubicBezTo>
                  <a:lnTo>
                    <a:pt x="4047210" y="1241857"/>
                  </a:lnTo>
                  <a:cubicBezTo>
                    <a:pt x="4053091" y="1239931"/>
                    <a:pt x="4058770" y="1237902"/>
                    <a:pt x="4064245" y="1235773"/>
                  </a:cubicBezTo>
                  <a:cubicBezTo>
                    <a:pt x="4069721" y="1233645"/>
                    <a:pt x="4075121" y="1231262"/>
                    <a:pt x="4080444" y="1228624"/>
                  </a:cubicBezTo>
                  <a:cubicBezTo>
                    <a:pt x="4085768" y="1225988"/>
                    <a:pt x="4091142" y="1223048"/>
                    <a:pt x="4096567" y="1219803"/>
                  </a:cubicBezTo>
                  <a:cubicBezTo>
                    <a:pt x="4101992" y="1216559"/>
                    <a:pt x="4107594" y="1212856"/>
                    <a:pt x="4113374" y="1208700"/>
                  </a:cubicBezTo>
                  <a:close/>
                  <a:moveTo>
                    <a:pt x="3732783" y="1208700"/>
                  </a:moveTo>
                  <a:lnTo>
                    <a:pt x="3747689" y="1208700"/>
                  </a:lnTo>
                  <a:lnTo>
                    <a:pt x="3747689" y="1431679"/>
                  </a:lnTo>
                  <a:lnTo>
                    <a:pt x="3712401" y="1431679"/>
                  </a:lnTo>
                  <a:lnTo>
                    <a:pt x="3712401" y="1251896"/>
                  </a:lnTo>
                  <a:cubicBezTo>
                    <a:pt x="3706013" y="1256459"/>
                    <a:pt x="3699143" y="1260337"/>
                    <a:pt x="3691792" y="1263531"/>
                  </a:cubicBezTo>
                  <a:cubicBezTo>
                    <a:pt x="3684440" y="1266726"/>
                    <a:pt x="3676050" y="1269539"/>
                    <a:pt x="3666619" y="1271973"/>
                  </a:cubicBezTo>
                  <a:lnTo>
                    <a:pt x="3666619" y="1241857"/>
                  </a:lnTo>
                  <a:cubicBezTo>
                    <a:pt x="3672500" y="1239931"/>
                    <a:pt x="3678179" y="1237902"/>
                    <a:pt x="3683654" y="1235773"/>
                  </a:cubicBezTo>
                  <a:cubicBezTo>
                    <a:pt x="3689130" y="1233645"/>
                    <a:pt x="3694530" y="1231262"/>
                    <a:pt x="3699853" y="1228624"/>
                  </a:cubicBezTo>
                  <a:cubicBezTo>
                    <a:pt x="3705177" y="1225988"/>
                    <a:pt x="3710551" y="1223048"/>
                    <a:pt x="3715976" y="1219803"/>
                  </a:cubicBezTo>
                  <a:cubicBezTo>
                    <a:pt x="3721401" y="1216559"/>
                    <a:pt x="3727003" y="1212856"/>
                    <a:pt x="3732783" y="1208700"/>
                  </a:cubicBezTo>
                  <a:close/>
                  <a:moveTo>
                    <a:pt x="3582810" y="1208700"/>
                  </a:moveTo>
                  <a:lnTo>
                    <a:pt x="3597716" y="1208700"/>
                  </a:lnTo>
                  <a:lnTo>
                    <a:pt x="3597716" y="1431679"/>
                  </a:lnTo>
                  <a:lnTo>
                    <a:pt x="3562428" y="1431679"/>
                  </a:lnTo>
                  <a:lnTo>
                    <a:pt x="3562428" y="1251896"/>
                  </a:lnTo>
                  <a:cubicBezTo>
                    <a:pt x="3556040" y="1256459"/>
                    <a:pt x="3549170" y="1260337"/>
                    <a:pt x="3541819" y="1263531"/>
                  </a:cubicBezTo>
                  <a:cubicBezTo>
                    <a:pt x="3534467" y="1266726"/>
                    <a:pt x="3526077" y="1269539"/>
                    <a:pt x="3516646" y="1271973"/>
                  </a:cubicBezTo>
                  <a:lnTo>
                    <a:pt x="3516646" y="1241857"/>
                  </a:lnTo>
                  <a:cubicBezTo>
                    <a:pt x="3522527" y="1239931"/>
                    <a:pt x="3528206" y="1237902"/>
                    <a:pt x="3533681" y="1235773"/>
                  </a:cubicBezTo>
                  <a:cubicBezTo>
                    <a:pt x="3539157" y="1233645"/>
                    <a:pt x="3544557" y="1231262"/>
                    <a:pt x="3549880" y="1228624"/>
                  </a:cubicBezTo>
                  <a:cubicBezTo>
                    <a:pt x="3555204" y="1225988"/>
                    <a:pt x="3560578" y="1223048"/>
                    <a:pt x="3566003" y="1219803"/>
                  </a:cubicBezTo>
                  <a:cubicBezTo>
                    <a:pt x="3571428" y="1216559"/>
                    <a:pt x="3577030" y="1212856"/>
                    <a:pt x="3582810" y="1208700"/>
                  </a:cubicBezTo>
                  <a:close/>
                  <a:moveTo>
                    <a:pt x="3432837" y="1208700"/>
                  </a:moveTo>
                  <a:lnTo>
                    <a:pt x="3447743" y="1208700"/>
                  </a:lnTo>
                  <a:lnTo>
                    <a:pt x="3447743" y="1431679"/>
                  </a:lnTo>
                  <a:lnTo>
                    <a:pt x="3412455" y="1431679"/>
                  </a:lnTo>
                  <a:lnTo>
                    <a:pt x="3412455" y="1251896"/>
                  </a:lnTo>
                  <a:cubicBezTo>
                    <a:pt x="3406067" y="1256459"/>
                    <a:pt x="3399197" y="1260337"/>
                    <a:pt x="3391846" y="1263531"/>
                  </a:cubicBezTo>
                  <a:cubicBezTo>
                    <a:pt x="3384494" y="1266726"/>
                    <a:pt x="3376104" y="1269539"/>
                    <a:pt x="3366673" y="1271973"/>
                  </a:cubicBezTo>
                  <a:lnTo>
                    <a:pt x="3366673" y="1241857"/>
                  </a:lnTo>
                  <a:cubicBezTo>
                    <a:pt x="3372554" y="1239931"/>
                    <a:pt x="3378233" y="1237902"/>
                    <a:pt x="3383708" y="1235773"/>
                  </a:cubicBezTo>
                  <a:cubicBezTo>
                    <a:pt x="3389184" y="1233645"/>
                    <a:pt x="3394584" y="1231262"/>
                    <a:pt x="3399907" y="1228624"/>
                  </a:cubicBezTo>
                  <a:cubicBezTo>
                    <a:pt x="3405231" y="1225988"/>
                    <a:pt x="3410605" y="1223048"/>
                    <a:pt x="3416030" y="1219803"/>
                  </a:cubicBezTo>
                  <a:cubicBezTo>
                    <a:pt x="3421455" y="1216559"/>
                    <a:pt x="3427057" y="1212856"/>
                    <a:pt x="3432837" y="1208700"/>
                  </a:cubicBezTo>
                  <a:close/>
                  <a:moveTo>
                    <a:pt x="3282864" y="1208700"/>
                  </a:moveTo>
                  <a:lnTo>
                    <a:pt x="3297770" y="1208700"/>
                  </a:lnTo>
                  <a:lnTo>
                    <a:pt x="3297770" y="1431679"/>
                  </a:lnTo>
                  <a:lnTo>
                    <a:pt x="3262482" y="1431679"/>
                  </a:lnTo>
                  <a:lnTo>
                    <a:pt x="3262482" y="1251896"/>
                  </a:lnTo>
                  <a:cubicBezTo>
                    <a:pt x="3256094" y="1256459"/>
                    <a:pt x="3249224" y="1260337"/>
                    <a:pt x="3241873" y="1263531"/>
                  </a:cubicBezTo>
                  <a:cubicBezTo>
                    <a:pt x="3234521" y="1266726"/>
                    <a:pt x="3226131" y="1269539"/>
                    <a:pt x="3216700" y="1271973"/>
                  </a:cubicBezTo>
                  <a:lnTo>
                    <a:pt x="3216700" y="1241857"/>
                  </a:lnTo>
                  <a:cubicBezTo>
                    <a:pt x="3222581" y="1239931"/>
                    <a:pt x="3228260" y="1237902"/>
                    <a:pt x="3233735" y="1235773"/>
                  </a:cubicBezTo>
                  <a:cubicBezTo>
                    <a:pt x="3239211" y="1233645"/>
                    <a:pt x="3244611" y="1231262"/>
                    <a:pt x="3249934" y="1228624"/>
                  </a:cubicBezTo>
                  <a:cubicBezTo>
                    <a:pt x="3255258" y="1225988"/>
                    <a:pt x="3260632" y="1223048"/>
                    <a:pt x="3266057" y="1219803"/>
                  </a:cubicBezTo>
                  <a:cubicBezTo>
                    <a:pt x="3271482" y="1216559"/>
                    <a:pt x="3277084" y="1212856"/>
                    <a:pt x="3282864" y="1208700"/>
                  </a:cubicBezTo>
                  <a:close/>
                  <a:moveTo>
                    <a:pt x="3078927" y="1208700"/>
                  </a:moveTo>
                  <a:cubicBezTo>
                    <a:pt x="3126371" y="1208700"/>
                    <a:pt x="3150094" y="1245562"/>
                    <a:pt x="3150094" y="1319287"/>
                  </a:cubicBezTo>
                  <a:cubicBezTo>
                    <a:pt x="3150094" y="1355798"/>
                    <a:pt x="3143399" y="1383658"/>
                    <a:pt x="3130008" y="1402866"/>
                  </a:cubicBezTo>
                  <a:cubicBezTo>
                    <a:pt x="3116617" y="1422074"/>
                    <a:pt x="3097885" y="1431679"/>
                    <a:pt x="3073811" y="1431679"/>
                  </a:cubicBezTo>
                  <a:cubicBezTo>
                    <a:pt x="3051343" y="1431679"/>
                    <a:pt x="3033814" y="1422501"/>
                    <a:pt x="3021226" y="1404145"/>
                  </a:cubicBezTo>
                  <a:cubicBezTo>
                    <a:pt x="3008637" y="1385789"/>
                    <a:pt x="3002343" y="1359259"/>
                    <a:pt x="3002343" y="1324553"/>
                  </a:cubicBezTo>
                  <a:cubicBezTo>
                    <a:pt x="3002343" y="1286436"/>
                    <a:pt x="3008913" y="1257599"/>
                    <a:pt x="3022053" y="1238039"/>
                  </a:cubicBezTo>
                  <a:cubicBezTo>
                    <a:pt x="3035194" y="1218479"/>
                    <a:pt x="3054151" y="1208700"/>
                    <a:pt x="3078927" y="1208700"/>
                  </a:cubicBezTo>
                  <a:close/>
                  <a:moveTo>
                    <a:pt x="2948681" y="1208700"/>
                  </a:moveTo>
                  <a:lnTo>
                    <a:pt x="2963587" y="1208700"/>
                  </a:lnTo>
                  <a:lnTo>
                    <a:pt x="2963587" y="1431679"/>
                  </a:lnTo>
                  <a:lnTo>
                    <a:pt x="2928299" y="1431679"/>
                  </a:lnTo>
                  <a:lnTo>
                    <a:pt x="2928299" y="1251896"/>
                  </a:lnTo>
                  <a:cubicBezTo>
                    <a:pt x="2921911" y="1256459"/>
                    <a:pt x="2915041" y="1260337"/>
                    <a:pt x="2907690" y="1263531"/>
                  </a:cubicBezTo>
                  <a:cubicBezTo>
                    <a:pt x="2900338" y="1266726"/>
                    <a:pt x="2891948" y="1269539"/>
                    <a:pt x="2882517" y="1271973"/>
                  </a:cubicBezTo>
                  <a:lnTo>
                    <a:pt x="2882517" y="1241857"/>
                  </a:lnTo>
                  <a:cubicBezTo>
                    <a:pt x="2888398" y="1239931"/>
                    <a:pt x="2894077" y="1237902"/>
                    <a:pt x="2899552" y="1235773"/>
                  </a:cubicBezTo>
                  <a:cubicBezTo>
                    <a:pt x="2905028" y="1233645"/>
                    <a:pt x="2910428" y="1231262"/>
                    <a:pt x="2915751" y="1228624"/>
                  </a:cubicBezTo>
                  <a:cubicBezTo>
                    <a:pt x="2921075" y="1225988"/>
                    <a:pt x="2926449" y="1223048"/>
                    <a:pt x="2931874" y="1219803"/>
                  </a:cubicBezTo>
                  <a:cubicBezTo>
                    <a:pt x="2937299" y="1216559"/>
                    <a:pt x="2942901" y="1212856"/>
                    <a:pt x="2948681" y="1208700"/>
                  </a:cubicBezTo>
                  <a:close/>
                  <a:moveTo>
                    <a:pt x="2732124" y="1208700"/>
                  </a:moveTo>
                  <a:cubicBezTo>
                    <a:pt x="2779568" y="1208700"/>
                    <a:pt x="2803291" y="1245562"/>
                    <a:pt x="2803291" y="1319287"/>
                  </a:cubicBezTo>
                  <a:cubicBezTo>
                    <a:pt x="2803291" y="1355798"/>
                    <a:pt x="2796596" y="1383658"/>
                    <a:pt x="2783205" y="1402866"/>
                  </a:cubicBezTo>
                  <a:cubicBezTo>
                    <a:pt x="2769814" y="1422074"/>
                    <a:pt x="2751082" y="1431679"/>
                    <a:pt x="2727008" y="1431679"/>
                  </a:cubicBezTo>
                  <a:cubicBezTo>
                    <a:pt x="2704540" y="1431679"/>
                    <a:pt x="2687011" y="1422501"/>
                    <a:pt x="2674423" y="1404145"/>
                  </a:cubicBezTo>
                  <a:cubicBezTo>
                    <a:pt x="2661834" y="1385789"/>
                    <a:pt x="2655540" y="1359259"/>
                    <a:pt x="2655540" y="1324553"/>
                  </a:cubicBezTo>
                  <a:cubicBezTo>
                    <a:pt x="2655540" y="1286436"/>
                    <a:pt x="2662110" y="1257599"/>
                    <a:pt x="2675250" y="1238039"/>
                  </a:cubicBezTo>
                  <a:cubicBezTo>
                    <a:pt x="2688391" y="1218479"/>
                    <a:pt x="2707348" y="1208700"/>
                    <a:pt x="2732124" y="1208700"/>
                  </a:cubicBezTo>
                  <a:close/>
                  <a:moveTo>
                    <a:pt x="2040759" y="1208700"/>
                  </a:moveTo>
                  <a:cubicBezTo>
                    <a:pt x="2088203" y="1208700"/>
                    <a:pt x="2111926" y="1245562"/>
                    <a:pt x="2111926" y="1319287"/>
                  </a:cubicBezTo>
                  <a:cubicBezTo>
                    <a:pt x="2111926" y="1355798"/>
                    <a:pt x="2105231" y="1383658"/>
                    <a:pt x="2091840" y="1402866"/>
                  </a:cubicBezTo>
                  <a:cubicBezTo>
                    <a:pt x="2078449" y="1422074"/>
                    <a:pt x="2059717" y="1431679"/>
                    <a:pt x="2035643" y="1431679"/>
                  </a:cubicBezTo>
                  <a:cubicBezTo>
                    <a:pt x="2013175" y="1431679"/>
                    <a:pt x="1995646" y="1422501"/>
                    <a:pt x="1983058" y="1404145"/>
                  </a:cubicBezTo>
                  <a:cubicBezTo>
                    <a:pt x="1970469" y="1385789"/>
                    <a:pt x="1964175" y="1359259"/>
                    <a:pt x="1964175" y="1324553"/>
                  </a:cubicBezTo>
                  <a:cubicBezTo>
                    <a:pt x="1964175" y="1286436"/>
                    <a:pt x="1970745" y="1257599"/>
                    <a:pt x="1983885" y="1238039"/>
                  </a:cubicBezTo>
                  <a:cubicBezTo>
                    <a:pt x="1997026" y="1218479"/>
                    <a:pt x="2015983" y="1208700"/>
                    <a:pt x="2040759" y="1208700"/>
                  </a:cubicBezTo>
                  <a:close/>
                  <a:moveTo>
                    <a:pt x="1668398" y="1208700"/>
                  </a:moveTo>
                  <a:lnTo>
                    <a:pt x="1683304" y="1208700"/>
                  </a:lnTo>
                  <a:lnTo>
                    <a:pt x="1683304" y="1431679"/>
                  </a:lnTo>
                  <a:lnTo>
                    <a:pt x="1648016" y="1431679"/>
                  </a:lnTo>
                  <a:lnTo>
                    <a:pt x="1648016" y="1251896"/>
                  </a:lnTo>
                  <a:cubicBezTo>
                    <a:pt x="1641628" y="1256459"/>
                    <a:pt x="1634758" y="1260337"/>
                    <a:pt x="1627407" y="1263531"/>
                  </a:cubicBezTo>
                  <a:cubicBezTo>
                    <a:pt x="1620055" y="1266726"/>
                    <a:pt x="1611664" y="1269539"/>
                    <a:pt x="1602234" y="1271973"/>
                  </a:cubicBezTo>
                  <a:lnTo>
                    <a:pt x="1602234" y="1241857"/>
                  </a:lnTo>
                  <a:cubicBezTo>
                    <a:pt x="1608115" y="1239931"/>
                    <a:pt x="1613794" y="1237902"/>
                    <a:pt x="1619269" y="1235773"/>
                  </a:cubicBezTo>
                  <a:cubicBezTo>
                    <a:pt x="1624745" y="1233645"/>
                    <a:pt x="1630145" y="1231262"/>
                    <a:pt x="1635468" y="1228624"/>
                  </a:cubicBezTo>
                  <a:cubicBezTo>
                    <a:pt x="1640792" y="1225988"/>
                    <a:pt x="1646166" y="1223048"/>
                    <a:pt x="1651591" y="1219803"/>
                  </a:cubicBezTo>
                  <a:cubicBezTo>
                    <a:pt x="1657016" y="1216559"/>
                    <a:pt x="1662618" y="1212856"/>
                    <a:pt x="1668398" y="1208700"/>
                  </a:cubicBezTo>
                  <a:close/>
                  <a:moveTo>
                    <a:pt x="1291732" y="1208700"/>
                  </a:moveTo>
                  <a:lnTo>
                    <a:pt x="1306638" y="1208700"/>
                  </a:lnTo>
                  <a:lnTo>
                    <a:pt x="1306638" y="1431679"/>
                  </a:lnTo>
                  <a:lnTo>
                    <a:pt x="1271350" y="1431679"/>
                  </a:lnTo>
                  <a:lnTo>
                    <a:pt x="1271350" y="1251896"/>
                  </a:lnTo>
                  <a:cubicBezTo>
                    <a:pt x="1264962" y="1256459"/>
                    <a:pt x="1258092" y="1260337"/>
                    <a:pt x="1250741" y="1263531"/>
                  </a:cubicBezTo>
                  <a:cubicBezTo>
                    <a:pt x="1243389" y="1266726"/>
                    <a:pt x="1234998" y="1269539"/>
                    <a:pt x="1225568" y="1271973"/>
                  </a:cubicBezTo>
                  <a:lnTo>
                    <a:pt x="1225568" y="1241857"/>
                  </a:lnTo>
                  <a:cubicBezTo>
                    <a:pt x="1231449" y="1239931"/>
                    <a:pt x="1237128" y="1237902"/>
                    <a:pt x="1242603" y="1235773"/>
                  </a:cubicBezTo>
                  <a:cubicBezTo>
                    <a:pt x="1248079" y="1233645"/>
                    <a:pt x="1253479" y="1231262"/>
                    <a:pt x="1258802" y="1228624"/>
                  </a:cubicBezTo>
                  <a:cubicBezTo>
                    <a:pt x="1264126" y="1225988"/>
                    <a:pt x="1269500" y="1223048"/>
                    <a:pt x="1274925" y="1219803"/>
                  </a:cubicBezTo>
                  <a:cubicBezTo>
                    <a:pt x="1280350" y="1216559"/>
                    <a:pt x="1285952" y="1212856"/>
                    <a:pt x="1291732" y="1208700"/>
                  </a:cubicBezTo>
                  <a:close/>
                  <a:moveTo>
                    <a:pt x="991786" y="1208700"/>
                  </a:moveTo>
                  <a:lnTo>
                    <a:pt x="1006692" y="1208700"/>
                  </a:lnTo>
                  <a:lnTo>
                    <a:pt x="1006692" y="1431679"/>
                  </a:lnTo>
                  <a:lnTo>
                    <a:pt x="971404" y="1431679"/>
                  </a:lnTo>
                  <a:lnTo>
                    <a:pt x="971404" y="1251896"/>
                  </a:lnTo>
                  <a:cubicBezTo>
                    <a:pt x="965016" y="1256459"/>
                    <a:pt x="958146" y="1260337"/>
                    <a:pt x="950795" y="1263531"/>
                  </a:cubicBezTo>
                  <a:cubicBezTo>
                    <a:pt x="943443" y="1266726"/>
                    <a:pt x="935052" y="1269539"/>
                    <a:pt x="925622" y="1271973"/>
                  </a:cubicBezTo>
                  <a:lnTo>
                    <a:pt x="925622" y="1241857"/>
                  </a:lnTo>
                  <a:cubicBezTo>
                    <a:pt x="931503" y="1239931"/>
                    <a:pt x="937182" y="1237902"/>
                    <a:pt x="942657" y="1235773"/>
                  </a:cubicBezTo>
                  <a:cubicBezTo>
                    <a:pt x="948133" y="1233645"/>
                    <a:pt x="953533" y="1231262"/>
                    <a:pt x="958856" y="1228624"/>
                  </a:cubicBezTo>
                  <a:cubicBezTo>
                    <a:pt x="964180" y="1225988"/>
                    <a:pt x="969554" y="1223048"/>
                    <a:pt x="974979" y="1219803"/>
                  </a:cubicBezTo>
                  <a:cubicBezTo>
                    <a:pt x="980404" y="1216559"/>
                    <a:pt x="986006" y="1212856"/>
                    <a:pt x="991786" y="1208700"/>
                  </a:cubicBezTo>
                  <a:close/>
                  <a:moveTo>
                    <a:pt x="785552" y="1208700"/>
                  </a:moveTo>
                  <a:cubicBezTo>
                    <a:pt x="832996" y="1208700"/>
                    <a:pt x="856719" y="1245562"/>
                    <a:pt x="856719" y="1319287"/>
                  </a:cubicBezTo>
                  <a:cubicBezTo>
                    <a:pt x="856719" y="1355798"/>
                    <a:pt x="850023" y="1383658"/>
                    <a:pt x="836633" y="1402866"/>
                  </a:cubicBezTo>
                  <a:cubicBezTo>
                    <a:pt x="823242" y="1422074"/>
                    <a:pt x="804510" y="1431679"/>
                    <a:pt x="780436" y="1431679"/>
                  </a:cubicBezTo>
                  <a:cubicBezTo>
                    <a:pt x="757968" y="1431679"/>
                    <a:pt x="740439" y="1422501"/>
                    <a:pt x="727851" y="1404145"/>
                  </a:cubicBezTo>
                  <a:cubicBezTo>
                    <a:pt x="715262" y="1385789"/>
                    <a:pt x="708968" y="1359259"/>
                    <a:pt x="708968" y="1324553"/>
                  </a:cubicBezTo>
                  <a:cubicBezTo>
                    <a:pt x="708968" y="1286436"/>
                    <a:pt x="715538" y="1257599"/>
                    <a:pt x="728678" y="1238039"/>
                  </a:cubicBezTo>
                  <a:cubicBezTo>
                    <a:pt x="741819" y="1218479"/>
                    <a:pt x="760776" y="1208700"/>
                    <a:pt x="785552" y="1208700"/>
                  </a:cubicBezTo>
                  <a:close/>
                  <a:moveTo>
                    <a:pt x="564952" y="1208700"/>
                  </a:moveTo>
                  <a:cubicBezTo>
                    <a:pt x="612396" y="1208700"/>
                    <a:pt x="636119" y="1245562"/>
                    <a:pt x="636119" y="1319287"/>
                  </a:cubicBezTo>
                  <a:cubicBezTo>
                    <a:pt x="636119" y="1355798"/>
                    <a:pt x="629423" y="1383658"/>
                    <a:pt x="616033" y="1402866"/>
                  </a:cubicBezTo>
                  <a:cubicBezTo>
                    <a:pt x="602642" y="1422074"/>
                    <a:pt x="583910" y="1431679"/>
                    <a:pt x="559836" y="1431679"/>
                  </a:cubicBezTo>
                  <a:cubicBezTo>
                    <a:pt x="537368" y="1431679"/>
                    <a:pt x="519839" y="1422501"/>
                    <a:pt x="507251" y="1404145"/>
                  </a:cubicBezTo>
                  <a:cubicBezTo>
                    <a:pt x="494662" y="1385789"/>
                    <a:pt x="488368" y="1359259"/>
                    <a:pt x="488368" y="1324553"/>
                  </a:cubicBezTo>
                  <a:cubicBezTo>
                    <a:pt x="488368" y="1286436"/>
                    <a:pt x="494938" y="1257599"/>
                    <a:pt x="508078" y="1238039"/>
                  </a:cubicBezTo>
                  <a:cubicBezTo>
                    <a:pt x="521219" y="1218479"/>
                    <a:pt x="540176" y="1208700"/>
                    <a:pt x="564952" y="1208700"/>
                  </a:cubicBezTo>
                  <a:close/>
                  <a:moveTo>
                    <a:pt x="397790" y="1208700"/>
                  </a:moveTo>
                  <a:lnTo>
                    <a:pt x="412696" y="1208700"/>
                  </a:lnTo>
                  <a:lnTo>
                    <a:pt x="412696" y="1431679"/>
                  </a:lnTo>
                  <a:lnTo>
                    <a:pt x="377408" y="1431679"/>
                  </a:lnTo>
                  <a:lnTo>
                    <a:pt x="377408" y="1251896"/>
                  </a:lnTo>
                  <a:cubicBezTo>
                    <a:pt x="371020" y="1256459"/>
                    <a:pt x="364150" y="1260337"/>
                    <a:pt x="356799" y="1263531"/>
                  </a:cubicBezTo>
                  <a:cubicBezTo>
                    <a:pt x="349447" y="1266726"/>
                    <a:pt x="341056" y="1269539"/>
                    <a:pt x="331626" y="1271973"/>
                  </a:cubicBezTo>
                  <a:lnTo>
                    <a:pt x="331626" y="1241857"/>
                  </a:lnTo>
                  <a:cubicBezTo>
                    <a:pt x="337507" y="1239931"/>
                    <a:pt x="343186" y="1237902"/>
                    <a:pt x="348661" y="1235773"/>
                  </a:cubicBezTo>
                  <a:cubicBezTo>
                    <a:pt x="354137" y="1233645"/>
                    <a:pt x="359537" y="1231262"/>
                    <a:pt x="364860" y="1228624"/>
                  </a:cubicBezTo>
                  <a:cubicBezTo>
                    <a:pt x="370184" y="1225988"/>
                    <a:pt x="375558" y="1223048"/>
                    <a:pt x="380983" y="1219803"/>
                  </a:cubicBezTo>
                  <a:cubicBezTo>
                    <a:pt x="386408" y="1216559"/>
                    <a:pt x="392010" y="1212856"/>
                    <a:pt x="397790" y="1208700"/>
                  </a:cubicBezTo>
                  <a:close/>
                  <a:moveTo>
                    <a:pt x="97844" y="1208700"/>
                  </a:moveTo>
                  <a:lnTo>
                    <a:pt x="112750" y="1208700"/>
                  </a:lnTo>
                  <a:lnTo>
                    <a:pt x="112750" y="1431679"/>
                  </a:lnTo>
                  <a:lnTo>
                    <a:pt x="77462" y="1431679"/>
                  </a:lnTo>
                  <a:lnTo>
                    <a:pt x="77462" y="1251896"/>
                  </a:lnTo>
                  <a:cubicBezTo>
                    <a:pt x="71074" y="1256459"/>
                    <a:pt x="64204" y="1260337"/>
                    <a:pt x="56853" y="1263531"/>
                  </a:cubicBezTo>
                  <a:cubicBezTo>
                    <a:pt x="49501" y="1266726"/>
                    <a:pt x="41110" y="1269539"/>
                    <a:pt x="31680" y="1271973"/>
                  </a:cubicBezTo>
                  <a:lnTo>
                    <a:pt x="31680" y="1241857"/>
                  </a:lnTo>
                  <a:cubicBezTo>
                    <a:pt x="37561" y="1239931"/>
                    <a:pt x="43240" y="1237902"/>
                    <a:pt x="48715" y="1235773"/>
                  </a:cubicBezTo>
                  <a:cubicBezTo>
                    <a:pt x="54191" y="1233645"/>
                    <a:pt x="59591" y="1231262"/>
                    <a:pt x="64914" y="1228624"/>
                  </a:cubicBezTo>
                  <a:cubicBezTo>
                    <a:pt x="70238" y="1225988"/>
                    <a:pt x="75612" y="1223048"/>
                    <a:pt x="81037" y="1219803"/>
                  </a:cubicBezTo>
                  <a:cubicBezTo>
                    <a:pt x="86462" y="1216559"/>
                    <a:pt x="92064" y="1212856"/>
                    <a:pt x="97844" y="1208700"/>
                  </a:cubicBezTo>
                  <a:close/>
                  <a:moveTo>
                    <a:pt x="11990061" y="942895"/>
                  </a:moveTo>
                  <a:cubicBezTo>
                    <a:pt x="11963881" y="942895"/>
                    <a:pt x="11950791" y="971733"/>
                    <a:pt x="11950791" y="1029409"/>
                  </a:cubicBezTo>
                  <a:cubicBezTo>
                    <a:pt x="11950791" y="1083373"/>
                    <a:pt x="11963630" y="1110356"/>
                    <a:pt x="11989309" y="1110356"/>
                  </a:cubicBezTo>
                  <a:cubicBezTo>
                    <a:pt x="12014585" y="1110356"/>
                    <a:pt x="12027224" y="1082922"/>
                    <a:pt x="12027224" y="1028055"/>
                  </a:cubicBezTo>
                  <a:cubicBezTo>
                    <a:pt x="12027224" y="971281"/>
                    <a:pt x="12014836" y="942895"/>
                    <a:pt x="11990061" y="942895"/>
                  </a:cubicBezTo>
                  <a:close/>
                  <a:moveTo>
                    <a:pt x="11773551" y="942895"/>
                  </a:moveTo>
                  <a:cubicBezTo>
                    <a:pt x="11747371" y="942895"/>
                    <a:pt x="11734281" y="971733"/>
                    <a:pt x="11734281" y="1029409"/>
                  </a:cubicBezTo>
                  <a:cubicBezTo>
                    <a:pt x="11734281" y="1083373"/>
                    <a:pt x="11747120" y="1110356"/>
                    <a:pt x="11772799" y="1110356"/>
                  </a:cubicBezTo>
                  <a:cubicBezTo>
                    <a:pt x="11798075" y="1110356"/>
                    <a:pt x="11810714" y="1082922"/>
                    <a:pt x="11810714" y="1028055"/>
                  </a:cubicBezTo>
                  <a:cubicBezTo>
                    <a:pt x="11810714" y="971281"/>
                    <a:pt x="11798326" y="942895"/>
                    <a:pt x="11773551" y="942895"/>
                  </a:cubicBezTo>
                  <a:close/>
                  <a:moveTo>
                    <a:pt x="6978763" y="942895"/>
                  </a:moveTo>
                  <a:cubicBezTo>
                    <a:pt x="6952583" y="942895"/>
                    <a:pt x="6939493" y="971733"/>
                    <a:pt x="6939493" y="1029409"/>
                  </a:cubicBezTo>
                  <a:cubicBezTo>
                    <a:pt x="6939493" y="1083373"/>
                    <a:pt x="6952332" y="1110356"/>
                    <a:pt x="6978011" y="1110356"/>
                  </a:cubicBezTo>
                  <a:cubicBezTo>
                    <a:pt x="7003288" y="1110356"/>
                    <a:pt x="7015926" y="1082922"/>
                    <a:pt x="7015926" y="1028055"/>
                  </a:cubicBezTo>
                  <a:cubicBezTo>
                    <a:pt x="7015926" y="971281"/>
                    <a:pt x="7003538" y="942895"/>
                    <a:pt x="6978763" y="942895"/>
                  </a:cubicBezTo>
                  <a:close/>
                  <a:moveTo>
                    <a:pt x="6762253" y="942895"/>
                  </a:moveTo>
                  <a:cubicBezTo>
                    <a:pt x="6736073" y="942895"/>
                    <a:pt x="6722983" y="971733"/>
                    <a:pt x="6722983" y="1029409"/>
                  </a:cubicBezTo>
                  <a:cubicBezTo>
                    <a:pt x="6722983" y="1083373"/>
                    <a:pt x="6735822" y="1110356"/>
                    <a:pt x="6761501" y="1110356"/>
                  </a:cubicBezTo>
                  <a:cubicBezTo>
                    <a:pt x="6786778" y="1110356"/>
                    <a:pt x="6799416" y="1082922"/>
                    <a:pt x="6799416" y="1028055"/>
                  </a:cubicBezTo>
                  <a:cubicBezTo>
                    <a:pt x="6799416" y="971281"/>
                    <a:pt x="6787028" y="942895"/>
                    <a:pt x="6762253" y="942895"/>
                  </a:cubicBezTo>
                  <a:close/>
                  <a:moveTo>
                    <a:pt x="6144476" y="942895"/>
                  </a:moveTo>
                  <a:cubicBezTo>
                    <a:pt x="6118296" y="942895"/>
                    <a:pt x="6105206" y="971733"/>
                    <a:pt x="6105206" y="1029409"/>
                  </a:cubicBezTo>
                  <a:cubicBezTo>
                    <a:pt x="6105206" y="1083373"/>
                    <a:pt x="6118045" y="1110356"/>
                    <a:pt x="6143724" y="1110356"/>
                  </a:cubicBezTo>
                  <a:cubicBezTo>
                    <a:pt x="6169001" y="1110356"/>
                    <a:pt x="6181639" y="1082922"/>
                    <a:pt x="6181639" y="1028055"/>
                  </a:cubicBezTo>
                  <a:cubicBezTo>
                    <a:pt x="6181639" y="971281"/>
                    <a:pt x="6169251" y="942895"/>
                    <a:pt x="6144476" y="942895"/>
                  </a:cubicBezTo>
                  <a:close/>
                  <a:moveTo>
                    <a:pt x="5927965" y="942895"/>
                  </a:moveTo>
                  <a:cubicBezTo>
                    <a:pt x="5901786" y="942895"/>
                    <a:pt x="5888696" y="971733"/>
                    <a:pt x="5888696" y="1029409"/>
                  </a:cubicBezTo>
                  <a:cubicBezTo>
                    <a:pt x="5888696" y="1083373"/>
                    <a:pt x="5901536" y="1110356"/>
                    <a:pt x="5927213" y="1110356"/>
                  </a:cubicBezTo>
                  <a:cubicBezTo>
                    <a:pt x="5952490" y="1110356"/>
                    <a:pt x="5965130" y="1082922"/>
                    <a:pt x="5965130" y="1028055"/>
                  </a:cubicBezTo>
                  <a:cubicBezTo>
                    <a:pt x="5965130" y="971281"/>
                    <a:pt x="5952741" y="942895"/>
                    <a:pt x="5927965" y="942895"/>
                  </a:cubicBezTo>
                  <a:close/>
                  <a:moveTo>
                    <a:pt x="5703858" y="942895"/>
                  </a:moveTo>
                  <a:cubicBezTo>
                    <a:pt x="5677680" y="942895"/>
                    <a:pt x="5664590" y="971733"/>
                    <a:pt x="5664590" y="1029409"/>
                  </a:cubicBezTo>
                  <a:cubicBezTo>
                    <a:pt x="5664590" y="1083373"/>
                    <a:pt x="5677428" y="1110356"/>
                    <a:pt x="5703106" y="1110356"/>
                  </a:cubicBezTo>
                  <a:cubicBezTo>
                    <a:pt x="5728384" y="1110356"/>
                    <a:pt x="5741022" y="1082922"/>
                    <a:pt x="5741022" y="1028055"/>
                  </a:cubicBezTo>
                  <a:cubicBezTo>
                    <a:pt x="5741022" y="971281"/>
                    <a:pt x="5728634" y="942895"/>
                    <a:pt x="5703858" y="942895"/>
                  </a:cubicBezTo>
                  <a:close/>
                  <a:moveTo>
                    <a:pt x="925881" y="942895"/>
                  </a:moveTo>
                  <a:cubicBezTo>
                    <a:pt x="899701" y="942895"/>
                    <a:pt x="886611" y="971733"/>
                    <a:pt x="886611" y="1029409"/>
                  </a:cubicBezTo>
                  <a:cubicBezTo>
                    <a:pt x="886611" y="1083373"/>
                    <a:pt x="899450" y="1110356"/>
                    <a:pt x="925129" y="1110356"/>
                  </a:cubicBezTo>
                  <a:cubicBezTo>
                    <a:pt x="950406" y="1110356"/>
                    <a:pt x="963044" y="1082922"/>
                    <a:pt x="963044" y="1028055"/>
                  </a:cubicBezTo>
                  <a:cubicBezTo>
                    <a:pt x="963044" y="971281"/>
                    <a:pt x="950657" y="942895"/>
                    <a:pt x="925881" y="942895"/>
                  </a:cubicBezTo>
                  <a:close/>
                  <a:moveTo>
                    <a:pt x="709604" y="942895"/>
                  </a:moveTo>
                  <a:cubicBezTo>
                    <a:pt x="683425" y="942895"/>
                    <a:pt x="670336" y="971733"/>
                    <a:pt x="670336" y="1029409"/>
                  </a:cubicBezTo>
                  <a:cubicBezTo>
                    <a:pt x="670336" y="1083373"/>
                    <a:pt x="683175" y="1110356"/>
                    <a:pt x="708853" y="1110356"/>
                  </a:cubicBezTo>
                  <a:cubicBezTo>
                    <a:pt x="734130" y="1110356"/>
                    <a:pt x="746769" y="1082922"/>
                    <a:pt x="746769" y="1028055"/>
                  </a:cubicBezTo>
                  <a:cubicBezTo>
                    <a:pt x="746769" y="971281"/>
                    <a:pt x="734381" y="942895"/>
                    <a:pt x="709604" y="942895"/>
                  </a:cubicBezTo>
                  <a:close/>
                  <a:moveTo>
                    <a:pt x="87999" y="942895"/>
                  </a:moveTo>
                  <a:cubicBezTo>
                    <a:pt x="61819" y="942895"/>
                    <a:pt x="48728" y="971733"/>
                    <a:pt x="48728" y="1029409"/>
                  </a:cubicBezTo>
                  <a:cubicBezTo>
                    <a:pt x="48728" y="1083373"/>
                    <a:pt x="61567" y="1110356"/>
                    <a:pt x="87245" y="1110356"/>
                  </a:cubicBezTo>
                  <a:cubicBezTo>
                    <a:pt x="112522" y="1110356"/>
                    <a:pt x="125161" y="1082922"/>
                    <a:pt x="125161" y="1028055"/>
                  </a:cubicBezTo>
                  <a:cubicBezTo>
                    <a:pt x="125161" y="971281"/>
                    <a:pt x="112774" y="942895"/>
                    <a:pt x="87999" y="942895"/>
                  </a:cubicBezTo>
                  <a:close/>
                  <a:moveTo>
                    <a:pt x="11991716" y="915060"/>
                  </a:moveTo>
                  <a:cubicBezTo>
                    <a:pt x="12039160" y="915060"/>
                    <a:pt x="12062883" y="951923"/>
                    <a:pt x="12062883" y="1025647"/>
                  </a:cubicBezTo>
                  <a:cubicBezTo>
                    <a:pt x="12062883" y="1062159"/>
                    <a:pt x="12056187" y="1090019"/>
                    <a:pt x="12042797" y="1109227"/>
                  </a:cubicBezTo>
                  <a:cubicBezTo>
                    <a:pt x="12029406" y="1128435"/>
                    <a:pt x="12010674" y="1138040"/>
                    <a:pt x="11986600" y="1138040"/>
                  </a:cubicBezTo>
                  <a:cubicBezTo>
                    <a:pt x="11964132" y="1138040"/>
                    <a:pt x="11946603" y="1128862"/>
                    <a:pt x="11934015" y="1110506"/>
                  </a:cubicBezTo>
                  <a:cubicBezTo>
                    <a:pt x="11921426" y="1092150"/>
                    <a:pt x="11915132" y="1065619"/>
                    <a:pt x="11915132" y="1030914"/>
                  </a:cubicBezTo>
                  <a:cubicBezTo>
                    <a:pt x="11915132" y="992797"/>
                    <a:pt x="11921702" y="963959"/>
                    <a:pt x="11934842" y="944399"/>
                  </a:cubicBezTo>
                  <a:cubicBezTo>
                    <a:pt x="11947983" y="924840"/>
                    <a:pt x="11966940" y="915060"/>
                    <a:pt x="11991716" y="915060"/>
                  </a:cubicBezTo>
                  <a:close/>
                  <a:moveTo>
                    <a:pt x="11775206" y="915060"/>
                  </a:moveTo>
                  <a:cubicBezTo>
                    <a:pt x="11822650" y="915060"/>
                    <a:pt x="11846373" y="951923"/>
                    <a:pt x="11846373" y="1025647"/>
                  </a:cubicBezTo>
                  <a:cubicBezTo>
                    <a:pt x="11846373" y="1062159"/>
                    <a:pt x="11839677" y="1090019"/>
                    <a:pt x="11826287" y="1109227"/>
                  </a:cubicBezTo>
                  <a:cubicBezTo>
                    <a:pt x="11812896" y="1128435"/>
                    <a:pt x="11794164" y="1138040"/>
                    <a:pt x="11770090" y="1138040"/>
                  </a:cubicBezTo>
                  <a:cubicBezTo>
                    <a:pt x="11747622" y="1138040"/>
                    <a:pt x="11730093" y="1128862"/>
                    <a:pt x="11717505" y="1110506"/>
                  </a:cubicBezTo>
                  <a:cubicBezTo>
                    <a:pt x="11704916" y="1092150"/>
                    <a:pt x="11698622" y="1065619"/>
                    <a:pt x="11698622" y="1030914"/>
                  </a:cubicBezTo>
                  <a:cubicBezTo>
                    <a:pt x="11698622" y="992797"/>
                    <a:pt x="11705192" y="963959"/>
                    <a:pt x="11718332" y="944399"/>
                  </a:cubicBezTo>
                  <a:cubicBezTo>
                    <a:pt x="11731473" y="924840"/>
                    <a:pt x="11750430" y="915060"/>
                    <a:pt x="11775206" y="915060"/>
                  </a:cubicBezTo>
                  <a:close/>
                  <a:moveTo>
                    <a:pt x="11623651" y="915060"/>
                  </a:moveTo>
                  <a:lnTo>
                    <a:pt x="11638557" y="915060"/>
                  </a:lnTo>
                  <a:lnTo>
                    <a:pt x="11638557" y="1138040"/>
                  </a:lnTo>
                  <a:lnTo>
                    <a:pt x="11603269" y="1138040"/>
                  </a:lnTo>
                  <a:lnTo>
                    <a:pt x="11603269" y="958257"/>
                  </a:lnTo>
                  <a:cubicBezTo>
                    <a:pt x="11596881" y="962820"/>
                    <a:pt x="11590011" y="966698"/>
                    <a:pt x="11582660" y="969892"/>
                  </a:cubicBezTo>
                  <a:cubicBezTo>
                    <a:pt x="11575308" y="973087"/>
                    <a:pt x="11566917" y="975900"/>
                    <a:pt x="11557487" y="978334"/>
                  </a:cubicBezTo>
                  <a:lnTo>
                    <a:pt x="11557487" y="948218"/>
                  </a:lnTo>
                  <a:cubicBezTo>
                    <a:pt x="11563368" y="946292"/>
                    <a:pt x="11569047" y="944263"/>
                    <a:pt x="11574522" y="942134"/>
                  </a:cubicBezTo>
                  <a:cubicBezTo>
                    <a:pt x="11579998" y="940005"/>
                    <a:pt x="11585398" y="937621"/>
                    <a:pt x="11590721" y="934985"/>
                  </a:cubicBezTo>
                  <a:cubicBezTo>
                    <a:pt x="11596045" y="932349"/>
                    <a:pt x="11601419" y="929408"/>
                    <a:pt x="11606844" y="926163"/>
                  </a:cubicBezTo>
                  <a:cubicBezTo>
                    <a:pt x="11612269" y="922919"/>
                    <a:pt x="11617871" y="919217"/>
                    <a:pt x="11623651" y="915060"/>
                  </a:cubicBezTo>
                  <a:close/>
                  <a:moveTo>
                    <a:pt x="11320876" y="915060"/>
                  </a:moveTo>
                  <a:lnTo>
                    <a:pt x="11335782" y="915060"/>
                  </a:lnTo>
                  <a:lnTo>
                    <a:pt x="11335782" y="1138040"/>
                  </a:lnTo>
                  <a:lnTo>
                    <a:pt x="11300494" y="1138040"/>
                  </a:lnTo>
                  <a:lnTo>
                    <a:pt x="11300494" y="958257"/>
                  </a:lnTo>
                  <a:cubicBezTo>
                    <a:pt x="11294106" y="962820"/>
                    <a:pt x="11287236" y="966698"/>
                    <a:pt x="11279885" y="969892"/>
                  </a:cubicBezTo>
                  <a:cubicBezTo>
                    <a:pt x="11272533" y="973087"/>
                    <a:pt x="11264142" y="975900"/>
                    <a:pt x="11254712" y="978334"/>
                  </a:cubicBezTo>
                  <a:lnTo>
                    <a:pt x="11254712" y="948218"/>
                  </a:lnTo>
                  <a:cubicBezTo>
                    <a:pt x="11260593" y="946292"/>
                    <a:pt x="11266272" y="944263"/>
                    <a:pt x="11271747" y="942134"/>
                  </a:cubicBezTo>
                  <a:cubicBezTo>
                    <a:pt x="11277223" y="940005"/>
                    <a:pt x="11282623" y="937621"/>
                    <a:pt x="11287946" y="934985"/>
                  </a:cubicBezTo>
                  <a:cubicBezTo>
                    <a:pt x="11293270" y="932349"/>
                    <a:pt x="11298644" y="929408"/>
                    <a:pt x="11304069" y="926163"/>
                  </a:cubicBezTo>
                  <a:cubicBezTo>
                    <a:pt x="11309494" y="922919"/>
                    <a:pt x="11315096" y="919217"/>
                    <a:pt x="11320876" y="915060"/>
                  </a:cubicBezTo>
                  <a:close/>
                  <a:moveTo>
                    <a:pt x="10943712" y="915060"/>
                  </a:moveTo>
                  <a:lnTo>
                    <a:pt x="10958618" y="915060"/>
                  </a:lnTo>
                  <a:lnTo>
                    <a:pt x="10958618" y="1138040"/>
                  </a:lnTo>
                  <a:lnTo>
                    <a:pt x="10923330" y="1138040"/>
                  </a:lnTo>
                  <a:lnTo>
                    <a:pt x="10923330" y="958257"/>
                  </a:lnTo>
                  <a:cubicBezTo>
                    <a:pt x="10916942" y="962820"/>
                    <a:pt x="10910072" y="966698"/>
                    <a:pt x="10902721" y="969892"/>
                  </a:cubicBezTo>
                  <a:cubicBezTo>
                    <a:pt x="10895369" y="973087"/>
                    <a:pt x="10886978" y="975900"/>
                    <a:pt x="10877548" y="978334"/>
                  </a:cubicBezTo>
                  <a:lnTo>
                    <a:pt x="10877548" y="948218"/>
                  </a:lnTo>
                  <a:cubicBezTo>
                    <a:pt x="10883429" y="946292"/>
                    <a:pt x="10889108" y="944263"/>
                    <a:pt x="10894583" y="942134"/>
                  </a:cubicBezTo>
                  <a:cubicBezTo>
                    <a:pt x="10900059" y="940005"/>
                    <a:pt x="10905459" y="937621"/>
                    <a:pt x="10910782" y="934985"/>
                  </a:cubicBezTo>
                  <a:cubicBezTo>
                    <a:pt x="10916106" y="932349"/>
                    <a:pt x="10921480" y="929408"/>
                    <a:pt x="10926905" y="926163"/>
                  </a:cubicBezTo>
                  <a:cubicBezTo>
                    <a:pt x="10932330" y="922919"/>
                    <a:pt x="10937932" y="919217"/>
                    <a:pt x="10943712" y="915060"/>
                  </a:cubicBezTo>
                  <a:close/>
                  <a:moveTo>
                    <a:pt x="10794855" y="915060"/>
                  </a:moveTo>
                  <a:lnTo>
                    <a:pt x="10809761" y="915060"/>
                  </a:lnTo>
                  <a:lnTo>
                    <a:pt x="10809761" y="1138040"/>
                  </a:lnTo>
                  <a:lnTo>
                    <a:pt x="10774473" y="1138040"/>
                  </a:lnTo>
                  <a:lnTo>
                    <a:pt x="10774473" y="958257"/>
                  </a:lnTo>
                  <a:cubicBezTo>
                    <a:pt x="10768085" y="962820"/>
                    <a:pt x="10761215" y="966698"/>
                    <a:pt x="10753864" y="969892"/>
                  </a:cubicBezTo>
                  <a:cubicBezTo>
                    <a:pt x="10746512" y="973087"/>
                    <a:pt x="10738121" y="975900"/>
                    <a:pt x="10728691" y="978334"/>
                  </a:cubicBezTo>
                  <a:lnTo>
                    <a:pt x="10728691" y="948218"/>
                  </a:lnTo>
                  <a:cubicBezTo>
                    <a:pt x="10734572" y="946292"/>
                    <a:pt x="10740251" y="944263"/>
                    <a:pt x="10745726" y="942134"/>
                  </a:cubicBezTo>
                  <a:cubicBezTo>
                    <a:pt x="10751202" y="940005"/>
                    <a:pt x="10756602" y="937621"/>
                    <a:pt x="10761925" y="934985"/>
                  </a:cubicBezTo>
                  <a:cubicBezTo>
                    <a:pt x="10767249" y="932349"/>
                    <a:pt x="10772623" y="929408"/>
                    <a:pt x="10778048" y="926163"/>
                  </a:cubicBezTo>
                  <a:cubicBezTo>
                    <a:pt x="10783473" y="922919"/>
                    <a:pt x="10789075" y="919217"/>
                    <a:pt x="10794855" y="915060"/>
                  </a:cubicBezTo>
                  <a:close/>
                  <a:moveTo>
                    <a:pt x="10640937" y="915060"/>
                  </a:moveTo>
                  <a:lnTo>
                    <a:pt x="10655843" y="915060"/>
                  </a:lnTo>
                  <a:lnTo>
                    <a:pt x="10655843" y="1138040"/>
                  </a:lnTo>
                  <a:lnTo>
                    <a:pt x="10620555" y="1138040"/>
                  </a:lnTo>
                  <a:lnTo>
                    <a:pt x="10620555" y="958257"/>
                  </a:lnTo>
                  <a:cubicBezTo>
                    <a:pt x="10614167" y="962820"/>
                    <a:pt x="10607297" y="966698"/>
                    <a:pt x="10599946" y="969892"/>
                  </a:cubicBezTo>
                  <a:cubicBezTo>
                    <a:pt x="10592594" y="973087"/>
                    <a:pt x="10584203" y="975900"/>
                    <a:pt x="10574773" y="978334"/>
                  </a:cubicBezTo>
                  <a:lnTo>
                    <a:pt x="10574773" y="948218"/>
                  </a:lnTo>
                  <a:cubicBezTo>
                    <a:pt x="10580654" y="946292"/>
                    <a:pt x="10586333" y="944263"/>
                    <a:pt x="10591808" y="942134"/>
                  </a:cubicBezTo>
                  <a:cubicBezTo>
                    <a:pt x="10597284" y="940005"/>
                    <a:pt x="10602684" y="937621"/>
                    <a:pt x="10608007" y="934985"/>
                  </a:cubicBezTo>
                  <a:cubicBezTo>
                    <a:pt x="10613331" y="932349"/>
                    <a:pt x="10618705" y="929408"/>
                    <a:pt x="10624130" y="926163"/>
                  </a:cubicBezTo>
                  <a:cubicBezTo>
                    <a:pt x="10629555" y="922919"/>
                    <a:pt x="10635157" y="919217"/>
                    <a:pt x="10640937" y="915060"/>
                  </a:cubicBezTo>
                  <a:close/>
                  <a:moveTo>
                    <a:pt x="10492080" y="915060"/>
                  </a:moveTo>
                  <a:lnTo>
                    <a:pt x="10506986" y="915060"/>
                  </a:lnTo>
                  <a:lnTo>
                    <a:pt x="10506986" y="1138040"/>
                  </a:lnTo>
                  <a:lnTo>
                    <a:pt x="10471698" y="1138040"/>
                  </a:lnTo>
                  <a:lnTo>
                    <a:pt x="10471698" y="958257"/>
                  </a:lnTo>
                  <a:cubicBezTo>
                    <a:pt x="10465310" y="962820"/>
                    <a:pt x="10458440" y="966698"/>
                    <a:pt x="10451089" y="969892"/>
                  </a:cubicBezTo>
                  <a:cubicBezTo>
                    <a:pt x="10443737" y="973087"/>
                    <a:pt x="10435346" y="975900"/>
                    <a:pt x="10425916" y="978334"/>
                  </a:cubicBezTo>
                  <a:lnTo>
                    <a:pt x="10425916" y="948218"/>
                  </a:lnTo>
                  <a:cubicBezTo>
                    <a:pt x="10431797" y="946292"/>
                    <a:pt x="10437476" y="944263"/>
                    <a:pt x="10442951" y="942134"/>
                  </a:cubicBezTo>
                  <a:cubicBezTo>
                    <a:pt x="10448427" y="940005"/>
                    <a:pt x="10453827" y="937621"/>
                    <a:pt x="10459150" y="934985"/>
                  </a:cubicBezTo>
                  <a:cubicBezTo>
                    <a:pt x="10464474" y="932349"/>
                    <a:pt x="10469848" y="929408"/>
                    <a:pt x="10475273" y="926163"/>
                  </a:cubicBezTo>
                  <a:cubicBezTo>
                    <a:pt x="10480698" y="922919"/>
                    <a:pt x="10486300" y="919217"/>
                    <a:pt x="10492080" y="915060"/>
                  </a:cubicBezTo>
                  <a:close/>
                  <a:moveTo>
                    <a:pt x="9770689" y="915060"/>
                  </a:moveTo>
                  <a:lnTo>
                    <a:pt x="9785595" y="915060"/>
                  </a:lnTo>
                  <a:lnTo>
                    <a:pt x="9785595" y="1138040"/>
                  </a:lnTo>
                  <a:lnTo>
                    <a:pt x="9750307" y="1138040"/>
                  </a:lnTo>
                  <a:lnTo>
                    <a:pt x="9750307" y="958257"/>
                  </a:lnTo>
                  <a:cubicBezTo>
                    <a:pt x="9743919" y="962820"/>
                    <a:pt x="9737049" y="966698"/>
                    <a:pt x="9729698" y="969892"/>
                  </a:cubicBezTo>
                  <a:cubicBezTo>
                    <a:pt x="9722346" y="973087"/>
                    <a:pt x="9713955" y="975900"/>
                    <a:pt x="9704525" y="978334"/>
                  </a:cubicBezTo>
                  <a:lnTo>
                    <a:pt x="9704525" y="948218"/>
                  </a:lnTo>
                  <a:cubicBezTo>
                    <a:pt x="9710406" y="946292"/>
                    <a:pt x="9716085" y="944263"/>
                    <a:pt x="9721560" y="942134"/>
                  </a:cubicBezTo>
                  <a:cubicBezTo>
                    <a:pt x="9727036" y="940005"/>
                    <a:pt x="9732436" y="937621"/>
                    <a:pt x="9737759" y="934985"/>
                  </a:cubicBezTo>
                  <a:cubicBezTo>
                    <a:pt x="9743083" y="932349"/>
                    <a:pt x="9748457" y="929408"/>
                    <a:pt x="9753882" y="926163"/>
                  </a:cubicBezTo>
                  <a:cubicBezTo>
                    <a:pt x="9759307" y="922919"/>
                    <a:pt x="9764909" y="919217"/>
                    <a:pt x="9770689" y="915060"/>
                  </a:cubicBezTo>
                  <a:close/>
                  <a:moveTo>
                    <a:pt x="9621832" y="915060"/>
                  </a:moveTo>
                  <a:lnTo>
                    <a:pt x="9636738" y="915060"/>
                  </a:lnTo>
                  <a:lnTo>
                    <a:pt x="9636738" y="1138040"/>
                  </a:lnTo>
                  <a:lnTo>
                    <a:pt x="9601450" y="1138040"/>
                  </a:lnTo>
                  <a:lnTo>
                    <a:pt x="9601450" y="958257"/>
                  </a:lnTo>
                  <a:cubicBezTo>
                    <a:pt x="9595062" y="962820"/>
                    <a:pt x="9588192" y="966698"/>
                    <a:pt x="9580841" y="969892"/>
                  </a:cubicBezTo>
                  <a:cubicBezTo>
                    <a:pt x="9573489" y="973087"/>
                    <a:pt x="9565098" y="975900"/>
                    <a:pt x="9555668" y="978334"/>
                  </a:cubicBezTo>
                  <a:lnTo>
                    <a:pt x="9555668" y="948218"/>
                  </a:lnTo>
                  <a:cubicBezTo>
                    <a:pt x="9561549" y="946292"/>
                    <a:pt x="9567228" y="944263"/>
                    <a:pt x="9572703" y="942134"/>
                  </a:cubicBezTo>
                  <a:cubicBezTo>
                    <a:pt x="9578179" y="940005"/>
                    <a:pt x="9583579" y="937621"/>
                    <a:pt x="9588902" y="934985"/>
                  </a:cubicBezTo>
                  <a:cubicBezTo>
                    <a:pt x="9594226" y="932349"/>
                    <a:pt x="9599600" y="929408"/>
                    <a:pt x="9605025" y="926163"/>
                  </a:cubicBezTo>
                  <a:cubicBezTo>
                    <a:pt x="9610450" y="922919"/>
                    <a:pt x="9616052" y="919217"/>
                    <a:pt x="9621832" y="915060"/>
                  </a:cubicBezTo>
                  <a:close/>
                  <a:moveTo>
                    <a:pt x="8818727" y="915060"/>
                  </a:moveTo>
                  <a:lnTo>
                    <a:pt x="8833633" y="915060"/>
                  </a:lnTo>
                  <a:lnTo>
                    <a:pt x="8833633" y="1138040"/>
                  </a:lnTo>
                  <a:lnTo>
                    <a:pt x="8798345" y="1138040"/>
                  </a:lnTo>
                  <a:lnTo>
                    <a:pt x="8798345" y="958257"/>
                  </a:lnTo>
                  <a:cubicBezTo>
                    <a:pt x="8791957" y="962820"/>
                    <a:pt x="8785087" y="966698"/>
                    <a:pt x="8777736" y="969892"/>
                  </a:cubicBezTo>
                  <a:cubicBezTo>
                    <a:pt x="8770384" y="973087"/>
                    <a:pt x="8761993" y="975900"/>
                    <a:pt x="8752563" y="978334"/>
                  </a:cubicBezTo>
                  <a:lnTo>
                    <a:pt x="8752563" y="948218"/>
                  </a:lnTo>
                  <a:cubicBezTo>
                    <a:pt x="8758444" y="946292"/>
                    <a:pt x="8764123" y="944263"/>
                    <a:pt x="8769598" y="942134"/>
                  </a:cubicBezTo>
                  <a:cubicBezTo>
                    <a:pt x="8775074" y="940005"/>
                    <a:pt x="8780474" y="937621"/>
                    <a:pt x="8785797" y="934985"/>
                  </a:cubicBezTo>
                  <a:cubicBezTo>
                    <a:pt x="8791121" y="932349"/>
                    <a:pt x="8796495" y="929408"/>
                    <a:pt x="8801920" y="926163"/>
                  </a:cubicBezTo>
                  <a:cubicBezTo>
                    <a:pt x="8807345" y="922919"/>
                    <a:pt x="8812947" y="919217"/>
                    <a:pt x="8818727" y="915060"/>
                  </a:cubicBezTo>
                  <a:close/>
                  <a:moveTo>
                    <a:pt x="8440120" y="915060"/>
                  </a:moveTo>
                  <a:lnTo>
                    <a:pt x="8455026" y="915060"/>
                  </a:lnTo>
                  <a:lnTo>
                    <a:pt x="8455026" y="1138040"/>
                  </a:lnTo>
                  <a:lnTo>
                    <a:pt x="8419738" y="1138040"/>
                  </a:lnTo>
                  <a:lnTo>
                    <a:pt x="8419738" y="958257"/>
                  </a:lnTo>
                  <a:cubicBezTo>
                    <a:pt x="8413350" y="962820"/>
                    <a:pt x="8406480" y="966698"/>
                    <a:pt x="8399129" y="969892"/>
                  </a:cubicBezTo>
                  <a:cubicBezTo>
                    <a:pt x="8391777" y="973087"/>
                    <a:pt x="8383386" y="975900"/>
                    <a:pt x="8373956" y="978334"/>
                  </a:cubicBezTo>
                  <a:lnTo>
                    <a:pt x="8373956" y="948218"/>
                  </a:lnTo>
                  <a:cubicBezTo>
                    <a:pt x="8379837" y="946292"/>
                    <a:pt x="8385516" y="944263"/>
                    <a:pt x="8390991" y="942134"/>
                  </a:cubicBezTo>
                  <a:cubicBezTo>
                    <a:pt x="8396467" y="940005"/>
                    <a:pt x="8401867" y="937621"/>
                    <a:pt x="8407190" y="934985"/>
                  </a:cubicBezTo>
                  <a:cubicBezTo>
                    <a:pt x="8412514" y="932349"/>
                    <a:pt x="8417888" y="929408"/>
                    <a:pt x="8423313" y="926163"/>
                  </a:cubicBezTo>
                  <a:cubicBezTo>
                    <a:pt x="8428738" y="922919"/>
                    <a:pt x="8434340" y="919217"/>
                    <a:pt x="8440120" y="915060"/>
                  </a:cubicBezTo>
                  <a:close/>
                  <a:moveTo>
                    <a:pt x="8291263" y="915060"/>
                  </a:moveTo>
                  <a:lnTo>
                    <a:pt x="8306169" y="915060"/>
                  </a:lnTo>
                  <a:lnTo>
                    <a:pt x="8306169" y="1138040"/>
                  </a:lnTo>
                  <a:lnTo>
                    <a:pt x="8270881" y="1138040"/>
                  </a:lnTo>
                  <a:lnTo>
                    <a:pt x="8270881" y="958257"/>
                  </a:lnTo>
                  <a:cubicBezTo>
                    <a:pt x="8264493" y="962820"/>
                    <a:pt x="8257624" y="966698"/>
                    <a:pt x="8250272" y="969892"/>
                  </a:cubicBezTo>
                  <a:cubicBezTo>
                    <a:pt x="8242920" y="973087"/>
                    <a:pt x="8234530" y="975900"/>
                    <a:pt x="8225099" y="978334"/>
                  </a:cubicBezTo>
                  <a:lnTo>
                    <a:pt x="8225099" y="948218"/>
                  </a:lnTo>
                  <a:cubicBezTo>
                    <a:pt x="8230980" y="946292"/>
                    <a:pt x="8236659" y="944263"/>
                    <a:pt x="8242134" y="942134"/>
                  </a:cubicBezTo>
                  <a:cubicBezTo>
                    <a:pt x="8247610" y="940005"/>
                    <a:pt x="8253010" y="937621"/>
                    <a:pt x="8258333" y="934985"/>
                  </a:cubicBezTo>
                  <a:cubicBezTo>
                    <a:pt x="8263657" y="932349"/>
                    <a:pt x="8269031" y="929408"/>
                    <a:pt x="8274456" y="926163"/>
                  </a:cubicBezTo>
                  <a:cubicBezTo>
                    <a:pt x="8279881" y="922919"/>
                    <a:pt x="8285483" y="919217"/>
                    <a:pt x="8291263" y="915060"/>
                  </a:cubicBezTo>
                  <a:close/>
                  <a:moveTo>
                    <a:pt x="8137345" y="915060"/>
                  </a:moveTo>
                  <a:lnTo>
                    <a:pt x="8152251" y="915060"/>
                  </a:lnTo>
                  <a:lnTo>
                    <a:pt x="8152251" y="1138040"/>
                  </a:lnTo>
                  <a:lnTo>
                    <a:pt x="8116963" y="1138040"/>
                  </a:lnTo>
                  <a:lnTo>
                    <a:pt x="8116963" y="958257"/>
                  </a:lnTo>
                  <a:cubicBezTo>
                    <a:pt x="8110575" y="962820"/>
                    <a:pt x="8103706" y="966698"/>
                    <a:pt x="8096354" y="969892"/>
                  </a:cubicBezTo>
                  <a:cubicBezTo>
                    <a:pt x="8089002" y="973087"/>
                    <a:pt x="8080612" y="975900"/>
                    <a:pt x="8071181" y="978334"/>
                  </a:cubicBezTo>
                  <a:lnTo>
                    <a:pt x="8071181" y="948218"/>
                  </a:lnTo>
                  <a:cubicBezTo>
                    <a:pt x="8077062" y="946292"/>
                    <a:pt x="8082741" y="944263"/>
                    <a:pt x="8088216" y="942134"/>
                  </a:cubicBezTo>
                  <a:cubicBezTo>
                    <a:pt x="8093692" y="940005"/>
                    <a:pt x="8099092" y="937621"/>
                    <a:pt x="8104415" y="934985"/>
                  </a:cubicBezTo>
                  <a:cubicBezTo>
                    <a:pt x="8109739" y="932349"/>
                    <a:pt x="8115113" y="929408"/>
                    <a:pt x="8120538" y="926163"/>
                  </a:cubicBezTo>
                  <a:cubicBezTo>
                    <a:pt x="8125963" y="922919"/>
                    <a:pt x="8131565" y="919217"/>
                    <a:pt x="8137345" y="915060"/>
                  </a:cubicBezTo>
                  <a:close/>
                  <a:moveTo>
                    <a:pt x="7988488" y="915060"/>
                  </a:moveTo>
                  <a:lnTo>
                    <a:pt x="8003394" y="915060"/>
                  </a:lnTo>
                  <a:lnTo>
                    <a:pt x="8003394" y="1138040"/>
                  </a:lnTo>
                  <a:lnTo>
                    <a:pt x="7968106" y="1138040"/>
                  </a:lnTo>
                  <a:lnTo>
                    <a:pt x="7968106" y="958257"/>
                  </a:lnTo>
                  <a:cubicBezTo>
                    <a:pt x="7961718" y="962820"/>
                    <a:pt x="7954849" y="966698"/>
                    <a:pt x="7947497" y="969892"/>
                  </a:cubicBezTo>
                  <a:cubicBezTo>
                    <a:pt x="7940145" y="973087"/>
                    <a:pt x="7931755" y="975900"/>
                    <a:pt x="7922324" y="978334"/>
                  </a:cubicBezTo>
                  <a:lnTo>
                    <a:pt x="7922324" y="948218"/>
                  </a:lnTo>
                  <a:cubicBezTo>
                    <a:pt x="7928205" y="946292"/>
                    <a:pt x="7933884" y="944263"/>
                    <a:pt x="7939359" y="942134"/>
                  </a:cubicBezTo>
                  <a:cubicBezTo>
                    <a:pt x="7944835" y="940005"/>
                    <a:pt x="7950235" y="937621"/>
                    <a:pt x="7955558" y="934985"/>
                  </a:cubicBezTo>
                  <a:cubicBezTo>
                    <a:pt x="7960882" y="932349"/>
                    <a:pt x="7966256" y="929408"/>
                    <a:pt x="7971681" y="926163"/>
                  </a:cubicBezTo>
                  <a:cubicBezTo>
                    <a:pt x="7977106" y="922919"/>
                    <a:pt x="7982708" y="919217"/>
                    <a:pt x="7988488" y="915060"/>
                  </a:cubicBezTo>
                  <a:close/>
                  <a:moveTo>
                    <a:pt x="7839631" y="915060"/>
                  </a:moveTo>
                  <a:lnTo>
                    <a:pt x="7854537" y="915060"/>
                  </a:lnTo>
                  <a:lnTo>
                    <a:pt x="7854537" y="1138040"/>
                  </a:lnTo>
                  <a:lnTo>
                    <a:pt x="7819249" y="1138040"/>
                  </a:lnTo>
                  <a:lnTo>
                    <a:pt x="7819249" y="958257"/>
                  </a:lnTo>
                  <a:cubicBezTo>
                    <a:pt x="7812861" y="962820"/>
                    <a:pt x="7805992" y="966698"/>
                    <a:pt x="7798640" y="969892"/>
                  </a:cubicBezTo>
                  <a:cubicBezTo>
                    <a:pt x="7791288" y="973087"/>
                    <a:pt x="7782898" y="975900"/>
                    <a:pt x="7773467" y="978334"/>
                  </a:cubicBezTo>
                  <a:lnTo>
                    <a:pt x="7773467" y="948218"/>
                  </a:lnTo>
                  <a:cubicBezTo>
                    <a:pt x="7779348" y="946292"/>
                    <a:pt x="7785027" y="944263"/>
                    <a:pt x="7790502" y="942134"/>
                  </a:cubicBezTo>
                  <a:cubicBezTo>
                    <a:pt x="7795978" y="940005"/>
                    <a:pt x="7801378" y="937621"/>
                    <a:pt x="7806701" y="934985"/>
                  </a:cubicBezTo>
                  <a:cubicBezTo>
                    <a:pt x="7812025" y="932349"/>
                    <a:pt x="7817399" y="929408"/>
                    <a:pt x="7822824" y="926163"/>
                  </a:cubicBezTo>
                  <a:cubicBezTo>
                    <a:pt x="7828249" y="922919"/>
                    <a:pt x="7833851" y="919217"/>
                    <a:pt x="7839631" y="915060"/>
                  </a:cubicBezTo>
                  <a:close/>
                  <a:moveTo>
                    <a:pt x="7487544" y="915060"/>
                  </a:moveTo>
                  <a:lnTo>
                    <a:pt x="7502450" y="915060"/>
                  </a:lnTo>
                  <a:lnTo>
                    <a:pt x="7502450" y="1138040"/>
                  </a:lnTo>
                  <a:lnTo>
                    <a:pt x="7467162" y="1138040"/>
                  </a:lnTo>
                  <a:lnTo>
                    <a:pt x="7467162" y="958257"/>
                  </a:lnTo>
                  <a:cubicBezTo>
                    <a:pt x="7460774" y="962820"/>
                    <a:pt x="7453905" y="966698"/>
                    <a:pt x="7446553" y="969892"/>
                  </a:cubicBezTo>
                  <a:cubicBezTo>
                    <a:pt x="7439201" y="973087"/>
                    <a:pt x="7430811" y="975900"/>
                    <a:pt x="7421380" y="978334"/>
                  </a:cubicBezTo>
                  <a:lnTo>
                    <a:pt x="7421380" y="948218"/>
                  </a:lnTo>
                  <a:cubicBezTo>
                    <a:pt x="7427261" y="946292"/>
                    <a:pt x="7432940" y="944263"/>
                    <a:pt x="7438415" y="942134"/>
                  </a:cubicBezTo>
                  <a:cubicBezTo>
                    <a:pt x="7443891" y="940005"/>
                    <a:pt x="7449291" y="937621"/>
                    <a:pt x="7454614" y="934985"/>
                  </a:cubicBezTo>
                  <a:cubicBezTo>
                    <a:pt x="7459938" y="932349"/>
                    <a:pt x="7465312" y="929408"/>
                    <a:pt x="7470737" y="926163"/>
                  </a:cubicBezTo>
                  <a:cubicBezTo>
                    <a:pt x="7476162" y="922919"/>
                    <a:pt x="7481764" y="919217"/>
                    <a:pt x="7487544" y="915060"/>
                  </a:cubicBezTo>
                  <a:close/>
                  <a:moveTo>
                    <a:pt x="7189830" y="915060"/>
                  </a:moveTo>
                  <a:lnTo>
                    <a:pt x="7204736" y="915060"/>
                  </a:lnTo>
                  <a:lnTo>
                    <a:pt x="7204736" y="1138040"/>
                  </a:lnTo>
                  <a:lnTo>
                    <a:pt x="7169448" y="1138040"/>
                  </a:lnTo>
                  <a:lnTo>
                    <a:pt x="7169448" y="958257"/>
                  </a:lnTo>
                  <a:cubicBezTo>
                    <a:pt x="7163060" y="962820"/>
                    <a:pt x="7156191" y="966698"/>
                    <a:pt x="7148839" y="969892"/>
                  </a:cubicBezTo>
                  <a:cubicBezTo>
                    <a:pt x="7141487" y="973087"/>
                    <a:pt x="7133097" y="975900"/>
                    <a:pt x="7123666" y="978334"/>
                  </a:cubicBezTo>
                  <a:lnTo>
                    <a:pt x="7123666" y="948218"/>
                  </a:lnTo>
                  <a:cubicBezTo>
                    <a:pt x="7129547" y="946292"/>
                    <a:pt x="7135226" y="944263"/>
                    <a:pt x="7140701" y="942134"/>
                  </a:cubicBezTo>
                  <a:cubicBezTo>
                    <a:pt x="7146177" y="940005"/>
                    <a:pt x="7151577" y="937621"/>
                    <a:pt x="7156900" y="934985"/>
                  </a:cubicBezTo>
                  <a:cubicBezTo>
                    <a:pt x="7162224" y="932349"/>
                    <a:pt x="7167598" y="929408"/>
                    <a:pt x="7173023" y="926163"/>
                  </a:cubicBezTo>
                  <a:cubicBezTo>
                    <a:pt x="7178448" y="922919"/>
                    <a:pt x="7184050" y="919217"/>
                    <a:pt x="7189830" y="915060"/>
                  </a:cubicBezTo>
                  <a:close/>
                  <a:moveTo>
                    <a:pt x="6980418" y="915060"/>
                  </a:moveTo>
                  <a:cubicBezTo>
                    <a:pt x="7027863" y="915060"/>
                    <a:pt x="7051585" y="951923"/>
                    <a:pt x="7051585" y="1025647"/>
                  </a:cubicBezTo>
                  <a:cubicBezTo>
                    <a:pt x="7051585" y="1062159"/>
                    <a:pt x="7044890" y="1090019"/>
                    <a:pt x="7031499" y="1109227"/>
                  </a:cubicBezTo>
                  <a:cubicBezTo>
                    <a:pt x="7018108" y="1128435"/>
                    <a:pt x="6999376" y="1138040"/>
                    <a:pt x="6975302" y="1138040"/>
                  </a:cubicBezTo>
                  <a:cubicBezTo>
                    <a:pt x="6952834" y="1138040"/>
                    <a:pt x="6935305" y="1128862"/>
                    <a:pt x="6922717" y="1110506"/>
                  </a:cubicBezTo>
                  <a:cubicBezTo>
                    <a:pt x="6910128" y="1092150"/>
                    <a:pt x="6903834" y="1065619"/>
                    <a:pt x="6903834" y="1030914"/>
                  </a:cubicBezTo>
                  <a:cubicBezTo>
                    <a:pt x="6903834" y="992797"/>
                    <a:pt x="6910404" y="963959"/>
                    <a:pt x="6923544" y="944399"/>
                  </a:cubicBezTo>
                  <a:cubicBezTo>
                    <a:pt x="6936685" y="924840"/>
                    <a:pt x="6955642" y="915060"/>
                    <a:pt x="6980418" y="915060"/>
                  </a:cubicBezTo>
                  <a:close/>
                  <a:moveTo>
                    <a:pt x="6763908" y="915060"/>
                  </a:moveTo>
                  <a:cubicBezTo>
                    <a:pt x="6811353" y="915060"/>
                    <a:pt x="6835075" y="951923"/>
                    <a:pt x="6835075" y="1025647"/>
                  </a:cubicBezTo>
                  <a:cubicBezTo>
                    <a:pt x="6835075" y="1062159"/>
                    <a:pt x="6828380" y="1090019"/>
                    <a:pt x="6814989" y="1109227"/>
                  </a:cubicBezTo>
                  <a:cubicBezTo>
                    <a:pt x="6801598" y="1128435"/>
                    <a:pt x="6782866" y="1138040"/>
                    <a:pt x="6758792" y="1138040"/>
                  </a:cubicBezTo>
                  <a:cubicBezTo>
                    <a:pt x="6736324" y="1138040"/>
                    <a:pt x="6718795" y="1128862"/>
                    <a:pt x="6706207" y="1110506"/>
                  </a:cubicBezTo>
                  <a:cubicBezTo>
                    <a:pt x="6693618" y="1092150"/>
                    <a:pt x="6687324" y="1065619"/>
                    <a:pt x="6687324" y="1030914"/>
                  </a:cubicBezTo>
                  <a:cubicBezTo>
                    <a:pt x="6687324" y="992797"/>
                    <a:pt x="6693894" y="963959"/>
                    <a:pt x="6707034" y="944399"/>
                  </a:cubicBezTo>
                  <a:cubicBezTo>
                    <a:pt x="6720175" y="924840"/>
                    <a:pt x="6739132" y="915060"/>
                    <a:pt x="6763908" y="915060"/>
                  </a:cubicBezTo>
                  <a:close/>
                  <a:moveTo>
                    <a:pt x="6617601" y="915060"/>
                  </a:moveTo>
                  <a:lnTo>
                    <a:pt x="6632507" y="915060"/>
                  </a:lnTo>
                  <a:lnTo>
                    <a:pt x="6632507" y="1138040"/>
                  </a:lnTo>
                  <a:lnTo>
                    <a:pt x="6597219" y="1138040"/>
                  </a:lnTo>
                  <a:lnTo>
                    <a:pt x="6597219" y="958257"/>
                  </a:lnTo>
                  <a:cubicBezTo>
                    <a:pt x="6590831" y="962820"/>
                    <a:pt x="6583962" y="966698"/>
                    <a:pt x="6576610" y="969892"/>
                  </a:cubicBezTo>
                  <a:cubicBezTo>
                    <a:pt x="6569258" y="973087"/>
                    <a:pt x="6560868" y="975900"/>
                    <a:pt x="6551437" y="978334"/>
                  </a:cubicBezTo>
                  <a:lnTo>
                    <a:pt x="6551437" y="948218"/>
                  </a:lnTo>
                  <a:cubicBezTo>
                    <a:pt x="6557318" y="946292"/>
                    <a:pt x="6562997" y="944263"/>
                    <a:pt x="6568472" y="942134"/>
                  </a:cubicBezTo>
                  <a:cubicBezTo>
                    <a:pt x="6573948" y="940005"/>
                    <a:pt x="6579348" y="937621"/>
                    <a:pt x="6584671" y="934985"/>
                  </a:cubicBezTo>
                  <a:cubicBezTo>
                    <a:pt x="6589995" y="932349"/>
                    <a:pt x="6595369" y="929408"/>
                    <a:pt x="6600794" y="926163"/>
                  </a:cubicBezTo>
                  <a:cubicBezTo>
                    <a:pt x="6606219" y="922919"/>
                    <a:pt x="6611821" y="919217"/>
                    <a:pt x="6617601" y="915060"/>
                  </a:cubicBezTo>
                  <a:close/>
                  <a:moveTo>
                    <a:pt x="6319887" y="915060"/>
                  </a:moveTo>
                  <a:lnTo>
                    <a:pt x="6334793" y="915060"/>
                  </a:lnTo>
                  <a:lnTo>
                    <a:pt x="6334793" y="1138040"/>
                  </a:lnTo>
                  <a:lnTo>
                    <a:pt x="6299505" y="1138040"/>
                  </a:lnTo>
                  <a:lnTo>
                    <a:pt x="6299505" y="958257"/>
                  </a:lnTo>
                  <a:cubicBezTo>
                    <a:pt x="6293117" y="962820"/>
                    <a:pt x="6286248" y="966698"/>
                    <a:pt x="6278896" y="969892"/>
                  </a:cubicBezTo>
                  <a:cubicBezTo>
                    <a:pt x="6271544" y="973087"/>
                    <a:pt x="6263154" y="975900"/>
                    <a:pt x="6253723" y="978334"/>
                  </a:cubicBezTo>
                  <a:lnTo>
                    <a:pt x="6253723" y="948218"/>
                  </a:lnTo>
                  <a:cubicBezTo>
                    <a:pt x="6259604" y="946292"/>
                    <a:pt x="6265283" y="944263"/>
                    <a:pt x="6270758" y="942134"/>
                  </a:cubicBezTo>
                  <a:cubicBezTo>
                    <a:pt x="6276234" y="940005"/>
                    <a:pt x="6281634" y="937621"/>
                    <a:pt x="6286957" y="934985"/>
                  </a:cubicBezTo>
                  <a:cubicBezTo>
                    <a:pt x="6292281" y="932349"/>
                    <a:pt x="6297655" y="929408"/>
                    <a:pt x="6303080" y="926163"/>
                  </a:cubicBezTo>
                  <a:cubicBezTo>
                    <a:pt x="6308505" y="922919"/>
                    <a:pt x="6314107" y="919217"/>
                    <a:pt x="6319887" y="915060"/>
                  </a:cubicBezTo>
                  <a:close/>
                  <a:moveTo>
                    <a:pt x="6146131" y="915060"/>
                  </a:moveTo>
                  <a:cubicBezTo>
                    <a:pt x="6193576" y="915060"/>
                    <a:pt x="6217298" y="951923"/>
                    <a:pt x="6217298" y="1025647"/>
                  </a:cubicBezTo>
                  <a:cubicBezTo>
                    <a:pt x="6217298" y="1062159"/>
                    <a:pt x="6210603" y="1090019"/>
                    <a:pt x="6197212" y="1109227"/>
                  </a:cubicBezTo>
                  <a:cubicBezTo>
                    <a:pt x="6183821" y="1128435"/>
                    <a:pt x="6165089" y="1138040"/>
                    <a:pt x="6141015" y="1138040"/>
                  </a:cubicBezTo>
                  <a:cubicBezTo>
                    <a:pt x="6118547" y="1138040"/>
                    <a:pt x="6101018" y="1128862"/>
                    <a:pt x="6088430" y="1110506"/>
                  </a:cubicBezTo>
                  <a:cubicBezTo>
                    <a:pt x="6075841" y="1092150"/>
                    <a:pt x="6069547" y="1065619"/>
                    <a:pt x="6069547" y="1030914"/>
                  </a:cubicBezTo>
                  <a:cubicBezTo>
                    <a:pt x="6069547" y="992797"/>
                    <a:pt x="6076117" y="963959"/>
                    <a:pt x="6089257" y="944399"/>
                  </a:cubicBezTo>
                  <a:cubicBezTo>
                    <a:pt x="6102398" y="924840"/>
                    <a:pt x="6121355" y="915060"/>
                    <a:pt x="6146131" y="915060"/>
                  </a:cubicBezTo>
                  <a:close/>
                  <a:moveTo>
                    <a:pt x="5929621" y="915060"/>
                  </a:moveTo>
                  <a:cubicBezTo>
                    <a:pt x="5977065" y="915060"/>
                    <a:pt x="6000789" y="951923"/>
                    <a:pt x="6000789" y="1025647"/>
                  </a:cubicBezTo>
                  <a:cubicBezTo>
                    <a:pt x="6000789" y="1062159"/>
                    <a:pt x="5994092" y="1090019"/>
                    <a:pt x="5980702" y="1109227"/>
                  </a:cubicBezTo>
                  <a:cubicBezTo>
                    <a:pt x="5967310" y="1128435"/>
                    <a:pt x="5948579" y="1138040"/>
                    <a:pt x="5924506" y="1138040"/>
                  </a:cubicBezTo>
                  <a:cubicBezTo>
                    <a:pt x="5902036" y="1138040"/>
                    <a:pt x="5884508" y="1128862"/>
                    <a:pt x="5871919" y="1110506"/>
                  </a:cubicBezTo>
                  <a:cubicBezTo>
                    <a:pt x="5859331" y="1092150"/>
                    <a:pt x="5853037" y="1065619"/>
                    <a:pt x="5853037" y="1030914"/>
                  </a:cubicBezTo>
                  <a:cubicBezTo>
                    <a:pt x="5853037" y="992797"/>
                    <a:pt x="5859608" y="963959"/>
                    <a:pt x="5872748" y="944399"/>
                  </a:cubicBezTo>
                  <a:cubicBezTo>
                    <a:pt x="5885887" y="924840"/>
                    <a:pt x="5904846" y="915060"/>
                    <a:pt x="5929621" y="915060"/>
                  </a:cubicBezTo>
                  <a:close/>
                  <a:moveTo>
                    <a:pt x="5705513" y="915060"/>
                  </a:moveTo>
                  <a:cubicBezTo>
                    <a:pt x="5752958" y="915060"/>
                    <a:pt x="5776681" y="951923"/>
                    <a:pt x="5776681" y="1025647"/>
                  </a:cubicBezTo>
                  <a:cubicBezTo>
                    <a:pt x="5776681" y="1062159"/>
                    <a:pt x="5769985" y="1090019"/>
                    <a:pt x="5756596" y="1109227"/>
                  </a:cubicBezTo>
                  <a:cubicBezTo>
                    <a:pt x="5743203" y="1128435"/>
                    <a:pt x="5724471" y="1138040"/>
                    <a:pt x="5700399" y="1138040"/>
                  </a:cubicBezTo>
                  <a:cubicBezTo>
                    <a:pt x="5677929" y="1138040"/>
                    <a:pt x="5660402" y="1128862"/>
                    <a:pt x="5647813" y="1110506"/>
                  </a:cubicBezTo>
                  <a:cubicBezTo>
                    <a:pt x="5635224" y="1092150"/>
                    <a:pt x="5628930" y="1065619"/>
                    <a:pt x="5628930" y="1030914"/>
                  </a:cubicBezTo>
                  <a:cubicBezTo>
                    <a:pt x="5628930" y="992797"/>
                    <a:pt x="5635500" y="963959"/>
                    <a:pt x="5648641" y="944399"/>
                  </a:cubicBezTo>
                  <a:cubicBezTo>
                    <a:pt x="5661780" y="924840"/>
                    <a:pt x="5680739" y="915060"/>
                    <a:pt x="5705513" y="915060"/>
                  </a:cubicBezTo>
                  <a:close/>
                  <a:moveTo>
                    <a:pt x="5548234" y="915060"/>
                  </a:moveTo>
                  <a:lnTo>
                    <a:pt x="5563142" y="915060"/>
                  </a:lnTo>
                  <a:lnTo>
                    <a:pt x="5563142" y="1138040"/>
                  </a:lnTo>
                  <a:lnTo>
                    <a:pt x="5527853" y="1138040"/>
                  </a:lnTo>
                  <a:lnTo>
                    <a:pt x="5527853" y="958257"/>
                  </a:lnTo>
                  <a:cubicBezTo>
                    <a:pt x="5521465" y="962820"/>
                    <a:pt x="5514594" y="966698"/>
                    <a:pt x="5507244" y="969892"/>
                  </a:cubicBezTo>
                  <a:cubicBezTo>
                    <a:pt x="5499891" y="973087"/>
                    <a:pt x="5491500" y="975900"/>
                    <a:pt x="5482071" y="978334"/>
                  </a:cubicBezTo>
                  <a:lnTo>
                    <a:pt x="5482071" y="948218"/>
                  </a:lnTo>
                  <a:cubicBezTo>
                    <a:pt x="5487951" y="946292"/>
                    <a:pt x="5493629" y="944263"/>
                    <a:pt x="5499105" y="942134"/>
                  </a:cubicBezTo>
                  <a:cubicBezTo>
                    <a:pt x="5504581" y="940005"/>
                    <a:pt x="5509980" y="937621"/>
                    <a:pt x="5515305" y="934985"/>
                  </a:cubicBezTo>
                  <a:cubicBezTo>
                    <a:pt x="5520627" y="932349"/>
                    <a:pt x="5526002" y="929408"/>
                    <a:pt x="5531426" y="926163"/>
                  </a:cubicBezTo>
                  <a:cubicBezTo>
                    <a:pt x="5536852" y="922919"/>
                    <a:pt x="5542454" y="919217"/>
                    <a:pt x="5548234" y="915060"/>
                  </a:cubicBezTo>
                  <a:close/>
                  <a:moveTo>
                    <a:pt x="5250520" y="915060"/>
                  </a:moveTo>
                  <a:lnTo>
                    <a:pt x="5265426" y="915060"/>
                  </a:lnTo>
                  <a:lnTo>
                    <a:pt x="5265426" y="1138040"/>
                  </a:lnTo>
                  <a:lnTo>
                    <a:pt x="5230139" y="1138040"/>
                  </a:lnTo>
                  <a:lnTo>
                    <a:pt x="5230139" y="958257"/>
                  </a:lnTo>
                  <a:cubicBezTo>
                    <a:pt x="5223751" y="962820"/>
                    <a:pt x="5216882" y="966698"/>
                    <a:pt x="5209528" y="969892"/>
                  </a:cubicBezTo>
                  <a:cubicBezTo>
                    <a:pt x="5202178" y="973087"/>
                    <a:pt x="5193787" y="975900"/>
                    <a:pt x="5184357" y="978334"/>
                  </a:cubicBezTo>
                  <a:lnTo>
                    <a:pt x="5184357" y="948218"/>
                  </a:lnTo>
                  <a:cubicBezTo>
                    <a:pt x="5190238" y="946292"/>
                    <a:pt x="5195916" y="944263"/>
                    <a:pt x="5201391" y="942134"/>
                  </a:cubicBezTo>
                  <a:cubicBezTo>
                    <a:pt x="5206868" y="940005"/>
                    <a:pt x="5212267" y="937621"/>
                    <a:pt x="5217590" y="934985"/>
                  </a:cubicBezTo>
                  <a:cubicBezTo>
                    <a:pt x="5222914" y="932349"/>
                    <a:pt x="5228288" y="929408"/>
                    <a:pt x="5233712" y="926163"/>
                  </a:cubicBezTo>
                  <a:cubicBezTo>
                    <a:pt x="5239139" y="922919"/>
                    <a:pt x="5244741" y="919217"/>
                    <a:pt x="5250520" y="915060"/>
                  </a:cubicBezTo>
                  <a:close/>
                  <a:moveTo>
                    <a:pt x="4875775" y="915060"/>
                  </a:moveTo>
                  <a:lnTo>
                    <a:pt x="4890681" y="915060"/>
                  </a:lnTo>
                  <a:lnTo>
                    <a:pt x="4890681" y="1138040"/>
                  </a:lnTo>
                  <a:lnTo>
                    <a:pt x="4855393" y="1138040"/>
                  </a:lnTo>
                  <a:lnTo>
                    <a:pt x="4855393" y="958257"/>
                  </a:lnTo>
                  <a:cubicBezTo>
                    <a:pt x="4849005" y="962820"/>
                    <a:pt x="4842135" y="966698"/>
                    <a:pt x="4834784" y="969892"/>
                  </a:cubicBezTo>
                  <a:cubicBezTo>
                    <a:pt x="4827432" y="973087"/>
                    <a:pt x="4819042" y="975900"/>
                    <a:pt x="4809611" y="978334"/>
                  </a:cubicBezTo>
                  <a:lnTo>
                    <a:pt x="4809611" y="948218"/>
                  </a:lnTo>
                  <a:cubicBezTo>
                    <a:pt x="4815492" y="946292"/>
                    <a:pt x="4821170" y="944263"/>
                    <a:pt x="4826646" y="942134"/>
                  </a:cubicBezTo>
                  <a:cubicBezTo>
                    <a:pt x="4832122" y="940005"/>
                    <a:pt x="4837521" y="937621"/>
                    <a:pt x="4842846" y="934985"/>
                  </a:cubicBezTo>
                  <a:cubicBezTo>
                    <a:pt x="4848168" y="932349"/>
                    <a:pt x="4853543" y="929408"/>
                    <a:pt x="4858968" y="926163"/>
                  </a:cubicBezTo>
                  <a:cubicBezTo>
                    <a:pt x="4864393" y="922919"/>
                    <a:pt x="4869995" y="919217"/>
                    <a:pt x="4875775" y="915060"/>
                  </a:cubicBezTo>
                  <a:close/>
                  <a:moveTo>
                    <a:pt x="4732167" y="915060"/>
                  </a:moveTo>
                  <a:lnTo>
                    <a:pt x="4747074" y="915060"/>
                  </a:lnTo>
                  <a:lnTo>
                    <a:pt x="4747074" y="1138040"/>
                  </a:lnTo>
                  <a:lnTo>
                    <a:pt x="4711785" y="1138040"/>
                  </a:lnTo>
                  <a:lnTo>
                    <a:pt x="4711785" y="958257"/>
                  </a:lnTo>
                  <a:cubicBezTo>
                    <a:pt x="4705398" y="962820"/>
                    <a:pt x="4698527" y="966698"/>
                    <a:pt x="4691176" y="969892"/>
                  </a:cubicBezTo>
                  <a:cubicBezTo>
                    <a:pt x="4683824" y="973087"/>
                    <a:pt x="4675433" y="975900"/>
                    <a:pt x="4666003" y="978334"/>
                  </a:cubicBezTo>
                  <a:lnTo>
                    <a:pt x="4666003" y="948218"/>
                  </a:lnTo>
                  <a:cubicBezTo>
                    <a:pt x="4671884" y="946292"/>
                    <a:pt x="4677562" y="944263"/>
                    <a:pt x="4683038" y="942134"/>
                  </a:cubicBezTo>
                  <a:cubicBezTo>
                    <a:pt x="4688514" y="940005"/>
                    <a:pt x="4693913" y="937621"/>
                    <a:pt x="4699238" y="934985"/>
                  </a:cubicBezTo>
                  <a:cubicBezTo>
                    <a:pt x="4704560" y="932349"/>
                    <a:pt x="4709935" y="929408"/>
                    <a:pt x="4715360" y="926163"/>
                  </a:cubicBezTo>
                  <a:cubicBezTo>
                    <a:pt x="4720786" y="922919"/>
                    <a:pt x="4726387" y="919217"/>
                    <a:pt x="4732167" y="915060"/>
                  </a:cubicBezTo>
                  <a:close/>
                  <a:moveTo>
                    <a:pt x="4588559" y="915060"/>
                  </a:moveTo>
                  <a:lnTo>
                    <a:pt x="4603466" y="915060"/>
                  </a:lnTo>
                  <a:lnTo>
                    <a:pt x="4603466" y="1138040"/>
                  </a:lnTo>
                  <a:lnTo>
                    <a:pt x="4568177" y="1138040"/>
                  </a:lnTo>
                  <a:lnTo>
                    <a:pt x="4568177" y="958257"/>
                  </a:lnTo>
                  <a:cubicBezTo>
                    <a:pt x="4561790" y="962820"/>
                    <a:pt x="4554919" y="966698"/>
                    <a:pt x="4547568" y="969892"/>
                  </a:cubicBezTo>
                  <a:cubicBezTo>
                    <a:pt x="4540216" y="973087"/>
                    <a:pt x="4531825" y="975900"/>
                    <a:pt x="4522395" y="978334"/>
                  </a:cubicBezTo>
                  <a:lnTo>
                    <a:pt x="4522395" y="948218"/>
                  </a:lnTo>
                  <a:cubicBezTo>
                    <a:pt x="4528276" y="946292"/>
                    <a:pt x="4533954" y="944263"/>
                    <a:pt x="4539430" y="942134"/>
                  </a:cubicBezTo>
                  <a:cubicBezTo>
                    <a:pt x="4544906" y="940005"/>
                    <a:pt x="4550306" y="937621"/>
                    <a:pt x="4555630" y="934985"/>
                  </a:cubicBezTo>
                  <a:cubicBezTo>
                    <a:pt x="4560952" y="932349"/>
                    <a:pt x="4566328" y="929408"/>
                    <a:pt x="4571752" y="926163"/>
                  </a:cubicBezTo>
                  <a:cubicBezTo>
                    <a:pt x="4577178" y="922919"/>
                    <a:pt x="4582779" y="919217"/>
                    <a:pt x="4588559" y="915060"/>
                  </a:cubicBezTo>
                  <a:close/>
                  <a:moveTo>
                    <a:pt x="4444951" y="915060"/>
                  </a:moveTo>
                  <a:lnTo>
                    <a:pt x="4459858" y="915060"/>
                  </a:lnTo>
                  <a:lnTo>
                    <a:pt x="4459858" y="1138040"/>
                  </a:lnTo>
                  <a:lnTo>
                    <a:pt x="4424569" y="1138040"/>
                  </a:lnTo>
                  <a:lnTo>
                    <a:pt x="4424569" y="958257"/>
                  </a:lnTo>
                  <a:cubicBezTo>
                    <a:pt x="4418182" y="962820"/>
                    <a:pt x="4411311" y="966698"/>
                    <a:pt x="4403960" y="969892"/>
                  </a:cubicBezTo>
                  <a:cubicBezTo>
                    <a:pt x="4396608" y="973087"/>
                    <a:pt x="4388217" y="975900"/>
                    <a:pt x="4378788" y="978334"/>
                  </a:cubicBezTo>
                  <a:lnTo>
                    <a:pt x="4378788" y="948218"/>
                  </a:lnTo>
                  <a:cubicBezTo>
                    <a:pt x="4384669" y="946292"/>
                    <a:pt x="4390346" y="944263"/>
                    <a:pt x="4395823" y="942134"/>
                  </a:cubicBezTo>
                  <a:cubicBezTo>
                    <a:pt x="4401298" y="940005"/>
                    <a:pt x="4406697" y="937621"/>
                    <a:pt x="4412022" y="934985"/>
                  </a:cubicBezTo>
                  <a:cubicBezTo>
                    <a:pt x="4417345" y="932349"/>
                    <a:pt x="4422719" y="929408"/>
                    <a:pt x="4428144" y="926163"/>
                  </a:cubicBezTo>
                  <a:cubicBezTo>
                    <a:pt x="4433570" y="922919"/>
                    <a:pt x="4439171" y="919217"/>
                    <a:pt x="4444951" y="915060"/>
                  </a:cubicBezTo>
                  <a:close/>
                  <a:moveTo>
                    <a:pt x="3704782" y="915060"/>
                  </a:moveTo>
                  <a:lnTo>
                    <a:pt x="3719687" y="915060"/>
                  </a:lnTo>
                  <a:lnTo>
                    <a:pt x="3719687" y="1138040"/>
                  </a:lnTo>
                  <a:lnTo>
                    <a:pt x="3684398" y="1138040"/>
                  </a:lnTo>
                  <a:lnTo>
                    <a:pt x="3684398" y="958257"/>
                  </a:lnTo>
                  <a:cubicBezTo>
                    <a:pt x="3678012" y="962820"/>
                    <a:pt x="3671142" y="966698"/>
                    <a:pt x="3663791" y="969892"/>
                  </a:cubicBezTo>
                  <a:cubicBezTo>
                    <a:pt x="3656439" y="973087"/>
                    <a:pt x="3648047" y="975900"/>
                    <a:pt x="3638618" y="978334"/>
                  </a:cubicBezTo>
                  <a:lnTo>
                    <a:pt x="3638618" y="948218"/>
                  </a:lnTo>
                  <a:cubicBezTo>
                    <a:pt x="3644499" y="946292"/>
                    <a:pt x="3650177" y="944263"/>
                    <a:pt x="3655653" y="942134"/>
                  </a:cubicBezTo>
                  <a:cubicBezTo>
                    <a:pt x="3661128" y="940005"/>
                    <a:pt x="3666528" y="937621"/>
                    <a:pt x="3671852" y="934985"/>
                  </a:cubicBezTo>
                  <a:cubicBezTo>
                    <a:pt x="3677175" y="932349"/>
                    <a:pt x="3682550" y="929408"/>
                    <a:pt x="3687974" y="926163"/>
                  </a:cubicBezTo>
                  <a:cubicBezTo>
                    <a:pt x="3693400" y="922919"/>
                    <a:pt x="3699002" y="919217"/>
                    <a:pt x="3704782" y="915060"/>
                  </a:cubicBezTo>
                  <a:close/>
                  <a:moveTo>
                    <a:pt x="3555925" y="915060"/>
                  </a:moveTo>
                  <a:lnTo>
                    <a:pt x="3570831" y="915060"/>
                  </a:lnTo>
                  <a:lnTo>
                    <a:pt x="3570831" y="1138040"/>
                  </a:lnTo>
                  <a:lnTo>
                    <a:pt x="3535543" y="1138040"/>
                  </a:lnTo>
                  <a:lnTo>
                    <a:pt x="3535543" y="958257"/>
                  </a:lnTo>
                  <a:cubicBezTo>
                    <a:pt x="3529155" y="962820"/>
                    <a:pt x="3522285" y="966698"/>
                    <a:pt x="3514934" y="969892"/>
                  </a:cubicBezTo>
                  <a:cubicBezTo>
                    <a:pt x="3507582" y="973087"/>
                    <a:pt x="3499191" y="975900"/>
                    <a:pt x="3489761" y="978334"/>
                  </a:cubicBezTo>
                  <a:lnTo>
                    <a:pt x="3489761" y="948218"/>
                  </a:lnTo>
                  <a:cubicBezTo>
                    <a:pt x="3495642" y="946292"/>
                    <a:pt x="3501321" y="944263"/>
                    <a:pt x="3506796" y="942134"/>
                  </a:cubicBezTo>
                  <a:cubicBezTo>
                    <a:pt x="3512272" y="940005"/>
                    <a:pt x="3517671" y="937621"/>
                    <a:pt x="3522995" y="934985"/>
                  </a:cubicBezTo>
                  <a:cubicBezTo>
                    <a:pt x="3528319" y="932349"/>
                    <a:pt x="3533692" y="929408"/>
                    <a:pt x="3539117" y="926163"/>
                  </a:cubicBezTo>
                  <a:cubicBezTo>
                    <a:pt x="3544543" y="922919"/>
                    <a:pt x="3550145" y="919217"/>
                    <a:pt x="3555925" y="915060"/>
                  </a:cubicBezTo>
                  <a:close/>
                  <a:moveTo>
                    <a:pt x="2751256" y="915060"/>
                  </a:moveTo>
                  <a:lnTo>
                    <a:pt x="2766162" y="915060"/>
                  </a:lnTo>
                  <a:lnTo>
                    <a:pt x="2766162" y="1138040"/>
                  </a:lnTo>
                  <a:lnTo>
                    <a:pt x="2730875" y="1138040"/>
                  </a:lnTo>
                  <a:lnTo>
                    <a:pt x="2730875" y="958257"/>
                  </a:lnTo>
                  <a:cubicBezTo>
                    <a:pt x="2724487" y="962820"/>
                    <a:pt x="2717616" y="966698"/>
                    <a:pt x="2710265" y="969892"/>
                  </a:cubicBezTo>
                  <a:cubicBezTo>
                    <a:pt x="2702913" y="973087"/>
                    <a:pt x="2694523" y="975900"/>
                    <a:pt x="2685092" y="978334"/>
                  </a:cubicBezTo>
                  <a:lnTo>
                    <a:pt x="2685092" y="948218"/>
                  </a:lnTo>
                  <a:cubicBezTo>
                    <a:pt x="2690974" y="946292"/>
                    <a:pt x="2696652" y="944263"/>
                    <a:pt x="2702128" y="942134"/>
                  </a:cubicBezTo>
                  <a:cubicBezTo>
                    <a:pt x="2707602" y="940005"/>
                    <a:pt x="2713003" y="937621"/>
                    <a:pt x="2718327" y="934985"/>
                  </a:cubicBezTo>
                  <a:cubicBezTo>
                    <a:pt x="2723651" y="932349"/>
                    <a:pt x="2729024" y="929408"/>
                    <a:pt x="2734449" y="926163"/>
                  </a:cubicBezTo>
                  <a:cubicBezTo>
                    <a:pt x="2739874" y="922919"/>
                    <a:pt x="2745476" y="919217"/>
                    <a:pt x="2751256" y="915060"/>
                  </a:cubicBezTo>
                  <a:close/>
                  <a:moveTo>
                    <a:pt x="2358497" y="915060"/>
                  </a:moveTo>
                  <a:lnTo>
                    <a:pt x="2373404" y="915060"/>
                  </a:lnTo>
                  <a:lnTo>
                    <a:pt x="2373404" y="1138040"/>
                  </a:lnTo>
                  <a:lnTo>
                    <a:pt x="2338116" y="1138040"/>
                  </a:lnTo>
                  <a:lnTo>
                    <a:pt x="2338116" y="958257"/>
                  </a:lnTo>
                  <a:cubicBezTo>
                    <a:pt x="2331728" y="962820"/>
                    <a:pt x="2324858" y="966698"/>
                    <a:pt x="2317506" y="969892"/>
                  </a:cubicBezTo>
                  <a:cubicBezTo>
                    <a:pt x="2310154" y="973087"/>
                    <a:pt x="2301764" y="975900"/>
                    <a:pt x="2292334" y="978334"/>
                  </a:cubicBezTo>
                  <a:lnTo>
                    <a:pt x="2292334" y="948218"/>
                  </a:lnTo>
                  <a:cubicBezTo>
                    <a:pt x="2298215" y="946292"/>
                    <a:pt x="2303893" y="944263"/>
                    <a:pt x="2309369" y="942134"/>
                  </a:cubicBezTo>
                  <a:cubicBezTo>
                    <a:pt x="2314844" y="940005"/>
                    <a:pt x="2320244" y="937621"/>
                    <a:pt x="2325567" y="934985"/>
                  </a:cubicBezTo>
                  <a:cubicBezTo>
                    <a:pt x="2330891" y="932349"/>
                    <a:pt x="2336265" y="929408"/>
                    <a:pt x="2341689" y="926163"/>
                  </a:cubicBezTo>
                  <a:cubicBezTo>
                    <a:pt x="2347115" y="922919"/>
                    <a:pt x="2352717" y="919217"/>
                    <a:pt x="2358497" y="915060"/>
                  </a:cubicBezTo>
                  <a:close/>
                  <a:moveTo>
                    <a:pt x="2214890" y="915060"/>
                  </a:moveTo>
                  <a:lnTo>
                    <a:pt x="2229796" y="915060"/>
                  </a:lnTo>
                  <a:lnTo>
                    <a:pt x="2229796" y="1138040"/>
                  </a:lnTo>
                  <a:lnTo>
                    <a:pt x="2194508" y="1138040"/>
                  </a:lnTo>
                  <a:lnTo>
                    <a:pt x="2194508" y="958257"/>
                  </a:lnTo>
                  <a:cubicBezTo>
                    <a:pt x="2188120" y="962820"/>
                    <a:pt x="2181250" y="966698"/>
                    <a:pt x="2173898" y="969892"/>
                  </a:cubicBezTo>
                  <a:cubicBezTo>
                    <a:pt x="2166547" y="973087"/>
                    <a:pt x="2158155" y="975900"/>
                    <a:pt x="2148726" y="978334"/>
                  </a:cubicBezTo>
                  <a:lnTo>
                    <a:pt x="2148726" y="948218"/>
                  </a:lnTo>
                  <a:cubicBezTo>
                    <a:pt x="2154607" y="946292"/>
                    <a:pt x="2160285" y="944263"/>
                    <a:pt x="2165760" y="942134"/>
                  </a:cubicBezTo>
                  <a:cubicBezTo>
                    <a:pt x="2171237" y="940005"/>
                    <a:pt x="2176635" y="937621"/>
                    <a:pt x="2181960" y="934985"/>
                  </a:cubicBezTo>
                  <a:cubicBezTo>
                    <a:pt x="2187283" y="932349"/>
                    <a:pt x="2192657" y="929408"/>
                    <a:pt x="2198082" y="926163"/>
                  </a:cubicBezTo>
                  <a:cubicBezTo>
                    <a:pt x="2203507" y="922919"/>
                    <a:pt x="2209108" y="919217"/>
                    <a:pt x="2214890" y="915060"/>
                  </a:cubicBezTo>
                  <a:close/>
                  <a:moveTo>
                    <a:pt x="2071281" y="915060"/>
                  </a:moveTo>
                  <a:lnTo>
                    <a:pt x="2086188" y="915060"/>
                  </a:lnTo>
                  <a:lnTo>
                    <a:pt x="2086188" y="1138040"/>
                  </a:lnTo>
                  <a:lnTo>
                    <a:pt x="2050900" y="1138040"/>
                  </a:lnTo>
                  <a:lnTo>
                    <a:pt x="2050900" y="958257"/>
                  </a:lnTo>
                  <a:cubicBezTo>
                    <a:pt x="2044512" y="962820"/>
                    <a:pt x="2037643" y="966698"/>
                    <a:pt x="2030290" y="969892"/>
                  </a:cubicBezTo>
                  <a:cubicBezTo>
                    <a:pt x="2022939" y="973087"/>
                    <a:pt x="2014548" y="975900"/>
                    <a:pt x="2005118" y="978334"/>
                  </a:cubicBezTo>
                  <a:lnTo>
                    <a:pt x="2005118" y="948218"/>
                  </a:lnTo>
                  <a:cubicBezTo>
                    <a:pt x="2010999" y="946292"/>
                    <a:pt x="2016678" y="944263"/>
                    <a:pt x="2022153" y="942134"/>
                  </a:cubicBezTo>
                  <a:cubicBezTo>
                    <a:pt x="2027629" y="940005"/>
                    <a:pt x="2033029" y="937621"/>
                    <a:pt x="2038351" y="934985"/>
                  </a:cubicBezTo>
                  <a:cubicBezTo>
                    <a:pt x="2043676" y="932349"/>
                    <a:pt x="2049050" y="929408"/>
                    <a:pt x="2054473" y="926163"/>
                  </a:cubicBezTo>
                  <a:cubicBezTo>
                    <a:pt x="2059899" y="922919"/>
                    <a:pt x="2065501" y="919217"/>
                    <a:pt x="2071281" y="915060"/>
                  </a:cubicBezTo>
                  <a:close/>
                  <a:moveTo>
                    <a:pt x="1927674" y="915060"/>
                  </a:moveTo>
                  <a:lnTo>
                    <a:pt x="1942580" y="915060"/>
                  </a:lnTo>
                  <a:lnTo>
                    <a:pt x="1942580" y="1138040"/>
                  </a:lnTo>
                  <a:lnTo>
                    <a:pt x="1907293" y="1138040"/>
                  </a:lnTo>
                  <a:lnTo>
                    <a:pt x="1907293" y="958257"/>
                  </a:lnTo>
                  <a:cubicBezTo>
                    <a:pt x="1900905" y="962820"/>
                    <a:pt x="1894034" y="966698"/>
                    <a:pt x="1886683" y="969892"/>
                  </a:cubicBezTo>
                  <a:cubicBezTo>
                    <a:pt x="1879331" y="973087"/>
                    <a:pt x="1870941" y="975900"/>
                    <a:pt x="1861510" y="978334"/>
                  </a:cubicBezTo>
                  <a:lnTo>
                    <a:pt x="1861510" y="948218"/>
                  </a:lnTo>
                  <a:cubicBezTo>
                    <a:pt x="1867392" y="946292"/>
                    <a:pt x="1873070" y="944263"/>
                    <a:pt x="1878546" y="942134"/>
                  </a:cubicBezTo>
                  <a:cubicBezTo>
                    <a:pt x="1884021" y="940005"/>
                    <a:pt x="1889421" y="937621"/>
                    <a:pt x="1894745" y="934985"/>
                  </a:cubicBezTo>
                  <a:cubicBezTo>
                    <a:pt x="1900069" y="932349"/>
                    <a:pt x="1905442" y="929408"/>
                    <a:pt x="1910867" y="926163"/>
                  </a:cubicBezTo>
                  <a:cubicBezTo>
                    <a:pt x="1916293" y="922919"/>
                    <a:pt x="1921894" y="919217"/>
                    <a:pt x="1927674" y="915060"/>
                  </a:cubicBezTo>
                  <a:close/>
                  <a:moveTo>
                    <a:pt x="1784066" y="915060"/>
                  </a:moveTo>
                  <a:lnTo>
                    <a:pt x="1798972" y="915060"/>
                  </a:lnTo>
                  <a:lnTo>
                    <a:pt x="1798972" y="1138040"/>
                  </a:lnTo>
                  <a:lnTo>
                    <a:pt x="1763685" y="1138040"/>
                  </a:lnTo>
                  <a:lnTo>
                    <a:pt x="1763685" y="958257"/>
                  </a:lnTo>
                  <a:cubicBezTo>
                    <a:pt x="1757297" y="962820"/>
                    <a:pt x="1750427" y="966698"/>
                    <a:pt x="1743075" y="969892"/>
                  </a:cubicBezTo>
                  <a:cubicBezTo>
                    <a:pt x="1735724" y="973087"/>
                    <a:pt x="1727333" y="975900"/>
                    <a:pt x="1717902" y="978334"/>
                  </a:cubicBezTo>
                  <a:lnTo>
                    <a:pt x="1717902" y="948218"/>
                  </a:lnTo>
                  <a:cubicBezTo>
                    <a:pt x="1723784" y="946292"/>
                    <a:pt x="1729462" y="944263"/>
                    <a:pt x="1734938" y="942134"/>
                  </a:cubicBezTo>
                  <a:cubicBezTo>
                    <a:pt x="1740413" y="940005"/>
                    <a:pt x="1745813" y="937621"/>
                    <a:pt x="1751137" y="934985"/>
                  </a:cubicBezTo>
                  <a:cubicBezTo>
                    <a:pt x="1756460" y="932349"/>
                    <a:pt x="1761834" y="929408"/>
                    <a:pt x="1767259" y="926163"/>
                  </a:cubicBezTo>
                  <a:cubicBezTo>
                    <a:pt x="1772684" y="922919"/>
                    <a:pt x="1778286" y="919217"/>
                    <a:pt x="1784066" y="915060"/>
                  </a:cubicBezTo>
                  <a:close/>
                  <a:moveTo>
                    <a:pt x="1436368" y="915060"/>
                  </a:moveTo>
                  <a:lnTo>
                    <a:pt x="1451275" y="915060"/>
                  </a:lnTo>
                  <a:lnTo>
                    <a:pt x="1451275" y="1138040"/>
                  </a:lnTo>
                  <a:lnTo>
                    <a:pt x="1415987" y="1138040"/>
                  </a:lnTo>
                  <a:lnTo>
                    <a:pt x="1415987" y="958257"/>
                  </a:lnTo>
                  <a:cubicBezTo>
                    <a:pt x="1409599" y="962820"/>
                    <a:pt x="1402729" y="966698"/>
                    <a:pt x="1395377" y="969892"/>
                  </a:cubicBezTo>
                  <a:cubicBezTo>
                    <a:pt x="1388026" y="973087"/>
                    <a:pt x="1379635" y="975900"/>
                    <a:pt x="1370205" y="978334"/>
                  </a:cubicBezTo>
                  <a:lnTo>
                    <a:pt x="1370205" y="948218"/>
                  </a:lnTo>
                  <a:cubicBezTo>
                    <a:pt x="1376086" y="946292"/>
                    <a:pt x="1381764" y="944263"/>
                    <a:pt x="1387240" y="942134"/>
                  </a:cubicBezTo>
                  <a:cubicBezTo>
                    <a:pt x="1392714" y="940005"/>
                    <a:pt x="1398114" y="937621"/>
                    <a:pt x="1403439" y="934985"/>
                  </a:cubicBezTo>
                  <a:cubicBezTo>
                    <a:pt x="1408762" y="932349"/>
                    <a:pt x="1414136" y="929408"/>
                    <a:pt x="1419561" y="926163"/>
                  </a:cubicBezTo>
                  <a:cubicBezTo>
                    <a:pt x="1424986" y="922919"/>
                    <a:pt x="1430589" y="919217"/>
                    <a:pt x="1436368" y="915060"/>
                  </a:cubicBezTo>
                  <a:close/>
                  <a:moveTo>
                    <a:pt x="1138655" y="915060"/>
                  </a:moveTo>
                  <a:lnTo>
                    <a:pt x="1153561" y="915060"/>
                  </a:lnTo>
                  <a:lnTo>
                    <a:pt x="1153561" y="1138040"/>
                  </a:lnTo>
                  <a:lnTo>
                    <a:pt x="1118273" y="1138040"/>
                  </a:lnTo>
                  <a:lnTo>
                    <a:pt x="1118273" y="958257"/>
                  </a:lnTo>
                  <a:cubicBezTo>
                    <a:pt x="1111885" y="962820"/>
                    <a:pt x="1105015" y="966698"/>
                    <a:pt x="1097664" y="969892"/>
                  </a:cubicBezTo>
                  <a:cubicBezTo>
                    <a:pt x="1090312" y="973087"/>
                    <a:pt x="1081921" y="975900"/>
                    <a:pt x="1072491" y="978334"/>
                  </a:cubicBezTo>
                  <a:lnTo>
                    <a:pt x="1072491" y="948218"/>
                  </a:lnTo>
                  <a:cubicBezTo>
                    <a:pt x="1078372" y="946292"/>
                    <a:pt x="1084051" y="944263"/>
                    <a:pt x="1089526" y="942134"/>
                  </a:cubicBezTo>
                  <a:cubicBezTo>
                    <a:pt x="1095002" y="940005"/>
                    <a:pt x="1100402" y="937621"/>
                    <a:pt x="1105725" y="934985"/>
                  </a:cubicBezTo>
                  <a:cubicBezTo>
                    <a:pt x="1111049" y="932349"/>
                    <a:pt x="1116423" y="929408"/>
                    <a:pt x="1121848" y="926163"/>
                  </a:cubicBezTo>
                  <a:cubicBezTo>
                    <a:pt x="1127273" y="922919"/>
                    <a:pt x="1132875" y="919217"/>
                    <a:pt x="1138655" y="915060"/>
                  </a:cubicBezTo>
                  <a:close/>
                  <a:moveTo>
                    <a:pt x="927536" y="915060"/>
                  </a:moveTo>
                  <a:cubicBezTo>
                    <a:pt x="974980" y="915060"/>
                    <a:pt x="998703" y="951923"/>
                    <a:pt x="998703" y="1025647"/>
                  </a:cubicBezTo>
                  <a:cubicBezTo>
                    <a:pt x="998703" y="1062159"/>
                    <a:pt x="992008" y="1090019"/>
                    <a:pt x="978617" y="1109227"/>
                  </a:cubicBezTo>
                  <a:cubicBezTo>
                    <a:pt x="965226" y="1128435"/>
                    <a:pt x="946494" y="1138040"/>
                    <a:pt x="922421" y="1138040"/>
                  </a:cubicBezTo>
                  <a:cubicBezTo>
                    <a:pt x="899952" y="1138040"/>
                    <a:pt x="882424" y="1128862"/>
                    <a:pt x="869834" y="1110506"/>
                  </a:cubicBezTo>
                  <a:cubicBezTo>
                    <a:pt x="857247" y="1092150"/>
                    <a:pt x="850953" y="1065619"/>
                    <a:pt x="850953" y="1030914"/>
                  </a:cubicBezTo>
                  <a:cubicBezTo>
                    <a:pt x="850953" y="992797"/>
                    <a:pt x="857523" y="963959"/>
                    <a:pt x="870663" y="944399"/>
                  </a:cubicBezTo>
                  <a:cubicBezTo>
                    <a:pt x="883803" y="924840"/>
                    <a:pt x="902761" y="915060"/>
                    <a:pt x="927536" y="915060"/>
                  </a:cubicBezTo>
                  <a:close/>
                  <a:moveTo>
                    <a:pt x="711260" y="915060"/>
                  </a:moveTo>
                  <a:cubicBezTo>
                    <a:pt x="758705" y="915060"/>
                    <a:pt x="782427" y="951923"/>
                    <a:pt x="782427" y="1025647"/>
                  </a:cubicBezTo>
                  <a:cubicBezTo>
                    <a:pt x="782427" y="1062159"/>
                    <a:pt x="775731" y="1090019"/>
                    <a:pt x="762340" y="1109227"/>
                  </a:cubicBezTo>
                  <a:cubicBezTo>
                    <a:pt x="748950" y="1128435"/>
                    <a:pt x="730217" y="1138040"/>
                    <a:pt x="706145" y="1138040"/>
                  </a:cubicBezTo>
                  <a:cubicBezTo>
                    <a:pt x="683675" y="1138040"/>
                    <a:pt x="666148" y="1128862"/>
                    <a:pt x="653559" y="1110506"/>
                  </a:cubicBezTo>
                  <a:cubicBezTo>
                    <a:pt x="640971" y="1092150"/>
                    <a:pt x="634677" y="1065619"/>
                    <a:pt x="634677" y="1030914"/>
                  </a:cubicBezTo>
                  <a:cubicBezTo>
                    <a:pt x="634677" y="992797"/>
                    <a:pt x="641246" y="963959"/>
                    <a:pt x="654387" y="944399"/>
                  </a:cubicBezTo>
                  <a:cubicBezTo>
                    <a:pt x="667527" y="924840"/>
                    <a:pt x="686485" y="915060"/>
                    <a:pt x="711260" y="915060"/>
                  </a:cubicBezTo>
                  <a:close/>
                  <a:moveTo>
                    <a:pt x="563127" y="915060"/>
                  </a:moveTo>
                  <a:lnTo>
                    <a:pt x="578034" y="915060"/>
                  </a:lnTo>
                  <a:lnTo>
                    <a:pt x="578034" y="1138040"/>
                  </a:lnTo>
                  <a:lnTo>
                    <a:pt x="542746" y="1138040"/>
                  </a:lnTo>
                  <a:lnTo>
                    <a:pt x="542746" y="958257"/>
                  </a:lnTo>
                  <a:cubicBezTo>
                    <a:pt x="536358" y="962820"/>
                    <a:pt x="529488" y="966698"/>
                    <a:pt x="522136" y="969892"/>
                  </a:cubicBezTo>
                  <a:cubicBezTo>
                    <a:pt x="514785" y="973087"/>
                    <a:pt x="506393" y="975900"/>
                    <a:pt x="496964" y="978334"/>
                  </a:cubicBezTo>
                  <a:lnTo>
                    <a:pt x="496964" y="948218"/>
                  </a:lnTo>
                  <a:cubicBezTo>
                    <a:pt x="502845" y="946292"/>
                    <a:pt x="508524" y="944263"/>
                    <a:pt x="513999" y="942134"/>
                  </a:cubicBezTo>
                  <a:cubicBezTo>
                    <a:pt x="519475" y="940005"/>
                    <a:pt x="524874" y="937621"/>
                    <a:pt x="530198" y="934985"/>
                  </a:cubicBezTo>
                  <a:cubicBezTo>
                    <a:pt x="535521" y="932349"/>
                    <a:pt x="540896" y="929408"/>
                    <a:pt x="546320" y="926163"/>
                  </a:cubicBezTo>
                  <a:cubicBezTo>
                    <a:pt x="551745" y="922919"/>
                    <a:pt x="557348" y="919217"/>
                    <a:pt x="563127" y="915060"/>
                  </a:cubicBezTo>
                  <a:close/>
                  <a:moveTo>
                    <a:pt x="265414" y="915060"/>
                  </a:moveTo>
                  <a:lnTo>
                    <a:pt x="280319" y="915060"/>
                  </a:lnTo>
                  <a:lnTo>
                    <a:pt x="280319" y="1138040"/>
                  </a:lnTo>
                  <a:lnTo>
                    <a:pt x="245032" y="1138040"/>
                  </a:lnTo>
                  <a:lnTo>
                    <a:pt x="245032" y="958257"/>
                  </a:lnTo>
                  <a:cubicBezTo>
                    <a:pt x="238644" y="962820"/>
                    <a:pt x="231774" y="966698"/>
                    <a:pt x="224423" y="969892"/>
                  </a:cubicBezTo>
                  <a:cubicBezTo>
                    <a:pt x="217071" y="973087"/>
                    <a:pt x="208681" y="975900"/>
                    <a:pt x="199250" y="978334"/>
                  </a:cubicBezTo>
                  <a:lnTo>
                    <a:pt x="199250" y="948218"/>
                  </a:lnTo>
                  <a:cubicBezTo>
                    <a:pt x="205131" y="946292"/>
                    <a:pt x="210810" y="944263"/>
                    <a:pt x="216284" y="942134"/>
                  </a:cubicBezTo>
                  <a:cubicBezTo>
                    <a:pt x="221761" y="940005"/>
                    <a:pt x="227161" y="937621"/>
                    <a:pt x="232483" y="934985"/>
                  </a:cubicBezTo>
                  <a:cubicBezTo>
                    <a:pt x="237808" y="932349"/>
                    <a:pt x="243181" y="929408"/>
                    <a:pt x="248607" y="926163"/>
                  </a:cubicBezTo>
                  <a:cubicBezTo>
                    <a:pt x="254032" y="922919"/>
                    <a:pt x="259634" y="919217"/>
                    <a:pt x="265414" y="915060"/>
                  </a:cubicBezTo>
                  <a:close/>
                  <a:moveTo>
                    <a:pt x="89653" y="915060"/>
                  </a:moveTo>
                  <a:cubicBezTo>
                    <a:pt x="137098" y="915060"/>
                    <a:pt x="160821" y="951923"/>
                    <a:pt x="160821" y="1025647"/>
                  </a:cubicBezTo>
                  <a:cubicBezTo>
                    <a:pt x="160821" y="1062159"/>
                    <a:pt x="154125" y="1090019"/>
                    <a:pt x="140735" y="1109227"/>
                  </a:cubicBezTo>
                  <a:cubicBezTo>
                    <a:pt x="127344" y="1128435"/>
                    <a:pt x="108612" y="1138040"/>
                    <a:pt x="84538" y="1138040"/>
                  </a:cubicBezTo>
                  <a:cubicBezTo>
                    <a:pt x="62070" y="1138040"/>
                    <a:pt x="44541" y="1128862"/>
                    <a:pt x="31953" y="1110506"/>
                  </a:cubicBezTo>
                  <a:cubicBezTo>
                    <a:pt x="19364" y="1092150"/>
                    <a:pt x="13070" y="1065619"/>
                    <a:pt x="13070" y="1030914"/>
                  </a:cubicBezTo>
                  <a:cubicBezTo>
                    <a:pt x="13070" y="992797"/>
                    <a:pt x="19640" y="963959"/>
                    <a:pt x="32780" y="944399"/>
                  </a:cubicBezTo>
                  <a:cubicBezTo>
                    <a:pt x="45921" y="924840"/>
                    <a:pt x="64878" y="915060"/>
                    <a:pt x="89653" y="915060"/>
                  </a:cubicBezTo>
                  <a:close/>
                  <a:moveTo>
                    <a:pt x="9143281" y="660590"/>
                  </a:moveTo>
                  <a:cubicBezTo>
                    <a:pt x="9117101" y="660590"/>
                    <a:pt x="9104011" y="689428"/>
                    <a:pt x="9104011" y="747104"/>
                  </a:cubicBezTo>
                  <a:cubicBezTo>
                    <a:pt x="9104011" y="801068"/>
                    <a:pt x="9116850" y="828051"/>
                    <a:pt x="9142529" y="828051"/>
                  </a:cubicBezTo>
                  <a:cubicBezTo>
                    <a:pt x="9167805" y="828051"/>
                    <a:pt x="9180444" y="800617"/>
                    <a:pt x="9180444" y="745750"/>
                  </a:cubicBezTo>
                  <a:cubicBezTo>
                    <a:pt x="9180444" y="688976"/>
                    <a:pt x="9168056" y="660590"/>
                    <a:pt x="9143281" y="660590"/>
                  </a:cubicBezTo>
                  <a:close/>
                  <a:moveTo>
                    <a:pt x="8801524" y="660590"/>
                  </a:moveTo>
                  <a:cubicBezTo>
                    <a:pt x="8775344" y="660590"/>
                    <a:pt x="8762254" y="689428"/>
                    <a:pt x="8762254" y="747104"/>
                  </a:cubicBezTo>
                  <a:cubicBezTo>
                    <a:pt x="8762254" y="801068"/>
                    <a:pt x="8775093" y="828051"/>
                    <a:pt x="8800772" y="828051"/>
                  </a:cubicBezTo>
                  <a:cubicBezTo>
                    <a:pt x="8826048" y="828051"/>
                    <a:pt x="8838687" y="800617"/>
                    <a:pt x="8838687" y="745750"/>
                  </a:cubicBezTo>
                  <a:cubicBezTo>
                    <a:pt x="8838687" y="688976"/>
                    <a:pt x="8826299" y="660590"/>
                    <a:pt x="8801524" y="660590"/>
                  </a:cubicBezTo>
                  <a:close/>
                  <a:moveTo>
                    <a:pt x="8100122" y="660590"/>
                  </a:moveTo>
                  <a:cubicBezTo>
                    <a:pt x="8073942" y="660590"/>
                    <a:pt x="8060852" y="689428"/>
                    <a:pt x="8060852" y="747104"/>
                  </a:cubicBezTo>
                  <a:cubicBezTo>
                    <a:pt x="8060852" y="801068"/>
                    <a:pt x="8073691" y="828051"/>
                    <a:pt x="8099370" y="828051"/>
                  </a:cubicBezTo>
                  <a:cubicBezTo>
                    <a:pt x="8124647" y="828051"/>
                    <a:pt x="8137285" y="800617"/>
                    <a:pt x="8137285" y="745750"/>
                  </a:cubicBezTo>
                  <a:cubicBezTo>
                    <a:pt x="8137285" y="688976"/>
                    <a:pt x="8124897" y="660590"/>
                    <a:pt x="8100122" y="660590"/>
                  </a:cubicBezTo>
                  <a:close/>
                  <a:moveTo>
                    <a:pt x="6841633" y="660590"/>
                  </a:moveTo>
                  <a:cubicBezTo>
                    <a:pt x="6815453" y="660590"/>
                    <a:pt x="6802363" y="689428"/>
                    <a:pt x="6802363" y="747104"/>
                  </a:cubicBezTo>
                  <a:cubicBezTo>
                    <a:pt x="6802363" y="801068"/>
                    <a:pt x="6815202" y="828051"/>
                    <a:pt x="6840881" y="828051"/>
                  </a:cubicBezTo>
                  <a:cubicBezTo>
                    <a:pt x="6866158" y="828051"/>
                    <a:pt x="6878796" y="800617"/>
                    <a:pt x="6878796" y="745750"/>
                  </a:cubicBezTo>
                  <a:cubicBezTo>
                    <a:pt x="6878796" y="688976"/>
                    <a:pt x="6866408" y="660590"/>
                    <a:pt x="6841633" y="660590"/>
                  </a:cubicBezTo>
                  <a:close/>
                  <a:moveTo>
                    <a:pt x="6628539" y="660590"/>
                  </a:moveTo>
                  <a:cubicBezTo>
                    <a:pt x="6602359" y="660590"/>
                    <a:pt x="6589269" y="689428"/>
                    <a:pt x="6589269" y="747104"/>
                  </a:cubicBezTo>
                  <a:cubicBezTo>
                    <a:pt x="6589269" y="801068"/>
                    <a:pt x="6602108" y="828051"/>
                    <a:pt x="6627787" y="828051"/>
                  </a:cubicBezTo>
                  <a:cubicBezTo>
                    <a:pt x="6653064" y="828051"/>
                    <a:pt x="6665702" y="800617"/>
                    <a:pt x="6665702" y="745750"/>
                  </a:cubicBezTo>
                  <a:cubicBezTo>
                    <a:pt x="6665702" y="688976"/>
                    <a:pt x="6653314" y="660590"/>
                    <a:pt x="6628539" y="660590"/>
                  </a:cubicBezTo>
                  <a:close/>
                  <a:moveTo>
                    <a:pt x="3082864" y="660590"/>
                  </a:moveTo>
                  <a:cubicBezTo>
                    <a:pt x="3056684" y="660590"/>
                    <a:pt x="3043594" y="689428"/>
                    <a:pt x="3043594" y="747104"/>
                  </a:cubicBezTo>
                  <a:cubicBezTo>
                    <a:pt x="3043594" y="801068"/>
                    <a:pt x="3056433" y="828051"/>
                    <a:pt x="3082111" y="828051"/>
                  </a:cubicBezTo>
                  <a:cubicBezTo>
                    <a:pt x="3107389" y="828051"/>
                    <a:pt x="3120027" y="800617"/>
                    <a:pt x="3120027" y="745750"/>
                  </a:cubicBezTo>
                  <a:cubicBezTo>
                    <a:pt x="3120027" y="688976"/>
                    <a:pt x="3107639" y="660590"/>
                    <a:pt x="3082864" y="660590"/>
                  </a:cubicBezTo>
                  <a:close/>
                  <a:moveTo>
                    <a:pt x="2736061" y="660590"/>
                  </a:moveTo>
                  <a:cubicBezTo>
                    <a:pt x="2709881" y="660590"/>
                    <a:pt x="2696791" y="689428"/>
                    <a:pt x="2696791" y="747104"/>
                  </a:cubicBezTo>
                  <a:cubicBezTo>
                    <a:pt x="2696791" y="801068"/>
                    <a:pt x="2709630" y="828051"/>
                    <a:pt x="2735309" y="828051"/>
                  </a:cubicBezTo>
                  <a:cubicBezTo>
                    <a:pt x="2760586" y="828051"/>
                    <a:pt x="2773224" y="800617"/>
                    <a:pt x="2773224" y="745750"/>
                  </a:cubicBezTo>
                  <a:cubicBezTo>
                    <a:pt x="2773224" y="688976"/>
                    <a:pt x="2760836" y="660590"/>
                    <a:pt x="2736061" y="660590"/>
                  </a:cubicBezTo>
                  <a:close/>
                  <a:moveTo>
                    <a:pt x="2044696" y="660590"/>
                  </a:moveTo>
                  <a:cubicBezTo>
                    <a:pt x="2018515" y="660590"/>
                    <a:pt x="2005426" y="689428"/>
                    <a:pt x="2005426" y="747104"/>
                  </a:cubicBezTo>
                  <a:cubicBezTo>
                    <a:pt x="2005426" y="801068"/>
                    <a:pt x="2018265" y="828051"/>
                    <a:pt x="2043944" y="828051"/>
                  </a:cubicBezTo>
                  <a:cubicBezTo>
                    <a:pt x="2069221" y="828051"/>
                    <a:pt x="2081859" y="800617"/>
                    <a:pt x="2081859" y="745750"/>
                  </a:cubicBezTo>
                  <a:cubicBezTo>
                    <a:pt x="2081859" y="688976"/>
                    <a:pt x="2069471" y="660590"/>
                    <a:pt x="2044696" y="660590"/>
                  </a:cubicBezTo>
                  <a:close/>
                  <a:moveTo>
                    <a:pt x="789489" y="660590"/>
                  </a:moveTo>
                  <a:cubicBezTo>
                    <a:pt x="763309" y="660590"/>
                    <a:pt x="750218" y="689428"/>
                    <a:pt x="750218" y="747104"/>
                  </a:cubicBezTo>
                  <a:cubicBezTo>
                    <a:pt x="750218" y="801068"/>
                    <a:pt x="763058" y="828051"/>
                    <a:pt x="788737" y="828051"/>
                  </a:cubicBezTo>
                  <a:cubicBezTo>
                    <a:pt x="814014" y="828051"/>
                    <a:pt x="826652" y="800617"/>
                    <a:pt x="826652" y="745750"/>
                  </a:cubicBezTo>
                  <a:cubicBezTo>
                    <a:pt x="826652" y="688976"/>
                    <a:pt x="814264" y="660590"/>
                    <a:pt x="789489" y="660590"/>
                  </a:cubicBezTo>
                  <a:close/>
                  <a:moveTo>
                    <a:pt x="568889" y="660590"/>
                  </a:moveTo>
                  <a:cubicBezTo>
                    <a:pt x="542709" y="660590"/>
                    <a:pt x="529618" y="689428"/>
                    <a:pt x="529618" y="747104"/>
                  </a:cubicBezTo>
                  <a:cubicBezTo>
                    <a:pt x="529618" y="801068"/>
                    <a:pt x="542457" y="828051"/>
                    <a:pt x="568137" y="828051"/>
                  </a:cubicBezTo>
                  <a:cubicBezTo>
                    <a:pt x="593414" y="828051"/>
                    <a:pt x="606052" y="800617"/>
                    <a:pt x="606052" y="745750"/>
                  </a:cubicBezTo>
                  <a:cubicBezTo>
                    <a:pt x="606052" y="688976"/>
                    <a:pt x="593664" y="660590"/>
                    <a:pt x="568889" y="660590"/>
                  </a:cubicBezTo>
                  <a:close/>
                  <a:moveTo>
                    <a:pt x="12047977" y="632755"/>
                  </a:moveTo>
                  <a:lnTo>
                    <a:pt x="12062883" y="632755"/>
                  </a:lnTo>
                  <a:lnTo>
                    <a:pt x="12062883" y="855735"/>
                  </a:lnTo>
                  <a:lnTo>
                    <a:pt x="12027595" y="855735"/>
                  </a:lnTo>
                  <a:lnTo>
                    <a:pt x="12027595" y="675952"/>
                  </a:lnTo>
                  <a:cubicBezTo>
                    <a:pt x="12021207" y="680515"/>
                    <a:pt x="12014337" y="684393"/>
                    <a:pt x="12006986" y="687587"/>
                  </a:cubicBezTo>
                  <a:cubicBezTo>
                    <a:pt x="11999634" y="690782"/>
                    <a:pt x="11991243" y="693595"/>
                    <a:pt x="11981813" y="696029"/>
                  </a:cubicBezTo>
                  <a:lnTo>
                    <a:pt x="11981813" y="665913"/>
                  </a:lnTo>
                  <a:cubicBezTo>
                    <a:pt x="11987694" y="663987"/>
                    <a:pt x="11993373" y="661958"/>
                    <a:pt x="11998848" y="659829"/>
                  </a:cubicBezTo>
                  <a:cubicBezTo>
                    <a:pt x="12004324" y="657700"/>
                    <a:pt x="12009724" y="655317"/>
                    <a:pt x="12015047" y="652680"/>
                  </a:cubicBezTo>
                  <a:cubicBezTo>
                    <a:pt x="12020371" y="650044"/>
                    <a:pt x="12025745" y="647103"/>
                    <a:pt x="12031170" y="643858"/>
                  </a:cubicBezTo>
                  <a:cubicBezTo>
                    <a:pt x="12036595" y="640614"/>
                    <a:pt x="12042197" y="636912"/>
                    <a:pt x="12047977" y="632755"/>
                  </a:cubicBezTo>
                  <a:close/>
                  <a:moveTo>
                    <a:pt x="11675412" y="632755"/>
                  </a:moveTo>
                  <a:lnTo>
                    <a:pt x="11690318" y="632755"/>
                  </a:lnTo>
                  <a:lnTo>
                    <a:pt x="11690318" y="855735"/>
                  </a:lnTo>
                  <a:lnTo>
                    <a:pt x="11655030" y="855735"/>
                  </a:lnTo>
                  <a:lnTo>
                    <a:pt x="11655030" y="675952"/>
                  </a:lnTo>
                  <a:cubicBezTo>
                    <a:pt x="11648642" y="680515"/>
                    <a:pt x="11641772" y="684393"/>
                    <a:pt x="11634421" y="687587"/>
                  </a:cubicBezTo>
                  <a:cubicBezTo>
                    <a:pt x="11627069" y="690782"/>
                    <a:pt x="11618678" y="693595"/>
                    <a:pt x="11609248" y="696029"/>
                  </a:cubicBezTo>
                  <a:lnTo>
                    <a:pt x="11609248" y="665913"/>
                  </a:lnTo>
                  <a:cubicBezTo>
                    <a:pt x="11615129" y="663987"/>
                    <a:pt x="11620808" y="661958"/>
                    <a:pt x="11626283" y="659829"/>
                  </a:cubicBezTo>
                  <a:cubicBezTo>
                    <a:pt x="11631759" y="657700"/>
                    <a:pt x="11637159" y="655317"/>
                    <a:pt x="11642482" y="652680"/>
                  </a:cubicBezTo>
                  <a:cubicBezTo>
                    <a:pt x="11647806" y="650044"/>
                    <a:pt x="11653180" y="647103"/>
                    <a:pt x="11658605" y="643858"/>
                  </a:cubicBezTo>
                  <a:cubicBezTo>
                    <a:pt x="11664030" y="640614"/>
                    <a:pt x="11669632" y="636912"/>
                    <a:pt x="11675412" y="632755"/>
                  </a:cubicBezTo>
                  <a:close/>
                  <a:moveTo>
                    <a:pt x="11525439" y="632755"/>
                  </a:moveTo>
                  <a:lnTo>
                    <a:pt x="11540345" y="632755"/>
                  </a:lnTo>
                  <a:lnTo>
                    <a:pt x="11540345" y="855735"/>
                  </a:lnTo>
                  <a:lnTo>
                    <a:pt x="11505057" y="855735"/>
                  </a:lnTo>
                  <a:lnTo>
                    <a:pt x="11505057" y="675952"/>
                  </a:lnTo>
                  <a:cubicBezTo>
                    <a:pt x="11498669" y="680515"/>
                    <a:pt x="11491799" y="684393"/>
                    <a:pt x="11484448" y="687587"/>
                  </a:cubicBezTo>
                  <a:cubicBezTo>
                    <a:pt x="11477096" y="690782"/>
                    <a:pt x="11468705" y="693595"/>
                    <a:pt x="11459275" y="696029"/>
                  </a:cubicBezTo>
                  <a:lnTo>
                    <a:pt x="11459275" y="665913"/>
                  </a:lnTo>
                  <a:cubicBezTo>
                    <a:pt x="11465156" y="663987"/>
                    <a:pt x="11470835" y="661958"/>
                    <a:pt x="11476310" y="659829"/>
                  </a:cubicBezTo>
                  <a:cubicBezTo>
                    <a:pt x="11481786" y="657700"/>
                    <a:pt x="11487186" y="655317"/>
                    <a:pt x="11492509" y="652680"/>
                  </a:cubicBezTo>
                  <a:cubicBezTo>
                    <a:pt x="11497833" y="650044"/>
                    <a:pt x="11503207" y="647103"/>
                    <a:pt x="11508632" y="643858"/>
                  </a:cubicBezTo>
                  <a:cubicBezTo>
                    <a:pt x="11514057" y="640614"/>
                    <a:pt x="11519659" y="636912"/>
                    <a:pt x="11525439" y="632755"/>
                  </a:cubicBezTo>
                  <a:close/>
                  <a:moveTo>
                    <a:pt x="11375466" y="632755"/>
                  </a:moveTo>
                  <a:lnTo>
                    <a:pt x="11390372" y="632755"/>
                  </a:lnTo>
                  <a:lnTo>
                    <a:pt x="11390372" y="855735"/>
                  </a:lnTo>
                  <a:lnTo>
                    <a:pt x="11355084" y="855735"/>
                  </a:lnTo>
                  <a:lnTo>
                    <a:pt x="11355084" y="675952"/>
                  </a:lnTo>
                  <a:cubicBezTo>
                    <a:pt x="11348696" y="680515"/>
                    <a:pt x="11341826" y="684393"/>
                    <a:pt x="11334475" y="687587"/>
                  </a:cubicBezTo>
                  <a:cubicBezTo>
                    <a:pt x="11327123" y="690782"/>
                    <a:pt x="11318732" y="693595"/>
                    <a:pt x="11309302" y="696029"/>
                  </a:cubicBezTo>
                  <a:lnTo>
                    <a:pt x="11309302" y="665913"/>
                  </a:lnTo>
                  <a:cubicBezTo>
                    <a:pt x="11315183" y="663987"/>
                    <a:pt x="11320862" y="661958"/>
                    <a:pt x="11326337" y="659829"/>
                  </a:cubicBezTo>
                  <a:cubicBezTo>
                    <a:pt x="11331813" y="657700"/>
                    <a:pt x="11337213" y="655317"/>
                    <a:pt x="11342536" y="652680"/>
                  </a:cubicBezTo>
                  <a:cubicBezTo>
                    <a:pt x="11347860" y="650044"/>
                    <a:pt x="11353234" y="647103"/>
                    <a:pt x="11358659" y="643858"/>
                  </a:cubicBezTo>
                  <a:cubicBezTo>
                    <a:pt x="11364084" y="640614"/>
                    <a:pt x="11369686" y="636912"/>
                    <a:pt x="11375466" y="632755"/>
                  </a:cubicBezTo>
                  <a:close/>
                  <a:moveTo>
                    <a:pt x="10632508" y="632755"/>
                  </a:moveTo>
                  <a:lnTo>
                    <a:pt x="10647414" y="632755"/>
                  </a:lnTo>
                  <a:lnTo>
                    <a:pt x="10647414" y="855735"/>
                  </a:lnTo>
                  <a:lnTo>
                    <a:pt x="10612126" y="855735"/>
                  </a:lnTo>
                  <a:lnTo>
                    <a:pt x="10612126" y="675952"/>
                  </a:lnTo>
                  <a:cubicBezTo>
                    <a:pt x="10605738" y="680515"/>
                    <a:pt x="10598868" y="684393"/>
                    <a:pt x="10591517" y="687587"/>
                  </a:cubicBezTo>
                  <a:cubicBezTo>
                    <a:pt x="10584165" y="690782"/>
                    <a:pt x="10575774" y="693595"/>
                    <a:pt x="10566344" y="696029"/>
                  </a:cubicBezTo>
                  <a:lnTo>
                    <a:pt x="10566344" y="665913"/>
                  </a:lnTo>
                  <a:cubicBezTo>
                    <a:pt x="10572225" y="663987"/>
                    <a:pt x="10577904" y="661958"/>
                    <a:pt x="10583379" y="659829"/>
                  </a:cubicBezTo>
                  <a:cubicBezTo>
                    <a:pt x="10588855" y="657700"/>
                    <a:pt x="10594255" y="655317"/>
                    <a:pt x="10599578" y="652680"/>
                  </a:cubicBezTo>
                  <a:cubicBezTo>
                    <a:pt x="10604902" y="650044"/>
                    <a:pt x="10610276" y="647103"/>
                    <a:pt x="10615701" y="643858"/>
                  </a:cubicBezTo>
                  <a:cubicBezTo>
                    <a:pt x="10621126" y="640614"/>
                    <a:pt x="10626728" y="636912"/>
                    <a:pt x="10632508" y="632755"/>
                  </a:cubicBezTo>
                  <a:close/>
                  <a:moveTo>
                    <a:pt x="10481379" y="632755"/>
                  </a:moveTo>
                  <a:lnTo>
                    <a:pt x="10496285" y="632755"/>
                  </a:lnTo>
                  <a:lnTo>
                    <a:pt x="10496285" y="855735"/>
                  </a:lnTo>
                  <a:lnTo>
                    <a:pt x="10460997" y="855735"/>
                  </a:lnTo>
                  <a:lnTo>
                    <a:pt x="10460997" y="675952"/>
                  </a:lnTo>
                  <a:cubicBezTo>
                    <a:pt x="10454609" y="680515"/>
                    <a:pt x="10447739" y="684393"/>
                    <a:pt x="10440388" y="687587"/>
                  </a:cubicBezTo>
                  <a:cubicBezTo>
                    <a:pt x="10433036" y="690782"/>
                    <a:pt x="10424645" y="693595"/>
                    <a:pt x="10415215" y="696029"/>
                  </a:cubicBezTo>
                  <a:lnTo>
                    <a:pt x="10415215" y="665913"/>
                  </a:lnTo>
                  <a:cubicBezTo>
                    <a:pt x="10421096" y="663987"/>
                    <a:pt x="10426775" y="661958"/>
                    <a:pt x="10432250" y="659829"/>
                  </a:cubicBezTo>
                  <a:cubicBezTo>
                    <a:pt x="10437726" y="657700"/>
                    <a:pt x="10443126" y="655317"/>
                    <a:pt x="10448449" y="652680"/>
                  </a:cubicBezTo>
                  <a:cubicBezTo>
                    <a:pt x="10453773" y="650044"/>
                    <a:pt x="10459147" y="647103"/>
                    <a:pt x="10464572" y="643858"/>
                  </a:cubicBezTo>
                  <a:cubicBezTo>
                    <a:pt x="10469997" y="640614"/>
                    <a:pt x="10475599" y="636912"/>
                    <a:pt x="10481379" y="632755"/>
                  </a:cubicBezTo>
                  <a:close/>
                  <a:moveTo>
                    <a:pt x="10181432" y="632755"/>
                  </a:moveTo>
                  <a:lnTo>
                    <a:pt x="10196338" y="632755"/>
                  </a:lnTo>
                  <a:lnTo>
                    <a:pt x="10196338" y="855735"/>
                  </a:lnTo>
                  <a:lnTo>
                    <a:pt x="10161050" y="855735"/>
                  </a:lnTo>
                  <a:lnTo>
                    <a:pt x="10161050" y="675952"/>
                  </a:lnTo>
                  <a:cubicBezTo>
                    <a:pt x="10154662" y="680515"/>
                    <a:pt x="10147792" y="684393"/>
                    <a:pt x="10140441" y="687587"/>
                  </a:cubicBezTo>
                  <a:cubicBezTo>
                    <a:pt x="10133089" y="690782"/>
                    <a:pt x="10124698" y="693595"/>
                    <a:pt x="10115268" y="696029"/>
                  </a:cubicBezTo>
                  <a:lnTo>
                    <a:pt x="10115268" y="665913"/>
                  </a:lnTo>
                  <a:cubicBezTo>
                    <a:pt x="10121149" y="663987"/>
                    <a:pt x="10126828" y="661958"/>
                    <a:pt x="10132303" y="659829"/>
                  </a:cubicBezTo>
                  <a:cubicBezTo>
                    <a:pt x="10137779" y="657700"/>
                    <a:pt x="10143179" y="655317"/>
                    <a:pt x="10148502" y="652680"/>
                  </a:cubicBezTo>
                  <a:cubicBezTo>
                    <a:pt x="10153826" y="650044"/>
                    <a:pt x="10159200" y="647103"/>
                    <a:pt x="10164625" y="643858"/>
                  </a:cubicBezTo>
                  <a:cubicBezTo>
                    <a:pt x="10170050" y="640614"/>
                    <a:pt x="10175652" y="636912"/>
                    <a:pt x="10181432" y="632755"/>
                  </a:cubicBezTo>
                  <a:close/>
                  <a:moveTo>
                    <a:pt x="9796404" y="632755"/>
                  </a:moveTo>
                  <a:lnTo>
                    <a:pt x="9811310" y="632755"/>
                  </a:lnTo>
                  <a:lnTo>
                    <a:pt x="9811310" y="855735"/>
                  </a:lnTo>
                  <a:lnTo>
                    <a:pt x="9776022" y="855735"/>
                  </a:lnTo>
                  <a:lnTo>
                    <a:pt x="9776022" y="675952"/>
                  </a:lnTo>
                  <a:cubicBezTo>
                    <a:pt x="9769634" y="680515"/>
                    <a:pt x="9762764" y="684393"/>
                    <a:pt x="9755413" y="687587"/>
                  </a:cubicBezTo>
                  <a:cubicBezTo>
                    <a:pt x="9748061" y="690782"/>
                    <a:pt x="9739670" y="693595"/>
                    <a:pt x="9730240" y="696029"/>
                  </a:cubicBezTo>
                  <a:lnTo>
                    <a:pt x="9730240" y="665913"/>
                  </a:lnTo>
                  <a:cubicBezTo>
                    <a:pt x="9736121" y="663987"/>
                    <a:pt x="9741800" y="661958"/>
                    <a:pt x="9747275" y="659829"/>
                  </a:cubicBezTo>
                  <a:cubicBezTo>
                    <a:pt x="9752751" y="657700"/>
                    <a:pt x="9758151" y="655317"/>
                    <a:pt x="9763474" y="652680"/>
                  </a:cubicBezTo>
                  <a:cubicBezTo>
                    <a:pt x="9768798" y="650044"/>
                    <a:pt x="9774172" y="647103"/>
                    <a:pt x="9779597" y="643858"/>
                  </a:cubicBezTo>
                  <a:cubicBezTo>
                    <a:pt x="9785022" y="640614"/>
                    <a:pt x="9790624" y="636912"/>
                    <a:pt x="9796404" y="632755"/>
                  </a:cubicBezTo>
                  <a:close/>
                  <a:moveTo>
                    <a:pt x="9645275" y="632755"/>
                  </a:moveTo>
                  <a:lnTo>
                    <a:pt x="9660181" y="632755"/>
                  </a:lnTo>
                  <a:lnTo>
                    <a:pt x="9660181" y="855735"/>
                  </a:lnTo>
                  <a:lnTo>
                    <a:pt x="9624893" y="855735"/>
                  </a:lnTo>
                  <a:lnTo>
                    <a:pt x="9624893" y="675952"/>
                  </a:lnTo>
                  <a:cubicBezTo>
                    <a:pt x="9618505" y="680515"/>
                    <a:pt x="9611635" y="684393"/>
                    <a:pt x="9604284" y="687587"/>
                  </a:cubicBezTo>
                  <a:cubicBezTo>
                    <a:pt x="9596932" y="690782"/>
                    <a:pt x="9588541" y="693595"/>
                    <a:pt x="9579111" y="696029"/>
                  </a:cubicBezTo>
                  <a:lnTo>
                    <a:pt x="9579111" y="665913"/>
                  </a:lnTo>
                  <a:cubicBezTo>
                    <a:pt x="9584992" y="663987"/>
                    <a:pt x="9590671" y="661958"/>
                    <a:pt x="9596146" y="659829"/>
                  </a:cubicBezTo>
                  <a:cubicBezTo>
                    <a:pt x="9601622" y="657700"/>
                    <a:pt x="9607022" y="655317"/>
                    <a:pt x="9612345" y="652680"/>
                  </a:cubicBezTo>
                  <a:cubicBezTo>
                    <a:pt x="9617669" y="650044"/>
                    <a:pt x="9623043" y="647103"/>
                    <a:pt x="9628468" y="643858"/>
                  </a:cubicBezTo>
                  <a:cubicBezTo>
                    <a:pt x="9633893" y="640614"/>
                    <a:pt x="9639495" y="636912"/>
                    <a:pt x="9645275" y="632755"/>
                  </a:cubicBezTo>
                  <a:close/>
                  <a:moveTo>
                    <a:pt x="9495302" y="632755"/>
                  </a:moveTo>
                  <a:lnTo>
                    <a:pt x="9510208" y="632755"/>
                  </a:lnTo>
                  <a:lnTo>
                    <a:pt x="9510208" y="855735"/>
                  </a:lnTo>
                  <a:lnTo>
                    <a:pt x="9474920" y="855735"/>
                  </a:lnTo>
                  <a:lnTo>
                    <a:pt x="9474920" y="675952"/>
                  </a:lnTo>
                  <a:cubicBezTo>
                    <a:pt x="9468532" y="680515"/>
                    <a:pt x="9461662" y="684393"/>
                    <a:pt x="9454311" y="687587"/>
                  </a:cubicBezTo>
                  <a:cubicBezTo>
                    <a:pt x="9446959" y="690782"/>
                    <a:pt x="9438568" y="693595"/>
                    <a:pt x="9429138" y="696029"/>
                  </a:cubicBezTo>
                  <a:lnTo>
                    <a:pt x="9429138" y="665913"/>
                  </a:lnTo>
                  <a:cubicBezTo>
                    <a:pt x="9435019" y="663987"/>
                    <a:pt x="9440698" y="661958"/>
                    <a:pt x="9446173" y="659829"/>
                  </a:cubicBezTo>
                  <a:cubicBezTo>
                    <a:pt x="9451649" y="657700"/>
                    <a:pt x="9457049" y="655317"/>
                    <a:pt x="9462372" y="652680"/>
                  </a:cubicBezTo>
                  <a:cubicBezTo>
                    <a:pt x="9467696" y="650044"/>
                    <a:pt x="9473070" y="647103"/>
                    <a:pt x="9478495" y="643858"/>
                  </a:cubicBezTo>
                  <a:cubicBezTo>
                    <a:pt x="9483920" y="640614"/>
                    <a:pt x="9489522" y="636912"/>
                    <a:pt x="9495302" y="632755"/>
                  </a:cubicBezTo>
                  <a:close/>
                  <a:moveTo>
                    <a:pt x="9345329" y="632755"/>
                  </a:moveTo>
                  <a:lnTo>
                    <a:pt x="9360235" y="632755"/>
                  </a:lnTo>
                  <a:lnTo>
                    <a:pt x="9360235" y="855735"/>
                  </a:lnTo>
                  <a:lnTo>
                    <a:pt x="9324947" y="855735"/>
                  </a:lnTo>
                  <a:lnTo>
                    <a:pt x="9324947" y="675952"/>
                  </a:lnTo>
                  <a:cubicBezTo>
                    <a:pt x="9318559" y="680515"/>
                    <a:pt x="9311689" y="684393"/>
                    <a:pt x="9304338" y="687587"/>
                  </a:cubicBezTo>
                  <a:cubicBezTo>
                    <a:pt x="9296986" y="690782"/>
                    <a:pt x="9288595" y="693595"/>
                    <a:pt x="9279165" y="696029"/>
                  </a:cubicBezTo>
                  <a:lnTo>
                    <a:pt x="9279165" y="665913"/>
                  </a:lnTo>
                  <a:cubicBezTo>
                    <a:pt x="9285046" y="663987"/>
                    <a:pt x="9290725" y="661958"/>
                    <a:pt x="9296200" y="659829"/>
                  </a:cubicBezTo>
                  <a:cubicBezTo>
                    <a:pt x="9301676" y="657700"/>
                    <a:pt x="9307076" y="655317"/>
                    <a:pt x="9312399" y="652680"/>
                  </a:cubicBezTo>
                  <a:cubicBezTo>
                    <a:pt x="9317723" y="650044"/>
                    <a:pt x="9323097" y="647103"/>
                    <a:pt x="9328522" y="643858"/>
                  </a:cubicBezTo>
                  <a:cubicBezTo>
                    <a:pt x="9333947" y="640614"/>
                    <a:pt x="9339549" y="636912"/>
                    <a:pt x="9345329" y="632755"/>
                  </a:cubicBezTo>
                  <a:close/>
                  <a:moveTo>
                    <a:pt x="9144936" y="632755"/>
                  </a:moveTo>
                  <a:cubicBezTo>
                    <a:pt x="9192380" y="632755"/>
                    <a:pt x="9216103" y="669618"/>
                    <a:pt x="9216103" y="743343"/>
                  </a:cubicBezTo>
                  <a:cubicBezTo>
                    <a:pt x="9216103" y="779854"/>
                    <a:pt x="9209407" y="807714"/>
                    <a:pt x="9196017" y="826922"/>
                  </a:cubicBezTo>
                  <a:cubicBezTo>
                    <a:pt x="9182626" y="846130"/>
                    <a:pt x="9163894" y="855735"/>
                    <a:pt x="9139820" y="855735"/>
                  </a:cubicBezTo>
                  <a:cubicBezTo>
                    <a:pt x="9117352" y="855735"/>
                    <a:pt x="9099823" y="846557"/>
                    <a:pt x="9087235" y="828201"/>
                  </a:cubicBezTo>
                  <a:cubicBezTo>
                    <a:pt x="9074646" y="809845"/>
                    <a:pt x="9068352" y="783314"/>
                    <a:pt x="9068352" y="748609"/>
                  </a:cubicBezTo>
                  <a:cubicBezTo>
                    <a:pt x="9068352" y="710492"/>
                    <a:pt x="9074922" y="681654"/>
                    <a:pt x="9088062" y="662094"/>
                  </a:cubicBezTo>
                  <a:cubicBezTo>
                    <a:pt x="9101203" y="642535"/>
                    <a:pt x="9120160" y="632755"/>
                    <a:pt x="9144936" y="632755"/>
                  </a:cubicBezTo>
                  <a:close/>
                  <a:moveTo>
                    <a:pt x="9013860" y="632755"/>
                  </a:moveTo>
                  <a:lnTo>
                    <a:pt x="9028766" y="632755"/>
                  </a:lnTo>
                  <a:lnTo>
                    <a:pt x="9028766" y="855735"/>
                  </a:lnTo>
                  <a:lnTo>
                    <a:pt x="8993478" y="855735"/>
                  </a:lnTo>
                  <a:lnTo>
                    <a:pt x="8993478" y="675952"/>
                  </a:lnTo>
                  <a:cubicBezTo>
                    <a:pt x="8987090" y="680515"/>
                    <a:pt x="8980220" y="684393"/>
                    <a:pt x="8972869" y="687587"/>
                  </a:cubicBezTo>
                  <a:cubicBezTo>
                    <a:pt x="8965517" y="690782"/>
                    <a:pt x="8957126" y="693595"/>
                    <a:pt x="8947696" y="696029"/>
                  </a:cubicBezTo>
                  <a:lnTo>
                    <a:pt x="8947696" y="665913"/>
                  </a:lnTo>
                  <a:cubicBezTo>
                    <a:pt x="8953577" y="663987"/>
                    <a:pt x="8959256" y="661958"/>
                    <a:pt x="8964731" y="659829"/>
                  </a:cubicBezTo>
                  <a:cubicBezTo>
                    <a:pt x="8970207" y="657700"/>
                    <a:pt x="8975607" y="655317"/>
                    <a:pt x="8980930" y="652680"/>
                  </a:cubicBezTo>
                  <a:cubicBezTo>
                    <a:pt x="8986254" y="650044"/>
                    <a:pt x="8991628" y="647103"/>
                    <a:pt x="8997053" y="643858"/>
                  </a:cubicBezTo>
                  <a:cubicBezTo>
                    <a:pt x="9002478" y="640614"/>
                    <a:pt x="9008080" y="636912"/>
                    <a:pt x="9013860" y="632755"/>
                  </a:cubicBezTo>
                  <a:close/>
                  <a:moveTo>
                    <a:pt x="8803179" y="632755"/>
                  </a:moveTo>
                  <a:cubicBezTo>
                    <a:pt x="8850623" y="632755"/>
                    <a:pt x="8874346" y="669618"/>
                    <a:pt x="8874346" y="743343"/>
                  </a:cubicBezTo>
                  <a:cubicBezTo>
                    <a:pt x="8874346" y="779854"/>
                    <a:pt x="8867650" y="807714"/>
                    <a:pt x="8854260" y="826922"/>
                  </a:cubicBezTo>
                  <a:cubicBezTo>
                    <a:pt x="8840869" y="846130"/>
                    <a:pt x="8822137" y="855735"/>
                    <a:pt x="8798063" y="855735"/>
                  </a:cubicBezTo>
                  <a:cubicBezTo>
                    <a:pt x="8775595" y="855735"/>
                    <a:pt x="8758066" y="846557"/>
                    <a:pt x="8745478" y="828201"/>
                  </a:cubicBezTo>
                  <a:cubicBezTo>
                    <a:pt x="8732889" y="809845"/>
                    <a:pt x="8726595" y="783314"/>
                    <a:pt x="8726595" y="748609"/>
                  </a:cubicBezTo>
                  <a:cubicBezTo>
                    <a:pt x="8726595" y="710492"/>
                    <a:pt x="8733165" y="681654"/>
                    <a:pt x="8746305" y="662094"/>
                  </a:cubicBezTo>
                  <a:cubicBezTo>
                    <a:pt x="8759446" y="642535"/>
                    <a:pt x="8778403" y="632755"/>
                    <a:pt x="8803179" y="632755"/>
                  </a:cubicBezTo>
                  <a:close/>
                  <a:moveTo>
                    <a:pt x="8101777" y="632755"/>
                  </a:moveTo>
                  <a:cubicBezTo>
                    <a:pt x="8149222" y="632755"/>
                    <a:pt x="8172944" y="669618"/>
                    <a:pt x="8172944" y="743343"/>
                  </a:cubicBezTo>
                  <a:cubicBezTo>
                    <a:pt x="8172944" y="779854"/>
                    <a:pt x="8166249" y="807714"/>
                    <a:pt x="8152858" y="826922"/>
                  </a:cubicBezTo>
                  <a:cubicBezTo>
                    <a:pt x="8139467" y="846130"/>
                    <a:pt x="8120735" y="855735"/>
                    <a:pt x="8096661" y="855735"/>
                  </a:cubicBezTo>
                  <a:cubicBezTo>
                    <a:pt x="8074193" y="855735"/>
                    <a:pt x="8056664" y="846557"/>
                    <a:pt x="8044076" y="828201"/>
                  </a:cubicBezTo>
                  <a:cubicBezTo>
                    <a:pt x="8031487" y="809845"/>
                    <a:pt x="8025193" y="783314"/>
                    <a:pt x="8025193" y="748609"/>
                  </a:cubicBezTo>
                  <a:cubicBezTo>
                    <a:pt x="8025193" y="710492"/>
                    <a:pt x="8031763" y="681654"/>
                    <a:pt x="8044903" y="662094"/>
                  </a:cubicBezTo>
                  <a:cubicBezTo>
                    <a:pt x="8058044" y="642535"/>
                    <a:pt x="8077001" y="632755"/>
                    <a:pt x="8101777" y="632755"/>
                  </a:cubicBezTo>
                  <a:close/>
                  <a:moveTo>
                    <a:pt x="7722616" y="632755"/>
                  </a:moveTo>
                  <a:lnTo>
                    <a:pt x="7737522" y="632755"/>
                  </a:lnTo>
                  <a:lnTo>
                    <a:pt x="7737522" y="855735"/>
                  </a:lnTo>
                  <a:lnTo>
                    <a:pt x="7702234" y="855735"/>
                  </a:lnTo>
                  <a:lnTo>
                    <a:pt x="7702234" y="675952"/>
                  </a:lnTo>
                  <a:cubicBezTo>
                    <a:pt x="7695846" y="680515"/>
                    <a:pt x="7688977" y="684393"/>
                    <a:pt x="7681625" y="687587"/>
                  </a:cubicBezTo>
                  <a:cubicBezTo>
                    <a:pt x="7674273" y="690782"/>
                    <a:pt x="7665883" y="693595"/>
                    <a:pt x="7656452" y="696029"/>
                  </a:cubicBezTo>
                  <a:lnTo>
                    <a:pt x="7656452" y="665913"/>
                  </a:lnTo>
                  <a:cubicBezTo>
                    <a:pt x="7662333" y="663987"/>
                    <a:pt x="7668012" y="661958"/>
                    <a:pt x="7673487" y="659829"/>
                  </a:cubicBezTo>
                  <a:cubicBezTo>
                    <a:pt x="7678963" y="657700"/>
                    <a:pt x="7684363" y="655317"/>
                    <a:pt x="7689686" y="652680"/>
                  </a:cubicBezTo>
                  <a:cubicBezTo>
                    <a:pt x="7695010" y="650044"/>
                    <a:pt x="7700384" y="647103"/>
                    <a:pt x="7705809" y="643858"/>
                  </a:cubicBezTo>
                  <a:cubicBezTo>
                    <a:pt x="7711234" y="640614"/>
                    <a:pt x="7716836" y="636912"/>
                    <a:pt x="7722616" y="632755"/>
                  </a:cubicBezTo>
                  <a:close/>
                  <a:moveTo>
                    <a:pt x="7360674" y="632755"/>
                  </a:moveTo>
                  <a:lnTo>
                    <a:pt x="7375580" y="632755"/>
                  </a:lnTo>
                  <a:lnTo>
                    <a:pt x="7375580" y="855735"/>
                  </a:lnTo>
                  <a:lnTo>
                    <a:pt x="7340292" y="855735"/>
                  </a:lnTo>
                  <a:lnTo>
                    <a:pt x="7340292" y="675952"/>
                  </a:lnTo>
                  <a:cubicBezTo>
                    <a:pt x="7333904" y="680515"/>
                    <a:pt x="7327035" y="684393"/>
                    <a:pt x="7319683" y="687587"/>
                  </a:cubicBezTo>
                  <a:cubicBezTo>
                    <a:pt x="7312331" y="690782"/>
                    <a:pt x="7303941" y="693595"/>
                    <a:pt x="7294510" y="696029"/>
                  </a:cubicBezTo>
                  <a:lnTo>
                    <a:pt x="7294510" y="665913"/>
                  </a:lnTo>
                  <a:cubicBezTo>
                    <a:pt x="7300391" y="663987"/>
                    <a:pt x="7306070" y="661958"/>
                    <a:pt x="7311545" y="659829"/>
                  </a:cubicBezTo>
                  <a:cubicBezTo>
                    <a:pt x="7317021" y="657700"/>
                    <a:pt x="7322421" y="655317"/>
                    <a:pt x="7327744" y="652680"/>
                  </a:cubicBezTo>
                  <a:cubicBezTo>
                    <a:pt x="7333068" y="650044"/>
                    <a:pt x="7338442" y="647103"/>
                    <a:pt x="7343867" y="643858"/>
                  </a:cubicBezTo>
                  <a:cubicBezTo>
                    <a:pt x="7349292" y="640614"/>
                    <a:pt x="7354894" y="636912"/>
                    <a:pt x="7360674" y="632755"/>
                  </a:cubicBezTo>
                  <a:close/>
                  <a:moveTo>
                    <a:pt x="7060728" y="632755"/>
                  </a:moveTo>
                  <a:lnTo>
                    <a:pt x="7075634" y="632755"/>
                  </a:lnTo>
                  <a:lnTo>
                    <a:pt x="7075634" y="855735"/>
                  </a:lnTo>
                  <a:lnTo>
                    <a:pt x="7040346" y="855735"/>
                  </a:lnTo>
                  <a:lnTo>
                    <a:pt x="7040346" y="675952"/>
                  </a:lnTo>
                  <a:cubicBezTo>
                    <a:pt x="7033958" y="680515"/>
                    <a:pt x="7027089" y="684393"/>
                    <a:pt x="7019737" y="687587"/>
                  </a:cubicBezTo>
                  <a:cubicBezTo>
                    <a:pt x="7012385" y="690782"/>
                    <a:pt x="7003995" y="693595"/>
                    <a:pt x="6994564" y="696029"/>
                  </a:cubicBezTo>
                  <a:lnTo>
                    <a:pt x="6994564" y="665913"/>
                  </a:lnTo>
                  <a:cubicBezTo>
                    <a:pt x="7000445" y="663987"/>
                    <a:pt x="7006124" y="661958"/>
                    <a:pt x="7011599" y="659829"/>
                  </a:cubicBezTo>
                  <a:cubicBezTo>
                    <a:pt x="7017075" y="657700"/>
                    <a:pt x="7022475" y="655317"/>
                    <a:pt x="7027798" y="652680"/>
                  </a:cubicBezTo>
                  <a:cubicBezTo>
                    <a:pt x="7033122" y="650044"/>
                    <a:pt x="7038496" y="647103"/>
                    <a:pt x="7043921" y="643858"/>
                  </a:cubicBezTo>
                  <a:cubicBezTo>
                    <a:pt x="7049346" y="640614"/>
                    <a:pt x="7054948" y="636912"/>
                    <a:pt x="7060728" y="632755"/>
                  </a:cubicBezTo>
                  <a:close/>
                  <a:moveTo>
                    <a:pt x="6843288" y="632755"/>
                  </a:moveTo>
                  <a:cubicBezTo>
                    <a:pt x="6890733" y="632755"/>
                    <a:pt x="6914455" y="669618"/>
                    <a:pt x="6914455" y="743343"/>
                  </a:cubicBezTo>
                  <a:cubicBezTo>
                    <a:pt x="6914455" y="779854"/>
                    <a:pt x="6907760" y="807714"/>
                    <a:pt x="6894369" y="826922"/>
                  </a:cubicBezTo>
                  <a:cubicBezTo>
                    <a:pt x="6880978" y="846130"/>
                    <a:pt x="6862246" y="855735"/>
                    <a:pt x="6838172" y="855735"/>
                  </a:cubicBezTo>
                  <a:cubicBezTo>
                    <a:pt x="6815704" y="855735"/>
                    <a:pt x="6798175" y="846557"/>
                    <a:pt x="6785587" y="828201"/>
                  </a:cubicBezTo>
                  <a:cubicBezTo>
                    <a:pt x="6772998" y="809845"/>
                    <a:pt x="6766704" y="783314"/>
                    <a:pt x="6766704" y="748609"/>
                  </a:cubicBezTo>
                  <a:cubicBezTo>
                    <a:pt x="6766704" y="710492"/>
                    <a:pt x="6773274" y="681654"/>
                    <a:pt x="6786414" y="662094"/>
                  </a:cubicBezTo>
                  <a:cubicBezTo>
                    <a:pt x="6799555" y="642535"/>
                    <a:pt x="6818512" y="632755"/>
                    <a:pt x="6843288" y="632755"/>
                  </a:cubicBezTo>
                  <a:close/>
                  <a:moveTo>
                    <a:pt x="6630194" y="632755"/>
                  </a:moveTo>
                  <a:cubicBezTo>
                    <a:pt x="6677639" y="632755"/>
                    <a:pt x="6701361" y="669618"/>
                    <a:pt x="6701361" y="743343"/>
                  </a:cubicBezTo>
                  <a:cubicBezTo>
                    <a:pt x="6701361" y="779854"/>
                    <a:pt x="6694666" y="807714"/>
                    <a:pt x="6681275" y="826922"/>
                  </a:cubicBezTo>
                  <a:cubicBezTo>
                    <a:pt x="6667884" y="846130"/>
                    <a:pt x="6649152" y="855735"/>
                    <a:pt x="6625078" y="855735"/>
                  </a:cubicBezTo>
                  <a:cubicBezTo>
                    <a:pt x="6602610" y="855735"/>
                    <a:pt x="6585081" y="846557"/>
                    <a:pt x="6572493" y="828201"/>
                  </a:cubicBezTo>
                  <a:cubicBezTo>
                    <a:pt x="6559904" y="809845"/>
                    <a:pt x="6553610" y="783314"/>
                    <a:pt x="6553610" y="748609"/>
                  </a:cubicBezTo>
                  <a:cubicBezTo>
                    <a:pt x="6553610" y="710492"/>
                    <a:pt x="6560180" y="681654"/>
                    <a:pt x="6573320" y="662094"/>
                  </a:cubicBezTo>
                  <a:cubicBezTo>
                    <a:pt x="6586461" y="642535"/>
                    <a:pt x="6605418" y="632755"/>
                    <a:pt x="6630194" y="632755"/>
                  </a:cubicBezTo>
                  <a:close/>
                  <a:moveTo>
                    <a:pt x="6468645" y="632755"/>
                  </a:moveTo>
                  <a:lnTo>
                    <a:pt x="6483551" y="632755"/>
                  </a:lnTo>
                  <a:lnTo>
                    <a:pt x="6483551" y="855735"/>
                  </a:lnTo>
                  <a:lnTo>
                    <a:pt x="6448263" y="855735"/>
                  </a:lnTo>
                  <a:lnTo>
                    <a:pt x="6448263" y="675952"/>
                  </a:lnTo>
                  <a:cubicBezTo>
                    <a:pt x="6441875" y="680515"/>
                    <a:pt x="6435006" y="684393"/>
                    <a:pt x="6427654" y="687587"/>
                  </a:cubicBezTo>
                  <a:cubicBezTo>
                    <a:pt x="6420302" y="690782"/>
                    <a:pt x="6411912" y="693595"/>
                    <a:pt x="6402481" y="696029"/>
                  </a:cubicBezTo>
                  <a:lnTo>
                    <a:pt x="6402481" y="665913"/>
                  </a:lnTo>
                  <a:cubicBezTo>
                    <a:pt x="6408362" y="663987"/>
                    <a:pt x="6414041" y="661958"/>
                    <a:pt x="6419516" y="659829"/>
                  </a:cubicBezTo>
                  <a:cubicBezTo>
                    <a:pt x="6424992" y="657700"/>
                    <a:pt x="6430392" y="655317"/>
                    <a:pt x="6435715" y="652680"/>
                  </a:cubicBezTo>
                  <a:cubicBezTo>
                    <a:pt x="6441039" y="650044"/>
                    <a:pt x="6446413" y="647103"/>
                    <a:pt x="6451838" y="643858"/>
                  </a:cubicBezTo>
                  <a:cubicBezTo>
                    <a:pt x="6457263" y="640614"/>
                    <a:pt x="6462865" y="636912"/>
                    <a:pt x="6468645" y="632755"/>
                  </a:cubicBezTo>
                  <a:close/>
                  <a:moveTo>
                    <a:pt x="6168699" y="632755"/>
                  </a:moveTo>
                  <a:lnTo>
                    <a:pt x="6183605" y="632755"/>
                  </a:lnTo>
                  <a:lnTo>
                    <a:pt x="6183605" y="855735"/>
                  </a:lnTo>
                  <a:lnTo>
                    <a:pt x="6148317" y="855735"/>
                  </a:lnTo>
                  <a:lnTo>
                    <a:pt x="6148317" y="675952"/>
                  </a:lnTo>
                  <a:cubicBezTo>
                    <a:pt x="6141929" y="680515"/>
                    <a:pt x="6135060" y="684393"/>
                    <a:pt x="6127708" y="687587"/>
                  </a:cubicBezTo>
                  <a:cubicBezTo>
                    <a:pt x="6120356" y="690782"/>
                    <a:pt x="6111966" y="693595"/>
                    <a:pt x="6102535" y="696029"/>
                  </a:cubicBezTo>
                  <a:lnTo>
                    <a:pt x="6102535" y="665913"/>
                  </a:lnTo>
                  <a:cubicBezTo>
                    <a:pt x="6108416" y="663987"/>
                    <a:pt x="6114095" y="661958"/>
                    <a:pt x="6119570" y="659829"/>
                  </a:cubicBezTo>
                  <a:cubicBezTo>
                    <a:pt x="6125046" y="657700"/>
                    <a:pt x="6130446" y="655317"/>
                    <a:pt x="6135769" y="652680"/>
                  </a:cubicBezTo>
                  <a:cubicBezTo>
                    <a:pt x="6141093" y="650044"/>
                    <a:pt x="6146467" y="647103"/>
                    <a:pt x="6151892" y="643858"/>
                  </a:cubicBezTo>
                  <a:cubicBezTo>
                    <a:pt x="6157317" y="640614"/>
                    <a:pt x="6162919" y="636912"/>
                    <a:pt x="6168699" y="632755"/>
                  </a:cubicBezTo>
                  <a:close/>
                  <a:moveTo>
                    <a:pt x="5985170" y="632755"/>
                  </a:moveTo>
                  <a:lnTo>
                    <a:pt x="6000077" y="632755"/>
                  </a:lnTo>
                  <a:lnTo>
                    <a:pt x="6000077" y="855735"/>
                  </a:lnTo>
                  <a:lnTo>
                    <a:pt x="5964788" y="855735"/>
                  </a:lnTo>
                  <a:lnTo>
                    <a:pt x="5964788" y="675952"/>
                  </a:lnTo>
                  <a:cubicBezTo>
                    <a:pt x="5958401" y="680515"/>
                    <a:pt x="5951531" y="684393"/>
                    <a:pt x="5944180" y="687587"/>
                  </a:cubicBezTo>
                  <a:cubicBezTo>
                    <a:pt x="5936827" y="690782"/>
                    <a:pt x="5928437" y="693595"/>
                    <a:pt x="5919006" y="696029"/>
                  </a:cubicBezTo>
                  <a:lnTo>
                    <a:pt x="5919006" y="665913"/>
                  </a:lnTo>
                  <a:cubicBezTo>
                    <a:pt x="5924887" y="663987"/>
                    <a:pt x="5930567" y="661958"/>
                    <a:pt x="5936041" y="659829"/>
                  </a:cubicBezTo>
                  <a:cubicBezTo>
                    <a:pt x="5941517" y="657700"/>
                    <a:pt x="5946918" y="655317"/>
                    <a:pt x="5952241" y="652680"/>
                  </a:cubicBezTo>
                  <a:cubicBezTo>
                    <a:pt x="5957564" y="650044"/>
                    <a:pt x="5962938" y="647103"/>
                    <a:pt x="5968363" y="643858"/>
                  </a:cubicBezTo>
                  <a:cubicBezTo>
                    <a:pt x="5973788" y="640614"/>
                    <a:pt x="5979390" y="636912"/>
                    <a:pt x="5985170" y="632755"/>
                  </a:cubicBezTo>
                  <a:close/>
                  <a:moveTo>
                    <a:pt x="5617508" y="632755"/>
                  </a:moveTo>
                  <a:lnTo>
                    <a:pt x="5632415" y="632755"/>
                  </a:lnTo>
                  <a:lnTo>
                    <a:pt x="5632415" y="855735"/>
                  </a:lnTo>
                  <a:lnTo>
                    <a:pt x="5597126" y="855735"/>
                  </a:lnTo>
                  <a:lnTo>
                    <a:pt x="5597126" y="675952"/>
                  </a:lnTo>
                  <a:cubicBezTo>
                    <a:pt x="5590739" y="680515"/>
                    <a:pt x="5583869" y="684393"/>
                    <a:pt x="5576518" y="687587"/>
                  </a:cubicBezTo>
                  <a:cubicBezTo>
                    <a:pt x="5569165" y="690782"/>
                    <a:pt x="5560775" y="693595"/>
                    <a:pt x="5551344" y="696029"/>
                  </a:cubicBezTo>
                  <a:lnTo>
                    <a:pt x="5551344" y="665913"/>
                  </a:lnTo>
                  <a:cubicBezTo>
                    <a:pt x="5557225" y="663987"/>
                    <a:pt x="5562904" y="661958"/>
                    <a:pt x="5568379" y="659829"/>
                  </a:cubicBezTo>
                  <a:cubicBezTo>
                    <a:pt x="5573855" y="657700"/>
                    <a:pt x="5579256" y="655317"/>
                    <a:pt x="5584578" y="652680"/>
                  </a:cubicBezTo>
                  <a:cubicBezTo>
                    <a:pt x="5589902" y="650044"/>
                    <a:pt x="5595276" y="647103"/>
                    <a:pt x="5600701" y="643858"/>
                  </a:cubicBezTo>
                  <a:cubicBezTo>
                    <a:pt x="5606126" y="640614"/>
                    <a:pt x="5611728" y="636912"/>
                    <a:pt x="5617508" y="632755"/>
                  </a:cubicBezTo>
                  <a:close/>
                  <a:moveTo>
                    <a:pt x="5467535" y="632755"/>
                  </a:moveTo>
                  <a:lnTo>
                    <a:pt x="5482441" y="632755"/>
                  </a:lnTo>
                  <a:lnTo>
                    <a:pt x="5482441" y="855735"/>
                  </a:lnTo>
                  <a:lnTo>
                    <a:pt x="5447153" y="855735"/>
                  </a:lnTo>
                  <a:lnTo>
                    <a:pt x="5447153" y="675952"/>
                  </a:lnTo>
                  <a:cubicBezTo>
                    <a:pt x="5440765" y="680515"/>
                    <a:pt x="5433896" y="684393"/>
                    <a:pt x="5426545" y="687587"/>
                  </a:cubicBezTo>
                  <a:cubicBezTo>
                    <a:pt x="5419192" y="690782"/>
                    <a:pt x="5410803" y="693595"/>
                    <a:pt x="5401372" y="696029"/>
                  </a:cubicBezTo>
                  <a:lnTo>
                    <a:pt x="5401372" y="665913"/>
                  </a:lnTo>
                  <a:cubicBezTo>
                    <a:pt x="5407253" y="663987"/>
                    <a:pt x="5412931" y="661958"/>
                    <a:pt x="5418407" y="659829"/>
                  </a:cubicBezTo>
                  <a:cubicBezTo>
                    <a:pt x="5423882" y="657700"/>
                    <a:pt x="5429282" y="655317"/>
                    <a:pt x="5434605" y="652680"/>
                  </a:cubicBezTo>
                  <a:cubicBezTo>
                    <a:pt x="5439929" y="650044"/>
                    <a:pt x="5445304" y="647103"/>
                    <a:pt x="5450728" y="643858"/>
                  </a:cubicBezTo>
                  <a:cubicBezTo>
                    <a:pt x="5456153" y="640614"/>
                    <a:pt x="5461755" y="636912"/>
                    <a:pt x="5467535" y="632755"/>
                  </a:cubicBezTo>
                  <a:close/>
                  <a:moveTo>
                    <a:pt x="5317563" y="632755"/>
                  </a:moveTo>
                  <a:lnTo>
                    <a:pt x="5332469" y="632755"/>
                  </a:lnTo>
                  <a:lnTo>
                    <a:pt x="5332469" y="855735"/>
                  </a:lnTo>
                  <a:lnTo>
                    <a:pt x="5297180" y="855735"/>
                  </a:lnTo>
                  <a:lnTo>
                    <a:pt x="5297180" y="675952"/>
                  </a:lnTo>
                  <a:cubicBezTo>
                    <a:pt x="5290792" y="680515"/>
                    <a:pt x="5283924" y="684393"/>
                    <a:pt x="5276571" y="687587"/>
                  </a:cubicBezTo>
                  <a:cubicBezTo>
                    <a:pt x="5269220" y="690782"/>
                    <a:pt x="5260829" y="693595"/>
                    <a:pt x="5251398" y="696029"/>
                  </a:cubicBezTo>
                  <a:lnTo>
                    <a:pt x="5251398" y="665913"/>
                  </a:lnTo>
                  <a:cubicBezTo>
                    <a:pt x="5257279" y="663987"/>
                    <a:pt x="5262958" y="661958"/>
                    <a:pt x="5268433" y="659829"/>
                  </a:cubicBezTo>
                  <a:cubicBezTo>
                    <a:pt x="5273909" y="657700"/>
                    <a:pt x="5279309" y="655317"/>
                    <a:pt x="5284632" y="652680"/>
                  </a:cubicBezTo>
                  <a:cubicBezTo>
                    <a:pt x="5289957" y="650044"/>
                    <a:pt x="5295330" y="647103"/>
                    <a:pt x="5300756" y="643858"/>
                  </a:cubicBezTo>
                  <a:cubicBezTo>
                    <a:pt x="5306180" y="640614"/>
                    <a:pt x="5311782" y="636912"/>
                    <a:pt x="5317563" y="632755"/>
                  </a:cubicBezTo>
                  <a:close/>
                  <a:moveTo>
                    <a:pt x="4568884" y="632755"/>
                  </a:moveTo>
                  <a:lnTo>
                    <a:pt x="4583790" y="632755"/>
                  </a:lnTo>
                  <a:lnTo>
                    <a:pt x="4583790" y="855735"/>
                  </a:lnTo>
                  <a:lnTo>
                    <a:pt x="4548503" y="855735"/>
                  </a:lnTo>
                  <a:lnTo>
                    <a:pt x="4548503" y="675952"/>
                  </a:lnTo>
                  <a:cubicBezTo>
                    <a:pt x="4542115" y="680515"/>
                    <a:pt x="4535245" y="684393"/>
                    <a:pt x="4527893" y="687587"/>
                  </a:cubicBezTo>
                  <a:cubicBezTo>
                    <a:pt x="4520541" y="690782"/>
                    <a:pt x="4512151" y="693595"/>
                    <a:pt x="4502720" y="696029"/>
                  </a:cubicBezTo>
                  <a:lnTo>
                    <a:pt x="4502720" y="665913"/>
                  </a:lnTo>
                  <a:cubicBezTo>
                    <a:pt x="4508602" y="663987"/>
                    <a:pt x="4514280" y="661958"/>
                    <a:pt x="4519755" y="659829"/>
                  </a:cubicBezTo>
                  <a:cubicBezTo>
                    <a:pt x="4525232" y="657700"/>
                    <a:pt x="4530631" y="655317"/>
                    <a:pt x="4535955" y="652680"/>
                  </a:cubicBezTo>
                  <a:cubicBezTo>
                    <a:pt x="4541278" y="650044"/>
                    <a:pt x="4546652" y="647103"/>
                    <a:pt x="4552078" y="643858"/>
                  </a:cubicBezTo>
                  <a:cubicBezTo>
                    <a:pt x="4557502" y="640614"/>
                    <a:pt x="4563105" y="636912"/>
                    <a:pt x="4568884" y="632755"/>
                  </a:cubicBezTo>
                  <a:close/>
                  <a:moveTo>
                    <a:pt x="4418912" y="632755"/>
                  </a:moveTo>
                  <a:lnTo>
                    <a:pt x="4433817" y="632755"/>
                  </a:lnTo>
                  <a:lnTo>
                    <a:pt x="4433817" y="855735"/>
                  </a:lnTo>
                  <a:lnTo>
                    <a:pt x="4398529" y="855735"/>
                  </a:lnTo>
                  <a:lnTo>
                    <a:pt x="4398529" y="675952"/>
                  </a:lnTo>
                  <a:cubicBezTo>
                    <a:pt x="4392141" y="680515"/>
                    <a:pt x="4385273" y="684393"/>
                    <a:pt x="4377920" y="687587"/>
                  </a:cubicBezTo>
                  <a:cubicBezTo>
                    <a:pt x="4370568" y="690782"/>
                    <a:pt x="4362179" y="693595"/>
                    <a:pt x="4352748" y="696029"/>
                  </a:cubicBezTo>
                  <a:lnTo>
                    <a:pt x="4352748" y="665913"/>
                  </a:lnTo>
                  <a:cubicBezTo>
                    <a:pt x="4358628" y="663987"/>
                    <a:pt x="4364307" y="661958"/>
                    <a:pt x="4369782" y="659829"/>
                  </a:cubicBezTo>
                  <a:cubicBezTo>
                    <a:pt x="4375259" y="657700"/>
                    <a:pt x="4380658" y="655317"/>
                    <a:pt x="4385981" y="652680"/>
                  </a:cubicBezTo>
                  <a:cubicBezTo>
                    <a:pt x="4391306" y="650044"/>
                    <a:pt x="4396680" y="647103"/>
                    <a:pt x="4402104" y="643858"/>
                  </a:cubicBezTo>
                  <a:cubicBezTo>
                    <a:pt x="4407530" y="640614"/>
                    <a:pt x="4413131" y="636912"/>
                    <a:pt x="4418912" y="632755"/>
                  </a:cubicBezTo>
                  <a:close/>
                  <a:moveTo>
                    <a:pt x="4118966" y="632755"/>
                  </a:moveTo>
                  <a:lnTo>
                    <a:pt x="4133872" y="632755"/>
                  </a:lnTo>
                  <a:lnTo>
                    <a:pt x="4133872" y="855735"/>
                  </a:lnTo>
                  <a:lnTo>
                    <a:pt x="4098584" y="855735"/>
                  </a:lnTo>
                  <a:lnTo>
                    <a:pt x="4098584" y="675952"/>
                  </a:lnTo>
                  <a:cubicBezTo>
                    <a:pt x="4092196" y="680515"/>
                    <a:pt x="4085326" y="684393"/>
                    <a:pt x="4077975" y="687587"/>
                  </a:cubicBezTo>
                  <a:cubicBezTo>
                    <a:pt x="4070623" y="690782"/>
                    <a:pt x="4062233" y="693595"/>
                    <a:pt x="4052802" y="696029"/>
                  </a:cubicBezTo>
                  <a:lnTo>
                    <a:pt x="4052802" y="665913"/>
                  </a:lnTo>
                  <a:cubicBezTo>
                    <a:pt x="4058683" y="663987"/>
                    <a:pt x="4064362" y="661958"/>
                    <a:pt x="4069837" y="659829"/>
                  </a:cubicBezTo>
                  <a:cubicBezTo>
                    <a:pt x="4075313" y="657700"/>
                    <a:pt x="4080713" y="655317"/>
                    <a:pt x="4086036" y="652680"/>
                  </a:cubicBezTo>
                  <a:cubicBezTo>
                    <a:pt x="4091359" y="650044"/>
                    <a:pt x="4096734" y="647103"/>
                    <a:pt x="4102158" y="643858"/>
                  </a:cubicBezTo>
                  <a:cubicBezTo>
                    <a:pt x="4107584" y="640614"/>
                    <a:pt x="4113186" y="636912"/>
                    <a:pt x="4118966" y="632755"/>
                  </a:cubicBezTo>
                  <a:close/>
                  <a:moveTo>
                    <a:pt x="3738375" y="632755"/>
                  </a:moveTo>
                  <a:lnTo>
                    <a:pt x="3753281" y="632755"/>
                  </a:lnTo>
                  <a:lnTo>
                    <a:pt x="3753281" y="855735"/>
                  </a:lnTo>
                  <a:lnTo>
                    <a:pt x="3717993" y="855735"/>
                  </a:lnTo>
                  <a:lnTo>
                    <a:pt x="3717993" y="675952"/>
                  </a:lnTo>
                  <a:cubicBezTo>
                    <a:pt x="3711604" y="680515"/>
                    <a:pt x="3704735" y="684393"/>
                    <a:pt x="3697384" y="687587"/>
                  </a:cubicBezTo>
                  <a:cubicBezTo>
                    <a:pt x="3690032" y="690782"/>
                    <a:pt x="3681642" y="693595"/>
                    <a:pt x="3672211" y="696029"/>
                  </a:cubicBezTo>
                  <a:lnTo>
                    <a:pt x="3672211" y="665913"/>
                  </a:lnTo>
                  <a:cubicBezTo>
                    <a:pt x="3678092" y="663987"/>
                    <a:pt x="3683771" y="661958"/>
                    <a:pt x="3689246" y="659829"/>
                  </a:cubicBezTo>
                  <a:cubicBezTo>
                    <a:pt x="3694722" y="657700"/>
                    <a:pt x="3700122" y="655317"/>
                    <a:pt x="3705445" y="652680"/>
                  </a:cubicBezTo>
                  <a:cubicBezTo>
                    <a:pt x="3710769" y="650044"/>
                    <a:pt x="3716143" y="647103"/>
                    <a:pt x="3721568" y="643858"/>
                  </a:cubicBezTo>
                  <a:cubicBezTo>
                    <a:pt x="3726993" y="640614"/>
                    <a:pt x="3732595" y="636912"/>
                    <a:pt x="3738375" y="632755"/>
                  </a:cubicBezTo>
                  <a:close/>
                  <a:moveTo>
                    <a:pt x="3588402" y="632755"/>
                  </a:moveTo>
                  <a:lnTo>
                    <a:pt x="3603308" y="632755"/>
                  </a:lnTo>
                  <a:lnTo>
                    <a:pt x="3603308" y="855735"/>
                  </a:lnTo>
                  <a:lnTo>
                    <a:pt x="3568020" y="855735"/>
                  </a:lnTo>
                  <a:lnTo>
                    <a:pt x="3568020" y="675952"/>
                  </a:lnTo>
                  <a:cubicBezTo>
                    <a:pt x="3561632" y="680515"/>
                    <a:pt x="3554762" y="684393"/>
                    <a:pt x="3547411" y="687587"/>
                  </a:cubicBezTo>
                  <a:cubicBezTo>
                    <a:pt x="3540059" y="690782"/>
                    <a:pt x="3531668" y="693595"/>
                    <a:pt x="3522237" y="696029"/>
                  </a:cubicBezTo>
                  <a:lnTo>
                    <a:pt x="3522237" y="665913"/>
                  </a:lnTo>
                  <a:cubicBezTo>
                    <a:pt x="3528119" y="663987"/>
                    <a:pt x="3533798" y="661958"/>
                    <a:pt x="3539273" y="659829"/>
                  </a:cubicBezTo>
                  <a:cubicBezTo>
                    <a:pt x="3544749" y="657700"/>
                    <a:pt x="3550149" y="655317"/>
                    <a:pt x="3555472" y="652680"/>
                  </a:cubicBezTo>
                  <a:cubicBezTo>
                    <a:pt x="3560796" y="650044"/>
                    <a:pt x="3566170" y="647103"/>
                    <a:pt x="3571595" y="643858"/>
                  </a:cubicBezTo>
                  <a:cubicBezTo>
                    <a:pt x="3577020" y="640614"/>
                    <a:pt x="3582622" y="636912"/>
                    <a:pt x="3588402" y="632755"/>
                  </a:cubicBezTo>
                  <a:close/>
                  <a:moveTo>
                    <a:pt x="3438429" y="632755"/>
                  </a:moveTo>
                  <a:lnTo>
                    <a:pt x="3453335" y="632755"/>
                  </a:lnTo>
                  <a:lnTo>
                    <a:pt x="3453335" y="855735"/>
                  </a:lnTo>
                  <a:lnTo>
                    <a:pt x="3418047" y="855735"/>
                  </a:lnTo>
                  <a:lnTo>
                    <a:pt x="3418047" y="675952"/>
                  </a:lnTo>
                  <a:cubicBezTo>
                    <a:pt x="3411659" y="680515"/>
                    <a:pt x="3404789" y="684393"/>
                    <a:pt x="3397438" y="687587"/>
                  </a:cubicBezTo>
                  <a:cubicBezTo>
                    <a:pt x="3390086" y="690782"/>
                    <a:pt x="3381696" y="693595"/>
                    <a:pt x="3372265" y="696029"/>
                  </a:cubicBezTo>
                  <a:lnTo>
                    <a:pt x="3372265" y="665913"/>
                  </a:lnTo>
                  <a:cubicBezTo>
                    <a:pt x="3378146" y="663987"/>
                    <a:pt x="3383825" y="661958"/>
                    <a:pt x="3389300" y="659829"/>
                  </a:cubicBezTo>
                  <a:cubicBezTo>
                    <a:pt x="3394776" y="657700"/>
                    <a:pt x="3400176" y="655317"/>
                    <a:pt x="3405499" y="652680"/>
                  </a:cubicBezTo>
                  <a:cubicBezTo>
                    <a:pt x="3410823" y="650044"/>
                    <a:pt x="3416197" y="647103"/>
                    <a:pt x="3421622" y="643858"/>
                  </a:cubicBezTo>
                  <a:cubicBezTo>
                    <a:pt x="3427047" y="640614"/>
                    <a:pt x="3432649" y="636912"/>
                    <a:pt x="3438429" y="632755"/>
                  </a:cubicBezTo>
                  <a:close/>
                  <a:moveTo>
                    <a:pt x="3288456" y="632755"/>
                  </a:moveTo>
                  <a:lnTo>
                    <a:pt x="3303362" y="632755"/>
                  </a:lnTo>
                  <a:lnTo>
                    <a:pt x="3303362" y="855735"/>
                  </a:lnTo>
                  <a:lnTo>
                    <a:pt x="3268074" y="855735"/>
                  </a:lnTo>
                  <a:lnTo>
                    <a:pt x="3268074" y="675952"/>
                  </a:lnTo>
                  <a:cubicBezTo>
                    <a:pt x="3261686" y="680515"/>
                    <a:pt x="3254815" y="684393"/>
                    <a:pt x="3247464" y="687587"/>
                  </a:cubicBezTo>
                  <a:cubicBezTo>
                    <a:pt x="3240113" y="690782"/>
                    <a:pt x="3231723" y="693595"/>
                    <a:pt x="3222292" y="696029"/>
                  </a:cubicBezTo>
                  <a:lnTo>
                    <a:pt x="3222292" y="665913"/>
                  </a:lnTo>
                  <a:cubicBezTo>
                    <a:pt x="3228173" y="663987"/>
                    <a:pt x="3233852" y="661958"/>
                    <a:pt x="3239327" y="659829"/>
                  </a:cubicBezTo>
                  <a:cubicBezTo>
                    <a:pt x="3244803" y="657700"/>
                    <a:pt x="3250203" y="655317"/>
                    <a:pt x="3255526" y="652680"/>
                  </a:cubicBezTo>
                  <a:cubicBezTo>
                    <a:pt x="3260850" y="650044"/>
                    <a:pt x="3266224" y="647103"/>
                    <a:pt x="3271649" y="643858"/>
                  </a:cubicBezTo>
                  <a:cubicBezTo>
                    <a:pt x="3277074" y="640614"/>
                    <a:pt x="3282676" y="636912"/>
                    <a:pt x="3288456" y="632755"/>
                  </a:cubicBezTo>
                  <a:close/>
                  <a:moveTo>
                    <a:pt x="3084519" y="632755"/>
                  </a:moveTo>
                  <a:cubicBezTo>
                    <a:pt x="3131963" y="632755"/>
                    <a:pt x="3155686" y="669618"/>
                    <a:pt x="3155686" y="743343"/>
                  </a:cubicBezTo>
                  <a:cubicBezTo>
                    <a:pt x="3155686" y="779854"/>
                    <a:pt x="3148991" y="807714"/>
                    <a:pt x="3135600" y="826922"/>
                  </a:cubicBezTo>
                  <a:cubicBezTo>
                    <a:pt x="3122209" y="846130"/>
                    <a:pt x="3103477" y="855735"/>
                    <a:pt x="3079403" y="855735"/>
                  </a:cubicBezTo>
                  <a:cubicBezTo>
                    <a:pt x="3056935" y="855735"/>
                    <a:pt x="3039406" y="846557"/>
                    <a:pt x="3026818" y="828201"/>
                  </a:cubicBezTo>
                  <a:cubicBezTo>
                    <a:pt x="3014229" y="809845"/>
                    <a:pt x="3007935" y="783314"/>
                    <a:pt x="3007935" y="748609"/>
                  </a:cubicBezTo>
                  <a:cubicBezTo>
                    <a:pt x="3007935" y="710492"/>
                    <a:pt x="3014505" y="681654"/>
                    <a:pt x="3027645" y="662094"/>
                  </a:cubicBezTo>
                  <a:cubicBezTo>
                    <a:pt x="3040786" y="642535"/>
                    <a:pt x="3059743" y="632755"/>
                    <a:pt x="3084519" y="632755"/>
                  </a:cubicBezTo>
                  <a:close/>
                  <a:moveTo>
                    <a:pt x="2954273" y="632755"/>
                  </a:moveTo>
                  <a:lnTo>
                    <a:pt x="2969178" y="632755"/>
                  </a:lnTo>
                  <a:lnTo>
                    <a:pt x="2969178" y="855735"/>
                  </a:lnTo>
                  <a:lnTo>
                    <a:pt x="2933891" y="855735"/>
                  </a:lnTo>
                  <a:lnTo>
                    <a:pt x="2933891" y="675952"/>
                  </a:lnTo>
                  <a:cubicBezTo>
                    <a:pt x="2927503" y="680515"/>
                    <a:pt x="2920633" y="684393"/>
                    <a:pt x="2913282" y="687587"/>
                  </a:cubicBezTo>
                  <a:cubicBezTo>
                    <a:pt x="2905930" y="690782"/>
                    <a:pt x="2897540" y="693595"/>
                    <a:pt x="2888109" y="696029"/>
                  </a:cubicBezTo>
                  <a:lnTo>
                    <a:pt x="2888109" y="665913"/>
                  </a:lnTo>
                  <a:cubicBezTo>
                    <a:pt x="2893990" y="663987"/>
                    <a:pt x="2899669" y="661958"/>
                    <a:pt x="2905144" y="659829"/>
                  </a:cubicBezTo>
                  <a:cubicBezTo>
                    <a:pt x="2910620" y="657700"/>
                    <a:pt x="2916020" y="655317"/>
                    <a:pt x="2921343" y="652680"/>
                  </a:cubicBezTo>
                  <a:cubicBezTo>
                    <a:pt x="2926667" y="650044"/>
                    <a:pt x="2932041" y="647103"/>
                    <a:pt x="2937466" y="643858"/>
                  </a:cubicBezTo>
                  <a:cubicBezTo>
                    <a:pt x="2942890" y="640614"/>
                    <a:pt x="2948493" y="636912"/>
                    <a:pt x="2954273" y="632755"/>
                  </a:cubicBezTo>
                  <a:close/>
                  <a:moveTo>
                    <a:pt x="2737716" y="632755"/>
                  </a:moveTo>
                  <a:cubicBezTo>
                    <a:pt x="2785160" y="632755"/>
                    <a:pt x="2808883" y="669618"/>
                    <a:pt x="2808883" y="743343"/>
                  </a:cubicBezTo>
                  <a:cubicBezTo>
                    <a:pt x="2808883" y="779854"/>
                    <a:pt x="2802188" y="807714"/>
                    <a:pt x="2788797" y="826922"/>
                  </a:cubicBezTo>
                  <a:cubicBezTo>
                    <a:pt x="2775406" y="846130"/>
                    <a:pt x="2756674" y="855735"/>
                    <a:pt x="2732600" y="855735"/>
                  </a:cubicBezTo>
                  <a:cubicBezTo>
                    <a:pt x="2710132" y="855735"/>
                    <a:pt x="2692602" y="846557"/>
                    <a:pt x="2680015" y="828201"/>
                  </a:cubicBezTo>
                  <a:cubicBezTo>
                    <a:pt x="2667426" y="809845"/>
                    <a:pt x="2661132" y="783314"/>
                    <a:pt x="2661132" y="748609"/>
                  </a:cubicBezTo>
                  <a:cubicBezTo>
                    <a:pt x="2661132" y="710492"/>
                    <a:pt x="2667702" y="681654"/>
                    <a:pt x="2680842" y="662094"/>
                  </a:cubicBezTo>
                  <a:cubicBezTo>
                    <a:pt x="2693983" y="642535"/>
                    <a:pt x="2712940" y="632755"/>
                    <a:pt x="2737716" y="632755"/>
                  </a:cubicBezTo>
                  <a:close/>
                  <a:moveTo>
                    <a:pt x="2046351" y="632755"/>
                  </a:moveTo>
                  <a:cubicBezTo>
                    <a:pt x="2093795" y="632755"/>
                    <a:pt x="2117517" y="669618"/>
                    <a:pt x="2117517" y="743343"/>
                  </a:cubicBezTo>
                  <a:cubicBezTo>
                    <a:pt x="2117517" y="779854"/>
                    <a:pt x="2110822" y="807714"/>
                    <a:pt x="2097432" y="826922"/>
                  </a:cubicBezTo>
                  <a:cubicBezTo>
                    <a:pt x="2084041" y="846130"/>
                    <a:pt x="2065309" y="855735"/>
                    <a:pt x="2041234" y="855735"/>
                  </a:cubicBezTo>
                  <a:cubicBezTo>
                    <a:pt x="2018767" y="855735"/>
                    <a:pt x="2001238" y="846557"/>
                    <a:pt x="1988650" y="828201"/>
                  </a:cubicBezTo>
                  <a:cubicBezTo>
                    <a:pt x="1976060" y="809845"/>
                    <a:pt x="1969766" y="783314"/>
                    <a:pt x="1969766" y="748609"/>
                  </a:cubicBezTo>
                  <a:cubicBezTo>
                    <a:pt x="1969766" y="710492"/>
                    <a:pt x="1976337" y="681654"/>
                    <a:pt x="1989476" y="662094"/>
                  </a:cubicBezTo>
                  <a:cubicBezTo>
                    <a:pt x="2002618" y="642535"/>
                    <a:pt x="2021574" y="632755"/>
                    <a:pt x="2046351" y="632755"/>
                  </a:cubicBezTo>
                  <a:close/>
                  <a:moveTo>
                    <a:pt x="1673990" y="632755"/>
                  </a:moveTo>
                  <a:lnTo>
                    <a:pt x="1688896" y="632755"/>
                  </a:lnTo>
                  <a:lnTo>
                    <a:pt x="1688896" y="855735"/>
                  </a:lnTo>
                  <a:lnTo>
                    <a:pt x="1653607" y="855735"/>
                  </a:lnTo>
                  <a:lnTo>
                    <a:pt x="1653607" y="675952"/>
                  </a:lnTo>
                  <a:cubicBezTo>
                    <a:pt x="1647219" y="680515"/>
                    <a:pt x="1640349" y="684393"/>
                    <a:pt x="1632999" y="687587"/>
                  </a:cubicBezTo>
                  <a:cubicBezTo>
                    <a:pt x="1625647" y="690782"/>
                    <a:pt x="1617256" y="693595"/>
                    <a:pt x="1607825" y="696029"/>
                  </a:cubicBezTo>
                  <a:lnTo>
                    <a:pt x="1607825" y="665913"/>
                  </a:lnTo>
                  <a:cubicBezTo>
                    <a:pt x="1613706" y="663987"/>
                    <a:pt x="1619385" y="661958"/>
                    <a:pt x="1624860" y="659829"/>
                  </a:cubicBezTo>
                  <a:cubicBezTo>
                    <a:pt x="1630337" y="657700"/>
                    <a:pt x="1635737" y="655317"/>
                    <a:pt x="1641059" y="652680"/>
                  </a:cubicBezTo>
                  <a:cubicBezTo>
                    <a:pt x="1646384" y="650044"/>
                    <a:pt x="1651758" y="647103"/>
                    <a:pt x="1657183" y="643858"/>
                  </a:cubicBezTo>
                  <a:cubicBezTo>
                    <a:pt x="1662607" y="640614"/>
                    <a:pt x="1668209" y="636912"/>
                    <a:pt x="1673990" y="632755"/>
                  </a:cubicBezTo>
                  <a:close/>
                  <a:moveTo>
                    <a:pt x="1297324" y="632755"/>
                  </a:moveTo>
                  <a:lnTo>
                    <a:pt x="1312230" y="632755"/>
                  </a:lnTo>
                  <a:lnTo>
                    <a:pt x="1312230" y="855735"/>
                  </a:lnTo>
                  <a:lnTo>
                    <a:pt x="1276941" y="855735"/>
                  </a:lnTo>
                  <a:lnTo>
                    <a:pt x="1276941" y="675952"/>
                  </a:lnTo>
                  <a:cubicBezTo>
                    <a:pt x="1270553" y="680515"/>
                    <a:pt x="1263684" y="684393"/>
                    <a:pt x="1256333" y="687587"/>
                  </a:cubicBezTo>
                  <a:cubicBezTo>
                    <a:pt x="1248981" y="690782"/>
                    <a:pt x="1240589" y="693595"/>
                    <a:pt x="1231160" y="696029"/>
                  </a:cubicBezTo>
                  <a:lnTo>
                    <a:pt x="1231160" y="665913"/>
                  </a:lnTo>
                  <a:cubicBezTo>
                    <a:pt x="1237041" y="663987"/>
                    <a:pt x="1242720" y="661958"/>
                    <a:pt x="1248195" y="659829"/>
                  </a:cubicBezTo>
                  <a:cubicBezTo>
                    <a:pt x="1253671" y="657700"/>
                    <a:pt x="1259071" y="655317"/>
                    <a:pt x="1264393" y="652680"/>
                  </a:cubicBezTo>
                  <a:cubicBezTo>
                    <a:pt x="1269718" y="650044"/>
                    <a:pt x="1275092" y="647103"/>
                    <a:pt x="1280517" y="643858"/>
                  </a:cubicBezTo>
                  <a:cubicBezTo>
                    <a:pt x="1285941" y="640614"/>
                    <a:pt x="1291543" y="636912"/>
                    <a:pt x="1297324" y="632755"/>
                  </a:cubicBezTo>
                  <a:close/>
                  <a:moveTo>
                    <a:pt x="997378" y="632755"/>
                  </a:moveTo>
                  <a:lnTo>
                    <a:pt x="1012284" y="632755"/>
                  </a:lnTo>
                  <a:lnTo>
                    <a:pt x="1012284" y="855735"/>
                  </a:lnTo>
                  <a:lnTo>
                    <a:pt x="976996" y="855735"/>
                  </a:lnTo>
                  <a:lnTo>
                    <a:pt x="976996" y="675952"/>
                  </a:lnTo>
                  <a:cubicBezTo>
                    <a:pt x="970608" y="680515"/>
                    <a:pt x="963737" y="684393"/>
                    <a:pt x="956386" y="687587"/>
                  </a:cubicBezTo>
                  <a:cubicBezTo>
                    <a:pt x="949035" y="690782"/>
                    <a:pt x="940644" y="693595"/>
                    <a:pt x="931214" y="696029"/>
                  </a:cubicBezTo>
                  <a:lnTo>
                    <a:pt x="931214" y="665913"/>
                  </a:lnTo>
                  <a:cubicBezTo>
                    <a:pt x="937095" y="663987"/>
                    <a:pt x="942773" y="661958"/>
                    <a:pt x="948249" y="659829"/>
                  </a:cubicBezTo>
                  <a:cubicBezTo>
                    <a:pt x="953725" y="657700"/>
                    <a:pt x="959125" y="655317"/>
                    <a:pt x="964447" y="652680"/>
                  </a:cubicBezTo>
                  <a:cubicBezTo>
                    <a:pt x="969772" y="650044"/>
                    <a:pt x="975145" y="647103"/>
                    <a:pt x="980570" y="643858"/>
                  </a:cubicBezTo>
                  <a:cubicBezTo>
                    <a:pt x="985995" y="640614"/>
                    <a:pt x="991598" y="636912"/>
                    <a:pt x="997378" y="632755"/>
                  </a:cubicBezTo>
                  <a:close/>
                  <a:moveTo>
                    <a:pt x="791144" y="632755"/>
                  </a:moveTo>
                  <a:cubicBezTo>
                    <a:pt x="838588" y="632755"/>
                    <a:pt x="862311" y="669618"/>
                    <a:pt x="862311" y="743343"/>
                  </a:cubicBezTo>
                  <a:cubicBezTo>
                    <a:pt x="862311" y="779854"/>
                    <a:pt x="855615" y="807714"/>
                    <a:pt x="842224" y="826922"/>
                  </a:cubicBezTo>
                  <a:cubicBezTo>
                    <a:pt x="828834" y="846130"/>
                    <a:pt x="810102" y="855735"/>
                    <a:pt x="786027" y="855735"/>
                  </a:cubicBezTo>
                  <a:cubicBezTo>
                    <a:pt x="763560" y="855735"/>
                    <a:pt x="746031" y="846557"/>
                    <a:pt x="733443" y="828201"/>
                  </a:cubicBezTo>
                  <a:cubicBezTo>
                    <a:pt x="720853" y="809845"/>
                    <a:pt x="714559" y="783314"/>
                    <a:pt x="714559" y="748609"/>
                  </a:cubicBezTo>
                  <a:cubicBezTo>
                    <a:pt x="714559" y="710492"/>
                    <a:pt x="721130" y="681654"/>
                    <a:pt x="734269" y="662094"/>
                  </a:cubicBezTo>
                  <a:cubicBezTo>
                    <a:pt x="747411" y="642535"/>
                    <a:pt x="766368" y="632755"/>
                    <a:pt x="791144" y="632755"/>
                  </a:cubicBezTo>
                  <a:close/>
                  <a:moveTo>
                    <a:pt x="570544" y="632755"/>
                  </a:moveTo>
                  <a:cubicBezTo>
                    <a:pt x="617988" y="632755"/>
                    <a:pt x="641710" y="669618"/>
                    <a:pt x="641710" y="743343"/>
                  </a:cubicBezTo>
                  <a:cubicBezTo>
                    <a:pt x="641710" y="779854"/>
                    <a:pt x="635015" y="807714"/>
                    <a:pt x="621624" y="826922"/>
                  </a:cubicBezTo>
                  <a:cubicBezTo>
                    <a:pt x="608233" y="846130"/>
                    <a:pt x="589502" y="855735"/>
                    <a:pt x="565428" y="855735"/>
                  </a:cubicBezTo>
                  <a:cubicBezTo>
                    <a:pt x="542960" y="855735"/>
                    <a:pt x="525430" y="846557"/>
                    <a:pt x="512842" y="828201"/>
                  </a:cubicBezTo>
                  <a:cubicBezTo>
                    <a:pt x="500254" y="809845"/>
                    <a:pt x="493960" y="783314"/>
                    <a:pt x="493960" y="748609"/>
                  </a:cubicBezTo>
                  <a:cubicBezTo>
                    <a:pt x="493960" y="710492"/>
                    <a:pt x="500530" y="681654"/>
                    <a:pt x="513670" y="662094"/>
                  </a:cubicBezTo>
                  <a:cubicBezTo>
                    <a:pt x="526811" y="642535"/>
                    <a:pt x="545768" y="632755"/>
                    <a:pt x="570544" y="632755"/>
                  </a:cubicBezTo>
                  <a:close/>
                  <a:moveTo>
                    <a:pt x="403382" y="632755"/>
                  </a:moveTo>
                  <a:lnTo>
                    <a:pt x="418288" y="632755"/>
                  </a:lnTo>
                  <a:lnTo>
                    <a:pt x="418288" y="855735"/>
                  </a:lnTo>
                  <a:lnTo>
                    <a:pt x="382999" y="855735"/>
                  </a:lnTo>
                  <a:lnTo>
                    <a:pt x="382999" y="675952"/>
                  </a:lnTo>
                  <a:cubicBezTo>
                    <a:pt x="376612" y="680515"/>
                    <a:pt x="369742" y="684393"/>
                    <a:pt x="362391" y="687587"/>
                  </a:cubicBezTo>
                  <a:cubicBezTo>
                    <a:pt x="355039" y="690782"/>
                    <a:pt x="346648" y="693595"/>
                    <a:pt x="337217" y="696029"/>
                  </a:cubicBezTo>
                  <a:lnTo>
                    <a:pt x="337217" y="665913"/>
                  </a:lnTo>
                  <a:cubicBezTo>
                    <a:pt x="343098" y="663987"/>
                    <a:pt x="348778" y="661958"/>
                    <a:pt x="354252" y="659829"/>
                  </a:cubicBezTo>
                  <a:cubicBezTo>
                    <a:pt x="359729" y="657700"/>
                    <a:pt x="365129" y="655317"/>
                    <a:pt x="370452" y="652680"/>
                  </a:cubicBezTo>
                  <a:cubicBezTo>
                    <a:pt x="375775" y="650044"/>
                    <a:pt x="381150" y="647103"/>
                    <a:pt x="386575" y="643858"/>
                  </a:cubicBezTo>
                  <a:cubicBezTo>
                    <a:pt x="392000" y="640614"/>
                    <a:pt x="397601" y="636912"/>
                    <a:pt x="403382" y="632755"/>
                  </a:cubicBezTo>
                  <a:close/>
                  <a:moveTo>
                    <a:pt x="103435" y="632755"/>
                  </a:moveTo>
                  <a:lnTo>
                    <a:pt x="118342" y="632755"/>
                  </a:lnTo>
                  <a:lnTo>
                    <a:pt x="118342" y="855735"/>
                  </a:lnTo>
                  <a:lnTo>
                    <a:pt x="83054" y="855735"/>
                  </a:lnTo>
                  <a:lnTo>
                    <a:pt x="83054" y="675952"/>
                  </a:lnTo>
                  <a:cubicBezTo>
                    <a:pt x="76666" y="680515"/>
                    <a:pt x="69796" y="684393"/>
                    <a:pt x="62445" y="687587"/>
                  </a:cubicBezTo>
                  <a:cubicBezTo>
                    <a:pt x="55092" y="690782"/>
                    <a:pt x="46702" y="693595"/>
                    <a:pt x="37272" y="696029"/>
                  </a:cubicBezTo>
                  <a:lnTo>
                    <a:pt x="37272" y="665913"/>
                  </a:lnTo>
                  <a:cubicBezTo>
                    <a:pt x="43153" y="663987"/>
                    <a:pt x="48832" y="661958"/>
                    <a:pt x="54307" y="659829"/>
                  </a:cubicBezTo>
                  <a:cubicBezTo>
                    <a:pt x="59783" y="657700"/>
                    <a:pt x="65183" y="655317"/>
                    <a:pt x="70506" y="652680"/>
                  </a:cubicBezTo>
                  <a:cubicBezTo>
                    <a:pt x="75830" y="650044"/>
                    <a:pt x="81203" y="647103"/>
                    <a:pt x="86629" y="643858"/>
                  </a:cubicBezTo>
                  <a:cubicBezTo>
                    <a:pt x="92054" y="640614"/>
                    <a:pt x="97656" y="636912"/>
                    <a:pt x="103435" y="632755"/>
                  </a:cubicBezTo>
                  <a:close/>
                  <a:moveTo>
                    <a:pt x="11997319" y="356082"/>
                  </a:moveTo>
                  <a:cubicBezTo>
                    <a:pt x="11971139" y="356082"/>
                    <a:pt x="11958049" y="384920"/>
                    <a:pt x="11958049" y="442596"/>
                  </a:cubicBezTo>
                  <a:cubicBezTo>
                    <a:pt x="11958049" y="496560"/>
                    <a:pt x="11970888" y="523543"/>
                    <a:pt x="11996567" y="523543"/>
                  </a:cubicBezTo>
                  <a:cubicBezTo>
                    <a:pt x="12021843" y="523543"/>
                    <a:pt x="12034482" y="496109"/>
                    <a:pt x="12034482" y="441242"/>
                  </a:cubicBezTo>
                  <a:cubicBezTo>
                    <a:pt x="12034482" y="384468"/>
                    <a:pt x="12022094" y="356082"/>
                    <a:pt x="11997319" y="356082"/>
                  </a:cubicBezTo>
                  <a:close/>
                  <a:moveTo>
                    <a:pt x="11780809" y="356082"/>
                  </a:moveTo>
                  <a:cubicBezTo>
                    <a:pt x="11754629" y="356082"/>
                    <a:pt x="11741539" y="384920"/>
                    <a:pt x="11741539" y="442596"/>
                  </a:cubicBezTo>
                  <a:cubicBezTo>
                    <a:pt x="11741539" y="496560"/>
                    <a:pt x="11754378" y="523543"/>
                    <a:pt x="11780057" y="523543"/>
                  </a:cubicBezTo>
                  <a:cubicBezTo>
                    <a:pt x="11805333" y="523543"/>
                    <a:pt x="11817972" y="496109"/>
                    <a:pt x="11817972" y="441242"/>
                  </a:cubicBezTo>
                  <a:cubicBezTo>
                    <a:pt x="11817972" y="384468"/>
                    <a:pt x="11805584" y="356082"/>
                    <a:pt x="11780809" y="356082"/>
                  </a:cubicBezTo>
                  <a:close/>
                  <a:moveTo>
                    <a:pt x="6986021" y="356082"/>
                  </a:moveTo>
                  <a:cubicBezTo>
                    <a:pt x="6959841" y="356082"/>
                    <a:pt x="6946751" y="384920"/>
                    <a:pt x="6946751" y="442596"/>
                  </a:cubicBezTo>
                  <a:cubicBezTo>
                    <a:pt x="6946751" y="496560"/>
                    <a:pt x="6959590" y="523543"/>
                    <a:pt x="6985269" y="523543"/>
                  </a:cubicBezTo>
                  <a:cubicBezTo>
                    <a:pt x="7010546" y="523543"/>
                    <a:pt x="7023184" y="496109"/>
                    <a:pt x="7023184" y="441242"/>
                  </a:cubicBezTo>
                  <a:cubicBezTo>
                    <a:pt x="7023184" y="384468"/>
                    <a:pt x="7010796" y="356082"/>
                    <a:pt x="6986021" y="356082"/>
                  </a:cubicBezTo>
                  <a:close/>
                  <a:moveTo>
                    <a:pt x="6769511" y="356082"/>
                  </a:moveTo>
                  <a:cubicBezTo>
                    <a:pt x="6743331" y="356082"/>
                    <a:pt x="6730241" y="384920"/>
                    <a:pt x="6730241" y="442596"/>
                  </a:cubicBezTo>
                  <a:cubicBezTo>
                    <a:pt x="6730241" y="496560"/>
                    <a:pt x="6743080" y="523543"/>
                    <a:pt x="6768759" y="523543"/>
                  </a:cubicBezTo>
                  <a:cubicBezTo>
                    <a:pt x="6794036" y="523543"/>
                    <a:pt x="6806674" y="496109"/>
                    <a:pt x="6806674" y="441242"/>
                  </a:cubicBezTo>
                  <a:cubicBezTo>
                    <a:pt x="6806674" y="384468"/>
                    <a:pt x="6794286" y="356082"/>
                    <a:pt x="6769511" y="356082"/>
                  </a:cubicBezTo>
                  <a:close/>
                  <a:moveTo>
                    <a:pt x="6151734" y="356082"/>
                  </a:moveTo>
                  <a:cubicBezTo>
                    <a:pt x="6125554" y="356082"/>
                    <a:pt x="6112464" y="384920"/>
                    <a:pt x="6112464" y="442596"/>
                  </a:cubicBezTo>
                  <a:cubicBezTo>
                    <a:pt x="6112464" y="496560"/>
                    <a:pt x="6125303" y="523543"/>
                    <a:pt x="6150982" y="523543"/>
                  </a:cubicBezTo>
                  <a:cubicBezTo>
                    <a:pt x="6176259" y="523543"/>
                    <a:pt x="6188897" y="496109"/>
                    <a:pt x="6188897" y="441242"/>
                  </a:cubicBezTo>
                  <a:cubicBezTo>
                    <a:pt x="6188897" y="384468"/>
                    <a:pt x="6176509" y="356082"/>
                    <a:pt x="6151734" y="356082"/>
                  </a:cubicBezTo>
                  <a:close/>
                  <a:moveTo>
                    <a:pt x="5935223" y="356082"/>
                  </a:moveTo>
                  <a:cubicBezTo>
                    <a:pt x="5909045" y="356082"/>
                    <a:pt x="5895954" y="384920"/>
                    <a:pt x="5895954" y="442596"/>
                  </a:cubicBezTo>
                  <a:cubicBezTo>
                    <a:pt x="5895954" y="496560"/>
                    <a:pt x="5908794" y="523543"/>
                    <a:pt x="5934472" y="523543"/>
                  </a:cubicBezTo>
                  <a:cubicBezTo>
                    <a:pt x="5959748" y="523543"/>
                    <a:pt x="5972387" y="496109"/>
                    <a:pt x="5972387" y="441242"/>
                  </a:cubicBezTo>
                  <a:cubicBezTo>
                    <a:pt x="5972387" y="384468"/>
                    <a:pt x="5959999" y="356082"/>
                    <a:pt x="5935223" y="356082"/>
                  </a:cubicBezTo>
                  <a:close/>
                  <a:moveTo>
                    <a:pt x="5711116" y="356082"/>
                  </a:moveTo>
                  <a:cubicBezTo>
                    <a:pt x="5684938" y="356082"/>
                    <a:pt x="5671847" y="384920"/>
                    <a:pt x="5671847" y="442596"/>
                  </a:cubicBezTo>
                  <a:cubicBezTo>
                    <a:pt x="5671847" y="496560"/>
                    <a:pt x="5684686" y="523543"/>
                    <a:pt x="5710364" y="523543"/>
                  </a:cubicBezTo>
                  <a:cubicBezTo>
                    <a:pt x="5735642" y="523543"/>
                    <a:pt x="5748280" y="496109"/>
                    <a:pt x="5748280" y="441242"/>
                  </a:cubicBezTo>
                  <a:cubicBezTo>
                    <a:pt x="5748280" y="384468"/>
                    <a:pt x="5735892" y="356082"/>
                    <a:pt x="5711116" y="356082"/>
                  </a:cubicBezTo>
                  <a:close/>
                  <a:moveTo>
                    <a:pt x="933138" y="356082"/>
                  </a:moveTo>
                  <a:cubicBezTo>
                    <a:pt x="906958" y="356082"/>
                    <a:pt x="893868" y="384920"/>
                    <a:pt x="893868" y="442596"/>
                  </a:cubicBezTo>
                  <a:cubicBezTo>
                    <a:pt x="893868" y="496560"/>
                    <a:pt x="906707" y="523543"/>
                    <a:pt x="932386" y="523543"/>
                  </a:cubicBezTo>
                  <a:cubicBezTo>
                    <a:pt x="957663" y="523543"/>
                    <a:pt x="970301" y="496109"/>
                    <a:pt x="970301" y="441242"/>
                  </a:cubicBezTo>
                  <a:cubicBezTo>
                    <a:pt x="970301" y="384468"/>
                    <a:pt x="957914" y="356082"/>
                    <a:pt x="933138" y="356082"/>
                  </a:cubicBezTo>
                  <a:close/>
                  <a:moveTo>
                    <a:pt x="716861" y="356082"/>
                  </a:moveTo>
                  <a:cubicBezTo>
                    <a:pt x="690682" y="356082"/>
                    <a:pt x="677593" y="384920"/>
                    <a:pt x="677593" y="442596"/>
                  </a:cubicBezTo>
                  <a:cubicBezTo>
                    <a:pt x="677593" y="496560"/>
                    <a:pt x="690433" y="523543"/>
                    <a:pt x="716110" y="523543"/>
                  </a:cubicBezTo>
                  <a:cubicBezTo>
                    <a:pt x="741387" y="523543"/>
                    <a:pt x="754026" y="496109"/>
                    <a:pt x="754026" y="441242"/>
                  </a:cubicBezTo>
                  <a:cubicBezTo>
                    <a:pt x="754026" y="384468"/>
                    <a:pt x="741638" y="356082"/>
                    <a:pt x="716861" y="356082"/>
                  </a:cubicBezTo>
                  <a:close/>
                  <a:moveTo>
                    <a:pt x="95256" y="356082"/>
                  </a:moveTo>
                  <a:cubicBezTo>
                    <a:pt x="69076" y="356082"/>
                    <a:pt x="55985" y="384920"/>
                    <a:pt x="55985" y="442596"/>
                  </a:cubicBezTo>
                  <a:cubicBezTo>
                    <a:pt x="55985" y="496560"/>
                    <a:pt x="68824" y="523543"/>
                    <a:pt x="94502" y="523543"/>
                  </a:cubicBezTo>
                  <a:cubicBezTo>
                    <a:pt x="119779" y="523543"/>
                    <a:pt x="132418" y="496109"/>
                    <a:pt x="132418" y="441242"/>
                  </a:cubicBezTo>
                  <a:cubicBezTo>
                    <a:pt x="132418" y="384468"/>
                    <a:pt x="120031" y="356082"/>
                    <a:pt x="95256" y="356082"/>
                  </a:cubicBezTo>
                  <a:close/>
                  <a:moveTo>
                    <a:pt x="11998974" y="328247"/>
                  </a:moveTo>
                  <a:cubicBezTo>
                    <a:pt x="12046418" y="328247"/>
                    <a:pt x="12070141" y="365110"/>
                    <a:pt x="12070141" y="438834"/>
                  </a:cubicBezTo>
                  <a:cubicBezTo>
                    <a:pt x="12070141" y="475346"/>
                    <a:pt x="12063445" y="503206"/>
                    <a:pt x="12050055" y="522414"/>
                  </a:cubicBezTo>
                  <a:cubicBezTo>
                    <a:pt x="12036664" y="541622"/>
                    <a:pt x="12017932" y="551227"/>
                    <a:pt x="11993858" y="551227"/>
                  </a:cubicBezTo>
                  <a:cubicBezTo>
                    <a:pt x="11971390" y="551227"/>
                    <a:pt x="11953861" y="542049"/>
                    <a:pt x="11941273" y="523693"/>
                  </a:cubicBezTo>
                  <a:cubicBezTo>
                    <a:pt x="11928684" y="505337"/>
                    <a:pt x="11922390" y="478806"/>
                    <a:pt x="11922390" y="444101"/>
                  </a:cubicBezTo>
                  <a:cubicBezTo>
                    <a:pt x="11922390" y="405984"/>
                    <a:pt x="11928960" y="377146"/>
                    <a:pt x="11942100" y="357586"/>
                  </a:cubicBezTo>
                  <a:cubicBezTo>
                    <a:pt x="11955241" y="338027"/>
                    <a:pt x="11974198" y="328247"/>
                    <a:pt x="11998974" y="328247"/>
                  </a:cubicBezTo>
                  <a:close/>
                  <a:moveTo>
                    <a:pt x="11782464" y="328247"/>
                  </a:moveTo>
                  <a:cubicBezTo>
                    <a:pt x="11829908" y="328247"/>
                    <a:pt x="11853631" y="365110"/>
                    <a:pt x="11853631" y="438834"/>
                  </a:cubicBezTo>
                  <a:cubicBezTo>
                    <a:pt x="11853631" y="475346"/>
                    <a:pt x="11846935" y="503206"/>
                    <a:pt x="11833545" y="522414"/>
                  </a:cubicBezTo>
                  <a:cubicBezTo>
                    <a:pt x="11820154" y="541622"/>
                    <a:pt x="11801422" y="551227"/>
                    <a:pt x="11777348" y="551227"/>
                  </a:cubicBezTo>
                  <a:cubicBezTo>
                    <a:pt x="11754880" y="551227"/>
                    <a:pt x="11737351" y="542049"/>
                    <a:pt x="11724763" y="523693"/>
                  </a:cubicBezTo>
                  <a:cubicBezTo>
                    <a:pt x="11712174" y="505337"/>
                    <a:pt x="11705880" y="478806"/>
                    <a:pt x="11705880" y="444101"/>
                  </a:cubicBezTo>
                  <a:cubicBezTo>
                    <a:pt x="11705880" y="405984"/>
                    <a:pt x="11712450" y="377146"/>
                    <a:pt x="11725590" y="357586"/>
                  </a:cubicBezTo>
                  <a:cubicBezTo>
                    <a:pt x="11738731" y="338027"/>
                    <a:pt x="11757688" y="328247"/>
                    <a:pt x="11782464" y="328247"/>
                  </a:cubicBezTo>
                  <a:close/>
                  <a:moveTo>
                    <a:pt x="11630909" y="328247"/>
                  </a:moveTo>
                  <a:lnTo>
                    <a:pt x="11645815" y="328247"/>
                  </a:lnTo>
                  <a:lnTo>
                    <a:pt x="11645815" y="551227"/>
                  </a:lnTo>
                  <a:lnTo>
                    <a:pt x="11610527" y="551227"/>
                  </a:lnTo>
                  <a:lnTo>
                    <a:pt x="11610527" y="371444"/>
                  </a:lnTo>
                  <a:cubicBezTo>
                    <a:pt x="11604139" y="376007"/>
                    <a:pt x="11597269" y="379885"/>
                    <a:pt x="11589918" y="383079"/>
                  </a:cubicBezTo>
                  <a:cubicBezTo>
                    <a:pt x="11582566" y="386274"/>
                    <a:pt x="11574175" y="389087"/>
                    <a:pt x="11564745" y="391521"/>
                  </a:cubicBezTo>
                  <a:lnTo>
                    <a:pt x="11564745" y="361405"/>
                  </a:lnTo>
                  <a:cubicBezTo>
                    <a:pt x="11570626" y="359479"/>
                    <a:pt x="11576305" y="357450"/>
                    <a:pt x="11581780" y="355321"/>
                  </a:cubicBezTo>
                  <a:cubicBezTo>
                    <a:pt x="11587256" y="353192"/>
                    <a:pt x="11592656" y="350808"/>
                    <a:pt x="11597979" y="348172"/>
                  </a:cubicBezTo>
                  <a:cubicBezTo>
                    <a:pt x="11603303" y="345536"/>
                    <a:pt x="11608677" y="342595"/>
                    <a:pt x="11614102" y="339350"/>
                  </a:cubicBezTo>
                  <a:cubicBezTo>
                    <a:pt x="11619527" y="336106"/>
                    <a:pt x="11625129" y="332404"/>
                    <a:pt x="11630909" y="328247"/>
                  </a:cubicBezTo>
                  <a:close/>
                  <a:moveTo>
                    <a:pt x="11328134" y="328247"/>
                  </a:moveTo>
                  <a:lnTo>
                    <a:pt x="11343040" y="328247"/>
                  </a:lnTo>
                  <a:lnTo>
                    <a:pt x="11343040" y="551227"/>
                  </a:lnTo>
                  <a:lnTo>
                    <a:pt x="11307752" y="551227"/>
                  </a:lnTo>
                  <a:lnTo>
                    <a:pt x="11307752" y="371444"/>
                  </a:lnTo>
                  <a:cubicBezTo>
                    <a:pt x="11301364" y="376007"/>
                    <a:pt x="11294494" y="379885"/>
                    <a:pt x="11287143" y="383079"/>
                  </a:cubicBezTo>
                  <a:cubicBezTo>
                    <a:pt x="11279791" y="386274"/>
                    <a:pt x="11271400" y="389087"/>
                    <a:pt x="11261970" y="391521"/>
                  </a:cubicBezTo>
                  <a:lnTo>
                    <a:pt x="11261970" y="361405"/>
                  </a:lnTo>
                  <a:cubicBezTo>
                    <a:pt x="11267851" y="359479"/>
                    <a:pt x="11273530" y="357450"/>
                    <a:pt x="11279005" y="355321"/>
                  </a:cubicBezTo>
                  <a:cubicBezTo>
                    <a:pt x="11284481" y="353192"/>
                    <a:pt x="11289881" y="350808"/>
                    <a:pt x="11295204" y="348172"/>
                  </a:cubicBezTo>
                  <a:cubicBezTo>
                    <a:pt x="11300528" y="345536"/>
                    <a:pt x="11305902" y="342595"/>
                    <a:pt x="11311327" y="339350"/>
                  </a:cubicBezTo>
                  <a:cubicBezTo>
                    <a:pt x="11316752" y="336106"/>
                    <a:pt x="11322354" y="332404"/>
                    <a:pt x="11328134" y="328247"/>
                  </a:cubicBezTo>
                  <a:close/>
                  <a:moveTo>
                    <a:pt x="10950970" y="328247"/>
                  </a:moveTo>
                  <a:lnTo>
                    <a:pt x="10965876" y="328247"/>
                  </a:lnTo>
                  <a:lnTo>
                    <a:pt x="10965876" y="551227"/>
                  </a:lnTo>
                  <a:lnTo>
                    <a:pt x="10930588" y="551227"/>
                  </a:lnTo>
                  <a:lnTo>
                    <a:pt x="10930588" y="371444"/>
                  </a:lnTo>
                  <a:cubicBezTo>
                    <a:pt x="10924200" y="376007"/>
                    <a:pt x="10917330" y="379885"/>
                    <a:pt x="10909979" y="383079"/>
                  </a:cubicBezTo>
                  <a:cubicBezTo>
                    <a:pt x="10902627" y="386274"/>
                    <a:pt x="10894236" y="389087"/>
                    <a:pt x="10884806" y="391521"/>
                  </a:cubicBezTo>
                  <a:lnTo>
                    <a:pt x="10884806" y="361405"/>
                  </a:lnTo>
                  <a:cubicBezTo>
                    <a:pt x="10890687" y="359479"/>
                    <a:pt x="10896366" y="357450"/>
                    <a:pt x="10901841" y="355321"/>
                  </a:cubicBezTo>
                  <a:cubicBezTo>
                    <a:pt x="10907317" y="353192"/>
                    <a:pt x="10912717" y="350808"/>
                    <a:pt x="10918040" y="348172"/>
                  </a:cubicBezTo>
                  <a:cubicBezTo>
                    <a:pt x="10923364" y="345536"/>
                    <a:pt x="10928738" y="342595"/>
                    <a:pt x="10934163" y="339350"/>
                  </a:cubicBezTo>
                  <a:cubicBezTo>
                    <a:pt x="10939588" y="336106"/>
                    <a:pt x="10945190" y="332404"/>
                    <a:pt x="10950970" y="328247"/>
                  </a:cubicBezTo>
                  <a:close/>
                  <a:moveTo>
                    <a:pt x="10802113" y="328247"/>
                  </a:moveTo>
                  <a:lnTo>
                    <a:pt x="10817019" y="328247"/>
                  </a:lnTo>
                  <a:lnTo>
                    <a:pt x="10817019" y="551227"/>
                  </a:lnTo>
                  <a:lnTo>
                    <a:pt x="10781731" y="551227"/>
                  </a:lnTo>
                  <a:lnTo>
                    <a:pt x="10781731" y="371444"/>
                  </a:lnTo>
                  <a:cubicBezTo>
                    <a:pt x="10775343" y="376007"/>
                    <a:pt x="10768473" y="379885"/>
                    <a:pt x="10761122" y="383079"/>
                  </a:cubicBezTo>
                  <a:cubicBezTo>
                    <a:pt x="10753770" y="386274"/>
                    <a:pt x="10745379" y="389087"/>
                    <a:pt x="10735949" y="391521"/>
                  </a:cubicBezTo>
                  <a:lnTo>
                    <a:pt x="10735949" y="361405"/>
                  </a:lnTo>
                  <a:cubicBezTo>
                    <a:pt x="10741830" y="359479"/>
                    <a:pt x="10747509" y="357450"/>
                    <a:pt x="10752984" y="355321"/>
                  </a:cubicBezTo>
                  <a:cubicBezTo>
                    <a:pt x="10758460" y="353192"/>
                    <a:pt x="10763860" y="350808"/>
                    <a:pt x="10769183" y="348172"/>
                  </a:cubicBezTo>
                  <a:cubicBezTo>
                    <a:pt x="10774507" y="345536"/>
                    <a:pt x="10779881" y="342595"/>
                    <a:pt x="10785306" y="339350"/>
                  </a:cubicBezTo>
                  <a:cubicBezTo>
                    <a:pt x="10790731" y="336106"/>
                    <a:pt x="10796333" y="332404"/>
                    <a:pt x="10802113" y="328247"/>
                  </a:cubicBezTo>
                  <a:close/>
                  <a:moveTo>
                    <a:pt x="10648195" y="328247"/>
                  </a:moveTo>
                  <a:lnTo>
                    <a:pt x="10663101" y="328247"/>
                  </a:lnTo>
                  <a:lnTo>
                    <a:pt x="10663101" y="551227"/>
                  </a:lnTo>
                  <a:lnTo>
                    <a:pt x="10627813" y="551227"/>
                  </a:lnTo>
                  <a:lnTo>
                    <a:pt x="10627813" y="371444"/>
                  </a:lnTo>
                  <a:cubicBezTo>
                    <a:pt x="10621425" y="376007"/>
                    <a:pt x="10614555" y="379885"/>
                    <a:pt x="10607204" y="383079"/>
                  </a:cubicBezTo>
                  <a:cubicBezTo>
                    <a:pt x="10599852" y="386274"/>
                    <a:pt x="10591461" y="389087"/>
                    <a:pt x="10582031" y="391521"/>
                  </a:cubicBezTo>
                  <a:lnTo>
                    <a:pt x="10582031" y="361405"/>
                  </a:lnTo>
                  <a:cubicBezTo>
                    <a:pt x="10587912" y="359479"/>
                    <a:pt x="10593591" y="357450"/>
                    <a:pt x="10599066" y="355321"/>
                  </a:cubicBezTo>
                  <a:cubicBezTo>
                    <a:pt x="10604542" y="353192"/>
                    <a:pt x="10609942" y="350808"/>
                    <a:pt x="10615265" y="348172"/>
                  </a:cubicBezTo>
                  <a:cubicBezTo>
                    <a:pt x="10620589" y="345536"/>
                    <a:pt x="10625963" y="342595"/>
                    <a:pt x="10631388" y="339350"/>
                  </a:cubicBezTo>
                  <a:cubicBezTo>
                    <a:pt x="10636813" y="336106"/>
                    <a:pt x="10642415" y="332404"/>
                    <a:pt x="10648195" y="328247"/>
                  </a:cubicBezTo>
                  <a:close/>
                  <a:moveTo>
                    <a:pt x="10499338" y="328247"/>
                  </a:moveTo>
                  <a:lnTo>
                    <a:pt x="10514244" y="328247"/>
                  </a:lnTo>
                  <a:lnTo>
                    <a:pt x="10514244" y="551227"/>
                  </a:lnTo>
                  <a:lnTo>
                    <a:pt x="10478956" y="551227"/>
                  </a:lnTo>
                  <a:lnTo>
                    <a:pt x="10478956" y="371444"/>
                  </a:lnTo>
                  <a:cubicBezTo>
                    <a:pt x="10472568" y="376007"/>
                    <a:pt x="10465698" y="379885"/>
                    <a:pt x="10458347" y="383079"/>
                  </a:cubicBezTo>
                  <a:cubicBezTo>
                    <a:pt x="10450995" y="386274"/>
                    <a:pt x="10442604" y="389087"/>
                    <a:pt x="10433174" y="391521"/>
                  </a:cubicBezTo>
                  <a:lnTo>
                    <a:pt x="10433174" y="361405"/>
                  </a:lnTo>
                  <a:cubicBezTo>
                    <a:pt x="10439055" y="359479"/>
                    <a:pt x="10444734" y="357450"/>
                    <a:pt x="10450209" y="355321"/>
                  </a:cubicBezTo>
                  <a:cubicBezTo>
                    <a:pt x="10455685" y="353192"/>
                    <a:pt x="10461085" y="350808"/>
                    <a:pt x="10466408" y="348172"/>
                  </a:cubicBezTo>
                  <a:cubicBezTo>
                    <a:pt x="10471732" y="345536"/>
                    <a:pt x="10477106" y="342595"/>
                    <a:pt x="10482531" y="339350"/>
                  </a:cubicBezTo>
                  <a:cubicBezTo>
                    <a:pt x="10487956" y="336106"/>
                    <a:pt x="10493558" y="332404"/>
                    <a:pt x="10499338" y="328247"/>
                  </a:cubicBezTo>
                  <a:close/>
                  <a:moveTo>
                    <a:pt x="9777947" y="328247"/>
                  </a:moveTo>
                  <a:lnTo>
                    <a:pt x="9792853" y="328247"/>
                  </a:lnTo>
                  <a:lnTo>
                    <a:pt x="9792853" y="551227"/>
                  </a:lnTo>
                  <a:lnTo>
                    <a:pt x="9757565" y="551227"/>
                  </a:lnTo>
                  <a:lnTo>
                    <a:pt x="9757565" y="371444"/>
                  </a:lnTo>
                  <a:cubicBezTo>
                    <a:pt x="9751177" y="376007"/>
                    <a:pt x="9744307" y="379885"/>
                    <a:pt x="9736956" y="383079"/>
                  </a:cubicBezTo>
                  <a:cubicBezTo>
                    <a:pt x="9729604" y="386274"/>
                    <a:pt x="9721213" y="389087"/>
                    <a:pt x="9711783" y="391521"/>
                  </a:cubicBezTo>
                  <a:lnTo>
                    <a:pt x="9711783" y="361405"/>
                  </a:lnTo>
                  <a:cubicBezTo>
                    <a:pt x="9717664" y="359479"/>
                    <a:pt x="9723343" y="357450"/>
                    <a:pt x="9728818" y="355321"/>
                  </a:cubicBezTo>
                  <a:cubicBezTo>
                    <a:pt x="9734294" y="353192"/>
                    <a:pt x="9739694" y="350808"/>
                    <a:pt x="9745017" y="348172"/>
                  </a:cubicBezTo>
                  <a:cubicBezTo>
                    <a:pt x="9750341" y="345536"/>
                    <a:pt x="9755715" y="342595"/>
                    <a:pt x="9761140" y="339350"/>
                  </a:cubicBezTo>
                  <a:cubicBezTo>
                    <a:pt x="9766565" y="336106"/>
                    <a:pt x="9772167" y="332404"/>
                    <a:pt x="9777947" y="328247"/>
                  </a:cubicBezTo>
                  <a:close/>
                  <a:moveTo>
                    <a:pt x="9629090" y="328247"/>
                  </a:moveTo>
                  <a:lnTo>
                    <a:pt x="9643996" y="328247"/>
                  </a:lnTo>
                  <a:lnTo>
                    <a:pt x="9643996" y="551227"/>
                  </a:lnTo>
                  <a:lnTo>
                    <a:pt x="9608708" y="551227"/>
                  </a:lnTo>
                  <a:lnTo>
                    <a:pt x="9608708" y="371444"/>
                  </a:lnTo>
                  <a:cubicBezTo>
                    <a:pt x="9602320" y="376007"/>
                    <a:pt x="9595450" y="379885"/>
                    <a:pt x="9588099" y="383079"/>
                  </a:cubicBezTo>
                  <a:cubicBezTo>
                    <a:pt x="9580747" y="386274"/>
                    <a:pt x="9572356" y="389087"/>
                    <a:pt x="9562926" y="391521"/>
                  </a:cubicBezTo>
                  <a:lnTo>
                    <a:pt x="9562926" y="361405"/>
                  </a:lnTo>
                  <a:cubicBezTo>
                    <a:pt x="9568807" y="359479"/>
                    <a:pt x="9574486" y="357450"/>
                    <a:pt x="9579961" y="355321"/>
                  </a:cubicBezTo>
                  <a:cubicBezTo>
                    <a:pt x="9585437" y="353192"/>
                    <a:pt x="9590837" y="350808"/>
                    <a:pt x="9596160" y="348172"/>
                  </a:cubicBezTo>
                  <a:cubicBezTo>
                    <a:pt x="9601484" y="345536"/>
                    <a:pt x="9606858" y="342595"/>
                    <a:pt x="9612283" y="339350"/>
                  </a:cubicBezTo>
                  <a:cubicBezTo>
                    <a:pt x="9617708" y="336106"/>
                    <a:pt x="9623310" y="332404"/>
                    <a:pt x="9629090" y="328247"/>
                  </a:cubicBezTo>
                  <a:close/>
                  <a:moveTo>
                    <a:pt x="8825985" y="328247"/>
                  </a:moveTo>
                  <a:lnTo>
                    <a:pt x="8840891" y="328247"/>
                  </a:lnTo>
                  <a:lnTo>
                    <a:pt x="8840891" y="551227"/>
                  </a:lnTo>
                  <a:lnTo>
                    <a:pt x="8805603" y="551227"/>
                  </a:lnTo>
                  <a:lnTo>
                    <a:pt x="8805603" y="371444"/>
                  </a:lnTo>
                  <a:cubicBezTo>
                    <a:pt x="8799215" y="376007"/>
                    <a:pt x="8792345" y="379885"/>
                    <a:pt x="8784994" y="383079"/>
                  </a:cubicBezTo>
                  <a:cubicBezTo>
                    <a:pt x="8777642" y="386274"/>
                    <a:pt x="8769251" y="389087"/>
                    <a:pt x="8759821" y="391521"/>
                  </a:cubicBezTo>
                  <a:lnTo>
                    <a:pt x="8759821" y="361405"/>
                  </a:lnTo>
                  <a:cubicBezTo>
                    <a:pt x="8765702" y="359479"/>
                    <a:pt x="8771381" y="357450"/>
                    <a:pt x="8776856" y="355321"/>
                  </a:cubicBezTo>
                  <a:cubicBezTo>
                    <a:pt x="8782332" y="353192"/>
                    <a:pt x="8787732" y="350808"/>
                    <a:pt x="8793055" y="348172"/>
                  </a:cubicBezTo>
                  <a:cubicBezTo>
                    <a:pt x="8798379" y="345536"/>
                    <a:pt x="8803753" y="342595"/>
                    <a:pt x="8809178" y="339350"/>
                  </a:cubicBezTo>
                  <a:cubicBezTo>
                    <a:pt x="8814603" y="336106"/>
                    <a:pt x="8820205" y="332404"/>
                    <a:pt x="8825985" y="328247"/>
                  </a:cubicBezTo>
                  <a:close/>
                  <a:moveTo>
                    <a:pt x="8447378" y="328247"/>
                  </a:moveTo>
                  <a:lnTo>
                    <a:pt x="8462284" y="328247"/>
                  </a:lnTo>
                  <a:lnTo>
                    <a:pt x="8462284" y="551227"/>
                  </a:lnTo>
                  <a:lnTo>
                    <a:pt x="8426996" y="551227"/>
                  </a:lnTo>
                  <a:lnTo>
                    <a:pt x="8426996" y="371444"/>
                  </a:lnTo>
                  <a:cubicBezTo>
                    <a:pt x="8420608" y="376007"/>
                    <a:pt x="8413738" y="379885"/>
                    <a:pt x="8406387" y="383079"/>
                  </a:cubicBezTo>
                  <a:cubicBezTo>
                    <a:pt x="8399035" y="386274"/>
                    <a:pt x="8390644" y="389087"/>
                    <a:pt x="8381214" y="391521"/>
                  </a:cubicBezTo>
                  <a:lnTo>
                    <a:pt x="8381214" y="361405"/>
                  </a:lnTo>
                  <a:cubicBezTo>
                    <a:pt x="8387095" y="359479"/>
                    <a:pt x="8392774" y="357450"/>
                    <a:pt x="8398249" y="355321"/>
                  </a:cubicBezTo>
                  <a:cubicBezTo>
                    <a:pt x="8403725" y="353192"/>
                    <a:pt x="8409125" y="350808"/>
                    <a:pt x="8414448" y="348172"/>
                  </a:cubicBezTo>
                  <a:cubicBezTo>
                    <a:pt x="8419772" y="345536"/>
                    <a:pt x="8425146" y="342595"/>
                    <a:pt x="8430571" y="339350"/>
                  </a:cubicBezTo>
                  <a:cubicBezTo>
                    <a:pt x="8435996" y="336106"/>
                    <a:pt x="8441598" y="332404"/>
                    <a:pt x="8447378" y="328247"/>
                  </a:cubicBezTo>
                  <a:close/>
                  <a:moveTo>
                    <a:pt x="8298521" y="328247"/>
                  </a:moveTo>
                  <a:lnTo>
                    <a:pt x="8313427" y="328247"/>
                  </a:lnTo>
                  <a:lnTo>
                    <a:pt x="8313427" y="551227"/>
                  </a:lnTo>
                  <a:lnTo>
                    <a:pt x="8278139" y="551227"/>
                  </a:lnTo>
                  <a:lnTo>
                    <a:pt x="8278139" y="371444"/>
                  </a:lnTo>
                  <a:cubicBezTo>
                    <a:pt x="8271751" y="376007"/>
                    <a:pt x="8264882" y="379885"/>
                    <a:pt x="8257530" y="383079"/>
                  </a:cubicBezTo>
                  <a:cubicBezTo>
                    <a:pt x="8250178" y="386274"/>
                    <a:pt x="8241788" y="389087"/>
                    <a:pt x="8232357" y="391521"/>
                  </a:cubicBezTo>
                  <a:lnTo>
                    <a:pt x="8232357" y="361405"/>
                  </a:lnTo>
                  <a:cubicBezTo>
                    <a:pt x="8238238" y="359479"/>
                    <a:pt x="8243917" y="357450"/>
                    <a:pt x="8249392" y="355321"/>
                  </a:cubicBezTo>
                  <a:cubicBezTo>
                    <a:pt x="8254868" y="353192"/>
                    <a:pt x="8260268" y="350808"/>
                    <a:pt x="8265591" y="348172"/>
                  </a:cubicBezTo>
                  <a:cubicBezTo>
                    <a:pt x="8270915" y="345536"/>
                    <a:pt x="8276289" y="342595"/>
                    <a:pt x="8281714" y="339350"/>
                  </a:cubicBezTo>
                  <a:cubicBezTo>
                    <a:pt x="8287139" y="336106"/>
                    <a:pt x="8292741" y="332404"/>
                    <a:pt x="8298521" y="328247"/>
                  </a:cubicBezTo>
                  <a:close/>
                  <a:moveTo>
                    <a:pt x="8144603" y="328247"/>
                  </a:moveTo>
                  <a:lnTo>
                    <a:pt x="8159509" y="328247"/>
                  </a:lnTo>
                  <a:lnTo>
                    <a:pt x="8159509" y="551227"/>
                  </a:lnTo>
                  <a:lnTo>
                    <a:pt x="8124221" y="551227"/>
                  </a:lnTo>
                  <a:lnTo>
                    <a:pt x="8124221" y="371444"/>
                  </a:lnTo>
                  <a:cubicBezTo>
                    <a:pt x="8117833" y="376007"/>
                    <a:pt x="8110964" y="379885"/>
                    <a:pt x="8103612" y="383079"/>
                  </a:cubicBezTo>
                  <a:cubicBezTo>
                    <a:pt x="8096260" y="386274"/>
                    <a:pt x="8087870" y="389087"/>
                    <a:pt x="8078439" y="391521"/>
                  </a:cubicBezTo>
                  <a:lnTo>
                    <a:pt x="8078439" y="361405"/>
                  </a:lnTo>
                  <a:cubicBezTo>
                    <a:pt x="8084320" y="359479"/>
                    <a:pt x="8089999" y="357450"/>
                    <a:pt x="8095474" y="355321"/>
                  </a:cubicBezTo>
                  <a:cubicBezTo>
                    <a:pt x="8100950" y="353192"/>
                    <a:pt x="8106350" y="350808"/>
                    <a:pt x="8111673" y="348172"/>
                  </a:cubicBezTo>
                  <a:cubicBezTo>
                    <a:pt x="8116997" y="345536"/>
                    <a:pt x="8122371" y="342595"/>
                    <a:pt x="8127796" y="339350"/>
                  </a:cubicBezTo>
                  <a:cubicBezTo>
                    <a:pt x="8133221" y="336106"/>
                    <a:pt x="8138823" y="332404"/>
                    <a:pt x="8144603" y="328247"/>
                  </a:cubicBezTo>
                  <a:close/>
                  <a:moveTo>
                    <a:pt x="7995746" y="328247"/>
                  </a:moveTo>
                  <a:lnTo>
                    <a:pt x="8010652" y="328247"/>
                  </a:lnTo>
                  <a:lnTo>
                    <a:pt x="8010652" y="551227"/>
                  </a:lnTo>
                  <a:lnTo>
                    <a:pt x="7975364" y="551227"/>
                  </a:lnTo>
                  <a:lnTo>
                    <a:pt x="7975364" y="371444"/>
                  </a:lnTo>
                  <a:cubicBezTo>
                    <a:pt x="7968976" y="376007"/>
                    <a:pt x="7962107" y="379885"/>
                    <a:pt x="7954755" y="383079"/>
                  </a:cubicBezTo>
                  <a:cubicBezTo>
                    <a:pt x="7947403" y="386274"/>
                    <a:pt x="7939013" y="389087"/>
                    <a:pt x="7929582" y="391521"/>
                  </a:cubicBezTo>
                  <a:lnTo>
                    <a:pt x="7929582" y="361405"/>
                  </a:lnTo>
                  <a:cubicBezTo>
                    <a:pt x="7935463" y="359479"/>
                    <a:pt x="7941142" y="357450"/>
                    <a:pt x="7946617" y="355321"/>
                  </a:cubicBezTo>
                  <a:cubicBezTo>
                    <a:pt x="7952093" y="353192"/>
                    <a:pt x="7957493" y="350808"/>
                    <a:pt x="7962816" y="348172"/>
                  </a:cubicBezTo>
                  <a:cubicBezTo>
                    <a:pt x="7968140" y="345536"/>
                    <a:pt x="7973514" y="342595"/>
                    <a:pt x="7978939" y="339350"/>
                  </a:cubicBezTo>
                  <a:cubicBezTo>
                    <a:pt x="7984364" y="336106"/>
                    <a:pt x="7989966" y="332404"/>
                    <a:pt x="7995746" y="328247"/>
                  </a:cubicBezTo>
                  <a:close/>
                  <a:moveTo>
                    <a:pt x="7846889" y="328247"/>
                  </a:moveTo>
                  <a:lnTo>
                    <a:pt x="7861795" y="328247"/>
                  </a:lnTo>
                  <a:lnTo>
                    <a:pt x="7861795" y="551227"/>
                  </a:lnTo>
                  <a:lnTo>
                    <a:pt x="7826507" y="551227"/>
                  </a:lnTo>
                  <a:lnTo>
                    <a:pt x="7826507" y="371444"/>
                  </a:lnTo>
                  <a:cubicBezTo>
                    <a:pt x="7820119" y="376007"/>
                    <a:pt x="7813250" y="379885"/>
                    <a:pt x="7805898" y="383079"/>
                  </a:cubicBezTo>
                  <a:cubicBezTo>
                    <a:pt x="7798546" y="386274"/>
                    <a:pt x="7790156" y="389087"/>
                    <a:pt x="7780725" y="391521"/>
                  </a:cubicBezTo>
                  <a:lnTo>
                    <a:pt x="7780725" y="361405"/>
                  </a:lnTo>
                  <a:cubicBezTo>
                    <a:pt x="7786606" y="359479"/>
                    <a:pt x="7792285" y="357450"/>
                    <a:pt x="7797760" y="355321"/>
                  </a:cubicBezTo>
                  <a:cubicBezTo>
                    <a:pt x="7803236" y="353192"/>
                    <a:pt x="7808636" y="350808"/>
                    <a:pt x="7813959" y="348172"/>
                  </a:cubicBezTo>
                  <a:cubicBezTo>
                    <a:pt x="7819283" y="345536"/>
                    <a:pt x="7824657" y="342595"/>
                    <a:pt x="7830082" y="339350"/>
                  </a:cubicBezTo>
                  <a:cubicBezTo>
                    <a:pt x="7835507" y="336106"/>
                    <a:pt x="7841109" y="332404"/>
                    <a:pt x="7846889" y="328247"/>
                  </a:cubicBezTo>
                  <a:close/>
                  <a:moveTo>
                    <a:pt x="7494802" y="328247"/>
                  </a:moveTo>
                  <a:lnTo>
                    <a:pt x="7509708" y="328247"/>
                  </a:lnTo>
                  <a:lnTo>
                    <a:pt x="7509708" y="551227"/>
                  </a:lnTo>
                  <a:lnTo>
                    <a:pt x="7474420" y="551227"/>
                  </a:lnTo>
                  <a:lnTo>
                    <a:pt x="7474420" y="371444"/>
                  </a:lnTo>
                  <a:cubicBezTo>
                    <a:pt x="7468032" y="376007"/>
                    <a:pt x="7461163" y="379885"/>
                    <a:pt x="7453811" y="383079"/>
                  </a:cubicBezTo>
                  <a:cubicBezTo>
                    <a:pt x="7446459" y="386274"/>
                    <a:pt x="7438069" y="389087"/>
                    <a:pt x="7428638" y="391521"/>
                  </a:cubicBezTo>
                  <a:lnTo>
                    <a:pt x="7428638" y="361405"/>
                  </a:lnTo>
                  <a:cubicBezTo>
                    <a:pt x="7434519" y="359479"/>
                    <a:pt x="7440198" y="357450"/>
                    <a:pt x="7445673" y="355321"/>
                  </a:cubicBezTo>
                  <a:cubicBezTo>
                    <a:pt x="7451149" y="353192"/>
                    <a:pt x="7456549" y="350808"/>
                    <a:pt x="7461872" y="348172"/>
                  </a:cubicBezTo>
                  <a:cubicBezTo>
                    <a:pt x="7467196" y="345536"/>
                    <a:pt x="7472570" y="342595"/>
                    <a:pt x="7477995" y="339350"/>
                  </a:cubicBezTo>
                  <a:cubicBezTo>
                    <a:pt x="7483420" y="336106"/>
                    <a:pt x="7489022" y="332404"/>
                    <a:pt x="7494802" y="328247"/>
                  </a:cubicBezTo>
                  <a:close/>
                  <a:moveTo>
                    <a:pt x="7197088" y="328247"/>
                  </a:moveTo>
                  <a:lnTo>
                    <a:pt x="7211994" y="328247"/>
                  </a:lnTo>
                  <a:lnTo>
                    <a:pt x="7211994" y="551227"/>
                  </a:lnTo>
                  <a:lnTo>
                    <a:pt x="7176706" y="551227"/>
                  </a:lnTo>
                  <a:lnTo>
                    <a:pt x="7176706" y="371444"/>
                  </a:lnTo>
                  <a:cubicBezTo>
                    <a:pt x="7170318" y="376007"/>
                    <a:pt x="7163449" y="379885"/>
                    <a:pt x="7156097" y="383079"/>
                  </a:cubicBezTo>
                  <a:cubicBezTo>
                    <a:pt x="7148745" y="386274"/>
                    <a:pt x="7140355" y="389087"/>
                    <a:pt x="7130924" y="391521"/>
                  </a:cubicBezTo>
                  <a:lnTo>
                    <a:pt x="7130924" y="361405"/>
                  </a:lnTo>
                  <a:cubicBezTo>
                    <a:pt x="7136805" y="359479"/>
                    <a:pt x="7142484" y="357450"/>
                    <a:pt x="7147959" y="355321"/>
                  </a:cubicBezTo>
                  <a:cubicBezTo>
                    <a:pt x="7153435" y="353192"/>
                    <a:pt x="7158835" y="350808"/>
                    <a:pt x="7164158" y="348172"/>
                  </a:cubicBezTo>
                  <a:cubicBezTo>
                    <a:pt x="7169482" y="345536"/>
                    <a:pt x="7174856" y="342595"/>
                    <a:pt x="7180281" y="339350"/>
                  </a:cubicBezTo>
                  <a:cubicBezTo>
                    <a:pt x="7185706" y="336106"/>
                    <a:pt x="7191308" y="332404"/>
                    <a:pt x="7197088" y="328247"/>
                  </a:cubicBezTo>
                  <a:close/>
                  <a:moveTo>
                    <a:pt x="6987676" y="328247"/>
                  </a:moveTo>
                  <a:cubicBezTo>
                    <a:pt x="7035121" y="328247"/>
                    <a:pt x="7058843" y="365110"/>
                    <a:pt x="7058843" y="438834"/>
                  </a:cubicBezTo>
                  <a:cubicBezTo>
                    <a:pt x="7058843" y="475346"/>
                    <a:pt x="7052148" y="503206"/>
                    <a:pt x="7038757" y="522414"/>
                  </a:cubicBezTo>
                  <a:cubicBezTo>
                    <a:pt x="7025366" y="541622"/>
                    <a:pt x="7006634" y="551227"/>
                    <a:pt x="6982560" y="551227"/>
                  </a:cubicBezTo>
                  <a:cubicBezTo>
                    <a:pt x="6960092" y="551227"/>
                    <a:pt x="6942563" y="542049"/>
                    <a:pt x="6929975" y="523693"/>
                  </a:cubicBezTo>
                  <a:cubicBezTo>
                    <a:pt x="6917386" y="505337"/>
                    <a:pt x="6911092" y="478806"/>
                    <a:pt x="6911092" y="444101"/>
                  </a:cubicBezTo>
                  <a:cubicBezTo>
                    <a:pt x="6911092" y="405984"/>
                    <a:pt x="6917662" y="377146"/>
                    <a:pt x="6930802" y="357586"/>
                  </a:cubicBezTo>
                  <a:cubicBezTo>
                    <a:pt x="6943943" y="338027"/>
                    <a:pt x="6962900" y="328247"/>
                    <a:pt x="6987676" y="328247"/>
                  </a:cubicBezTo>
                  <a:close/>
                  <a:moveTo>
                    <a:pt x="6771166" y="328247"/>
                  </a:moveTo>
                  <a:cubicBezTo>
                    <a:pt x="6818611" y="328247"/>
                    <a:pt x="6842333" y="365110"/>
                    <a:pt x="6842333" y="438834"/>
                  </a:cubicBezTo>
                  <a:cubicBezTo>
                    <a:pt x="6842333" y="475346"/>
                    <a:pt x="6835638" y="503206"/>
                    <a:pt x="6822247" y="522414"/>
                  </a:cubicBezTo>
                  <a:cubicBezTo>
                    <a:pt x="6808856" y="541622"/>
                    <a:pt x="6790124" y="551227"/>
                    <a:pt x="6766050" y="551227"/>
                  </a:cubicBezTo>
                  <a:cubicBezTo>
                    <a:pt x="6743582" y="551227"/>
                    <a:pt x="6726053" y="542049"/>
                    <a:pt x="6713465" y="523693"/>
                  </a:cubicBezTo>
                  <a:cubicBezTo>
                    <a:pt x="6700876" y="505337"/>
                    <a:pt x="6694582" y="478806"/>
                    <a:pt x="6694582" y="444101"/>
                  </a:cubicBezTo>
                  <a:cubicBezTo>
                    <a:pt x="6694582" y="405984"/>
                    <a:pt x="6701152" y="377146"/>
                    <a:pt x="6714292" y="357586"/>
                  </a:cubicBezTo>
                  <a:cubicBezTo>
                    <a:pt x="6727433" y="338027"/>
                    <a:pt x="6746390" y="328247"/>
                    <a:pt x="6771166" y="328247"/>
                  </a:cubicBezTo>
                  <a:close/>
                  <a:moveTo>
                    <a:pt x="6624859" y="328247"/>
                  </a:moveTo>
                  <a:lnTo>
                    <a:pt x="6639765" y="328247"/>
                  </a:lnTo>
                  <a:lnTo>
                    <a:pt x="6639765" y="551227"/>
                  </a:lnTo>
                  <a:lnTo>
                    <a:pt x="6604477" y="551227"/>
                  </a:lnTo>
                  <a:lnTo>
                    <a:pt x="6604477" y="371444"/>
                  </a:lnTo>
                  <a:cubicBezTo>
                    <a:pt x="6598089" y="376007"/>
                    <a:pt x="6591220" y="379885"/>
                    <a:pt x="6583868" y="383079"/>
                  </a:cubicBezTo>
                  <a:cubicBezTo>
                    <a:pt x="6576516" y="386274"/>
                    <a:pt x="6568126" y="389087"/>
                    <a:pt x="6558695" y="391521"/>
                  </a:cubicBezTo>
                  <a:lnTo>
                    <a:pt x="6558695" y="361405"/>
                  </a:lnTo>
                  <a:cubicBezTo>
                    <a:pt x="6564576" y="359479"/>
                    <a:pt x="6570255" y="357450"/>
                    <a:pt x="6575730" y="355321"/>
                  </a:cubicBezTo>
                  <a:cubicBezTo>
                    <a:pt x="6581206" y="353192"/>
                    <a:pt x="6586606" y="350808"/>
                    <a:pt x="6591929" y="348172"/>
                  </a:cubicBezTo>
                  <a:cubicBezTo>
                    <a:pt x="6597253" y="345536"/>
                    <a:pt x="6602627" y="342595"/>
                    <a:pt x="6608052" y="339350"/>
                  </a:cubicBezTo>
                  <a:cubicBezTo>
                    <a:pt x="6613477" y="336106"/>
                    <a:pt x="6619079" y="332404"/>
                    <a:pt x="6624859" y="328247"/>
                  </a:cubicBezTo>
                  <a:close/>
                  <a:moveTo>
                    <a:pt x="6327145" y="328247"/>
                  </a:moveTo>
                  <a:lnTo>
                    <a:pt x="6342051" y="328247"/>
                  </a:lnTo>
                  <a:lnTo>
                    <a:pt x="6342051" y="551227"/>
                  </a:lnTo>
                  <a:lnTo>
                    <a:pt x="6306763" y="551227"/>
                  </a:lnTo>
                  <a:lnTo>
                    <a:pt x="6306763" y="371444"/>
                  </a:lnTo>
                  <a:cubicBezTo>
                    <a:pt x="6300375" y="376007"/>
                    <a:pt x="6293506" y="379885"/>
                    <a:pt x="6286154" y="383079"/>
                  </a:cubicBezTo>
                  <a:cubicBezTo>
                    <a:pt x="6278802" y="386274"/>
                    <a:pt x="6270412" y="389087"/>
                    <a:pt x="6260981" y="391521"/>
                  </a:cubicBezTo>
                  <a:lnTo>
                    <a:pt x="6260981" y="361405"/>
                  </a:lnTo>
                  <a:cubicBezTo>
                    <a:pt x="6266862" y="359479"/>
                    <a:pt x="6272541" y="357450"/>
                    <a:pt x="6278016" y="355321"/>
                  </a:cubicBezTo>
                  <a:cubicBezTo>
                    <a:pt x="6283492" y="353192"/>
                    <a:pt x="6288892" y="350808"/>
                    <a:pt x="6294215" y="348172"/>
                  </a:cubicBezTo>
                  <a:cubicBezTo>
                    <a:pt x="6299539" y="345536"/>
                    <a:pt x="6304913" y="342595"/>
                    <a:pt x="6310338" y="339350"/>
                  </a:cubicBezTo>
                  <a:cubicBezTo>
                    <a:pt x="6315763" y="336106"/>
                    <a:pt x="6321365" y="332404"/>
                    <a:pt x="6327145" y="328247"/>
                  </a:cubicBezTo>
                  <a:close/>
                  <a:moveTo>
                    <a:pt x="6153389" y="328247"/>
                  </a:moveTo>
                  <a:cubicBezTo>
                    <a:pt x="6200834" y="328247"/>
                    <a:pt x="6224556" y="365110"/>
                    <a:pt x="6224556" y="438834"/>
                  </a:cubicBezTo>
                  <a:cubicBezTo>
                    <a:pt x="6224556" y="475346"/>
                    <a:pt x="6217861" y="503206"/>
                    <a:pt x="6204470" y="522414"/>
                  </a:cubicBezTo>
                  <a:cubicBezTo>
                    <a:pt x="6191079" y="541622"/>
                    <a:pt x="6172347" y="551227"/>
                    <a:pt x="6148273" y="551227"/>
                  </a:cubicBezTo>
                  <a:cubicBezTo>
                    <a:pt x="6125805" y="551227"/>
                    <a:pt x="6108276" y="542049"/>
                    <a:pt x="6095688" y="523693"/>
                  </a:cubicBezTo>
                  <a:cubicBezTo>
                    <a:pt x="6083099" y="505337"/>
                    <a:pt x="6076805" y="478806"/>
                    <a:pt x="6076805" y="444101"/>
                  </a:cubicBezTo>
                  <a:cubicBezTo>
                    <a:pt x="6076805" y="405984"/>
                    <a:pt x="6083375" y="377146"/>
                    <a:pt x="6096515" y="357586"/>
                  </a:cubicBezTo>
                  <a:cubicBezTo>
                    <a:pt x="6109656" y="338027"/>
                    <a:pt x="6128613" y="328247"/>
                    <a:pt x="6153389" y="328247"/>
                  </a:cubicBezTo>
                  <a:close/>
                  <a:moveTo>
                    <a:pt x="5936879" y="328247"/>
                  </a:moveTo>
                  <a:cubicBezTo>
                    <a:pt x="5984323" y="328247"/>
                    <a:pt x="6008046" y="365110"/>
                    <a:pt x="6008046" y="438834"/>
                  </a:cubicBezTo>
                  <a:cubicBezTo>
                    <a:pt x="6008046" y="475346"/>
                    <a:pt x="6001350" y="503206"/>
                    <a:pt x="5987960" y="522414"/>
                  </a:cubicBezTo>
                  <a:cubicBezTo>
                    <a:pt x="5974568" y="541622"/>
                    <a:pt x="5955837" y="551227"/>
                    <a:pt x="5931764" y="551227"/>
                  </a:cubicBezTo>
                  <a:cubicBezTo>
                    <a:pt x="5909295" y="551227"/>
                    <a:pt x="5891766" y="542049"/>
                    <a:pt x="5879177" y="523693"/>
                  </a:cubicBezTo>
                  <a:cubicBezTo>
                    <a:pt x="5866589" y="505337"/>
                    <a:pt x="5860295" y="478806"/>
                    <a:pt x="5860295" y="444101"/>
                  </a:cubicBezTo>
                  <a:cubicBezTo>
                    <a:pt x="5860295" y="405984"/>
                    <a:pt x="5866866" y="377146"/>
                    <a:pt x="5880005" y="357586"/>
                  </a:cubicBezTo>
                  <a:cubicBezTo>
                    <a:pt x="5893145" y="338027"/>
                    <a:pt x="5912103" y="328247"/>
                    <a:pt x="5936879" y="328247"/>
                  </a:cubicBezTo>
                  <a:close/>
                  <a:moveTo>
                    <a:pt x="5712771" y="328247"/>
                  </a:moveTo>
                  <a:cubicBezTo>
                    <a:pt x="5760216" y="328247"/>
                    <a:pt x="5783939" y="365110"/>
                    <a:pt x="5783939" y="438834"/>
                  </a:cubicBezTo>
                  <a:cubicBezTo>
                    <a:pt x="5783939" y="475346"/>
                    <a:pt x="5777243" y="503206"/>
                    <a:pt x="5763853" y="522414"/>
                  </a:cubicBezTo>
                  <a:cubicBezTo>
                    <a:pt x="5750461" y="541622"/>
                    <a:pt x="5731729" y="551227"/>
                    <a:pt x="5707657" y="551227"/>
                  </a:cubicBezTo>
                  <a:cubicBezTo>
                    <a:pt x="5685187" y="551227"/>
                    <a:pt x="5667659" y="542049"/>
                    <a:pt x="5655071" y="523693"/>
                  </a:cubicBezTo>
                  <a:cubicBezTo>
                    <a:pt x="5642482" y="505337"/>
                    <a:pt x="5636188" y="478806"/>
                    <a:pt x="5636188" y="444101"/>
                  </a:cubicBezTo>
                  <a:cubicBezTo>
                    <a:pt x="5636188" y="405984"/>
                    <a:pt x="5642758" y="377146"/>
                    <a:pt x="5655899" y="357586"/>
                  </a:cubicBezTo>
                  <a:cubicBezTo>
                    <a:pt x="5669039" y="338027"/>
                    <a:pt x="5687996" y="328247"/>
                    <a:pt x="5712771" y="328247"/>
                  </a:cubicBezTo>
                  <a:close/>
                  <a:moveTo>
                    <a:pt x="5555491" y="328247"/>
                  </a:moveTo>
                  <a:lnTo>
                    <a:pt x="5570400" y="328247"/>
                  </a:lnTo>
                  <a:lnTo>
                    <a:pt x="5570400" y="551227"/>
                  </a:lnTo>
                  <a:lnTo>
                    <a:pt x="5535111" y="551227"/>
                  </a:lnTo>
                  <a:lnTo>
                    <a:pt x="5535111" y="371444"/>
                  </a:lnTo>
                  <a:cubicBezTo>
                    <a:pt x="5528722" y="376007"/>
                    <a:pt x="5521852" y="379885"/>
                    <a:pt x="5514501" y="383079"/>
                  </a:cubicBezTo>
                  <a:cubicBezTo>
                    <a:pt x="5507149" y="386274"/>
                    <a:pt x="5498759" y="389087"/>
                    <a:pt x="5489329" y="391521"/>
                  </a:cubicBezTo>
                  <a:lnTo>
                    <a:pt x="5489329" y="361405"/>
                  </a:lnTo>
                  <a:cubicBezTo>
                    <a:pt x="5495209" y="359479"/>
                    <a:pt x="5500887" y="357450"/>
                    <a:pt x="5506363" y="355321"/>
                  </a:cubicBezTo>
                  <a:cubicBezTo>
                    <a:pt x="5511839" y="353192"/>
                    <a:pt x="5517238" y="350808"/>
                    <a:pt x="5522562" y="348172"/>
                  </a:cubicBezTo>
                  <a:cubicBezTo>
                    <a:pt x="5527885" y="345536"/>
                    <a:pt x="5533260" y="342595"/>
                    <a:pt x="5538684" y="339350"/>
                  </a:cubicBezTo>
                  <a:cubicBezTo>
                    <a:pt x="5544110" y="336106"/>
                    <a:pt x="5549712" y="332404"/>
                    <a:pt x="5555491" y="328247"/>
                  </a:cubicBezTo>
                  <a:close/>
                  <a:moveTo>
                    <a:pt x="5257777" y="328247"/>
                  </a:moveTo>
                  <a:lnTo>
                    <a:pt x="5272684" y="328247"/>
                  </a:lnTo>
                  <a:lnTo>
                    <a:pt x="5272684" y="551227"/>
                  </a:lnTo>
                  <a:lnTo>
                    <a:pt x="5237397" y="551227"/>
                  </a:lnTo>
                  <a:lnTo>
                    <a:pt x="5237397" y="371444"/>
                  </a:lnTo>
                  <a:cubicBezTo>
                    <a:pt x="5231010" y="376007"/>
                    <a:pt x="5224139" y="379885"/>
                    <a:pt x="5216786" y="383079"/>
                  </a:cubicBezTo>
                  <a:cubicBezTo>
                    <a:pt x="5209436" y="386274"/>
                    <a:pt x="5201044" y="389087"/>
                    <a:pt x="5191614" y="391521"/>
                  </a:cubicBezTo>
                  <a:lnTo>
                    <a:pt x="5191614" y="361405"/>
                  </a:lnTo>
                  <a:cubicBezTo>
                    <a:pt x="5197496" y="359479"/>
                    <a:pt x="5203174" y="357450"/>
                    <a:pt x="5208650" y="355321"/>
                  </a:cubicBezTo>
                  <a:cubicBezTo>
                    <a:pt x="5214125" y="353192"/>
                    <a:pt x="5219525" y="350808"/>
                    <a:pt x="5224848" y="348172"/>
                  </a:cubicBezTo>
                  <a:cubicBezTo>
                    <a:pt x="5230172" y="345536"/>
                    <a:pt x="5235547" y="342595"/>
                    <a:pt x="5240970" y="339350"/>
                  </a:cubicBezTo>
                  <a:cubicBezTo>
                    <a:pt x="5246396" y="336106"/>
                    <a:pt x="5251999" y="332404"/>
                    <a:pt x="5257777" y="328247"/>
                  </a:cubicBezTo>
                  <a:close/>
                  <a:moveTo>
                    <a:pt x="4883032" y="328247"/>
                  </a:moveTo>
                  <a:lnTo>
                    <a:pt x="4897939" y="328247"/>
                  </a:lnTo>
                  <a:lnTo>
                    <a:pt x="4897939" y="551227"/>
                  </a:lnTo>
                  <a:lnTo>
                    <a:pt x="4862651" y="551227"/>
                  </a:lnTo>
                  <a:lnTo>
                    <a:pt x="4862651" y="371444"/>
                  </a:lnTo>
                  <a:cubicBezTo>
                    <a:pt x="4856263" y="376007"/>
                    <a:pt x="4849393" y="379885"/>
                    <a:pt x="4842041" y="383079"/>
                  </a:cubicBezTo>
                  <a:cubicBezTo>
                    <a:pt x="4834690" y="386274"/>
                    <a:pt x="4826299" y="389087"/>
                    <a:pt x="4816869" y="391521"/>
                  </a:cubicBezTo>
                  <a:lnTo>
                    <a:pt x="4816869" y="361405"/>
                  </a:lnTo>
                  <a:cubicBezTo>
                    <a:pt x="4822750" y="359479"/>
                    <a:pt x="4828428" y="357450"/>
                    <a:pt x="4833904" y="355321"/>
                  </a:cubicBezTo>
                  <a:cubicBezTo>
                    <a:pt x="4839380" y="353192"/>
                    <a:pt x="4844779" y="350808"/>
                    <a:pt x="4850103" y="348172"/>
                  </a:cubicBezTo>
                  <a:cubicBezTo>
                    <a:pt x="4855426" y="345536"/>
                    <a:pt x="4860801" y="342595"/>
                    <a:pt x="4866225" y="339350"/>
                  </a:cubicBezTo>
                  <a:cubicBezTo>
                    <a:pt x="4871651" y="336106"/>
                    <a:pt x="4877253" y="332404"/>
                    <a:pt x="4883032" y="328247"/>
                  </a:cubicBezTo>
                  <a:close/>
                  <a:moveTo>
                    <a:pt x="4739424" y="328247"/>
                  </a:moveTo>
                  <a:lnTo>
                    <a:pt x="4754331" y="328247"/>
                  </a:lnTo>
                  <a:lnTo>
                    <a:pt x="4754331" y="551227"/>
                  </a:lnTo>
                  <a:lnTo>
                    <a:pt x="4719043" y="551227"/>
                  </a:lnTo>
                  <a:lnTo>
                    <a:pt x="4719043" y="371444"/>
                  </a:lnTo>
                  <a:cubicBezTo>
                    <a:pt x="4712655" y="376007"/>
                    <a:pt x="4705785" y="379885"/>
                    <a:pt x="4698434" y="383079"/>
                  </a:cubicBezTo>
                  <a:cubicBezTo>
                    <a:pt x="4691082" y="386274"/>
                    <a:pt x="4682691" y="389087"/>
                    <a:pt x="4673261" y="391521"/>
                  </a:cubicBezTo>
                  <a:lnTo>
                    <a:pt x="4673261" y="361405"/>
                  </a:lnTo>
                  <a:cubicBezTo>
                    <a:pt x="4679142" y="359479"/>
                    <a:pt x="4684820" y="357450"/>
                    <a:pt x="4690296" y="355321"/>
                  </a:cubicBezTo>
                  <a:cubicBezTo>
                    <a:pt x="4695772" y="353192"/>
                    <a:pt x="4701171" y="350808"/>
                    <a:pt x="4706496" y="348172"/>
                  </a:cubicBezTo>
                  <a:cubicBezTo>
                    <a:pt x="4711818" y="345536"/>
                    <a:pt x="4717194" y="342595"/>
                    <a:pt x="4722617" y="339350"/>
                  </a:cubicBezTo>
                  <a:cubicBezTo>
                    <a:pt x="4728045" y="336106"/>
                    <a:pt x="4733645" y="332404"/>
                    <a:pt x="4739424" y="328247"/>
                  </a:cubicBezTo>
                  <a:close/>
                  <a:moveTo>
                    <a:pt x="4595816" y="328247"/>
                  </a:moveTo>
                  <a:lnTo>
                    <a:pt x="4610723" y="328247"/>
                  </a:lnTo>
                  <a:lnTo>
                    <a:pt x="4610723" y="551227"/>
                  </a:lnTo>
                  <a:lnTo>
                    <a:pt x="4575435" y="551227"/>
                  </a:lnTo>
                  <a:lnTo>
                    <a:pt x="4575435" y="371444"/>
                  </a:lnTo>
                  <a:cubicBezTo>
                    <a:pt x="4569047" y="376007"/>
                    <a:pt x="4562177" y="379885"/>
                    <a:pt x="4554826" y="383079"/>
                  </a:cubicBezTo>
                  <a:cubicBezTo>
                    <a:pt x="4547474" y="386274"/>
                    <a:pt x="4539083" y="389087"/>
                    <a:pt x="4529653" y="391521"/>
                  </a:cubicBezTo>
                  <a:lnTo>
                    <a:pt x="4529653" y="361405"/>
                  </a:lnTo>
                  <a:cubicBezTo>
                    <a:pt x="4535534" y="359479"/>
                    <a:pt x="4541212" y="357450"/>
                    <a:pt x="4546689" y="355321"/>
                  </a:cubicBezTo>
                  <a:cubicBezTo>
                    <a:pt x="4552164" y="353192"/>
                    <a:pt x="4557563" y="350808"/>
                    <a:pt x="4562888" y="348172"/>
                  </a:cubicBezTo>
                  <a:cubicBezTo>
                    <a:pt x="4568211" y="345536"/>
                    <a:pt x="4573585" y="342595"/>
                    <a:pt x="4579010" y="339350"/>
                  </a:cubicBezTo>
                  <a:cubicBezTo>
                    <a:pt x="4584436" y="336106"/>
                    <a:pt x="4590037" y="332404"/>
                    <a:pt x="4595816" y="328247"/>
                  </a:cubicBezTo>
                  <a:close/>
                  <a:moveTo>
                    <a:pt x="4452209" y="328247"/>
                  </a:moveTo>
                  <a:lnTo>
                    <a:pt x="4467115" y="328247"/>
                  </a:lnTo>
                  <a:lnTo>
                    <a:pt x="4467115" y="551227"/>
                  </a:lnTo>
                  <a:lnTo>
                    <a:pt x="4431828" y="551227"/>
                  </a:lnTo>
                  <a:lnTo>
                    <a:pt x="4431828" y="371444"/>
                  </a:lnTo>
                  <a:cubicBezTo>
                    <a:pt x="4425440" y="376007"/>
                    <a:pt x="4418570" y="379885"/>
                    <a:pt x="4411218" y="383079"/>
                  </a:cubicBezTo>
                  <a:cubicBezTo>
                    <a:pt x="4403866" y="386274"/>
                    <a:pt x="4395475" y="389087"/>
                    <a:pt x="4386045" y="391521"/>
                  </a:cubicBezTo>
                  <a:lnTo>
                    <a:pt x="4386045" y="361405"/>
                  </a:lnTo>
                  <a:cubicBezTo>
                    <a:pt x="4391926" y="359479"/>
                    <a:pt x="4397604" y="357450"/>
                    <a:pt x="4403080" y="355321"/>
                  </a:cubicBezTo>
                  <a:cubicBezTo>
                    <a:pt x="4408557" y="353192"/>
                    <a:pt x="4413955" y="350808"/>
                    <a:pt x="4419280" y="348172"/>
                  </a:cubicBezTo>
                  <a:cubicBezTo>
                    <a:pt x="4424602" y="345536"/>
                    <a:pt x="4429977" y="342595"/>
                    <a:pt x="4435402" y="339350"/>
                  </a:cubicBezTo>
                  <a:cubicBezTo>
                    <a:pt x="4440828" y="336106"/>
                    <a:pt x="4446429" y="332404"/>
                    <a:pt x="4452209" y="328247"/>
                  </a:cubicBezTo>
                  <a:close/>
                  <a:moveTo>
                    <a:pt x="3712039" y="328247"/>
                  </a:moveTo>
                  <a:lnTo>
                    <a:pt x="3726944" y="328247"/>
                  </a:lnTo>
                  <a:lnTo>
                    <a:pt x="3726944" y="551227"/>
                  </a:lnTo>
                  <a:lnTo>
                    <a:pt x="3691657" y="551227"/>
                  </a:lnTo>
                  <a:lnTo>
                    <a:pt x="3691657" y="371444"/>
                  </a:lnTo>
                  <a:cubicBezTo>
                    <a:pt x="3685269" y="376007"/>
                    <a:pt x="3678400" y="379885"/>
                    <a:pt x="3671049" y="383079"/>
                  </a:cubicBezTo>
                  <a:cubicBezTo>
                    <a:pt x="3663697" y="386274"/>
                    <a:pt x="3655305" y="389087"/>
                    <a:pt x="3645875" y="391521"/>
                  </a:cubicBezTo>
                  <a:lnTo>
                    <a:pt x="3645875" y="361405"/>
                  </a:lnTo>
                  <a:cubicBezTo>
                    <a:pt x="3651756" y="359479"/>
                    <a:pt x="3657435" y="357450"/>
                    <a:pt x="3662911" y="355321"/>
                  </a:cubicBezTo>
                  <a:cubicBezTo>
                    <a:pt x="3668385" y="353192"/>
                    <a:pt x="3673785" y="350808"/>
                    <a:pt x="3679110" y="348172"/>
                  </a:cubicBezTo>
                  <a:cubicBezTo>
                    <a:pt x="3684434" y="345536"/>
                    <a:pt x="3689807" y="342595"/>
                    <a:pt x="3695232" y="339350"/>
                  </a:cubicBezTo>
                  <a:cubicBezTo>
                    <a:pt x="3700657" y="336106"/>
                    <a:pt x="3706260" y="332404"/>
                    <a:pt x="3712039" y="328247"/>
                  </a:cubicBezTo>
                  <a:close/>
                  <a:moveTo>
                    <a:pt x="3563183" y="328247"/>
                  </a:moveTo>
                  <a:lnTo>
                    <a:pt x="3578089" y="328247"/>
                  </a:lnTo>
                  <a:lnTo>
                    <a:pt x="3578089" y="551227"/>
                  </a:lnTo>
                  <a:lnTo>
                    <a:pt x="3542801" y="551227"/>
                  </a:lnTo>
                  <a:lnTo>
                    <a:pt x="3542801" y="371444"/>
                  </a:lnTo>
                  <a:cubicBezTo>
                    <a:pt x="3536412" y="376007"/>
                    <a:pt x="3529543" y="379885"/>
                    <a:pt x="3522192" y="383079"/>
                  </a:cubicBezTo>
                  <a:cubicBezTo>
                    <a:pt x="3514840" y="386274"/>
                    <a:pt x="3506449" y="389087"/>
                    <a:pt x="3497018" y="391521"/>
                  </a:cubicBezTo>
                  <a:lnTo>
                    <a:pt x="3497018" y="361405"/>
                  </a:lnTo>
                  <a:cubicBezTo>
                    <a:pt x="3502899" y="359479"/>
                    <a:pt x="3508579" y="357450"/>
                    <a:pt x="3514053" y="355321"/>
                  </a:cubicBezTo>
                  <a:cubicBezTo>
                    <a:pt x="3519530" y="353192"/>
                    <a:pt x="3524929" y="350808"/>
                    <a:pt x="3530252" y="348172"/>
                  </a:cubicBezTo>
                  <a:cubicBezTo>
                    <a:pt x="3535577" y="345536"/>
                    <a:pt x="3540951" y="342595"/>
                    <a:pt x="3546374" y="339350"/>
                  </a:cubicBezTo>
                  <a:cubicBezTo>
                    <a:pt x="3551801" y="336106"/>
                    <a:pt x="3557403" y="332404"/>
                    <a:pt x="3563183" y="328247"/>
                  </a:cubicBezTo>
                  <a:close/>
                  <a:moveTo>
                    <a:pt x="2758514" y="328247"/>
                  </a:moveTo>
                  <a:lnTo>
                    <a:pt x="2773420" y="328247"/>
                  </a:lnTo>
                  <a:lnTo>
                    <a:pt x="2773420" y="551227"/>
                  </a:lnTo>
                  <a:lnTo>
                    <a:pt x="2738133" y="551227"/>
                  </a:lnTo>
                  <a:lnTo>
                    <a:pt x="2738133" y="371444"/>
                  </a:lnTo>
                  <a:cubicBezTo>
                    <a:pt x="2731744" y="376007"/>
                    <a:pt x="2724874" y="379885"/>
                    <a:pt x="2717522" y="383079"/>
                  </a:cubicBezTo>
                  <a:cubicBezTo>
                    <a:pt x="2710171" y="386274"/>
                    <a:pt x="2701780" y="389087"/>
                    <a:pt x="2692349" y="391521"/>
                  </a:cubicBezTo>
                  <a:lnTo>
                    <a:pt x="2692349" y="361405"/>
                  </a:lnTo>
                  <a:cubicBezTo>
                    <a:pt x="2698232" y="359479"/>
                    <a:pt x="2703910" y="357450"/>
                    <a:pt x="2709386" y="355321"/>
                  </a:cubicBezTo>
                  <a:cubicBezTo>
                    <a:pt x="2714860" y="353192"/>
                    <a:pt x="2720261" y="350808"/>
                    <a:pt x="2725584" y="348172"/>
                  </a:cubicBezTo>
                  <a:cubicBezTo>
                    <a:pt x="2730908" y="345536"/>
                    <a:pt x="2736281" y="342595"/>
                    <a:pt x="2741707" y="339350"/>
                  </a:cubicBezTo>
                  <a:cubicBezTo>
                    <a:pt x="2747131" y="336106"/>
                    <a:pt x="2752733" y="332404"/>
                    <a:pt x="2758514" y="328247"/>
                  </a:cubicBezTo>
                  <a:close/>
                  <a:moveTo>
                    <a:pt x="2365755" y="328247"/>
                  </a:moveTo>
                  <a:lnTo>
                    <a:pt x="2380662" y="328247"/>
                  </a:lnTo>
                  <a:lnTo>
                    <a:pt x="2380662" y="551227"/>
                  </a:lnTo>
                  <a:lnTo>
                    <a:pt x="2345374" y="551227"/>
                  </a:lnTo>
                  <a:lnTo>
                    <a:pt x="2345374" y="371444"/>
                  </a:lnTo>
                  <a:cubicBezTo>
                    <a:pt x="2338985" y="376007"/>
                    <a:pt x="2332116" y="379885"/>
                    <a:pt x="2324763" y="383079"/>
                  </a:cubicBezTo>
                  <a:cubicBezTo>
                    <a:pt x="2317412" y="386274"/>
                    <a:pt x="2309021" y="389087"/>
                    <a:pt x="2299591" y="391521"/>
                  </a:cubicBezTo>
                  <a:lnTo>
                    <a:pt x="2299591" y="361405"/>
                  </a:lnTo>
                  <a:cubicBezTo>
                    <a:pt x="2305473" y="359479"/>
                    <a:pt x="2311150" y="357450"/>
                    <a:pt x="2316626" y="355321"/>
                  </a:cubicBezTo>
                  <a:cubicBezTo>
                    <a:pt x="2322102" y="353192"/>
                    <a:pt x="2327501" y="350808"/>
                    <a:pt x="2332825" y="348172"/>
                  </a:cubicBezTo>
                  <a:cubicBezTo>
                    <a:pt x="2338148" y="345536"/>
                    <a:pt x="2343522" y="342595"/>
                    <a:pt x="2348947" y="339350"/>
                  </a:cubicBezTo>
                  <a:cubicBezTo>
                    <a:pt x="2354373" y="336106"/>
                    <a:pt x="2359975" y="332404"/>
                    <a:pt x="2365755" y="328247"/>
                  </a:cubicBezTo>
                  <a:close/>
                  <a:moveTo>
                    <a:pt x="2222148" y="328247"/>
                  </a:moveTo>
                  <a:lnTo>
                    <a:pt x="2237054" y="328247"/>
                  </a:lnTo>
                  <a:lnTo>
                    <a:pt x="2237054" y="551227"/>
                  </a:lnTo>
                  <a:lnTo>
                    <a:pt x="2201765" y="551227"/>
                  </a:lnTo>
                  <a:lnTo>
                    <a:pt x="2201765" y="371444"/>
                  </a:lnTo>
                  <a:cubicBezTo>
                    <a:pt x="2195377" y="376007"/>
                    <a:pt x="2188507" y="379885"/>
                    <a:pt x="2181155" y="383079"/>
                  </a:cubicBezTo>
                  <a:cubicBezTo>
                    <a:pt x="2173805" y="386274"/>
                    <a:pt x="2165413" y="389087"/>
                    <a:pt x="2155983" y="391521"/>
                  </a:cubicBezTo>
                  <a:lnTo>
                    <a:pt x="2155983" y="361405"/>
                  </a:lnTo>
                  <a:cubicBezTo>
                    <a:pt x="2161864" y="359479"/>
                    <a:pt x="2167543" y="357450"/>
                    <a:pt x="2173018" y="355321"/>
                  </a:cubicBezTo>
                  <a:cubicBezTo>
                    <a:pt x="2178494" y="353192"/>
                    <a:pt x="2183893" y="350808"/>
                    <a:pt x="2189217" y="348172"/>
                  </a:cubicBezTo>
                  <a:cubicBezTo>
                    <a:pt x="2194540" y="345536"/>
                    <a:pt x="2199914" y="342595"/>
                    <a:pt x="2205340" y="339350"/>
                  </a:cubicBezTo>
                  <a:cubicBezTo>
                    <a:pt x="2210765" y="336106"/>
                    <a:pt x="2216365" y="332404"/>
                    <a:pt x="2222148" y="328247"/>
                  </a:cubicBezTo>
                  <a:close/>
                  <a:moveTo>
                    <a:pt x="2078538" y="328247"/>
                  </a:moveTo>
                  <a:lnTo>
                    <a:pt x="2093445" y="328247"/>
                  </a:lnTo>
                  <a:lnTo>
                    <a:pt x="2093445" y="551227"/>
                  </a:lnTo>
                  <a:lnTo>
                    <a:pt x="2058157" y="551227"/>
                  </a:lnTo>
                  <a:lnTo>
                    <a:pt x="2058157" y="371444"/>
                  </a:lnTo>
                  <a:cubicBezTo>
                    <a:pt x="2051769" y="376007"/>
                    <a:pt x="2044900" y="379885"/>
                    <a:pt x="2037547" y="383079"/>
                  </a:cubicBezTo>
                  <a:cubicBezTo>
                    <a:pt x="2030197" y="386274"/>
                    <a:pt x="2021805" y="389087"/>
                    <a:pt x="2012375" y="391521"/>
                  </a:cubicBezTo>
                  <a:lnTo>
                    <a:pt x="2012375" y="361405"/>
                  </a:lnTo>
                  <a:cubicBezTo>
                    <a:pt x="2018256" y="359479"/>
                    <a:pt x="2023935" y="357450"/>
                    <a:pt x="2029410" y="355321"/>
                  </a:cubicBezTo>
                  <a:cubicBezTo>
                    <a:pt x="2034886" y="353192"/>
                    <a:pt x="2040286" y="350808"/>
                    <a:pt x="2045609" y="348172"/>
                  </a:cubicBezTo>
                  <a:cubicBezTo>
                    <a:pt x="2050933" y="345536"/>
                    <a:pt x="2056308" y="342595"/>
                    <a:pt x="2061730" y="339350"/>
                  </a:cubicBezTo>
                  <a:cubicBezTo>
                    <a:pt x="2067157" y="336106"/>
                    <a:pt x="2072759" y="332404"/>
                    <a:pt x="2078538" y="328247"/>
                  </a:cubicBezTo>
                  <a:close/>
                  <a:moveTo>
                    <a:pt x="1934932" y="328247"/>
                  </a:moveTo>
                  <a:lnTo>
                    <a:pt x="1949837" y="328247"/>
                  </a:lnTo>
                  <a:lnTo>
                    <a:pt x="1949837" y="551227"/>
                  </a:lnTo>
                  <a:lnTo>
                    <a:pt x="1914550" y="551227"/>
                  </a:lnTo>
                  <a:lnTo>
                    <a:pt x="1914550" y="371444"/>
                  </a:lnTo>
                  <a:cubicBezTo>
                    <a:pt x="1908163" y="376007"/>
                    <a:pt x="1901291" y="379885"/>
                    <a:pt x="1893940" y="383079"/>
                  </a:cubicBezTo>
                  <a:cubicBezTo>
                    <a:pt x="1886589" y="386274"/>
                    <a:pt x="1878199" y="389087"/>
                    <a:pt x="1868767" y="391521"/>
                  </a:cubicBezTo>
                  <a:lnTo>
                    <a:pt x="1868767" y="361405"/>
                  </a:lnTo>
                  <a:cubicBezTo>
                    <a:pt x="1874649" y="359479"/>
                    <a:pt x="1880327" y="357450"/>
                    <a:pt x="1885803" y="355321"/>
                  </a:cubicBezTo>
                  <a:cubicBezTo>
                    <a:pt x="1891278" y="353192"/>
                    <a:pt x="1896678" y="350808"/>
                    <a:pt x="1902003" y="348172"/>
                  </a:cubicBezTo>
                  <a:cubicBezTo>
                    <a:pt x="1907327" y="345536"/>
                    <a:pt x="1912700" y="342595"/>
                    <a:pt x="1918124" y="339350"/>
                  </a:cubicBezTo>
                  <a:cubicBezTo>
                    <a:pt x="1923551" y="336106"/>
                    <a:pt x="1929151" y="332404"/>
                    <a:pt x="1934932" y="328247"/>
                  </a:cubicBezTo>
                  <a:close/>
                  <a:moveTo>
                    <a:pt x="1791323" y="328247"/>
                  </a:moveTo>
                  <a:lnTo>
                    <a:pt x="1806229" y="328247"/>
                  </a:lnTo>
                  <a:lnTo>
                    <a:pt x="1806229" y="551227"/>
                  </a:lnTo>
                  <a:lnTo>
                    <a:pt x="1770942" y="551227"/>
                  </a:lnTo>
                  <a:lnTo>
                    <a:pt x="1770942" y="371444"/>
                  </a:lnTo>
                  <a:cubicBezTo>
                    <a:pt x="1764555" y="376007"/>
                    <a:pt x="1757684" y="379885"/>
                    <a:pt x="1750332" y="383079"/>
                  </a:cubicBezTo>
                  <a:cubicBezTo>
                    <a:pt x="1742981" y="386274"/>
                    <a:pt x="1734591" y="389087"/>
                    <a:pt x="1725159" y="391521"/>
                  </a:cubicBezTo>
                  <a:lnTo>
                    <a:pt x="1725159" y="361405"/>
                  </a:lnTo>
                  <a:cubicBezTo>
                    <a:pt x="1731041" y="359479"/>
                    <a:pt x="1736719" y="357450"/>
                    <a:pt x="1742195" y="355321"/>
                  </a:cubicBezTo>
                  <a:cubicBezTo>
                    <a:pt x="1747671" y="353192"/>
                    <a:pt x="1753070" y="350808"/>
                    <a:pt x="1758394" y="348172"/>
                  </a:cubicBezTo>
                  <a:cubicBezTo>
                    <a:pt x="1763717" y="345536"/>
                    <a:pt x="1769091" y="342595"/>
                    <a:pt x="1774516" y="339350"/>
                  </a:cubicBezTo>
                  <a:cubicBezTo>
                    <a:pt x="1779941" y="336106"/>
                    <a:pt x="1785543" y="332404"/>
                    <a:pt x="1791323" y="328247"/>
                  </a:cubicBezTo>
                  <a:close/>
                  <a:moveTo>
                    <a:pt x="1443625" y="328247"/>
                  </a:moveTo>
                  <a:lnTo>
                    <a:pt x="1458532" y="328247"/>
                  </a:lnTo>
                  <a:lnTo>
                    <a:pt x="1458532" y="551227"/>
                  </a:lnTo>
                  <a:lnTo>
                    <a:pt x="1423244" y="551227"/>
                  </a:lnTo>
                  <a:lnTo>
                    <a:pt x="1423244" y="371444"/>
                  </a:lnTo>
                  <a:cubicBezTo>
                    <a:pt x="1416856" y="376007"/>
                    <a:pt x="1409986" y="379885"/>
                    <a:pt x="1402634" y="383079"/>
                  </a:cubicBezTo>
                  <a:cubicBezTo>
                    <a:pt x="1395284" y="386274"/>
                    <a:pt x="1386892" y="389087"/>
                    <a:pt x="1377462" y="391521"/>
                  </a:cubicBezTo>
                  <a:lnTo>
                    <a:pt x="1377462" y="361405"/>
                  </a:lnTo>
                  <a:cubicBezTo>
                    <a:pt x="1383343" y="359479"/>
                    <a:pt x="1389022" y="357450"/>
                    <a:pt x="1394497" y="355321"/>
                  </a:cubicBezTo>
                  <a:cubicBezTo>
                    <a:pt x="1399971" y="353192"/>
                    <a:pt x="1405371" y="350808"/>
                    <a:pt x="1410696" y="348172"/>
                  </a:cubicBezTo>
                  <a:cubicBezTo>
                    <a:pt x="1416019" y="345536"/>
                    <a:pt x="1421393" y="342595"/>
                    <a:pt x="1426818" y="339350"/>
                  </a:cubicBezTo>
                  <a:cubicBezTo>
                    <a:pt x="1432244" y="336106"/>
                    <a:pt x="1437846" y="332404"/>
                    <a:pt x="1443625" y="328247"/>
                  </a:cubicBezTo>
                  <a:close/>
                  <a:moveTo>
                    <a:pt x="1145912" y="328247"/>
                  </a:moveTo>
                  <a:lnTo>
                    <a:pt x="1160818" y="328247"/>
                  </a:lnTo>
                  <a:lnTo>
                    <a:pt x="1160818" y="551227"/>
                  </a:lnTo>
                  <a:lnTo>
                    <a:pt x="1125531" y="551227"/>
                  </a:lnTo>
                  <a:lnTo>
                    <a:pt x="1125531" y="371444"/>
                  </a:lnTo>
                  <a:cubicBezTo>
                    <a:pt x="1119142" y="376007"/>
                    <a:pt x="1112273" y="379885"/>
                    <a:pt x="1104921" y="383079"/>
                  </a:cubicBezTo>
                  <a:cubicBezTo>
                    <a:pt x="1097569" y="386274"/>
                    <a:pt x="1089178" y="389087"/>
                    <a:pt x="1079749" y="391521"/>
                  </a:cubicBezTo>
                  <a:lnTo>
                    <a:pt x="1079749" y="361405"/>
                  </a:lnTo>
                  <a:cubicBezTo>
                    <a:pt x="1085630" y="359479"/>
                    <a:pt x="1091308" y="357450"/>
                    <a:pt x="1096784" y="355321"/>
                  </a:cubicBezTo>
                  <a:cubicBezTo>
                    <a:pt x="1102259" y="353192"/>
                    <a:pt x="1107659" y="350808"/>
                    <a:pt x="1112982" y="348172"/>
                  </a:cubicBezTo>
                  <a:cubicBezTo>
                    <a:pt x="1118306" y="345536"/>
                    <a:pt x="1123680" y="342595"/>
                    <a:pt x="1129105" y="339350"/>
                  </a:cubicBezTo>
                  <a:cubicBezTo>
                    <a:pt x="1134531" y="336106"/>
                    <a:pt x="1140133" y="332404"/>
                    <a:pt x="1145912" y="328247"/>
                  </a:cubicBezTo>
                  <a:close/>
                  <a:moveTo>
                    <a:pt x="934793" y="328247"/>
                  </a:moveTo>
                  <a:cubicBezTo>
                    <a:pt x="982237" y="328247"/>
                    <a:pt x="1005960" y="365110"/>
                    <a:pt x="1005960" y="438834"/>
                  </a:cubicBezTo>
                  <a:cubicBezTo>
                    <a:pt x="1005960" y="475346"/>
                    <a:pt x="999265" y="503206"/>
                    <a:pt x="985874" y="522414"/>
                  </a:cubicBezTo>
                  <a:cubicBezTo>
                    <a:pt x="972483" y="541622"/>
                    <a:pt x="953751" y="551227"/>
                    <a:pt x="929678" y="551227"/>
                  </a:cubicBezTo>
                  <a:cubicBezTo>
                    <a:pt x="907209" y="551227"/>
                    <a:pt x="889681" y="542049"/>
                    <a:pt x="877091" y="523693"/>
                  </a:cubicBezTo>
                  <a:cubicBezTo>
                    <a:pt x="864504" y="505337"/>
                    <a:pt x="858210" y="478806"/>
                    <a:pt x="858210" y="444101"/>
                  </a:cubicBezTo>
                  <a:cubicBezTo>
                    <a:pt x="858210" y="405984"/>
                    <a:pt x="864780" y="377146"/>
                    <a:pt x="877920" y="357586"/>
                  </a:cubicBezTo>
                  <a:cubicBezTo>
                    <a:pt x="891060" y="338027"/>
                    <a:pt x="910018" y="328247"/>
                    <a:pt x="934793" y="328247"/>
                  </a:cubicBezTo>
                  <a:close/>
                  <a:moveTo>
                    <a:pt x="718517" y="328247"/>
                  </a:moveTo>
                  <a:cubicBezTo>
                    <a:pt x="765962" y="328247"/>
                    <a:pt x="789684" y="365110"/>
                    <a:pt x="789684" y="438834"/>
                  </a:cubicBezTo>
                  <a:cubicBezTo>
                    <a:pt x="789684" y="475346"/>
                    <a:pt x="782988" y="503206"/>
                    <a:pt x="769597" y="522414"/>
                  </a:cubicBezTo>
                  <a:cubicBezTo>
                    <a:pt x="756207" y="541622"/>
                    <a:pt x="737474" y="551227"/>
                    <a:pt x="713402" y="551227"/>
                  </a:cubicBezTo>
                  <a:cubicBezTo>
                    <a:pt x="690932" y="551227"/>
                    <a:pt x="673405" y="542049"/>
                    <a:pt x="660816" y="523693"/>
                  </a:cubicBezTo>
                  <a:cubicBezTo>
                    <a:pt x="648228" y="505337"/>
                    <a:pt x="641934" y="478806"/>
                    <a:pt x="641934" y="444101"/>
                  </a:cubicBezTo>
                  <a:cubicBezTo>
                    <a:pt x="641934" y="405984"/>
                    <a:pt x="648503" y="377146"/>
                    <a:pt x="661644" y="357586"/>
                  </a:cubicBezTo>
                  <a:cubicBezTo>
                    <a:pt x="674784" y="338027"/>
                    <a:pt x="693742" y="328247"/>
                    <a:pt x="718517" y="328247"/>
                  </a:cubicBezTo>
                  <a:close/>
                  <a:moveTo>
                    <a:pt x="570384" y="328247"/>
                  </a:moveTo>
                  <a:lnTo>
                    <a:pt x="585291" y="328247"/>
                  </a:lnTo>
                  <a:lnTo>
                    <a:pt x="585291" y="551227"/>
                  </a:lnTo>
                  <a:lnTo>
                    <a:pt x="550003" y="551227"/>
                  </a:lnTo>
                  <a:lnTo>
                    <a:pt x="550003" y="371444"/>
                  </a:lnTo>
                  <a:cubicBezTo>
                    <a:pt x="543615" y="376007"/>
                    <a:pt x="536745" y="379885"/>
                    <a:pt x="529393" y="383079"/>
                  </a:cubicBezTo>
                  <a:cubicBezTo>
                    <a:pt x="522042" y="386274"/>
                    <a:pt x="513651" y="389087"/>
                    <a:pt x="504221" y="391521"/>
                  </a:cubicBezTo>
                  <a:lnTo>
                    <a:pt x="504221" y="361405"/>
                  </a:lnTo>
                  <a:cubicBezTo>
                    <a:pt x="510102" y="359479"/>
                    <a:pt x="515781" y="357450"/>
                    <a:pt x="521256" y="355321"/>
                  </a:cubicBezTo>
                  <a:cubicBezTo>
                    <a:pt x="526733" y="353192"/>
                    <a:pt x="532131" y="350808"/>
                    <a:pt x="537455" y="348172"/>
                  </a:cubicBezTo>
                  <a:cubicBezTo>
                    <a:pt x="542778" y="345536"/>
                    <a:pt x="548153" y="342595"/>
                    <a:pt x="553578" y="339350"/>
                  </a:cubicBezTo>
                  <a:cubicBezTo>
                    <a:pt x="559002" y="336106"/>
                    <a:pt x="564605" y="332404"/>
                    <a:pt x="570384" y="328247"/>
                  </a:cubicBezTo>
                  <a:close/>
                  <a:moveTo>
                    <a:pt x="272671" y="328247"/>
                  </a:moveTo>
                  <a:lnTo>
                    <a:pt x="287576" y="328247"/>
                  </a:lnTo>
                  <a:lnTo>
                    <a:pt x="287576" y="551227"/>
                  </a:lnTo>
                  <a:lnTo>
                    <a:pt x="252289" y="551227"/>
                  </a:lnTo>
                  <a:lnTo>
                    <a:pt x="252289" y="371444"/>
                  </a:lnTo>
                  <a:cubicBezTo>
                    <a:pt x="245901" y="376007"/>
                    <a:pt x="239031" y="379885"/>
                    <a:pt x="231681" y="383079"/>
                  </a:cubicBezTo>
                  <a:cubicBezTo>
                    <a:pt x="224328" y="386274"/>
                    <a:pt x="215938" y="389087"/>
                    <a:pt x="206507" y="391521"/>
                  </a:cubicBezTo>
                  <a:lnTo>
                    <a:pt x="206507" y="361405"/>
                  </a:lnTo>
                  <a:cubicBezTo>
                    <a:pt x="212388" y="359479"/>
                    <a:pt x="218067" y="357450"/>
                    <a:pt x="223541" y="355321"/>
                  </a:cubicBezTo>
                  <a:cubicBezTo>
                    <a:pt x="229018" y="353192"/>
                    <a:pt x="234418" y="350808"/>
                    <a:pt x="239740" y="348172"/>
                  </a:cubicBezTo>
                  <a:cubicBezTo>
                    <a:pt x="245065" y="345536"/>
                    <a:pt x="250438" y="342595"/>
                    <a:pt x="255864" y="339350"/>
                  </a:cubicBezTo>
                  <a:cubicBezTo>
                    <a:pt x="261289" y="336106"/>
                    <a:pt x="266891" y="332404"/>
                    <a:pt x="272671" y="328247"/>
                  </a:cubicBezTo>
                  <a:close/>
                  <a:moveTo>
                    <a:pt x="96910" y="328247"/>
                  </a:moveTo>
                  <a:cubicBezTo>
                    <a:pt x="144355" y="328247"/>
                    <a:pt x="168078" y="365110"/>
                    <a:pt x="168078" y="438834"/>
                  </a:cubicBezTo>
                  <a:cubicBezTo>
                    <a:pt x="168078" y="475346"/>
                    <a:pt x="161382" y="503206"/>
                    <a:pt x="147992" y="522414"/>
                  </a:cubicBezTo>
                  <a:cubicBezTo>
                    <a:pt x="134601" y="541622"/>
                    <a:pt x="115869" y="551227"/>
                    <a:pt x="91795" y="551227"/>
                  </a:cubicBezTo>
                  <a:cubicBezTo>
                    <a:pt x="69327" y="551227"/>
                    <a:pt x="51798" y="542049"/>
                    <a:pt x="39210" y="523693"/>
                  </a:cubicBezTo>
                  <a:cubicBezTo>
                    <a:pt x="26621" y="505337"/>
                    <a:pt x="20327" y="478806"/>
                    <a:pt x="20327" y="444101"/>
                  </a:cubicBezTo>
                  <a:cubicBezTo>
                    <a:pt x="20327" y="405984"/>
                    <a:pt x="26897" y="377146"/>
                    <a:pt x="40037" y="357586"/>
                  </a:cubicBezTo>
                  <a:cubicBezTo>
                    <a:pt x="53178" y="338027"/>
                    <a:pt x="72135" y="328247"/>
                    <a:pt x="96910" y="328247"/>
                  </a:cubicBezTo>
                  <a:close/>
                  <a:moveTo>
                    <a:pt x="11909636" y="27835"/>
                  </a:moveTo>
                  <a:cubicBezTo>
                    <a:pt x="11883456" y="27835"/>
                    <a:pt x="11870366" y="56673"/>
                    <a:pt x="11870366" y="114349"/>
                  </a:cubicBezTo>
                  <a:cubicBezTo>
                    <a:pt x="11870366" y="168313"/>
                    <a:pt x="11883205" y="195295"/>
                    <a:pt x="11908884" y="195295"/>
                  </a:cubicBezTo>
                  <a:cubicBezTo>
                    <a:pt x="11934160" y="195295"/>
                    <a:pt x="11946799" y="167862"/>
                    <a:pt x="11946799" y="112995"/>
                  </a:cubicBezTo>
                  <a:cubicBezTo>
                    <a:pt x="11946799" y="56221"/>
                    <a:pt x="11934411" y="27835"/>
                    <a:pt x="11909636" y="27835"/>
                  </a:cubicBezTo>
                  <a:close/>
                  <a:moveTo>
                    <a:pt x="11203074" y="27835"/>
                  </a:moveTo>
                  <a:cubicBezTo>
                    <a:pt x="11176894" y="27835"/>
                    <a:pt x="11163804" y="56673"/>
                    <a:pt x="11163804" y="114349"/>
                  </a:cubicBezTo>
                  <a:cubicBezTo>
                    <a:pt x="11163804" y="168313"/>
                    <a:pt x="11176643" y="195295"/>
                    <a:pt x="11202322" y="195295"/>
                  </a:cubicBezTo>
                  <a:cubicBezTo>
                    <a:pt x="11227598" y="195295"/>
                    <a:pt x="11240237" y="167862"/>
                    <a:pt x="11240237" y="112995"/>
                  </a:cubicBezTo>
                  <a:cubicBezTo>
                    <a:pt x="11240237" y="56221"/>
                    <a:pt x="11227849" y="27835"/>
                    <a:pt x="11203074" y="27835"/>
                  </a:cubicBezTo>
                  <a:close/>
                  <a:moveTo>
                    <a:pt x="9955555" y="27835"/>
                  </a:moveTo>
                  <a:cubicBezTo>
                    <a:pt x="9929375" y="27835"/>
                    <a:pt x="9916285" y="56673"/>
                    <a:pt x="9916285" y="114349"/>
                  </a:cubicBezTo>
                  <a:cubicBezTo>
                    <a:pt x="9916285" y="168313"/>
                    <a:pt x="9929124" y="195295"/>
                    <a:pt x="9954803" y="195295"/>
                  </a:cubicBezTo>
                  <a:cubicBezTo>
                    <a:pt x="9980079" y="195295"/>
                    <a:pt x="9992718" y="167862"/>
                    <a:pt x="9992718" y="112995"/>
                  </a:cubicBezTo>
                  <a:cubicBezTo>
                    <a:pt x="9992718" y="56221"/>
                    <a:pt x="9980330" y="27835"/>
                    <a:pt x="9955555" y="27835"/>
                  </a:cubicBezTo>
                  <a:close/>
                  <a:moveTo>
                    <a:pt x="9736111" y="27835"/>
                  </a:moveTo>
                  <a:cubicBezTo>
                    <a:pt x="9709931" y="27835"/>
                    <a:pt x="9696841" y="56673"/>
                    <a:pt x="9696841" y="114349"/>
                  </a:cubicBezTo>
                  <a:cubicBezTo>
                    <a:pt x="9696841" y="168313"/>
                    <a:pt x="9709680" y="195295"/>
                    <a:pt x="9735359" y="195295"/>
                  </a:cubicBezTo>
                  <a:cubicBezTo>
                    <a:pt x="9760635" y="195295"/>
                    <a:pt x="9773274" y="167862"/>
                    <a:pt x="9773274" y="112995"/>
                  </a:cubicBezTo>
                  <a:cubicBezTo>
                    <a:pt x="9773274" y="56221"/>
                    <a:pt x="9760886" y="27835"/>
                    <a:pt x="9736111" y="27835"/>
                  </a:cubicBezTo>
                  <a:close/>
                  <a:moveTo>
                    <a:pt x="6381466" y="27835"/>
                  </a:moveTo>
                  <a:cubicBezTo>
                    <a:pt x="6355286" y="27835"/>
                    <a:pt x="6342196" y="56673"/>
                    <a:pt x="6342196" y="114349"/>
                  </a:cubicBezTo>
                  <a:cubicBezTo>
                    <a:pt x="6342196" y="168313"/>
                    <a:pt x="6355035" y="195295"/>
                    <a:pt x="6380714" y="195295"/>
                  </a:cubicBezTo>
                  <a:cubicBezTo>
                    <a:pt x="6405991" y="195295"/>
                    <a:pt x="6418629" y="167862"/>
                    <a:pt x="6418629" y="112995"/>
                  </a:cubicBezTo>
                  <a:cubicBezTo>
                    <a:pt x="6418629" y="56221"/>
                    <a:pt x="6406241" y="27835"/>
                    <a:pt x="6381466" y="27835"/>
                  </a:cubicBezTo>
                  <a:close/>
                  <a:moveTo>
                    <a:pt x="5846380" y="27835"/>
                  </a:moveTo>
                  <a:cubicBezTo>
                    <a:pt x="5820200" y="27835"/>
                    <a:pt x="5807110" y="56673"/>
                    <a:pt x="5807110" y="114349"/>
                  </a:cubicBezTo>
                  <a:cubicBezTo>
                    <a:pt x="5807110" y="168313"/>
                    <a:pt x="5819949" y="195295"/>
                    <a:pt x="5845628" y="195295"/>
                  </a:cubicBezTo>
                  <a:cubicBezTo>
                    <a:pt x="5870906" y="195295"/>
                    <a:pt x="5883543" y="167862"/>
                    <a:pt x="5883543" y="112995"/>
                  </a:cubicBezTo>
                  <a:cubicBezTo>
                    <a:pt x="5883543" y="56221"/>
                    <a:pt x="5871155" y="27835"/>
                    <a:pt x="5846380" y="27835"/>
                  </a:cubicBezTo>
                  <a:close/>
                  <a:moveTo>
                    <a:pt x="5148730" y="27835"/>
                  </a:moveTo>
                  <a:cubicBezTo>
                    <a:pt x="5122550" y="27835"/>
                    <a:pt x="5109460" y="56673"/>
                    <a:pt x="5109460" y="114349"/>
                  </a:cubicBezTo>
                  <a:cubicBezTo>
                    <a:pt x="5109460" y="168313"/>
                    <a:pt x="5122299" y="195295"/>
                    <a:pt x="5147978" y="195295"/>
                  </a:cubicBezTo>
                  <a:cubicBezTo>
                    <a:pt x="5173255" y="195295"/>
                    <a:pt x="5185893" y="167862"/>
                    <a:pt x="5185893" y="112995"/>
                  </a:cubicBezTo>
                  <a:cubicBezTo>
                    <a:pt x="5185893" y="56221"/>
                    <a:pt x="5173505" y="27835"/>
                    <a:pt x="5148730" y="27835"/>
                  </a:cubicBezTo>
                  <a:close/>
                  <a:moveTo>
                    <a:pt x="3896993" y="27835"/>
                  </a:moveTo>
                  <a:cubicBezTo>
                    <a:pt x="3870813" y="27835"/>
                    <a:pt x="3857723" y="56673"/>
                    <a:pt x="3857723" y="114349"/>
                  </a:cubicBezTo>
                  <a:cubicBezTo>
                    <a:pt x="3857723" y="168313"/>
                    <a:pt x="3870562" y="195295"/>
                    <a:pt x="3896240" y="195295"/>
                  </a:cubicBezTo>
                  <a:cubicBezTo>
                    <a:pt x="3921517" y="195295"/>
                    <a:pt x="3934156" y="167862"/>
                    <a:pt x="3934156" y="112995"/>
                  </a:cubicBezTo>
                  <a:cubicBezTo>
                    <a:pt x="3934156" y="56221"/>
                    <a:pt x="3921768" y="27835"/>
                    <a:pt x="3896993" y="27835"/>
                  </a:cubicBezTo>
                  <a:close/>
                  <a:moveTo>
                    <a:pt x="3672329" y="27835"/>
                  </a:moveTo>
                  <a:cubicBezTo>
                    <a:pt x="3646149" y="27835"/>
                    <a:pt x="3633059" y="56673"/>
                    <a:pt x="3633059" y="114349"/>
                  </a:cubicBezTo>
                  <a:cubicBezTo>
                    <a:pt x="3633059" y="168313"/>
                    <a:pt x="3645898" y="195295"/>
                    <a:pt x="3671576" y="195295"/>
                  </a:cubicBezTo>
                  <a:cubicBezTo>
                    <a:pt x="3696853" y="195295"/>
                    <a:pt x="3709492" y="167862"/>
                    <a:pt x="3709492" y="112995"/>
                  </a:cubicBezTo>
                  <a:cubicBezTo>
                    <a:pt x="3709492" y="56221"/>
                    <a:pt x="3697104" y="27835"/>
                    <a:pt x="3672329" y="27835"/>
                  </a:cubicBezTo>
                  <a:close/>
                  <a:moveTo>
                    <a:pt x="310214" y="27835"/>
                  </a:moveTo>
                  <a:cubicBezTo>
                    <a:pt x="284034" y="27835"/>
                    <a:pt x="270944" y="56673"/>
                    <a:pt x="270944" y="114349"/>
                  </a:cubicBezTo>
                  <a:cubicBezTo>
                    <a:pt x="270944" y="168313"/>
                    <a:pt x="283783" y="195295"/>
                    <a:pt x="309462" y="195295"/>
                  </a:cubicBezTo>
                  <a:cubicBezTo>
                    <a:pt x="334739" y="195295"/>
                    <a:pt x="347377" y="167862"/>
                    <a:pt x="347377" y="112995"/>
                  </a:cubicBezTo>
                  <a:cubicBezTo>
                    <a:pt x="347377" y="56221"/>
                    <a:pt x="334989" y="27835"/>
                    <a:pt x="310214" y="27835"/>
                  </a:cubicBezTo>
                  <a:close/>
                  <a:moveTo>
                    <a:pt x="12102965" y="0"/>
                  </a:moveTo>
                  <a:lnTo>
                    <a:pt x="12117871" y="0"/>
                  </a:lnTo>
                  <a:lnTo>
                    <a:pt x="12117871" y="222980"/>
                  </a:lnTo>
                  <a:lnTo>
                    <a:pt x="12082583" y="222980"/>
                  </a:lnTo>
                  <a:lnTo>
                    <a:pt x="12082583" y="43196"/>
                  </a:lnTo>
                  <a:cubicBezTo>
                    <a:pt x="12076195" y="47760"/>
                    <a:pt x="12069325" y="51638"/>
                    <a:pt x="12061974" y="54832"/>
                  </a:cubicBezTo>
                  <a:cubicBezTo>
                    <a:pt x="12054622" y="58027"/>
                    <a:pt x="12046231" y="60840"/>
                    <a:pt x="12036801" y="63274"/>
                  </a:cubicBezTo>
                  <a:lnTo>
                    <a:pt x="12036801" y="33158"/>
                  </a:lnTo>
                  <a:cubicBezTo>
                    <a:pt x="12042682" y="31232"/>
                    <a:pt x="12048361" y="29203"/>
                    <a:pt x="12053836" y="27074"/>
                  </a:cubicBezTo>
                  <a:cubicBezTo>
                    <a:pt x="12059312" y="24945"/>
                    <a:pt x="12064712" y="22561"/>
                    <a:pt x="12070035" y="19925"/>
                  </a:cubicBezTo>
                  <a:cubicBezTo>
                    <a:pt x="12075359" y="17289"/>
                    <a:pt x="12080733" y="14348"/>
                    <a:pt x="12086158" y="11103"/>
                  </a:cubicBezTo>
                  <a:cubicBezTo>
                    <a:pt x="12091583" y="7859"/>
                    <a:pt x="12097185" y="4157"/>
                    <a:pt x="12102965" y="0"/>
                  </a:cubicBezTo>
                  <a:close/>
                  <a:moveTo>
                    <a:pt x="11911291" y="0"/>
                  </a:moveTo>
                  <a:cubicBezTo>
                    <a:pt x="11958735" y="0"/>
                    <a:pt x="11982458" y="36862"/>
                    <a:pt x="11982458" y="110587"/>
                  </a:cubicBezTo>
                  <a:cubicBezTo>
                    <a:pt x="11982458" y="147099"/>
                    <a:pt x="11975762" y="174959"/>
                    <a:pt x="11962372" y="194167"/>
                  </a:cubicBezTo>
                  <a:cubicBezTo>
                    <a:pt x="11948981" y="213375"/>
                    <a:pt x="11930249" y="222980"/>
                    <a:pt x="11906175" y="222980"/>
                  </a:cubicBezTo>
                  <a:cubicBezTo>
                    <a:pt x="11883707" y="222980"/>
                    <a:pt x="11866178" y="213802"/>
                    <a:pt x="11853590" y="195446"/>
                  </a:cubicBezTo>
                  <a:cubicBezTo>
                    <a:pt x="11841001" y="177090"/>
                    <a:pt x="11834707" y="150559"/>
                    <a:pt x="11834707" y="115854"/>
                  </a:cubicBezTo>
                  <a:cubicBezTo>
                    <a:pt x="11834707" y="77737"/>
                    <a:pt x="11841277" y="48899"/>
                    <a:pt x="11854417" y="29339"/>
                  </a:cubicBezTo>
                  <a:cubicBezTo>
                    <a:pt x="11867558" y="9780"/>
                    <a:pt x="11886515" y="0"/>
                    <a:pt x="11911291" y="0"/>
                  </a:cubicBezTo>
                  <a:close/>
                  <a:moveTo>
                    <a:pt x="11204729" y="0"/>
                  </a:moveTo>
                  <a:cubicBezTo>
                    <a:pt x="11252173" y="0"/>
                    <a:pt x="11275896" y="36862"/>
                    <a:pt x="11275896" y="110587"/>
                  </a:cubicBezTo>
                  <a:cubicBezTo>
                    <a:pt x="11275896" y="147099"/>
                    <a:pt x="11269200" y="174959"/>
                    <a:pt x="11255810" y="194167"/>
                  </a:cubicBezTo>
                  <a:cubicBezTo>
                    <a:pt x="11242419" y="213375"/>
                    <a:pt x="11223687" y="222980"/>
                    <a:pt x="11199613" y="222980"/>
                  </a:cubicBezTo>
                  <a:cubicBezTo>
                    <a:pt x="11177145" y="222980"/>
                    <a:pt x="11159616" y="213802"/>
                    <a:pt x="11147028" y="195446"/>
                  </a:cubicBezTo>
                  <a:cubicBezTo>
                    <a:pt x="11134439" y="177090"/>
                    <a:pt x="11128145" y="150559"/>
                    <a:pt x="11128145" y="115854"/>
                  </a:cubicBezTo>
                  <a:cubicBezTo>
                    <a:pt x="11128145" y="77737"/>
                    <a:pt x="11134715" y="48899"/>
                    <a:pt x="11147855" y="29339"/>
                  </a:cubicBezTo>
                  <a:cubicBezTo>
                    <a:pt x="11160996" y="9780"/>
                    <a:pt x="11179953" y="0"/>
                    <a:pt x="11204729" y="0"/>
                  </a:cubicBezTo>
                  <a:close/>
                  <a:moveTo>
                    <a:pt x="10831011" y="0"/>
                  </a:moveTo>
                  <a:lnTo>
                    <a:pt x="10845917" y="0"/>
                  </a:lnTo>
                  <a:lnTo>
                    <a:pt x="10845917" y="222980"/>
                  </a:lnTo>
                  <a:lnTo>
                    <a:pt x="10810629" y="222980"/>
                  </a:lnTo>
                  <a:lnTo>
                    <a:pt x="10810629" y="43196"/>
                  </a:lnTo>
                  <a:cubicBezTo>
                    <a:pt x="10804241" y="47760"/>
                    <a:pt x="10797371" y="51638"/>
                    <a:pt x="10790020" y="54832"/>
                  </a:cubicBezTo>
                  <a:cubicBezTo>
                    <a:pt x="10782668" y="58027"/>
                    <a:pt x="10774277" y="60840"/>
                    <a:pt x="10764847" y="63274"/>
                  </a:cubicBezTo>
                  <a:lnTo>
                    <a:pt x="10764847" y="33158"/>
                  </a:lnTo>
                  <a:cubicBezTo>
                    <a:pt x="10770728" y="31232"/>
                    <a:pt x="10776407" y="29203"/>
                    <a:pt x="10781882" y="27074"/>
                  </a:cubicBezTo>
                  <a:cubicBezTo>
                    <a:pt x="10787358" y="24945"/>
                    <a:pt x="10792758" y="22561"/>
                    <a:pt x="10798081" y="19925"/>
                  </a:cubicBezTo>
                  <a:cubicBezTo>
                    <a:pt x="10803405" y="17289"/>
                    <a:pt x="10808779" y="14348"/>
                    <a:pt x="10814204" y="11103"/>
                  </a:cubicBezTo>
                  <a:cubicBezTo>
                    <a:pt x="10819629" y="7859"/>
                    <a:pt x="10825231" y="4157"/>
                    <a:pt x="10831011" y="0"/>
                  </a:cubicBezTo>
                  <a:close/>
                  <a:moveTo>
                    <a:pt x="10458803" y="0"/>
                  </a:moveTo>
                  <a:lnTo>
                    <a:pt x="10473709" y="0"/>
                  </a:lnTo>
                  <a:lnTo>
                    <a:pt x="10473709" y="222980"/>
                  </a:lnTo>
                  <a:lnTo>
                    <a:pt x="10438421" y="222980"/>
                  </a:lnTo>
                  <a:lnTo>
                    <a:pt x="10438421" y="43196"/>
                  </a:lnTo>
                  <a:cubicBezTo>
                    <a:pt x="10432033" y="47760"/>
                    <a:pt x="10425163" y="51638"/>
                    <a:pt x="10417812" y="54832"/>
                  </a:cubicBezTo>
                  <a:cubicBezTo>
                    <a:pt x="10410460" y="58027"/>
                    <a:pt x="10402069" y="60840"/>
                    <a:pt x="10392639" y="63274"/>
                  </a:cubicBezTo>
                  <a:lnTo>
                    <a:pt x="10392639" y="33158"/>
                  </a:lnTo>
                  <a:cubicBezTo>
                    <a:pt x="10398520" y="31232"/>
                    <a:pt x="10404199" y="29203"/>
                    <a:pt x="10409674" y="27074"/>
                  </a:cubicBezTo>
                  <a:cubicBezTo>
                    <a:pt x="10415150" y="24945"/>
                    <a:pt x="10420550" y="22561"/>
                    <a:pt x="10425873" y="19925"/>
                  </a:cubicBezTo>
                  <a:cubicBezTo>
                    <a:pt x="10431197" y="17289"/>
                    <a:pt x="10436571" y="14348"/>
                    <a:pt x="10441996" y="11103"/>
                  </a:cubicBezTo>
                  <a:cubicBezTo>
                    <a:pt x="10447421" y="7859"/>
                    <a:pt x="10453023" y="4157"/>
                    <a:pt x="10458803" y="0"/>
                  </a:cubicBezTo>
                  <a:close/>
                  <a:moveTo>
                    <a:pt x="10171587" y="0"/>
                  </a:moveTo>
                  <a:lnTo>
                    <a:pt x="10186493" y="0"/>
                  </a:lnTo>
                  <a:lnTo>
                    <a:pt x="10186493" y="222980"/>
                  </a:lnTo>
                  <a:lnTo>
                    <a:pt x="10151205" y="222980"/>
                  </a:lnTo>
                  <a:lnTo>
                    <a:pt x="10151205" y="43196"/>
                  </a:lnTo>
                  <a:cubicBezTo>
                    <a:pt x="10144817" y="47760"/>
                    <a:pt x="10137947" y="51638"/>
                    <a:pt x="10130596" y="54832"/>
                  </a:cubicBezTo>
                  <a:cubicBezTo>
                    <a:pt x="10123244" y="58027"/>
                    <a:pt x="10114853" y="60840"/>
                    <a:pt x="10105423" y="63274"/>
                  </a:cubicBezTo>
                  <a:lnTo>
                    <a:pt x="10105423" y="33158"/>
                  </a:lnTo>
                  <a:cubicBezTo>
                    <a:pt x="10111304" y="31232"/>
                    <a:pt x="10116983" y="29203"/>
                    <a:pt x="10122458" y="27074"/>
                  </a:cubicBezTo>
                  <a:cubicBezTo>
                    <a:pt x="10127934" y="24945"/>
                    <a:pt x="10133334" y="22561"/>
                    <a:pt x="10138657" y="19925"/>
                  </a:cubicBezTo>
                  <a:cubicBezTo>
                    <a:pt x="10143981" y="17289"/>
                    <a:pt x="10149355" y="14348"/>
                    <a:pt x="10154780" y="11103"/>
                  </a:cubicBezTo>
                  <a:cubicBezTo>
                    <a:pt x="10160205" y="7859"/>
                    <a:pt x="10165807" y="4157"/>
                    <a:pt x="10171587" y="0"/>
                  </a:cubicBezTo>
                  <a:close/>
                  <a:moveTo>
                    <a:pt x="9957210" y="0"/>
                  </a:moveTo>
                  <a:cubicBezTo>
                    <a:pt x="10004654" y="0"/>
                    <a:pt x="10028377" y="36862"/>
                    <a:pt x="10028377" y="110587"/>
                  </a:cubicBezTo>
                  <a:cubicBezTo>
                    <a:pt x="10028377" y="147099"/>
                    <a:pt x="10021681" y="174959"/>
                    <a:pt x="10008291" y="194167"/>
                  </a:cubicBezTo>
                  <a:cubicBezTo>
                    <a:pt x="9994900" y="213375"/>
                    <a:pt x="9976168" y="222980"/>
                    <a:pt x="9952094" y="222980"/>
                  </a:cubicBezTo>
                  <a:cubicBezTo>
                    <a:pt x="9929626" y="222980"/>
                    <a:pt x="9912097" y="213802"/>
                    <a:pt x="9899509" y="195446"/>
                  </a:cubicBezTo>
                  <a:cubicBezTo>
                    <a:pt x="9886920" y="177090"/>
                    <a:pt x="9880626" y="150559"/>
                    <a:pt x="9880626" y="115854"/>
                  </a:cubicBezTo>
                  <a:cubicBezTo>
                    <a:pt x="9880626" y="77737"/>
                    <a:pt x="9887196" y="48899"/>
                    <a:pt x="9900336" y="29339"/>
                  </a:cubicBezTo>
                  <a:cubicBezTo>
                    <a:pt x="9913477" y="9780"/>
                    <a:pt x="9932434" y="0"/>
                    <a:pt x="9957210" y="0"/>
                  </a:cubicBezTo>
                  <a:close/>
                  <a:moveTo>
                    <a:pt x="9737766" y="0"/>
                  </a:moveTo>
                  <a:cubicBezTo>
                    <a:pt x="9785210" y="0"/>
                    <a:pt x="9808933" y="36862"/>
                    <a:pt x="9808933" y="110587"/>
                  </a:cubicBezTo>
                  <a:cubicBezTo>
                    <a:pt x="9808933" y="147099"/>
                    <a:pt x="9802237" y="174959"/>
                    <a:pt x="9788847" y="194167"/>
                  </a:cubicBezTo>
                  <a:cubicBezTo>
                    <a:pt x="9775456" y="213375"/>
                    <a:pt x="9756724" y="222980"/>
                    <a:pt x="9732650" y="222980"/>
                  </a:cubicBezTo>
                  <a:cubicBezTo>
                    <a:pt x="9710182" y="222980"/>
                    <a:pt x="9692653" y="213802"/>
                    <a:pt x="9680065" y="195446"/>
                  </a:cubicBezTo>
                  <a:cubicBezTo>
                    <a:pt x="9667476" y="177090"/>
                    <a:pt x="9661182" y="150559"/>
                    <a:pt x="9661182" y="115854"/>
                  </a:cubicBezTo>
                  <a:cubicBezTo>
                    <a:pt x="9661182" y="77737"/>
                    <a:pt x="9667752" y="48899"/>
                    <a:pt x="9680892" y="29339"/>
                  </a:cubicBezTo>
                  <a:cubicBezTo>
                    <a:pt x="9694033" y="9780"/>
                    <a:pt x="9712990" y="0"/>
                    <a:pt x="9737766" y="0"/>
                  </a:cubicBezTo>
                  <a:close/>
                  <a:moveTo>
                    <a:pt x="9570779" y="0"/>
                  </a:moveTo>
                  <a:lnTo>
                    <a:pt x="9585685" y="0"/>
                  </a:lnTo>
                  <a:lnTo>
                    <a:pt x="9585685" y="222980"/>
                  </a:lnTo>
                  <a:lnTo>
                    <a:pt x="9550397" y="222980"/>
                  </a:lnTo>
                  <a:lnTo>
                    <a:pt x="9550397" y="43196"/>
                  </a:lnTo>
                  <a:cubicBezTo>
                    <a:pt x="9544009" y="47760"/>
                    <a:pt x="9537139" y="51638"/>
                    <a:pt x="9529788" y="54832"/>
                  </a:cubicBezTo>
                  <a:cubicBezTo>
                    <a:pt x="9522436" y="58027"/>
                    <a:pt x="9514045" y="60840"/>
                    <a:pt x="9504615" y="63274"/>
                  </a:cubicBezTo>
                  <a:lnTo>
                    <a:pt x="9504615" y="33158"/>
                  </a:lnTo>
                  <a:cubicBezTo>
                    <a:pt x="9510496" y="31232"/>
                    <a:pt x="9516175" y="29203"/>
                    <a:pt x="9521650" y="27074"/>
                  </a:cubicBezTo>
                  <a:cubicBezTo>
                    <a:pt x="9527126" y="24945"/>
                    <a:pt x="9532526" y="22561"/>
                    <a:pt x="9537849" y="19925"/>
                  </a:cubicBezTo>
                  <a:cubicBezTo>
                    <a:pt x="9543173" y="17289"/>
                    <a:pt x="9548547" y="14348"/>
                    <a:pt x="9553972" y="11103"/>
                  </a:cubicBezTo>
                  <a:cubicBezTo>
                    <a:pt x="9559397" y="7859"/>
                    <a:pt x="9564999" y="4157"/>
                    <a:pt x="9570779" y="0"/>
                  </a:cubicBezTo>
                  <a:close/>
                  <a:moveTo>
                    <a:pt x="9283563" y="0"/>
                  </a:moveTo>
                  <a:lnTo>
                    <a:pt x="9298469" y="0"/>
                  </a:lnTo>
                  <a:lnTo>
                    <a:pt x="9298469" y="222980"/>
                  </a:lnTo>
                  <a:lnTo>
                    <a:pt x="9263181" y="222980"/>
                  </a:lnTo>
                  <a:lnTo>
                    <a:pt x="9263181" y="43196"/>
                  </a:lnTo>
                  <a:cubicBezTo>
                    <a:pt x="9256793" y="47760"/>
                    <a:pt x="9249923" y="51638"/>
                    <a:pt x="9242572" y="54832"/>
                  </a:cubicBezTo>
                  <a:cubicBezTo>
                    <a:pt x="9235220" y="58027"/>
                    <a:pt x="9226829" y="60840"/>
                    <a:pt x="9217399" y="63274"/>
                  </a:cubicBezTo>
                  <a:lnTo>
                    <a:pt x="9217399" y="33158"/>
                  </a:lnTo>
                  <a:cubicBezTo>
                    <a:pt x="9223280" y="31232"/>
                    <a:pt x="9228959" y="29203"/>
                    <a:pt x="9234434" y="27074"/>
                  </a:cubicBezTo>
                  <a:cubicBezTo>
                    <a:pt x="9239910" y="24945"/>
                    <a:pt x="9245310" y="22561"/>
                    <a:pt x="9250633" y="19925"/>
                  </a:cubicBezTo>
                  <a:cubicBezTo>
                    <a:pt x="9255957" y="17289"/>
                    <a:pt x="9261331" y="14348"/>
                    <a:pt x="9266756" y="11103"/>
                  </a:cubicBezTo>
                  <a:cubicBezTo>
                    <a:pt x="9272181" y="7859"/>
                    <a:pt x="9277783" y="4157"/>
                    <a:pt x="9283563" y="0"/>
                  </a:cubicBezTo>
                  <a:close/>
                  <a:moveTo>
                    <a:pt x="8893772" y="0"/>
                  </a:moveTo>
                  <a:lnTo>
                    <a:pt x="8908678" y="0"/>
                  </a:lnTo>
                  <a:lnTo>
                    <a:pt x="8908678" y="222980"/>
                  </a:lnTo>
                  <a:lnTo>
                    <a:pt x="8873390" y="222980"/>
                  </a:lnTo>
                  <a:lnTo>
                    <a:pt x="8873390" y="43196"/>
                  </a:lnTo>
                  <a:cubicBezTo>
                    <a:pt x="8867002" y="47760"/>
                    <a:pt x="8860132" y="51638"/>
                    <a:pt x="8852781" y="54832"/>
                  </a:cubicBezTo>
                  <a:cubicBezTo>
                    <a:pt x="8845429" y="58027"/>
                    <a:pt x="8837038" y="60840"/>
                    <a:pt x="8827608" y="63274"/>
                  </a:cubicBezTo>
                  <a:lnTo>
                    <a:pt x="8827608" y="33158"/>
                  </a:lnTo>
                  <a:cubicBezTo>
                    <a:pt x="8833489" y="31232"/>
                    <a:pt x="8839168" y="29203"/>
                    <a:pt x="8844643" y="27074"/>
                  </a:cubicBezTo>
                  <a:cubicBezTo>
                    <a:pt x="8850119" y="24945"/>
                    <a:pt x="8855519" y="22561"/>
                    <a:pt x="8860842" y="19925"/>
                  </a:cubicBezTo>
                  <a:cubicBezTo>
                    <a:pt x="8866166" y="17289"/>
                    <a:pt x="8871540" y="14348"/>
                    <a:pt x="8876965" y="11103"/>
                  </a:cubicBezTo>
                  <a:cubicBezTo>
                    <a:pt x="8882390" y="7859"/>
                    <a:pt x="8887992" y="4157"/>
                    <a:pt x="8893772" y="0"/>
                  </a:cubicBezTo>
                  <a:close/>
                  <a:moveTo>
                    <a:pt x="8750164" y="0"/>
                  </a:moveTo>
                  <a:lnTo>
                    <a:pt x="8765070" y="0"/>
                  </a:lnTo>
                  <a:lnTo>
                    <a:pt x="8765070" y="222980"/>
                  </a:lnTo>
                  <a:lnTo>
                    <a:pt x="8729782" y="222980"/>
                  </a:lnTo>
                  <a:lnTo>
                    <a:pt x="8729782" y="43196"/>
                  </a:lnTo>
                  <a:cubicBezTo>
                    <a:pt x="8723394" y="47760"/>
                    <a:pt x="8716524" y="51638"/>
                    <a:pt x="8709173" y="54832"/>
                  </a:cubicBezTo>
                  <a:cubicBezTo>
                    <a:pt x="8701821" y="58027"/>
                    <a:pt x="8693430" y="60840"/>
                    <a:pt x="8684000" y="63274"/>
                  </a:cubicBezTo>
                  <a:lnTo>
                    <a:pt x="8684000" y="33158"/>
                  </a:lnTo>
                  <a:cubicBezTo>
                    <a:pt x="8689881" y="31232"/>
                    <a:pt x="8695560" y="29203"/>
                    <a:pt x="8701035" y="27074"/>
                  </a:cubicBezTo>
                  <a:cubicBezTo>
                    <a:pt x="8706511" y="24945"/>
                    <a:pt x="8711911" y="22561"/>
                    <a:pt x="8717234" y="19925"/>
                  </a:cubicBezTo>
                  <a:cubicBezTo>
                    <a:pt x="8722558" y="17289"/>
                    <a:pt x="8727932" y="14348"/>
                    <a:pt x="8733357" y="11103"/>
                  </a:cubicBezTo>
                  <a:cubicBezTo>
                    <a:pt x="8738782" y="7859"/>
                    <a:pt x="8744384" y="4157"/>
                    <a:pt x="8750164" y="0"/>
                  </a:cubicBezTo>
                  <a:close/>
                  <a:moveTo>
                    <a:pt x="8606556" y="0"/>
                  </a:moveTo>
                  <a:lnTo>
                    <a:pt x="8621462" y="0"/>
                  </a:lnTo>
                  <a:lnTo>
                    <a:pt x="8621462" y="222980"/>
                  </a:lnTo>
                  <a:lnTo>
                    <a:pt x="8586174" y="222980"/>
                  </a:lnTo>
                  <a:lnTo>
                    <a:pt x="8586174" y="43196"/>
                  </a:lnTo>
                  <a:cubicBezTo>
                    <a:pt x="8579786" y="47760"/>
                    <a:pt x="8572916" y="51638"/>
                    <a:pt x="8565565" y="54832"/>
                  </a:cubicBezTo>
                  <a:cubicBezTo>
                    <a:pt x="8558213" y="58027"/>
                    <a:pt x="8549822" y="60840"/>
                    <a:pt x="8540392" y="63274"/>
                  </a:cubicBezTo>
                  <a:lnTo>
                    <a:pt x="8540392" y="33158"/>
                  </a:lnTo>
                  <a:cubicBezTo>
                    <a:pt x="8546273" y="31232"/>
                    <a:pt x="8551952" y="29203"/>
                    <a:pt x="8557427" y="27074"/>
                  </a:cubicBezTo>
                  <a:cubicBezTo>
                    <a:pt x="8562903" y="24945"/>
                    <a:pt x="8568303" y="22561"/>
                    <a:pt x="8573626" y="19925"/>
                  </a:cubicBezTo>
                  <a:cubicBezTo>
                    <a:pt x="8578950" y="17289"/>
                    <a:pt x="8584324" y="14348"/>
                    <a:pt x="8589749" y="11103"/>
                  </a:cubicBezTo>
                  <a:cubicBezTo>
                    <a:pt x="8595174" y="7859"/>
                    <a:pt x="8600776" y="4157"/>
                    <a:pt x="8606556" y="0"/>
                  </a:cubicBezTo>
                  <a:close/>
                  <a:moveTo>
                    <a:pt x="7844555" y="0"/>
                  </a:moveTo>
                  <a:lnTo>
                    <a:pt x="7859462" y="0"/>
                  </a:lnTo>
                  <a:lnTo>
                    <a:pt x="7859462" y="222980"/>
                  </a:lnTo>
                  <a:lnTo>
                    <a:pt x="7824174" y="222980"/>
                  </a:lnTo>
                  <a:lnTo>
                    <a:pt x="7824174" y="43196"/>
                  </a:lnTo>
                  <a:cubicBezTo>
                    <a:pt x="7817786" y="47760"/>
                    <a:pt x="7810916" y="51638"/>
                    <a:pt x="7803564" y="54832"/>
                  </a:cubicBezTo>
                  <a:cubicBezTo>
                    <a:pt x="7796213" y="58027"/>
                    <a:pt x="7787822" y="60840"/>
                    <a:pt x="7778392" y="63274"/>
                  </a:cubicBezTo>
                  <a:lnTo>
                    <a:pt x="7778392" y="33158"/>
                  </a:lnTo>
                  <a:cubicBezTo>
                    <a:pt x="7784273" y="31232"/>
                    <a:pt x="7789951" y="29203"/>
                    <a:pt x="7795427" y="27074"/>
                  </a:cubicBezTo>
                  <a:cubicBezTo>
                    <a:pt x="7800903" y="24945"/>
                    <a:pt x="7806302" y="22561"/>
                    <a:pt x="7811626" y="19925"/>
                  </a:cubicBezTo>
                  <a:cubicBezTo>
                    <a:pt x="7816949" y="17289"/>
                    <a:pt x="7822324" y="14348"/>
                    <a:pt x="7827748" y="11103"/>
                  </a:cubicBezTo>
                  <a:cubicBezTo>
                    <a:pt x="7833174" y="7859"/>
                    <a:pt x="7838776" y="4157"/>
                    <a:pt x="7844555" y="0"/>
                  </a:cubicBezTo>
                  <a:close/>
                  <a:moveTo>
                    <a:pt x="7700947" y="0"/>
                  </a:moveTo>
                  <a:lnTo>
                    <a:pt x="7715854" y="0"/>
                  </a:lnTo>
                  <a:lnTo>
                    <a:pt x="7715854" y="222980"/>
                  </a:lnTo>
                  <a:lnTo>
                    <a:pt x="7680566" y="222980"/>
                  </a:lnTo>
                  <a:lnTo>
                    <a:pt x="7680566" y="43196"/>
                  </a:lnTo>
                  <a:cubicBezTo>
                    <a:pt x="7674178" y="47760"/>
                    <a:pt x="7667308" y="51638"/>
                    <a:pt x="7659956" y="54832"/>
                  </a:cubicBezTo>
                  <a:cubicBezTo>
                    <a:pt x="7652605" y="58027"/>
                    <a:pt x="7644214" y="60840"/>
                    <a:pt x="7634784" y="63274"/>
                  </a:cubicBezTo>
                  <a:lnTo>
                    <a:pt x="7634784" y="33158"/>
                  </a:lnTo>
                  <a:cubicBezTo>
                    <a:pt x="7640665" y="31232"/>
                    <a:pt x="7646343" y="29203"/>
                    <a:pt x="7651819" y="27074"/>
                  </a:cubicBezTo>
                  <a:cubicBezTo>
                    <a:pt x="7657295" y="24945"/>
                    <a:pt x="7662694" y="22561"/>
                    <a:pt x="7668018" y="19925"/>
                  </a:cubicBezTo>
                  <a:cubicBezTo>
                    <a:pt x="7673341" y="17289"/>
                    <a:pt x="7678716" y="14348"/>
                    <a:pt x="7684140" y="11103"/>
                  </a:cubicBezTo>
                  <a:cubicBezTo>
                    <a:pt x="7689566" y="7859"/>
                    <a:pt x="7695168" y="4157"/>
                    <a:pt x="7700947" y="0"/>
                  </a:cubicBezTo>
                  <a:close/>
                  <a:moveTo>
                    <a:pt x="7413731" y="0"/>
                  </a:moveTo>
                  <a:lnTo>
                    <a:pt x="7428638" y="0"/>
                  </a:lnTo>
                  <a:lnTo>
                    <a:pt x="7428638" y="222980"/>
                  </a:lnTo>
                  <a:lnTo>
                    <a:pt x="7393350" y="222980"/>
                  </a:lnTo>
                  <a:lnTo>
                    <a:pt x="7393350" y="43196"/>
                  </a:lnTo>
                  <a:cubicBezTo>
                    <a:pt x="7386962" y="47760"/>
                    <a:pt x="7380092" y="51638"/>
                    <a:pt x="7372740" y="54832"/>
                  </a:cubicBezTo>
                  <a:cubicBezTo>
                    <a:pt x="7365389" y="58027"/>
                    <a:pt x="7356998" y="60840"/>
                    <a:pt x="7347568" y="63274"/>
                  </a:cubicBezTo>
                  <a:lnTo>
                    <a:pt x="7347568" y="33158"/>
                  </a:lnTo>
                  <a:cubicBezTo>
                    <a:pt x="7353449" y="31232"/>
                    <a:pt x="7359127" y="29203"/>
                    <a:pt x="7364603" y="27074"/>
                  </a:cubicBezTo>
                  <a:cubicBezTo>
                    <a:pt x="7370079" y="24945"/>
                    <a:pt x="7375478" y="22561"/>
                    <a:pt x="7380802" y="19925"/>
                  </a:cubicBezTo>
                  <a:cubicBezTo>
                    <a:pt x="7386125" y="17289"/>
                    <a:pt x="7391500" y="14348"/>
                    <a:pt x="7396924" y="11103"/>
                  </a:cubicBezTo>
                  <a:cubicBezTo>
                    <a:pt x="7402350" y="7859"/>
                    <a:pt x="7407952" y="4157"/>
                    <a:pt x="7413731" y="0"/>
                  </a:cubicBezTo>
                  <a:close/>
                  <a:moveTo>
                    <a:pt x="7015147" y="0"/>
                  </a:moveTo>
                  <a:lnTo>
                    <a:pt x="7030053" y="0"/>
                  </a:lnTo>
                  <a:lnTo>
                    <a:pt x="7030053" y="222980"/>
                  </a:lnTo>
                  <a:lnTo>
                    <a:pt x="6994765" y="222980"/>
                  </a:lnTo>
                  <a:lnTo>
                    <a:pt x="6994765" y="43196"/>
                  </a:lnTo>
                  <a:cubicBezTo>
                    <a:pt x="6988377" y="47760"/>
                    <a:pt x="6981508" y="51638"/>
                    <a:pt x="6974156" y="54832"/>
                  </a:cubicBezTo>
                  <a:cubicBezTo>
                    <a:pt x="6966804" y="58027"/>
                    <a:pt x="6958414" y="60840"/>
                    <a:pt x="6948983" y="63274"/>
                  </a:cubicBezTo>
                  <a:lnTo>
                    <a:pt x="6948983" y="33158"/>
                  </a:lnTo>
                  <a:cubicBezTo>
                    <a:pt x="6954864" y="31232"/>
                    <a:pt x="6960543" y="29203"/>
                    <a:pt x="6966018" y="27074"/>
                  </a:cubicBezTo>
                  <a:cubicBezTo>
                    <a:pt x="6971494" y="24945"/>
                    <a:pt x="6976894" y="22561"/>
                    <a:pt x="6982217" y="19925"/>
                  </a:cubicBezTo>
                  <a:cubicBezTo>
                    <a:pt x="6987541" y="17289"/>
                    <a:pt x="6992915" y="14348"/>
                    <a:pt x="6998340" y="11103"/>
                  </a:cubicBezTo>
                  <a:cubicBezTo>
                    <a:pt x="7003765" y="7859"/>
                    <a:pt x="7009367" y="4157"/>
                    <a:pt x="7015147" y="0"/>
                  </a:cubicBezTo>
                  <a:close/>
                  <a:moveTo>
                    <a:pt x="6871539" y="0"/>
                  </a:moveTo>
                  <a:lnTo>
                    <a:pt x="6886445" y="0"/>
                  </a:lnTo>
                  <a:lnTo>
                    <a:pt x="6886445" y="222980"/>
                  </a:lnTo>
                  <a:lnTo>
                    <a:pt x="6851157" y="222980"/>
                  </a:lnTo>
                  <a:lnTo>
                    <a:pt x="6851157" y="43196"/>
                  </a:lnTo>
                  <a:cubicBezTo>
                    <a:pt x="6844769" y="47760"/>
                    <a:pt x="6837900" y="51638"/>
                    <a:pt x="6830548" y="54832"/>
                  </a:cubicBezTo>
                  <a:cubicBezTo>
                    <a:pt x="6823196" y="58027"/>
                    <a:pt x="6814806" y="60840"/>
                    <a:pt x="6805375" y="63274"/>
                  </a:cubicBezTo>
                  <a:lnTo>
                    <a:pt x="6805375" y="33158"/>
                  </a:lnTo>
                  <a:cubicBezTo>
                    <a:pt x="6811256" y="31232"/>
                    <a:pt x="6816935" y="29203"/>
                    <a:pt x="6822410" y="27074"/>
                  </a:cubicBezTo>
                  <a:cubicBezTo>
                    <a:pt x="6827886" y="24945"/>
                    <a:pt x="6833286" y="22561"/>
                    <a:pt x="6838609" y="19925"/>
                  </a:cubicBezTo>
                  <a:cubicBezTo>
                    <a:pt x="6843933" y="17289"/>
                    <a:pt x="6849307" y="14348"/>
                    <a:pt x="6854732" y="11103"/>
                  </a:cubicBezTo>
                  <a:cubicBezTo>
                    <a:pt x="6860157" y="7859"/>
                    <a:pt x="6865759" y="4157"/>
                    <a:pt x="6871539" y="0"/>
                  </a:cubicBezTo>
                  <a:close/>
                  <a:moveTo>
                    <a:pt x="6727931" y="0"/>
                  </a:moveTo>
                  <a:lnTo>
                    <a:pt x="6742837" y="0"/>
                  </a:lnTo>
                  <a:lnTo>
                    <a:pt x="6742837" y="222980"/>
                  </a:lnTo>
                  <a:lnTo>
                    <a:pt x="6707549" y="222980"/>
                  </a:lnTo>
                  <a:lnTo>
                    <a:pt x="6707549" y="43196"/>
                  </a:lnTo>
                  <a:cubicBezTo>
                    <a:pt x="6701161" y="47760"/>
                    <a:pt x="6694292" y="51638"/>
                    <a:pt x="6686940" y="54832"/>
                  </a:cubicBezTo>
                  <a:cubicBezTo>
                    <a:pt x="6679588" y="58027"/>
                    <a:pt x="6671198" y="60840"/>
                    <a:pt x="6661767" y="63274"/>
                  </a:cubicBezTo>
                  <a:lnTo>
                    <a:pt x="6661767" y="33158"/>
                  </a:lnTo>
                  <a:cubicBezTo>
                    <a:pt x="6667648" y="31232"/>
                    <a:pt x="6673327" y="29203"/>
                    <a:pt x="6678802" y="27074"/>
                  </a:cubicBezTo>
                  <a:cubicBezTo>
                    <a:pt x="6684278" y="24945"/>
                    <a:pt x="6689678" y="22561"/>
                    <a:pt x="6695001" y="19925"/>
                  </a:cubicBezTo>
                  <a:cubicBezTo>
                    <a:pt x="6700325" y="17289"/>
                    <a:pt x="6705699" y="14348"/>
                    <a:pt x="6711124" y="11103"/>
                  </a:cubicBezTo>
                  <a:cubicBezTo>
                    <a:pt x="6716549" y="7859"/>
                    <a:pt x="6722151" y="4157"/>
                    <a:pt x="6727931" y="0"/>
                  </a:cubicBezTo>
                  <a:close/>
                  <a:moveTo>
                    <a:pt x="6584323" y="0"/>
                  </a:moveTo>
                  <a:lnTo>
                    <a:pt x="6599229" y="0"/>
                  </a:lnTo>
                  <a:lnTo>
                    <a:pt x="6599229" y="222980"/>
                  </a:lnTo>
                  <a:lnTo>
                    <a:pt x="6563941" y="222980"/>
                  </a:lnTo>
                  <a:lnTo>
                    <a:pt x="6563941" y="43196"/>
                  </a:lnTo>
                  <a:cubicBezTo>
                    <a:pt x="6557553" y="47760"/>
                    <a:pt x="6550684" y="51638"/>
                    <a:pt x="6543332" y="54832"/>
                  </a:cubicBezTo>
                  <a:cubicBezTo>
                    <a:pt x="6535980" y="58027"/>
                    <a:pt x="6527590" y="60840"/>
                    <a:pt x="6518159" y="63274"/>
                  </a:cubicBezTo>
                  <a:lnTo>
                    <a:pt x="6518159" y="33158"/>
                  </a:lnTo>
                  <a:cubicBezTo>
                    <a:pt x="6524040" y="31232"/>
                    <a:pt x="6529719" y="29203"/>
                    <a:pt x="6535194" y="27074"/>
                  </a:cubicBezTo>
                  <a:cubicBezTo>
                    <a:pt x="6540670" y="24945"/>
                    <a:pt x="6546070" y="22561"/>
                    <a:pt x="6551393" y="19925"/>
                  </a:cubicBezTo>
                  <a:cubicBezTo>
                    <a:pt x="6556717" y="17289"/>
                    <a:pt x="6562091" y="14348"/>
                    <a:pt x="6567516" y="11103"/>
                  </a:cubicBezTo>
                  <a:cubicBezTo>
                    <a:pt x="6572941" y="7859"/>
                    <a:pt x="6578543" y="4157"/>
                    <a:pt x="6584323" y="0"/>
                  </a:cubicBezTo>
                  <a:close/>
                  <a:moveTo>
                    <a:pt x="6383121" y="0"/>
                  </a:moveTo>
                  <a:cubicBezTo>
                    <a:pt x="6430566" y="0"/>
                    <a:pt x="6454288" y="36862"/>
                    <a:pt x="6454288" y="110587"/>
                  </a:cubicBezTo>
                  <a:cubicBezTo>
                    <a:pt x="6454288" y="147099"/>
                    <a:pt x="6447593" y="174959"/>
                    <a:pt x="6434202" y="194167"/>
                  </a:cubicBezTo>
                  <a:cubicBezTo>
                    <a:pt x="6420811" y="213375"/>
                    <a:pt x="6402079" y="222980"/>
                    <a:pt x="6378005" y="222980"/>
                  </a:cubicBezTo>
                  <a:cubicBezTo>
                    <a:pt x="6355537" y="222980"/>
                    <a:pt x="6338008" y="213802"/>
                    <a:pt x="6325420" y="195446"/>
                  </a:cubicBezTo>
                  <a:cubicBezTo>
                    <a:pt x="6312831" y="177090"/>
                    <a:pt x="6306537" y="150559"/>
                    <a:pt x="6306537" y="115854"/>
                  </a:cubicBezTo>
                  <a:cubicBezTo>
                    <a:pt x="6306537" y="77737"/>
                    <a:pt x="6313107" y="48899"/>
                    <a:pt x="6326247" y="29339"/>
                  </a:cubicBezTo>
                  <a:cubicBezTo>
                    <a:pt x="6339388" y="9780"/>
                    <a:pt x="6358345" y="0"/>
                    <a:pt x="6383121" y="0"/>
                  </a:cubicBezTo>
                  <a:close/>
                  <a:moveTo>
                    <a:pt x="6047993" y="0"/>
                  </a:moveTo>
                  <a:lnTo>
                    <a:pt x="6062899" y="0"/>
                  </a:lnTo>
                  <a:lnTo>
                    <a:pt x="6062899" y="222980"/>
                  </a:lnTo>
                  <a:lnTo>
                    <a:pt x="6027612" y="222980"/>
                  </a:lnTo>
                  <a:lnTo>
                    <a:pt x="6027612" y="43196"/>
                  </a:lnTo>
                  <a:cubicBezTo>
                    <a:pt x="6021223" y="47760"/>
                    <a:pt x="6014354" y="51638"/>
                    <a:pt x="6007002" y="54832"/>
                  </a:cubicBezTo>
                  <a:cubicBezTo>
                    <a:pt x="5999651" y="58027"/>
                    <a:pt x="5991260" y="60840"/>
                    <a:pt x="5981830" y="63274"/>
                  </a:cubicBezTo>
                  <a:lnTo>
                    <a:pt x="5981830" y="33158"/>
                  </a:lnTo>
                  <a:cubicBezTo>
                    <a:pt x="5987711" y="31232"/>
                    <a:pt x="5993390" y="29203"/>
                    <a:pt x="5998864" y="27074"/>
                  </a:cubicBezTo>
                  <a:cubicBezTo>
                    <a:pt x="6004341" y="24945"/>
                    <a:pt x="6009740" y="22561"/>
                    <a:pt x="6015063" y="19925"/>
                  </a:cubicBezTo>
                  <a:cubicBezTo>
                    <a:pt x="6020387" y="17289"/>
                    <a:pt x="6025761" y="14348"/>
                    <a:pt x="6031186" y="11103"/>
                  </a:cubicBezTo>
                  <a:cubicBezTo>
                    <a:pt x="6036611" y="7859"/>
                    <a:pt x="6042214" y="4157"/>
                    <a:pt x="6047993" y="0"/>
                  </a:cubicBezTo>
                  <a:close/>
                  <a:moveTo>
                    <a:pt x="5848035" y="0"/>
                  </a:moveTo>
                  <a:cubicBezTo>
                    <a:pt x="5895480" y="0"/>
                    <a:pt x="5919202" y="36862"/>
                    <a:pt x="5919202" y="110587"/>
                  </a:cubicBezTo>
                  <a:cubicBezTo>
                    <a:pt x="5919202" y="147099"/>
                    <a:pt x="5912507" y="174959"/>
                    <a:pt x="5899116" y="194167"/>
                  </a:cubicBezTo>
                  <a:cubicBezTo>
                    <a:pt x="5885725" y="213375"/>
                    <a:pt x="5866993" y="222980"/>
                    <a:pt x="5842919" y="222980"/>
                  </a:cubicBezTo>
                  <a:cubicBezTo>
                    <a:pt x="5820451" y="222980"/>
                    <a:pt x="5802922" y="213802"/>
                    <a:pt x="5790334" y="195446"/>
                  </a:cubicBezTo>
                  <a:cubicBezTo>
                    <a:pt x="5777745" y="177090"/>
                    <a:pt x="5771452" y="150559"/>
                    <a:pt x="5771452" y="115854"/>
                  </a:cubicBezTo>
                  <a:cubicBezTo>
                    <a:pt x="5771452" y="77737"/>
                    <a:pt x="5778021" y="48899"/>
                    <a:pt x="5791162" y="29339"/>
                  </a:cubicBezTo>
                  <a:cubicBezTo>
                    <a:pt x="5804303" y="9780"/>
                    <a:pt x="5823259" y="0"/>
                    <a:pt x="5848035" y="0"/>
                  </a:cubicBezTo>
                  <a:close/>
                  <a:moveTo>
                    <a:pt x="5150385" y="0"/>
                  </a:moveTo>
                  <a:cubicBezTo>
                    <a:pt x="5197830" y="0"/>
                    <a:pt x="5221552" y="36862"/>
                    <a:pt x="5221552" y="110587"/>
                  </a:cubicBezTo>
                  <a:cubicBezTo>
                    <a:pt x="5221552" y="147099"/>
                    <a:pt x="5214857" y="174959"/>
                    <a:pt x="5201466" y="194167"/>
                  </a:cubicBezTo>
                  <a:cubicBezTo>
                    <a:pt x="5188075" y="213375"/>
                    <a:pt x="5169343" y="222980"/>
                    <a:pt x="5145269" y="222980"/>
                  </a:cubicBezTo>
                  <a:cubicBezTo>
                    <a:pt x="5122801" y="222980"/>
                    <a:pt x="5105272" y="213802"/>
                    <a:pt x="5092684" y="195446"/>
                  </a:cubicBezTo>
                  <a:cubicBezTo>
                    <a:pt x="5080095" y="177090"/>
                    <a:pt x="5073801" y="150559"/>
                    <a:pt x="5073801" y="115854"/>
                  </a:cubicBezTo>
                  <a:cubicBezTo>
                    <a:pt x="5073801" y="77737"/>
                    <a:pt x="5080371" y="48899"/>
                    <a:pt x="5093512" y="29339"/>
                  </a:cubicBezTo>
                  <a:cubicBezTo>
                    <a:pt x="5106653" y="9780"/>
                    <a:pt x="5125610" y="0"/>
                    <a:pt x="5150385" y="0"/>
                  </a:cubicBezTo>
                  <a:close/>
                  <a:moveTo>
                    <a:pt x="4776040" y="0"/>
                  </a:moveTo>
                  <a:lnTo>
                    <a:pt x="4790946" y="0"/>
                  </a:lnTo>
                  <a:lnTo>
                    <a:pt x="4790946" y="222980"/>
                  </a:lnTo>
                  <a:lnTo>
                    <a:pt x="4755658" y="222980"/>
                  </a:lnTo>
                  <a:lnTo>
                    <a:pt x="4755658" y="43196"/>
                  </a:lnTo>
                  <a:cubicBezTo>
                    <a:pt x="4749270" y="47760"/>
                    <a:pt x="4742401" y="51638"/>
                    <a:pt x="4735049" y="54832"/>
                  </a:cubicBezTo>
                  <a:cubicBezTo>
                    <a:pt x="4727697" y="58027"/>
                    <a:pt x="4719307" y="60840"/>
                    <a:pt x="4709876" y="63274"/>
                  </a:cubicBezTo>
                  <a:lnTo>
                    <a:pt x="4709876" y="33158"/>
                  </a:lnTo>
                  <a:cubicBezTo>
                    <a:pt x="4715757" y="31232"/>
                    <a:pt x="4721436" y="29203"/>
                    <a:pt x="4726911" y="27074"/>
                  </a:cubicBezTo>
                  <a:cubicBezTo>
                    <a:pt x="4732387" y="24945"/>
                    <a:pt x="4737787" y="22561"/>
                    <a:pt x="4743110" y="19925"/>
                  </a:cubicBezTo>
                  <a:cubicBezTo>
                    <a:pt x="4748435" y="17289"/>
                    <a:pt x="4753808" y="14348"/>
                    <a:pt x="4759233" y="11103"/>
                  </a:cubicBezTo>
                  <a:cubicBezTo>
                    <a:pt x="4764658" y="7859"/>
                    <a:pt x="4770260" y="4157"/>
                    <a:pt x="4776040" y="0"/>
                  </a:cubicBezTo>
                  <a:close/>
                  <a:moveTo>
                    <a:pt x="4406756" y="0"/>
                  </a:moveTo>
                  <a:lnTo>
                    <a:pt x="4421663" y="0"/>
                  </a:lnTo>
                  <a:lnTo>
                    <a:pt x="4421663" y="222980"/>
                  </a:lnTo>
                  <a:lnTo>
                    <a:pt x="4386375" y="222980"/>
                  </a:lnTo>
                  <a:lnTo>
                    <a:pt x="4386375" y="43196"/>
                  </a:lnTo>
                  <a:cubicBezTo>
                    <a:pt x="4379987" y="47760"/>
                    <a:pt x="4373117" y="51638"/>
                    <a:pt x="4365765" y="54832"/>
                  </a:cubicBezTo>
                  <a:cubicBezTo>
                    <a:pt x="4358414" y="58027"/>
                    <a:pt x="4350023" y="60840"/>
                    <a:pt x="4340593" y="63274"/>
                  </a:cubicBezTo>
                  <a:lnTo>
                    <a:pt x="4340593" y="33158"/>
                  </a:lnTo>
                  <a:cubicBezTo>
                    <a:pt x="4346474" y="31232"/>
                    <a:pt x="4352152" y="29203"/>
                    <a:pt x="4357628" y="27074"/>
                  </a:cubicBezTo>
                  <a:cubicBezTo>
                    <a:pt x="4363104" y="24945"/>
                    <a:pt x="4368503" y="22561"/>
                    <a:pt x="4373827" y="19925"/>
                  </a:cubicBezTo>
                  <a:cubicBezTo>
                    <a:pt x="4379150" y="17289"/>
                    <a:pt x="4384525" y="14348"/>
                    <a:pt x="4389949" y="11103"/>
                  </a:cubicBezTo>
                  <a:cubicBezTo>
                    <a:pt x="4395375" y="7859"/>
                    <a:pt x="4400977" y="4157"/>
                    <a:pt x="4406756" y="0"/>
                  </a:cubicBezTo>
                  <a:close/>
                  <a:moveTo>
                    <a:pt x="4106219" y="0"/>
                  </a:moveTo>
                  <a:lnTo>
                    <a:pt x="4121125" y="0"/>
                  </a:lnTo>
                  <a:lnTo>
                    <a:pt x="4121125" y="222980"/>
                  </a:lnTo>
                  <a:lnTo>
                    <a:pt x="4085837" y="222980"/>
                  </a:lnTo>
                  <a:lnTo>
                    <a:pt x="4085837" y="43196"/>
                  </a:lnTo>
                  <a:cubicBezTo>
                    <a:pt x="4079449" y="47760"/>
                    <a:pt x="4072579" y="51638"/>
                    <a:pt x="4065228" y="54832"/>
                  </a:cubicBezTo>
                  <a:cubicBezTo>
                    <a:pt x="4057876" y="58027"/>
                    <a:pt x="4049485" y="60840"/>
                    <a:pt x="4040055" y="63274"/>
                  </a:cubicBezTo>
                  <a:lnTo>
                    <a:pt x="4040055" y="33158"/>
                  </a:lnTo>
                  <a:cubicBezTo>
                    <a:pt x="4045936" y="31232"/>
                    <a:pt x="4051615" y="29203"/>
                    <a:pt x="4057090" y="27074"/>
                  </a:cubicBezTo>
                  <a:cubicBezTo>
                    <a:pt x="4062566" y="24945"/>
                    <a:pt x="4067965" y="22561"/>
                    <a:pt x="4073289" y="19925"/>
                  </a:cubicBezTo>
                  <a:cubicBezTo>
                    <a:pt x="4078613" y="17289"/>
                    <a:pt x="4083987" y="14348"/>
                    <a:pt x="4089411" y="11103"/>
                  </a:cubicBezTo>
                  <a:cubicBezTo>
                    <a:pt x="4094837" y="7859"/>
                    <a:pt x="4100439" y="4157"/>
                    <a:pt x="4106219" y="0"/>
                  </a:cubicBezTo>
                  <a:close/>
                  <a:moveTo>
                    <a:pt x="3898647" y="0"/>
                  </a:moveTo>
                  <a:cubicBezTo>
                    <a:pt x="3946092" y="0"/>
                    <a:pt x="3969815" y="36862"/>
                    <a:pt x="3969815" y="110587"/>
                  </a:cubicBezTo>
                  <a:cubicBezTo>
                    <a:pt x="3969815" y="147099"/>
                    <a:pt x="3963119" y="174959"/>
                    <a:pt x="3949729" y="194167"/>
                  </a:cubicBezTo>
                  <a:cubicBezTo>
                    <a:pt x="3936338" y="213375"/>
                    <a:pt x="3917605" y="222980"/>
                    <a:pt x="3893532" y="222980"/>
                  </a:cubicBezTo>
                  <a:cubicBezTo>
                    <a:pt x="3871063" y="222980"/>
                    <a:pt x="3853535" y="213802"/>
                    <a:pt x="3840947" y="195446"/>
                  </a:cubicBezTo>
                  <a:cubicBezTo>
                    <a:pt x="3828358" y="177090"/>
                    <a:pt x="3822064" y="150559"/>
                    <a:pt x="3822064" y="115854"/>
                  </a:cubicBezTo>
                  <a:cubicBezTo>
                    <a:pt x="3822064" y="77737"/>
                    <a:pt x="3828634" y="48899"/>
                    <a:pt x="3841774" y="29339"/>
                  </a:cubicBezTo>
                  <a:cubicBezTo>
                    <a:pt x="3854914" y="9780"/>
                    <a:pt x="3873872" y="0"/>
                    <a:pt x="3898647" y="0"/>
                  </a:cubicBezTo>
                  <a:close/>
                  <a:moveTo>
                    <a:pt x="3673983" y="0"/>
                  </a:moveTo>
                  <a:cubicBezTo>
                    <a:pt x="3721428" y="0"/>
                    <a:pt x="3745151" y="36862"/>
                    <a:pt x="3745151" y="110587"/>
                  </a:cubicBezTo>
                  <a:cubicBezTo>
                    <a:pt x="3745151" y="147099"/>
                    <a:pt x="3738455" y="174959"/>
                    <a:pt x="3725065" y="194167"/>
                  </a:cubicBezTo>
                  <a:cubicBezTo>
                    <a:pt x="3711674" y="213375"/>
                    <a:pt x="3692941" y="222980"/>
                    <a:pt x="3668868" y="222980"/>
                  </a:cubicBezTo>
                  <a:cubicBezTo>
                    <a:pt x="3646399" y="222980"/>
                    <a:pt x="3628871" y="213802"/>
                    <a:pt x="3616283" y="195446"/>
                  </a:cubicBezTo>
                  <a:cubicBezTo>
                    <a:pt x="3603694" y="177090"/>
                    <a:pt x="3597400" y="150559"/>
                    <a:pt x="3597400" y="115854"/>
                  </a:cubicBezTo>
                  <a:cubicBezTo>
                    <a:pt x="3597400" y="77737"/>
                    <a:pt x="3603970" y="48899"/>
                    <a:pt x="3617110" y="29339"/>
                  </a:cubicBezTo>
                  <a:cubicBezTo>
                    <a:pt x="3630250" y="9780"/>
                    <a:pt x="3649208" y="0"/>
                    <a:pt x="3673983" y="0"/>
                  </a:cubicBezTo>
                  <a:close/>
                  <a:moveTo>
                    <a:pt x="3527532" y="0"/>
                  </a:moveTo>
                  <a:lnTo>
                    <a:pt x="3542438" y="0"/>
                  </a:lnTo>
                  <a:lnTo>
                    <a:pt x="3542438" y="222980"/>
                  </a:lnTo>
                  <a:lnTo>
                    <a:pt x="3507150" y="222980"/>
                  </a:lnTo>
                  <a:lnTo>
                    <a:pt x="3507150" y="43196"/>
                  </a:lnTo>
                  <a:cubicBezTo>
                    <a:pt x="3500762" y="47760"/>
                    <a:pt x="3493892" y="51638"/>
                    <a:pt x="3486541" y="54832"/>
                  </a:cubicBezTo>
                  <a:cubicBezTo>
                    <a:pt x="3479189" y="58027"/>
                    <a:pt x="3470798" y="60840"/>
                    <a:pt x="3461368" y="63274"/>
                  </a:cubicBezTo>
                  <a:lnTo>
                    <a:pt x="3461368" y="33158"/>
                  </a:lnTo>
                  <a:cubicBezTo>
                    <a:pt x="3467249" y="31232"/>
                    <a:pt x="3472928" y="29203"/>
                    <a:pt x="3478403" y="27074"/>
                  </a:cubicBezTo>
                  <a:cubicBezTo>
                    <a:pt x="3483879" y="24945"/>
                    <a:pt x="3489278" y="22561"/>
                    <a:pt x="3494602" y="19925"/>
                  </a:cubicBezTo>
                  <a:cubicBezTo>
                    <a:pt x="3499926" y="17289"/>
                    <a:pt x="3505300" y="14348"/>
                    <a:pt x="3510724" y="11103"/>
                  </a:cubicBezTo>
                  <a:cubicBezTo>
                    <a:pt x="3516150" y="7859"/>
                    <a:pt x="3521752" y="4157"/>
                    <a:pt x="3527532" y="0"/>
                  </a:cubicBezTo>
                  <a:close/>
                  <a:moveTo>
                    <a:pt x="3222732" y="0"/>
                  </a:moveTo>
                  <a:lnTo>
                    <a:pt x="3237638" y="0"/>
                  </a:lnTo>
                  <a:lnTo>
                    <a:pt x="3237638" y="222980"/>
                  </a:lnTo>
                  <a:lnTo>
                    <a:pt x="3202350" y="222980"/>
                  </a:lnTo>
                  <a:lnTo>
                    <a:pt x="3202350" y="43196"/>
                  </a:lnTo>
                  <a:cubicBezTo>
                    <a:pt x="3195962" y="47760"/>
                    <a:pt x="3189092" y="51638"/>
                    <a:pt x="3181741" y="54832"/>
                  </a:cubicBezTo>
                  <a:cubicBezTo>
                    <a:pt x="3174389" y="58027"/>
                    <a:pt x="3165998" y="60840"/>
                    <a:pt x="3156568" y="63274"/>
                  </a:cubicBezTo>
                  <a:lnTo>
                    <a:pt x="3156568" y="33158"/>
                  </a:lnTo>
                  <a:cubicBezTo>
                    <a:pt x="3162449" y="31232"/>
                    <a:pt x="3168128" y="29203"/>
                    <a:pt x="3173603" y="27074"/>
                  </a:cubicBezTo>
                  <a:cubicBezTo>
                    <a:pt x="3179079" y="24945"/>
                    <a:pt x="3184478" y="22561"/>
                    <a:pt x="3189802" y="19925"/>
                  </a:cubicBezTo>
                  <a:cubicBezTo>
                    <a:pt x="3195126" y="17289"/>
                    <a:pt x="3200500" y="14348"/>
                    <a:pt x="3205924" y="11103"/>
                  </a:cubicBezTo>
                  <a:cubicBezTo>
                    <a:pt x="3211350" y="7859"/>
                    <a:pt x="3216952" y="4157"/>
                    <a:pt x="3222732" y="0"/>
                  </a:cubicBezTo>
                  <a:close/>
                  <a:moveTo>
                    <a:pt x="2828037" y="0"/>
                  </a:moveTo>
                  <a:lnTo>
                    <a:pt x="2842943" y="0"/>
                  </a:lnTo>
                  <a:lnTo>
                    <a:pt x="2842943" y="222980"/>
                  </a:lnTo>
                  <a:lnTo>
                    <a:pt x="2807655" y="222980"/>
                  </a:lnTo>
                  <a:lnTo>
                    <a:pt x="2807655" y="43196"/>
                  </a:lnTo>
                  <a:cubicBezTo>
                    <a:pt x="2801267" y="47760"/>
                    <a:pt x="2794397" y="51638"/>
                    <a:pt x="2787046" y="54832"/>
                  </a:cubicBezTo>
                  <a:cubicBezTo>
                    <a:pt x="2779694" y="58027"/>
                    <a:pt x="2771303" y="60840"/>
                    <a:pt x="2761873" y="63274"/>
                  </a:cubicBezTo>
                  <a:lnTo>
                    <a:pt x="2761873" y="33158"/>
                  </a:lnTo>
                  <a:cubicBezTo>
                    <a:pt x="2767754" y="31232"/>
                    <a:pt x="2773433" y="29203"/>
                    <a:pt x="2778908" y="27074"/>
                  </a:cubicBezTo>
                  <a:cubicBezTo>
                    <a:pt x="2784384" y="24945"/>
                    <a:pt x="2789783" y="22561"/>
                    <a:pt x="2795107" y="19925"/>
                  </a:cubicBezTo>
                  <a:cubicBezTo>
                    <a:pt x="2800431" y="17289"/>
                    <a:pt x="2805805" y="14348"/>
                    <a:pt x="2811229" y="11103"/>
                  </a:cubicBezTo>
                  <a:cubicBezTo>
                    <a:pt x="2816655" y="7859"/>
                    <a:pt x="2822257" y="4157"/>
                    <a:pt x="2828037" y="0"/>
                  </a:cubicBezTo>
                  <a:close/>
                  <a:moveTo>
                    <a:pt x="2677443" y="0"/>
                  </a:moveTo>
                  <a:lnTo>
                    <a:pt x="2692349" y="0"/>
                  </a:lnTo>
                  <a:lnTo>
                    <a:pt x="2692349" y="222980"/>
                  </a:lnTo>
                  <a:lnTo>
                    <a:pt x="2657061" y="222980"/>
                  </a:lnTo>
                  <a:lnTo>
                    <a:pt x="2657061" y="43196"/>
                  </a:lnTo>
                  <a:cubicBezTo>
                    <a:pt x="2650673" y="47760"/>
                    <a:pt x="2643803" y="51638"/>
                    <a:pt x="2636452" y="54832"/>
                  </a:cubicBezTo>
                  <a:cubicBezTo>
                    <a:pt x="2629100" y="58027"/>
                    <a:pt x="2620709" y="60840"/>
                    <a:pt x="2611279" y="63274"/>
                  </a:cubicBezTo>
                  <a:lnTo>
                    <a:pt x="2611279" y="33158"/>
                  </a:lnTo>
                  <a:cubicBezTo>
                    <a:pt x="2617160" y="31232"/>
                    <a:pt x="2622839" y="29203"/>
                    <a:pt x="2628314" y="27074"/>
                  </a:cubicBezTo>
                  <a:cubicBezTo>
                    <a:pt x="2633790" y="24945"/>
                    <a:pt x="2639189" y="22561"/>
                    <a:pt x="2644513" y="19925"/>
                  </a:cubicBezTo>
                  <a:cubicBezTo>
                    <a:pt x="2649837" y="17289"/>
                    <a:pt x="2655211" y="14348"/>
                    <a:pt x="2660635" y="11103"/>
                  </a:cubicBezTo>
                  <a:cubicBezTo>
                    <a:pt x="2666061" y="7859"/>
                    <a:pt x="2671663" y="4157"/>
                    <a:pt x="2677443" y="0"/>
                  </a:cubicBezTo>
                  <a:close/>
                  <a:moveTo>
                    <a:pt x="2544118" y="0"/>
                  </a:moveTo>
                  <a:lnTo>
                    <a:pt x="2559024" y="0"/>
                  </a:lnTo>
                  <a:lnTo>
                    <a:pt x="2559024" y="222980"/>
                  </a:lnTo>
                  <a:lnTo>
                    <a:pt x="2523736" y="222980"/>
                  </a:lnTo>
                  <a:lnTo>
                    <a:pt x="2523736" y="43196"/>
                  </a:lnTo>
                  <a:cubicBezTo>
                    <a:pt x="2517348" y="47760"/>
                    <a:pt x="2510478" y="51638"/>
                    <a:pt x="2503127" y="54832"/>
                  </a:cubicBezTo>
                  <a:cubicBezTo>
                    <a:pt x="2495775" y="58027"/>
                    <a:pt x="2487384" y="60840"/>
                    <a:pt x="2477954" y="63274"/>
                  </a:cubicBezTo>
                  <a:lnTo>
                    <a:pt x="2477954" y="33158"/>
                  </a:lnTo>
                  <a:cubicBezTo>
                    <a:pt x="2483835" y="31232"/>
                    <a:pt x="2489514" y="29203"/>
                    <a:pt x="2494989" y="27074"/>
                  </a:cubicBezTo>
                  <a:cubicBezTo>
                    <a:pt x="2500465" y="24945"/>
                    <a:pt x="2505864" y="22561"/>
                    <a:pt x="2511188" y="19925"/>
                  </a:cubicBezTo>
                  <a:cubicBezTo>
                    <a:pt x="2516512" y="17289"/>
                    <a:pt x="2521886" y="14348"/>
                    <a:pt x="2527310" y="11103"/>
                  </a:cubicBezTo>
                  <a:cubicBezTo>
                    <a:pt x="2532736" y="7859"/>
                    <a:pt x="2538338" y="4157"/>
                    <a:pt x="2544118" y="0"/>
                  </a:cubicBezTo>
                  <a:close/>
                  <a:moveTo>
                    <a:pt x="1790454" y="0"/>
                  </a:moveTo>
                  <a:lnTo>
                    <a:pt x="1805360" y="0"/>
                  </a:lnTo>
                  <a:lnTo>
                    <a:pt x="1805360" y="222980"/>
                  </a:lnTo>
                  <a:lnTo>
                    <a:pt x="1770072" y="222980"/>
                  </a:lnTo>
                  <a:lnTo>
                    <a:pt x="1770072" y="43196"/>
                  </a:lnTo>
                  <a:cubicBezTo>
                    <a:pt x="1763685" y="47760"/>
                    <a:pt x="1756814" y="51638"/>
                    <a:pt x="1749463" y="54832"/>
                  </a:cubicBezTo>
                  <a:cubicBezTo>
                    <a:pt x="1742111" y="58027"/>
                    <a:pt x="1733720" y="60840"/>
                    <a:pt x="1724290" y="63274"/>
                  </a:cubicBezTo>
                  <a:lnTo>
                    <a:pt x="1724290" y="33158"/>
                  </a:lnTo>
                  <a:cubicBezTo>
                    <a:pt x="1730171" y="31232"/>
                    <a:pt x="1735850" y="29203"/>
                    <a:pt x="1741325" y="27074"/>
                  </a:cubicBezTo>
                  <a:cubicBezTo>
                    <a:pt x="1746801" y="24945"/>
                    <a:pt x="1752201" y="22561"/>
                    <a:pt x="1757524" y="19925"/>
                  </a:cubicBezTo>
                  <a:cubicBezTo>
                    <a:pt x="1762848" y="17289"/>
                    <a:pt x="1768222" y="14348"/>
                    <a:pt x="1773647" y="11103"/>
                  </a:cubicBezTo>
                  <a:cubicBezTo>
                    <a:pt x="1779072" y="7859"/>
                    <a:pt x="1784674" y="4157"/>
                    <a:pt x="1790454" y="0"/>
                  </a:cubicBezTo>
                  <a:close/>
                  <a:moveTo>
                    <a:pt x="1637062" y="0"/>
                  </a:moveTo>
                  <a:lnTo>
                    <a:pt x="1651968" y="0"/>
                  </a:lnTo>
                  <a:lnTo>
                    <a:pt x="1651968" y="222980"/>
                  </a:lnTo>
                  <a:lnTo>
                    <a:pt x="1616680" y="222980"/>
                  </a:lnTo>
                  <a:lnTo>
                    <a:pt x="1616680" y="43196"/>
                  </a:lnTo>
                  <a:cubicBezTo>
                    <a:pt x="1610292" y="47760"/>
                    <a:pt x="1603422" y="51638"/>
                    <a:pt x="1596071" y="54832"/>
                  </a:cubicBezTo>
                  <a:cubicBezTo>
                    <a:pt x="1588719" y="58027"/>
                    <a:pt x="1580328" y="60840"/>
                    <a:pt x="1570898" y="63274"/>
                  </a:cubicBezTo>
                  <a:lnTo>
                    <a:pt x="1570898" y="33158"/>
                  </a:lnTo>
                  <a:cubicBezTo>
                    <a:pt x="1576779" y="31232"/>
                    <a:pt x="1582458" y="29203"/>
                    <a:pt x="1587933" y="27074"/>
                  </a:cubicBezTo>
                  <a:cubicBezTo>
                    <a:pt x="1593409" y="24945"/>
                    <a:pt x="1598809" y="22561"/>
                    <a:pt x="1604132" y="19925"/>
                  </a:cubicBezTo>
                  <a:cubicBezTo>
                    <a:pt x="1609456" y="17289"/>
                    <a:pt x="1614830" y="14348"/>
                    <a:pt x="1620255" y="11103"/>
                  </a:cubicBezTo>
                  <a:cubicBezTo>
                    <a:pt x="1625680" y="7859"/>
                    <a:pt x="1631282" y="4157"/>
                    <a:pt x="1637062" y="0"/>
                  </a:cubicBezTo>
                  <a:close/>
                  <a:moveTo>
                    <a:pt x="1342993" y="0"/>
                  </a:moveTo>
                  <a:lnTo>
                    <a:pt x="1357899" y="0"/>
                  </a:lnTo>
                  <a:lnTo>
                    <a:pt x="1357899" y="222980"/>
                  </a:lnTo>
                  <a:lnTo>
                    <a:pt x="1322611" y="222980"/>
                  </a:lnTo>
                  <a:lnTo>
                    <a:pt x="1322611" y="43196"/>
                  </a:lnTo>
                  <a:cubicBezTo>
                    <a:pt x="1316223" y="47760"/>
                    <a:pt x="1309353" y="51638"/>
                    <a:pt x="1302002" y="54832"/>
                  </a:cubicBezTo>
                  <a:cubicBezTo>
                    <a:pt x="1294650" y="58027"/>
                    <a:pt x="1286259" y="60840"/>
                    <a:pt x="1276829" y="63274"/>
                  </a:cubicBezTo>
                  <a:lnTo>
                    <a:pt x="1276829" y="33158"/>
                  </a:lnTo>
                  <a:cubicBezTo>
                    <a:pt x="1282710" y="31232"/>
                    <a:pt x="1288389" y="29203"/>
                    <a:pt x="1293864" y="27074"/>
                  </a:cubicBezTo>
                  <a:cubicBezTo>
                    <a:pt x="1299340" y="24945"/>
                    <a:pt x="1304740" y="22561"/>
                    <a:pt x="1310063" y="19925"/>
                  </a:cubicBezTo>
                  <a:cubicBezTo>
                    <a:pt x="1315387" y="17289"/>
                    <a:pt x="1320761" y="14348"/>
                    <a:pt x="1326186" y="11103"/>
                  </a:cubicBezTo>
                  <a:cubicBezTo>
                    <a:pt x="1331611" y="7859"/>
                    <a:pt x="1337213" y="4157"/>
                    <a:pt x="1342993" y="0"/>
                  </a:cubicBezTo>
                  <a:close/>
                  <a:moveTo>
                    <a:pt x="967854" y="0"/>
                  </a:moveTo>
                  <a:lnTo>
                    <a:pt x="982760" y="0"/>
                  </a:lnTo>
                  <a:lnTo>
                    <a:pt x="982760" y="222980"/>
                  </a:lnTo>
                  <a:lnTo>
                    <a:pt x="947472" y="222980"/>
                  </a:lnTo>
                  <a:lnTo>
                    <a:pt x="947472" y="43196"/>
                  </a:lnTo>
                  <a:cubicBezTo>
                    <a:pt x="941084" y="47760"/>
                    <a:pt x="934214" y="51638"/>
                    <a:pt x="926863" y="54832"/>
                  </a:cubicBezTo>
                  <a:cubicBezTo>
                    <a:pt x="919511" y="58027"/>
                    <a:pt x="911120" y="60840"/>
                    <a:pt x="901690" y="63274"/>
                  </a:cubicBezTo>
                  <a:lnTo>
                    <a:pt x="901690" y="33158"/>
                  </a:lnTo>
                  <a:cubicBezTo>
                    <a:pt x="907571" y="31232"/>
                    <a:pt x="913250" y="29203"/>
                    <a:pt x="918725" y="27074"/>
                  </a:cubicBezTo>
                  <a:cubicBezTo>
                    <a:pt x="924201" y="24945"/>
                    <a:pt x="929601" y="22561"/>
                    <a:pt x="934924" y="19925"/>
                  </a:cubicBezTo>
                  <a:cubicBezTo>
                    <a:pt x="940248" y="17289"/>
                    <a:pt x="945622" y="14348"/>
                    <a:pt x="951047" y="11103"/>
                  </a:cubicBezTo>
                  <a:cubicBezTo>
                    <a:pt x="956472" y="7859"/>
                    <a:pt x="962074" y="4157"/>
                    <a:pt x="967854" y="0"/>
                  </a:cubicBezTo>
                  <a:close/>
                  <a:moveTo>
                    <a:pt x="818997" y="0"/>
                  </a:moveTo>
                  <a:lnTo>
                    <a:pt x="833903" y="0"/>
                  </a:lnTo>
                  <a:lnTo>
                    <a:pt x="833903" y="222980"/>
                  </a:lnTo>
                  <a:lnTo>
                    <a:pt x="798615" y="222980"/>
                  </a:lnTo>
                  <a:lnTo>
                    <a:pt x="798615" y="43196"/>
                  </a:lnTo>
                  <a:cubicBezTo>
                    <a:pt x="792227" y="47760"/>
                    <a:pt x="785357" y="51638"/>
                    <a:pt x="778006" y="54832"/>
                  </a:cubicBezTo>
                  <a:cubicBezTo>
                    <a:pt x="770654" y="58027"/>
                    <a:pt x="762263" y="60840"/>
                    <a:pt x="752833" y="63274"/>
                  </a:cubicBezTo>
                  <a:lnTo>
                    <a:pt x="752833" y="33158"/>
                  </a:lnTo>
                  <a:cubicBezTo>
                    <a:pt x="758714" y="31232"/>
                    <a:pt x="764393" y="29203"/>
                    <a:pt x="769868" y="27074"/>
                  </a:cubicBezTo>
                  <a:cubicBezTo>
                    <a:pt x="775344" y="24945"/>
                    <a:pt x="780744" y="22561"/>
                    <a:pt x="786067" y="19925"/>
                  </a:cubicBezTo>
                  <a:cubicBezTo>
                    <a:pt x="791391" y="17289"/>
                    <a:pt x="796765" y="14348"/>
                    <a:pt x="802190" y="11103"/>
                  </a:cubicBezTo>
                  <a:cubicBezTo>
                    <a:pt x="807615" y="7859"/>
                    <a:pt x="813217" y="4157"/>
                    <a:pt x="818997" y="0"/>
                  </a:cubicBezTo>
                  <a:close/>
                  <a:moveTo>
                    <a:pt x="670140" y="0"/>
                  </a:moveTo>
                  <a:lnTo>
                    <a:pt x="685046" y="0"/>
                  </a:lnTo>
                  <a:lnTo>
                    <a:pt x="685046" y="222980"/>
                  </a:lnTo>
                  <a:lnTo>
                    <a:pt x="649758" y="222980"/>
                  </a:lnTo>
                  <a:lnTo>
                    <a:pt x="649758" y="43196"/>
                  </a:lnTo>
                  <a:cubicBezTo>
                    <a:pt x="643370" y="47760"/>
                    <a:pt x="636500" y="51638"/>
                    <a:pt x="629149" y="54832"/>
                  </a:cubicBezTo>
                  <a:cubicBezTo>
                    <a:pt x="621797" y="58027"/>
                    <a:pt x="613406" y="60840"/>
                    <a:pt x="603976" y="63274"/>
                  </a:cubicBezTo>
                  <a:lnTo>
                    <a:pt x="603976" y="33158"/>
                  </a:lnTo>
                  <a:cubicBezTo>
                    <a:pt x="609857" y="31232"/>
                    <a:pt x="615536" y="29203"/>
                    <a:pt x="621011" y="27074"/>
                  </a:cubicBezTo>
                  <a:cubicBezTo>
                    <a:pt x="626487" y="24945"/>
                    <a:pt x="631887" y="22561"/>
                    <a:pt x="637210" y="19925"/>
                  </a:cubicBezTo>
                  <a:cubicBezTo>
                    <a:pt x="642534" y="17289"/>
                    <a:pt x="647908" y="14348"/>
                    <a:pt x="653333" y="11103"/>
                  </a:cubicBezTo>
                  <a:cubicBezTo>
                    <a:pt x="658758" y="7859"/>
                    <a:pt x="664360" y="4157"/>
                    <a:pt x="670140" y="0"/>
                  </a:cubicBezTo>
                  <a:close/>
                  <a:moveTo>
                    <a:pt x="521283" y="0"/>
                  </a:moveTo>
                  <a:lnTo>
                    <a:pt x="536189" y="0"/>
                  </a:lnTo>
                  <a:lnTo>
                    <a:pt x="536189" y="222980"/>
                  </a:lnTo>
                  <a:lnTo>
                    <a:pt x="500901" y="222980"/>
                  </a:lnTo>
                  <a:lnTo>
                    <a:pt x="500901" y="43196"/>
                  </a:lnTo>
                  <a:cubicBezTo>
                    <a:pt x="494513" y="47760"/>
                    <a:pt x="487643" y="51638"/>
                    <a:pt x="480292" y="54832"/>
                  </a:cubicBezTo>
                  <a:cubicBezTo>
                    <a:pt x="472940" y="58027"/>
                    <a:pt x="464549" y="60840"/>
                    <a:pt x="455119" y="63274"/>
                  </a:cubicBezTo>
                  <a:lnTo>
                    <a:pt x="455119" y="33158"/>
                  </a:lnTo>
                  <a:cubicBezTo>
                    <a:pt x="461000" y="31232"/>
                    <a:pt x="466679" y="29203"/>
                    <a:pt x="472154" y="27074"/>
                  </a:cubicBezTo>
                  <a:cubicBezTo>
                    <a:pt x="477630" y="24945"/>
                    <a:pt x="483030" y="22561"/>
                    <a:pt x="488353" y="19925"/>
                  </a:cubicBezTo>
                  <a:cubicBezTo>
                    <a:pt x="493677" y="17289"/>
                    <a:pt x="499051" y="14348"/>
                    <a:pt x="504476" y="11103"/>
                  </a:cubicBezTo>
                  <a:cubicBezTo>
                    <a:pt x="509901" y="7859"/>
                    <a:pt x="515503" y="4157"/>
                    <a:pt x="521283" y="0"/>
                  </a:cubicBezTo>
                  <a:close/>
                  <a:moveTo>
                    <a:pt x="311869" y="0"/>
                  </a:moveTo>
                  <a:cubicBezTo>
                    <a:pt x="359313" y="0"/>
                    <a:pt x="383036" y="36862"/>
                    <a:pt x="383036" y="110587"/>
                  </a:cubicBezTo>
                  <a:cubicBezTo>
                    <a:pt x="383036" y="147099"/>
                    <a:pt x="376341" y="174959"/>
                    <a:pt x="362950" y="194167"/>
                  </a:cubicBezTo>
                  <a:cubicBezTo>
                    <a:pt x="349559" y="213375"/>
                    <a:pt x="330827" y="222980"/>
                    <a:pt x="306753" y="222980"/>
                  </a:cubicBezTo>
                  <a:cubicBezTo>
                    <a:pt x="284285" y="222980"/>
                    <a:pt x="266756" y="213802"/>
                    <a:pt x="254168" y="195446"/>
                  </a:cubicBezTo>
                  <a:cubicBezTo>
                    <a:pt x="241579" y="177090"/>
                    <a:pt x="235285" y="150559"/>
                    <a:pt x="235285" y="115854"/>
                  </a:cubicBezTo>
                  <a:cubicBezTo>
                    <a:pt x="235285" y="77737"/>
                    <a:pt x="241855" y="48899"/>
                    <a:pt x="254995" y="29339"/>
                  </a:cubicBezTo>
                  <a:cubicBezTo>
                    <a:pt x="268136" y="9780"/>
                    <a:pt x="287093" y="0"/>
                    <a:pt x="311869" y="0"/>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82" name="Freeform 1781"/>
            <p:cNvSpPr/>
            <p:nvPr/>
          </p:nvSpPr>
          <p:spPr>
            <a:xfrm>
              <a:off x="257711" y="68248"/>
              <a:ext cx="11685910" cy="6078415"/>
            </a:xfrm>
            <a:custGeom>
              <a:avLst/>
              <a:gdLst>
                <a:gd name="connsiteX0" fmla="*/ 8150891 w 11685910"/>
                <a:gd name="connsiteY0" fmla="*/ 5855435 h 6078415"/>
                <a:gd name="connsiteX1" fmla="*/ 8195740 w 11685910"/>
                <a:gd name="connsiteY1" fmla="*/ 5894457 h 6078415"/>
                <a:gd name="connsiteX2" fmla="*/ 8195740 w 11685910"/>
                <a:gd name="connsiteY2" fmla="*/ 5930817 h 6078415"/>
                <a:gd name="connsiteX3" fmla="*/ 8215378 w 11685910"/>
                <a:gd name="connsiteY3" fmla="*/ 5957677 h 6078415"/>
                <a:gd name="connsiteX4" fmla="*/ 8215378 w 11685910"/>
                <a:gd name="connsiteY4" fmla="*/ 5976174 h 6078415"/>
                <a:gd name="connsiteX5" fmla="*/ 8195740 w 11685910"/>
                <a:gd name="connsiteY5" fmla="*/ 6002526 h 6078415"/>
                <a:gd name="connsiteX6" fmla="*/ 8195740 w 11685910"/>
                <a:gd name="connsiteY6" fmla="*/ 6039901 h 6078415"/>
                <a:gd name="connsiteX7" fmla="*/ 8150891 w 11685910"/>
                <a:gd name="connsiteY7" fmla="*/ 6078415 h 6078415"/>
                <a:gd name="connsiteX8" fmla="*/ 8150891 w 11685910"/>
                <a:gd name="connsiteY8" fmla="*/ 6058905 h 6078415"/>
                <a:gd name="connsiteX9" fmla="*/ 8166538 w 11685910"/>
                <a:gd name="connsiteY9" fmla="*/ 6052823 h 6078415"/>
                <a:gd name="connsiteX10" fmla="*/ 8171162 w 11685910"/>
                <a:gd name="connsiteY10" fmla="*/ 6033566 h 6078415"/>
                <a:gd name="connsiteX11" fmla="*/ 8171162 w 11685910"/>
                <a:gd name="connsiteY11" fmla="*/ 5998219 h 6078415"/>
                <a:gd name="connsiteX12" fmla="*/ 8196121 w 11685910"/>
                <a:gd name="connsiteY12" fmla="*/ 5966925 h 6078415"/>
                <a:gd name="connsiteX13" fmla="*/ 8196121 w 11685910"/>
                <a:gd name="connsiteY13" fmla="*/ 5966545 h 6078415"/>
                <a:gd name="connsiteX14" fmla="*/ 8171162 w 11685910"/>
                <a:gd name="connsiteY14" fmla="*/ 5934999 h 6078415"/>
                <a:gd name="connsiteX15" fmla="*/ 8171162 w 11685910"/>
                <a:gd name="connsiteY15" fmla="*/ 5899271 h 6078415"/>
                <a:gd name="connsiteX16" fmla="*/ 8150891 w 11685910"/>
                <a:gd name="connsiteY16" fmla="*/ 5875073 h 6078415"/>
                <a:gd name="connsiteX17" fmla="*/ 8133407 w 11685910"/>
                <a:gd name="connsiteY17" fmla="*/ 5855435 h 6078415"/>
                <a:gd name="connsiteX18" fmla="*/ 8133407 w 11685910"/>
                <a:gd name="connsiteY18" fmla="*/ 5875073 h 6078415"/>
                <a:gd name="connsiteX19" fmla="*/ 8113263 w 11685910"/>
                <a:gd name="connsiteY19" fmla="*/ 5899271 h 6078415"/>
                <a:gd name="connsiteX20" fmla="*/ 8113263 w 11685910"/>
                <a:gd name="connsiteY20" fmla="*/ 5934999 h 6078415"/>
                <a:gd name="connsiteX21" fmla="*/ 8088050 w 11685910"/>
                <a:gd name="connsiteY21" fmla="*/ 5966545 h 6078415"/>
                <a:gd name="connsiteX22" fmla="*/ 8088050 w 11685910"/>
                <a:gd name="connsiteY22" fmla="*/ 5966925 h 6078415"/>
                <a:gd name="connsiteX23" fmla="*/ 8113263 w 11685910"/>
                <a:gd name="connsiteY23" fmla="*/ 5998219 h 6078415"/>
                <a:gd name="connsiteX24" fmla="*/ 8113263 w 11685910"/>
                <a:gd name="connsiteY24" fmla="*/ 6033566 h 6078415"/>
                <a:gd name="connsiteX25" fmla="*/ 8117760 w 11685910"/>
                <a:gd name="connsiteY25" fmla="*/ 6052886 h 6078415"/>
                <a:gd name="connsiteX26" fmla="*/ 8133407 w 11685910"/>
                <a:gd name="connsiteY26" fmla="*/ 6058905 h 6078415"/>
                <a:gd name="connsiteX27" fmla="*/ 8133407 w 11685910"/>
                <a:gd name="connsiteY27" fmla="*/ 6078415 h 6078415"/>
                <a:gd name="connsiteX28" fmla="*/ 8088304 w 11685910"/>
                <a:gd name="connsiteY28" fmla="*/ 6039901 h 6078415"/>
                <a:gd name="connsiteX29" fmla="*/ 8088304 w 11685910"/>
                <a:gd name="connsiteY29" fmla="*/ 6002526 h 6078415"/>
                <a:gd name="connsiteX30" fmla="*/ 8068540 w 11685910"/>
                <a:gd name="connsiteY30" fmla="*/ 5976174 h 6078415"/>
                <a:gd name="connsiteX31" fmla="*/ 8068540 w 11685910"/>
                <a:gd name="connsiteY31" fmla="*/ 5957677 h 6078415"/>
                <a:gd name="connsiteX32" fmla="*/ 8088304 w 11685910"/>
                <a:gd name="connsiteY32" fmla="*/ 5930817 h 6078415"/>
                <a:gd name="connsiteX33" fmla="*/ 8088304 w 11685910"/>
                <a:gd name="connsiteY33" fmla="*/ 5894457 h 6078415"/>
                <a:gd name="connsiteX34" fmla="*/ 8133407 w 11685910"/>
                <a:gd name="connsiteY34" fmla="*/ 5855435 h 6078415"/>
                <a:gd name="connsiteX35" fmla="*/ 11191247 w 11685910"/>
                <a:gd name="connsiteY35" fmla="*/ 5500304 h 6078415"/>
                <a:gd name="connsiteX36" fmla="*/ 11236096 w 11685910"/>
                <a:gd name="connsiteY36" fmla="*/ 5539326 h 6078415"/>
                <a:gd name="connsiteX37" fmla="*/ 11236096 w 11685910"/>
                <a:gd name="connsiteY37" fmla="*/ 5575686 h 6078415"/>
                <a:gd name="connsiteX38" fmla="*/ 11255734 w 11685910"/>
                <a:gd name="connsiteY38" fmla="*/ 5602546 h 6078415"/>
                <a:gd name="connsiteX39" fmla="*/ 11255734 w 11685910"/>
                <a:gd name="connsiteY39" fmla="*/ 5621043 h 6078415"/>
                <a:gd name="connsiteX40" fmla="*/ 11236096 w 11685910"/>
                <a:gd name="connsiteY40" fmla="*/ 5647395 h 6078415"/>
                <a:gd name="connsiteX41" fmla="*/ 11236096 w 11685910"/>
                <a:gd name="connsiteY41" fmla="*/ 5684770 h 6078415"/>
                <a:gd name="connsiteX42" fmla="*/ 11191247 w 11685910"/>
                <a:gd name="connsiteY42" fmla="*/ 5723284 h 6078415"/>
                <a:gd name="connsiteX43" fmla="*/ 11191247 w 11685910"/>
                <a:gd name="connsiteY43" fmla="*/ 5703774 h 6078415"/>
                <a:gd name="connsiteX44" fmla="*/ 11206894 w 11685910"/>
                <a:gd name="connsiteY44" fmla="*/ 5697692 h 6078415"/>
                <a:gd name="connsiteX45" fmla="*/ 11211518 w 11685910"/>
                <a:gd name="connsiteY45" fmla="*/ 5678435 h 6078415"/>
                <a:gd name="connsiteX46" fmla="*/ 11211518 w 11685910"/>
                <a:gd name="connsiteY46" fmla="*/ 5643088 h 6078415"/>
                <a:gd name="connsiteX47" fmla="*/ 11236477 w 11685910"/>
                <a:gd name="connsiteY47" fmla="*/ 5611794 h 6078415"/>
                <a:gd name="connsiteX48" fmla="*/ 11236477 w 11685910"/>
                <a:gd name="connsiteY48" fmla="*/ 5611414 h 6078415"/>
                <a:gd name="connsiteX49" fmla="*/ 11211518 w 11685910"/>
                <a:gd name="connsiteY49" fmla="*/ 5579868 h 6078415"/>
                <a:gd name="connsiteX50" fmla="*/ 11211518 w 11685910"/>
                <a:gd name="connsiteY50" fmla="*/ 5544140 h 6078415"/>
                <a:gd name="connsiteX51" fmla="*/ 11191247 w 11685910"/>
                <a:gd name="connsiteY51" fmla="*/ 5519942 h 6078415"/>
                <a:gd name="connsiteX52" fmla="*/ 11173763 w 11685910"/>
                <a:gd name="connsiteY52" fmla="*/ 5500304 h 6078415"/>
                <a:gd name="connsiteX53" fmla="*/ 11173763 w 11685910"/>
                <a:gd name="connsiteY53" fmla="*/ 5519942 h 6078415"/>
                <a:gd name="connsiteX54" fmla="*/ 11153619 w 11685910"/>
                <a:gd name="connsiteY54" fmla="*/ 5544140 h 6078415"/>
                <a:gd name="connsiteX55" fmla="*/ 11153619 w 11685910"/>
                <a:gd name="connsiteY55" fmla="*/ 5579868 h 6078415"/>
                <a:gd name="connsiteX56" fmla="*/ 11128407 w 11685910"/>
                <a:gd name="connsiteY56" fmla="*/ 5611414 h 6078415"/>
                <a:gd name="connsiteX57" fmla="*/ 11128407 w 11685910"/>
                <a:gd name="connsiteY57" fmla="*/ 5611794 h 6078415"/>
                <a:gd name="connsiteX58" fmla="*/ 11153619 w 11685910"/>
                <a:gd name="connsiteY58" fmla="*/ 5643088 h 6078415"/>
                <a:gd name="connsiteX59" fmla="*/ 11153619 w 11685910"/>
                <a:gd name="connsiteY59" fmla="*/ 5678435 h 6078415"/>
                <a:gd name="connsiteX60" fmla="*/ 11158117 w 11685910"/>
                <a:gd name="connsiteY60" fmla="*/ 5697755 h 6078415"/>
                <a:gd name="connsiteX61" fmla="*/ 11173763 w 11685910"/>
                <a:gd name="connsiteY61" fmla="*/ 5703774 h 6078415"/>
                <a:gd name="connsiteX62" fmla="*/ 11173763 w 11685910"/>
                <a:gd name="connsiteY62" fmla="*/ 5723284 h 6078415"/>
                <a:gd name="connsiteX63" fmla="*/ 11128660 w 11685910"/>
                <a:gd name="connsiteY63" fmla="*/ 5684770 h 6078415"/>
                <a:gd name="connsiteX64" fmla="*/ 11128660 w 11685910"/>
                <a:gd name="connsiteY64" fmla="*/ 5647395 h 6078415"/>
                <a:gd name="connsiteX65" fmla="*/ 11108896 w 11685910"/>
                <a:gd name="connsiteY65" fmla="*/ 5621043 h 6078415"/>
                <a:gd name="connsiteX66" fmla="*/ 11108896 w 11685910"/>
                <a:gd name="connsiteY66" fmla="*/ 5602546 h 6078415"/>
                <a:gd name="connsiteX67" fmla="*/ 11128660 w 11685910"/>
                <a:gd name="connsiteY67" fmla="*/ 5575686 h 6078415"/>
                <a:gd name="connsiteX68" fmla="*/ 11128660 w 11685910"/>
                <a:gd name="connsiteY68" fmla="*/ 5539326 h 6078415"/>
                <a:gd name="connsiteX69" fmla="*/ 11173763 w 11685910"/>
                <a:gd name="connsiteY69" fmla="*/ 5500304 h 6078415"/>
                <a:gd name="connsiteX70" fmla="*/ 8150891 w 11685910"/>
                <a:gd name="connsiteY70" fmla="*/ 5500304 h 6078415"/>
                <a:gd name="connsiteX71" fmla="*/ 8195740 w 11685910"/>
                <a:gd name="connsiteY71" fmla="*/ 5539326 h 6078415"/>
                <a:gd name="connsiteX72" fmla="*/ 8195740 w 11685910"/>
                <a:gd name="connsiteY72" fmla="*/ 5575686 h 6078415"/>
                <a:gd name="connsiteX73" fmla="*/ 8215378 w 11685910"/>
                <a:gd name="connsiteY73" fmla="*/ 5602546 h 6078415"/>
                <a:gd name="connsiteX74" fmla="*/ 8215378 w 11685910"/>
                <a:gd name="connsiteY74" fmla="*/ 5621043 h 6078415"/>
                <a:gd name="connsiteX75" fmla="*/ 8195740 w 11685910"/>
                <a:gd name="connsiteY75" fmla="*/ 5647395 h 6078415"/>
                <a:gd name="connsiteX76" fmla="*/ 8195740 w 11685910"/>
                <a:gd name="connsiteY76" fmla="*/ 5684770 h 6078415"/>
                <a:gd name="connsiteX77" fmla="*/ 8150891 w 11685910"/>
                <a:gd name="connsiteY77" fmla="*/ 5723284 h 6078415"/>
                <a:gd name="connsiteX78" fmla="*/ 8150891 w 11685910"/>
                <a:gd name="connsiteY78" fmla="*/ 5703774 h 6078415"/>
                <a:gd name="connsiteX79" fmla="*/ 8166538 w 11685910"/>
                <a:gd name="connsiteY79" fmla="*/ 5697692 h 6078415"/>
                <a:gd name="connsiteX80" fmla="*/ 8171162 w 11685910"/>
                <a:gd name="connsiteY80" fmla="*/ 5678435 h 6078415"/>
                <a:gd name="connsiteX81" fmla="*/ 8171162 w 11685910"/>
                <a:gd name="connsiteY81" fmla="*/ 5643088 h 6078415"/>
                <a:gd name="connsiteX82" fmla="*/ 8196121 w 11685910"/>
                <a:gd name="connsiteY82" fmla="*/ 5611794 h 6078415"/>
                <a:gd name="connsiteX83" fmla="*/ 8196121 w 11685910"/>
                <a:gd name="connsiteY83" fmla="*/ 5611414 h 6078415"/>
                <a:gd name="connsiteX84" fmla="*/ 8171162 w 11685910"/>
                <a:gd name="connsiteY84" fmla="*/ 5579868 h 6078415"/>
                <a:gd name="connsiteX85" fmla="*/ 8171162 w 11685910"/>
                <a:gd name="connsiteY85" fmla="*/ 5544140 h 6078415"/>
                <a:gd name="connsiteX86" fmla="*/ 8150891 w 11685910"/>
                <a:gd name="connsiteY86" fmla="*/ 5519942 h 6078415"/>
                <a:gd name="connsiteX87" fmla="*/ 8133407 w 11685910"/>
                <a:gd name="connsiteY87" fmla="*/ 5500304 h 6078415"/>
                <a:gd name="connsiteX88" fmla="*/ 8133407 w 11685910"/>
                <a:gd name="connsiteY88" fmla="*/ 5519942 h 6078415"/>
                <a:gd name="connsiteX89" fmla="*/ 8113263 w 11685910"/>
                <a:gd name="connsiteY89" fmla="*/ 5544140 h 6078415"/>
                <a:gd name="connsiteX90" fmla="*/ 8113263 w 11685910"/>
                <a:gd name="connsiteY90" fmla="*/ 5579868 h 6078415"/>
                <a:gd name="connsiteX91" fmla="*/ 8088050 w 11685910"/>
                <a:gd name="connsiteY91" fmla="*/ 5611414 h 6078415"/>
                <a:gd name="connsiteX92" fmla="*/ 8088050 w 11685910"/>
                <a:gd name="connsiteY92" fmla="*/ 5611794 h 6078415"/>
                <a:gd name="connsiteX93" fmla="*/ 8113263 w 11685910"/>
                <a:gd name="connsiteY93" fmla="*/ 5643088 h 6078415"/>
                <a:gd name="connsiteX94" fmla="*/ 8113263 w 11685910"/>
                <a:gd name="connsiteY94" fmla="*/ 5678435 h 6078415"/>
                <a:gd name="connsiteX95" fmla="*/ 8117760 w 11685910"/>
                <a:gd name="connsiteY95" fmla="*/ 5697755 h 6078415"/>
                <a:gd name="connsiteX96" fmla="*/ 8133407 w 11685910"/>
                <a:gd name="connsiteY96" fmla="*/ 5703774 h 6078415"/>
                <a:gd name="connsiteX97" fmla="*/ 8133407 w 11685910"/>
                <a:gd name="connsiteY97" fmla="*/ 5723284 h 6078415"/>
                <a:gd name="connsiteX98" fmla="*/ 8088304 w 11685910"/>
                <a:gd name="connsiteY98" fmla="*/ 5684770 h 6078415"/>
                <a:gd name="connsiteX99" fmla="*/ 8088304 w 11685910"/>
                <a:gd name="connsiteY99" fmla="*/ 5647395 h 6078415"/>
                <a:gd name="connsiteX100" fmla="*/ 8068540 w 11685910"/>
                <a:gd name="connsiteY100" fmla="*/ 5621043 h 6078415"/>
                <a:gd name="connsiteX101" fmla="*/ 8068540 w 11685910"/>
                <a:gd name="connsiteY101" fmla="*/ 5602546 h 6078415"/>
                <a:gd name="connsiteX102" fmla="*/ 8088304 w 11685910"/>
                <a:gd name="connsiteY102" fmla="*/ 5575686 h 6078415"/>
                <a:gd name="connsiteX103" fmla="*/ 8088304 w 11685910"/>
                <a:gd name="connsiteY103" fmla="*/ 5539326 h 6078415"/>
                <a:gd name="connsiteX104" fmla="*/ 8133407 w 11685910"/>
                <a:gd name="connsiteY104" fmla="*/ 5500304 h 6078415"/>
                <a:gd name="connsiteX105" fmla="*/ 11191247 w 11685910"/>
                <a:gd name="connsiteY105" fmla="*/ 5162674 h 6078415"/>
                <a:gd name="connsiteX106" fmla="*/ 11236096 w 11685910"/>
                <a:gd name="connsiteY106" fmla="*/ 5201695 h 6078415"/>
                <a:gd name="connsiteX107" fmla="*/ 11236096 w 11685910"/>
                <a:gd name="connsiteY107" fmla="*/ 5238056 h 6078415"/>
                <a:gd name="connsiteX108" fmla="*/ 11255734 w 11685910"/>
                <a:gd name="connsiteY108" fmla="*/ 5264915 h 6078415"/>
                <a:gd name="connsiteX109" fmla="*/ 11255734 w 11685910"/>
                <a:gd name="connsiteY109" fmla="*/ 5283412 h 6078415"/>
                <a:gd name="connsiteX110" fmla="*/ 11236096 w 11685910"/>
                <a:gd name="connsiteY110" fmla="*/ 5309765 h 6078415"/>
                <a:gd name="connsiteX111" fmla="*/ 11236096 w 11685910"/>
                <a:gd name="connsiteY111" fmla="*/ 5347139 h 6078415"/>
                <a:gd name="connsiteX112" fmla="*/ 11191247 w 11685910"/>
                <a:gd name="connsiteY112" fmla="*/ 5385654 h 6078415"/>
                <a:gd name="connsiteX113" fmla="*/ 11191247 w 11685910"/>
                <a:gd name="connsiteY113" fmla="*/ 5366143 h 6078415"/>
                <a:gd name="connsiteX114" fmla="*/ 11206894 w 11685910"/>
                <a:gd name="connsiteY114" fmla="*/ 5360062 h 6078415"/>
                <a:gd name="connsiteX115" fmla="*/ 11211518 w 11685910"/>
                <a:gd name="connsiteY115" fmla="*/ 5340805 h 6078415"/>
                <a:gd name="connsiteX116" fmla="*/ 11211518 w 11685910"/>
                <a:gd name="connsiteY116" fmla="*/ 5305457 h 6078415"/>
                <a:gd name="connsiteX117" fmla="*/ 11236477 w 11685910"/>
                <a:gd name="connsiteY117" fmla="*/ 5274164 h 6078415"/>
                <a:gd name="connsiteX118" fmla="*/ 11236477 w 11685910"/>
                <a:gd name="connsiteY118" fmla="*/ 5273784 h 6078415"/>
                <a:gd name="connsiteX119" fmla="*/ 11211518 w 11685910"/>
                <a:gd name="connsiteY119" fmla="*/ 5242237 h 6078415"/>
                <a:gd name="connsiteX120" fmla="*/ 11211518 w 11685910"/>
                <a:gd name="connsiteY120" fmla="*/ 5206510 h 6078415"/>
                <a:gd name="connsiteX121" fmla="*/ 11191247 w 11685910"/>
                <a:gd name="connsiteY121" fmla="*/ 5182311 h 6078415"/>
                <a:gd name="connsiteX122" fmla="*/ 11173763 w 11685910"/>
                <a:gd name="connsiteY122" fmla="*/ 5162674 h 6078415"/>
                <a:gd name="connsiteX123" fmla="*/ 11173763 w 11685910"/>
                <a:gd name="connsiteY123" fmla="*/ 5182311 h 6078415"/>
                <a:gd name="connsiteX124" fmla="*/ 11153619 w 11685910"/>
                <a:gd name="connsiteY124" fmla="*/ 5206510 h 6078415"/>
                <a:gd name="connsiteX125" fmla="*/ 11153619 w 11685910"/>
                <a:gd name="connsiteY125" fmla="*/ 5242237 h 6078415"/>
                <a:gd name="connsiteX126" fmla="*/ 11128407 w 11685910"/>
                <a:gd name="connsiteY126" fmla="*/ 5273784 h 6078415"/>
                <a:gd name="connsiteX127" fmla="*/ 11128407 w 11685910"/>
                <a:gd name="connsiteY127" fmla="*/ 5274164 h 6078415"/>
                <a:gd name="connsiteX128" fmla="*/ 11153619 w 11685910"/>
                <a:gd name="connsiteY128" fmla="*/ 5305457 h 6078415"/>
                <a:gd name="connsiteX129" fmla="*/ 11153619 w 11685910"/>
                <a:gd name="connsiteY129" fmla="*/ 5340805 h 6078415"/>
                <a:gd name="connsiteX130" fmla="*/ 11158117 w 11685910"/>
                <a:gd name="connsiteY130" fmla="*/ 5360125 h 6078415"/>
                <a:gd name="connsiteX131" fmla="*/ 11173763 w 11685910"/>
                <a:gd name="connsiteY131" fmla="*/ 5366143 h 6078415"/>
                <a:gd name="connsiteX132" fmla="*/ 11173763 w 11685910"/>
                <a:gd name="connsiteY132" fmla="*/ 5385654 h 6078415"/>
                <a:gd name="connsiteX133" fmla="*/ 11128660 w 11685910"/>
                <a:gd name="connsiteY133" fmla="*/ 5347139 h 6078415"/>
                <a:gd name="connsiteX134" fmla="*/ 11128660 w 11685910"/>
                <a:gd name="connsiteY134" fmla="*/ 5309765 h 6078415"/>
                <a:gd name="connsiteX135" fmla="*/ 11108896 w 11685910"/>
                <a:gd name="connsiteY135" fmla="*/ 5283412 h 6078415"/>
                <a:gd name="connsiteX136" fmla="*/ 11108896 w 11685910"/>
                <a:gd name="connsiteY136" fmla="*/ 5264915 h 6078415"/>
                <a:gd name="connsiteX137" fmla="*/ 11128660 w 11685910"/>
                <a:gd name="connsiteY137" fmla="*/ 5238056 h 6078415"/>
                <a:gd name="connsiteX138" fmla="*/ 11128660 w 11685910"/>
                <a:gd name="connsiteY138" fmla="*/ 5201695 h 6078415"/>
                <a:gd name="connsiteX139" fmla="*/ 11173763 w 11685910"/>
                <a:gd name="connsiteY139" fmla="*/ 5162674 h 6078415"/>
                <a:gd name="connsiteX140" fmla="*/ 8150891 w 11685910"/>
                <a:gd name="connsiteY140" fmla="*/ 5162674 h 6078415"/>
                <a:gd name="connsiteX141" fmla="*/ 8195740 w 11685910"/>
                <a:gd name="connsiteY141" fmla="*/ 5201696 h 6078415"/>
                <a:gd name="connsiteX142" fmla="*/ 8195740 w 11685910"/>
                <a:gd name="connsiteY142" fmla="*/ 5238056 h 6078415"/>
                <a:gd name="connsiteX143" fmla="*/ 8215378 w 11685910"/>
                <a:gd name="connsiteY143" fmla="*/ 5264916 h 6078415"/>
                <a:gd name="connsiteX144" fmla="*/ 8215378 w 11685910"/>
                <a:gd name="connsiteY144" fmla="*/ 5283413 h 6078415"/>
                <a:gd name="connsiteX145" fmla="*/ 8195740 w 11685910"/>
                <a:gd name="connsiteY145" fmla="*/ 5309765 h 6078415"/>
                <a:gd name="connsiteX146" fmla="*/ 8195740 w 11685910"/>
                <a:gd name="connsiteY146" fmla="*/ 5347140 h 6078415"/>
                <a:gd name="connsiteX147" fmla="*/ 8150891 w 11685910"/>
                <a:gd name="connsiteY147" fmla="*/ 5385654 h 6078415"/>
                <a:gd name="connsiteX148" fmla="*/ 8150891 w 11685910"/>
                <a:gd name="connsiteY148" fmla="*/ 5366144 h 6078415"/>
                <a:gd name="connsiteX149" fmla="*/ 8166538 w 11685910"/>
                <a:gd name="connsiteY149" fmla="*/ 5360062 h 6078415"/>
                <a:gd name="connsiteX150" fmla="*/ 8171162 w 11685910"/>
                <a:gd name="connsiteY150" fmla="*/ 5340805 h 6078415"/>
                <a:gd name="connsiteX151" fmla="*/ 8171162 w 11685910"/>
                <a:gd name="connsiteY151" fmla="*/ 5305458 h 6078415"/>
                <a:gd name="connsiteX152" fmla="*/ 8196121 w 11685910"/>
                <a:gd name="connsiteY152" fmla="*/ 5274164 h 6078415"/>
                <a:gd name="connsiteX153" fmla="*/ 8196121 w 11685910"/>
                <a:gd name="connsiteY153" fmla="*/ 5273784 h 6078415"/>
                <a:gd name="connsiteX154" fmla="*/ 8171162 w 11685910"/>
                <a:gd name="connsiteY154" fmla="*/ 5242238 h 6078415"/>
                <a:gd name="connsiteX155" fmla="*/ 8171162 w 11685910"/>
                <a:gd name="connsiteY155" fmla="*/ 5206510 h 6078415"/>
                <a:gd name="connsiteX156" fmla="*/ 8150891 w 11685910"/>
                <a:gd name="connsiteY156" fmla="*/ 5182312 h 6078415"/>
                <a:gd name="connsiteX157" fmla="*/ 8133407 w 11685910"/>
                <a:gd name="connsiteY157" fmla="*/ 5162674 h 6078415"/>
                <a:gd name="connsiteX158" fmla="*/ 8133407 w 11685910"/>
                <a:gd name="connsiteY158" fmla="*/ 5182312 h 6078415"/>
                <a:gd name="connsiteX159" fmla="*/ 8113263 w 11685910"/>
                <a:gd name="connsiteY159" fmla="*/ 5206510 h 6078415"/>
                <a:gd name="connsiteX160" fmla="*/ 8113263 w 11685910"/>
                <a:gd name="connsiteY160" fmla="*/ 5242238 h 6078415"/>
                <a:gd name="connsiteX161" fmla="*/ 8088050 w 11685910"/>
                <a:gd name="connsiteY161" fmla="*/ 5273784 h 6078415"/>
                <a:gd name="connsiteX162" fmla="*/ 8088050 w 11685910"/>
                <a:gd name="connsiteY162" fmla="*/ 5274164 h 6078415"/>
                <a:gd name="connsiteX163" fmla="*/ 8113263 w 11685910"/>
                <a:gd name="connsiteY163" fmla="*/ 5305458 h 6078415"/>
                <a:gd name="connsiteX164" fmla="*/ 8113263 w 11685910"/>
                <a:gd name="connsiteY164" fmla="*/ 5340805 h 6078415"/>
                <a:gd name="connsiteX165" fmla="*/ 8117760 w 11685910"/>
                <a:gd name="connsiteY165" fmla="*/ 5360125 h 6078415"/>
                <a:gd name="connsiteX166" fmla="*/ 8133407 w 11685910"/>
                <a:gd name="connsiteY166" fmla="*/ 5366144 h 6078415"/>
                <a:gd name="connsiteX167" fmla="*/ 8133407 w 11685910"/>
                <a:gd name="connsiteY167" fmla="*/ 5385654 h 6078415"/>
                <a:gd name="connsiteX168" fmla="*/ 8088304 w 11685910"/>
                <a:gd name="connsiteY168" fmla="*/ 5347140 h 6078415"/>
                <a:gd name="connsiteX169" fmla="*/ 8088304 w 11685910"/>
                <a:gd name="connsiteY169" fmla="*/ 5309765 h 6078415"/>
                <a:gd name="connsiteX170" fmla="*/ 8068540 w 11685910"/>
                <a:gd name="connsiteY170" fmla="*/ 5283413 h 6078415"/>
                <a:gd name="connsiteX171" fmla="*/ 8068540 w 11685910"/>
                <a:gd name="connsiteY171" fmla="*/ 5264916 h 6078415"/>
                <a:gd name="connsiteX172" fmla="*/ 8088304 w 11685910"/>
                <a:gd name="connsiteY172" fmla="*/ 5238056 h 6078415"/>
                <a:gd name="connsiteX173" fmla="*/ 8088304 w 11685910"/>
                <a:gd name="connsiteY173" fmla="*/ 5201696 h 6078415"/>
                <a:gd name="connsiteX174" fmla="*/ 8133407 w 11685910"/>
                <a:gd name="connsiteY174" fmla="*/ 5162674 h 6078415"/>
                <a:gd name="connsiteX175" fmla="*/ 5096170 w 11685910"/>
                <a:gd name="connsiteY175" fmla="*/ 5162674 h 6078415"/>
                <a:gd name="connsiteX176" fmla="*/ 5141019 w 11685910"/>
                <a:gd name="connsiteY176" fmla="*/ 5201696 h 6078415"/>
                <a:gd name="connsiteX177" fmla="*/ 5141019 w 11685910"/>
                <a:gd name="connsiteY177" fmla="*/ 5238056 h 6078415"/>
                <a:gd name="connsiteX178" fmla="*/ 5160658 w 11685910"/>
                <a:gd name="connsiteY178" fmla="*/ 5264916 h 6078415"/>
                <a:gd name="connsiteX179" fmla="*/ 5160658 w 11685910"/>
                <a:gd name="connsiteY179" fmla="*/ 5283413 h 6078415"/>
                <a:gd name="connsiteX180" fmla="*/ 5141019 w 11685910"/>
                <a:gd name="connsiteY180" fmla="*/ 5309765 h 6078415"/>
                <a:gd name="connsiteX181" fmla="*/ 5141019 w 11685910"/>
                <a:gd name="connsiteY181" fmla="*/ 5347140 h 6078415"/>
                <a:gd name="connsiteX182" fmla="*/ 5096170 w 11685910"/>
                <a:gd name="connsiteY182" fmla="*/ 5385654 h 6078415"/>
                <a:gd name="connsiteX183" fmla="*/ 5096170 w 11685910"/>
                <a:gd name="connsiteY183" fmla="*/ 5366144 h 6078415"/>
                <a:gd name="connsiteX184" fmla="*/ 5111817 w 11685910"/>
                <a:gd name="connsiteY184" fmla="*/ 5360062 h 6078415"/>
                <a:gd name="connsiteX185" fmla="*/ 5116441 w 11685910"/>
                <a:gd name="connsiteY185" fmla="*/ 5340805 h 6078415"/>
                <a:gd name="connsiteX186" fmla="*/ 5116441 w 11685910"/>
                <a:gd name="connsiteY186" fmla="*/ 5305458 h 6078415"/>
                <a:gd name="connsiteX187" fmla="*/ 5141399 w 11685910"/>
                <a:gd name="connsiteY187" fmla="*/ 5274164 h 6078415"/>
                <a:gd name="connsiteX188" fmla="*/ 5141399 w 11685910"/>
                <a:gd name="connsiteY188" fmla="*/ 5273784 h 6078415"/>
                <a:gd name="connsiteX189" fmla="*/ 5116441 w 11685910"/>
                <a:gd name="connsiteY189" fmla="*/ 5242238 h 6078415"/>
                <a:gd name="connsiteX190" fmla="*/ 5116441 w 11685910"/>
                <a:gd name="connsiteY190" fmla="*/ 5206510 h 6078415"/>
                <a:gd name="connsiteX191" fmla="*/ 5096170 w 11685910"/>
                <a:gd name="connsiteY191" fmla="*/ 5182312 h 6078415"/>
                <a:gd name="connsiteX192" fmla="*/ 5078686 w 11685910"/>
                <a:gd name="connsiteY192" fmla="*/ 5162674 h 6078415"/>
                <a:gd name="connsiteX193" fmla="*/ 5078686 w 11685910"/>
                <a:gd name="connsiteY193" fmla="*/ 5182312 h 6078415"/>
                <a:gd name="connsiteX194" fmla="*/ 5058542 w 11685910"/>
                <a:gd name="connsiteY194" fmla="*/ 5206510 h 6078415"/>
                <a:gd name="connsiteX195" fmla="*/ 5058542 w 11685910"/>
                <a:gd name="connsiteY195" fmla="*/ 5242238 h 6078415"/>
                <a:gd name="connsiteX196" fmla="*/ 5033329 w 11685910"/>
                <a:gd name="connsiteY196" fmla="*/ 5273784 h 6078415"/>
                <a:gd name="connsiteX197" fmla="*/ 5033329 w 11685910"/>
                <a:gd name="connsiteY197" fmla="*/ 5274164 h 6078415"/>
                <a:gd name="connsiteX198" fmla="*/ 5058542 w 11685910"/>
                <a:gd name="connsiteY198" fmla="*/ 5305458 h 6078415"/>
                <a:gd name="connsiteX199" fmla="*/ 5058542 w 11685910"/>
                <a:gd name="connsiteY199" fmla="*/ 5340805 h 6078415"/>
                <a:gd name="connsiteX200" fmla="*/ 5063039 w 11685910"/>
                <a:gd name="connsiteY200" fmla="*/ 5360125 h 6078415"/>
                <a:gd name="connsiteX201" fmla="*/ 5078686 w 11685910"/>
                <a:gd name="connsiteY201" fmla="*/ 5366144 h 6078415"/>
                <a:gd name="connsiteX202" fmla="*/ 5078686 w 11685910"/>
                <a:gd name="connsiteY202" fmla="*/ 5385654 h 6078415"/>
                <a:gd name="connsiteX203" fmla="*/ 5033583 w 11685910"/>
                <a:gd name="connsiteY203" fmla="*/ 5347140 h 6078415"/>
                <a:gd name="connsiteX204" fmla="*/ 5033583 w 11685910"/>
                <a:gd name="connsiteY204" fmla="*/ 5309765 h 6078415"/>
                <a:gd name="connsiteX205" fmla="*/ 5013819 w 11685910"/>
                <a:gd name="connsiteY205" fmla="*/ 5283413 h 6078415"/>
                <a:gd name="connsiteX206" fmla="*/ 5013819 w 11685910"/>
                <a:gd name="connsiteY206" fmla="*/ 5264916 h 6078415"/>
                <a:gd name="connsiteX207" fmla="*/ 5033583 w 11685910"/>
                <a:gd name="connsiteY207" fmla="*/ 5238056 h 6078415"/>
                <a:gd name="connsiteX208" fmla="*/ 5033583 w 11685910"/>
                <a:gd name="connsiteY208" fmla="*/ 5201696 h 6078415"/>
                <a:gd name="connsiteX209" fmla="*/ 5078686 w 11685910"/>
                <a:gd name="connsiteY209" fmla="*/ 5162674 h 6078415"/>
                <a:gd name="connsiteX210" fmla="*/ 11191247 w 11685910"/>
                <a:gd name="connsiteY210" fmla="*/ 4849604 h 6078415"/>
                <a:gd name="connsiteX211" fmla="*/ 11236096 w 11685910"/>
                <a:gd name="connsiteY211" fmla="*/ 4888625 h 6078415"/>
                <a:gd name="connsiteX212" fmla="*/ 11236096 w 11685910"/>
                <a:gd name="connsiteY212" fmla="*/ 4924986 h 6078415"/>
                <a:gd name="connsiteX213" fmla="*/ 11255734 w 11685910"/>
                <a:gd name="connsiteY213" fmla="*/ 4951845 h 6078415"/>
                <a:gd name="connsiteX214" fmla="*/ 11255734 w 11685910"/>
                <a:gd name="connsiteY214" fmla="*/ 4970342 h 6078415"/>
                <a:gd name="connsiteX215" fmla="*/ 11236096 w 11685910"/>
                <a:gd name="connsiteY215" fmla="*/ 4996695 h 6078415"/>
                <a:gd name="connsiteX216" fmla="*/ 11236096 w 11685910"/>
                <a:gd name="connsiteY216" fmla="*/ 5034069 h 6078415"/>
                <a:gd name="connsiteX217" fmla="*/ 11191247 w 11685910"/>
                <a:gd name="connsiteY217" fmla="*/ 5072584 h 6078415"/>
                <a:gd name="connsiteX218" fmla="*/ 11191247 w 11685910"/>
                <a:gd name="connsiteY218" fmla="*/ 5053073 h 6078415"/>
                <a:gd name="connsiteX219" fmla="*/ 11206894 w 11685910"/>
                <a:gd name="connsiteY219" fmla="*/ 5046992 h 6078415"/>
                <a:gd name="connsiteX220" fmla="*/ 11211518 w 11685910"/>
                <a:gd name="connsiteY220" fmla="*/ 5027735 h 6078415"/>
                <a:gd name="connsiteX221" fmla="*/ 11211518 w 11685910"/>
                <a:gd name="connsiteY221" fmla="*/ 4992387 h 6078415"/>
                <a:gd name="connsiteX222" fmla="*/ 11236477 w 11685910"/>
                <a:gd name="connsiteY222" fmla="*/ 4961094 h 6078415"/>
                <a:gd name="connsiteX223" fmla="*/ 11236477 w 11685910"/>
                <a:gd name="connsiteY223" fmla="*/ 4960714 h 6078415"/>
                <a:gd name="connsiteX224" fmla="*/ 11211518 w 11685910"/>
                <a:gd name="connsiteY224" fmla="*/ 4929167 h 6078415"/>
                <a:gd name="connsiteX225" fmla="*/ 11211518 w 11685910"/>
                <a:gd name="connsiteY225" fmla="*/ 4893440 h 6078415"/>
                <a:gd name="connsiteX226" fmla="*/ 11191247 w 11685910"/>
                <a:gd name="connsiteY226" fmla="*/ 4869241 h 6078415"/>
                <a:gd name="connsiteX227" fmla="*/ 11173763 w 11685910"/>
                <a:gd name="connsiteY227" fmla="*/ 4849604 h 6078415"/>
                <a:gd name="connsiteX228" fmla="*/ 11173763 w 11685910"/>
                <a:gd name="connsiteY228" fmla="*/ 4869241 h 6078415"/>
                <a:gd name="connsiteX229" fmla="*/ 11153619 w 11685910"/>
                <a:gd name="connsiteY229" fmla="*/ 4893440 h 6078415"/>
                <a:gd name="connsiteX230" fmla="*/ 11153619 w 11685910"/>
                <a:gd name="connsiteY230" fmla="*/ 4929167 h 6078415"/>
                <a:gd name="connsiteX231" fmla="*/ 11128407 w 11685910"/>
                <a:gd name="connsiteY231" fmla="*/ 4960714 h 6078415"/>
                <a:gd name="connsiteX232" fmla="*/ 11128407 w 11685910"/>
                <a:gd name="connsiteY232" fmla="*/ 4961094 h 6078415"/>
                <a:gd name="connsiteX233" fmla="*/ 11153619 w 11685910"/>
                <a:gd name="connsiteY233" fmla="*/ 4992387 h 6078415"/>
                <a:gd name="connsiteX234" fmla="*/ 11153619 w 11685910"/>
                <a:gd name="connsiteY234" fmla="*/ 5027735 h 6078415"/>
                <a:gd name="connsiteX235" fmla="*/ 11158117 w 11685910"/>
                <a:gd name="connsiteY235" fmla="*/ 5047055 h 6078415"/>
                <a:gd name="connsiteX236" fmla="*/ 11173763 w 11685910"/>
                <a:gd name="connsiteY236" fmla="*/ 5053073 h 6078415"/>
                <a:gd name="connsiteX237" fmla="*/ 11173763 w 11685910"/>
                <a:gd name="connsiteY237" fmla="*/ 5072584 h 6078415"/>
                <a:gd name="connsiteX238" fmla="*/ 11128660 w 11685910"/>
                <a:gd name="connsiteY238" fmla="*/ 5034069 h 6078415"/>
                <a:gd name="connsiteX239" fmla="*/ 11128660 w 11685910"/>
                <a:gd name="connsiteY239" fmla="*/ 4996695 h 6078415"/>
                <a:gd name="connsiteX240" fmla="*/ 11108896 w 11685910"/>
                <a:gd name="connsiteY240" fmla="*/ 4970342 h 6078415"/>
                <a:gd name="connsiteX241" fmla="*/ 11108896 w 11685910"/>
                <a:gd name="connsiteY241" fmla="*/ 4951845 h 6078415"/>
                <a:gd name="connsiteX242" fmla="*/ 11128660 w 11685910"/>
                <a:gd name="connsiteY242" fmla="*/ 4924986 h 6078415"/>
                <a:gd name="connsiteX243" fmla="*/ 11128660 w 11685910"/>
                <a:gd name="connsiteY243" fmla="*/ 4888625 h 6078415"/>
                <a:gd name="connsiteX244" fmla="*/ 11173763 w 11685910"/>
                <a:gd name="connsiteY244" fmla="*/ 4849604 h 6078415"/>
                <a:gd name="connsiteX245" fmla="*/ 8150891 w 11685910"/>
                <a:gd name="connsiteY245" fmla="*/ 4849604 h 6078415"/>
                <a:gd name="connsiteX246" fmla="*/ 8195740 w 11685910"/>
                <a:gd name="connsiteY246" fmla="*/ 4888626 h 6078415"/>
                <a:gd name="connsiteX247" fmla="*/ 8195740 w 11685910"/>
                <a:gd name="connsiteY247" fmla="*/ 4924986 h 6078415"/>
                <a:gd name="connsiteX248" fmla="*/ 8215378 w 11685910"/>
                <a:gd name="connsiteY248" fmla="*/ 4951846 h 6078415"/>
                <a:gd name="connsiteX249" fmla="*/ 8215378 w 11685910"/>
                <a:gd name="connsiteY249" fmla="*/ 4970343 h 6078415"/>
                <a:gd name="connsiteX250" fmla="*/ 8195740 w 11685910"/>
                <a:gd name="connsiteY250" fmla="*/ 4996695 h 6078415"/>
                <a:gd name="connsiteX251" fmla="*/ 8195740 w 11685910"/>
                <a:gd name="connsiteY251" fmla="*/ 5034070 h 6078415"/>
                <a:gd name="connsiteX252" fmla="*/ 8150891 w 11685910"/>
                <a:gd name="connsiteY252" fmla="*/ 5072584 h 6078415"/>
                <a:gd name="connsiteX253" fmla="*/ 8150891 w 11685910"/>
                <a:gd name="connsiteY253" fmla="*/ 5053074 h 6078415"/>
                <a:gd name="connsiteX254" fmla="*/ 8166538 w 11685910"/>
                <a:gd name="connsiteY254" fmla="*/ 5046992 h 6078415"/>
                <a:gd name="connsiteX255" fmla="*/ 8171162 w 11685910"/>
                <a:gd name="connsiteY255" fmla="*/ 5027735 h 6078415"/>
                <a:gd name="connsiteX256" fmla="*/ 8171162 w 11685910"/>
                <a:gd name="connsiteY256" fmla="*/ 4992388 h 6078415"/>
                <a:gd name="connsiteX257" fmla="*/ 8196121 w 11685910"/>
                <a:gd name="connsiteY257" fmla="*/ 4961094 h 6078415"/>
                <a:gd name="connsiteX258" fmla="*/ 8196121 w 11685910"/>
                <a:gd name="connsiteY258" fmla="*/ 4960714 h 6078415"/>
                <a:gd name="connsiteX259" fmla="*/ 8171162 w 11685910"/>
                <a:gd name="connsiteY259" fmla="*/ 4929168 h 6078415"/>
                <a:gd name="connsiteX260" fmla="*/ 8171162 w 11685910"/>
                <a:gd name="connsiteY260" fmla="*/ 4893440 h 6078415"/>
                <a:gd name="connsiteX261" fmla="*/ 8150891 w 11685910"/>
                <a:gd name="connsiteY261" fmla="*/ 4869242 h 6078415"/>
                <a:gd name="connsiteX262" fmla="*/ 8133407 w 11685910"/>
                <a:gd name="connsiteY262" fmla="*/ 4849604 h 6078415"/>
                <a:gd name="connsiteX263" fmla="*/ 8133407 w 11685910"/>
                <a:gd name="connsiteY263" fmla="*/ 4869242 h 6078415"/>
                <a:gd name="connsiteX264" fmla="*/ 8113263 w 11685910"/>
                <a:gd name="connsiteY264" fmla="*/ 4893440 h 6078415"/>
                <a:gd name="connsiteX265" fmla="*/ 8113263 w 11685910"/>
                <a:gd name="connsiteY265" fmla="*/ 4929168 h 6078415"/>
                <a:gd name="connsiteX266" fmla="*/ 8088050 w 11685910"/>
                <a:gd name="connsiteY266" fmla="*/ 4960714 h 6078415"/>
                <a:gd name="connsiteX267" fmla="*/ 8088050 w 11685910"/>
                <a:gd name="connsiteY267" fmla="*/ 4961094 h 6078415"/>
                <a:gd name="connsiteX268" fmla="*/ 8113263 w 11685910"/>
                <a:gd name="connsiteY268" fmla="*/ 4992388 h 6078415"/>
                <a:gd name="connsiteX269" fmla="*/ 8113263 w 11685910"/>
                <a:gd name="connsiteY269" fmla="*/ 5027735 h 6078415"/>
                <a:gd name="connsiteX270" fmla="*/ 8117760 w 11685910"/>
                <a:gd name="connsiteY270" fmla="*/ 5047055 h 6078415"/>
                <a:gd name="connsiteX271" fmla="*/ 8133407 w 11685910"/>
                <a:gd name="connsiteY271" fmla="*/ 5053074 h 6078415"/>
                <a:gd name="connsiteX272" fmla="*/ 8133407 w 11685910"/>
                <a:gd name="connsiteY272" fmla="*/ 5072584 h 6078415"/>
                <a:gd name="connsiteX273" fmla="*/ 8088304 w 11685910"/>
                <a:gd name="connsiteY273" fmla="*/ 5034070 h 6078415"/>
                <a:gd name="connsiteX274" fmla="*/ 8088304 w 11685910"/>
                <a:gd name="connsiteY274" fmla="*/ 4996695 h 6078415"/>
                <a:gd name="connsiteX275" fmla="*/ 8068540 w 11685910"/>
                <a:gd name="connsiteY275" fmla="*/ 4970343 h 6078415"/>
                <a:gd name="connsiteX276" fmla="*/ 8068540 w 11685910"/>
                <a:gd name="connsiteY276" fmla="*/ 4951846 h 6078415"/>
                <a:gd name="connsiteX277" fmla="*/ 8088304 w 11685910"/>
                <a:gd name="connsiteY277" fmla="*/ 4924986 h 6078415"/>
                <a:gd name="connsiteX278" fmla="*/ 8088304 w 11685910"/>
                <a:gd name="connsiteY278" fmla="*/ 4888626 h 6078415"/>
                <a:gd name="connsiteX279" fmla="*/ 8133407 w 11685910"/>
                <a:gd name="connsiteY279" fmla="*/ 4849604 h 6078415"/>
                <a:gd name="connsiteX280" fmla="*/ 5096170 w 11685910"/>
                <a:gd name="connsiteY280" fmla="*/ 4849604 h 6078415"/>
                <a:gd name="connsiteX281" fmla="*/ 5141019 w 11685910"/>
                <a:gd name="connsiteY281" fmla="*/ 4888626 h 6078415"/>
                <a:gd name="connsiteX282" fmla="*/ 5141019 w 11685910"/>
                <a:gd name="connsiteY282" fmla="*/ 4924986 h 6078415"/>
                <a:gd name="connsiteX283" fmla="*/ 5160658 w 11685910"/>
                <a:gd name="connsiteY283" fmla="*/ 4951846 h 6078415"/>
                <a:gd name="connsiteX284" fmla="*/ 5160658 w 11685910"/>
                <a:gd name="connsiteY284" fmla="*/ 4970343 h 6078415"/>
                <a:gd name="connsiteX285" fmla="*/ 5141019 w 11685910"/>
                <a:gd name="connsiteY285" fmla="*/ 4996695 h 6078415"/>
                <a:gd name="connsiteX286" fmla="*/ 5141019 w 11685910"/>
                <a:gd name="connsiteY286" fmla="*/ 5034070 h 6078415"/>
                <a:gd name="connsiteX287" fmla="*/ 5096170 w 11685910"/>
                <a:gd name="connsiteY287" fmla="*/ 5072584 h 6078415"/>
                <a:gd name="connsiteX288" fmla="*/ 5096170 w 11685910"/>
                <a:gd name="connsiteY288" fmla="*/ 5053074 h 6078415"/>
                <a:gd name="connsiteX289" fmla="*/ 5111817 w 11685910"/>
                <a:gd name="connsiteY289" fmla="*/ 5046992 h 6078415"/>
                <a:gd name="connsiteX290" fmla="*/ 5116441 w 11685910"/>
                <a:gd name="connsiteY290" fmla="*/ 5027735 h 6078415"/>
                <a:gd name="connsiteX291" fmla="*/ 5116441 w 11685910"/>
                <a:gd name="connsiteY291" fmla="*/ 4992388 h 6078415"/>
                <a:gd name="connsiteX292" fmla="*/ 5141399 w 11685910"/>
                <a:gd name="connsiteY292" fmla="*/ 4961094 h 6078415"/>
                <a:gd name="connsiteX293" fmla="*/ 5141399 w 11685910"/>
                <a:gd name="connsiteY293" fmla="*/ 4960714 h 6078415"/>
                <a:gd name="connsiteX294" fmla="*/ 5116441 w 11685910"/>
                <a:gd name="connsiteY294" fmla="*/ 4929168 h 6078415"/>
                <a:gd name="connsiteX295" fmla="*/ 5116441 w 11685910"/>
                <a:gd name="connsiteY295" fmla="*/ 4893440 h 6078415"/>
                <a:gd name="connsiteX296" fmla="*/ 5096170 w 11685910"/>
                <a:gd name="connsiteY296" fmla="*/ 4869242 h 6078415"/>
                <a:gd name="connsiteX297" fmla="*/ 5078686 w 11685910"/>
                <a:gd name="connsiteY297" fmla="*/ 4849604 h 6078415"/>
                <a:gd name="connsiteX298" fmla="*/ 5078686 w 11685910"/>
                <a:gd name="connsiteY298" fmla="*/ 4869242 h 6078415"/>
                <a:gd name="connsiteX299" fmla="*/ 5058542 w 11685910"/>
                <a:gd name="connsiteY299" fmla="*/ 4893440 h 6078415"/>
                <a:gd name="connsiteX300" fmla="*/ 5058542 w 11685910"/>
                <a:gd name="connsiteY300" fmla="*/ 4929168 h 6078415"/>
                <a:gd name="connsiteX301" fmla="*/ 5033329 w 11685910"/>
                <a:gd name="connsiteY301" fmla="*/ 4960714 h 6078415"/>
                <a:gd name="connsiteX302" fmla="*/ 5033329 w 11685910"/>
                <a:gd name="connsiteY302" fmla="*/ 4961094 h 6078415"/>
                <a:gd name="connsiteX303" fmla="*/ 5058542 w 11685910"/>
                <a:gd name="connsiteY303" fmla="*/ 4992388 h 6078415"/>
                <a:gd name="connsiteX304" fmla="*/ 5058542 w 11685910"/>
                <a:gd name="connsiteY304" fmla="*/ 5027735 h 6078415"/>
                <a:gd name="connsiteX305" fmla="*/ 5063039 w 11685910"/>
                <a:gd name="connsiteY305" fmla="*/ 5047055 h 6078415"/>
                <a:gd name="connsiteX306" fmla="*/ 5078686 w 11685910"/>
                <a:gd name="connsiteY306" fmla="*/ 5053074 h 6078415"/>
                <a:gd name="connsiteX307" fmla="*/ 5078686 w 11685910"/>
                <a:gd name="connsiteY307" fmla="*/ 5072584 h 6078415"/>
                <a:gd name="connsiteX308" fmla="*/ 5033583 w 11685910"/>
                <a:gd name="connsiteY308" fmla="*/ 5034070 h 6078415"/>
                <a:gd name="connsiteX309" fmla="*/ 5033583 w 11685910"/>
                <a:gd name="connsiteY309" fmla="*/ 4996695 h 6078415"/>
                <a:gd name="connsiteX310" fmla="*/ 5013819 w 11685910"/>
                <a:gd name="connsiteY310" fmla="*/ 4970343 h 6078415"/>
                <a:gd name="connsiteX311" fmla="*/ 5013819 w 11685910"/>
                <a:gd name="connsiteY311" fmla="*/ 4951846 h 6078415"/>
                <a:gd name="connsiteX312" fmla="*/ 5033583 w 11685910"/>
                <a:gd name="connsiteY312" fmla="*/ 4924986 h 6078415"/>
                <a:gd name="connsiteX313" fmla="*/ 5033583 w 11685910"/>
                <a:gd name="connsiteY313" fmla="*/ 4888626 h 6078415"/>
                <a:gd name="connsiteX314" fmla="*/ 5078686 w 11685910"/>
                <a:gd name="connsiteY314" fmla="*/ 4849604 h 6078415"/>
                <a:gd name="connsiteX315" fmla="*/ 2067894 w 11685910"/>
                <a:gd name="connsiteY315" fmla="*/ 4849604 h 6078415"/>
                <a:gd name="connsiteX316" fmla="*/ 2112743 w 11685910"/>
                <a:gd name="connsiteY316" fmla="*/ 4888626 h 6078415"/>
                <a:gd name="connsiteX317" fmla="*/ 2112743 w 11685910"/>
                <a:gd name="connsiteY317" fmla="*/ 4924986 h 6078415"/>
                <a:gd name="connsiteX318" fmla="*/ 2132381 w 11685910"/>
                <a:gd name="connsiteY318" fmla="*/ 4951846 h 6078415"/>
                <a:gd name="connsiteX319" fmla="*/ 2132381 w 11685910"/>
                <a:gd name="connsiteY319" fmla="*/ 4970343 h 6078415"/>
                <a:gd name="connsiteX320" fmla="*/ 2112743 w 11685910"/>
                <a:gd name="connsiteY320" fmla="*/ 4996695 h 6078415"/>
                <a:gd name="connsiteX321" fmla="*/ 2112743 w 11685910"/>
                <a:gd name="connsiteY321" fmla="*/ 5034070 h 6078415"/>
                <a:gd name="connsiteX322" fmla="*/ 2067894 w 11685910"/>
                <a:gd name="connsiteY322" fmla="*/ 5072584 h 6078415"/>
                <a:gd name="connsiteX323" fmla="*/ 2067894 w 11685910"/>
                <a:gd name="connsiteY323" fmla="*/ 5053074 h 6078415"/>
                <a:gd name="connsiteX324" fmla="*/ 2083541 w 11685910"/>
                <a:gd name="connsiteY324" fmla="*/ 5046992 h 6078415"/>
                <a:gd name="connsiteX325" fmla="*/ 2088165 w 11685910"/>
                <a:gd name="connsiteY325" fmla="*/ 5027735 h 6078415"/>
                <a:gd name="connsiteX326" fmla="*/ 2088165 w 11685910"/>
                <a:gd name="connsiteY326" fmla="*/ 4992388 h 6078415"/>
                <a:gd name="connsiteX327" fmla="*/ 2113123 w 11685910"/>
                <a:gd name="connsiteY327" fmla="*/ 4961094 h 6078415"/>
                <a:gd name="connsiteX328" fmla="*/ 2113123 w 11685910"/>
                <a:gd name="connsiteY328" fmla="*/ 4960714 h 6078415"/>
                <a:gd name="connsiteX329" fmla="*/ 2088165 w 11685910"/>
                <a:gd name="connsiteY329" fmla="*/ 4929168 h 6078415"/>
                <a:gd name="connsiteX330" fmla="*/ 2088165 w 11685910"/>
                <a:gd name="connsiteY330" fmla="*/ 4893440 h 6078415"/>
                <a:gd name="connsiteX331" fmla="*/ 2067894 w 11685910"/>
                <a:gd name="connsiteY331" fmla="*/ 4869242 h 6078415"/>
                <a:gd name="connsiteX332" fmla="*/ 2050410 w 11685910"/>
                <a:gd name="connsiteY332" fmla="*/ 4849604 h 6078415"/>
                <a:gd name="connsiteX333" fmla="*/ 2050410 w 11685910"/>
                <a:gd name="connsiteY333" fmla="*/ 4869242 h 6078415"/>
                <a:gd name="connsiteX334" fmla="*/ 2030266 w 11685910"/>
                <a:gd name="connsiteY334" fmla="*/ 4893440 h 6078415"/>
                <a:gd name="connsiteX335" fmla="*/ 2030266 w 11685910"/>
                <a:gd name="connsiteY335" fmla="*/ 4929168 h 6078415"/>
                <a:gd name="connsiteX336" fmla="*/ 2005053 w 11685910"/>
                <a:gd name="connsiteY336" fmla="*/ 4960714 h 6078415"/>
                <a:gd name="connsiteX337" fmla="*/ 2005053 w 11685910"/>
                <a:gd name="connsiteY337" fmla="*/ 4961094 h 6078415"/>
                <a:gd name="connsiteX338" fmla="*/ 2030266 w 11685910"/>
                <a:gd name="connsiteY338" fmla="*/ 4992388 h 6078415"/>
                <a:gd name="connsiteX339" fmla="*/ 2030266 w 11685910"/>
                <a:gd name="connsiteY339" fmla="*/ 5027735 h 6078415"/>
                <a:gd name="connsiteX340" fmla="*/ 2034764 w 11685910"/>
                <a:gd name="connsiteY340" fmla="*/ 5047055 h 6078415"/>
                <a:gd name="connsiteX341" fmla="*/ 2050410 w 11685910"/>
                <a:gd name="connsiteY341" fmla="*/ 5053074 h 6078415"/>
                <a:gd name="connsiteX342" fmla="*/ 2050410 w 11685910"/>
                <a:gd name="connsiteY342" fmla="*/ 5072584 h 6078415"/>
                <a:gd name="connsiteX343" fmla="*/ 2005307 w 11685910"/>
                <a:gd name="connsiteY343" fmla="*/ 5034070 h 6078415"/>
                <a:gd name="connsiteX344" fmla="*/ 2005307 w 11685910"/>
                <a:gd name="connsiteY344" fmla="*/ 4996695 h 6078415"/>
                <a:gd name="connsiteX345" fmla="*/ 1985542 w 11685910"/>
                <a:gd name="connsiteY345" fmla="*/ 4970343 h 6078415"/>
                <a:gd name="connsiteX346" fmla="*/ 1985542 w 11685910"/>
                <a:gd name="connsiteY346" fmla="*/ 4951846 h 6078415"/>
                <a:gd name="connsiteX347" fmla="*/ 2005307 w 11685910"/>
                <a:gd name="connsiteY347" fmla="*/ 4924986 h 6078415"/>
                <a:gd name="connsiteX348" fmla="*/ 2005307 w 11685910"/>
                <a:gd name="connsiteY348" fmla="*/ 4888626 h 6078415"/>
                <a:gd name="connsiteX349" fmla="*/ 2050410 w 11685910"/>
                <a:gd name="connsiteY349" fmla="*/ 4849604 h 6078415"/>
                <a:gd name="connsiteX350" fmla="*/ 11192939 w 11685910"/>
                <a:gd name="connsiteY350" fmla="*/ 4509400 h 6078415"/>
                <a:gd name="connsiteX351" fmla="*/ 11237788 w 11685910"/>
                <a:gd name="connsiteY351" fmla="*/ 4548421 h 6078415"/>
                <a:gd name="connsiteX352" fmla="*/ 11237788 w 11685910"/>
                <a:gd name="connsiteY352" fmla="*/ 4584782 h 6078415"/>
                <a:gd name="connsiteX353" fmla="*/ 11257426 w 11685910"/>
                <a:gd name="connsiteY353" fmla="*/ 4611641 h 6078415"/>
                <a:gd name="connsiteX354" fmla="*/ 11257426 w 11685910"/>
                <a:gd name="connsiteY354" fmla="*/ 4630138 h 6078415"/>
                <a:gd name="connsiteX355" fmla="*/ 11237788 w 11685910"/>
                <a:gd name="connsiteY355" fmla="*/ 4656491 h 6078415"/>
                <a:gd name="connsiteX356" fmla="*/ 11237788 w 11685910"/>
                <a:gd name="connsiteY356" fmla="*/ 4693865 h 6078415"/>
                <a:gd name="connsiteX357" fmla="*/ 11192939 w 11685910"/>
                <a:gd name="connsiteY357" fmla="*/ 4732380 h 6078415"/>
                <a:gd name="connsiteX358" fmla="*/ 11192939 w 11685910"/>
                <a:gd name="connsiteY358" fmla="*/ 4712869 h 6078415"/>
                <a:gd name="connsiteX359" fmla="*/ 11208586 w 11685910"/>
                <a:gd name="connsiteY359" fmla="*/ 4706788 h 6078415"/>
                <a:gd name="connsiteX360" fmla="*/ 11213210 w 11685910"/>
                <a:gd name="connsiteY360" fmla="*/ 4687531 h 6078415"/>
                <a:gd name="connsiteX361" fmla="*/ 11213210 w 11685910"/>
                <a:gd name="connsiteY361" fmla="*/ 4652183 h 6078415"/>
                <a:gd name="connsiteX362" fmla="*/ 11238169 w 11685910"/>
                <a:gd name="connsiteY362" fmla="*/ 4620890 h 6078415"/>
                <a:gd name="connsiteX363" fmla="*/ 11238169 w 11685910"/>
                <a:gd name="connsiteY363" fmla="*/ 4620510 h 6078415"/>
                <a:gd name="connsiteX364" fmla="*/ 11213210 w 11685910"/>
                <a:gd name="connsiteY364" fmla="*/ 4588963 h 6078415"/>
                <a:gd name="connsiteX365" fmla="*/ 11213210 w 11685910"/>
                <a:gd name="connsiteY365" fmla="*/ 4553236 h 6078415"/>
                <a:gd name="connsiteX366" fmla="*/ 11192939 w 11685910"/>
                <a:gd name="connsiteY366" fmla="*/ 4529037 h 6078415"/>
                <a:gd name="connsiteX367" fmla="*/ 11175455 w 11685910"/>
                <a:gd name="connsiteY367" fmla="*/ 4509400 h 6078415"/>
                <a:gd name="connsiteX368" fmla="*/ 11175455 w 11685910"/>
                <a:gd name="connsiteY368" fmla="*/ 4529037 h 6078415"/>
                <a:gd name="connsiteX369" fmla="*/ 11155311 w 11685910"/>
                <a:gd name="connsiteY369" fmla="*/ 4553236 h 6078415"/>
                <a:gd name="connsiteX370" fmla="*/ 11155311 w 11685910"/>
                <a:gd name="connsiteY370" fmla="*/ 4588963 h 6078415"/>
                <a:gd name="connsiteX371" fmla="*/ 11130099 w 11685910"/>
                <a:gd name="connsiteY371" fmla="*/ 4620510 h 6078415"/>
                <a:gd name="connsiteX372" fmla="*/ 11130099 w 11685910"/>
                <a:gd name="connsiteY372" fmla="*/ 4620890 h 6078415"/>
                <a:gd name="connsiteX373" fmla="*/ 11155311 w 11685910"/>
                <a:gd name="connsiteY373" fmla="*/ 4652183 h 6078415"/>
                <a:gd name="connsiteX374" fmla="*/ 11155311 w 11685910"/>
                <a:gd name="connsiteY374" fmla="*/ 4687531 h 6078415"/>
                <a:gd name="connsiteX375" fmla="*/ 11159809 w 11685910"/>
                <a:gd name="connsiteY375" fmla="*/ 4706851 h 6078415"/>
                <a:gd name="connsiteX376" fmla="*/ 11175455 w 11685910"/>
                <a:gd name="connsiteY376" fmla="*/ 4712869 h 6078415"/>
                <a:gd name="connsiteX377" fmla="*/ 11175455 w 11685910"/>
                <a:gd name="connsiteY377" fmla="*/ 4732380 h 6078415"/>
                <a:gd name="connsiteX378" fmla="*/ 11130352 w 11685910"/>
                <a:gd name="connsiteY378" fmla="*/ 4693865 h 6078415"/>
                <a:gd name="connsiteX379" fmla="*/ 11130352 w 11685910"/>
                <a:gd name="connsiteY379" fmla="*/ 4656491 h 6078415"/>
                <a:gd name="connsiteX380" fmla="*/ 11110588 w 11685910"/>
                <a:gd name="connsiteY380" fmla="*/ 4630138 h 6078415"/>
                <a:gd name="connsiteX381" fmla="*/ 11110588 w 11685910"/>
                <a:gd name="connsiteY381" fmla="*/ 4611641 h 6078415"/>
                <a:gd name="connsiteX382" fmla="*/ 11130352 w 11685910"/>
                <a:gd name="connsiteY382" fmla="*/ 4584782 h 6078415"/>
                <a:gd name="connsiteX383" fmla="*/ 11130352 w 11685910"/>
                <a:gd name="connsiteY383" fmla="*/ 4548421 h 6078415"/>
                <a:gd name="connsiteX384" fmla="*/ 11175455 w 11685910"/>
                <a:gd name="connsiteY384" fmla="*/ 4509400 h 6078415"/>
                <a:gd name="connsiteX385" fmla="*/ 8152583 w 11685910"/>
                <a:gd name="connsiteY385" fmla="*/ 4509400 h 6078415"/>
                <a:gd name="connsiteX386" fmla="*/ 8197432 w 11685910"/>
                <a:gd name="connsiteY386" fmla="*/ 4548422 h 6078415"/>
                <a:gd name="connsiteX387" fmla="*/ 8197432 w 11685910"/>
                <a:gd name="connsiteY387" fmla="*/ 4584782 h 6078415"/>
                <a:gd name="connsiteX388" fmla="*/ 8217070 w 11685910"/>
                <a:gd name="connsiteY388" fmla="*/ 4611642 h 6078415"/>
                <a:gd name="connsiteX389" fmla="*/ 8217070 w 11685910"/>
                <a:gd name="connsiteY389" fmla="*/ 4630139 h 6078415"/>
                <a:gd name="connsiteX390" fmla="*/ 8197432 w 11685910"/>
                <a:gd name="connsiteY390" fmla="*/ 4656491 h 6078415"/>
                <a:gd name="connsiteX391" fmla="*/ 8197432 w 11685910"/>
                <a:gd name="connsiteY391" fmla="*/ 4693866 h 6078415"/>
                <a:gd name="connsiteX392" fmla="*/ 8152583 w 11685910"/>
                <a:gd name="connsiteY392" fmla="*/ 4732380 h 6078415"/>
                <a:gd name="connsiteX393" fmla="*/ 8152583 w 11685910"/>
                <a:gd name="connsiteY393" fmla="*/ 4712870 h 6078415"/>
                <a:gd name="connsiteX394" fmla="*/ 8168230 w 11685910"/>
                <a:gd name="connsiteY394" fmla="*/ 4706788 h 6078415"/>
                <a:gd name="connsiteX395" fmla="*/ 8172854 w 11685910"/>
                <a:gd name="connsiteY395" fmla="*/ 4687531 h 6078415"/>
                <a:gd name="connsiteX396" fmla="*/ 8172854 w 11685910"/>
                <a:gd name="connsiteY396" fmla="*/ 4652184 h 6078415"/>
                <a:gd name="connsiteX397" fmla="*/ 8197813 w 11685910"/>
                <a:gd name="connsiteY397" fmla="*/ 4620890 h 6078415"/>
                <a:gd name="connsiteX398" fmla="*/ 8197813 w 11685910"/>
                <a:gd name="connsiteY398" fmla="*/ 4620510 h 6078415"/>
                <a:gd name="connsiteX399" fmla="*/ 8172854 w 11685910"/>
                <a:gd name="connsiteY399" fmla="*/ 4588964 h 6078415"/>
                <a:gd name="connsiteX400" fmla="*/ 8172854 w 11685910"/>
                <a:gd name="connsiteY400" fmla="*/ 4553236 h 6078415"/>
                <a:gd name="connsiteX401" fmla="*/ 8152583 w 11685910"/>
                <a:gd name="connsiteY401" fmla="*/ 4529038 h 6078415"/>
                <a:gd name="connsiteX402" fmla="*/ 8135099 w 11685910"/>
                <a:gd name="connsiteY402" fmla="*/ 4509400 h 6078415"/>
                <a:gd name="connsiteX403" fmla="*/ 8135099 w 11685910"/>
                <a:gd name="connsiteY403" fmla="*/ 4529038 h 6078415"/>
                <a:gd name="connsiteX404" fmla="*/ 8114955 w 11685910"/>
                <a:gd name="connsiteY404" fmla="*/ 4553236 h 6078415"/>
                <a:gd name="connsiteX405" fmla="*/ 8114955 w 11685910"/>
                <a:gd name="connsiteY405" fmla="*/ 4588964 h 6078415"/>
                <a:gd name="connsiteX406" fmla="*/ 8089742 w 11685910"/>
                <a:gd name="connsiteY406" fmla="*/ 4620510 h 6078415"/>
                <a:gd name="connsiteX407" fmla="*/ 8089742 w 11685910"/>
                <a:gd name="connsiteY407" fmla="*/ 4620890 h 6078415"/>
                <a:gd name="connsiteX408" fmla="*/ 8114955 w 11685910"/>
                <a:gd name="connsiteY408" fmla="*/ 4652184 h 6078415"/>
                <a:gd name="connsiteX409" fmla="*/ 8114955 w 11685910"/>
                <a:gd name="connsiteY409" fmla="*/ 4687531 h 6078415"/>
                <a:gd name="connsiteX410" fmla="*/ 8119452 w 11685910"/>
                <a:gd name="connsiteY410" fmla="*/ 4706851 h 6078415"/>
                <a:gd name="connsiteX411" fmla="*/ 8135099 w 11685910"/>
                <a:gd name="connsiteY411" fmla="*/ 4712870 h 6078415"/>
                <a:gd name="connsiteX412" fmla="*/ 8135099 w 11685910"/>
                <a:gd name="connsiteY412" fmla="*/ 4732380 h 6078415"/>
                <a:gd name="connsiteX413" fmla="*/ 8089996 w 11685910"/>
                <a:gd name="connsiteY413" fmla="*/ 4693866 h 6078415"/>
                <a:gd name="connsiteX414" fmla="*/ 8089996 w 11685910"/>
                <a:gd name="connsiteY414" fmla="*/ 4656491 h 6078415"/>
                <a:gd name="connsiteX415" fmla="*/ 8070232 w 11685910"/>
                <a:gd name="connsiteY415" fmla="*/ 4630139 h 6078415"/>
                <a:gd name="connsiteX416" fmla="*/ 8070232 w 11685910"/>
                <a:gd name="connsiteY416" fmla="*/ 4611642 h 6078415"/>
                <a:gd name="connsiteX417" fmla="*/ 8089996 w 11685910"/>
                <a:gd name="connsiteY417" fmla="*/ 4584782 h 6078415"/>
                <a:gd name="connsiteX418" fmla="*/ 8089996 w 11685910"/>
                <a:gd name="connsiteY418" fmla="*/ 4548422 h 6078415"/>
                <a:gd name="connsiteX419" fmla="*/ 8135099 w 11685910"/>
                <a:gd name="connsiteY419" fmla="*/ 4509400 h 6078415"/>
                <a:gd name="connsiteX420" fmla="*/ 5097862 w 11685910"/>
                <a:gd name="connsiteY420" fmla="*/ 4509400 h 6078415"/>
                <a:gd name="connsiteX421" fmla="*/ 5142711 w 11685910"/>
                <a:gd name="connsiteY421" fmla="*/ 4548422 h 6078415"/>
                <a:gd name="connsiteX422" fmla="*/ 5142711 w 11685910"/>
                <a:gd name="connsiteY422" fmla="*/ 4584782 h 6078415"/>
                <a:gd name="connsiteX423" fmla="*/ 5162349 w 11685910"/>
                <a:gd name="connsiteY423" fmla="*/ 4611642 h 6078415"/>
                <a:gd name="connsiteX424" fmla="*/ 5162349 w 11685910"/>
                <a:gd name="connsiteY424" fmla="*/ 4630139 h 6078415"/>
                <a:gd name="connsiteX425" fmla="*/ 5142711 w 11685910"/>
                <a:gd name="connsiteY425" fmla="*/ 4656491 h 6078415"/>
                <a:gd name="connsiteX426" fmla="*/ 5142711 w 11685910"/>
                <a:gd name="connsiteY426" fmla="*/ 4693866 h 6078415"/>
                <a:gd name="connsiteX427" fmla="*/ 5097862 w 11685910"/>
                <a:gd name="connsiteY427" fmla="*/ 4732380 h 6078415"/>
                <a:gd name="connsiteX428" fmla="*/ 5097862 w 11685910"/>
                <a:gd name="connsiteY428" fmla="*/ 4712870 h 6078415"/>
                <a:gd name="connsiteX429" fmla="*/ 5113508 w 11685910"/>
                <a:gd name="connsiteY429" fmla="*/ 4706788 h 6078415"/>
                <a:gd name="connsiteX430" fmla="*/ 5118133 w 11685910"/>
                <a:gd name="connsiteY430" fmla="*/ 4687531 h 6078415"/>
                <a:gd name="connsiteX431" fmla="*/ 5118133 w 11685910"/>
                <a:gd name="connsiteY431" fmla="*/ 4652184 h 6078415"/>
                <a:gd name="connsiteX432" fmla="*/ 5143092 w 11685910"/>
                <a:gd name="connsiteY432" fmla="*/ 4620890 h 6078415"/>
                <a:gd name="connsiteX433" fmla="*/ 5143092 w 11685910"/>
                <a:gd name="connsiteY433" fmla="*/ 4620510 h 6078415"/>
                <a:gd name="connsiteX434" fmla="*/ 5118133 w 11685910"/>
                <a:gd name="connsiteY434" fmla="*/ 4588964 h 6078415"/>
                <a:gd name="connsiteX435" fmla="*/ 5118133 w 11685910"/>
                <a:gd name="connsiteY435" fmla="*/ 4553236 h 6078415"/>
                <a:gd name="connsiteX436" fmla="*/ 5097862 w 11685910"/>
                <a:gd name="connsiteY436" fmla="*/ 4529038 h 6078415"/>
                <a:gd name="connsiteX437" fmla="*/ 5080378 w 11685910"/>
                <a:gd name="connsiteY437" fmla="*/ 4509400 h 6078415"/>
                <a:gd name="connsiteX438" fmla="*/ 5080378 w 11685910"/>
                <a:gd name="connsiteY438" fmla="*/ 4529038 h 6078415"/>
                <a:gd name="connsiteX439" fmla="*/ 5060234 w 11685910"/>
                <a:gd name="connsiteY439" fmla="*/ 4553236 h 6078415"/>
                <a:gd name="connsiteX440" fmla="*/ 5060234 w 11685910"/>
                <a:gd name="connsiteY440" fmla="*/ 4588964 h 6078415"/>
                <a:gd name="connsiteX441" fmla="*/ 5035021 w 11685910"/>
                <a:gd name="connsiteY441" fmla="*/ 4620510 h 6078415"/>
                <a:gd name="connsiteX442" fmla="*/ 5035021 w 11685910"/>
                <a:gd name="connsiteY442" fmla="*/ 4620890 h 6078415"/>
                <a:gd name="connsiteX443" fmla="*/ 5060234 w 11685910"/>
                <a:gd name="connsiteY443" fmla="*/ 4652184 h 6078415"/>
                <a:gd name="connsiteX444" fmla="*/ 5060234 w 11685910"/>
                <a:gd name="connsiteY444" fmla="*/ 4687531 h 6078415"/>
                <a:gd name="connsiteX445" fmla="*/ 5064731 w 11685910"/>
                <a:gd name="connsiteY445" fmla="*/ 4706851 h 6078415"/>
                <a:gd name="connsiteX446" fmla="*/ 5080378 w 11685910"/>
                <a:gd name="connsiteY446" fmla="*/ 4712870 h 6078415"/>
                <a:gd name="connsiteX447" fmla="*/ 5080378 w 11685910"/>
                <a:gd name="connsiteY447" fmla="*/ 4732380 h 6078415"/>
                <a:gd name="connsiteX448" fmla="*/ 5035275 w 11685910"/>
                <a:gd name="connsiteY448" fmla="*/ 4693866 h 6078415"/>
                <a:gd name="connsiteX449" fmla="*/ 5035275 w 11685910"/>
                <a:gd name="connsiteY449" fmla="*/ 4656491 h 6078415"/>
                <a:gd name="connsiteX450" fmla="*/ 5015511 w 11685910"/>
                <a:gd name="connsiteY450" fmla="*/ 4630139 h 6078415"/>
                <a:gd name="connsiteX451" fmla="*/ 5015511 w 11685910"/>
                <a:gd name="connsiteY451" fmla="*/ 4611642 h 6078415"/>
                <a:gd name="connsiteX452" fmla="*/ 5035275 w 11685910"/>
                <a:gd name="connsiteY452" fmla="*/ 4584782 h 6078415"/>
                <a:gd name="connsiteX453" fmla="*/ 5035275 w 11685910"/>
                <a:gd name="connsiteY453" fmla="*/ 4548422 h 6078415"/>
                <a:gd name="connsiteX454" fmla="*/ 5080378 w 11685910"/>
                <a:gd name="connsiteY454" fmla="*/ 4509400 h 6078415"/>
                <a:gd name="connsiteX455" fmla="*/ 2069587 w 11685910"/>
                <a:gd name="connsiteY455" fmla="*/ 4509400 h 6078415"/>
                <a:gd name="connsiteX456" fmla="*/ 2114436 w 11685910"/>
                <a:gd name="connsiteY456" fmla="*/ 4548422 h 6078415"/>
                <a:gd name="connsiteX457" fmla="*/ 2114436 w 11685910"/>
                <a:gd name="connsiteY457" fmla="*/ 4584782 h 6078415"/>
                <a:gd name="connsiteX458" fmla="*/ 2134073 w 11685910"/>
                <a:gd name="connsiteY458" fmla="*/ 4611642 h 6078415"/>
                <a:gd name="connsiteX459" fmla="*/ 2134073 w 11685910"/>
                <a:gd name="connsiteY459" fmla="*/ 4630139 h 6078415"/>
                <a:gd name="connsiteX460" fmla="*/ 2114436 w 11685910"/>
                <a:gd name="connsiteY460" fmla="*/ 4656491 h 6078415"/>
                <a:gd name="connsiteX461" fmla="*/ 2114436 w 11685910"/>
                <a:gd name="connsiteY461" fmla="*/ 4693866 h 6078415"/>
                <a:gd name="connsiteX462" fmla="*/ 2069587 w 11685910"/>
                <a:gd name="connsiteY462" fmla="*/ 4732380 h 6078415"/>
                <a:gd name="connsiteX463" fmla="*/ 2069587 w 11685910"/>
                <a:gd name="connsiteY463" fmla="*/ 4712870 h 6078415"/>
                <a:gd name="connsiteX464" fmla="*/ 2085232 w 11685910"/>
                <a:gd name="connsiteY464" fmla="*/ 4706788 h 6078415"/>
                <a:gd name="connsiteX465" fmla="*/ 2089857 w 11685910"/>
                <a:gd name="connsiteY465" fmla="*/ 4687531 h 6078415"/>
                <a:gd name="connsiteX466" fmla="*/ 2089857 w 11685910"/>
                <a:gd name="connsiteY466" fmla="*/ 4652184 h 6078415"/>
                <a:gd name="connsiteX467" fmla="*/ 2114816 w 11685910"/>
                <a:gd name="connsiteY467" fmla="*/ 4620890 h 6078415"/>
                <a:gd name="connsiteX468" fmla="*/ 2114816 w 11685910"/>
                <a:gd name="connsiteY468" fmla="*/ 4620510 h 6078415"/>
                <a:gd name="connsiteX469" fmla="*/ 2089857 w 11685910"/>
                <a:gd name="connsiteY469" fmla="*/ 4588964 h 6078415"/>
                <a:gd name="connsiteX470" fmla="*/ 2089857 w 11685910"/>
                <a:gd name="connsiteY470" fmla="*/ 4553236 h 6078415"/>
                <a:gd name="connsiteX471" fmla="*/ 2069587 w 11685910"/>
                <a:gd name="connsiteY471" fmla="*/ 4529038 h 6078415"/>
                <a:gd name="connsiteX472" fmla="*/ 2052102 w 11685910"/>
                <a:gd name="connsiteY472" fmla="*/ 4509400 h 6078415"/>
                <a:gd name="connsiteX473" fmla="*/ 2052102 w 11685910"/>
                <a:gd name="connsiteY473" fmla="*/ 4529038 h 6078415"/>
                <a:gd name="connsiteX474" fmla="*/ 2031958 w 11685910"/>
                <a:gd name="connsiteY474" fmla="*/ 4553236 h 6078415"/>
                <a:gd name="connsiteX475" fmla="*/ 2031958 w 11685910"/>
                <a:gd name="connsiteY475" fmla="*/ 4588964 h 6078415"/>
                <a:gd name="connsiteX476" fmla="*/ 2006745 w 11685910"/>
                <a:gd name="connsiteY476" fmla="*/ 4620510 h 6078415"/>
                <a:gd name="connsiteX477" fmla="*/ 2006745 w 11685910"/>
                <a:gd name="connsiteY477" fmla="*/ 4620890 h 6078415"/>
                <a:gd name="connsiteX478" fmla="*/ 2031958 w 11685910"/>
                <a:gd name="connsiteY478" fmla="*/ 4652184 h 6078415"/>
                <a:gd name="connsiteX479" fmla="*/ 2031958 w 11685910"/>
                <a:gd name="connsiteY479" fmla="*/ 4687531 h 6078415"/>
                <a:gd name="connsiteX480" fmla="*/ 2036456 w 11685910"/>
                <a:gd name="connsiteY480" fmla="*/ 4706851 h 6078415"/>
                <a:gd name="connsiteX481" fmla="*/ 2052102 w 11685910"/>
                <a:gd name="connsiteY481" fmla="*/ 4712870 h 6078415"/>
                <a:gd name="connsiteX482" fmla="*/ 2052102 w 11685910"/>
                <a:gd name="connsiteY482" fmla="*/ 4732380 h 6078415"/>
                <a:gd name="connsiteX483" fmla="*/ 2006999 w 11685910"/>
                <a:gd name="connsiteY483" fmla="*/ 4693866 h 6078415"/>
                <a:gd name="connsiteX484" fmla="*/ 2006999 w 11685910"/>
                <a:gd name="connsiteY484" fmla="*/ 4656491 h 6078415"/>
                <a:gd name="connsiteX485" fmla="*/ 1987235 w 11685910"/>
                <a:gd name="connsiteY485" fmla="*/ 4630139 h 6078415"/>
                <a:gd name="connsiteX486" fmla="*/ 1987235 w 11685910"/>
                <a:gd name="connsiteY486" fmla="*/ 4611642 h 6078415"/>
                <a:gd name="connsiteX487" fmla="*/ 2006999 w 11685910"/>
                <a:gd name="connsiteY487" fmla="*/ 4584782 h 6078415"/>
                <a:gd name="connsiteX488" fmla="*/ 2006999 w 11685910"/>
                <a:gd name="connsiteY488" fmla="*/ 4548422 h 6078415"/>
                <a:gd name="connsiteX489" fmla="*/ 2052102 w 11685910"/>
                <a:gd name="connsiteY489" fmla="*/ 4509400 h 6078415"/>
                <a:gd name="connsiteX490" fmla="*/ 11194631 w 11685910"/>
                <a:gd name="connsiteY490" fmla="*/ 4169195 h 6078415"/>
                <a:gd name="connsiteX491" fmla="*/ 11239480 w 11685910"/>
                <a:gd name="connsiteY491" fmla="*/ 4208216 h 6078415"/>
                <a:gd name="connsiteX492" fmla="*/ 11239480 w 11685910"/>
                <a:gd name="connsiteY492" fmla="*/ 4244577 h 6078415"/>
                <a:gd name="connsiteX493" fmla="*/ 11259118 w 11685910"/>
                <a:gd name="connsiteY493" fmla="*/ 4271436 h 6078415"/>
                <a:gd name="connsiteX494" fmla="*/ 11259118 w 11685910"/>
                <a:gd name="connsiteY494" fmla="*/ 4289933 h 6078415"/>
                <a:gd name="connsiteX495" fmla="*/ 11239480 w 11685910"/>
                <a:gd name="connsiteY495" fmla="*/ 4316286 h 6078415"/>
                <a:gd name="connsiteX496" fmla="*/ 11239480 w 11685910"/>
                <a:gd name="connsiteY496" fmla="*/ 4353660 h 6078415"/>
                <a:gd name="connsiteX497" fmla="*/ 11194631 w 11685910"/>
                <a:gd name="connsiteY497" fmla="*/ 4392175 h 6078415"/>
                <a:gd name="connsiteX498" fmla="*/ 11194631 w 11685910"/>
                <a:gd name="connsiteY498" fmla="*/ 4372664 h 6078415"/>
                <a:gd name="connsiteX499" fmla="*/ 11210278 w 11685910"/>
                <a:gd name="connsiteY499" fmla="*/ 4366583 h 6078415"/>
                <a:gd name="connsiteX500" fmla="*/ 11214902 w 11685910"/>
                <a:gd name="connsiteY500" fmla="*/ 4347326 h 6078415"/>
                <a:gd name="connsiteX501" fmla="*/ 11214902 w 11685910"/>
                <a:gd name="connsiteY501" fmla="*/ 4311978 h 6078415"/>
                <a:gd name="connsiteX502" fmla="*/ 11239861 w 11685910"/>
                <a:gd name="connsiteY502" fmla="*/ 4280685 h 6078415"/>
                <a:gd name="connsiteX503" fmla="*/ 11239861 w 11685910"/>
                <a:gd name="connsiteY503" fmla="*/ 4280305 h 6078415"/>
                <a:gd name="connsiteX504" fmla="*/ 11214902 w 11685910"/>
                <a:gd name="connsiteY504" fmla="*/ 4248758 h 6078415"/>
                <a:gd name="connsiteX505" fmla="*/ 11214902 w 11685910"/>
                <a:gd name="connsiteY505" fmla="*/ 4213031 h 6078415"/>
                <a:gd name="connsiteX506" fmla="*/ 11194631 w 11685910"/>
                <a:gd name="connsiteY506" fmla="*/ 4188832 h 6078415"/>
                <a:gd name="connsiteX507" fmla="*/ 11177147 w 11685910"/>
                <a:gd name="connsiteY507" fmla="*/ 4169195 h 6078415"/>
                <a:gd name="connsiteX508" fmla="*/ 11177147 w 11685910"/>
                <a:gd name="connsiteY508" fmla="*/ 4188832 h 6078415"/>
                <a:gd name="connsiteX509" fmla="*/ 11157003 w 11685910"/>
                <a:gd name="connsiteY509" fmla="*/ 4213031 h 6078415"/>
                <a:gd name="connsiteX510" fmla="*/ 11157003 w 11685910"/>
                <a:gd name="connsiteY510" fmla="*/ 4248758 h 6078415"/>
                <a:gd name="connsiteX511" fmla="*/ 11131791 w 11685910"/>
                <a:gd name="connsiteY511" fmla="*/ 4280305 h 6078415"/>
                <a:gd name="connsiteX512" fmla="*/ 11131791 w 11685910"/>
                <a:gd name="connsiteY512" fmla="*/ 4280685 h 6078415"/>
                <a:gd name="connsiteX513" fmla="*/ 11157003 w 11685910"/>
                <a:gd name="connsiteY513" fmla="*/ 4311978 h 6078415"/>
                <a:gd name="connsiteX514" fmla="*/ 11157003 w 11685910"/>
                <a:gd name="connsiteY514" fmla="*/ 4347326 h 6078415"/>
                <a:gd name="connsiteX515" fmla="*/ 11161501 w 11685910"/>
                <a:gd name="connsiteY515" fmla="*/ 4366646 h 6078415"/>
                <a:gd name="connsiteX516" fmla="*/ 11177147 w 11685910"/>
                <a:gd name="connsiteY516" fmla="*/ 4372664 h 6078415"/>
                <a:gd name="connsiteX517" fmla="*/ 11177147 w 11685910"/>
                <a:gd name="connsiteY517" fmla="*/ 4392175 h 6078415"/>
                <a:gd name="connsiteX518" fmla="*/ 11132044 w 11685910"/>
                <a:gd name="connsiteY518" fmla="*/ 4353660 h 6078415"/>
                <a:gd name="connsiteX519" fmla="*/ 11132044 w 11685910"/>
                <a:gd name="connsiteY519" fmla="*/ 4316286 h 6078415"/>
                <a:gd name="connsiteX520" fmla="*/ 11112280 w 11685910"/>
                <a:gd name="connsiteY520" fmla="*/ 4289933 h 6078415"/>
                <a:gd name="connsiteX521" fmla="*/ 11112280 w 11685910"/>
                <a:gd name="connsiteY521" fmla="*/ 4271436 h 6078415"/>
                <a:gd name="connsiteX522" fmla="*/ 11132044 w 11685910"/>
                <a:gd name="connsiteY522" fmla="*/ 4244577 h 6078415"/>
                <a:gd name="connsiteX523" fmla="*/ 11132044 w 11685910"/>
                <a:gd name="connsiteY523" fmla="*/ 4208216 h 6078415"/>
                <a:gd name="connsiteX524" fmla="*/ 11177147 w 11685910"/>
                <a:gd name="connsiteY524" fmla="*/ 4169195 h 6078415"/>
                <a:gd name="connsiteX525" fmla="*/ 8154275 w 11685910"/>
                <a:gd name="connsiteY525" fmla="*/ 4169195 h 6078415"/>
                <a:gd name="connsiteX526" fmla="*/ 8199124 w 11685910"/>
                <a:gd name="connsiteY526" fmla="*/ 4208217 h 6078415"/>
                <a:gd name="connsiteX527" fmla="*/ 8199124 w 11685910"/>
                <a:gd name="connsiteY527" fmla="*/ 4244577 h 6078415"/>
                <a:gd name="connsiteX528" fmla="*/ 8218762 w 11685910"/>
                <a:gd name="connsiteY528" fmla="*/ 4271437 h 6078415"/>
                <a:gd name="connsiteX529" fmla="*/ 8218762 w 11685910"/>
                <a:gd name="connsiteY529" fmla="*/ 4289934 h 6078415"/>
                <a:gd name="connsiteX530" fmla="*/ 8199124 w 11685910"/>
                <a:gd name="connsiteY530" fmla="*/ 4316286 h 6078415"/>
                <a:gd name="connsiteX531" fmla="*/ 8199124 w 11685910"/>
                <a:gd name="connsiteY531" fmla="*/ 4353661 h 6078415"/>
                <a:gd name="connsiteX532" fmla="*/ 8154275 w 11685910"/>
                <a:gd name="connsiteY532" fmla="*/ 4392175 h 6078415"/>
                <a:gd name="connsiteX533" fmla="*/ 8154275 w 11685910"/>
                <a:gd name="connsiteY533" fmla="*/ 4372665 h 6078415"/>
                <a:gd name="connsiteX534" fmla="*/ 8169922 w 11685910"/>
                <a:gd name="connsiteY534" fmla="*/ 4366583 h 6078415"/>
                <a:gd name="connsiteX535" fmla="*/ 8174546 w 11685910"/>
                <a:gd name="connsiteY535" fmla="*/ 4347326 h 6078415"/>
                <a:gd name="connsiteX536" fmla="*/ 8174546 w 11685910"/>
                <a:gd name="connsiteY536" fmla="*/ 4311979 h 6078415"/>
                <a:gd name="connsiteX537" fmla="*/ 8199505 w 11685910"/>
                <a:gd name="connsiteY537" fmla="*/ 4280685 h 6078415"/>
                <a:gd name="connsiteX538" fmla="*/ 8199505 w 11685910"/>
                <a:gd name="connsiteY538" fmla="*/ 4280305 h 6078415"/>
                <a:gd name="connsiteX539" fmla="*/ 8174546 w 11685910"/>
                <a:gd name="connsiteY539" fmla="*/ 4248759 h 6078415"/>
                <a:gd name="connsiteX540" fmla="*/ 8174546 w 11685910"/>
                <a:gd name="connsiteY540" fmla="*/ 4213031 h 6078415"/>
                <a:gd name="connsiteX541" fmla="*/ 8154275 w 11685910"/>
                <a:gd name="connsiteY541" fmla="*/ 4188833 h 6078415"/>
                <a:gd name="connsiteX542" fmla="*/ 8136791 w 11685910"/>
                <a:gd name="connsiteY542" fmla="*/ 4169195 h 6078415"/>
                <a:gd name="connsiteX543" fmla="*/ 8136791 w 11685910"/>
                <a:gd name="connsiteY543" fmla="*/ 4188833 h 6078415"/>
                <a:gd name="connsiteX544" fmla="*/ 8116647 w 11685910"/>
                <a:gd name="connsiteY544" fmla="*/ 4213031 h 6078415"/>
                <a:gd name="connsiteX545" fmla="*/ 8116647 w 11685910"/>
                <a:gd name="connsiteY545" fmla="*/ 4248759 h 6078415"/>
                <a:gd name="connsiteX546" fmla="*/ 8091434 w 11685910"/>
                <a:gd name="connsiteY546" fmla="*/ 4280305 h 6078415"/>
                <a:gd name="connsiteX547" fmla="*/ 8091434 w 11685910"/>
                <a:gd name="connsiteY547" fmla="*/ 4280685 h 6078415"/>
                <a:gd name="connsiteX548" fmla="*/ 8116647 w 11685910"/>
                <a:gd name="connsiteY548" fmla="*/ 4311979 h 6078415"/>
                <a:gd name="connsiteX549" fmla="*/ 8116647 w 11685910"/>
                <a:gd name="connsiteY549" fmla="*/ 4347326 h 6078415"/>
                <a:gd name="connsiteX550" fmla="*/ 8121144 w 11685910"/>
                <a:gd name="connsiteY550" fmla="*/ 4366646 h 6078415"/>
                <a:gd name="connsiteX551" fmla="*/ 8136791 w 11685910"/>
                <a:gd name="connsiteY551" fmla="*/ 4372665 h 6078415"/>
                <a:gd name="connsiteX552" fmla="*/ 8136791 w 11685910"/>
                <a:gd name="connsiteY552" fmla="*/ 4392175 h 6078415"/>
                <a:gd name="connsiteX553" fmla="*/ 8091688 w 11685910"/>
                <a:gd name="connsiteY553" fmla="*/ 4353661 h 6078415"/>
                <a:gd name="connsiteX554" fmla="*/ 8091688 w 11685910"/>
                <a:gd name="connsiteY554" fmla="*/ 4316286 h 6078415"/>
                <a:gd name="connsiteX555" fmla="*/ 8071924 w 11685910"/>
                <a:gd name="connsiteY555" fmla="*/ 4289934 h 6078415"/>
                <a:gd name="connsiteX556" fmla="*/ 8071924 w 11685910"/>
                <a:gd name="connsiteY556" fmla="*/ 4271437 h 6078415"/>
                <a:gd name="connsiteX557" fmla="*/ 8091688 w 11685910"/>
                <a:gd name="connsiteY557" fmla="*/ 4244577 h 6078415"/>
                <a:gd name="connsiteX558" fmla="*/ 8091688 w 11685910"/>
                <a:gd name="connsiteY558" fmla="*/ 4208217 h 6078415"/>
                <a:gd name="connsiteX559" fmla="*/ 8136791 w 11685910"/>
                <a:gd name="connsiteY559" fmla="*/ 4169195 h 6078415"/>
                <a:gd name="connsiteX560" fmla="*/ 5099554 w 11685910"/>
                <a:gd name="connsiteY560" fmla="*/ 4169195 h 6078415"/>
                <a:gd name="connsiteX561" fmla="*/ 5144404 w 11685910"/>
                <a:gd name="connsiteY561" fmla="*/ 4208217 h 6078415"/>
                <a:gd name="connsiteX562" fmla="*/ 5144404 w 11685910"/>
                <a:gd name="connsiteY562" fmla="*/ 4244577 h 6078415"/>
                <a:gd name="connsiteX563" fmla="*/ 5164041 w 11685910"/>
                <a:gd name="connsiteY563" fmla="*/ 4271437 h 6078415"/>
                <a:gd name="connsiteX564" fmla="*/ 5164041 w 11685910"/>
                <a:gd name="connsiteY564" fmla="*/ 4289934 h 6078415"/>
                <a:gd name="connsiteX565" fmla="*/ 5144404 w 11685910"/>
                <a:gd name="connsiteY565" fmla="*/ 4316286 h 6078415"/>
                <a:gd name="connsiteX566" fmla="*/ 5144404 w 11685910"/>
                <a:gd name="connsiteY566" fmla="*/ 4353661 h 6078415"/>
                <a:gd name="connsiteX567" fmla="*/ 5099554 w 11685910"/>
                <a:gd name="connsiteY567" fmla="*/ 4392175 h 6078415"/>
                <a:gd name="connsiteX568" fmla="*/ 5099554 w 11685910"/>
                <a:gd name="connsiteY568" fmla="*/ 4372665 h 6078415"/>
                <a:gd name="connsiteX569" fmla="*/ 5115200 w 11685910"/>
                <a:gd name="connsiteY569" fmla="*/ 4366583 h 6078415"/>
                <a:gd name="connsiteX570" fmla="*/ 5119826 w 11685910"/>
                <a:gd name="connsiteY570" fmla="*/ 4347326 h 6078415"/>
                <a:gd name="connsiteX571" fmla="*/ 5119826 w 11685910"/>
                <a:gd name="connsiteY571" fmla="*/ 4311979 h 6078415"/>
                <a:gd name="connsiteX572" fmla="*/ 5144783 w 11685910"/>
                <a:gd name="connsiteY572" fmla="*/ 4280685 h 6078415"/>
                <a:gd name="connsiteX573" fmla="*/ 5144783 w 11685910"/>
                <a:gd name="connsiteY573" fmla="*/ 4280305 h 6078415"/>
                <a:gd name="connsiteX574" fmla="*/ 5119826 w 11685910"/>
                <a:gd name="connsiteY574" fmla="*/ 4248759 h 6078415"/>
                <a:gd name="connsiteX575" fmla="*/ 5119826 w 11685910"/>
                <a:gd name="connsiteY575" fmla="*/ 4213031 h 6078415"/>
                <a:gd name="connsiteX576" fmla="*/ 5099554 w 11685910"/>
                <a:gd name="connsiteY576" fmla="*/ 4188833 h 6078415"/>
                <a:gd name="connsiteX577" fmla="*/ 5082070 w 11685910"/>
                <a:gd name="connsiteY577" fmla="*/ 4169195 h 6078415"/>
                <a:gd name="connsiteX578" fmla="*/ 5082070 w 11685910"/>
                <a:gd name="connsiteY578" fmla="*/ 4188833 h 6078415"/>
                <a:gd name="connsiteX579" fmla="*/ 5061927 w 11685910"/>
                <a:gd name="connsiteY579" fmla="*/ 4213031 h 6078415"/>
                <a:gd name="connsiteX580" fmla="*/ 5061927 w 11685910"/>
                <a:gd name="connsiteY580" fmla="*/ 4248759 h 6078415"/>
                <a:gd name="connsiteX581" fmla="*/ 5036713 w 11685910"/>
                <a:gd name="connsiteY581" fmla="*/ 4280305 h 6078415"/>
                <a:gd name="connsiteX582" fmla="*/ 5036713 w 11685910"/>
                <a:gd name="connsiteY582" fmla="*/ 4280685 h 6078415"/>
                <a:gd name="connsiteX583" fmla="*/ 5061927 w 11685910"/>
                <a:gd name="connsiteY583" fmla="*/ 4311979 h 6078415"/>
                <a:gd name="connsiteX584" fmla="*/ 5061927 w 11685910"/>
                <a:gd name="connsiteY584" fmla="*/ 4347326 h 6078415"/>
                <a:gd name="connsiteX585" fmla="*/ 5066423 w 11685910"/>
                <a:gd name="connsiteY585" fmla="*/ 4366646 h 6078415"/>
                <a:gd name="connsiteX586" fmla="*/ 5082070 w 11685910"/>
                <a:gd name="connsiteY586" fmla="*/ 4372665 h 6078415"/>
                <a:gd name="connsiteX587" fmla="*/ 5082070 w 11685910"/>
                <a:gd name="connsiteY587" fmla="*/ 4392175 h 6078415"/>
                <a:gd name="connsiteX588" fmla="*/ 5036967 w 11685910"/>
                <a:gd name="connsiteY588" fmla="*/ 4353661 h 6078415"/>
                <a:gd name="connsiteX589" fmla="*/ 5036967 w 11685910"/>
                <a:gd name="connsiteY589" fmla="*/ 4316286 h 6078415"/>
                <a:gd name="connsiteX590" fmla="*/ 5017204 w 11685910"/>
                <a:gd name="connsiteY590" fmla="*/ 4289934 h 6078415"/>
                <a:gd name="connsiteX591" fmla="*/ 5017204 w 11685910"/>
                <a:gd name="connsiteY591" fmla="*/ 4271437 h 6078415"/>
                <a:gd name="connsiteX592" fmla="*/ 5036967 w 11685910"/>
                <a:gd name="connsiteY592" fmla="*/ 4244577 h 6078415"/>
                <a:gd name="connsiteX593" fmla="*/ 5036967 w 11685910"/>
                <a:gd name="connsiteY593" fmla="*/ 4208217 h 6078415"/>
                <a:gd name="connsiteX594" fmla="*/ 5082070 w 11685910"/>
                <a:gd name="connsiteY594" fmla="*/ 4169195 h 6078415"/>
                <a:gd name="connsiteX595" fmla="*/ 2071278 w 11685910"/>
                <a:gd name="connsiteY595" fmla="*/ 4169195 h 6078415"/>
                <a:gd name="connsiteX596" fmla="*/ 2116128 w 11685910"/>
                <a:gd name="connsiteY596" fmla="*/ 4208217 h 6078415"/>
                <a:gd name="connsiteX597" fmla="*/ 2116128 w 11685910"/>
                <a:gd name="connsiteY597" fmla="*/ 4244577 h 6078415"/>
                <a:gd name="connsiteX598" fmla="*/ 2135765 w 11685910"/>
                <a:gd name="connsiteY598" fmla="*/ 4271437 h 6078415"/>
                <a:gd name="connsiteX599" fmla="*/ 2135765 w 11685910"/>
                <a:gd name="connsiteY599" fmla="*/ 4289934 h 6078415"/>
                <a:gd name="connsiteX600" fmla="*/ 2116128 w 11685910"/>
                <a:gd name="connsiteY600" fmla="*/ 4316286 h 6078415"/>
                <a:gd name="connsiteX601" fmla="*/ 2116128 w 11685910"/>
                <a:gd name="connsiteY601" fmla="*/ 4353661 h 6078415"/>
                <a:gd name="connsiteX602" fmla="*/ 2071278 w 11685910"/>
                <a:gd name="connsiteY602" fmla="*/ 4392175 h 6078415"/>
                <a:gd name="connsiteX603" fmla="*/ 2071278 w 11685910"/>
                <a:gd name="connsiteY603" fmla="*/ 4372665 h 6078415"/>
                <a:gd name="connsiteX604" fmla="*/ 2086925 w 11685910"/>
                <a:gd name="connsiteY604" fmla="*/ 4366583 h 6078415"/>
                <a:gd name="connsiteX605" fmla="*/ 2091548 w 11685910"/>
                <a:gd name="connsiteY605" fmla="*/ 4347326 h 6078415"/>
                <a:gd name="connsiteX606" fmla="*/ 2091548 w 11685910"/>
                <a:gd name="connsiteY606" fmla="*/ 4311979 h 6078415"/>
                <a:gd name="connsiteX607" fmla="*/ 2116508 w 11685910"/>
                <a:gd name="connsiteY607" fmla="*/ 4280685 h 6078415"/>
                <a:gd name="connsiteX608" fmla="*/ 2116508 w 11685910"/>
                <a:gd name="connsiteY608" fmla="*/ 4280305 h 6078415"/>
                <a:gd name="connsiteX609" fmla="*/ 2091548 w 11685910"/>
                <a:gd name="connsiteY609" fmla="*/ 4248759 h 6078415"/>
                <a:gd name="connsiteX610" fmla="*/ 2091548 w 11685910"/>
                <a:gd name="connsiteY610" fmla="*/ 4213031 h 6078415"/>
                <a:gd name="connsiteX611" fmla="*/ 2071278 w 11685910"/>
                <a:gd name="connsiteY611" fmla="*/ 4188833 h 6078415"/>
                <a:gd name="connsiteX612" fmla="*/ 2053794 w 11685910"/>
                <a:gd name="connsiteY612" fmla="*/ 4169195 h 6078415"/>
                <a:gd name="connsiteX613" fmla="*/ 2053794 w 11685910"/>
                <a:gd name="connsiteY613" fmla="*/ 4188833 h 6078415"/>
                <a:gd name="connsiteX614" fmla="*/ 2033650 w 11685910"/>
                <a:gd name="connsiteY614" fmla="*/ 4213031 h 6078415"/>
                <a:gd name="connsiteX615" fmla="*/ 2033650 w 11685910"/>
                <a:gd name="connsiteY615" fmla="*/ 4248759 h 6078415"/>
                <a:gd name="connsiteX616" fmla="*/ 2008437 w 11685910"/>
                <a:gd name="connsiteY616" fmla="*/ 4280305 h 6078415"/>
                <a:gd name="connsiteX617" fmla="*/ 2008437 w 11685910"/>
                <a:gd name="connsiteY617" fmla="*/ 4280685 h 6078415"/>
                <a:gd name="connsiteX618" fmla="*/ 2033650 w 11685910"/>
                <a:gd name="connsiteY618" fmla="*/ 4311979 h 6078415"/>
                <a:gd name="connsiteX619" fmla="*/ 2033650 w 11685910"/>
                <a:gd name="connsiteY619" fmla="*/ 4347326 h 6078415"/>
                <a:gd name="connsiteX620" fmla="*/ 2038148 w 11685910"/>
                <a:gd name="connsiteY620" fmla="*/ 4366646 h 6078415"/>
                <a:gd name="connsiteX621" fmla="*/ 2053794 w 11685910"/>
                <a:gd name="connsiteY621" fmla="*/ 4372665 h 6078415"/>
                <a:gd name="connsiteX622" fmla="*/ 2053794 w 11685910"/>
                <a:gd name="connsiteY622" fmla="*/ 4392175 h 6078415"/>
                <a:gd name="connsiteX623" fmla="*/ 2008691 w 11685910"/>
                <a:gd name="connsiteY623" fmla="*/ 4353661 h 6078415"/>
                <a:gd name="connsiteX624" fmla="*/ 2008691 w 11685910"/>
                <a:gd name="connsiteY624" fmla="*/ 4316286 h 6078415"/>
                <a:gd name="connsiteX625" fmla="*/ 1988926 w 11685910"/>
                <a:gd name="connsiteY625" fmla="*/ 4289934 h 6078415"/>
                <a:gd name="connsiteX626" fmla="*/ 1988926 w 11685910"/>
                <a:gd name="connsiteY626" fmla="*/ 4271437 h 6078415"/>
                <a:gd name="connsiteX627" fmla="*/ 2008691 w 11685910"/>
                <a:gd name="connsiteY627" fmla="*/ 4244577 h 6078415"/>
                <a:gd name="connsiteX628" fmla="*/ 2008691 w 11685910"/>
                <a:gd name="connsiteY628" fmla="*/ 4208217 h 6078415"/>
                <a:gd name="connsiteX629" fmla="*/ 2053794 w 11685910"/>
                <a:gd name="connsiteY629" fmla="*/ 4169195 h 6078415"/>
                <a:gd name="connsiteX630" fmla="*/ 11196323 w 11685910"/>
                <a:gd name="connsiteY630" fmla="*/ 3828990 h 6078415"/>
                <a:gd name="connsiteX631" fmla="*/ 11241172 w 11685910"/>
                <a:gd name="connsiteY631" fmla="*/ 3868011 h 6078415"/>
                <a:gd name="connsiteX632" fmla="*/ 11241172 w 11685910"/>
                <a:gd name="connsiteY632" fmla="*/ 3904372 h 6078415"/>
                <a:gd name="connsiteX633" fmla="*/ 11260810 w 11685910"/>
                <a:gd name="connsiteY633" fmla="*/ 3931231 h 6078415"/>
                <a:gd name="connsiteX634" fmla="*/ 11260810 w 11685910"/>
                <a:gd name="connsiteY634" fmla="*/ 3949728 h 6078415"/>
                <a:gd name="connsiteX635" fmla="*/ 11241172 w 11685910"/>
                <a:gd name="connsiteY635" fmla="*/ 3976081 h 6078415"/>
                <a:gd name="connsiteX636" fmla="*/ 11241172 w 11685910"/>
                <a:gd name="connsiteY636" fmla="*/ 4013455 h 6078415"/>
                <a:gd name="connsiteX637" fmla="*/ 11196323 w 11685910"/>
                <a:gd name="connsiteY637" fmla="*/ 4051970 h 6078415"/>
                <a:gd name="connsiteX638" fmla="*/ 11196323 w 11685910"/>
                <a:gd name="connsiteY638" fmla="*/ 4032459 h 6078415"/>
                <a:gd name="connsiteX639" fmla="*/ 11211970 w 11685910"/>
                <a:gd name="connsiteY639" fmla="*/ 4026378 h 6078415"/>
                <a:gd name="connsiteX640" fmla="*/ 11216594 w 11685910"/>
                <a:gd name="connsiteY640" fmla="*/ 4007121 h 6078415"/>
                <a:gd name="connsiteX641" fmla="*/ 11216594 w 11685910"/>
                <a:gd name="connsiteY641" fmla="*/ 3971773 h 6078415"/>
                <a:gd name="connsiteX642" fmla="*/ 11241553 w 11685910"/>
                <a:gd name="connsiteY642" fmla="*/ 3940480 h 6078415"/>
                <a:gd name="connsiteX643" fmla="*/ 11241553 w 11685910"/>
                <a:gd name="connsiteY643" fmla="*/ 3940100 h 6078415"/>
                <a:gd name="connsiteX644" fmla="*/ 11216594 w 11685910"/>
                <a:gd name="connsiteY644" fmla="*/ 3908553 h 6078415"/>
                <a:gd name="connsiteX645" fmla="*/ 11216594 w 11685910"/>
                <a:gd name="connsiteY645" fmla="*/ 3872826 h 6078415"/>
                <a:gd name="connsiteX646" fmla="*/ 11196323 w 11685910"/>
                <a:gd name="connsiteY646" fmla="*/ 3848627 h 6078415"/>
                <a:gd name="connsiteX647" fmla="*/ 11178839 w 11685910"/>
                <a:gd name="connsiteY647" fmla="*/ 3828990 h 6078415"/>
                <a:gd name="connsiteX648" fmla="*/ 11178839 w 11685910"/>
                <a:gd name="connsiteY648" fmla="*/ 3848627 h 6078415"/>
                <a:gd name="connsiteX649" fmla="*/ 11158695 w 11685910"/>
                <a:gd name="connsiteY649" fmla="*/ 3872826 h 6078415"/>
                <a:gd name="connsiteX650" fmla="*/ 11158695 w 11685910"/>
                <a:gd name="connsiteY650" fmla="*/ 3908553 h 6078415"/>
                <a:gd name="connsiteX651" fmla="*/ 11133483 w 11685910"/>
                <a:gd name="connsiteY651" fmla="*/ 3940100 h 6078415"/>
                <a:gd name="connsiteX652" fmla="*/ 11133483 w 11685910"/>
                <a:gd name="connsiteY652" fmla="*/ 3940480 h 6078415"/>
                <a:gd name="connsiteX653" fmla="*/ 11158695 w 11685910"/>
                <a:gd name="connsiteY653" fmla="*/ 3971773 h 6078415"/>
                <a:gd name="connsiteX654" fmla="*/ 11158695 w 11685910"/>
                <a:gd name="connsiteY654" fmla="*/ 4007121 h 6078415"/>
                <a:gd name="connsiteX655" fmla="*/ 11163193 w 11685910"/>
                <a:gd name="connsiteY655" fmla="*/ 4026441 h 6078415"/>
                <a:gd name="connsiteX656" fmla="*/ 11178839 w 11685910"/>
                <a:gd name="connsiteY656" fmla="*/ 4032459 h 6078415"/>
                <a:gd name="connsiteX657" fmla="*/ 11178839 w 11685910"/>
                <a:gd name="connsiteY657" fmla="*/ 4051970 h 6078415"/>
                <a:gd name="connsiteX658" fmla="*/ 11133736 w 11685910"/>
                <a:gd name="connsiteY658" fmla="*/ 4013455 h 6078415"/>
                <a:gd name="connsiteX659" fmla="*/ 11133736 w 11685910"/>
                <a:gd name="connsiteY659" fmla="*/ 3976081 h 6078415"/>
                <a:gd name="connsiteX660" fmla="*/ 11113972 w 11685910"/>
                <a:gd name="connsiteY660" fmla="*/ 3949728 h 6078415"/>
                <a:gd name="connsiteX661" fmla="*/ 11113972 w 11685910"/>
                <a:gd name="connsiteY661" fmla="*/ 3931231 h 6078415"/>
                <a:gd name="connsiteX662" fmla="*/ 11133736 w 11685910"/>
                <a:gd name="connsiteY662" fmla="*/ 3904372 h 6078415"/>
                <a:gd name="connsiteX663" fmla="*/ 11133736 w 11685910"/>
                <a:gd name="connsiteY663" fmla="*/ 3868011 h 6078415"/>
                <a:gd name="connsiteX664" fmla="*/ 11178839 w 11685910"/>
                <a:gd name="connsiteY664" fmla="*/ 3828990 h 6078415"/>
                <a:gd name="connsiteX665" fmla="*/ 8155967 w 11685910"/>
                <a:gd name="connsiteY665" fmla="*/ 3828990 h 6078415"/>
                <a:gd name="connsiteX666" fmla="*/ 8200816 w 11685910"/>
                <a:gd name="connsiteY666" fmla="*/ 3868012 h 6078415"/>
                <a:gd name="connsiteX667" fmla="*/ 8200816 w 11685910"/>
                <a:gd name="connsiteY667" fmla="*/ 3904372 h 6078415"/>
                <a:gd name="connsiteX668" fmla="*/ 8220454 w 11685910"/>
                <a:gd name="connsiteY668" fmla="*/ 3931232 h 6078415"/>
                <a:gd name="connsiteX669" fmla="*/ 8220454 w 11685910"/>
                <a:gd name="connsiteY669" fmla="*/ 3949729 h 6078415"/>
                <a:gd name="connsiteX670" fmla="*/ 8200816 w 11685910"/>
                <a:gd name="connsiteY670" fmla="*/ 3976081 h 6078415"/>
                <a:gd name="connsiteX671" fmla="*/ 8200816 w 11685910"/>
                <a:gd name="connsiteY671" fmla="*/ 4013456 h 6078415"/>
                <a:gd name="connsiteX672" fmla="*/ 8155967 w 11685910"/>
                <a:gd name="connsiteY672" fmla="*/ 4051970 h 6078415"/>
                <a:gd name="connsiteX673" fmla="*/ 8155967 w 11685910"/>
                <a:gd name="connsiteY673" fmla="*/ 4032459 h 6078415"/>
                <a:gd name="connsiteX674" fmla="*/ 8171614 w 11685910"/>
                <a:gd name="connsiteY674" fmla="*/ 4026378 h 6078415"/>
                <a:gd name="connsiteX675" fmla="*/ 8176238 w 11685910"/>
                <a:gd name="connsiteY675" fmla="*/ 4007121 h 6078415"/>
                <a:gd name="connsiteX676" fmla="*/ 8176238 w 11685910"/>
                <a:gd name="connsiteY676" fmla="*/ 3971774 h 6078415"/>
                <a:gd name="connsiteX677" fmla="*/ 8201197 w 11685910"/>
                <a:gd name="connsiteY677" fmla="*/ 3940480 h 6078415"/>
                <a:gd name="connsiteX678" fmla="*/ 8201197 w 11685910"/>
                <a:gd name="connsiteY678" fmla="*/ 3940100 h 6078415"/>
                <a:gd name="connsiteX679" fmla="*/ 8176238 w 11685910"/>
                <a:gd name="connsiteY679" fmla="*/ 3908553 h 6078415"/>
                <a:gd name="connsiteX680" fmla="*/ 8176238 w 11685910"/>
                <a:gd name="connsiteY680" fmla="*/ 3872826 h 6078415"/>
                <a:gd name="connsiteX681" fmla="*/ 8155967 w 11685910"/>
                <a:gd name="connsiteY681" fmla="*/ 3848628 h 6078415"/>
                <a:gd name="connsiteX682" fmla="*/ 8138483 w 11685910"/>
                <a:gd name="connsiteY682" fmla="*/ 3828990 h 6078415"/>
                <a:gd name="connsiteX683" fmla="*/ 8138483 w 11685910"/>
                <a:gd name="connsiteY683" fmla="*/ 3848628 h 6078415"/>
                <a:gd name="connsiteX684" fmla="*/ 8118339 w 11685910"/>
                <a:gd name="connsiteY684" fmla="*/ 3872826 h 6078415"/>
                <a:gd name="connsiteX685" fmla="*/ 8118339 w 11685910"/>
                <a:gd name="connsiteY685" fmla="*/ 3908553 h 6078415"/>
                <a:gd name="connsiteX686" fmla="*/ 8093126 w 11685910"/>
                <a:gd name="connsiteY686" fmla="*/ 3940100 h 6078415"/>
                <a:gd name="connsiteX687" fmla="*/ 8093126 w 11685910"/>
                <a:gd name="connsiteY687" fmla="*/ 3940480 h 6078415"/>
                <a:gd name="connsiteX688" fmla="*/ 8118339 w 11685910"/>
                <a:gd name="connsiteY688" fmla="*/ 3971774 h 6078415"/>
                <a:gd name="connsiteX689" fmla="*/ 8118339 w 11685910"/>
                <a:gd name="connsiteY689" fmla="*/ 4007121 h 6078415"/>
                <a:gd name="connsiteX690" fmla="*/ 8122836 w 11685910"/>
                <a:gd name="connsiteY690" fmla="*/ 4026441 h 6078415"/>
                <a:gd name="connsiteX691" fmla="*/ 8138483 w 11685910"/>
                <a:gd name="connsiteY691" fmla="*/ 4032459 h 6078415"/>
                <a:gd name="connsiteX692" fmla="*/ 8138483 w 11685910"/>
                <a:gd name="connsiteY692" fmla="*/ 4051970 h 6078415"/>
                <a:gd name="connsiteX693" fmla="*/ 8093380 w 11685910"/>
                <a:gd name="connsiteY693" fmla="*/ 4013456 h 6078415"/>
                <a:gd name="connsiteX694" fmla="*/ 8093380 w 11685910"/>
                <a:gd name="connsiteY694" fmla="*/ 3976081 h 6078415"/>
                <a:gd name="connsiteX695" fmla="*/ 8073616 w 11685910"/>
                <a:gd name="connsiteY695" fmla="*/ 3949729 h 6078415"/>
                <a:gd name="connsiteX696" fmla="*/ 8073616 w 11685910"/>
                <a:gd name="connsiteY696" fmla="*/ 3931232 h 6078415"/>
                <a:gd name="connsiteX697" fmla="*/ 8093380 w 11685910"/>
                <a:gd name="connsiteY697" fmla="*/ 3904372 h 6078415"/>
                <a:gd name="connsiteX698" fmla="*/ 8093380 w 11685910"/>
                <a:gd name="connsiteY698" fmla="*/ 3868012 h 6078415"/>
                <a:gd name="connsiteX699" fmla="*/ 8138483 w 11685910"/>
                <a:gd name="connsiteY699" fmla="*/ 3828990 h 6078415"/>
                <a:gd name="connsiteX700" fmla="*/ 5101246 w 11685910"/>
                <a:gd name="connsiteY700" fmla="*/ 3828990 h 6078415"/>
                <a:gd name="connsiteX701" fmla="*/ 5146095 w 11685910"/>
                <a:gd name="connsiteY701" fmla="*/ 3868012 h 6078415"/>
                <a:gd name="connsiteX702" fmla="*/ 5146095 w 11685910"/>
                <a:gd name="connsiteY702" fmla="*/ 3904372 h 6078415"/>
                <a:gd name="connsiteX703" fmla="*/ 5165734 w 11685910"/>
                <a:gd name="connsiteY703" fmla="*/ 3931232 h 6078415"/>
                <a:gd name="connsiteX704" fmla="*/ 5165734 w 11685910"/>
                <a:gd name="connsiteY704" fmla="*/ 3949729 h 6078415"/>
                <a:gd name="connsiteX705" fmla="*/ 5146095 w 11685910"/>
                <a:gd name="connsiteY705" fmla="*/ 3976081 h 6078415"/>
                <a:gd name="connsiteX706" fmla="*/ 5146095 w 11685910"/>
                <a:gd name="connsiteY706" fmla="*/ 4013456 h 6078415"/>
                <a:gd name="connsiteX707" fmla="*/ 5101246 w 11685910"/>
                <a:gd name="connsiteY707" fmla="*/ 4051970 h 6078415"/>
                <a:gd name="connsiteX708" fmla="*/ 5101246 w 11685910"/>
                <a:gd name="connsiteY708" fmla="*/ 4032459 h 6078415"/>
                <a:gd name="connsiteX709" fmla="*/ 5116893 w 11685910"/>
                <a:gd name="connsiteY709" fmla="*/ 4026378 h 6078415"/>
                <a:gd name="connsiteX710" fmla="*/ 5121517 w 11685910"/>
                <a:gd name="connsiteY710" fmla="*/ 4007121 h 6078415"/>
                <a:gd name="connsiteX711" fmla="*/ 5121517 w 11685910"/>
                <a:gd name="connsiteY711" fmla="*/ 3971774 h 6078415"/>
                <a:gd name="connsiteX712" fmla="*/ 5146475 w 11685910"/>
                <a:gd name="connsiteY712" fmla="*/ 3940480 h 6078415"/>
                <a:gd name="connsiteX713" fmla="*/ 5146475 w 11685910"/>
                <a:gd name="connsiteY713" fmla="*/ 3940100 h 6078415"/>
                <a:gd name="connsiteX714" fmla="*/ 5121517 w 11685910"/>
                <a:gd name="connsiteY714" fmla="*/ 3908553 h 6078415"/>
                <a:gd name="connsiteX715" fmla="*/ 5121517 w 11685910"/>
                <a:gd name="connsiteY715" fmla="*/ 3872826 h 6078415"/>
                <a:gd name="connsiteX716" fmla="*/ 5101246 w 11685910"/>
                <a:gd name="connsiteY716" fmla="*/ 3848628 h 6078415"/>
                <a:gd name="connsiteX717" fmla="*/ 5083763 w 11685910"/>
                <a:gd name="connsiteY717" fmla="*/ 3828990 h 6078415"/>
                <a:gd name="connsiteX718" fmla="*/ 5083763 w 11685910"/>
                <a:gd name="connsiteY718" fmla="*/ 3848628 h 6078415"/>
                <a:gd name="connsiteX719" fmla="*/ 5063618 w 11685910"/>
                <a:gd name="connsiteY719" fmla="*/ 3872826 h 6078415"/>
                <a:gd name="connsiteX720" fmla="*/ 5063618 w 11685910"/>
                <a:gd name="connsiteY720" fmla="*/ 3908553 h 6078415"/>
                <a:gd name="connsiteX721" fmla="*/ 5038405 w 11685910"/>
                <a:gd name="connsiteY721" fmla="*/ 3940100 h 6078415"/>
                <a:gd name="connsiteX722" fmla="*/ 5038405 w 11685910"/>
                <a:gd name="connsiteY722" fmla="*/ 3940480 h 6078415"/>
                <a:gd name="connsiteX723" fmla="*/ 5063618 w 11685910"/>
                <a:gd name="connsiteY723" fmla="*/ 3971774 h 6078415"/>
                <a:gd name="connsiteX724" fmla="*/ 5063618 w 11685910"/>
                <a:gd name="connsiteY724" fmla="*/ 4007121 h 6078415"/>
                <a:gd name="connsiteX725" fmla="*/ 5068115 w 11685910"/>
                <a:gd name="connsiteY725" fmla="*/ 4026441 h 6078415"/>
                <a:gd name="connsiteX726" fmla="*/ 5083763 w 11685910"/>
                <a:gd name="connsiteY726" fmla="*/ 4032459 h 6078415"/>
                <a:gd name="connsiteX727" fmla="*/ 5083763 w 11685910"/>
                <a:gd name="connsiteY727" fmla="*/ 4051970 h 6078415"/>
                <a:gd name="connsiteX728" fmla="*/ 5038659 w 11685910"/>
                <a:gd name="connsiteY728" fmla="*/ 4013456 h 6078415"/>
                <a:gd name="connsiteX729" fmla="*/ 5038659 w 11685910"/>
                <a:gd name="connsiteY729" fmla="*/ 3976081 h 6078415"/>
                <a:gd name="connsiteX730" fmla="*/ 5018895 w 11685910"/>
                <a:gd name="connsiteY730" fmla="*/ 3949729 h 6078415"/>
                <a:gd name="connsiteX731" fmla="*/ 5018895 w 11685910"/>
                <a:gd name="connsiteY731" fmla="*/ 3931232 h 6078415"/>
                <a:gd name="connsiteX732" fmla="*/ 5038659 w 11685910"/>
                <a:gd name="connsiteY732" fmla="*/ 3904372 h 6078415"/>
                <a:gd name="connsiteX733" fmla="*/ 5038659 w 11685910"/>
                <a:gd name="connsiteY733" fmla="*/ 3868012 h 6078415"/>
                <a:gd name="connsiteX734" fmla="*/ 5083763 w 11685910"/>
                <a:gd name="connsiteY734" fmla="*/ 3828990 h 6078415"/>
                <a:gd name="connsiteX735" fmla="*/ 2072970 w 11685910"/>
                <a:gd name="connsiteY735" fmla="*/ 3828990 h 6078415"/>
                <a:gd name="connsiteX736" fmla="*/ 2117820 w 11685910"/>
                <a:gd name="connsiteY736" fmla="*/ 3868012 h 6078415"/>
                <a:gd name="connsiteX737" fmla="*/ 2117820 w 11685910"/>
                <a:gd name="connsiteY737" fmla="*/ 3904372 h 6078415"/>
                <a:gd name="connsiteX738" fmla="*/ 2137457 w 11685910"/>
                <a:gd name="connsiteY738" fmla="*/ 3931232 h 6078415"/>
                <a:gd name="connsiteX739" fmla="*/ 2137457 w 11685910"/>
                <a:gd name="connsiteY739" fmla="*/ 3949729 h 6078415"/>
                <a:gd name="connsiteX740" fmla="*/ 2117820 w 11685910"/>
                <a:gd name="connsiteY740" fmla="*/ 3976081 h 6078415"/>
                <a:gd name="connsiteX741" fmla="*/ 2117820 w 11685910"/>
                <a:gd name="connsiteY741" fmla="*/ 4013456 h 6078415"/>
                <a:gd name="connsiteX742" fmla="*/ 2072970 w 11685910"/>
                <a:gd name="connsiteY742" fmla="*/ 4051970 h 6078415"/>
                <a:gd name="connsiteX743" fmla="*/ 2072970 w 11685910"/>
                <a:gd name="connsiteY743" fmla="*/ 4032459 h 6078415"/>
                <a:gd name="connsiteX744" fmla="*/ 2088617 w 11685910"/>
                <a:gd name="connsiteY744" fmla="*/ 4026378 h 6078415"/>
                <a:gd name="connsiteX745" fmla="*/ 2093241 w 11685910"/>
                <a:gd name="connsiteY745" fmla="*/ 4007121 h 6078415"/>
                <a:gd name="connsiteX746" fmla="*/ 2093241 w 11685910"/>
                <a:gd name="connsiteY746" fmla="*/ 3971774 h 6078415"/>
                <a:gd name="connsiteX747" fmla="*/ 2118200 w 11685910"/>
                <a:gd name="connsiteY747" fmla="*/ 3940480 h 6078415"/>
                <a:gd name="connsiteX748" fmla="*/ 2118200 w 11685910"/>
                <a:gd name="connsiteY748" fmla="*/ 3940100 h 6078415"/>
                <a:gd name="connsiteX749" fmla="*/ 2093241 w 11685910"/>
                <a:gd name="connsiteY749" fmla="*/ 3908553 h 6078415"/>
                <a:gd name="connsiteX750" fmla="*/ 2093241 w 11685910"/>
                <a:gd name="connsiteY750" fmla="*/ 3872826 h 6078415"/>
                <a:gd name="connsiteX751" fmla="*/ 2072970 w 11685910"/>
                <a:gd name="connsiteY751" fmla="*/ 3848628 h 6078415"/>
                <a:gd name="connsiteX752" fmla="*/ 2055487 w 11685910"/>
                <a:gd name="connsiteY752" fmla="*/ 3828990 h 6078415"/>
                <a:gd name="connsiteX753" fmla="*/ 2055487 w 11685910"/>
                <a:gd name="connsiteY753" fmla="*/ 3848628 h 6078415"/>
                <a:gd name="connsiteX754" fmla="*/ 2035342 w 11685910"/>
                <a:gd name="connsiteY754" fmla="*/ 3872826 h 6078415"/>
                <a:gd name="connsiteX755" fmla="*/ 2035342 w 11685910"/>
                <a:gd name="connsiteY755" fmla="*/ 3908553 h 6078415"/>
                <a:gd name="connsiteX756" fmla="*/ 2010130 w 11685910"/>
                <a:gd name="connsiteY756" fmla="*/ 3940100 h 6078415"/>
                <a:gd name="connsiteX757" fmla="*/ 2010130 w 11685910"/>
                <a:gd name="connsiteY757" fmla="*/ 3940480 h 6078415"/>
                <a:gd name="connsiteX758" fmla="*/ 2035342 w 11685910"/>
                <a:gd name="connsiteY758" fmla="*/ 3971774 h 6078415"/>
                <a:gd name="connsiteX759" fmla="*/ 2035342 w 11685910"/>
                <a:gd name="connsiteY759" fmla="*/ 4007121 h 6078415"/>
                <a:gd name="connsiteX760" fmla="*/ 2039840 w 11685910"/>
                <a:gd name="connsiteY760" fmla="*/ 4026441 h 6078415"/>
                <a:gd name="connsiteX761" fmla="*/ 2055487 w 11685910"/>
                <a:gd name="connsiteY761" fmla="*/ 4032459 h 6078415"/>
                <a:gd name="connsiteX762" fmla="*/ 2055487 w 11685910"/>
                <a:gd name="connsiteY762" fmla="*/ 4051970 h 6078415"/>
                <a:gd name="connsiteX763" fmla="*/ 2010383 w 11685910"/>
                <a:gd name="connsiteY763" fmla="*/ 4013456 h 6078415"/>
                <a:gd name="connsiteX764" fmla="*/ 2010383 w 11685910"/>
                <a:gd name="connsiteY764" fmla="*/ 3976081 h 6078415"/>
                <a:gd name="connsiteX765" fmla="*/ 1990618 w 11685910"/>
                <a:gd name="connsiteY765" fmla="*/ 3949729 h 6078415"/>
                <a:gd name="connsiteX766" fmla="*/ 1990618 w 11685910"/>
                <a:gd name="connsiteY766" fmla="*/ 3931232 h 6078415"/>
                <a:gd name="connsiteX767" fmla="*/ 2010383 w 11685910"/>
                <a:gd name="connsiteY767" fmla="*/ 3904372 h 6078415"/>
                <a:gd name="connsiteX768" fmla="*/ 2010383 w 11685910"/>
                <a:gd name="connsiteY768" fmla="*/ 3868012 h 6078415"/>
                <a:gd name="connsiteX769" fmla="*/ 2055487 w 11685910"/>
                <a:gd name="connsiteY769" fmla="*/ 3828990 h 6078415"/>
                <a:gd name="connsiteX770" fmla="*/ 11198015 w 11685910"/>
                <a:gd name="connsiteY770" fmla="*/ 3488785 h 6078415"/>
                <a:gd name="connsiteX771" fmla="*/ 11242864 w 11685910"/>
                <a:gd name="connsiteY771" fmla="*/ 3527806 h 6078415"/>
                <a:gd name="connsiteX772" fmla="*/ 11242864 w 11685910"/>
                <a:gd name="connsiteY772" fmla="*/ 3564167 h 6078415"/>
                <a:gd name="connsiteX773" fmla="*/ 11262502 w 11685910"/>
                <a:gd name="connsiteY773" fmla="*/ 3591026 h 6078415"/>
                <a:gd name="connsiteX774" fmla="*/ 11262502 w 11685910"/>
                <a:gd name="connsiteY774" fmla="*/ 3609523 h 6078415"/>
                <a:gd name="connsiteX775" fmla="*/ 11242864 w 11685910"/>
                <a:gd name="connsiteY775" fmla="*/ 3635876 h 6078415"/>
                <a:gd name="connsiteX776" fmla="*/ 11242864 w 11685910"/>
                <a:gd name="connsiteY776" fmla="*/ 3673250 h 6078415"/>
                <a:gd name="connsiteX777" fmla="*/ 11198015 w 11685910"/>
                <a:gd name="connsiteY777" fmla="*/ 3711765 h 6078415"/>
                <a:gd name="connsiteX778" fmla="*/ 11198015 w 11685910"/>
                <a:gd name="connsiteY778" fmla="*/ 3692254 h 6078415"/>
                <a:gd name="connsiteX779" fmla="*/ 11213662 w 11685910"/>
                <a:gd name="connsiteY779" fmla="*/ 3686173 h 6078415"/>
                <a:gd name="connsiteX780" fmla="*/ 11218286 w 11685910"/>
                <a:gd name="connsiteY780" fmla="*/ 3666916 h 6078415"/>
                <a:gd name="connsiteX781" fmla="*/ 11218286 w 11685910"/>
                <a:gd name="connsiteY781" fmla="*/ 3631568 h 6078415"/>
                <a:gd name="connsiteX782" fmla="*/ 11243245 w 11685910"/>
                <a:gd name="connsiteY782" fmla="*/ 3600275 h 6078415"/>
                <a:gd name="connsiteX783" fmla="*/ 11243245 w 11685910"/>
                <a:gd name="connsiteY783" fmla="*/ 3599895 h 6078415"/>
                <a:gd name="connsiteX784" fmla="*/ 11218286 w 11685910"/>
                <a:gd name="connsiteY784" fmla="*/ 3568348 h 6078415"/>
                <a:gd name="connsiteX785" fmla="*/ 11218286 w 11685910"/>
                <a:gd name="connsiteY785" fmla="*/ 3532621 h 6078415"/>
                <a:gd name="connsiteX786" fmla="*/ 11198015 w 11685910"/>
                <a:gd name="connsiteY786" fmla="*/ 3508422 h 6078415"/>
                <a:gd name="connsiteX787" fmla="*/ 11180531 w 11685910"/>
                <a:gd name="connsiteY787" fmla="*/ 3488785 h 6078415"/>
                <a:gd name="connsiteX788" fmla="*/ 11180531 w 11685910"/>
                <a:gd name="connsiteY788" fmla="*/ 3508422 h 6078415"/>
                <a:gd name="connsiteX789" fmla="*/ 11160387 w 11685910"/>
                <a:gd name="connsiteY789" fmla="*/ 3532621 h 6078415"/>
                <a:gd name="connsiteX790" fmla="*/ 11160387 w 11685910"/>
                <a:gd name="connsiteY790" fmla="*/ 3568348 h 6078415"/>
                <a:gd name="connsiteX791" fmla="*/ 11135175 w 11685910"/>
                <a:gd name="connsiteY791" fmla="*/ 3599895 h 6078415"/>
                <a:gd name="connsiteX792" fmla="*/ 11135175 w 11685910"/>
                <a:gd name="connsiteY792" fmla="*/ 3600275 h 6078415"/>
                <a:gd name="connsiteX793" fmla="*/ 11160387 w 11685910"/>
                <a:gd name="connsiteY793" fmla="*/ 3631568 h 6078415"/>
                <a:gd name="connsiteX794" fmla="*/ 11160387 w 11685910"/>
                <a:gd name="connsiteY794" fmla="*/ 3666916 h 6078415"/>
                <a:gd name="connsiteX795" fmla="*/ 11164885 w 11685910"/>
                <a:gd name="connsiteY795" fmla="*/ 3686236 h 6078415"/>
                <a:gd name="connsiteX796" fmla="*/ 11180531 w 11685910"/>
                <a:gd name="connsiteY796" fmla="*/ 3692254 h 6078415"/>
                <a:gd name="connsiteX797" fmla="*/ 11180531 w 11685910"/>
                <a:gd name="connsiteY797" fmla="*/ 3711765 h 6078415"/>
                <a:gd name="connsiteX798" fmla="*/ 11135428 w 11685910"/>
                <a:gd name="connsiteY798" fmla="*/ 3673250 h 6078415"/>
                <a:gd name="connsiteX799" fmla="*/ 11135428 w 11685910"/>
                <a:gd name="connsiteY799" fmla="*/ 3635876 h 6078415"/>
                <a:gd name="connsiteX800" fmla="*/ 11115664 w 11685910"/>
                <a:gd name="connsiteY800" fmla="*/ 3609523 h 6078415"/>
                <a:gd name="connsiteX801" fmla="*/ 11115664 w 11685910"/>
                <a:gd name="connsiteY801" fmla="*/ 3591026 h 6078415"/>
                <a:gd name="connsiteX802" fmla="*/ 11135428 w 11685910"/>
                <a:gd name="connsiteY802" fmla="*/ 3564167 h 6078415"/>
                <a:gd name="connsiteX803" fmla="*/ 11135428 w 11685910"/>
                <a:gd name="connsiteY803" fmla="*/ 3527806 h 6078415"/>
                <a:gd name="connsiteX804" fmla="*/ 11180531 w 11685910"/>
                <a:gd name="connsiteY804" fmla="*/ 3488785 h 6078415"/>
                <a:gd name="connsiteX805" fmla="*/ 8157659 w 11685910"/>
                <a:gd name="connsiteY805" fmla="*/ 3488785 h 6078415"/>
                <a:gd name="connsiteX806" fmla="*/ 8202508 w 11685910"/>
                <a:gd name="connsiteY806" fmla="*/ 3527807 h 6078415"/>
                <a:gd name="connsiteX807" fmla="*/ 8202508 w 11685910"/>
                <a:gd name="connsiteY807" fmla="*/ 3564167 h 6078415"/>
                <a:gd name="connsiteX808" fmla="*/ 8222146 w 11685910"/>
                <a:gd name="connsiteY808" fmla="*/ 3591027 h 6078415"/>
                <a:gd name="connsiteX809" fmla="*/ 8222146 w 11685910"/>
                <a:gd name="connsiteY809" fmla="*/ 3609524 h 6078415"/>
                <a:gd name="connsiteX810" fmla="*/ 8202508 w 11685910"/>
                <a:gd name="connsiteY810" fmla="*/ 3635876 h 6078415"/>
                <a:gd name="connsiteX811" fmla="*/ 8202508 w 11685910"/>
                <a:gd name="connsiteY811" fmla="*/ 3673251 h 6078415"/>
                <a:gd name="connsiteX812" fmla="*/ 8157659 w 11685910"/>
                <a:gd name="connsiteY812" fmla="*/ 3711765 h 6078415"/>
                <a:gd name="connsiteX813" fmla="*/ 8157659 w 11685910"/>
                <a:gd name="connsiteY813" fmla="*/ 3692254 h 6078415"/>
                <a:gd name="connsiteX814" fmla="*/ 8173306 w 11685910"/>
                <a:gd name="connsiteY814" fmla="*/ 3686173 h 6078415"/>
                <a:gd name="connsiteX815" fmla="*/ 8177930 w 11685910"/>
                <a:gd name="connsiteY815" fmla="*/ 3666916 h 6078415"/>
                <a:gd name="connsiteX816" fmla="*/ 8177930 w 11685910"/>
                <a:gd name="connsiteY816" fmla="*/ 3631569 h 6078415"/>
                <a:gd name="connsiteX817" fmla="*/ 8202889 w 11685910"/>
                <a:gd name="connsiteY817" fmla="*/ 3600275 h 6078415"/>
                <a:gd name="connsiteX818" fmla="*/ 8202889 w 11685910"/>
                <a:gd name="connsiteY818" fmla="*/ 3599895 h 6078415"/>
                <a:gd name="connsiteX819" fmla="*/ 8177930 w 11685910"/>
                <a:gd name="connsiteY819" fmla="*/ 3568348 h 6078415"/>
                <a:gd name="connsiteX820" fmla="*/ 8177930 w 11685910"/>
                <a:gd name="connsiteY820" fmla="*/ 3532621 h 6078415"/>
                <a:gd name="connsiteX821" fmla="*/ 8157659 w 11685910"/>
                <a:gd name="connsiteY821" fmla="*/ 3508423 h 6078415"/>
                <a:gd name="connsiteX822" fmla="*/ 8140175 w 11685910"/>
                <a:gd name="connsiteY822" fmla="*/ 3488785 h 6078415"/>
                <a:gd name="connsiteX823" fmla="*/ 8140175 w 11685910"/>
                <a:gd name="connsiteY823" fmla="*/ 3508423 h 6078415"/>
                <a:gd name="connsiteX824" fmla="*/ 8120031 w 11685910"/>
                <a:gd name="connsiteY824" fmla="*/ 3532621 h 6078415"/>
                <a:gd name="connsiteX825" fmla="*/ 8120031 w 11685910"/>
                <a:gd name="connsiteY825" fmla="*/ 3568348 h 6078415"/>
                <a:gd name="connsiteX826" fmla="*/ 8094818 w 11685910"/>
                <a:gd name="connsiteY826" fmla="*/ 3599895 h 6078415"/>
                <a:gd name="connsiteX827" fmla="*/ 8094818 w 11685910"/>
                <a:gd name="connsiteY827" fmla="*/ 3600275 h 6078415"/>
                <a:gd name="connsiteX828" fmla="*/ 8120031 w 11685910"/>
                <a:gd name="connsiteY828" fmla="*/ 3631569 h 6078415"/>
                <a:gd name="connsiteX829" fmla="*/ 8120031 w 11685910"/>
                <a:gd name="connsiteY829" fmla="*/ 3666916 h 6078415"/>
                <a:gd name="connsiteX830" fmla="*/ 8124528 w 11685910"/>
                <a:gd name="connsiteY830" fmla="*/ 3686236 h 6078415"/>
                <a:gd name="connsiteX831" fmla="*/ 8140175 w 11685910"/>
                <a:gd name="connsiteY831" fmla="*/ 3692254 h 6078415"/>
                <a:gd name="connsiteX832" fmla="*/ 8140175 w 11685910"/>
                <a:gd name="connsiteY832" fmla="*/ 3711765 h 6078415"/>
                <a:gd name="connsiteX833" fmla="*/ 8095072 w 11685910"/>
                <a:gd name="connsiteY833" fmla="*/ 3673251 h 6078415"/>
                <a:gd name="connsiteX834" fmla="*/ 8095072 w 11685910"/>
                <a:gd name="connsiteY834" fmla="*/ 3635876 h 6078415"/>
                <a:gd name="connsiteX835" fmla="*/ 8075308 w 11685910"/>
                <a:gd name="connsiteY835" fmla="*/ 3609524 h 6078415"/>
                <a:gd name="connsiteX836" fmla="*/ 8075308 w 11685910"/>
                <a:gd name="connsiteY836" fmla="*/ 3591027 h 6078415"/>
                <a:gd name="connsiteX837" fmla="*/ 8095072 w 11685910"/>
                <a:gd name="connsiteY837" fmla="*/ 3564167 h 6078415"/>
                <a:gd name="connsiteX838" fmla="*/ 8095072 w 11685910"/>
                <a:gd name="connsiteY838" fmla="*/ 3527807 h 6078415"/>
                <a:gd name="connsiteX839" fmla="*/ 8140175 w 11685910"/>
                <a:gd name="connsiteY839" fmla="*/ 3488785 h 6078415"/>
                <a:gd name="connsiteX840" fmla="*/ 5102938 w 11685910"/>
                <a:gd name="connsiteY840" fmla="*/ 3488785 h 6078415"/>
                <a:gd name="connsiteX841" fmla="*/ 5147787 w 11685910"/>
                <a:gd name="connsiteY841" fmla="*/ 3527807 h 6078415"/>
                <a:gd name="connsiteX842" fmla="*/ 5147787 w 11685910"/>
                <a:gd name="connsiteY842" fmla="*/ 3564167 h 6078415"/>
                <a:gd name="connsiteX843" fmla="*/ 5167425 w 11685910"/>
                <a:gd name="connsiteY843" fmla="*/ 3591027 h 6078415"/>
                <a:gd name="connsiteX844" fmla="*/ 5167425 w 11685910"/>
                <a:gd name="connsiteY844" fmla="*/ 3609524 h 6078415"/>
                <a:gd name="connsiteX845" fmla="*/ 5147787 w 11685910"/>
                <a:gd name="connsiteY845" fmla="*/ 3635876 h 6078415"/>
                <a:gd name="connsiteX846" fmla="*/ 5147787 w 11685910"/>
                <a:gd name="connsiteY846" fmla="*/ 3673251 h 6078415"/>
                <a:gd name="connsiteX847" fmla="*/ 5102938 w 11685910"/>
                <a:gd name="connsiteY847" fmla="*/ 3711765 h 6078415"/>
                <a:gd name="connsiteX848" fmla="*/ 5102938 w 11685910"/>
                <a:gd name="connsiteY848" fmla="*/ 3692254 h 6078415"/>
                <a:gd name="connsiteX849" fmla="*/ 5118584 w 11685910"/>
                <a:gd name="connsiteY849" fmla="*/ 3686173 h 6078415"/>
                <a:gd name="connsiteX850" fmla="*/ 5123209 w 11685910"/>
                <a:gd name="connsiteY850" fmla="*/ 3666916 h 6078415"/>
                <a:gd name="connsiteX851" fmla="*/ 5123209 w 11685910"/>
                <a:gd name="connsiteY851" fmla="*/ 3631569 h 6078415"/>
                <a:gd name="connsiteX852" fmla="*/ 5148167 w 11685910"/>
                <a:gd name="connsiteY852" fmla="*/ 3600275 h 6078415"/>
                <a:gd name="connsiteX853" fmla="*/ 5148167 w 11685910"/>
                <a:gd name="connsiteY853" fmla="*/ 3599895 h 6078415"/>
                <a:gd name="connsiteX854" fmla="*/ 5123209 w 11685910"/>
                <a:gd name="connsiteY854" fmla="*/ 3568348 h 6078415"/>
                <a:gd name="connsiteX855" fmla="*/ 5123209 w 11685910"/>
                <a:gd name="connsiteY855" fmla="*/ 3532621 h 6078415"/>
                <a:gd name="connsiteX856" fmla="*/ 5102938 w 11685910"/>
                <a:gd name="connsiteY856" fmla="*/ 3508423 h 6078415"/>
                <a:gd name="connsiteX857" fmla="*/ 5085454 w 11685910"/>
                <a:gd name="connsiteY857" fmla="*/ 3488785 h 6078415"/>
                <a:gd name="connsiteX858" fmla="*/ 5085454 w 11685910"/>
                <a:gd name="connsiteY858" fmla="*/ 3508423 h 6078415"/>
                <a:gd name="connsiteX859" fmla="*/ 5065310 w 11685910"/>
                <a:gd name="connsiteY859" fmla="*/ 3532621 h 6078415"/>
                <a:gd name="connsiteX860" fmla="*/ 5065310 w 11685910"/>
                <a:gd name="connsiteY860" fmla="*/ 3568348 h 6078415"/>
                <a:gd name="connsiteX861" fmla="*/ 5040097 w 11685910"/>
                <a:gd name="connsiteY861" fmla="*/ 3599895 h 6078415"/>
                <a:gd name="connsiteX862" fmla="*/ 5040097 w 11685910"/>
                <a:gd name="connsiteY862" fmla="*/ 3600275 h 6078415"/>
                <a:gd name="connsiteX863" fmla="*/ 5065310 w 11685910"/>
                <a:gd name="connsiteY863" fmla="*/ 3631569 h 6078415"/>
                <a:gd name="connsiteX864" fmla="*/ 5065310 w 11685910"/>
                <a:gd name="connsiteY864" fmla="*/ 3666916 h 6078415"/>
                <a:gd name="connsiteX865" fmla="*/ 5069807 w 11685910"/>
                <a:gd name="connsiteY865" fmla="*/ 3686236 h 6078415"/>
                <a:gd name="connsiteX866" fmla="*/ 5085454 w 11685910"/>
                <a:gd name="connsiteY866" fmla="*/ 3692254 h 6078415"/>
                <a:gd name="connsiteX867" fmla="*/ 5085454 w 11685910"/>
                <a:gd name="connsiteY867" fmla="*/ 3711765 h 6078415"/>
                <a:gd name="connsiteX868" fmla="*/ 5040351 w 11685910"/>
                <a:gd name="connsiteY868" fmla="*/ 3673251 h 6078415"/>
                <a:gd name="connsiteX869" fmla="*/ 5040351 w 11685910"/>
                <a:gd name="connsiteY869" fmla="*/ 3635876 h 6078415"/>
                <a:gd name="connsiteX870" fmla="*/ 5020587 w 11685910"/>
                <a:gd name="connsiteY870" fmla="*/ 3609524 h 6078415"/>
                <a:gd name="connsiteX871" fmla="*/ 5020587 w 11685910"/>
                <a:gd name="connsiteY871" fmla="*/ 3591027 h 6078415"/>
                <a:gd name="connsiteX872" fmla="*/ 5040351 w 11685910"/>
                <a:gd name="connsiteY872" fmla="*/ 3564167 h 6078415"/>
                <a:gd name="connsiteX873" fmla="*/ 5040351 w 11685910"/>
                <a:gd name="connsiteY873" fmla="*/ 3527807 h 6078415"/>
                <a:gd name="connsiteX874" fmla="*/ 5085454 w 11685910"/>
                <a:gd name="connsiteY874" fmla="*/ 3488785 h 6078415"/>
                <a:gd name="connsiteX875" fmla="*/ 2074663 w 11685910"/>
                <a:gd name="connsiteY875" fmla="*/ 3488785 h 6078415"/>
                <a:gd name="connsiteX876" fmla="*/ 2119512 w 11685910"/>
                <a:gd name="connsiteY876" fmla="*/ 3527807 h 6078415"/>
                <a:gd name="connsiteX877" fmla="*/ 2119512 w 11685910"/>
                <a:gd name="connsiteY877" fmla="*/ 3564167 h 6078415"/>
                <a:gd name="connsiteX878" fmla="*/ 2139149 w 11685910"/>
                <a:gd name="connsiteY878" fmla="*/ 3591027 h 6078415"/>
                <a:gd name="connsiteX879" fmla="*/ 2139149 w 11685910"/>
                <a:gd name="connsiteY879" fmla="*/ 3609524 h 6078415"/>
                <a:gd name="connsiteX880" fmla="*/ 2119512 w 11685910"/>
                <a:gd name="connsiteY880" fmla="*/ 3635876 h 6078415"/>
                <a:gd name="connsiteX881" fmla="*/ 2119512 w 11685910"/>
                <a:gd name="connsiteY881" fmla="*/ 3673251 h 6078415"/>
                <a:gd name="connsiteX882" fmla="*/ 2074663 w 11685910"/>
                <a:gd name="connsiteY882" fmla="*/ 3711765 h 6078415"/>
                <a:gd name="connsiteX883" fmla="*/ 2074663 w 11685910"/>
                <a:gd name="connsiteY883" fmla="*/ 3692254 h 6078415"/>
                <a:gd name="connsiteX884" fmla="*/ 2090309 w 11685910"/>
                <a:gd name="connsiteY884" fmla="*/ 3686173 h 6078415"/>
                <a:gd name="connsiteX885" fmla="*/ 2094934 w 11685910"/>
                <a:gd name="connsiteY885" fmla="*/ 3666916 h 6078415"/>
                <a:gd name="connsiteX886" fmla="*/ 2094934 w 11685910"/>
                <a:gd name="connsiteY886" fmla="*/ 3631569 h 6078415"/>
                <a:gd name="connsiteX887" fmla="*/ 2119892 w 11685910"/>
                <a:gd name="connsiteY887" fmla="*/ 3600275 h 6078415"/>
                <a:gd name="connsiteX888" fmla="*/ 2119892 w 11685910"/>
                <a:gd name="connsiteY888" fmla="*/ 3599895 h 6078415"/>
                <a:gd name="connsiteX889" fmla="*/ 2094934 w 11685910"/>
                <a:gd name="connsiteY889" fmla="*/ 3568348 h 6078415"/>
                <a:gd name="connsiteX890" fmla="*/ 2094934 w 11685910"/>
                <a:gd name="connsiteY890" fmla="*/ 3532621 h 6078415"/>
                <a:gd name="connsiteX891" fmla="*/ 2074663 w 11685910"/>
                <a:gd name="connsiteY891" fmla="*/ 3508423 h 6078415"/>
                <a:gd name="connsiteX892" fmla="*/ 2057179 w 11685910"/>
                <a:gd name="connsiteY892" fmla="*/ 3488785 h 6078415"/>
                <a:gd name="connsiteX893" fmla="*/ 2057179 w 11685910"/>
                <a:gd name="connsiteY893" fmla="*/ 3508423 h 6078415"/>
                <a:gd name="connsiteX894" fmla="*/ 2037034 w 11685910"/>
                <a:gd name="connsiteY894" fmla="*/ 3532621 h 6078415"/>
                <a:gd name="connsiteX895" fmla="*/ 2037034 w 11685910"/>
                <a:gd name="connsiteY895" fmla="*/ 3568348 h 6078415"/>
                <a:gd name="connsiteX896" fmla="*/ 2011822 w 11685910"/>
                <a:gd name="connsiteY896" fmla="*/ 3599895 h 6078415"/>
                <a:gd name="connsiteX897" fmla="*/ 2011822 w 11685910"/>
                <a:gd name="connsiteY897" fmla="*/ 3600275 h 6078415"/>
                <a:gd name="connsiteX898" fmla="*/ 2037034 w 11685910"/>
                <a:gd name="connsiteY898" fmla="*/ 3631569 h 6078415"/>
                <a:gd name="connsiteX899" fmla="*/ 2037034 w 11685910"/>
                <a:gd name="connsiteY899" fmla="*/ 3666916 h 6078415"/>
                <a:gd name="connsiteX900" fmla="*/ 2041532 w 11685910"/>
                <a:gd name="connsiteY900" fmla="*/ 3686236 h 6078415"/>
                <a:gd name="connsiteX901" fmla="*/ 2057179 w 11685910"/>
                <a:gd name="connsiteY901" fmla="*/ 3692254 h 6078415"/>
                <a:gd name="connsiteX902" fmla="*/ 2057179 w 11685910"/>
                <a:gd name="connsiteY902" fmla="*/ 3711765 h 6078415"/>
                <a:gd name="connsiteX903" fmla="*/ 2012076 w 11685910"/>
                <a:gd name="connsiteY903" fmla="*/ 3673251 h 6078415"/>
                <a:gd name="connsiteX904" fmla="*/ 2012076 w 11685910"/>
                <a:gd name="connsiteY904" fmla="*/ 3635876 h 6078415"/>
                <a:gd name="connsiteX905" fmla="*/ 1992310 w 11685910"/>
                <a:gd name="connsiteY905" fmla="*/ 3609524 h 6078415"/>
                <a:gd name="connsiteX906" fmla="*/ 1992310 w 11685910"/>
                <a:gd name="connsiteY906" fmla="*/ 3591027 h 6078415"/>
                <a:gd name="connsiteX907" fmla="*/ 2012076 w 11685910"/>
                <a:gd name="connsiteY907" fmla="*/ 3564167 h 6078415"/>
                <a:gd name="connsiteX908" fmla="*/ 2012076 w 11685910"/>
                <a:gd name="connsiteY908" fmla="*/ 3527807 h 6078415"/>
                <a:gd name="connsiteX909" fmla="*/ 2057179 w 11685910"/>
                <a:gd name="connsiteY909" fmla="*/ 3488785 h 6078415"/>
                <a:gd name="connsiteX910" fmla="*/ 11198015 w 11685910"/>
                <a:gd name="connsiteY910" fmla="*/ 3115795 h 6078415"/>
                <a:gd name="connsiteX911" fmla="*/ 11242864 w 11685910"/>
                <a:gd name="connsiteY911" fmla="*/ 3154817 h 6078415"/>
                <a:gd name="connsiteX912" fmla="*/ 11242864 w 11685910"/>
                <a:gd name="connsiteY912" fmla="*/ 3191177 h 6078415"/>
                <a:gd name="connsiteX913" fmla="*/ 11262502 w 11685910"/>
                <a:gd name="connsiteY913" fmla="*/ 3218037 h 6078415"/>
                <a:gd name="connsiteX914" fmla="*/ 11262502 w 11685910"/>
                <a:gd name="connsiteY914" fmla="*/ 3236534 h 6078415"/>
                <a:gd name="connsiteX915" fmla="*/ 11242864 w 11685910"/>
                <a:gd name="connsiteY915" fmla="*/ 3262886 h 6078415"/>
                <a:gd name="connsiteX916" fmla="*/ 11242864 w 11685910"/>
                <a:gd name="connsiteY916" fmla="*/ 3300261 h 6078415"/>
                <a:gd name="connsiteX917" fmla="*/ 11198015 w 11685910"/>
                <a:gd name="connsiteY917" fmla="*/ 3338775 h 6078415"/>
                <a:gd name="connsiteX918" fmla="*/ 11198015 w 11685910"/>
                <a:gd name="connsiteY918" fmla="*/ 3319264 h 6078415"/>
                <a:gd name="connsiteX919" fmla="*/ 11213662 w 11685910"/>
                <a:gd name="connsiteY919" fmla="*/ 3313183 h 6078415"/>
                <a:gd name="connsiteX920" fmla="*/ 11218286 w 11685910"/>
                <a:gd name="connsiteY920" fmla="*/ 3293926 h 6078415"/>
                <a:gd name="connsiteX921" fmla="*/ 11218286 w 11685910"/>
                <a:gd name="connsiteY921" fmla="*/ 3258579 h 6078415"/>
                <a:gd name="connsiteX922" fmla="*/ 11243245 w 11685910"/>
                <a:gd name="connsiteY922" fmla="*/ 3227285 h 6078415"/>
                <a:gd name="connsiteX923" fmla="*/ 11243245 w 11685910"/>
                <a:gd name="connsiteY923" fmla="*/ 3226905 h 6078415"/>
                <a:gd name="connsiteX924" fmla="*/ 11218286 w 11685910"/>
                <a:gd name="connsiteY924" fmla="*/ 3195358 h 6078415"/>
                <a:gd name="connsiteX925" fmla="*/ 11218286 w 11685910"/>
                <a:gd name="connsiteY925" fmla="*/ 3159631 h 6078415"/>
                <a:gd name="connsiteX926" fmla="*/ 11198015 w 11685910"/>
                <a:gd name="connsiteY926" fmla="*/ 3135433 h 6078415"/>
                <a:gd name="connsiteX927" fmla="*/ 11180531 w 11685910"/>
                <a:gd name="connsiteY927" fmla="*/ 3115795 h 6078415"/>
                <a:gd name="connsiteX928" fmla="*/ 11180531 w 11685910"/>
                <a:gd name="connsiteY928" fmla="*/ 3135433 h 6078415"/>
                <a:gd name="connsiteX929" fmla="*/ 11160387 w 11685910"/>
                <a:gd name="connsiteY929" fmla="*/ 3159631 h 6078415"/>
                <a:gd name="connsiteX930" fmla="*/ 11160387 w 11685910"/>
                <a:gd name="connsiteY930" fmla="*/ 3195358 h 6078415"/>
                <a:gd name="connsiteX931" fmla="*/ 11135175 w 11685910"/>
                <a:gd name="connsiteY931" fmla="*/ 3226905 h 6078415"/>
                <a:gd name="connsiteX932" fmla="*/ 11135175 w 11685910"/>
                <a:gd name="connsiteY932" fmla="*/ 3227285 h 6078415"/>
                <a:gd name="connsiteX933" fmla="*/ 11160387 w 11685910"/>
                <a:gd name="connsiteY933" fmla="*/ 3258579 h 6078415"/>
                <a:gd name="connsiteX934" fmla="*/ 11160387 w 11685910"/>
                <a:gd name="connsiteY934" fmla="*/ 3293926 h 6078415"/>
                <a:gd name="connsiteX935" fmla="*/ 11164885 w 11685910"/>
                <a:gd name="connsiteY935" fmla="*/ 3313246 h 6078415"/>
                <a:gd name="connsiteX936" fmla="*/ 11180531 w 11685910"/>
                <a:gd name="connsiteY936" fmla="*/ 3319264 h 6078415"/>
                <a:gd name="connsiteX937" fmla="*/ 11180531 w 11685910"/>
                <a:gd name="connsiteY937" fmla="*/ 3338775 h 6078415"/>
                <a:gd name="connsiteX938" fmla="*/ 11135428 w 11685910"/>
                <a:gd name="connsiteY938" fmla="*/ 3300261 h 6078415"/>
                <a:gd name="connsiteX939" fmla="*/ 11135428 w 11685910"/>
                <a:gd name="connsiteY939" fmla="*/ 3262886 h 6078415"/>
                <a:gd name="connsiteX940" fmla="*/ 11115664 w 11685910"/>
                <a:gd name="connsiteY940" fmla="*/ 3236534 h 6078415"/>
                <a:gd name="connsiteX941" fmla="*/ 11115664 w 11685910"/>
                <a:gd name="connsiteY941" fmla="*/ 3218037 h 6078415"/>
                <a:gd name="connsiteX942" fmla="*/ 11135428 w 11685910"/>
                <a:gd name="connsiteY942" fmla="*/ 3191177 h 6078415"/>
                <a:gd name="connsiteX943" fmla="*/ 11135428 w 11685910"/>
                <a:gd name="connsiteY943" fmla="*/ 3154817 h 6078415"/>
                <a:gd name="connsiteX944" fmla="*/ 11180531 w 11685910"/>
                <a:gd name="connsiteY944" fmla="*/ 3115795 h 6078415"/>
                <a:gd name="connsiteX945" fmla="*/ 8139350 w 11685910"/>
                <a:gd name="connsiteY945" fmla="*/ 3115795 h 6078415"/>
                <a:gd name="connsiteX946" fmla="*/ 8184199 w 11685910"/>
                <a:gd name="connsiteY946" fmla="*/ 3154817 h 6078415"/>
                <a:gd name="connsiteX947" fmla="*/ 8184199 w 11685910"/>
                <a:gd name="connsiteY947" fmla="*/ 3191177 h 6078415"/>
                <a:gd name="connsiteX948" fmla="*/ 8203837 w 11685910"/>
                <a:gd name="connsiteY948" fmla="*/ 3218037 h 6078415"/>
                <a:gd name="connsiteX949" fmla="*/ 8203837 w 11685910"/>
                <a:gd name="connsiteY949" fmla="*/ 3236534 h 6078415"/>
                <a:gd name="connsiteX950" fmla="*/ 8184199 w 11685910"/>
                <a:gd name="connsiteY950" fmla="*/ 3262886 h 6078415"/>
                <a:gd name="connsiteX951" fmla="*/ 8184199 w 11685910"/>
                <a:gd name="connsiteY951" fmla="*/ 3300261 h 6078415"/>
                <a:gd name="connsiteX952" fmla="*/ 8139350 w 11685910"/>
                <a:gd name="connsiteY952" fmla="*/ 3338775 h 6078415"/>
                <a:gd name="connsiteX953" fmla="*/ 8139350 w 11685910"/>
                <a:gd name="connsiteY953" fmla="*/ 3319264 h 6078415"/>
                <a:gd name="connsiteX954" fmla="*/ 8154997 w 11685910"/>
                <a:gd name="connsiteY954" fmla="*/ 3313183 h 6078415"/>
                <a:gd name="connsiteX955" fmla="*/ 8159621 w 11685910"/>
                <a:gd name="connsiteY955" fmla="*/ 3293926 h 6078415"/>
                <a:gd name="connsiteX956" fmla="*/ 8159621 w 11685910"/>
                <a:gd name="connsiteY956" fmla="*/ 3258579 h 6078415"/>
                <a:gd name="connsiteX957" fmla="*/ 8184580 w 11685910"/>
                <a:gd name="connsiteY957" fmla="*/ 3227285 h 6078415"/>
                <a:gd name="connsiteX958" fmla="*/ 8184580 w 11685910"/>
                <a:gd name="connsiteY958" fmla="*/ 3226905 h 6078415"/>
                <a:gd name="connsiteX959" fmla="*/ 8159621 w 11685910"/>
                <a:gd name="connsiteY959" fmla="*/ 3195358 h 6078415"/>
                <a:gd name="connsiteX960" fmla="*/ 8159621 w 11685910"/>
                <a:gd name="connsiteY960" fmla="*/ 3159631 h 6078415"/>
                <a:gd name="connsiteX961" fmla="*/ 8139350 w 11685910"/>
                <a:gd name="connsiteY961" fmla="*/ 3135433 h 6078415"/>
                <a:gd name="connsiteX962" fmla="*/ 8121866 w 11685910"/>
                <a:gd name="connsiteY962" fmla="*/ 3115795 h 6078415"/>
                <a:gd name="connsiteX963" fmla="*/ 8121866 w 11685910"/>
                <a:gd name="connsiteY963" fmla="*/ 3135433 h 6078415"/>
                <a:gd name="connsiteX964" fmla="*/ 8101722 w 11685910"/>
                <a:gd name="connsiteY964" fmla="*/ 3159631 h 6078415"/>
                <a:gd name="connsiteX965" fmla="*/ 8101722 w 11685910"/>
                <a:gd name="connsiteY965" fmla="*/ 3195358 h 6078415"/>
                <a:gd name="connsiteX966" fmla="*/ 8076510 w 11685910"/>
                <a:gd name="connsiteY966" fmla="*/ 3226905 h 6078415"/>
                <a:gd name="connsiteX967" fmla="*/ 8076510 w 11685910"/>
                <a:gd name="connsiteY967" fmla="*/ 3227285 h 6078415"/>
                <a:gd name="connsiteX968" fmla="*/ 8101722 w 11685910"/>
                <a:gd name="connsiteY968" fmla="*/ 3258579 h 6078415"/>
                <a:gd name="connsiteX969" fmla="*/ 8101722 w 11685910"/>
                <a:gd name="connsiteY969" fmla="*/ 3293926 h 6078415"/>
                <a:gd name="connsiteX970" fmla="*/ 8106220 w 11685910"/>
                <a:gd name="connsiteY970" fmla="*/ 3313246 h 6078415"/>
                <a:gd name="connsiteX971" fmla="*/ 8121866 w 11685910"/>
                <a:gd name="connsiteY971" fmla="*/ 3319264 h 6078415"/>
                <a:gd name="connsiteX972" fmla="*/ 8121866 w 11685910"/>
                <a:gd name="connsiteY972" fmla="*/ 3338775 h 6078415"/>
                <a:gd name="connsiteX973" fmla="*/ 8076764 w 11685910"/>
                <a:gd name="connsiteY973" fmla="*/ 3300261 h 6078415"/>
                <a:gd name="connsiteX974" fmla="*/ 8076764 w 11685910"/>
                <a:gd name="connsiteY974" fmla="*/ 3262886 h 6078415"/>
                <a:gd name="connsiteX975" fmla="*/ 8056999 w 11685910"/>
                <a:gd name="connsiteY975" fmla="*/ 3236534 h 6078415"/>
                <a:gd name="connsiteX976" fmla="*/ 8056999 w 11685910"/>
                <a:gd name="connsiteY976" fmla="*/ 3218037 h 6078415"/>
                <a:gd name="connsiteX977" fmla="*/ 8076764 w 11685910"/>
                <a:gd name="connsiteY977" fmla="*/ 3191177 h 6078415"/>
                <a:gd name="connsiteX978" fmla="*/ 8076764 w 11685910"/>
                <a:gd name="connsiteY978" fmla="*/ 3154817 h 6078415"/>
                <a:gd name="connsiteX979" fmla="*/ 8121866 w 11685910"/>
                <a:gd name="connsiteY979" fmla="*/ 3115795 h 6078415"/>
                <a:gd name="connsiteX980" fmla="*/ 5133348 w 11685910"/>
                <a:gd name="connsiteY980" fmla="*/ 3115795 h 6078415"/>
                <a:gd name="connsiteX981" fmla="*/ 5178199 w 11685910"/>
                <a:gd name="connsiteY981" fmla="*/ 3154817 h 6078415"/>
                <a:gd name="connsiteX982" fmla="*/ 5178199 w 11685910"/>
                <a:gd name="connsiteY982" fmla="*/ 3191177 h 6078415"/>
                <a:gd name="connsiteX983" fmla="*/ 5197835 w 11685910"/>
                <a:gd name="connsiteY983" fmla="*/ 3218037 h 6078415"/>
                <a:gd name="connsiteX984" fmla="*/ 5197835 w 11685910"/>
                <a:gd name="connsiteY984" fmla="*/ 3236534 h 6078415"/>
                <a:gd name="connsiteX985" fmla="*/ 5178199 w 11685910"/>
                <a:gd name="connsiteY985" fmla="*/ 3262886 h 6078415"/>
                <a:gd name="connsiteX986" fmla="*/ 5178199 w 11685910"/>
                <a:gd name="connsiteY986" fmla="*/ 3300261 h 6078415"/>
                <a:gd name="connsiteX987" fmla="*/ 5133348 w 11685910"/>
                <a:gd name="connsiteY987" fmla="*/ 3338775 h 6078415"/>
                <a:gd name="connsiteX988" fmla="*/ 5133348 w 11685910"/>
                <a:gd name="connsiteY988" fmla="*/ 3319264 h 6078415"/>
                <a:gd name="connsiteX989" fmla="*/ 5148996 w 11685910"/>
                <a:gd name="connsiteY989" fmla="*/ 3313183 h 6078415"/>
                <a:gd name="connsiteX990" fmla="*/ 5153619 w 11685910"/>
                <a:gd name="connsiteY990" fmla="*/ 3293926 h 6078415"/>
                <a:gd name="connsiteX991" fmla="*/ 5153619 w 11685910"/>
                <a:gd name="connsiteY991" fmla="*/ 3258579 h 6078415"/>
                <a:gd name="connsiteX992" fmla="*/ 5178578 w 11685910"/>
                <a:gd name="connsiteY992" fmla="*/ 3227285 h 6078415"/>
                <a:gd name="connsiteX993" fmla="*/ 5178578 w 11685910"/>
                <a:gd name="connsiteY993" fmla="*/ 3226905 h 6078415"/>
                <a:gd name="connsiteX994" fmla="*/ 5153619 w 11685910"/>
                <a:gd name="connsiteY994" fmla="*/ 3195358 h 6078415"/>
                <a:gd name="connsiteX995" fmla="*/ 5153619 w 11685910"/>
                <a:gd name="connsiteY995" fmla="*/ 3159631 h 6078415"/>
                <a:gd name="connsiteX996" fmla="*/ 5133348 w 11685910"/>
                <a:gd name="connsiteY996" fmla="*/ 3135433 h 6078415"/>
                <a:gd name="connsiteX997" fmla="*/ 5115864 w 11685910"/>
                <a:gd name="connsiteY997" fmla="*/ 3115795 h 6078415"/>
                <a:gd name="connsiteX998" fmla="*/ 5115864 w 11685910"/>
                <a:gd name="connsiteY998" fmla="*/ 3135433 h 6078415"/>
                <a:gd name="connsiteX999" fmla="*/ 5095720 w 11685910"/>
                <a:gd name="connsiteY999" fmla="*/ 3159631 h 6078415"/>
                <a:gd name="connsiteX1000" fmla="*/ 5095720 w 11685910"/>
                <a:gd name="connsiteY1000" fmla="*/ 3195358 h 6078415"/>
                <a:gd name="connsiteX1001" fmla="*/ 5070509 w 11685910"/>
                <a:gd name="connsiteY1001" fmla="*/ 3226905 h 6078415"/>
                <a:gd name="connsiteX1002" fmla="*/ 5070509 w 11685910"/>
                <a:gd name="connsiteY1002" fmla="*/ 3227285 h 6078415"/>
                <a:gd name="connsiteX1003" fmla="*/ 5095720 w 11685910"/>
                <a:gd name="connsiteY1003" fmla="*/ 3258579 h 6078415"/>
                <a:gd name="connsiteX1004" fmla="*/ 5095720 w 11685910"/>
                <a:gd name="connsiteY1004" fmla="*/ 3293926 h 6078415"/>
                <a:gd name="connsiteX1005" fmla="*/ 5100219 w 11685910"/>
                <a:gd name="connsiteY1005" fmla="*/ 3313246 h 6078415"/>
                <a:gd name="connsiteX1006" fmla="*/ 5115864 w 11685910"/>
                <a:gd name="connsiteY1006" fmla="*/ 3319264 h 6078415"/>
                <a:gd name="connsiteX1007" fmla="*/ 5115864 w 11685910"/>
                <a:gd name="connsiteY1007" fmla="*/ 3338775 h 6078415"/>
                <a:gd name="connsiteX1008" fmla="*/ 5070762 w 11685910"/>
                <a:gd name="connsiteY1008" fmla="*/ 3300261 h 6078415"/>
                <a:gd name="connsiteX1009" fmla="*/ 5070762 w 11685910"/>
                <a:gd name="connsiteY1009" fmla="*/ 3262886 h 6078415"/>
                <a:gd name="connsiteX1010" fmla="*/ 5050997 w 11685910"/>
                <a:gd name="connsiteY1010" fmla="*/ 3236534 h 6078415"/>
                <a:gd name="connsiteX1011" fmla="*/ 5050997 w 11685910"/>
                <a:gd name="connsiteY1011" fmla="*/ 3218037 h 6078415"/>
                <a:gd name="connsiteX1012" fmla="*/ 5070762 w 11685910"/>
                <a:gd name="connsiteY1012" fmla="*/ 3191177 h 6078415"/>
                <a:gd name="connsiteX1013" fmla="*/ 5070762 w 11685910"/>
                <a:gd name="connsiteY1013" fmla="*/ 3154817 h 6078415"/>
                <a:gd name="connsiteX1014" fmla="*/ 5115864 w 11685910"/>
                <a:gd name="connsiteY1014" fmla="*/ 3115795 h 6078415"/>
                <a:gd name="connsiteX1015" fmla="*/ 2074662 w 11685910"/>
                <a:gd name="connsiteY1015" fmla="*/ 3115795 h 6078415"/>
                <a:gd name="connsiteX1016" fmla="*/ 2119511 w 11685910"/>
                <a:gd name="connsiteY1016" fmla="*/ 3154817 h 6078415"/>
                <a:gd name="connsiteX1017" fmla="*/ 2119511 w 11685910"/>
                <a:gd name="connsiteY1017" fmla="*/ 3191177 h 6078415"/>
                <a:gd name="connsiteX1018" fmla="*/ 2139149 w 11685910"/>
                <a:gd name="connsiteY1018" fmla="*/ 3218037 h 6078415"/>
                <a:gd name="connsiteX1019" fmla="*/ 2139149 w 11685910"/>
                <a:gd name="connsiteY1019" fmla="*/ 3236534 h 6078415"/>
                <a:gd name="connsiteX1020" fmla="*/ 2119511 w 11685910"/>
                <a:gd name="connsiteY1020" fmla="*/ 3262886 h 6078415"/>
                <a:gd name="connsiteX1021" fmla="*/ 2119511 w 11685910"/>
                <a:gd name="connsiteY1021" fmla="*/ 3300261 h 6078415"/>
                <a:gd name="connsiteX1022" fmla="*/ 2074662 w 11685910"/>
                <a:gd name="connsiteY1022" fmla="*/ 3338775 h 6078415"/>
                <a:gd name="connsiteX1023" fmla="*/ 2074662 w 11685910"/>
                <a:gd name="connsiteY1023" fmla="*/ 3319264 h 6078415"/>
                <a:gd name="connsiteX1024" fmla="*/ 2090309 w 11685910"/>
                <a:gd name="connsiteY1024" fmla="*/ 3313183 h 6078415"/>
                <a:gd name="connsiteX1025" fmla="*/ 2094933 w 11685910"/>
                <a:gd name="connsiteY1025" fmla="*/ 3293926 h 6078415"/>
                <a:gd name="connsiteX1026" fmla="*/ 2094933 w 11685910"/>
                <a:gd name="connsiteY1026" fmla="*/ 3258579 h 6078415"/>
                <a:gd name="connsiteX1027" fmla="*/ 2119891 w 11685910"/>
                <a:gd name="connsiteY1027" fmla="*/ 3227285 h 6078415"/>
                <a:gd name="connsiteX1028" fmla="*/ 2119891 w 11685910"/>
                <a:gd name="connsiteY1028" fmla="*/ 3226905 h 6078415"/>
                <a:gd name="connsiteX1029" fmla="*/ 2094933 w 11685910"/>
                <a:gd name="connsiteY1029" fmla="*/ 3195358 h 6078415"/>
                <a:gd name="connsiteX1030" fmla="*/ 2094933 w 11685910"/>
                <a:gd name="connsiteY1030" fmla="*/ 3159631 h 6078415"/>
                <a:gd name="connsiteX1031" fmla="*/ 2074662 w 11685910"/>
                <a:gd name="connsiteY1031" fmla="*/ 3135433 h 6078415"/>
                <a:gd name="connsiteX1032" fmla="*/ 2057178 w 11685910"/>
                <a:gd name="connsiteY1032" fmla="*/ 3115795 h 6078415"/>
                <a:gd name="connsiteX1033" fmla="*/ 2057178 w 11685910"/>
                <a:gd name="connsiteY1033" fmla="*/ 3135433 h 6078415"/>
                <a:gd name="connsiteX1034" fmla="*/ 2037034 w 11685910"/>
                <a:gd name="connsiteY1034" fmla="*/ 3159631 h 6078415"/>
                <a:gd name="connsiteX1035" fmla="*/ 2037034 w 11685910"/>
                <a:gd name="connsiteY1035" fmla="*/ 3195358 h 6078415"/>
                <a:gd name="connsiteX1036" fmla="*/ 2011822 w 11685910"/>
                <a:gd name="connsiteY1036" fmla="*/ 3226905 h 6078415"/>
                <a:gd name="connsiteX1037" fmla="*/ 2011822 w 11685910"/>
                <a:gd name="connsiteY1037" fmla="*/ 3227285 h 6078415"/>
                <a:gd name="connsiteX1038" fmla="*/ 2037034 w 11685910"/>
                <a:gd name="connsiteY1038" fmla="*/ 3258579 h 6078415"/>
                <a:gd name="connsiteX1039" fmla="*/ 2037034 w 11685910"/>
                <a:gd name="connsiteY1039" fmla="*/ 3293926 h 6078415"/>
                <a:gd name="connsiteX1040" fmla="*/ 2041532 w 11685910"/>
                <a:gd name="connsiteY1040" fmla="*/ 3313246 h 6078415"/>
                <a:gd name="connsiteX1041" fmla="*/ 2057178 w 11685910"/>
                <a:gd name="connsiteY1041" fmla="*/ 3319264 h 6078415"/>
                <a:gd name="connsiteX1042" fmla="*/ 2057178 w 11685910"/>
                <a:gd name="connsiteY1042" fmla="*/ 3338775 h 6078415"/>
                <a:gd name="connsiteX1043" fmla="*/ 2012076 w 11685910"/>
                <a:gd name="connsiteY1043" fmla="*/ 3300261 h 6078415"/>
                <a:gd name="connsiteX1044" fmla="*/ 2012076 w 11685910"/>
                <a:gd name="connsiteY1044" fmla="*/ 3262886 h 6078415"/>
                <a:gd name="connsiteX1045" fmla="*/ 1992310 w 11685910"/>
                <a:gd name="connsiteY1045" fmla="*/ 3236534 h 6078415"/>
                <a:gd name="connsiteX1046" fmla="*/ 1992310 w 11685910"/>
                <a:gd name="connsiteY1046" fmla="*/ 3218037 h 6078415"/>
                <a:gd name="connsiteX1047" fmla="*/ 2012076 w 11685910"/>
                <a:gd name="connsiteY1047" fmla="*/ 3191177 h 6078415"/>
                <a:gd name="connsiteX1048" fmla="*/ 2012076 w 11685910"/>
                <a:gd name="connsiteY1048" fmla="*/ 3154817 h 6078415"/>
                <a:gd name="connsiteX1049" fmla="*/ 2057178 w 11685910"/>
                <a:gd name="connsiteY1049" fmla="*/ 3115795 h 6078415"/>
                <a:gd name="connsiteX1050" fmla="*/ 6225654 w 11685910"/>
                <a:gd name="connsiteY1050" fmla="*/ 2984201 h 6078415"/>
                <a:gd name="connsiteX1051" fmla="*/ 6202463 w 11685910"/>
                <a:gd name="connsiteY1051" fmla="*/ 3023448 h 6078415"/>
                <a:gd name="connsiteX1052" fmla="*/ 6218875 w 11685910"/>
                <a:gd name="connsiteY1052" fmla="*/ 3026838 h 6078415"/>
                <a:gd name="connsiteX1053" fmla="*/ 6235287 w 11685910"/>
                <a:gd name="connsiteY1053" fmla="*/ 3023270 h 6078415"/>
                <a:gd name="connsiteX1054" fmla="*/ 6232344 w 11685910"/>
                <a:gd name="connsiteY1054" fmla="*/ 3013815 h 6078415"/>
                <a:gd name="connsiteX1055" fmla="*/ 6233325 w 11685910"/>
                <a:gd name="connsiteY1055" fmla="*/ 3000614 h 6078415"/>
                <a:gd name="connsiteX1056" fmla="*/ 6225654 w 11685910"/>
                <a:gd name="connsiteY1056" fmla="*/ 2984201 h 6078415"/>
                <a:gd name="connsiteX1057" fmla="*/ 6065633 w 11685910"/>
                <a:gd name="connsiteY1057" fmla="*/ 2967789 h 6078415"/>
                <a:gd name="connsiteX1058" fmla="*/ 6051986 w 11685910"/>
                <a:gd name="connsiteY1058" fmla="*/ 2988037 h 6078415"/>
                <a:gd name="connsiteX1059" fmla="*/ 6073482 w 11685910"/>
                <a:gd name="connsiteY1059" fmla="*/ 3009623 h 6078415"/>
                <a:gd name="connsiteX1060" fmla="*/ 6082402 w 11685910"/>
                <a:gd name="connsiteY1060" fmla="*/ 3002398 h 6078415"/>
                <a:gd name="connsiteX1061" fmla="*/ 6065633 w 11685910"/>
                <a:gd name="connsiteY1061" fmla="*/ 2967789 h 6078415"/>
                <a:gd name="connsiteX1062" fmla="*/ 6049245 w 11685910"/>
                <a:gd name="connsiteY1062" fmla="*/ 2899498 h 6078415"/>
                <a:gd name="connsiteX1063" fmla="*/ 6049044 w 11685910"/>
                <a:gd name="connsiteY1063" fmla="*/ 2901015 h 6078415"/>
                <a:gd name="connsiteX1064" fmla="*/ 6048978 w 11685910"/>
                <a:gd name="connsiteY1064" fmla="*/ 2899755 h 6078415"/>
                <a:gd name="connsiteX1065" fmla="*/ 6251165 w 11685910"/>
                <a:gd name="connsiteY1065" fmla="*/ 2872303 h 6078415"/>
                <a:gd name="connsiteX1066" fmla="*/ 6247173 w 11685910"/>
                <a:gd name="connsiteY1066" fmla="*/ 2875157 h 6078415"/>
                <a:gd name="connsiteX1067" fmla="*/ 6254095 w 11685910"/>
                <a:gd name="connsiteY1067" fmla="*/ 2883528 h 6078415"/>
                <a:gd name="connsiteX1068" fmla="*/ 6260976 w 11685910"/>
                <a:gd name="connsiteY1068" fmla="*/ 2881802 h 6078415"/>
                <a:gd name="connsiteX1069" fmla="*/ 6234752 w 11685910"/>
                <a:gd name="connsiteY1069" fmla="*/ 2900980 h 6078415"/>
                <a:gd name="connsiteX1070" fmla="*/ 6239769 w 11685910"/>
                <a:gd name="connsiteY1070" fmla="*/ 2893357 h 6078415"/>
                <a:gd name="connsiteX1071" fmla="*/ 6231987 w 11685910"/>
                <a:gd name="connsiteY1071" fmla="*/ 2886396 h 6078415"/>
                <a:gd name="connsiteX1072" fmla="*/ 6227170 w 11685910"/>
                <a:gd name="connsiteY1072" fmla="*/ 2890455 h 6078415"/>
                <a:gd name="connsiteX1073" fmla="*/ 6251165 w 11685910"/>
                <a:gd name="connsiteY1073" fmla="*/ 2872303 h 6078415"/>
                <a:gd name="connsiteX1074" fmla="*/ 6224596 w 11685910"/>
                <a:gd name="connsiteY1074" fmla="*/ 2855891 h 6078415"/>
                <a:gd name="connsiteX1075" fmla="*/ 6226880 w 11685910"/>
                <a:gd name="connsiteY1075" fmla="*/ 2855928 h 6078415"/>
                <a:gd name="connsiteX1076" fmla="*/ 6235020 w 11685910"/>
                <a:gd name="connsiteY1076" fmla="*/ 2857184 h 6078415"/>
                <a:gd name="connsiteX1077" fmla="*/ 6216110 w 11685910"/>
                <a:gd name="connsiteY1077" fmla="*/ 2876094 h 6078415"/>
                <a:gd name="connsiteX1078" fmla="*/ 6224596 w 11685910"/>
                <a:gd name="connsiteY1078" fmla="*/ 2855891 h 6078415"/>
                <a:gd name="connsiteX1079" fmla="*/ 6327199 w 11685910"/>
                <a:gd name="connsiteY1079" fmla="*/ 2833814 h 6078415"/>
                <a:gd name="connsiteX1080" fmla="*/ 6319002 w 11685910"/>
                <a:gd name="connsiteY1080" fmla="*/ 2847735 h 6078415"/>
                <a:gd name="connsiteX1081" fmla="*/ 6306826 w 11685910"/>
                <a:gd name="connsiteY1081" fmla="*/ 2849726 h 6078415"/>
                <a:gd name="connsiteX1082" fmla="*/ 6317967 w 11685910"/>
                <a:gd name="connsiteY1082" fmla="*/ 2843097 h 6078415"/>
                <a:gd name="connsiteX1083" fmla="*/ 6327199 w 11685910"/>
                <a:gd name="connsiteY1083" fmla="*/ 2833814 h 6078415"/>
                <a:gd name="connsiteX1084" fmla="*/ 6223262 w 11685910"/>
                <a:gd name="connsiteY1084" fmla="*/ 2814809 h 6078415"/>
                <a:gd name="connsiteX1085" fmla="*/ 6229125 w 11685910"/>
                <a:gd name="connsiteY1085" fmla="*/ 2815323 h 6078415"/>
                <a:gd name="connsiteX1086" fmla="*/ 6272110 w 11685910"/>
                <a:gd name="connsiteY1086" fmla="*/ 2844543 h 6078415"/>
                <a:gd name="connsiteX1087" fmla="*/ 6289981 w 11685910"/>
                <a:gd name="connsiteY1087" fmla="*/ 2865553 h 6078415"/>
                <a:gd name="connsiteX1088" fmla="*/ 6286841 w 11685910"/>
                <a:gd name="connsiteY1088" fmla="*/ 2873280 h 6078415"/>
                <a:gd name="connsiteX1089" fmla="*/ 6299867 w 11685910"/>
                <a:gd name="connsiteY1089" fmla="*/ 2883317 h 6078415"/>
                <a:gd name="connsiteX1090" fmla="*/ 6298191 w 11685910"/>
                <a:gd name="connsiteY1090" fmla="*/ 2846234 h 6078415"/>
                <a:gd name="connsiteX1091" fmla="*/ 6313405 w 11685910"/>
                <a:gd name="connsiteY1091" fmla="*/ 2836574 h 6078415"/>
                <a:gd name="connsiteX1092" fmla="*/ 6325238 w 11685910"/>
                <a:gd name="connsiteY1092" fmla="*/ 2825466 h 6078415"/>
                <a:gd name="connsiteX1093" fmla="*/ 6347938 w 11685910"/>
                <a:gd name="connsiteY1093" fmla="*/ 2887528 h 6078415"/>
                <a:gd name="connsiteX1094" fmla="*/ 6310507 w 11685910"/>
                <a:gd name="connsiteY1094" fmla="*/ 2955387 h 6078415"/>
                <a:gd name="connsiteX1095" fmla="*/ 6278696 w 11685910"/>
                <a:gd name="connsiteY1095" fmla="*/ 2956100 h 6078415"/>
                <a:gd name="connsiteX1096" fmla="*/ 6274716 w 11685910"/>
                <a:gd name="connsiteY1096" fmla="*/ 2954714 h 6078415"/>
                <a:gd name="connsiteX1097" fmla="*/ 6274239 w 11685910"/>
                <a:gd name="connsiteY1097" fmla="*/ 2956975 h 6078415"/>
                <a:gd name="connsiteX1098" fmla="*/ 6249652 w 11685910"/>
                <a:gd name="connsiteY1098" fmla="*/ 2976879 h 6078415"/>
                <a:gd name="connsiteX1099" fmla="*/ 6228159 w 11685910"/>
                <a:gd name="connsiteY1099" fmla="*/ 2967220 h 6078415"/>
                <a:gd name="connsiteX1100" fmla="*/ 6227193 w 11685910"/>
                <a:gd name="connsiteY1100" fmla="*/ 2979777 h 6078415"/>
                <a:gd name="connsiteX1101" fmla="*/ 6236853 w 11685910"/>
                <a:gd name="connsiteY1101" fmla="*/ 3000303 h 6078415"/>
                <a:gd name="connsiteX1102" fmla="*/ 6236370 w 11685910"/>
                <a:gd name="connsiteY1102" fmla="*/ 3011412 h 6078415"/>
                <a:gd name="connsiteX1103" fmla="*/ 6238543 w 11685910"/>
                <a:gd name="connsiteY1103" fmla="*/ 3025177 h 6078415"/>
                <a:gd name="connsiteX1104" fmla="*/ 6222605 w 11685910"/>
                <a:gd name="connsiteY1104" fmla="*/ 3030973 h 6078415"/>
                <a:gd name="connsiteX1105" fmla="*/ 6197731 w 11685910"/>
                <a:gd name="connsiteY1105" fmla="*/ 3025660 h 6078415"/>
                <a:gd name="connsiteX1106" fmla="*/ 6196972 w 11685910"/>
                <a:gd name="connsiteY1106" fmla="*/ 3021206 h 6078415"/>
                <a:gd name="connsiteX1107" fmla="*/ 6196932 w 11685910"/>
                <a:gd name="connsiteY1107" fmla="*/ 3019861 h 6078415"/>
                <a:gd name="connsiteX1108" fmla="*/ 6193193 w 11685910"/>
                <a:gd name="connsiteY1108" fmla="*/ 3023405 h 6078415"/>
                <a:gd name="connsiteX1109" fmla="*/ 6169719 w 11685910"/>
                <a:gd name="connsiteY1109" fmla="*/ 3037734 h 6078415"/>
                <a:gd name="connsiteX1110" fmla="*/ 6146294 w 11685910"/>
                <a:gd name="connsiteY1110" fmla="*/ 3009480 h 6078415"/>
                <a:gd name="connsiteX1111" fmla="*/ 6157161 w 11685910"/>
                <a:gd name="connsiteY1111" fmla="*/ 2997647 h 6078415"/>
                <a:gd name="connsiteX1112" fmla="*/ 6132288 w 11685910"/>
                <a:gd name="connsiteY1112" fmla="*/ 2995232 h 6078415"/>
                <a:gd name="connsiteX1113" fmla="*/ 6131322 w 11685910"/>
                <a:gd name="connsiteY1113" fmla="*/ 3006099 h 6078415"/>
                <a:gd name="connsiteX1114" fmla="*/ 6125043 w 11685910"/>
                <a:gd name="connsiteY1114" fmla="*/ 3016725 h 6078415"/>
                <a:gd name="connsiteX1115" fmla="*/ 6119972 w 11685910"/>
                <a:gd name="connsiteY1115" fmla="*/ 3035802 h 6078415"/>
                <a:gd name="connsiteX1116" fmla="*/ 6079884 w 11685910"/>
                <a:gd name="connsiteY1116" fmla="*/ 3027350 h 6078415"/>
                <a:gd name="connsiteX1117" fmla="*/ 6080850 w 11685910"/>
                <a:gd name="connsiteY1117" fmla="*/ 3013344 h 6078415"/>
                <a:gd name="connsiteX1118" fmla="*/ 6071191 w 11685910"/>
                <a:gd name="connsiteY1118" fmla="*/ 3015276 h 6078415"/>
                <a:gd name="connsiteX1119" fmla="*/ 6046076 w 11685910"/>
                <a:gd name="connsiteY1119" fmla="*/ 2989436 h 6078415"/>
                <a:gd name="connsiteX1120" fmla="*/ 6061290 w 11685910"/>
                <a:gd name="connsiteY1120" fmla="*/ 2962873 h 6078415"/>
                <a:gd name="connsiteX1121" fmla="*/ 6062739 w 11685910"/>
                <a:gd name="connsiteY1121" fmla="*/ 2936309 h 6078415"/>
                <a:gd name="connsiteX1122" fmla="*/ 6047283 w 11685910"/>
                <a:gd name="connsiteY1122" fmla="*/ 2914333 h 6078415"/>
                <a:gd name="connsiteX1123" fmla="*/ 6049044 w 11685910"/>
                <a:gd name="connsiteY1123" fmla="*/ 2901015 h 6078415"/>
                <a:gd name="connsiteX1124" fmla="*/ 6049503 w 11685910"/>
                <a:gd name="connsiteY1124" fmla="*/ 2909735 h 6078415"/>
                <a:gd name="connsiteX1125" fmla="*/ 6050326 w 11685910"/>
                <a:gd name="connsiteY1125" fmla="*/ 2910131 h 6078415"/>
                <a:gd name="connsiteX1126" fmla="*/ 6050449 w 11685910"/>
                <a:gd name="connsiteY1126" fmla="*/ 2911305 h 6078415"/>
                <a:gd name="connsiteX1127" fmla="*/ 6070004 w 11685910"/>
                <a:gd name="connsiteY1127" fmla="*/ 2925152 h 6078415"/>
                <a:gd name="connsiteX1128" fmla="*/ 6088227 w 11685910"/>
                <a:gd name="connsiteY1128" fmla="*/ 2995782 h 6078415"/>
                <a:gd name="connsiteX1129" fmla="*/ 6089189 w 11685910"/>
                <a:gd name="connsiteY1129" fmla="*/ 2997632 h 6078415"/>
                <a:gd name="connsiteX1130" fmla="*/ 6089155 w 11685910"/>
                <a:gd name="connsiteY1130" fmla="*/ 2998499 h 6078415"/>
                <a:gd name="connsiteX1131" fmla="*/ 6087754 w 11685910"/>
                <a:gd name="connsiteY1131" fmla="*/ 3011942 h 6078415"/>
                <a:gd name="connsiteX1132" fmla="*/ 6084454 w 11685910"/>
                <a:gd name="connsiteY1132" fmla="*/ 3023270 h 6078415"/>
                <a:gd name="connsiteX1133" fmla="*/ 6118617 w 11685910"/>
                <a:gd name="connsiteY1133" fmla="*/ 3029871 h 6078415"/>
                <a:gd name="connsiteX1134" fmla="*/ 6119776 w 11685910"/>
                <a:gd name="connsiteY1134" fmla="*/ 3018988 h 6078415"/>
                <a:gd name="connsiteX1135" fmla="*/ 6126377 w 11685910"/>
                <a:gd name="connsiteY1135" fmla="*/ 3004806 h 6078415"/>
                <a:gd name="connsiteX1136" fmla="*/ 6126656 w 11685910"/>
                <a:gd name="connsiteY1136" fmla="*/ 2989698 h 6078415"/>
                <a:gd name="connsiteX1137" fmla="*/ 6126448 w 11685910"/>
                <a:gd name="connsiteY1137" fmla="*/ 2984019 h 6078415"/>
                <a:gd name="connsiteX1138" fmla="*/ 6128036 w 11685910"/>
                <a:gd name="connsiteY1138" fmla="*/ 2985869 h 6078415"/>
                <a:gd name="connsiteX1139" fmla="*/ 6167408 w 11685910"/>
                <a:gd name="connsiteY1139" fmla="*/ 2983666 h 6078415"/>
                <a:gd name="connsiteX1140" fmla="*/ 6168300 w 11685910"/>
                <a:gd name="connsiteY1140" fmla="*/ 2997403 h 6078415"/>
                <a:gd name="connsiteX1141" fmla="*/ 6151263 w 11685910"/>
                <a:gd name="connsiteY1141" fmla="*/ 3010069 h 6078415"/>
                <a:gd name="connsiteX1142" fmla="*/ 6170173 w 11685910"/>
                <a:gd name="connsiteY1142" fmla="*/ 3032992 h 6078415"/>
                <a:gd name="connsiteX1143" fmla="*/ 6205228 w 11685910"/>
                <a:gd name="connsiteY1143" fmla="*/ 3005252 h 6078415"/>
                <a:gd name="connsiteX1144" fmla="*/ 6224316 w 11685910"/>
                <a:gd name="connsiteY1144" fmla="*/ 2963418 h 6078415"/>
                <a:gd name="connsiteX1145" fmla="*/ 6207453 w 11685910"/>
                <a:gd name="connsiteY1145" fmla="*/ 2945155 h 6078415"/>
                <a:gd name="connsiteX1146" fmla="*/ 6207259 w 11685910"/>
                <a:gd name="connsiteY1146" fmla="*/ 2944647 h 6078415"/>
                <a:gd name="connsiteX1147" fmla="*/ 6209877 w 11685910"/>
                <a:gd name="connsiteY1147" fmla="*/ 2946295 h 6078415"/>
                <a:gd name="connsiteX1148" fmla="*/ 6229044 w 11685910"/>
                <a:gd name="connsiteY1148" fmla="*/ 2956907 h 6078415"/>
                <a:gd name="connsiteX1149" fmla="*/ 6250362 w 11685910"/>
                <a:gd name="connsiteY1149" fmla="*/ 2971357 h 6078415"/>
                <a:gd name="connsiteX1150" fmla="*/ 6271323 w 11685910"/>
                <a:gd name="connsiteY1150" fmla="*/ 2952982 h 6078415"/>
                <a:gd name="connsiteX1151" fmla="*/ 6268023 w 11685910"/>
                <a:gd name="connsiteY1151" fmla="*/ 2952715 h 6078415"/>
                <a:gd name="connsiteX1152" fmla="*/ 6240230 w 11685910"/>
                <a:gd name="connsiteY1152" fmla="*/ 2930567 h 6078415"/>
                <a:gd name="connsiteX1153" fmla="*/ 6241155 w 11685910"/>
                <a:gd name="connsiteY1153" fmla="*/ 2925791 h 6078415"/>
                <a:gd name="connsiteX1154" fmla="*/ 6242907 w 11685910"/>
                <a:gd name="connsiteY1154" fmla="*/ 2927701 h 6078415"/>
                <a:gd name="connsiteX1155" fmla="*/ 6314674 w 11685910"/>
                <a:gd name="connsiteY1155" fmla="*/ 2945846 h 6078415"/>
                <a:gd name="connsiteX1156" fmla="*/ 6326537 w 11685910"/>
                <a:gd name="connsiteY1156" fmla="*/ 2828730 h 6078415"/>
                <a:gd name="connsiteX1157" fmla="*/ 6317260 w 11685910"/>
                <a:gd name="connsiteY1157" fmla="*/ 2839434 h 6078415"/>
                <a:gd name="connsiteX1158" fmla="*/ 6303702 w 11685910"/>
                <a:gd name="connsiteY1158" fmla="*/ 2846302 h 6078415"/>
                <a:gd name="connsiteX1159" fmla="*/ 6295225 w 11685910"/>
                <a:gd name="connsiteY1159" fmla="*/ 2907097 h 6078415"/>
                <a:gd name="connsiteX1160" fmla="*/ 6293745 w 11685910"/>
                <a:gd name="connsiteY1160" fmla="*/ 2908265 h 6078415"/>
                <a:gd name="connsiteX1161" fmla="*/ 6294056 w 11685910"/>
                <a:gd name="connsiteY1161" fmla="*/ 2907664 h 6078415"/>
                <a:gd name="connsiteX1162" fmla="*/ 6297280 w 11685910"/>
                <a:gd name="connsiteY1162" fmla="*/ 2888582 h 6078415"/>
                <a:gd name="connsiteX1163" fmla="*/ 6284703 w 11685910"/>
                <a:gd name="connsiteY1163" fmla="*/ 2890990 h 6078415"/>
                <a:gd name="connsiteX1164" fmla="*/ 6286041 w 11685910"/>
                <a:gd name="connsiteY1164" fmla="*/ 2880554 h 6078415"/>
                <a:gd name="connsiteX1165" fmla="*/ 6274267 w 11685910"/>
                <a:gd name="connsiteY1165" fmla="*/ 2880464 h 6078415"/>
                <a:gd name="connsiteX1166" fmla="*/ 6277656 w 11685910"/>
                <a:gd name="connsiteY1166" fmla="*/ 2872704 h 6078415"/>
                <a:gd name="connsiteX1167" fmla="*/ 6270849 w 11685910"/>
                <a:gd name="connsiteY1167" fmla="*/ 2869560 h 6078415"/>
                <a:gd name="connsiteX1168" fmla="*/ 6268963 w 11685910"/>
                <a:gd name="connsiteY1168" fmla="*/ 2869573 h 6078415"/>
                <a:gd name="connsiteX1169" fmla="*/ 6270514 w 11685910"/>
                <a:gd name="connsiteY1169" fmla="*/ 2869016 h 6078415"/>
                <a:gd name="connsiteX1170" fmla="*/ 6272840 w 11685910"/>
                <a:gd name="connsiteY1170" fmla="*/ 2868334 h 6078415"/>
                <a:gd name="connsiteX1171" fmla="*/ 6284079 w 11685910"/>
                <a:gd name="connsiteY1171" fmla="*/ 2865747 h 6078415"/>
                <a:gd name="connsiteX1172" fmla="*/ 6272661 w 11685910"/>
                <a:gd name="connsiteY1172" fmla="*/ 2851208 h 6078415"/>
                <a:gd name="connsiteX1173" fmla="*/ 6260762 w 11685910"/>
                <a:gd name="connsiteY1173" fmla="*/ 2849748 h 6078415"/>
                <a:gd name="connsiteX1174" fmla="*/ 6259663 w 11685910"/>
                <a:gd name="connsiteY1174" fmla="*/ 2849690 h 6078415"/>
                <a:gd name="connsiteX1175" fmla="*/ 6259672 w 11685910"/>
                <a:gd name="connsiteY1175" fmla="*/ 2849666 h 6078415"/>
                <a:gd name="connsiteX1176" fmla="*/ 6267399 w 11685910"/>
                <a:gd name="connsiteY1176" fmla="*/ 2847283 h 6078415"/>
                <a:gd name="connsiteX1177" fmla="*/ 6225030 w 11685910"/>
                <a:gd name="connsiteY1177" fmla="*/ 2821327 h 6078415"/>
                <a:gd name="connsiteX1178" fmla="*/ 6174900 w 11685910"/>
                <a:gd name="connsiteY1178" fmla="*/ 2844786 h 6078415"/>
                <a:gd name="connsiteX1179" fmla="*/ 6189037 w 11685910"/>
                <a:gd name="connsiteY1179" fmla="*/ 2845110 h 6078415"/>
                <a:gd name="connsiteX1180" fmla="*/ 6189610 w 11685910"/>
                <a:gd name="connsiteY1180" fmla="*/ 2845193 h 6078415"/>
                <a:gd name="connsiteX1181" fmla="*/ 6187216 w 11685910"/>
                <a:gd name="connsiteY1181" fmla="*/ 2845844 h 6078415"/>
                <a:gd name="connsiteX1182" fmla="*/ 6162783 w 11685910"/>
                <a:gd name="connsiteY1182" fmla="*/ 2850926 h 6078415"/>
                <a:gd name="connsiteX1183" fmla="*/ 6116620 w 11685910"/>
                <a:gd name="connsiteY1183" fmla="*/ 2910805 h 6078415"/>
                <a:gd name="connsiteX1184" fmla="*/ 6130507 w 11685910"/>
                <a:gd name="connsiteY1184" fmla="*/ 2932769 h 6078415"/>
                <a:gd name="connsiteX1185" fmla="*/ 6144916 w 11685910"/>
                <a:gd name="connsiteY1185" fmla="*/ 2916343 h 6078415"/>
                <a:gd name="connsiteX1186" fmla="*/ 6128058 w 11685910"/>
                <a:gd name="connsiteY1186" fmla="*/ 2951212 h 6078415"/>
                <a:gd name="connsiteX1187" fmla="*/ 6143880 w 11685910"/>
                <a:gd name="connsiteY1187" fmla="*/ 2960530 h 6078415"/>
                <a:gd name="connsiteX1188" fmla="*/ 6170852 w 11685910"/>
                <a:gd name="connsiteY1188" fmla="*/ 2947177 h 6078415"/>
                <a:gd name="connsiteX1189" fmla="*/ 6188143 w 11685910"/>
                <a:gd name="connsiteY1189" fmla="*/ 2945448 h 6078415"/>
                <a:gd name="connsiteX1190" fmla="*/ 6194339 w 11685910"/>
                <a:gd name="connsiteY1190" fmla="*/ 2876862 h 6078415"/>
                <a:gd name="connsiteX1191" fmla="*/ 6195059 w 11685910"/>
                <a:gd name="connsiteY1191" fmla="*/ 2954238 h 6078415"/>
                <a:gd name="connsiteX1192" fmla="*/ 6192966 w 11685910"/>
                <a:gd name="connsiteY1192" fmla="*/ 2953895 h 6078415"/>
                <a:gd name="connsiteX1193" fmla="*/ 6190315 w 11685910"/>
                <a:gd name="connsiteY1193" fmla="*/ 2953217 h 6078415"/>
                <a:gd name="connsiteX1194" fmla="*/ 6187599 w 11685910"/>
                <a:gd name="connsiteY1194" fmla="*/ 2952793 h 6078415"/>
                <a:gd name="connsiteX1195" fmla="*/ 6186838 w 11685910"/>
                <a:gd name="connsiteY1195" fmla="*/ 2952617 h 6078415"/>
                <a:gd name="connsiteX1196" fmla="*/ 6180113 w 11685910"/>
                <a:gd name="connsiteY1196" fmla="*/ 2952389 h 6078415"/>
                <a:gd name="connsiteX1197" fmla="*/ 6179134 w 11685910"/>
                <a:gd name="connsiteY1197" fmla="*/ 2952617 h 6078415"/>
                <a:gd name="connsiteX1198" fmla="*/ 6178542 w 11685910"/>
                <a:gd name="connsiteY1198" fmla="*/ 2952669 h 6078415"/>
                <a:gd name="connsiteX1199" fmla="*/ 6139578 w 11685910"/>
                <a:gd name="connsiteY1199" fmla="*/ 2968503 h 6078415"/>
                <a:gd name="connsiteX1200" fmla="*/ 6117388 w 11685910"/>
                <a:gd name="connsiteY1200" fmla="*/ 2950903 h 6078415"/>
                <a:gd name="connsiteX1201" fmla="*/ 6116933 w 11685910"/>
                <a:gd name="connsiteY1201" fmla="*/ 2950314 h 6078415"/>
                <a:gd name="connsiteX1202" fmla="*/ 6118644 w 11685910"/>
                <a:gd name="connsiteY1202" fmla="*/ 2947455 h 6078415"/>
                <a:gd name="connsiteX1203" fmla="*/ 6124682 w 11685910"/>
                <a:gd name="connsiteY1203" fmla="*/ 2938711 h 6078415"/>
                <a:gd name="connsiteX1204" fmla="*/ 6107734 w 11685910"/>
                <a:gd name="connsiteY1204" fmla="*/ 2911862 h 6078415"/>
                <a:gd name="connsiteX1205" fmla="*/ 6137794 w 11685910"/>
                <a:gd name="connsiteY1205" fmla="*/ 2866014 h 6078415"/>
                <a:gd name="connsiteX1206" fmla="*/ 6058278 w 11685910"/>
                <a:gd name="connsiteY1206" fmla="*/ 2913077 h 6078415"/>
                <a:gd name="connsiteX1207" fmla="*/ 6054677 w 11685910"/>
                <a:gd name="connsiteY1207" fmla="*/ 2909836 h 6078415"/>
                <a:gd name="connsiteX1208" fmla="*/ 6055730 w 11685910"/>
                <a:gd name="connsiteY1208" fmla="*/ 2909245 h 6078415"/>
                <a:gd name="connsiteX1209" fmla="*/ 6059657 w 11685910"/>
                <a:gd name="connsiteY1209" fmla="*/ 2889473 h 6078415"/>
                <a:gd name="connsiteX1210" fmla="*/ 6049245 w 11685910"/>
                <a:gd name="connsiteY1210" fmla="*/ 2899498 h 6078415"/>
                <a:gd name="connsiteX1211" fmla="*/ 6050151 w 11685910"/>
                <a:gd name="connsiteY1211" fmla="*/ 2892645 h 6078415"/>
                <a:gd name="connsiteX1212" fmla="*/ 6063705 w 11685910"/>
                <a:gd name="connsiteY1212" fmla="*/ 2884147 h 6078415"/>
                <a:gd name="connsiteX1213" fmla="*/ 6063705 w 11685910"/>
                <a:gd name="connsiteY1213" fmla="*/ 2907813 h 6078415"/>
                <a:gd name="connsiteX1214" fmla="*/ 6139532 w 11685910"/>
                <a:gd name="connsiteY1214" fmla="*/ 2859757 h 6078415"/>
                <a:gd name="connsiteX1215" fmla="*/ 6161991 w 11685910"/>
                <a:gd name="connsiteY1215" fmla="*/ 2843336 h 6078415"/>
                <a:gd name="connsiteX1216" fmla="*/ 6167986 w 11685910"/>
                <a:gd name="connsiteY1216" fmla="*/ 2842707 h 6078415"/>
                <a:gd name="connsiteX1217" fmla="*/ 6168681 w 11685910"/>
                <a:gd name="connsiteY1217" fmla="*/ 2841220 h 6078415"/>
                <a:gd name="connsiteX1218" fmla="*/ 6187831 w 11685910"/>
                <a:gd name="connsiteY1218" fmla="*/ 2822809 h 6078415"/>
                <a:gd name="connsiteX1219" fmla="*/ 6223262 w 11685910"/>
                <a:gd name="connsiteY1219" fmla="*/ 2814809 h 6078415"/>
                <a:gd name="connsiteX1220" fmla="*/ 11472799 w 11685910"/>
                <a:gd name="connsiteY1220" fmla="*/ 2814763 h 6078415"/>
                <a:gd name="connsiteX1221" fmla="*/ 11517648 w 11685910"/>
                <a:gd name="connsiteY1221" fmla="*/ 2853785 h 6078415"/>
                <a:gd name="connsiteX1222" fmla="*/ 11517648 w 11685910"/>
                <a:gd name="connsiteY1222" fmla="*/ 2890145 h 6078415"/>
                <a:gd name="connsiteX1223" fmla="*/ 11537286 w 11685910"/>
                <a:gd name="connsiteY1223" fmla="*/ 2917005 h 6078415"/>
                <a:gd name="connsiteX1224" fmla="*/ 11537286 w 11685910"/>
                <a:gd name="connsiteY1224" fmla="*/ 2935502 h 6078415"/>
                <a:gd name="connsiteX1225" fmla="*/ 11517648 w 11685910"/>
                <a:gd name="connsiteY1225" fmla="*/ 2961854 h 6078415"/>
                <a:gd name="connsiteX1226" fmla="*/ 11517648 w 11685910"/>
                <a:gd name="connsiteY1226" fmla="*/ 2999229 h 6078415"/>
                <a:gd name="connsiteX1227" fmla="*/ 11472799 w 11685910"/>
                <a:gd name="connsiteY1227" fmla="*/ 3037743 h 6078415"/>
                <a:gd name="connsiteX1228" fmla="*/ 11472799 w 11685910"/>
                <a:gd name="connsiteY1228" fmla="*/ 3018232 h 6078415"/>
                <a:gd name="connsiteX1229" fmla="*/ 11488446 w 11685910"/>
                <a:gd name="connsiteY1229" fmla="*/ 3012151 h 6078415"/>
                <a:gd name="connsiteX1230" fmla="*/ 11493070 w 11685910"/>
                <a:gd name="connsiteY1230" fmla="*/ 2992894 h 6078415"/>
                <a:gd name="connsiteX1231" fmla="*/ 11493070 w 11685910"/>
                <a:gd name="connsiteY1231" fmla="*/ 2957547 h 6078415"/>
                <a:gd name="connsiteX1232" fmla="*/ 11518029 w 11685910"/>
                <a:gd name="connsiteY1232" fmla="*/ 2926253 h 6078415"/>
                <a:gd name="connsiteX1233" fmla="*/ 11518029 w 11685910"/>
                <a:gd name="connsiteY1233" fmla="*/ 2925873 h 6078415"/>
                <a:gd name="connsiteX1234" fmla="*/ 11493070 w 11685910"/>
                <a:gd name="connsiteY1234" fmla="*/ 2894326 h 6078415"/>
                <a:gd name="connsiteX1235" fmla="*/ 11493070 w 11685910"/>
                <a:gd name="connsiteY1235" fmla="*/ 2858599 h 6078415"/>
                <a:gd name="connsiteX1236" fmla="*/ 11472799 w 11685910"/>
                <a:gd name="connsiteY1236" fmla="*/ 2834401 h 6078415"/>
                <a:gd name="connsiteX1237" fmla="*/ 11455315 w 11685910"/>
                <a:gd name="connsiteY1237" fmla="*/ 2814763 h 6078415"/>
                <a:gd name="connsiteX1238" fmla="*/ 11455315 w 11685910"/>
                <a:gd name="connsiteY1238" fmla="*/ 2834401 h 6078415"/>
                <a:gd name="connsiteX1239" fmla="*/ 11435171 w 11685910"/>
                <a:gd name="connsiteY1239" fmla="*/ 2858599 h 6078415"/>
                <a:gd name="connsiteX1240" fmla="*/ 11435171 w 11685910"/>
                <a:gd name="connsiteY1240" fmla="*/ 2894326 h 6078415"/>
                <a:gd name="connsiteX1241" fmla="*/ 11409959 w 11685910"/>
                <a:gd name="connsiteY1241" fmla="*/ 2925873 h 6078415"/>
                <a:gd name="connsiteX1242" fmla="*/ 11409959 w 11685910"/>
                <a:gd name="connsiteY1242" fmla="*/ 2926253 h 6078415"/>
                <a:gd name="connsiteX1243" fmla="*/ 11435171 w 11685910"/>
                <a:gd name="connsiteY1243" fmla="*/ 2957547 h 6078415"/>
                <a:gd name="connsiteX1244" fmla="*/ 11435171 w 11685910"/>
                <a:gd name="connsiteY1244" fmla="*/ 2992894 h 6078415"/>
                <a:gd name="connsiteX1245" fmla="*/ 11439669 w 11685910"/>
                <a:gd name="connsiteY1245" fmla="*/ 3012214 h 6078415"/>
                <a:gd name="connsiteX1246" fmla="*/ 11455315 w 11685910"/>
                <a:gd name="connsiteY1246" fmla="*/ 3018232 h 6078415"/>
                <a:gd name="connsiteX1247" fmla="*/ 11455315 w 11685910"/>
                <a:gd name="connsiteY1247" fmla="*/ 3037743 h 6078415"/>
                <a:gd name="connsiteX1248" fmla="*/ 11410212 w 11685910"/>
                <a:gd name="connsiteY1248" fmla="*/ 2999229 h 6078415"/>
                <a:gd name="connsiteX1249" fmla="*/ 11410212 w 11685910"/>
                <a:gd name="connsiteY1249" fmla="*/ 2961854 h 6078415"/>
                <a:gd name="connsiteX1250" fmla="*/ 11390448 w 11685910"/>
                <a:gd name="connsiteY1250" fmla="*/ 2935502 h 6078415"/>
                <a:gd name="connsiteX1251" fmla="*/ 11390448 w 11685910"/>
                <a:gd name="connsiteY1251" fmla="*/ 2917005 h 6078415"/>
                <a:gd name="connsiteX1252" fmla="*/ 11410212 w 11685910"/>
                <a:gd name="connsiteY1252" fmla="*/ 2890145 h 6078415"/>
                <a:gd name="connsiteX1253" fmla="*/ 11410212 w 11685910"/>
                <a:gd name="connsiteY1253" fmla="*/ 2853785 h 6078415"/>
                <a:gd name="connsiteX1254" fmla="*/ 11455315 w 11685910"/>
                <a:gd name="connsiteY1254" fmla="*/ 2814763 h 6078415"/>
                <a:gd name="connsiteX1255" fmla="*/ 7307218 w 11685910"/>
                <a:gd name="connsiteY1255" fmla="*/ 2814763 h 6078415"/>
                <a:gd name="connsiteX1256" fmla="*/ 7352068 w 11685910"/>
                <a:gd name="connsiteY1256" fmla="*/ 2853785 h 6078415"/>
                <a:gd name="connsiteX1257" fmla="*/ 7352068 w 11685910"/>
                <a:gd name="connsiteY1257" fmla="*/ 2890145 h 6078415"/>
                <a:gd name="connsiteX1258" fmla="*/ 7371705 w 11685910"/>
                <a:gd name="connsiteY1258" fmla="*/ 2917005 h 6078415"/>
                <a:gd name="connsiteX1259" fmla="*/ 7371705 w 11685910"/>
                <a:gd name="connsiteY1259" fmla="*/ 2935502 h 6078415"/>
                <a:gd name="connsiteX1260" fmla="*/ 7352068 w 11685910"/>
                <a:gd name="connsiteY1260" fmla="*/ 2961854 h 6078415"/>
                <a:gd name="connsiteX1261" fmla="*/ 7352068 w 11685910"/>
                <a:gd name="connsiteY1261" fmla="*/ 2999229 h 6078415"/>
                <a:gd name="connsiteX1262" fmla="*/ 7307218 w 11685910"/>
                <a:gd name="connsiteY1262" fmla="*/ 3037743 h 6078415"/>
                <a:gd name="connsiteX1263" fmla="*/ 7307218 w 11685910"/>
                <a:gd name="connsiteY1263" fmla="*/ 3018232 h 6078415"/>
                <a:gd name="connsiteX1264" fmla="*/ 7322865 w 11685910"/>
                <a:gd name="connsiteY1264" fmla="*/ 3012151 h 6078415"/>
                <a:gd name="connsiteX1265" fmla="*/ 7327489 w 11685910"/>
                <a:gd name="connsiteY1265" fmla="*/ 2992894 h 6078415"/>
                <a:gd name="connsiteX1266" fmla="*/ 7327489 w 11685910"/>
                <a:gd name="connsiteY1266" fmla="*/ 2957547 h 6078415"/>
                <a:gd name="connsiteX1267" fmla="*/ 7352448 w 11685910"/>
                <a:gd name="connsiteY1267" fmla="*/ 2926253 h 6078415"/>
                <a:gd name="connsiteX1268" fmla="*/ 7352448 w 11685910"/>
                <a:gd name="connsiteY1268" fmla="*/ 2925873 h 6078415"/>
                <a:gd name="connsiteX1269" fmla="*/ 7327489 w 11685910"/>
                <a:gd name="connsiteY1269" fmla="*/ 2894326 h 6078415"/>
                <a:gd name="connsiteX1270" fmla="*/ 7327489 w 11685910"/>
                <a:gd name="connsiteY1270" fmla="*/ 2858599 h 6078415"/>
                <a:gd name="connsiteX1271" fmla="*/ 7307218 w 11685910"/>
                <a:gd name="connsiteY1271" fmla="*/ 2834401 h 6078415"/>
                <a:gd name="connsiteX1272" fmla="*/ 7289734 w 11685910"/>
                <a:gd name="connsiteY1272" fmla="*/ 2814763 h 6078415"/>
                <a:gd name="connsiteX1273" fmla="*/ 7289734 w 11685910"/>
                <a:gd name="connsiteY1273" fmla="*/ 2834401 h 6078415"/>
                <a:gd name="connsiteX1274" fmla="*/ 7269590 w 11685910"/>
                <a:gd name="connsiteY1274" fmla="*/ 2858599 h 6078415"/>
                <a:gd name="connsiteX1275" fmla="*/ 7269590 w 11685910"/>
                <a:gd name="connsiteY1275" fmla="*/ 2894326 h 6078415"/>
                <a:gd name="connsiteX1276" fmla="*/ 7244378 w 11685910"/>
                <a:gd name="connsiteY1276" fmla="*/ 2925873 h 6078415"/>
                <a:gd name="connsiteX1277" fmla="*/ 7244378 w 11685910"/>
                <a:gd name="connsiteY1277" fmla="*/ 2926253 h 6078415"/>
                <a:gd name="connsiteX1278" fmla="*/ 7269590 w 11685910"/>
                <a:gd name="connsiteY1278" fmla="*/ 2957547 h 6078415"/>
                <a:gd name="connsiteX1279" fmla="*/ 7269590 w 11685910"/>
                <a:gd name="connsiteY1279" fmla="*/ 2992894 h 6078415"/>
                <a:gd name="connsiteX1280" fmla="*/ 7274088 w 11685910"/>
                <a:gd name="connsiteY1280" fmla="*/ 3012214 h 6078415"/>
                <a:gd name="connsiteX1281" fmla="*/ 7289734 w 11685910"/>
                <a:gd name="connsiteY1281" fmla="*/ 3018232 h 6078415"/>
                <a:gd name="connsiteX1282" fmla="*/ 7289734 w 11685910"/>
                <a:gd name="connsiteY1282" fmla="*/ 3037743 h 6078415"/>
                <a:gd name="connsiteX1283" fmla="*/ 7244632 w 11685910"/>
                <a:gd name="connsiteY1283" fmla="*/ 2999229 h 6078415"/>
                <a:gd name="connsiteX1284" fmla="*/ 7244632 w 11685910"/>
                <a:gd name="connsiteY1284" fmla="*/ 2961854 h 6078415"/>
                <a:gd name="connsiteX1285" fmla="*/ 7224867 w 11685910"/>
                <a:gd name="connsiteY1285" fmla="*/ 2935502 h 6078415"/>
                <a:gd name="connsiteX1286" fmla="*/ 7224867 w 11685910"/>
                <a:gd name="connsiteY1286" fmla="*/ 2917005 h 6078415"/>
                <a:gd name="connsiteX1287" fmla="*/ 7244632 w 11685910"/>
                <a:gd name="connsiteY1287" fmla="*/ 2890145 h 6078415"/>
                <a:gd name="connsiteX1288" fmla="*/ 7244632 w 11685910"/>
                <a:gd name="connsiteY1288" fmla="*/ 2853785 h 6078415"/>
                <a:gd name="connsiteX1289" fmla="*/ 7289734 w 11685910"/>
                <a:gd name="connsiteY1289" fmla="*/ 2814763 h 6078415"/>
                <a:gd name="connsiteX1290" fmla="*/ 1251166 w 11685910"/>
                <a:gd name="connsiteY1290" fmla="*/ 2814763 h 6078415"/>
                <a:gd name="connsiteX1291" fmla="*/ 1296015 w 11685910"/>
                <a:gd name="connsiteY1291" fmla="*/ 2853785 h 6078415"/>
                <a:gd name="connsiteX1292" fmla="*/ 1296015 w 11685910"/>
                <a:gd name="connsiteY1292" fmla="*/ 2890145 h 6078415"/>
                <a:gd name="connsiteX1293" fmla="*/ 1315652 w 11685910"/>
                <a:gd name="connsiteY1293" fmla="*/ 2917005 h 6078415"/>
                <a:gd name="connsiteX1294" fmla="*/ 1315652 w 11685910"/>
                <a:gd name="connsiteY1294" fmla="*/ 2935502 h 6078415"/>
                <a:gd name="connsiteX1295" fmla="*/ 1296015 w 11685910"/>
                <a:gd name="connsiteY1295" fmla="*/ 2961854 h 6078415"/>
                <a:gd name="connsiteX1296" fmla="*/ 1296015 w 11685910"/>
                <a:gd name="connsiteY1296" fmla="*/ 2999229 h 6078415"/>
                <a:gd name="connsiteX1297" fmla="*/ 1251166 w 11685910"/>
                <a:gd name="connsiteY1297" fmla="*/ 3037743 h 6078415"/>
                <a:gd name="connsiteX1298" fmla="*/ 1251166 w 11685910"/>
                <a:gd name="connsiteY1298" fmla="*/ 3018232 h 6078415"/>
                <a:gd name="connsiteX1299" fmla="*/ 1266812 w 11685910"/>
                <a:gd name="connsiteY1299" fmla="*/ 3012151 h 6078415"/>
                <a:gd name="connsiteX1300" fmla="*/ 1271436 w 11685910"/>
                <a:gd name="connsiteY1300" fmla="*/ 2992894 h 6078415"/>
                <a:gd name="connsiteX1301" fmla="*/ 1271436 w 11685910"/>
                <a:gd name="connsiteY1301" fmla="*/ 2957547 h 6078415"/>
                <a:gd name="connsiteX1302" fmla="*/ 1296395 w 11685910"/>
                <a:gd name="connsiteY1302" fmla="*/ 2926253 h 6078415"/>
                <a:gd name="connsiteX1303" fmla="*/ 1296395 w 11685910"/>
                <a:gd name="connsiteY1303" fmla="*/ 2925873 h 6078415"/>
                <a:gd name="connsiteX1304" fmla="*/ 1271436 w 11685910"/>
                <a:gd name="connsiteY1304" fmla="*/ 2894326 h 6078415"/>
                <a:gd name="connsiteX1305" fmla="*/ 1271436 w 11685910"/>
                <a:gd name="connsiteY1305" fmla="*/ 2858599 h 6078415"/>
                <a:gd name="connsiteX1306" fmla="*/ 1251166 w 11685910"/>
                <a:gd name="connsiteY1306" fmla="*/ 2834401 h 6078415"/>
                <a:gd name="connsiteX1307" fmla="*/ 1233681 w 11685910"/>
                <a:gd name="connsiteY1307" fmla="*/ 2814763 h 6078415"/>
                <a:gd name="connsiteX1308" fmla="*/ 1233681 w 11685910"/>
                <a:gd name="connsiteY1308" fmla="*/ 2834401 h 6078415"/>
                <a:gd name="connsiteX1309" fmla="*/ 1213537 w 11685910"/>
                <a:gd name="connsiteY1309" fmla="*/ 2858599 h 6078415"/>
                <a:gd name="connsiteX1310" fmla="*/ 1213537 w 11685910"/>
                <a:gd name="connsiteY1310" fmla="*/ 2894326 h 6078415"/>
                <a:gd name="connsiteX1311" fmla="*/ 1188325 w 11685910"/>
                <a:gd name="connsiteY1311" fmla="*/ 2925873 h 6078415"/>
                <a:gd name="connsiteX1312" fmla="*/ 1188325 w 11685910"/>
                <a:gd name="connsiteY1312" fmla="*/ 2926253 h 6078415"/>
                <a:gd name="connsiteX1313" fmla="*/ 1213537 w 11685910"/>
                <a:gd name="connsiteY1313" fmla="*/ 2957547 h 6078415"/>
                <a:gd name="connsiteX1314" fmla="*/ 1213537 w 11685910"/>
                <a:gd name="connsiteY1314" fmla="*/ 2992894 h 6078415"/>
                <a:gd name="connsiteX1315" fmla="*/ 1218035 w 11685910"/>
                <a:gd name="connsiteY1315" fmla="*/ 3012214 h 6078415"/>
                <a:gd name="connsiteX1316" fmla="*/ 1233681 w 11685910"/>
                <a:gd name="connsiteY1316" fmla="*/ 3018232 h 6078415"/>
                <a:gd name="connsiteX1317" fmla="*/ 1233681 w 11685910"/>
                <a:gd name="connsiteY1317" fmla="*/ 3037743 h 6078415"/>
                <a:gd name="connsiteX1318" fmla="*/ 1188579 w 11685910"/>
                <a:gd name="connsiteY1318" fmla="*/ 2999229 h 6078415"/>
                <a:gd name="connsiteX1319" fmla="*/ 1188579 w 11685910"/>
                <a:gd name="connsiteY1319" fmla="*/ 2961854 h 6078415"/>
                <a:gd name="connsiteX1320" fmla="*/ 1168814 w 11685910"/>
                <a:gd name="connsiteY1320" fmla="*/ 2935502 h 6078415"/>
                <a:gd name="connsiteX1321" fmla="*/ 1168814 w 11685910"/>
                <a:gd name="connsiteY1321" fmla="*/ 2917005 h 6078415"/>
                <a:gd name="connsiteX1322" fmla="*/ 1188579 w 11685910"/>
                <a:gd name="connsiteY1322" fmla="*/ 2890145 h 6078415"/>
                <a:gd name="connsiteX1323" fmla="*/ 1188579 w 11685910"/>
                <a:gd name="connsiteY1323" fmla="*/ 2853785 h 6078415"/>
                <a:gd name="connsiteX1324" fmla="*/ 1233681 w 11685910"/>
                <a:gd name="connsiteY1324" fmla="*/ 2814763 h 6078415"/>
                <a:gd name="connsiteX1325" fmla="*/ 11609322 w 11685910"/>
                <a:gd name="connsiteY1325" fmla="*/ 2486370 h 6078415"/>
                <a:gd name="connsiteX1326" fmla="*/ 11654171 w 11685910"/>
                <a:gd name="connsiteY1326" fmla="*/ 2525391 h 6078415"/>
                <a:gd name="connsiteX1327" fmla="*/ 11654171 w 11685910"/>
                <a:gd name="connsiteY1327" fmla="*/ 2561752 h 6078415"/>
                <a:gd name="connsiteX1328" fmla="*/ 11673809 w 11685910"/>
                <a:gd name="connsiteY1328" fmla="*/ 2588613 h 6078415"/>
                <a:gd name="connsiteX1329" fmla="*/ 11673809 w 11685910"/>
                <a:gd name="connsiteY1329" fmla="*/ 2607108 h 6078415"/>
                <a:gd name="connsiteX1330" fmla="*/ 11654171 w 11685910"/>
                <a:gd name="connsiteY1330" fmla="*/ 2633461 h 6078415"/>
                <a:gd name="connsiteX1331" fmla="*/ 11654171 w 11685910"/>
                <a:gd name="connsiteY1331" fmla="*/ 2670836 h 6078415"/>
                <a:gd name="connsiteX1332" fmla="*/ 11609322 w 11685910"/>
                <a:gd name="connsiteY1332" fmla="*/ 2709350 h 6078415"/>
                <a:gd name="connsiteX1333" fmla="*/ 11609322 w 11685910"/>
                <a:gd name="connsiteY1333" fmla="*/ 2689839 h 6078415"/>
                <a:gd name="connsiteX1334" fmla="*/ 11624969 w 11685910"/>
                <a:gd name="connsiteY1334" fmla="*/ 2683758 h 6078415"/>
                <a:gd name="connsiteX1335" fmla="*/ 11629593 w 11685910"/>
                <a:gd name="connsiteY1335" fmla="*/ 2664501 h 6078415"/>
                <a:gd name="connsiteX1336" fmla="*/ 11629593 w 11685910"/>
                <a:gd name="connsiteY1336" fmla="*/ 2629153 h 6078415"/>
                <a:gd name="connsiteX1337" fmla="*/ 11654552 w 11685910"/>
                <a:gd name="connsiteY1337" fmla="*/ 2597860 h 6078415"/>
                <a:gd name="connsiteX1338" fmla="*/ 11654552 w 11685910"/>
                <a:gd name="connsiteY1338" fmla="*/ 2597480 h 6078415"/>
                <a:gd name="connsiteX1339" fmla="*/ 11629593 w 11685910"/>
                <a:gd name="connsiteY1339" fmla="*/ 2565934 h 6078415"/>
                <a:gd name="connsiteX1340" fmla="*/ 11629593 w 11685910"/>
                <a:gd name="connsiteY1340" fmla="*/ 2530206 h 6078415"/>
                <a:gd name="connsiteX1341" fmla="*/ 11609322 w 11685910"/>
                <a:gd name="connsiteY1341" fmla="*/ 2506008 h 6078415"/>
                <a:gd name="connsiteX1342" fmla="*/ 11591838 w 11685910"/>
                <a:gd name="connsiteY1342" fmla="*/ 2486370 h 6078415"/>
                <a:gd name="connsiteX1343" fmla="*/ 11591838 w 11685910"/>
                <a:gd name="connsiteY1343" fmla="*/ 2506008 h 6078415"/>
                <a:gd name="connsiteX1344" fmla="*/ 11571694 w 11685910"/>
                <a:gd name="connsiteY1344" fmla="*/ 2530206 h 6078415"/>
                <a:gd name="connsiteX1345" fmla="*/ 11571694 w 11685910"/>
                <a:gd name="connsiteY1345" fmla="*/ 2565934 h 6078415"/>
                <a:gd name="connsiteX1346" fmla="*/ 11546482 w 11685910"/>
                <a:gd name="connsiteY1346" fmla="*/ 2597480 h 6078415"/>
                <a:gd name="connsiteX1347" fmla="*/ 11546482 w 11685910"/>
                <a:gd name="connsiteY1347" fmla="*/ 2597860 h 6078415"/>
                <a:gd name="connsiteX1348" fmla="*/ 11571694 w 11685910"/>
                <a:gd name="connsiteY1348" fmla="*/ 2629153 h 6078415"/>
                <a:gd name="connsiteX1349" fmla="*/ 11571694 w 11685910"/>
                <a:gd name="connsiteY1349" fmla="*/ 2664501 h 6078415"/>
                <a:gd name="connsiteX1350" fmla="*/ 11576192 w 11685910"/>
                <a:gd name="connsiteY1350" fmla="*/ 2683821 h 6078415"/>
                <a:gd name="connsiteX1351" fmla="*/ 11591838 w 11685910"/>
                <a:gd name="connsiteY1351" fmla="*/ 2689839 h 6078415"/>
                <a:gd name="connsiteX1352" fmla="*/ 11591838 w 11685910"/>
                <a:gd name="connsiteY1352" fmla="*/ 2709350 h 6078415"/>
                <a:gd name="connsiteX1353" fmla="*/ 11546735 w 11685910"/>
                <a:gd name="connsiteY1353" fmla="*/ 2670836 h 6078415"/>
                <a:gd name="connsiteX1354" fmla="*/ 11546735 w 11685910"/>
                <a:gd name="connsiteY1354" fmla="*/ 2633461 h 6078415"/>
                <a:gd name="connsiteX1355" fmla="*/ 11526971 w 11685910"/>
                <a:gd name="connsiteY1355" fmla="*/ 2607108 h 6078415"/>
                <a:gd name="connsiteX1356" fmla="*/ 11526971 w 11685910"/>
                <a:gd name="connsiteY1356" fmla="*/ 2588613 h 6078415"/>
                <a:gd name="connsiteX1357" fmla="*/ 11546735 w 11685910"/>
                <a:gd name="connsiteY1357" fmla="*/ 2561752 h 6078415"/>
                <a:gd name="connsiteX1358" fmla="*/ 11546735 w 11685910"/>
                <a:gd name="connsiteY1358" fmla="*/ 2525391 h 6078415"/>
                <a:gd name="connsiteX1359" fmla="*/ 11591838 w 11685910"/>
                <a:gd name="connsiteY1359" fmla="*/ 2486370 h 6078415"/>
                <a:gd name="connsiteX1360" fmla="*/ 10935299 w 11685910"/>
                <a:gd name="connsiteY1360" fmla="*/ 2486370 h 6078415"/>
                <a:gd name="connsiteX1361" fmla="*/ 10980148 w 11685910"/>
                <a:gd name="connsiteY1361" fmla="*/ 2525391 h 6078415"/>
                <a:gd name="connsiteX1362" fmla="*/ 10980148 w 11685910"/>
                <a:gd name="connsiteY1362" fmla="*/ 2561752 h 6078415"/>
                <a:gd name="connsiteX1363" fmla="*/ 10999786 w 11685910"/>
                <a:gd name="connsiteY1363" fmla="*/ 2588613 h 6078415"/>
                <a:gd name="connsiteX1364" fmla="*/ 10999786 w 11685910"/>
                <a:gd name="connsiteY1364" fmla="*/ 2607108 h 6078415"/>
                <a:gd name="connsiteX1365" fmla="*/ 10980148 w 11685910"/>
                <a:gd name="connsiteY1365" fmla="*/ 2633461 h 6078415"/>
                <a:gd name="connsiteX1366" fmla="*/ 10980148 w 11685910"/>
                <a:gd name="connsiteY1366" fmla="*/ 2670836 h 6078415"/>
                <a:gd name="connsiteX1367" fmla="*/ 10935299 w 11685910"/>
                <a:gd name="connsiteY1367" fmla="*/ 2709350 h 6078415"/>
                <a:gd name="connsiteX1368" fmla="*/ 10935299 w 11685910"/>
                <a:gd name="connsiteY1368" fmla="*/ 2689839 h 6078415"/>
                <a:gd name="connsiteX1369" fmla="*/ 10950946 w 11685910"/>
                <a:gd name="connsiteY1369" fmla="*/ 2683758 h 6078415"/>
                <a:gd name="connsiteX1370" fmla="*/ 10955570 w 11685910"/>
                <a:gd name="connsiteY1370" fmla="*/ 2664501 h 6078415"/>
                <a:gd name="connsiteX1371" fmla="*/ 10955570 w 11685910"/>
                <a:gd name="connsiteY1371" fmla="*/ 2629153 h 6078415"/>
                <a:gd name="connsiteX1372" fmla="*/ 10980529 w 11685910"/>
                <a:gd name="connsiteY1372" fmla="*/ 2597860 h 6078415"/>
                <a:gd name="connsiteX1373" fmla="*/ 10980529 w 11685910"/>
                <a:gd name="connsiteY1373" fmla="*/ 2597480 h 6078415"/>
                <a:gd name="connsiteX1374" fmla="*/ 10955570 w 11685910"/>
                <a:gd name="connsiteY1374" fmla="*/ 2565934 h 6078415"/>
                <a:gd name="connsiteX1375" fmla="*/ 10955570 w 11685910"/>
                <a:gd name="connsiteY1375" fmla="*/ 2530206 h 6078415"/>
                <a:gd name="connsiteX1376" fmla="*/ 10935299 w 11685910"/>
                <a:gd name="connsiteY1376" fmla="*/ 2506008 h 6078415"/>
                <a:gd name="connsiteX1377" fmla="*/ 10917815 w 11685910"/>
                <a:gd name="connsiteY1377" fmla="*/ 2486370 h 6078415"/>
                <a:gd name="connsiteX1378" fmla="*/ 10917815 w 11685910"/>
                <a:gd name="connsiteY1378" fmla="*/ 2506008 h 6078415"/>
                <a:gd name="connsiteX1379" fmla="*/ 10897671 w 11685910"/>
                <a:gd name="connsiteY1379" fmla="*/ 2530206 h 6078415"/>
                <a:gd name="connsiteX1380" fmla="*/ 10897671 w 11685910"/>
                <a:gd name="connsiteY1380" fmla="*/ 2565934 h 6078415"/>
                <a:gd name="connsiteX1381" fmla="*/ 10872459 w 11685910"/>
                <a:gd name="connsiteY1381" fmla="*/ 2597480 h 6078415"/>
                <a:gd name="connsiteX1382" fmla="*/ 10872459 w 11685910"/>
                <a:gd name="connsiteY1382" fmla="*/ 2597860 h 6078415"/>
                <a:gd name="connsiteX1383" fmla="*/ 10897671 w 11685910"/>
                <a:gd name="connsiteY1383" fmla="*/ 2629153 h 6078415"/>
                <a:gd name="connsiteX1384" fmla="*/ 10897671 w 11685910"/>
                <a:gd name="connsiteY1384" fmla="*/ 2664501 h 6078415"/>
                <a:gd name="connsiteX1385" fmla="*/ 10902169 w 11685910"/>
                <a:gd name="connsiteY1385" fmla="*/ 2683821 h 6078415"/>
                <a:gd name="connsiteX1386" fmla="*/ 10917815 w 11685910"/>
                <a:gd name="connsiteY1386" fmla="*/ 2689839 h 6078415"/>
                <a:gd name="connsiteX1387" fmla="*/ 10917815 w 11685910"/>
                <a:gd name="connsiteY1387" fmla="*/ 2709350 h 6078415"/>
                <a:gd name="connsiteX1388" fmla="*/ 10872712 w 11685910"/>
                <a:gd name="connsiteY1388" fmla="*/ 2670836 h 6078415"/>
                <a:gd name="connsiteX1389" fmla="*/ 10872712 w 11685910"/>
                <a:gd name="connsiteY1389" fmla="*/ 2633461 h 6078415"/>
                <a:gd name="connsiteX1390" fmla="*/ 10852948 w 11685910"/>
                <a:gd name="connsiteY1390" fmla="*/ 2607108 h 6078415"/>
                <a:gd name="connsiteX1391" fmla="*/ 10852948 w 11685910"/>
                <a:gd name="connsiteY1391" fmla="*/ 2588613 h 6078415"/>
                <a:gd name="connsiteX1392" fmla="*/ 10872712 w 11685910"/>
                <a:gd name="connsiteY1392" fmla="*/ 2561752 h 6078415"/>
                <a:gd name="connsiteX1393" fmla="*/ 10872712 w 11685910"/>
                <a:gd name="connsiteY1393" fmla="*/ 2525391 h 6078415"/>
                <a:gd name="connsiteX1394" fmla="*/ 10917815 w 11685910"/>
                <a:gd name="connsiteY1394" fmla="*/ 2486370 h 6078415"/>
                <a:gd name="connsiteX1395" fmla="*/ 9736849 w 11685910"/>
                <a:gd name="connsiteY1395" fmla="*/ 2486370 h 6078415"/>
                <a:gd name="connsiteX1396" fmla="*/ 9781698 w 11685910"/>
                <a:gd name="connsiteY1396" fmla="*/ 2525391 h 6078415"/>
                <a:gd name="connsiteX1397" fmla="*/ 9781698 w 11685910"/>
                <a:gd name="connsiteY1397" fmla="*/ 2561752 h 6078415"/>
                <a:gd name="connsiteX1398" fmla="*/ 9801336 w 11685910"/>
                <a:gd name="connsiteY1398" fmla="*/ 2588613 h 6078415"/>
                <a:gd name="connsiteX1399" fmla="*/ 9801336 w 11685910"/>
                <a:gd name="connsiteY1399" fmla="*/ 2607108 h 6078415"/>
                <a:gd name="connsiteX1400" fmla="*/ 9781698 w 11685910"/>
                <a:gd name="connsiteY1400" fmla="*/ 2633461 h 6078415"/>
                <a:gd name="connsiteX1401" fmla="*/ 9781698 w 11685910"/>
                <a:gd name="connsiteY1401" fmla="*/ 2670836 h 6078415"/>
                <a:gd name="connsiteX1402" fmla="*/ 9736849 w 11685910"/>
                <a:gd name="connsiteY1402" fmla="*/ 2709350 h 6078415"/>
                <a:gd name="connsiteX1403" fmla="*/ 9736849 w 11685910"/>
                <a:gd name="connsiteY1403" fmla="*/ 2689839 h 6078415"/>
                <a:gd name="connsiteX1404" fmla="*/ 9752496 w 11685910"/>
                <a:gd name="connsiteY1404" fmla="*/ 2683758 h 6078415"/>
                <a:gd name="connsiteX1405" fmla="*/ 9757120 w 11685910"/>
                <a:gd name="connsiteY1405" fmla="*/ 2664501 h 6078415"/>
                <a:gd name="connsiteX1406" fmla="*/ 9757120 w 11685910"/>
                <a:gd name="connsiteY1406" fmla="*/ 2629153 h 6078415"/>
                <a:gd name="connsiteX1407" fmla="*/ 9782079 w 11685910"/>
                <a:gd name="connsiteY1407" fmla="*/ 2597860 h 6078415"/>
                <a:gd name="connsiteX1408" fmla="*/ 9782079 w 11685910"/>
                <a:gd name="connsiteY1408" fmla="*/ 2597480 h 6078415"/>
                <a:gd name="connsiteX1409" fmla="*/ 9757120 w 11685910"/>
                <a:gd name="connsiteY1409" fmla="*/ 2565934 h 6078415"/>
                <a:gd name="connsiteX1410" fmla="*/ 9757120 w 11685910"/>
                <a:gd name="connsiteY1410" fmla="*/ 2530206 h 6078415"/>
                <a:gd name="connsiteX1411" fmla="*/ 9736849 w 11685910"/>
                <a:gd name="connsiteY1411" fmla="*/ 2506008 h 6078415"/>
                <a:gd name="connsiteX1412" fmla="*/ 9719365 w 11685910"/>
                <a:gd name="connsiteY1412" fmla="*/ 2486370 h 6078415"/>
                <a:gd name="connsiteX1413" fmla="*/ 9719365 w 11685910"/>
                <a:gd name="connsiteY1413" fmla="*/ 2506008 h 6078415"/>
                <a:gd name="connsiteX1414" fmla="*/ 9699221 w 11685910"/>
                <a:gd name="connsiteY1414" fmla="*/ 2530206 h 6078415"/>
                <a:gd name="connsiteX1415" fmla="*/ 9699221 w 11685910"/>
                <a:gd name="connsiteY1415" fmla="*/ 2565934 h 6078415"/>
                <a:gd name="connsiteX1416" fmla="*/ 9674009 w 11685910"/>
                <a:gd name="connsiteY1416" fmla="*/ 2597480 h 6078415"/>
                <a:gd name="connsiteX1417" fmla="*/ 9674009 w 11685910"/>
                <a:gd name="connsiteY1417" fmla="*/ 2597860 h 6078415"/>
                <a:gd name="connsiteX1418" fmla="*/ 9699221 w 11685910"/>
                <a:gd name="connsiteY1418" fmla="*/ 2629153 h 6078415"/>
                <a:gd name="connsiteX1419" fmla="*/ 9699221 w 11685910"/>
                <a:gd name="connsiteY1419" fmla="*/ 2664501 h 6078415"/>
                <a:gd name="connsiteX1420" fmla="*/ 9703719 w 11685910"/>
                <a:gd name="connsiteY1420" fmla="*/ 2683821 h 6078415"/>
                <a:gd name="connsiteX1421" fmla="*/ 9719365 w 11685910"/>
                <a:gd name="connsiteY1421" fmla="*/ 2689839 h 6078415"/>
                <a:gd name="connsiteX1422" fmla="*/ 9719365 w 11685910"/>
                <a:gd name="connsiteY1422" fmla="*/ 2709350 h 6078415"/>
                <a:gd name="connsiteX1423" fmla="*/ 9674262 w 11685910"/>
                <a:gd name="connsiteY1423" fmla="*/ 2670836 h 6078415"/>
                <a:gd name="connsiteX1424" fmla="*/ 9674262 w 11685910"/>
                <a:gd name="connsiteY1424" fmla="*/ 2633461 h 6078415"/>
                <a:gd name="connsiteX1425" fmla="*/ 9654498 w 11685910"/>
                <a:gd name="connsiteY1425" fmla="*/ 2607108 h 6078415"/>
                <a:gd name="connsiteX1426" fmla="*/ 9654498 w 11685910"/>
                <a:gd name="connsiteY1426" fmla="*/ 2588613 h 6078415"/>
                <a:gd name="connsiteX1427" fmla="*/ 9674262 w 11685910"/>
                <a:gd name="connsiteY1427" fmla="*/ 2561752 h 6078415"/>
                <a:gd name="connsiteX1428" fmla="*/ 9674262 w 11685910"/>
                <a:gd name="connsiteY1428" fmla="*/ 2525391 h 6078415"/>
                <a:gd name="connsiteX1429" fmla="*/ 9719365 w 11685910"/>
                <a:gd name="connsiteY1429" fmla="*/ 2486370 h 6078415"/>
                <a:gd name="connsiteX1430" fmla="*/ 8112647 w 11685910"/>
                <a:gd name="connsiteY1430" fmla="*/ 2486370 h 6078415"/>
                <a:gd name="connsiteX1431" fmla="*/ 8157496 w 11685910"/>
                <a:gd name="connsiteY1431" fmla="*/ 2525391 h 6078415"/>
                <a:gd name="connsiteX1432" fmla="*/ 8157496 w 11685910"/>
                <a:gd name="connsiteY1432" fmla="*/ 2561752 h 6078415"/>
                <a:gd name="connsiteX1433" fmla="*/ 8177134 w 11685910"/>
                <a:gd name="connsiteY1433" fmla="*/ 2588613 h 6078415"/>
                <a:gd name="connsiteX1434" fmla="*/ 8177134 w 11685910"/>
                <a:gd name="connsiteY1434" fmla="*/ 2607108 h 6078415"/>
                <a:gd name="connsiteX1435" fmla="*/ 8157496 w 11685910"/>
                <a:gd name="connsiteY1435" fmla="*/ 2633461 h 6078415"/>
                <a:gd name="connsiteX1436" fmla="*/ 8157496 w 11685910"/>
                <a:gd name="connsiteY1436" fmla="*/ 2670836 h 6078415"/>
                <a:gd name="connsiteX1437" fmla="*/ 8112647 w 11685910"/>
                <a:gd name="connsiteY1437" fmla="*/ 2709350 h 6078415"/>
                <a:gd name="connsiteX1438" fmla="*/ 8112647 w 11685910"/>
                <a:gd name="connsiteY1438" fmla="*/ 2689839 h 6078415"/>
                <a:gd name="connsiteX1439" fmla="*/ 8128294 w 11685910"/>
                <a:gd name="connsiteY1439" fmla="*/ 2683758 h 6078415"/>
                <a:gd name="connsiteX1440" fmla="*/ 8132918 w 11685910"/>
                <a:gd name="connsiteY1440" fmla="*/ 2664501 h 6078415"/>
                <a:gd name="connsiteX1441" fmla="*/ 8132918 w 11685910"/>
                <a:gd name="connsiteY1441" fmla="*/ 2629153 h 6078415"/>
                <a:gd name="connsiteX1442" fmla="*/ 8157877 w 11685910"/>
                <a:gd name="connsiteY1442" fmla="*/ 2597860 h 6078415"/>
                <a:gd name="connsiteX1443" fmla="*/ 8157877 w 11685910"/>
                <a:gd name="connsiteY1443" fmla="*/ 2597480 h 6078415"/>
                <a:gd name="connsiteX1444" fmla="*/ 8132918 w 11685910"/>
                <a:gd name="connsiteY1444" fmla="*/ 2565934 h 6078415"/>
                <a:gd name="connsiteX1445" fmla="*/ 8132918 w 11685910"/>
                <a:gd name="connsiteY1445" fmla="*/ 2530206 h 6078415"/>
                <a:gd name="connsiteX1446" fmla="*/ 8112647 w 11685910"/>
                <a:gd name="connsiteY1446" fmla="*/ 2506008 h 6078415"/>
                <a:gd name="connsiteX1447" fmla="*/ 8095163 w 11685910"/>
                <a:gd name="connsiteY1447" fmla="*/ 2486370 h 6078415"/>
                <a:gd name="connsiteX1448" fmla="*/ 8095163 w 11685910"/>
                <a:gd name="connsiteY1448" fmla="*/ 2506008 h 6078415"/>
                <a:gd name="connsiteX1449" fmla="*/ 8075019 w 11685910"/>
                <a:gd name="connsiteY1449" fmla="*/ 2530206 h 6078415"/>
                <a:gd name="connsiteX1450" fmla="*/ 8075019 w 11685910"/>
                <a:gd name="connsiteY1450" fmla="*/ 2565934 h 6078415"/>
                <a:gd name="connsiteX1451" fmla="*/ 8049807 w 11685910"/>
                <a:gd name="connsiteY1451" fmla="*/ 2597480 h 6078415"/>
                <a:gd name="connsiteX1452" fmla="*/ 8049807 w 11685910"/>
                <a:gd name="connsiteY1452" fmla="*/ 2597860 h 6078415"/>
                <a:gd name="connsiteX1453" fmla="*/ 8075019 w 11685910"/>
                <a:gd name="connsiteY1453" fmla="*/ 2629153 h 6078415"/>
                <a:gd name="connsiteX1454" fmla="*/ 8075019 w 11685910"/>
                <a:gd name="connsiteY1454" fmla="*/ 2664501 h 6078415"/>
                <a:gd name="connsiteX1455" fmla="*/ 8079517 w 11685910"/>
                <a:gd name="connsiteY1455" fmla="*/ 2683821 h 6078415"/>
                <a:gd name="connsiteX1456" fmla="*/ 8095163 w 11685910"/>
                <a:gd name="connsiteY1456" fmla="*/ 2689839 h 6078415"/>
                <a:gd name="connsiteX1457" fmla="*/ 8095163 w 11685910"/>
                <a:gd name="connsiteY1457" fmla="*/ 2709350 h 6078415"/>
                <a:gd name="connsiteX1458" fmla="*/ 8050061 w 11685910"/>
                <a:gd name="connsiteY1458" fmla="*/ 2670836 h 6078415"/>
                <a:gd name="connsiteX1459" fmla="*/ 8050061 w 11685910"/>
                <a:gd name="connsiteY1459" fmla="*/ 2633461 h 6078415"/>
                <a:gd name="connsiteX1460" fmla="*/ 8030296 w 11685910"/>
                <a:gd name="connsiteY1460" fmla="*/ 2607108 h 6078415"/>
                <a:gd name="connsiteX1461" fmla="*/ 8030296 w 11685910"/>
                <a:gd name="connsiteY1461" fmla="*/ 2588613 h 6078415"/>
                <a:gd name="connsiteX1462" fmla="*/ 8050061 w 11685910"/>
                <a:gd name="connsiteY1462" fmla="*/ 2561752 h 6078415"/>
                <a:gd name="connsiteX1463" fmla="*/ 8050061 w 11685910"/>
                <a:gd name="connsiteY1463" fmla="*/ 2525391 h 6078415"/>
                <a:gd name="connsiteX1464" fmla="*/ 8095163 w 11685910"/>
                <a:gd name="connsiteY1464" fmla="*/ 2486370 h 6078415"/>
                <a:gd name="connsiteX1465" fmla="*/ 5536938 w 11685910"/>
                <a:gd name="connsiteY1465" fmla="*/ 2486370 h 6078415"/>
                <a:gd name="connsiteX1466" fmla="*/ 5581787 w 11685910"/>
                <a:gd name="connsiteY1466" fmla="*/ 2525391 h 6078415"/>
                <a:gd name="connsiteX1467" fmla="*/ 5581787 w 11685910"/>
                <a:gd name="connsiteY1467" fmla="*/ 2561752 h 6078415"/>
                <a:gd name="connsiteX1468" fmla="*/ 5601425 w 11685910"/>
                <a:gd name="connsiteY1468" fmla="*/ 2588613 h 6078415"/>
                <a:gd name="connsiteX1469" fmla="*/ 5601425 w 11685910"/>
                <a:gd name="connsiteY1469" fmla="*/ 2607108 h 6078415"/>
                <a:gd name="connsiteX1470" fmla="*/ 5581787 w 11685910"/>
                <a:gd name="connsiteY1470" fmla="*/ 2633461 h 6078415"/>
                <a:gd name="connsiteX1471" fmla="*/ 5581787 w 11685910"/>
                <a:gd name="connsiteY1471" fmla="*/ 2670836 h 6078415"/>
                <a:gd name="connsiteX1472" fmla="*/ 5536938 w 11685910"/>
                <a:gd name="connsiteY1472" fmla="*/ 2709350 h 6078415"/>
                <a:gd name="connsiteX1473" fmla="*/ 5536938 w 11685910"/>
                <a:gd name="connsiteY1473" fmla="*/ 2689839 h 6078415"/>
                <a:gd name="connsiteX1474" fmla="*/ 5552584 w 11685910"/>
                <a:gd name="connsiteY1474" fmla="*/ 2683758 h 6078415"/>
                <a:gd name="connsiteX1475" fmla="*/ 5557209 w 11685910"/>
                <a:gd name="connsiteY1475" fmla="*/ 2664501 h 6078415"/>
                <a:gd name="connsiteX1476" fmla="*/ 5557209 w 11685910"/>
                <a:gd name="connsiteY1476" fmla="*/ 2629153 h 6078415"/>
                <a:gd name="connsiteX1477" fmla="*/ 5582167 w 11685910"/>
                <a:gd name="connsiteY1477" fmla="*/ 2597860 h 6078415"/>
                <a:gd name="connsiteX1478" fmla="*/ 5582167 w 11685910"/>
                <a:gd name="connsiteY1478" fmla="*/ 2597480 h 6078415"/>
                <a:gd name="connsiteX1479" fmla="*/ 5557209 w 11685910"/>
                <a:gd name="connsiteY1479" fmla="*/ 2565934 h 6078415"/>
                <a:gd name="connsiteX1480" fmla="*/ 5557209 w 11685910"/>
                <a:gd name="connsiteY1480" fmla="*/ 2530206 h 6078415"/>
                <a:gd name="connsiteX1481" fmla="*/ 5536938 w 11685910"/>
                <a:gd name="connsiteY1481" fmla="*/ 2506008 h 6078415"/>
                <a:gd name="connsiteX1482" fmla="*/ 5519454 w 11685910"/>
                <a:gd name="connsiteY1482" fmla="*/ 2486370 h 6078415"/>
                <a:gd name="connsiteX1483" fmla="*/ 5519454 w 11685910"/>
                <a:gd name="connsiteY1483" fmla="*/ 2506008 h 6078415"/>
                <a:gd name="connsiteX1484" fmla="*/ 5499311 w 11685910"/>
                <a:gd name="connsiteY1484" fmla="*/ 2530206 h 6078415"/>
                <a:gd name="connsiteX1485" fmla="*/ 5499311 w 11685910"/>
                <a:gd name="connsiteY1485" fmla="*/ 2565934 h 6078415"/>
                <a:gd name="connsiteX1486" fmla="*/ 5474097 w 11685910"/>
                <a:gd name="connsiteY1486" fmla="*/ 2597480 h 6078415"/>
                <a:gd name="connsiteX1487" fmla="*/ 5474097 w 11685910"/>
                <a:gd name="connsiteY1487" fmla="*/ 2597860 h 6078415"/>
                <a:gd name="connsiteX1488" fmla="*/ 5499311 w 11685910"/>
                <a:gd name="connsiteY1488" fmla="*/ 2629153 h 6078415"/>
                <a:gd name="connsiteX1489" fmla="*/ 5499311 w 11685910"/>
                <a:gd name="connsiteY1489" fmla="*/ 2664501 h 6078415"/>
                <a:gd name="connsiteX1490" fmla="*/ 5503807 w 11685910"/>
                <a:gd name="connsiteY1490" fmla="*/ 2683821 h 6078415"/>
                <a:gd name="connsiteX1491" fmla="*/ 5519454 w 11685910"/>
                <a:gd name="connsiteY1491" fmla="*/ 2689839 h 6078415"/>
                <a:gd name="connsiteX1492" fmla="*/ 5519454 w 11685910"/>
                <a:gd name="connsiteY1492" fmla="*/ 2709350 h 6078415"/>
                <a:gd name="connsiteX1493" fmla="*/ 5474352 w 11685910"/>
                <a:gd name="connsiteY1493" fmla="*/ 2670836 h 6078415"/>
                <a:gd name="connsiteX1494" fmla="*/ 5474352 w 11685910"/>
                <a:gd name="connsiteY1494" fmla="*/ 2633461 h 6078415"/>
                <a:gd name="connsiteX1495" fmla="*/ 5454588 w 11685910"/>
                <a:gd name="connsiteY1495" fmla="*/ 2607108 h 6078415"/>
                <a:gd name="connsiteX1496" fmla="*/ 5454588 w 11685910"/>
                <a:gd name="connsiteY1496" fmla="*/ 2588613 h 6078415"/>
                <a:gd name="connsiteX1497" fmla="*/ 5474352 w 11685910"/>
                <a:gd name="connsiteY1497" fmla="*/ 2561752 h 6078415"/>
                <a:gd name="connsiteX1498" fmla="*/ 5474352 w 11685910"/>
                <a:gd name="connsiteY1498" fmla="*/ 2525391 h 6078415"/>
                <a:gd name="connsiteX1499" fmla="*/ 5519454 w 11685910"/>
                <a:gd name="connsiteY1499" fmla="*/ 2486370 h 6078415"/>
                <a:gd name="connsiteX1500" fmla="*/ 4870836 w 11685910"/>
                <a:gd name="connsiteY1500" fmla="*/ 2486370 h 6078415"/>
                <a:gd name="connsiteX1501" fmla="*/ 4915686 w 11685910"/>
                <a:gd name="connsiteY1501" fmla="*/ 2525391 h 6078415"/>
                <a:gd name="connsiteX1502" fmla="*/ 4915686 w 11685910"/>
                <a:gd name="connsiteY1502" fmla="*/ 2561752 h 6078415"/>
                <a:gd name="connsiteX1503" fmla="*/ 4935324 w 11685910"/>
                <a:gd name="connsiteY1503" fmla="*/ 2588613 h 6078415"/>
                <a:gd name="connsiteX1504" fmla="*/ 4935324 w 11685910"/>
                <a:gd name="connsiteY1504" fmla="*/ 2607108 h 6078415"/>
                <a:gd name="connsiteX1505" fmla="*/ 4915686 w 11685910"/>
                <a:gd name="connsiteY1505" fmla="*/ 2633461 h 6078415"/>
                <a:gd name="connsiteX1506" fmla="*/ 4915686 w 11685910"/>
                <a:gd name="connsiteY1506" fmla="*/ 2670836 h 6078415"/>
                <a:gd name="connsiteX1507" fmla="*/ 4870836 w 11685910"/>
                <a:gd name="connsiteY1507" fmla="*/ 2709350 h 6078415"/>
                <a:gd name="connsiteX1508" fmla="*/ 4870836 w 11685910"/>
                <a:gd name="connsiteY1508" fmla="*/ 2689839 h 6078415"/>
                <a:gd name="connsiteX1509" fmla="*/ 4886482 w 11685910"/>
                <a:gd name="connsiteY1509" fmla="*/ 2683758 h 6078415"/>
                <a:gd name="connsiteX1510" fmla="*/ 4891108 w 11685910"/>
                <a:gd name="connsiteY1510" fmla="*/ 2664501 h 6078415"/>
                <a:gd name="connsiteX1511" fmla="*/ 4891108 w 11685910"/>
                <a:gd name="connsiteY1511" fmla="*/ 2629153 h 6078415"/>
                <a:gd name="connsiteX1512" fmla="*/ 4916065 w 11685910"/>
                <a:gd name="connsiteY1512" fmla="*/ 2597860 h 6078415"/>
                <a:gd name="connsiteX1513" fmla="*/ 4916065 w 11685910"/>
                <a:gd name="connsiteY1513" fmla="*/ 2597480 h 6078415"/>
                <a:gd name="connsiteX1514" fmla="*/ 4891108 w 11685910"/>
                <a:gd name="connsiteY1514" fmla="*/ 2565934 h 6078415"/>
                <a:gd name="connsiteX1515" fmla="*/ 4891108 w 11685910"/>
                <a:gd name="connsiteY1515" fmla="*/ 2530206 h 6078415"/>
                <a:gd name="connsiteX1516" fmla="*/ 4870836 w 11685910"/>
                <a:gd name="connsiteY1516" fmla="*/ 2506008 h 6078415"/>
                <a:gd name="connsiteX1517" fmla="*/ 4853353 w 11685910"/>
                <a:gd name="connsiteY1517" fmla="*/ 2486370 h 6078415"/>
                <a:gd name="connsiteX1518" fmla="*/ 4853353 w 11685910"/>
                <a:gd name="connsiteY1518" fmla="*/ 2506008 h 6078415"/>
                <a:gd name="connsiteX1519" fmla="*/ 4833208 w 11685910"/>
                <a:gd name="connsiteY1519" fmla="*/ 2530206 h 6078415"/>
                <a:gd name="connsiteX1520" fmla="*/ 4833208 w 11685910"/>
                <a:gd name="connsiteY1520" fmla="*/ 2565934 h 6078415"/>
                <a:gd name="connsiteX1521" fmla="*/ 4807996 w 11685910"/>
                <a:gd name="connsiteY1521" fmla="*/ 2597480 h 6078415"/>
                <a:gd name="connsiteX1522" fmla="*/ 4807996 w 11685910"/>
                <a:gd name="connsiteY1522" fmla="*/ 2597860 h 6078415"/>
                <a:gd name="connsiteX1523" fmla="*/ 4833208 w 11685910"/>
                <a:gd name="connsiteY1523" fmla="*/ 2629153 h 6078415"/>
                <a:gd name="connsiteX1524" fmla="*/ 4833208 w 11685910"/>
                <a:gd name="connsiteY1524" fmla="*/ 2664501 h 6078415"/>
                <a:gd name="connsiteX1525" fmla="*/ 4837705 w 11685910"/>
                <a:gd name="connsiteY1525" fmla="*/ 2683821 h 6078415"/>
                <a:gd name="connsiteX1526" fmla="*/ 4853353 w 11685910"/>
                <a:gd name="connsiteY1526" fmla="*/ 2689839 h 6078415"/>
                <a:gd name="connsiteX1527" fmla="*/ 4853353 w 11685910"/>
                <a:gd name="connsiteY1527" fmla="*/ 2709350 h 6078415"/>
                <a:gd name="connsiteX1528" fmla="*/ 4808250 w 11685910"/>
                <a:gd name="connsiteY1528" fmla="*/ 2670836 h 6078415"/>
                <a:gd name="connsiteX1529" fmla="*/ 4808250 w 11685910"/>
                <a:gd name="connsiteY1529" fmla="*/ 2633461 h 6078415"/>
                <a:gd name="connsiteX1530" fmla="*/ 4788486 w 11685910"/>
                <a:gd name="connsiteY1530" fmla="*/ 2607108 h 6078415"/>
                <a:gd name="connsiteX1531" fmla="*/ 4788486 w 11685910"/>
                <a:gd name="connsiteY1531" fmla="*/ 2588613 h 6078415"/>
                <a:gd name="connsiteX1532" fmla="*/ 4808250 w 11685910"/>
                <a:gd name="connsiteY1532" fmla="*/ 2561752 h 6078415"/>
                <a:gd name="connsiteX1533" fmla="*/ 4808250 w 11685910"/>
                <a:gd name="connsiteY1533" fmla="*/ 2525391 h 6078415"/>
                <a:gd name="connsiteX1534" fmla="*/ 4853353 w 11685910"/>
                <a:gd name="connsiteY1534" fmla="*/ 2486370 h 6078415"/>
                <a:gd name="connsiteX1535" fmla="*/ 2046291 w 11685910"/>
                <a:gd name="connsiteY1535" fmla="*/ 2486370 h 6078415"/>
                <a:gd name="connsiteX1536" fmla="*/ 2091141 w 11685910"/>
                <a:gd name="connsiteY1536" fmla="*/ 2525391 h 6078415"/>
                <a:gd name="connsiteX1537" fmla="*/ 2091141 w 11685910"/>
                <a:gd name="connsiteY1537" fmla="*/ 2561752 h 6078415"/>
                <a:gd name="connsiteX1538" fmla="*/ 2110778 w 11685910"/>
                <a:gd name="connsiteY1538" fmla="*/ 2588613 h 6078415"/>
                <a:gd name="connsiteX1539" fmla="*/ 2110778 w 11685910"/>
                <a:gd name="connsiteY1539" fmla="*/ 2607108 h 6078415"/>
                <a:gd name="connsiteX1540" fmla="*/ 2091141 w 11685910"/>
                <a:gd name="connsiteY1540" fmla="*/ 2633461 h 6078415"/>
                <a:gd name="connsiteX1541" fmla="*/ 2091141 w 11685910"/>
                <a:gd name="connsiteY1541" fmla="*/ 2670836 h 6078415"/>
                <a:gd name="connsiteX1542" fmla="*/ 2046291 w 11685910"/>
                <a:gd name="connsiteY1542" fmla="*/ 2709350 h 6078415"/>
                <a:gd name="connsiteX1543" fmla="*/ 2046291 w 11685910"/>
                <a:gd name="connsiteY1543" fmla="*/ 2689839 h 6078415"/>
                <a:gd name="connsiteX1544" fmla="*/ 2061938 w 11685910"/>
                <a:gd name="connsiteY1544" fmla="*/ 2683758 h 6078415"/>
                <a:gd name="connsiteX1545" fmla="*/ 2066562 w 11685910"/>
                <a:gd name="connsiteY1545" fmla="*/ 2664501 h 6078415"/>
                <a:gd name="connsiteX1546" fmla="*/ 2066562 w 11685910"/>
                <a:gd name="connsiteY1546" fmla="*/ 2629153 h 6078415"/>
                <a:gd name="connsiteX1547" fmla="*/ 2091521 w 11685910"/>
                <a:gd name="connsiteY1547" fmla="*/ 2597860 h 6078415"/>
                <a:gd name="connsiteX1548" fmla="*/ 2091521 w 11685910"/>
                <a:gd name="connsiteY1548" fmla="*/ 2597480 h 6078415"/>
                <a:gd name="connsiteX1549" fmla="*/ 2066562 w 11685910"/>
                <a:gd name="connsiteY1549" fmla="*/ 2565934 h 6078415"/>
                <a:gd name="connsiteX1550" fmla="*/ 2066562 w 11685910"/>
                <a:gd name="connsiteY1550" fmla="*/ 2530206 h 6078415"/>
                <a:gd name="connsiteX1551" fmla="*/ 2046291 w 11685910"/>
                <a:gd name="connsiteY1551" fmla="*/ 2506008 h 6078415"/>
                <a:gd name="connsiteX1552" fmla="*/ 2028807 w 11685910"/>
                <a:gd name="connsiteY1552" fmla="*/ 2486370 h 6078415"/>
                <a:gd name="connsiteX1553" fmla="*/ 2028807 w 11685910"/>
                <a:gd name="connsiteY1553" fmla="*/ 2506008 h 6078415"/>
                <a:gd name="connsiteX1554" fmla="*/ 2008663 w 11685910"/>
                <a:gd name="connsiteY1554" fmla="*/ 2530206 h 6078415"/>
                <a:gd name="connsiteX1555" fmla="*/ 2008663 w 11685910"/>
                <a:gd name="connsiteY1555" fmla="*/ 2565934 h 6078415"/>
                <a:gd name="connsiteX1556" fmla="*/ 1983451 w 11685910"/>
                <a:gd name="connsiteY1556" fmla="*/ 2597480 h 6078415"/>
                <a:gd name="connsiteX1557" fmla="*/ 1983451 w 11685910"/>
                <a:gd name="connsiteY1557" fmla="*/ 2597860 h 6078415"/>
                <a:gd name="connsiteX1558" fmla="*/ 2008663 w 11685910"/>
                <a:gd name="connsiteY1558" fmla="*/ 2629153 h 6078415"/>
                <a:gd name="connsiteX1559" fmla="*/ 2008663 w 11685910"/>
                <a:gd name="connsiteY1559" fmla="*/ 2664501 h 6078415"/>
                <a:gd name="connsiteX1560" fmla="*/ 2013160 w 11685910"/>
                <a:gd name="connsiteY1560" fmla="*/ 2683821 h 6078415"/>
                <a:gd name="connsiteX1561" fmla="*/ 2028807 w 11685910"/>
                <a:gd name="connsiteY1561" fmla="*/ 2689839 h 6078415"/>
                <a:gd name="connsiteX1562" fmla="*/ 2028807 w 11685910"/>
                <a:gd name="connsiteY1562" fmla="*/ 2709350 h 6078415"/>
                <a:gd name="connsiteX1563" fmla="*/ 1983704 w 11685910"/>
                <a:gd name="connsiteY1563" fmla="*/ 2670836 h 6078415"/>
                <a:gd name="connsiteX1564" fmla="*/ 1983704 w 11685910"/>
                <a:gd name="connsiteY1564" fmla="*/ 2633461 h 6078415"/>
                <a:gd name="connsiteX1565" fmla="*/ 1963940 w 11685910"/>
                <a:gd name="connsiteY1565" fmla="*/ 2607108 h 6078415"/>
                <a:gd name="connsiteX1566" fmla="*/ 1963940 w 11685910"/>
                <a:gd name="connsiteY1566" fmla="*/ 2588613 h 6078415"/>
                <a:gd name="connsiteX1567" fmla="*/ 1983704 w 11685910"/>
                <a:gd name="connsiteY1567" fmla="*/ 2561752 h 6078415"/>
                <a:gd name="connsiteX1568" fmla="*/ 1983704 w 11685910"/>
                <a:gd name="connsiteY1568" fmla="*/ 2525391 h 6078415"/>
                <a:gd name="connsiteX1569" fmla="*/ 2028807 w 11685910"/>
                <a:gd name="connsiteY1569" fmla="*/ 2486370 h 6078415"/>
                <a:gd name="connsiteX1570" fmla="*/ 8995951 w 11685910"/>
                <a:gd name="connsiteY1570" fmla="*/ 2346637 h 6078415"/>
                <a:gd name="connsiteX1571" fmla="*/ 8972602 w 11685910"/>
                <a:gd name="connsiteY1571" fmla="*/ 2386149 h 6078415"/>
                <a:gd name="connsiteX1572" fmla="*/ 8989126 w 11685910"/>
                <a:gd name="connsiteY1572" fmla="*/ 2389562 h 6078415"/>
                <a:gd name="connsiteX1573" fmla="*/ 9005649 w 11685910"/>
                <a:gd name="connsiteY1573" fmla="*/ 2385970 h 6078415"/>
                <a:gd name="connsiteX1574" fmla="*/ 9002686 w 11685910"/>
                <a:gd name="connsiteY1574" fmla="*/ 2376451 h 6078415"/>
                <a:gd name="connsiteX1575" fmla="*/ 9003674 w 11685910"/>
                <a:gd name="connsiteY1575" fmla="*/ 2363160 h 6078415"/>
                <a:gd name="connsiteX1576" fmla="*/ 8995951 w 11685910"/>
                <a:gd name="connsiteY1576" fmla="*/ 2346637 h 6078415"/>
                <a:gd name="connsiteX1577" fmla="*/ 2935214 w 11685910"/>
                <a:gd name="connsiteY1577" fmla="*/ 2346637 h 6078415"/>
                <a:gd name="connsiteX1578" fmla="*/ 2911865 w 11685910"/>
                <a:gd name="connsiteY1578" fmla="*/ 2386149 h 6078415"/>
                <a:gd name="connsiteX1579" fmla="*/ 2928389 w 11685910"/>
                <a:gd name="connsiteY1579" fmla="*/ 2389562 h 6078415"/>
                <a:gd name="connsiteX1580" fmla="*/ 2944912 w 11685910"/>
                <a:gd name="connsiteY1580" fmla="*/ 2385970 h 6078415"/>
                <a:gd name="connsiteX1581" fmla="*/ 2941949 w 11685910"/>
                <a:gd name="connsiteY1581" fmla="*/ 2376451 h 6078415"/>
                <a:gd name="connsiteX1582" fmla="*/ 2942937 w 11685910"/>
                <a:gd name="connsiteY1582" fmla="*/ 2363160 h 6078415"/>
                <a:gd name="connsiteX1583" fmla="*/ 2935214 w 11685910"/>
                <a:gd name="connsiteY1583" fmla="*/ 2346637 h 6078415"/>
                <a:gd name="connsiteX1584" fmla="*/ 8834846 w 11685910"/>
                <a:gd name="connsiteY1584" fmla="*/ 2330113 h 6078415"/>
                <a:gd name="connsiteX1585" fmla="*/ 8821107 w 11685910"/>
                <a:gd name="connsiteY1585" fmla="*/ 2350498 h 6078415"/>
                <a:gd name="connsiteX1586" fmla="*/ 8842749 w 11685910"/>
                <a:gd name="connsiteY1586" fmla="*/ 2372230 h 6078415"/>
                <a:gd name="connsiteX1587" fmla="*/ 8851729 w 11685910"/>
                <a:gd name="connsiteY1587" fmla="*/ 2364956 h 6078415"/>
                <a:gd name="connsiteX1588" fmla="*/ 8834846 w 11685910"/>
                <a:gd name="connsiteY1588" fmla="*/ 2330113 h 6078415"/>
                <a:gd name="connsiteX1589" fmla="*/ 2774110 w 11685910"/>
                <a:gd name="connsiteY1589" fmla="*/ 2330113 h 6078415"/>
                <a:gd name="connsiteX1590" fmla="*/ 2760370 w 11685910"/>
                <a:gd name="connsiteY1590" fmla="*/ 2350498 h 6078415"/>
                <a:gd name="connsiteX1591" fmla="*/ 2782012 w 11685910"/>
                <a:gd name="connsiteY1591" fmla="*/ 2372230 h 6078415"/>
                <a:gd name="connsiteX1592" fmla="*/ 2790992 w 11685910"/>
                <a:gd name="connsiteY1592" fmla="*/ 2364956 h 6078415"/>
                <a:gd name="connsiteX1593" fmla="*/ 2774110 w 11685910"/>
                <a:gd name="connsiteY1593" fmla="*/ 2330113 h 6078415"/>
                <a:gd name="connsiteX1594" fmla="*/ 8818347 w 11685910"/>
                <a:gd name="connsiteY1594" fmla="*/ 2261360 h 6078415"/>
                <a:gd name="connsiteX1595" fmla="*/ 8818145 w 11685910"/>
                <a:gd name="connsiteY1595" fmla="*/ 2262886 h 6078415"/>
                <a:gd name="connsiteX1596" fmla="*/ 8818078 w 11685910"/>
                <a:gd name="connsiteY1596" fmla="*/ 2261618 h 6078415"/>
                <a:gd name="connsiteX1597" fmla="*/ 2757610 w 11685910"/>
                <a:gd name="connsiteY1597" fmla="*/ 2261359 h 6078415"/>
                <a:gd name="connsiteX1598" fmla="*/ 2757408 w 11685910"/>
                <a:gd name="connsiteY1598" fmla="*/ 2262887 h 6078415"/>
                <a:gd name="connsiteX1599" fmla="*/ 2757342 w 11685910"/>
                <a:gd name="connsiteY1599" fmla="*/ 2261618 h 6078415"/>
                <a:gd name="connsiteX1600" fmla="*/ 9021634 w 11685910"/>
                <a:gd name="connsiteY1600" fmla="*/ 2233980 h 6078415"/>
                <a:gd name="connsiteX1601" fmla="*/ 9017615 w 11685910"/>
                <a:gd name="connsiteY1601" fmla="*/ 2236854 h 6078415"/>
                <a:gd name="connsiteX1602" fmla="*/ 9024585 w 11685910"/>
                <a:gd name="connsiteY1602" fmla="*/ 2245282 h 6078415"/>
                <a:gd name="connsiteX1603" fmla="*/ 9031512 w 11685910"/>
                <a:gd name="connsiteY1603" fmla="*/ 2243544 h 6078415"/>
                <a:gd name="connsiteX1604" fmla="*/ 9005111 w 11685910"/>
                <a:gd name="connsiteY1604" fmla="*/ 2262852 h 6078415"/>
                <a:gd name="connsiteX1605" fmla="*/ 9010161 w 11685910"/>
                <a:gd name="connsiteY1605" fmla="*/ 2255177 h 6078415"/>
                <a:gd name="connsiteX1606" fmla="*/ 9002327 w 11685910"/>
                <a:gd name="connsiteY1606" fmla="*/ 2248169 h 6078415"/>
                <a:gd name="connsiteX1607" fmla="*/ 8997477 w 11685910"/>
                <a:gd name="connsiteY1607" fmla="*/ 2252255 h 6078415"/>
                <a:gd name="connsiteX1608" fmla="*/ 9021634 w 11685910"/>
                <a:gd name="connsiteY1608" fmla="*/ 2233980 h 6078415"/>
                <a:gd name="connsiteX1609" fmla="*/ 2960897 w 11685910"/>
                <a:gd name="connsiteY1609" fmla="*/ 2233980 h 6078415"/>
                <a:gd name="connsiteX1610" fmla="*/ 2956879 w 11685910"/>
                <a:gd name="connsiteY1610" fmla="*/ 2236854 h 6078415"/>
                <a:gd name="connsiteX1611" fmla="*/ 2963848 w 11685910"/>
                <a:gd name="connsiteY1611" fmla="*/ 2245282 h 6078415"/>
                <a:gd name="connsiteX1612" fmla="*/ 2970776 w 11685910"/>
                <a:gd name="connsiteY1612" fmla="*/ 2243544 h 6078415"/>
                <a:gd name="connsiteX1613" fmla="*/ 2944374 w 11685910"/>
                <a:gd name="connsiteY1613" fmla="*/ 2262852 h 6078415"/>
                <a:gd name="connsiteX1614" fmla="*/ 2949424 w 11685910"/>
                <a:gd name="connsiteY1614" fmla="*/ 2255177 h 6078415"/>
                <a:gd name="connsiteX1615" fmla="*/ 2941590 w 11685910"/>
                <a:gd name="connsiteY1615" fmla="*/ 2248169 h 6078415"/>
                <a:gd name="connsiteX1616" fmla="*/ 2936741 w 11685910"/>
                <a:gd name="connsiteY1616" fmla="*/ 2252255 h 6078415"/>
                <a:gd name="connsiteX1617" fmla="*/ 2960897 w 11685910"/>
                <a:gd name="connsiteY1617" fmla="*/ 2233980 h 6078415"/>
                <a:gd name="connsiteX1618" fmla="*/ 8994885 w 11685910"/>
                <a:gd name="connsiteY1618" fmla="*/ 2217458 h 6078415"/>
                <a:gd name="connsiteX1619" fmla="*/ 8997186 w 11685910"/>
                <a:gd name="connsiteY1619" fmla="*/ 2217495 h 6078415"/>
                <a:gd name="connsiteX1620" fmla="*/ 9005380 w 11685910"/>
                <a:gd name="connsiteY1620" fmla="*/ 2218759 h 6078415"/>
                <a:gd name="connsiteX1621" fmla="*/ 8986342 w 11685910"/>
                <a:gd name="connsiteY1621" fmla="*/ 2237797 h 6078415"/>
                <a:gd name="connsiteX1622" fmla="*/ 8994885 w 11685910"/>
                <a:gd name="connsiteY1622" fmla="*/ 2217458 h 6078415"/>
                <a:gd name="connsiteX1623" fmla="*/ 2934148 w 11685910"/>
                <a:gd name="connsiteY1623" fmla="*/ 2217458 h 6078415"/>
                <a:gd name="connsiteX1624" fmla="*/ 2936449 w 11685910"/>
                <a:gd name="connsiteY1624" fmla="*/ 2217495 h 6078415"/>
                <a:gd name="connsiteX1625" fmla="*/ 2944643 w 11685910"/>
                <a:gd name="connsiteY1625" fmla="*/ 2218759 h 6078415"/>
                <a:gd name="connsiteX1626" fmla="*/ 2925605 w 11685910"/>
                <a:gd name="connsiteY1626" fmla="*/ 2237797 h 6078415"/>
                <a:gd name="connsiteX1627" fmla="*/ 2934148 w 11685910"/>
                <a:gd name="connsiteY1627" fmla="*/ 2217458 h 6078415"/>
                <a:gd name="connsiteX1628" fmla="*/ 9098183 w 11685910"/>
                <a:gd name="connsiteY1628" fmla="*/ 2195230 h 6078415"/>
                <a:gd name="connsiteX1629" fmla="*/ 9089930 w 11685910"/>
                <a:gd name="connsiteY1629" fmla="*/ 2209246 h 6078415"/>
                <a:gd name="connsiteX1630" fmla="*/ 9077672 w 11685910"/>
                <a:gd name="connsiteY1630" fmla="*/ 2211251 h 6078415"/>
                <a:gd name="connsiteX1631" fmla="*/ 9088889 w 11685910"/>
                <a:gd name="connsiteY1631" fmla="*/ 2204577 h 6078415"/>
                <a:gd name="connsiteX1632" fmla="*/ 9098183 w 11685910"/>
                <a:gd name="connsiteY1632" fmla="*/ 2195230 h 6078415"/>
                <a:gd name="connsiteX1633" fmla="*/ 3037447 w 11685910"/>
                <a:gd name="connsiteY1633" fmla="*/ 2195230 h 6078415"/>
                <a:gd name="connsiteX1634" fmla="*/ 3029193 w 11685910"/>
                <a:gd name="connsiteY1634" fmla="*/ 2209246 h 6078415"/>
                <a:gd name="connsiteX1635" fmla="*/ 3016935 w 11685910"/>
                <a:gd name="connsiteY1635" fmla="*/ 2211251 h 6078415"/>
                <a:gd name="connsiteX1636" fmla="*/ 3028152 w 11685910"/>
                <a:gd name="connsiteY1636" fmla="*/ 2204577 h 6078415"/>
                <a:gd name="connsiteX1637" fmla="*/ 3037447 w 11685910"/>
                <a:gd name="connsiteY1637" fmla="*/ 2195230 h 6078415"/>
                <a:gd name="connsiteX1638" fmla="*/ 10078877 w 11685910"/>
                <a:gd name="connsiteY1638" fmla="*/ 2178594 h 6078415"/>
                <a:gd name="connsiteX1639" fmla="*/ 10133563 w 11685910"/>
                <a:gd name="connsiteY1639" fmla="*/ 2217615 h 6078415"/>
                <a:gd name="connsiteX1640" fmla="*/ 10133563 w 11685910"/>
                <a:gd name="connsiteY1640" fmla="*/ 2253976 h 6078415"/>
                <a:gd name="connsiteX1641" fmla="*/ 10157507 w 11685910"/>
                <a:gd name="connsiteY1641" fmla="*/ 2280836 h 6078415"/>
                <a:gd name="connsiteX1642" fmla="*/ 10157507 w 11685910"/>
                <a:gd name="connsiteY1642" fmla="*/ 2299332 h 6078415"/>
                <a:gd name="connsiteX1643" fmla="*/ 10133563 w 11685910"/>
                <a:gd name="connsiteY1643" fmla="*/ 2325685 h 6078415"/>
                <a:gd name="connsiteX1644" fmla="*/ 10133563 w 11685910"/>
                <a:gd name="connsiteY1644" fmla="*/ 2363060 h 6078415"/>
                <a:gd name="connsiteX1645" fmla="*/ 10078877 w 11685910"/>
                <a:gd name="connsiteY1645" fmla="*/ 2401574 h 6078415"/>
                <a:gd name="connsiteX1646" fmla="*/ 10078877 w 11685910"/>
                <a:gd name="connsiteY1646" fmla="*/ 2382063 h 6078415"/>
                <a:gd name="connsiteX1647" fmla="*/ 10097955 w 11685910"/>
                <a:gd name="connsiteY1647" fmla="*/ 2375982 h 6078415"/>
                <a:gd name="connsiteX1648" fmla="*/ 10103594 w 11685910"/>
                <a:gd name="connsiteY1648" fmla="*/ 2356725 h 6078415"/>
                <a:gd name="connsiteX1649" fmla="*/ 10103594 w 11685910"/>
                <a:gd name="connsiteY1649" fmla="*/ 2321377 h 6078415"/>
                <a:gd name="connsiteX1650" fmla="*/ 10134026 w 11685910"/>
                <a:gd name="connsiteY1650" fmla="*/ 2290084 h 6078415"/>
                <a:gd name="connsiteX1651" fmla="*/ 10134026 w 11685910"/>
                <a:gd name="connsiteY1651" fmla="*/ 2289704 h 6078415"/>
                <a:gd name="connsiteX1652" fmla="*/ 10103594 w 11685910"/>
                <a:gd name="connsiteY1652" fmla="*/ 2258157 h 6078415"/>
                <a:gd name="connsiteX1653" fmla="*/ 10103594 w 11685910"/>
                <a:gd name="connsiteY1653" fmla="*/ 2222430 h 6078415"/>
                <a:gd name="connsiteX1654" fmla="*/ 10078877 w 11685910"/>
                <a:gd name="connsiteY1654" fmla="*/ 2198232 h 6078415"/>
                <a:gd name="connsiteX1655" fmla="*/ 10057558 w 11685910"/>
                <a:gd name="connsiteY1655" fmla="*/ 2178594 h 6078415"/>
                <a:gd name="connsiteX1656" fmla="*/ 10057558 w 11685910"/>
                <a:gd name="connsiteY1656" fmla="*/ 2198232 h 6078415"/>
                <a:gd name="connsiteX1657" fmla="*/ 10032996 w 11685910"/>
                <a:gd name="connsiteY1657" fmla="*/ 2222430 h 6078415"/>
                <a:gd name="connsiteX1658" fmla="*/ 10032996 w 11685910"/>
                <a:gd name="connsiteY1658" fmla="*/ 2258157 h 6078415"/>
                <a:gd name="connsiteX1659" fmla="*/ 10002255 w 11685910"/>
                <a:gd name="connsiteY1659" fmla="*/ 2289704 h 6078415"/>
                <a:gd name="connsiteX1660" fmla="*/ 10002255 w 11685910"/>
                <a:gd name="connsiteY1660" fmla="*/ 2290084 h 6078415"/>
                <a:gd name="connsiteX1661" fmla="*/ 10032996 w 11685910"/>
                <a:gd name="connsiteY1661" fmla="*/ 2321377 h 6078415"/>
                <a:gd name="connsiteX1662" fmla="*/ 10032996 w 11685910"/>
                <a:gd name="connsiteY1662" fmla="*/ 2356725 h 6078415"/>
                <a:gd name="connsiteX1663" fmla="*/ 10038480 w 11685910"/>
                <a:gd name="connsiteY1663" fmla="*/ 2376045 h 6078415"/>
                <a:gd name="connsiteX1664" fmla="*/ 10057558 w 11685910"/>
                <a:gd name="connsiteY1664" fmla="*/ 2382063 h 6078415"/>
                <a:gd name="connsiteX1665" fmla="*/ 10057558 w 11685910"/>
                <a:gd name="connsiteY1665" fmla="*/ 2401574 h 6078415"/>
                <a:gd name="connsiteX1666" fmla="*/ 10002564 w 11685910"/>
                <a:gd name="connsiteY1666" fmla="*/ 2363060 h 6078415"/>
                <a:gd name="connsiteX1667" fmla="*/ 10002564 w 11685910"/>
                <a:gd name="connsiteY1667" fmla="*/ 2325685 h 6078415"/>
                <a:gd name="connsiteX1668" fmla="*/ 9978465 w 11685910"/>
                <a:gd name="connsiteY1668" fmla="*/ 2299332 h 6078415"/>
                <a:gd name="connsiteX1669" fmla="*/ 9978465 w 11685910"/>
                <a:gd name="connsiteY1669" fmla="*/ 2280836 h 6078415"/>
                <a:gd name="connsiteX1670" fmla="*/ 10002564 w 11685910"/>
                <a:gd name="connsiteY1670" fmla="*/ 2253976 h 6078415"/>
                <a:gd name="connsiteX1671" fmla="*/ 10002564 w 11685910"/>
                <a:gd name="connsiteY1671" fmla="*/ 2217615 h 6078415"/>
                <a:gd name="connsiteX1672" fmla="*/ 10057558 w 11685910"/>
                <a:gd name="connsiteY1672" fmla="*/ 2178594 h 6078415"/>
                <a:gd name="connsiteX1673" fmla="*/ 4015651 w 11685910"/>
                <a:gd name="connsiteY1673" fmla="*/ 2178594 h 6078415"/>
                <a:gd name="connsiteX1674" fmla="*/ 4070337 w 11685910"/>
                <a:gd name="connsiteY1674" fmla="*/ 2217615 h 6078415"/>
                <a:gd name="connsiteX1675" fmla="*/ 4070337 w 11685910"/>
                <a:gd name="connsiteY1675" fmla="*/ 2253976 h 6078415"/>
                <a:gd name="connsiteX1676" fmla="*/ 4094281 w 11685910"/>
                <a:gd name="connsiteY1676" fmla="*/ 2280836 h 6078415"/>
                <a:gd name="connsiteX1677" fmla="*/ 4094281 w 11685910"/>
                <a:gd name="connsiteY1677" fmla="*/ 2299332 h 6078415"/>
                <a:gd name="connsiteX1678" fmla="*/ 4070337 w 11685910"/>
                <a:gd name="connsiteY1678" fmla="*/ 2325685 h 6078415"/>
                <a:gd name="connsiteX1679" fmla="*/ 4070337 w 11685910"/>
                <a:gd name="connsiteY1679" fmla="*/ 2363060 h 6078415"/>
                <a:gd name="connsiteX1680" fmla="*/ 4015651 w 11685910"/>
                <a:gd name="connsiteY1680" fmla="*/ 2401574 h 6078415"/>
                <a:gd name="connsiteX1681" fmla="*/ 4015651 w 11685910"/>
                <a:gd name="connsiteY1681" fmla="*/ 2382063 h 6078415"/>
                <a:gd name="connsiteX1682" fmla="*/ 4034729 w 11685910"/>
                <a:gd name="connsiteY1682" fmla="*/ 2375982 h 6078415"/>
                <a:gd name="connsiteX1683" fmla="*/ 4040368 w 11685910"/>
                <a:gd name="connsiteY1683" fmla="*/ 2356725 h 6078415"/>
                <a:gd name="connsiteX1684" fmla="*/ 4040368 w 11685910"/>
                <a:gd name="connsiteY1684" fmla="*/ 2321377 h 6078415"/>
                <a:gd name="connsiteX1685" fmla="*/ 4070800 w 11685910"/>
                <a:gd name="connsiteY1685" fmla="*/ 2290084 h 6078415"/>
                <a:gd name="connsiteX1686" fmla="*/ 4070800 w 11685910"/>
                <a:gd name="connsiteY1686" fmla="*/ 2289704 h 6078415"/>
                <a:gd name="connsiteX1687" fmla="*/ 4040368 w 11685910"/>
                <a:gd name="connsiteY1687" fmla="*/ 2258157 h 6078415"/>
                <a:gd name="connsiteX1688" fmla="*/ 4040368 w 11685910"/>
                <a:gd name="connsiteY1688" fmla="*/ 2222430 h 6078415"/>
                <a:gd name="connsiteX1689" fmla="*/ 4015651 w 11685910"/>
                <a:gd name="connsiteY1689" fmla="*/ 2198232 h 6078415"/>
                <a:gd name="connsiteX1690" fmla="*/ 3994333 w 11685910"/>
                <a:gd name="connsiteY1690" fmla="*/ 2178594 h 6078415"/>
                <a:gd name="connsiteX1691" fmla="*/ 3994333 w 11685910"/>
                <a:gd name="connsiteY1691" fmla="*/ 2198232 h 6078415"/>
                <a:gd name="connsiteX1692" fmla="*/ 3969771 w 11685910"/>
                <a:gd name="connsiteY1692" fmla="*/ 2222430 h 6078415"/>
                <a:gd name="connsiteX1693" fmla="*/ 3969771 w 11685910"/>
                <a:gd name="connsiteY1693" fmla="*/ 2258157 h 6078415"/>
                <a:gd name="connsiteX1694" fmla="*/ 3939029 w 11685910"/>
                <a:gd name="connsiteY1694" fmla="*/ 2289704 h 6078415"/>
                <a:gd name="connsiteX1695" fmla="*/ 3939029 w 11685910"/>
                <a:gd name="connsiteY1695" fmla="*/ 2290084 h 6078415"/>
                <a:gd name="connsiteX1696" fmla="*/ 3969771 w 11685910"/>
                <a:gd name="connsiteY1696" fmla="*/ 2321377 h 6078415"/>
                <a:gd name="connsiteX1697" fmla="*/ 3969771 w 11685910"/>
                <a:gd name="connsiteY1697" fmla="*/ 2356725 h 6078415"/>
                <a:gd name="connsiteX1698" fmla="*/ 3975255 w 11685910"/>
                <a:gd name="connsiteY1698" fmla="*/ 2376045 h 6078415"/>
                <a:gd name="connsiteX1699" fmla="*/ 3994333 w 11685910"/>
                <a:gd name="connsiteY1699" fmla="*/ 2382063 h 6078415"/>
                <a:gd name="connsiteX1700" fmla="*/ 3994333 w 11685910"/>
                <a:gd name="connsiteY1700" fmla="*/ 2401574 h 6078415"/>
                <a:gd name="connsiteX1701" fmla="*/ 3939338 w 11685910"/>
                <a:gd name="connsiteY1701" fmla="*/ 2363060 h 6078415"/>
                <a:gd name="connsiteX1702" fmla="*/ 3939338 w 11685910"/>
                <a:gd name="connsiteY1702" fmla="*/ 2325685 h 6078415"/>
                <a:gd name="connsiteX1703" fmla="*/ 3915239 w 11685910"/>
                <a:gd name="connsiteY1703" fmla="*/ 2299332 h 6078415"/>
                <a:gd name="connsiteX1704" fmla="*/ 3915239 w 11685910"/>
                <a:gd name="connsiteY1704" fmla="*/ 2280836 h 6078415"/>
                <a:gd name="connsiteX1705" fmla="*/ 3939338 w 11685910"/>
                <a:gd name="connsiteY1705" fmla="*/ 2253976 h 6078415"/>
                <a:gd name="connsiteX1706" fmla="*/ 3939338 w 11685910"/>
                <a:gd name="connsiteY1706" fmla="*/ 2217615 h 6078415"/>
                <a:gd name="connsiteX1707" fmla="*/ 3994333 w 11685910"/>
                <a:gd name="connsiteY1707" fmla="*/ 2178594 h 6078415"/>
                <a:gd name="connsiteX1708" fmla="*/ 8993542 w 11685910"/>
                <a:gd name="connsiteY1708" fmla="*/ 2176097 h 6078415"/>
                <a:gd name="connsiteX1709" fmla="*/ 8999446 w 11685910"/>
                <a:gd name="connsiteY1709" fmla="*/ 2176614 h 6078415"/>
                <a:gd name="connsiteX1710" fmla="*/ 9042722 w 11685910"/>
                <a:gd name="connsiteY1710" fmla="*/ 2206032 h 6078415"/>
                <a:gd name="connsiteX1711" fmla="*/ 9060713 w 11685910"/>
                <a:gd name="connsiteY1711" fmla="*/ 2227184 h 6078415"/>
                <a:gd name="connsiteX1712" fmla="*/ 9057552 w 11685910"/>
                <a:gd name="connsiteY1712" fmla="*/ 2234964 h 6078415"/>
                <a:gd name="connsiteX1713" fmla="*/ 9070666 w 11685910"/>
                <a:gd name="connsiteY1713" fmla="*/ 2245069 h 6078415"/>
                <a:gd name="connsiteX1714" fmla="*/ 9068979 w 11685910"/>
                <a:gd name="connsiteY1714" fmla="*/ 2207735 h 6078415"/>
                <a:gd name="connsiteX1715" fmla="*/ 9084296 w 11685910"/>
                <a:gd name="connsiteY1715" fmla="*/ 2198010 h 6078415"/>
                <a:gd name="connsiteX1716" fmla="*/ 9096209 w 11685910"/>
                <a:gd name="connsiteY1716" fmla="*/ 2186826 h 6078415"/>
                <a:gd name="connsiteX1717" fmla="*/ 9119063 w 11685910"/>
                <a:gd name="connsiteY1717" fmla="*/ 2249309 h 6078415"/>
                <a:gd name="connsiteX1718" fmla="*/ 9081379 w 11685910"/>
                <a:gd name="connsiteY1718" fmla="*/ 2317627 h 6078415"/>
                <a:gd name="connsiteX1719" fmla="*/ 9049352 w 11685910"/>
                <a:gd name="connsiteY1719" fmla="*/ 2318345 h 6078415"/>
                <a:gd name="connsiteX1720" fmla="*/ 9045345 w 11685910"/>
                <a:gd name="connsiteY1720" fmla="*/ 2316950 h 6078415"/>
                <a:gd name="connsiteX1721" fmla="*/ 9044865 w 11685910"/>
                <a:gd name="connsiteY1721" fmla="*/ 2319226 h 6078415"/>
                <a:gd name="connsiteX1722" fmla="*/ 9020111 w 11685910"/>
                <a:gd name="connsiteY1722" fmla="*/ 2339265 h 6078415"/>
                <a:gd name="connsiteX1723" fmla="*/ 8998473 w 11685910"/>
                <a:gd name="connsiteY1723" fmla="*/ 2329540 h 6078415"/>
                <a:gd name="connsiteX1724" fmla="*/ 8997500 w 11685910"/>
                <a:gd name="connsiteY1724" fmla="*/ 2342182 h 6078415"/>
                <a:gd name="connsiteX1725" fmla="*/ 9007225 w 11685910"/>
                <a:gd name="connsiteY1725" fmla="*/ 2362848 h 6078415"/>
                <a:gd name="connsiteX1726" fmla="*/ 9006739 w 11685910"/>
                <a:gd name="connsiteY1726" fmla="*/ 2374032 h 6078415"/>
                <a:gd name="connsiteX1727" fmla="*/ 9008927 w 11685910"/>
                <a:gd name="connsiteY1727" fmla="*/ 2387890 h 6078415"/>
                <a:gd name="connsiteX1728" fmla="*/ 8992881 w 11685910"/>
                <a:gd name="connsiteY1728" fmla="*/ 2393725 h 6078415"/>
                <a:gd name="connsiteX1729" fmla="*/ 8967839 w 11685910"/>
                <a:gd name="connsiteY1729" fmla="*/ 2388376 h 6078415"/>
                <a:gd name="connsiteX1730" fmla="*/ 8967075 w 11685910"/>
                <a:gd name="connsiteY1730" fmla="*/ 2383892 h 6078415"/>
                <a:gd name="connsiteX1731" fmla="*/ 8967035 w 11685910"/>
                <a:gd name="connsiteY1731" fmla="*/ 2382538 h 6078415"/>
                <a:gd name="connsiteX1732" fmla="*/ 8963270 w 11685910"/>
                <a:gd name="connsiteY1732" fmla="*/ 2386106 h 6078415"/>
                <a:gd name="connsiteX1733" fmla="*/ 8939637 w 11685910"/>
                <a:gd name="connsiteY1733" fmla="*/ 2400532 h 6078415"/>
                <a:gd name="connsiteX1734" fmla="*/ 8916054 w 11685910"/>
                <a:gd name="connsiteY1734" fmla="*/ 2372087 h 6078415"/>
                <a:gd name="connsiteX1735" fmla="*/ 8926994 w 11685910"/>
                <a:gd name="connsiteY1735" fmla="*/ 2360173 h 6078415"/>
                <a:gd name="connsiteX1736" fmla="*/ 8901952 w 11685910"/>
                <a:gd name="connsiteY1736" fmla="*/ 2357742 h 6078415"/>
                <a:gd name="connsiteX1737" fmla="*/ 8900980 w 11685910"/>
                <a:gd name="connsiteY1737" fmla="*/ 2368683 h 6078415"/>
                <a:gd name="connsiteX1738" fmla="*/ 8894658 w 11685910"/>
                <a:gd name="connsiteY1738" fmla="*/ 2379380 h 6078415"/>
                <a:gd name="connsiteX1739" fmla="*/ 8889553 w 11685910"/>
                <a:gd name="connsiteY1739" fmla="*/ 2398587 h 6078415"/>
                <a:gd name="connsiteX1740" fmla="*/ 8849194 w 11685910"/>
                <a:gd name="connsiteY1740" fmla="*/ 2390078 h 6078415"/>
                <a:gd name="connsiteX1741" fmla="*/ 8850167 w 11685910"/>
                <a:gd name="connsiteY1741" fmla="*/ 2375977 h 6078415"/>
                <a:gd name="connsiteX1742" fmla="*/ 8840442 w 11685910"/>
                <a:gd name="connsiteY1742" fmla="*/ 2377922 h 6078415"/>
                <a:gd name="connsiteX1743" fmla="*/ 8815157 w 11685910"/>
                <a:gd name="connsiteY1743" fmla="*/ 2351907 h 6078415"/>
                <a:gd name="connsiteX1744" fmla="*/ 8830474 w 11685910"/>
                <a:gd name="connsiteY1744" fmla="*/ 2325163 h 6078415"/>
                <a:gd name="connsiteX1745" fmla="*/ 8831932 w 11685910"/>
                <a:gd name="connsiteY1745" fmla="*/ 2298420 h 6078415"/>
                <a:gd name="connsiteX1746" fmla="*/ 8816372 w 11685910"/>
                <a:gd name="connsiteY1746" fmla="*/ 2276296 h 6078415"/>
                <a:gd name="connsiteX1747" fmla="*/ 8818145 w 11685910"/>
                <a:gd name="connsiteY1747" fmla="*/ 2262886 h 6078415"/>
                <a:gd name="connsiteX1748" fmla="*/ 8818607 w 11685910"/>
                <a:gd name="connsiteY1748" fmla="*/ 2271666 h 6078415"/>
                <a:gd name="connsiteX1749" fmla="*/ 8819436 w 11685910"/>
                <a:gd name="connsiteY1749" fmla="*/ 2272064 h 6078415"/>
                <a:gd name="connsiteX1750" fmla="*/ 8819559 w 11685910"/>
                <a:gd name="connsiteY1750" fmla="*/ 2273246 h 6078415"/>
                <a:gd name="connsiteX1751" fmla="*/ 8839247 w 11685910"/>
                <a:gd name="connsiteY1751" fmla="*/ 2287188 h 6078415"/>
                <a:gd name="connsiteX1752" fmla="*/ 8857593 w 11685910"/>
                <a:gd name="connsiteY1752" fmla="*/ 2358296 h 6078415"/>
                <a:gd name="connsiteX1753" fmla="*/ 8858561 w 11685910"/>
                <a:gd name="connsiteY1753" fmla="*/ 2360158 h 6078415"/>
                <a:gd name="connsiteX1754" fmla="*/ 8858527 w 11685910"/>
                <a:gd name="connsiteY1754" fmla="*/ 2361032 h 6078415"/>
                <a:gd name="connsiteX1755" fmla="*/ 8857117 w 11685910"/>
                <a:gd name="connsiteY1755" fmla="*/ 2374565 h 6078415"/>
                <a:gd name="connsiteX1756" fmla="*/ 8853795 w 11685910"/>
                <a:gd name="connsiteY1756" fmla="*/ 2385970 h 6078415"/>
                <a:gd name="connsiteX1757" fmla="*/ 8888189 w 11685910"/>
                <a:gd name="connsiteY1757" fmla="*/ 2392615 h 6078415"/>
                <a:gd name="connsiteX1758" fmla="*/ 8889356 w 11685910"/>
                <a:gd name="connsiteY1758" fmla="*/ 2381659 h 6078415"/>
                <a:gd name="connsiteX1759" fmla="*/ 8896001 w 11685910"/>
                <a:gd name="connsiteY1759" fmla="*/ 2367381 h 6078415"/>
                <a:gd name="connsiteX1760" fmla="*/ 8896282 w 11685910"/>
                <a:gd name="connsiteY1760" fmla="*/ 2352171 h 6078415"/>
                <a:gd name="connsiteX1761" fmla="*/ 8896072 w 11685910"/>
                <a:gd name="connsiteY1761" fmla="*/ 2346453 h 6078415"/>
                <a:gd name="connsiteX1762" fmla="*/ 8897672 w 11685910"/>
                <a:gd name="connsiteY1762" fmla="*/ 2348315 h 6078415"/>
                <a:gd name="connsiteX1763" fmla="*/ 8937310 w 11685910"/>
                <a:gd name="connsiteY1763" fmla="*/ 2346098 h 6078415"/>
                <a:gd name="connsiteX1764" fmla="*/ 8938208 w 11685910"/>
                <a:gd name="connsiteY1764" fmla="*/ 2359927 h 6078415"/>
                <a:gd name="connsiteX1765" fmla="*/ 8921056 w 11685910"/>
                <a:gd name="connsiteY1765" fmla="*/ 2372679 h 6078415"/>
                <a:gd name="connsiteX1766" fmla="*/ 8940094 w 11685910"/>
                <a:gd name="connsiteY1766" fmla="*/ 2395758 h 6078415"/>
                <a:gd name="connsiteX1767" fmla="*/ 8975386 w 11685910"/>
                <a:gd name="connsiteY1767" fmla="*/ 2367830 h 6078415"/>
                <a:gd name="connsiteX1768" fmla="*/ 8994604 w 11685910"/>
                <a:gd name="connsiteY1768" fmla="*/ 2325713 h 6078415"/>
                <a:gd name="connsiteX1769" fmla="*/ 8977626 w 11685910"/>
                <a:gd name="connsiteY1769" fmla="*/ 2307326 h 6078415"/>
                <a:gd name="connsiteX1770" fmla="*/ 8977431 w 11685910"/>
                <a:gd name="connsiteY1770" fmla="*/ 2306814 h 6078415"/>
                <a:gd name="connsiteX1771" fmla="*/ 8980067 w 11685910"/>
                <a:gd name="connsiteY1771" fmla="*/ 2308474 h 6078415"/>
                <a:gd name="connsiteX1772" fmla="*/ 8999363 w 11685910"/>
                <a:gd name="connsiteY1772" fmla="*/ 2319157 h 6078415"/>
                <a:gd name="connsiteX1773" fmla="*/ 9020826 w 11685910"/>
                <a:gd name="connsiteY1773" fmla="*/ 2333705 h 6078415"/>
                <a:gd name="connsiteX1774" fmla="*/ 9041929 w 11685910"/>
                <a:gd name="connsiteY1774" fmla="*/ 2315206 h 6078415"/>
                <a:gd name="connsiteX1775" fmla="*/ 9038607 w 11685910"/>
                <a:gd name="connsiteY1775" fmla="*/ 2314937 h 6078415"/>
                <a:gd name="connsiteX1776" fmla="*/ 9010626 w 11685910"/>
                <a:gd name="connsiteY1776" fmla="*/ 2292639 h 6078415"/>
                <a:gd name="connsiteX1777" fmla="*/ 9011556 w 11685910"/>
                <a:gd name="connsiteY1777" fmla="*/ 2287831 h 6078415"/>
                <a:gd name="connsiteX1778" fmla="*/ 9013320 w 11685910"/>
                <a:gd name="connsiteY1778" fmla="*/ 2289753 h 6078415"/>
                <a:gd name="connsiteX1779" fmla="*/ 9085573 w 11685910"/>
                <a:gd name="connsiteY1779" fmla="*/ 2308022 h 6078415"/>
                <a:gd name="connsiteX1780" fmla="*/ 9097517 w 11685910"/>
                <a:gd name="connsiteY1780" fmla="*/ 2190112 h 6078415"/>
                <a:gd name="connsiteX1781" fmla="*/ 9088177 w 11685910"/>
                <a:gd name="connsiteY1781" fmla="*/ 2200889 h 6078415"/>
                <a:gd name="connsiteX1782" fmla="*/ 9074527 w 11685910"/>
                <a:gd name="connsiteY1782" fmla="*/ 2207803 h 6078415"/>
                <a:gd name="connsiteX1783" fmla="*/ 9065993 w 11685910"/>
                <a:gd name="connsiteY1783" fmla="*/ 2269010 h 6078415"/>
                <a:gd name="connsiteX1784" fmla="*/ 9064502 w 11685910"/>
                <a:gd name="connsiteY1784" fmla="*/ 2270186 h 6078415"/>
                <a:gd name="connsiteX1785" fmla="*/ 9064816 w 11685910"/>
                <a:gd name="connsiteY1785" fmla="*/ 2269581 h 6078415"/>
                <a:gd name="connsiteX1786" fmla="*/ 9068062 w 11685910"/>
                <a:gd name="connsiteY1786" fmla="*/ 2250369 h 6078415"/>
                <a:gd name="connsiteX1787" fmla="*/ 9055400 w 11685910"/>
                <a:gd name="connsiteY1787" fmla="*/ 2252794 h 6078415"/>
                <a:gd name="connsiteX1788" fmla="*/ 9056747 w 11685910"/>
                <a:gd name="connsiteY1788" fmla="*/ 2242287 h 6078415"/>
                <a:gd name="connsiteX1789" fmla="*/ 9044893 w 11685910"/>
                <a:gd name="connsiteY1789" fmla="*/ 2242197 h 6078415"/>
                <a:gd name="connsiteX1790" fmla="*/ 9048305 w 11685910"/>
                <a:gd name="connsiteY1790" fmla="*/ 2234385 h 6078415"/>
                <a:gd name="connsiteX1791" fmla="*/ 9041452 w 11685910"/>
                <a:gd name="connsiteY1791" fmla="*/ 2231219 h 6078415"/>
                <a:gd name="connsiteX1792" fmla="*/ 9039553 w 11685910"/>
                <a:gd name="connsiteY1792" fmla="*/ 2231232 h 6078415"/>
                <a:gd name="connsiteX1793" fmla="*/ 9041115 w 11685910"/>
                <a:gd name="connsiteY1793" fmla="*/ 2230671 h 6078415"/>
                <a:gd name="connsiteX1794" fmla="*/ 9043456 w 11685910"/>
                <a:gd name="connsiteY1794" fmla="*/ 2229984 h 6078415"/>
                <a:gd name="connsiteX1795" fmla="*/ 9054771 w 11685910"/>
                <a:gd name="connsiteY1795" fmla="*/ 2227380 h 6078415"/>
                <a:gd name="connsiteX1796" fmla="*/ 9043276 w 11685910"/>
                <a:gd name="connsiteY1796" fmla="*/ 2212742 h 6078415"/>
                <a:gd name="connsiteX1797" fmla="*/ 9031296 w 11685910"/>
                <a:gd name="connsiteY1797" fmla="*/ 2211273 h 6078415"/>
                <a:gd name="connsiteX1798" fmla="*/ 9030190 w 11685910"/>
                <a:gd name="connsiteY1798" fmla="*/ 2211214 h 6078415"/>
                <a:gd name="connsiteX1799" fmla="*/ 9030199 w 11685910"/>
                <a:gd name="connsiteY1799" fmla="*/ 2211191 h 6078415"/>
                <a:gd name="connsiteX1800" fmla="*/ 9037978 w 11685910"/>
                <a:gd name="connsiteY1800" fmla="*/ 2208791 h 6078415"/>
                <a:gd name="connsiteX1801" fmla="*/ 8995322 w 11685910"/>
                <a:gd name="connsiteY1801" fmla="*/ 2182659 h 6078415"/>
                <a:gd name="connsiteX1802" fmla="*/ 8944854 w 11685910"/>
                <a:gd name="connsiteY1802" fmla="*/ 2206277 h 6078415"/>
                <a:gd name="connsiteX1803" fmla="*/ 8959086 w 11685910"/>
                <a:gd name="connsiteY1803" fmla="*/ 2206604 h 6078415"/>
                <a:gd name="connsiteX1804" fmla="*/ 8959663 w 11685910"/>
                <a:gd name="connsiteY1804" fmla="*/ 2206687 h 6078415"/>
                <a:gd name="connsiteX1805" fmla="*/ 8957253 w 11685910"/>
                <a:gd name="connsiteY1805" fmla="*/ 2207342 h 6078415"/>
                <a:gd name="connsiteX1806" fmla="*/ 8932654 w 11685910"/>
                <a:gd name="connsiteY1806" fmla="*/ 2212459 h 6078415"/>
                <a:gd name="connsiteX1807" fmla="*/ 8886178 w 11685910"/>
                <a:gd name="connsiteY1807" fmla="*/ 2272744 h 6078415"/>
                <a:gd name="connsiteX1808" fmla="*/ 8900160 w 11685910"/>
                <a:gd name="connsiteY1808" fmla="*/ 2294856 h 6078415"/>
                <a:gd name="connsiteX1809" fmla="*/ 8914666 w 11685910"/>
                <a:gd name="connsiteY1809" fmla="*/ 2278318 h 6078415"/>
                <a:gd name="connsiteX1810" fmla="*/ 8897694 w 11685910"/>
                <a:gd name="connsiteY1810" fmla="*/ 2313424 h 6078415"/>
                <a:gd name="connsiteX1811" fmla="*/ 8913623 w 11685910"/>
                <a:gd name="connsiteY1811" fmla="*/ 2322805 h 6078415"/>
                <a:gd name="connsiteX1812" fmla="*/ 8940778 w 11685910"/>
                <a:gd name="connsiteY1812" fmla="*/ 2309362 h 6078415"/>
                <a:gd name="connsiteX1813" fmla="*/ 8958186 w 11685910"/>
                <a:gd name="connsiteY1813" fmla="*/ 2307621 h 6078415"/>
                <a:gd name="connsiteX1814" fmla="*/ 8964423 w 11685910"/>
                <a:gd name="connsiteY1814" fmla="*/ 2238571 h 6078415"/>
                <a:gd name="connsiteX1815" fmla="*/ 8965149 w 11685910"/>
                <a:gd name="connsiteY1815" fmla="*/ 2316470 h 6078415"/>
                <a:gd name="connsiteX1816" fmla="*/ 8963041 w 11685910"/>
                <a:gd name="connsiteY1816" fmla="*/ 2316125 h 6078415"/>
                <a:gd name="connsiteX1817" fmla="*/ 8960372 w 11685910"/>
                <a:gd name="connsiteY1817" fmla="*/ 2315442 h 6078415"/>
                <a:gd name="connsiteX1818" fmla="*/ 8957638 w 11685910"/>
                <a:gd name="connsiteY1818" fmla="*/ 2315016 h 6078415"/>
                <a:gd name="connsiteX1819" fmla="*/ 8956872 w 11685910"/>
                <a:gd name="connsiteY1819" fmla="*/ 2314838 h 6078415"/>
                <a:gd name="connsiteX1820" fmla="*/ 8950101 w 11685910"/>
                <a:gd name="connsiteY1820" fmla="*/ 2314609 h 6078415"/>
                <a:gd name="connsiteX1821" fmla="*/ 8949115 w 11685910"/>
                <a:gd name="connsiteY1821" fmla="*/ 2314839 h 6078415"/>
                <a:gd name="connsiteX1822" fmla="*/ 8948520 w 11685910"/>
                <a:gd name="connsiteY1822" fmla="*/ 2314890 h 6078415"/>
                <a:gd name="connsiteX1823" fmla="*/ 8909292 w 11685910"/>
                <a:gd name="connsiteY1823" fmla="*/ 2330832 h 6078415"/>
                <a:gd name="connsiteX1824" fmla="*/ 8886952 w 11685910"/>
                <a:gd name="connsiteY1824" fmla="*/ 2313113 h 6078415"/>
                <a:gd name="connsiteX1825" fmla="*/ 8886494 w 11685910"/>
                <a:gd name="connsiteY1825" fmla="*/ 2312519 h 6078415"/>
                <a:gd name="connsiteX1826" fmla="*/ 8888216 w 11685910"/>
                <a:gd name="connsiteY1826" fmla="*/ 2309642 h 6078415"/>
                <a:gd name="connsiteX1827" fmla="*/ 8894295 w 11685910"/>
                <a:gd name="connsiteY1827" fmla="*/ 2300838 h 6078415"/>
                <a:gd name="connsiteX1828" fmla="*/ 8877233 w 11685910"/>
                <a:gd name="connsiteY1828" fmla="*/ 2273807 h 6078415"/>
                <a:gd name="connsiteX1829" fmla="*/ 8907496 w 11685910"/>
                <a:gd name="connsiteY1829" fmla="*/ 2227649 h 6078415"/>
                <a:gd name="connsiteX1830" fmla="*/ 8827441 w 11685910"/>
                <a:gd name="connsiteY1830" fmla="*/ 2275031 h 6078415"/>
                <a:gd name="connsiteX1831" fmla="*/ 8823816 w 11685910"/>
                <a:gd name="connsiteY1831" fmla="*/ 2271768 h 6078415"/>
                <a:gd name="connsiteX1832" fmla="*/ 8824876 w 11685910"/>
                <a:gd name="connsiteY1832" fmla="*/ 2271173 h 6078415"/>
                <a:gd name="connsiteX1833" fmla="*/ 8828830 w 11685910"/>
                <a:gd name="connsiteY1833" fmla="*/ 2251267 h 6078415"/>
                <a:gd name="connsiteX1834" fmla="*/ 8818347 w 11685910"/>
                <a:gd name="connsiteY1834" fmla="*/ 2261360 h 6078415"/>
                <a:gd name="connsiteX1835" fmla="*/ 8819259 w 11685910"/>
                <a:gd name="connsiteY1835" fmla="*/ 2254460 h 6078415"/>
                <a:gd name="connsiteX1836" fmla="*/ 8832905 w 11685910"/>
                <a:gd name="connsiteY1836" fmla="*/ 2245905 h 6078415"/>
                <a:gd name="connsiteX1837" fmla="*/ 8832905 w 11685910"/>
                <a:gd name="connsiteY1837" fmla="*/ 2269731 h 6078415"/>
                <a:gd name="connsiteX1838" fmla="*/ 8909246 w 11685910"/>
                <a:gd name="connsiteY1838" fmla="*/ 2221349 h 6078415"/>
                <a:gd name="connsiteX1839" fmla="*/ 8931857 w 11685910"/>
                <a:gd name="connsiteY1839" fmla="*/ 2204817 h 6078415"/>
                <a:gd name="connsiteX1840" fmla="*/ 8937893 w 11685910"/>
                <a:gd name="connsiteY1840" fmla="*/ 2204184 h 6078415"/>
                <a:gd name="connsiteX1841" fmla="*/ 8938592 w 11685910"/>
                <a:gd name="connsiteY1841" fmla="*/ 2202687 h 6078415"/>
                <a:gd name="connsiteX1842" fmla="*/ 8957871 w 11685910"/>
                <a:gd name="connsiteY1842" fmla="*/ 2184151 h 6078415"/>
                <a:gd name="connsiteX1843" fmla="*/ 8993542 w 11685910"/>
                <a:gd name="connsiteY1843" fmla="*/ 2176097 h 6078415"/>
                <a:gd name="connsiteX1844" fmla="*/ 2932806 w 11685910"/>
                <a:gd name="connsiteY1844" fmla="*/ 2176097 h 6078415"/>
                <a:gd name="connsiteX1845" fmla="*/ 2938709 w 11685910"/>
                <a:gd name="connsiteY1845" fmla="*/ 2176614 h 6078415"/>
                <a:gd name="connsiteX1846" fmla="*/ 2981985 w 11685910"/>
                <a:gd name="connsiteY1846" fmla="*/ 2206032 h 6078415"/>
                <a:gd name="connsiteX1847" fmla="*/ 2999976 w 11685910"/>
                <a:gd name="connsiteY1847" fmla="*/ 2227184 h 6078415"/>
                <a:gd name="connsiteX1848" fmla="*/ 2996816 w 11685910"/>
                <a:gd name="connsiteY1848" fmla="*/ 2234964 h 6078415"/>
                <a:gd name="connsiteX1849" fmla="*/ 3009929 w 11685910"/>
                <a:gd name="connsiteY1849" fmla="*/ 2245069 h 6078415"/>
                <a:gd name="connsiteX1850" fmla="*/ 3008243 w 11685910"/>
                <a:gd name="connsiteY1850" fmla="*/ 2207735 h 6078415"/>
                <a:gd name="connsiteX1851" fmla="*/ 3023559 w 11685910"/>
                <a:gd name="connsiteY1851" fmla="*/ 2198010 h 6078415"/>
                <a:gd name="connsiteX1852" fmla="*/ 3035473 w 11685910"/>
                <a:gd name="connsiteY1852" fmla="*/ 2186826 h 6078415"/>
                <a:gd name="connsiteX1853" fmla="*/ 3058326 w 11685910"/>
                <a:gd name="connsiteY1853" fmla="*/ 2249309 h 6078415"/>
                <a:gd name="connsiteX1854" fmla="*/ 3020642 w 11685910"/>
                <a:gd name="connsiteY1854" fmla="*/ 2317627 h 6078415"/>
                <a:gd name="connsiteX1855" fmla="*/ 2988615 w 11685910"/>
                <a:gd name="connsiteY1855" fmla="*/ 2318345 h 6078415"/>
                <a:gd name="connsiteX1856" fmla="*/ 2984609 w 11685910"/>
                <a:gd name="connsiteY1856" fmla="*/ 2316950 h 6078415"/>
                <a:gd name="connsiteX1857" fmla="*/ 2984128 w 11685910"/>
                <a:gd name="connsiteY1857" fmla="*/ 2319226 h 6078415"/>
                <a:gd name="connsiteX1858" fmla="*/ 2959374 w 11685910"/>
                <a:gd name="connsiteY1858" fmla="*/ 2339265 h 6078415"/>
                <a:gd name="connsiteX1859" fmla="*/ 2937736 w 11685910"/>
                <a:gd name="connsiteY1859" fmla="*/ 2329540 h 6078415"/>
                <a:gd name="connsiteX1860" fmla="*/ 2936763 w 11685910"/>
                <a:gd name="connsiteY1860" fmla="*/ 2342182 h 6078415"/>
                <a:gd name="connsiteX1861" fmla="*/ 2946489 w 11685910"/>
                <a:gd name="connsiteY1861" fmla="*/ 2362848 h 6078415"/>
                <a:gd name="connsiteX1862" fmla="*/ 2946002 w 11685910"/>
                <a:gd name="connsiteY1862" fmla="*/ 2374032 h 6078415"/>
                <a:gd name="connsiteX1863" fmla="*/ 2948190 w 11685910"/>
                <a:gd name="connsiteY1863" fmla="*/ 2387890 h 6078415"/>
                <a:gd name="connsiteX1864" fmla="*/ 2932144 w 11685910"/>
                <a:gd name="connsiteY1864" fmla="*/ 2393725 h 6078415"/>
                <a:gd name="connsiteX1865" fmla="*/ 2907102 w 11685910"/>
                <a:gd name="connsiteY1865" fmla="*/ 2388376 h 6078415"/>
                <a:gd name="connsiteX1866" fmla="*/ 2906338 w 11685910"/>
                <a:gd name="connsiteY1866" fmla="*/ 2383892 h 6078415"/>
                <a:gd name="connsiteX1867" fmla="*/ 2906298 w 11685910"/>
                <a:gd name="connsiteY1867" fmla="*/ 2382538 h 6078415"/>
                <a:gd name="connsiteX1868" fmla="*/ 2902533 w 11685910"/>
                <a:gd name="connsiteY1868" fmla="*/ 2386106 h 6078415"/>
                <a:gd name="connsiteX1869" fmla="*/ 2878900 w 11685910"/>
                <a:gd name="connsiteY1869" fmla="*/ 2400532 h 6078415"/>
                <a:gd name="connsiteX1870" fmla="*/ 2855317 w 11685910"/>
                <a:gd name="connsiteY1870" fmla="*/ 2372087 h 6078415"/>
                <a:gd name="connsiteX1871" fmla="*/ 2866257 w 11685910"/>
                <a:gd name="connsiteY1871" fmla="*/ 2360173 h 6078415"/>
                <a:gd name="connsiteX1872" fmla="*/ 2841215 w 11685910"/>
                <a:gd name="connsiteY1872" fmla="*/ 2357742 h 6078415"/>
                <a:gd name="connsiteX1873" fmla="*/ 2840243 w 11685910"/>
                <a:gd name="connsiteY1873" fmla="*/ 2368683 h 6078415"/>
                <a:gd name="connsiteX1874" fmla="*/ 2833922 w 11685910"/>
                <a:gd name="connsiteY1874" fmla="*/ 2379380 h 6078415"/>
                <a:gd name="connsiteX1875" fmla="*/ 2828816 w 11685910"/>
                <a:gd name="connsiteY1875" fmla="*/ 2398587 h 6078415"/>
                <a:gd name="connsiteX1876" fmla="*/ 2788458 w 11685910"/>
                <a:gd name="connsiteY1876" fmla="*/ 2390078 h 6078415"/>
                <a:gd name="connsiteX1877" fmla="*/ 2789430 w 11685910"/>
                <a:gd name="connsiteY1877" fmla="*/ 2375977 h 6078415"/>
                <a:gd name="connsiteX1878" fmla="*/ 2779705 w 11685910"/>
                <a:gd name="connsiteY1878" fmla="*/ 2377922 h 6078415"/>
                <a:gd name="connsiteX1879" fmla="*/ 2754420 w 11685910"/>
                <a:gd name="connsiteY1879" fmla="*/ 2351907 h 6078415"/>
                <a:gd name="connsiteX1880" fmla="*/ 2769737 w 11685910"/>
                <a:gd name="connsiteY1880" fmla="*/ 2325163 h 6078415"/>
                <a:gd name="connsiteX1881" fmla="*/ 2771195 w 11685910"/>
                <a:gd name="connsiteY1881" fmla="*/ 2298420 h 6078415"/>
                <a:gd name="connsiteX1882" fmla="*/ 2755635 w 11685910"/>
                <a:gd name="connsiteY1882" fmla="*/ 2276296 h 6078415"/>
                <a:gd name="connsiteX1883" fmla="*/ 2757408 w 11685910"/>
                <a:gd name="connsiteY1883" fmla="*/ 2262887 h 6078415"/>
                <a:gd name="connsiteX1884" fmla="*/ 2757870 w 11685910"/>
                <a:gd name="connsiteY1884" fmla="*/ 2271666 h 6078415"/>
                <a:gd name="connsiteX1885" fmla="*/ 2758699 w 11685910"/>
                <a:gd name="connsiteY1885" fmla="*/ 2272064 h 6078415"/>
                <a:gd name="connsiteX1886" fmla="*/ 2758822 w 11685910"/>
                <a:gd name="connsiteY1886" fmla="*/ 2273246 h 6078415"/>
                <a:gd name="connsiteX1887" fmla="*/ 2778510 w 11685910"/>
                <a:gd name="connsiteY1887" fmla="*/ 2287188 h 6078415"/>
                <a:gd name="connsiteX1888" fmla="*/ 2796856 w 11685910"/>
                <a:gd name="connsiteY1888" fmla="*/ 2358296 h 6078415"/>
                <a:gd name="connsiteX1889" fmla="*/ 2797825 w 11685910"/>
                <a:gd name="connsiteY1889" fmla="*/ 2360158 h 6078415"/>
                <a:gd name="connsiteX1890" fmla="*/ 2797791 w 11685910"/>
                <a:gd name="connsiteY1890" fmla="*/ 2361032 h 6078415"/>
                <a:gd name="connsiteX1891" fmla="*/ 2796380 w 11685910"/>
                <a:gd name="connsiteY1891" fmla="*/ 2374565 h 6078415"/>
                <a:gd name="connsiteX1892" fmla="*/ 2793058 w 11685910"/>
                <a:gd name="connsiteY1892" fmla="*/ 2385970 h 6078415"/>
                <a:gd name="connsiteX1893" fmla="*/ 2827452 w 11685910"/>
                <a:gd name="connsiteY1893" fmla="*/ 2392615 h 6078415"/>
                <a:gd name="connsiteX1894" fmla="*/ 2828619 w 11685910"/>
                <a:gd name="connsiteY1894" fmla="*/ 2381659 h 6078415"/>
                <a:gd name="connsiteX1895" fmla="*/ 2835265 w 11685910"/>
                <a:gd name="connsiteY1895" fmla="*/ 2367381 h 6078415"/>
                <a:gd name="connsiteX1896" fmla="*/ 2835545 w 11685910"/>
                <a:gd name="connsiteY1896" fmla="*/ 2352171 h 6078415"/>
                <a:gd name="connsiteX1897" fmla="*/ 2835336 w 11685910"/>
                <a:gd name="connsiteY1897" fmla="*/ 2346453 h 6078415"/>
                <a:gd name="connsiteX1898" fmla="*/ 2836935 w 11685910"/>
                <a:gd name="connsiteY1898" fmla="*/ 2348315 h 6078415"/>
                <a:gd name="connsiteX1899" fmla="*/ 2876573 w 11685910"/>
                <a:gd name="connsiteY1899" fmla="*/ 2346098 h 6078415"/>
                <a:gd name="connsiteX1900" fmla="*/ 2877471 w 11685910"/>
                <a:gd name="connsiteY1900" fmla="*/ 2359927 h 6078415"/>
                <a:gd name="connsiteX1901" fmla="*/ 2860319 w 11685910"/>
                <a:gd name="connsiteY1901" fmla="*/ 2372679 h 6078415"/>
                <a:gd name="connsiteX1902" fmla="*/ 2879358 w 11685910"/>
                <a:gd name="connsiteY1902" fmla="*/ 2395758 h 6078415"/>
                <a:gd name="connsiteX1903" fmla="*/ 2914649 w 11685910"/>
                <a:gd name="connsiteY1903" fmla="*/ 2367830 h 6078415"/>
                <a:gd name="connsiteX1904" fmla="*/ 2933867 w 11685910"/>
                <a:gd name="connsiteY1904" fmla="*/ 2325713 h 6078415"/>
                <a:gd name="connsiteX1905" fmla="*/ 2916889 w 11685910"/>
                <a:gd name="connsiteY1905" fmla="*/ 2307326 h 6078415"/>
                <a:gd name="connsiteX1906" fmla="*/ 2916694 w 11685910"/>
                <a:gd name="connsiteY1906" fmla="*/ 2306814 h 6078415"/>
                <a:gd name="connsiteX1907" fmla="*/ 2919331 w 11685910"/>
                <a:gd name="connsiteY1907" fmla="*/ 2308474 h 6078415"/>
                <a:gd name="connsiteX1908" fmla="*/ 2938626 w 11685910"/>
                <a:gd name="connsiteY1908" fmla="*/ 2319157 h 6078415"/>
                <a:gd name="connsiteX1909" fmla="*/ 2960089 w 11685910"/>
                <a:gd name="connsiteY1909" fmla="*/ 2333705 h 6078415"/>
                <a:gd name="connsiteX1910" fmla="*/ 2981193 w 11685910"/>
                <a:gd name="connsiteY1910" fmla="*/ 2315206 h 6078415"/>
                <a:gd name="connsiteX1911" fmla="*/ 2977870 w 11685910"/>
                <a:gd name="connsiteY1911" fmla="*/ 2314937 h 6078415"/>
                <a:gd name="connsiteX1912" fmla="*/ 2949889 w 11685910"/>
                <a:gd name="connsiteY1912" fmla="*/ 2292639 h 6078415"/>
                <a:gd name="connsiteX1913" fmla="*/ 2950820 w 11685910"/>
                <a:gd name="connsiteY1913" fmla="*/ 2287831 h 6078415"/>
                <a:gd name="connsiteX1914" fmla="*/ 2952584 w 11685910"/>
                <a:gd name="connsiteY1914" fmla="*/ 2289753 h 6078415"/>
                <a:gd name="connsiteX1915" fmla="*/ 3024836 w 11685910"/>
                <a:gd name="connsiteY1915" fmla="*/ 2308022 h 6078415"/>
                <a:gd name="connsiteX1916" fmla="*/ 3036780 w 11685910"/>
                <a:gd name="connsiteY1916" fmla="*/ 2190112 h 6078415"/>
                <a:gd name="connsiteX1917" fmla="*/ 3027441 w 11685910"/>
                <a:gd name="connsiteY1917" fmla="*/ 2200889 h 6078415"/>
                <a:gd name="connsiteX1918" fmla="*/ 3013791 w 11685910"/>
                <a:gd name="connsiteY1918" fmla="*/ 2207803 h 6078415"/>
                <a:gd name="connsiteX1919" fmla="*/ 3005256 w 11685910"/>
                <a:gd name="connsiteY1919" fmla="*/ 2269010 h 6078415"/>
                <a:gd name="connsiteX1920" fmla="*/ 3003766 w 11685910"/>
                <a:gd name="connsiteY1920" fmla="*/ 2270186 h 6078415"/>
                <a:gd name="connsiteX1921" fmla="*/ 3004079 w 11685910"/>
                <a:gd name="connsiteY1921" fmla="*/ 2269581 h 6078415"/>
                <a:gd name="connsiteX1922" fmla="*/ 3007325 w 11685910"/>
                <a:gd name="connsiteY1922" fmla="*/ 2250369 h 6078415"/>
                <a:gd name="connsiteX1923" fmla="*/ 2994663 w 11685910"/>
                <a:gd name="connsiteY1923" fmla="*/ 2252794 h 6078415"/>
                <a:gd name="connsiteX1924" fmla="*/ 2996010 w 11685910"/>
                <a:gd name="connsiteY1924" fmla="*/ 2242287 h 6078415"/>
                <a:gd name="connsiteX1925" fmla="*/ 2984156 w 11685910"/>
                <a:gd name="connsiteY1925" fmla="*/ 2242197 h 6078415"/>
                <a:gd name="connsiteX1926" fmla="*/ 2987569 w 11685910"/>
                <a:gd name="connsiteY1926" fmla="*/ 2234385 h 6078415"/>
                <a:gd name="connsiteX1927" fmla="*/ 2980716 w 11685910"/>
                <a:gd name="connsiteY1927" fmla="*/ 2231219 h 6078415"/>
                <a:gd name="connsiteX1928" fmla="*/ 2978816 w 11685910"/>
                <a:gd name="connsiteY1928" fmla="*/ 2231232 h 6078415"/>
                <a:gd name="connsiteX1929" fmla="*/ 2980378 w 11685910"/>
                <a:gd name="connsiteY1929" fmla="*/ 2230671 h 6078415"/>
                <a:gd name="connsiteX1930" fmla="*/ 2982719 w 11685910"/>
                <a:gd name="connsiteY1930" fmla="*/ 2229984 h 6078415"/>
                <a:gd name="connsiteX1931" fmla="*/ 2994034 w 11685910"/>
                <a:gd name="connsiteY1931" fmla="*/ 2227380 h 6078415"/>
                <a:gd name="connsiteX1932" fmla="*/ 2982539 w 11685910"/>
                <a:gd name="connsiteY1932" fmla="*/ 2212742 h 6078415"/>
                <a:gd name="connsiteX1933" fmla="*/ 2970559 w 11685910"/>
                <a:gd name="connsiteY1933" fmla="*/ 2211273 h 6078415"/>
                <a:gd name="connsiteX1934" fmla="*/ 2969453 w 11685910"/>
                <a:gd name="connsiteY1934" fmla="*/ 2211214 h 6078415"/>
                <a:gd name="connsiteX1935" fmla="*/ 2969462 w 11685910"/>
                <a:gd name="connsiteY1935" fmla="*/ 2211191 h 6078415"/>
                <a:gd name="connsiteX1936" fmla="*/ 2977242 w 11685910"/>
                <a:gd name="connsiteY1936" fmla="*/ 2208791 h 6078415"/>
                <a:gd name="connsiteX1937" fmla="*/ 2934585 w 11685910"/>
                <a:gd name="connsiteY1937" fmla="*/ 2182659 h 6078415"/>
                <a:gd name="connsiteX1938" fmla="*/ 2884117 w 11685910"/>
                <a:gd name="connsiteY1938" fmla="*/ 2206277 h 6078415"/>
                <a:gd name="connsiteX1939" fmla="*/ 2898349 w 11685910"/>
                <a:gd name="connsiteY1939" fmla="*/ 2206604 h 6078415"/>
                <a:gd name="connsiteX1940" fmla="*/ 2898926 w 11685910"/>
                <a:gd name="connsiteY1940" fmla="*/ 2206687 h 6078415"/>
                <a:gd name="connsiteX1941" fmla="*/ 2896516 w 11685910"/>
                <a:gd name="connsiteY1941" fmla="*/ 2207342 h 6078415"/>
                <a:gd name="connsiteX1942" fmla="*/ 2871918 w 11685910"/>
                <a:gd name="connsiteY1942" fmla="*/ 2212459 h 6078415"/>
                <a:gd name="connsiteX1943" fmla="*/ 2825442 w 11685910"/>
                <a:gd name="connsiteY1943" fmla="*/ 2272744 h 6078415"/>
                <a:gd name="connsiteX1944" fmla="*/ 2839423 w 11685910"/>
                <a:gd name="connsiteY1944" fmla="*/ 2294856 h 6078415"/>
                <a:gd name="connsiteX1945" fmla="*/ 2853929 w 11685910"/>
                <a:gd name="connsiteY1945" fmla="*/ 2278318 h 6078415"/>
                <a:gd name="connsiteX1946" fmla="*/ 2836957 w 11685910"/>
                <a:gd name="connsiteY1946" fmla="*/ 2313424 h 6078415"/>
                <a:gd name="connsiteX1947" fmla="*/ 2852886 w 11685910"/>
                <a:gd name="connsiteY1947" fmla="*/ 2322805 h 6078415"/>
                <a:gd name="connsiteX1948" fmla="*/ 2880041 w 11685910"/>
                <a:gd name="connsiteY1948" fmla="*/ 2309362 h 6078415"/>
                <a:gd name="connsiteX1949" fmla="*/ 2897449 w 11685910"/>
                <a:gd name="connsiteY1949" fmla="*/ 2307621 h 6078415"/>
                <a:gd name="connsiteX1950" fmla="*/ 2903687 w 11685910"/>
                <a:gd name="connsiteY1950" fmla="*/ 2238571 h 6078415"/>
                <a:gd name="connsiteX1951" fmla="*/ 2904412 w 11685910"/>
                <a:gd name="connsiteY1951" fmla="*/ 2316470 h 6078415"/>
                <a:gd name="connsiteX1952" fmla="*/ 2902304 w 11685910"/>
                <a:gd name="connsiteY1952" fmla="*/ 2316125 h 6078415"/>
                <a:gd name="connsiteX1953" fmla="*/ 2899635 w 11685910"/>
                <a:gd name="connsiteY1953" fmla="*/ 2315442 h 6078415"/>
                <a:gd name="connsiteX1954" fmla="*/ 2896902 w 11685910"/>
                <a:gd name="connsiteY1954" fmla="*/ 2315016 h 6078415"/>
                <a:gd name="connsiteX1955" fmla="*/ 2896135 w 11685910"/>
                <a:gd name="connsiteY1955" fmla="*/ 2314838 h 6078415"/>
                <a:gd name="connsiteX1956" fmla="*/ 2889365 w 11685910"/>
                <a:gd name="connsiteY1956" fmla="*/ 2314609 h 6078415"/>
                <a:gd name="connsiteX1957" fmla="*/ 2888379 w 11685910"/>
                <a:gd name="connsiteY1957" fmla="*/ 2314839 h 6078415"/>
                <a:gd name="connsiteX1958" fmla="*/ 2887783 w 11685910"/>
                <a:gd name="connsiteY1958" fmla="*/ 2314890 h 6078415"/>
                <a:gd name="connsiteX1959" fmla="*/ 2848555 w 11685910"/>
                <a:gd name="connsiteY1959" fmla="*/ 2330832 h 6078415"/>
                <a:gd name="connsiteX1960" fmla="*/ 2826215 w 11685910"/>
                <a:gd name="connsiteY1960" fmla="*/ 2313113 h 6078415"/>
                <a:gd name="connsiteX1961" fmla="*/ 2825757 w 11685910"/>
                <a:gd name="connsiteY1961" fmla="*/ 2312519 h 6078415"/>
                <a:gd name="connsiteX1962" fmla="*/ 2827479 w 11685910"/>
                <a:gd name="connsiteY1962" fmla="*/ 2309642 h 6078415"/>
                <a:gd name="connsiteX1963" fmla="*/ 2833558 w 11685910"/>
                <a:gd name="connsiteY1963" fmla="*/ 2300838 h 6078415"/>
                <a:gd name="connsiteX1964" fmla="*/ 2816496 w 11685910"/>
                <a:gd name="connsiteY1964" fmla="*/ 2273807 h 6078415"/>
                <a:gd name="connsiteX1965" fmla="*/ 2846759 w 11685910"/>
                <a:gd name="connsiteY1965" fmla="*/ 2227649 h 6078415"/>
                <a:gd name="connsiteX1966" fmla="*/ 2766704 w 11685910"/>
                <a:gd name="connsiteY1966" fmla="*/ 2275031 h 6078415"/>
                <a:gd name="connsiteX1967" fmla="*/ 2763080 w 11685910"/>
                <a:gd name="connsiteY1967" fmla="*/ 2271768 h 6078415"/>
                <a:gd name="connsiteX1968" fmla="*/ 2764140 w 11685910"/>
                <a:gd name="connsiteY1968" fmla="*/ 2271173 h 6078415"/>
                <a:gd name="connsiteX1969" fmla="*/ 2768093 w 11685910"/>
                <a:gd name="connsiteY1969" fmla="*/ 2251267 h 6078415"/>
                <a:gd name="connsiteX1970" fmla="*/ 2757610 w 11685910"/>
                <a:gd name="connsiteY1970" fmla="*/ 2261359 h 6078415"/>
                <a:gd name="connsiteX1971" fmla="*/ 2758523 w 11685910"/>
                <a:gd name="connsiteY1971" fmla="*/ 2254460 h 6078415"/>
                <a:gd name="connsiteX1972" fmla="*/ 2772168 w 11685910"/>
                <a:gd name="connsiteY1972" fmla="*/ 2245905 h 6078415"/>
                <a:gd name="connsiteX1973" fmla="*/ 2772168 w 11685910"/>
                <a:gd name="connsiteY1973" fmla="*/ 2269731 h 6078415"/>
                <a:gd name="connsiteX1974" fmla="*/ 2848509 w 11685910"/>
                <a:gd name="connsiteY1974" fmla="*/ 2221349 h 6078415"/>
                <a:gd name="connsiteX1975" fmla="*/ 2871120 w 11685910"/>
                <a:gd name="connsiteY1975" fmla="*/ 2204817 h 6078415"/>
                <a:gd name="connsiteX1976" fmla="*/ 2877156 w 11685910"/>
                <a:gd name="connsiteY1976" fmla="*/ 2204184 h 6078415"/>
                <a:gd name="connsiteX1977" fmla="*/ 2877855 w 11685910"/>
                <a:gd name="connsiteY1977" fmla="*/ 2202687 h 6078415"/>
                <a:gd name="connsiteX1978" fmla="*/ 2897135 w 11685910"/>
                <a:gd name="connsiteY1978" fmla="*/ 2184151 h 6078415"/>
                <a:gd name="connsiteX1979" fmla="*/ 2932806 w 11685910"/>
                <a:gd name="connsiteY1979" fmla="*/ 2176097 h 6078415"/>
                <a:gd name="connsiteX1980" fmla="*/ 11424848 w 11685910"/>
                <a:gd name="connsiteY1980" fmla="*/ 1933898 h 6078415"/>
                <a:gd name="connsiteX1981" fmla="*/ 11414386 w 11685910"/>
                <a:gd name="connsiteY1981" fmla="*/ 1982027 h 6078415"/>
                <a:gd name="connsiteX1982" fmla="*/ 11457109 w 11685910"/>
                <a:gd name="connsiteY1982" fmla="*/ 1982027 h 6078415"/>
                <a:gd name="connsiteX1983" fmla="*/ 11467397 w 11685910"/>
                <a:gd name="connsiteY1983" fmla="*/ 1933898 h 6078415"/>
                <a:gd name="connsiteX1984" fmla="*/ 5360511 w 11685910"/>
                <a:gd name="connsiteY1984" fmla="*/ 1933898 h 6078415"/>
                <a:gd name="connsiteX1985" fmla="*/ 5350048 w 11685910"/>
                <a:gd name="connsiteY1985" fmla="*/ 1982027 h 6078415"/>
                <a:gd name="connsiteX1986" fmla="*/ 5392771 w 11685910"/>
                <a:gd name="connsiteY1986" fmla="*/ 1982027 h 6078415"/>
                <a:gd name="connsiteX1987" fmla="*/ 5403060 w 11685910"/>
                <a:gd name="connsiteY1987" fmla="*/ 1933898 h 6078415"/>
                <a:gd name="connsiteX1988" fmla="*/ 11211940 w 11685910"/>
                <a:gd name="connsiteY1988" fmla="*/ 1847981 h 6078415"/>
                <a:gd name="connsiteX1989" fmla="*/ 11266626 w 11685910"/>
                <a:gd name="connsiteY1989" fmla="*/ 1887002 h 6078415"/>
                <a:gd name="connsiteX1990" fmla="*/ 11266626 w 11685910"/>
                <a:gd name="connsiteY1990" fmla="*/ 1923363 h 6078415"/>
                <a:gd name="connsiteX1991" fmla="*/ 11290570 w 11685910"/>
                <a:gd name="connsiteY1991" fmla="*/ 1950223 h 6078415"/>
                <a:gd name="connsiteX1992" fmla="*/ 11290570 w 11685910"/>
                <a:gd name="connsiteY1992" fmla="*/ 1968719 h 6078415"/>
                <a:gd name="connsiteX1993" fmla="*/ 11266626 w 11685910"/>
                <a:gd name="connsiteY1993" fmla="*/ 1995072 h 6078415"/>
                <a:gd name="connsiteX1994" fmla="*/ 11266626 w 11685910"/>
                <a:gd name="connsiteY1994" fmla="*/ 2032446 h 6078415"/>
                <a:gd name="connsiteX1995" fmla="*/ 11211940 w 11685910"/>
                <a:gd name="connsiteY1995" fmla="*/ 2070961 h 6078415"/>
                <a:gd name="connsiteX1996" fmla="*/ 11211940 w 11685910"/>
                <a:gd name="connsiteY1996" fmla="*/ 2051450 h 6078415"/>
                <a:gd name="connsiteX1997" fmla="*/ 11231018 w 11685910"/>
                <a:gd name="connsiteY1997" fmla="*/ 2045369 h 6078415"/>
                <a:gd name="connsiteX1998" fmla="*/ 11236657 w 11685910"/>
                <a:gd name="connsiteY1998" fmla="*/ 2026112 h 6078415"/>
                <a:gd name="connsiteX1999" fmla="*/ 11236657 w 11685910"/>
                <a:gd name="connsiteY1999" fmla="*/ 1990764 h 6078415"/>
                <a:gd name="connsiteX2000" fmla="*/ 11267089 w 11685910"/>
                <a:gd name="connsiteY2000" fmla="*/ 1959471 h 6078415"/>
                <a:gd name="connsiteX2001" fmla="*/ 11267089 w 11685910"/>
                <a:gd name="connsiteY2001" fmla="*/ 1959091 h 6078415"/>
                <a:gd name="connsiteX2002" fmla="*/ 11236657 w 11685910"/>
                <a:gd name="connsiteY2002" fmla="*/ 1927544 h 6078415"/>
                <a:gd name="connsiteX2003" fmla="*/ 11236657 w 11685910"/>
                <a:gd name="connsiteY2003" fmla="*/ 1891817 h 6078415"/>
                <a:gd name="connsiteX2004" fmla="*/ 11211940 w 11685910"/>
                <a:gd name="connsiteY2004" fmla="*/ 1867619 h 6078415"/>
                <a:gd name="connsiteX2005" fmla="*/ 11190621 w 11685910"/>
                <a:gd name="connsiteY2005" fmla="*/ 1847981 h 6078415"/>
                <a:gd name="connsiteX2006" fmla="*/ 11190621 w 11685910"/>
                <a:gd name="connsiteY2006" fmla="*/ 1867619 h 6078415"/>
                <a:gd name="connsiteX2007" fmla="*/ 11166059 w 11685910"/>
                <a:gd name="connsiteY2007" fmla="*/ 1891817 h 6078415"/>
                <a:gd name="connsiteX2008" fmla="*/ 11166059 w 11685910"/>
                <a:gd name="connsiteY2008" fmla="*/ 1927544 h 6078415"/>
                <a:gd name="connsiteX2009" fmla="*/ 11135318 w 11685910"/>
                <a:gd name="connsiteY2009" fmla="*/ 1959091 h 6078415"/>
                <a:gd name="connsiteX2010" fmla="*/ 11135318 w 11685910"/>
                <a:gd name="connsiteY2010" fmla="*/ 1959471 h 6078415"/>
                <a:gd name="connsiteX2011" fmla="*/ 11166059 w 11685910"/>
                <a:gd name="connsiteY2011" fmla="*/ 1990764 h 6078415"/>
                <a:gd name="connsiteX2012" fmla="*/ 11166059 w 11685910"/>
                <a:gd name="connsiteY2012" fmla="*/ 2026112 h 6078415"/>
                <a:gd name="connsiteX2013" fmla="*/ 11171543 w 11685910"/>
                <a:gd name="connsiteY2013" fmla="*/ 2045433 h 6078415"/>
                <a:gd name="connsiteX2014" fmla="*/ 11190621 w 11685910"/>
                <a:gd name="connsiteY2014" fmla="*/ 2051450 h 6078415"/>
                <a:gd name="connsiteX2015" fmla="*/ 11190621 w 11685910"/>
                <a:gd name="connsiteY2015" fmla="*/ 2070961 h 6078415"/>
                <a:gd name="connsiteX2016" fmla="*/ 11135627 w 11685910"/>
                <a:gd name="connsiteY2016" fmla="*/ 2032446 h 6078415"/>
                <a:gd name="connsiteX2017" fmla="*/ 11135627 w 11685910"/>
                <a:gd name="connsiteY2017" fmla="*/ 1995072 h 6078415"/>
                <a:gd name="connsiteX2018" fmla="*/ 11111528 w 11685910"/>
                <a:gd name="connsiteY2018" fmla="*/ 1968719 h 6078415"/>
                <a:gd name="connsiteX2019" fmla="*/ 11111528 w 11685910"/>
                <a:gd name="connsiteY2019" fmla="*/ 1950223 h 6078415"/>
                <a:gd name="connsiteX2020" fmla="*/ 11135627 w 11685910"/>
                <a:gd name="connsiteY2020" fmla="*/ 1923363 h 6078415"/>
                <a:gd name="connsiteX2021" fmla="*/ 11135627 w 11685910"/>
                <a:gd name="connsiteY2021" fmla="*/ 1887002 h 6078415"/>
                <a:gd name="connsiteX2022" fmla="*/ 11190621 w 11685910"/>
                <a:gd name="connsiteY2022" fmla="*/ 1847981 h 6078415"/>
                <a:gd name="connsiteX2023" fmla="*/ 8161190 w 11685910"/>
                <a:gd name="connsiteY2023" fmla="*/ 1847981 h 6078415"/>
                <a:gd name="connsiteX2024" fmla="*/ 8215876 w 11685910"/>
                <a:gd name="connsiteY2024" fmla="*/ 1887002 h 6078415"/>
                <a:gd name="connsiteX2025" fmla="*/ 8215876 w 11685910"/>
                <a:gd name="connsiteY2025" fmla="*/ 1923363 h 6078415"/>
                <a:gd name="connsiteX2026" fmla="*/ 8239820 w 11685910"/>
                <a:gd name="connsiteY2026" fmla="*/ 1950223 h 6078415"/>
                <a:gd name="connsiteX2027" fmla="*/ 8239820 w 11685910"/>
                <a:gd name="connsiteY2027" fmla="*/ 1968719 h 6078415"/>
                <a:gd name="connsiteX2028" fmla="*/ 8215876 w 11685910"/>
                <a:gd name="connsiteY2028" fmla="*/ 1995072 h 6078415"/>
                <a:gd name="connsiteX2029" fmla="*/ 8215876 w 11685910"/>
                <a:gd name="connsiteY2029" fmla="*/ 2032446 h 6078415"/>
                <a:gd name="connsiteX2030" fmla="*/ 8161190 w 11685910"/>
                <a:gd name="connsiteY2030" fmla="*/ 2070961 h 6078415"/>
                <a:gd name="connsiteX2031" fmla="*/ 8161190 w 11685910"/>
                <a:gd name="connsiteY2031" fmla="*/ 2051450 h 6078415"/>
                <a:gd name="connsiteX2032" fmla="*/ 8180268 w 11685910"/>
                <a:gd name="connsiteY2032" fmla="*/ 2045369 h 6078415"/>
                <a:gd name="connsiteX2033" fmla="*/ 8185907 w 11685910"/>
                <a:gd name="connsiteY2033" fmla="*/ 2026112 h 6078415"/>
                <a:gd name="connsiteX2034" fmla="*/ 8185907 w 11685910"/>
                <a:gd name="connsiteY2034" fmla="*/ 1990764 h 6078415"/>
                <a:gd name="connsiteX2035" fmla="*/ 8216339 w 11685910"/>
                <a:gd name="connsiteY2035" fmla="*/ 1959471 h 6078415"/>
                <a:gd name="connsiteX2036" fmla="*/ 8216339 w 11685910"/>
                <a:gd name="connsiteY2036" fmla="*/ 1959091 h 6078415"/>
                <a:gd name="connsiteX2037" fmla="*/ 8185907 w 11685910"/>
                <a:gd name="connsiteY2037" fmla="*/ 1927544 h 6078415"/>
                <a:gd name="connsiteX2038" fmla="*/ 8185907 w 11685910"/>
                <a:gd name="connsiteY2038" fmla="*/ 1891817 h 6078415"/>
                <a:gd name="connsiteX2039" fmla="*/ 8161190 w 11685910"/>
                <a:gd name="connsiteY2039" fmla="*/ 1867619 h 6078415"/>
                <a:gd name="connsiteX2040" fmla="*/ 8139871 w 11685910"/>
                <a:gd name="connsiteY2040" fmla="*/ 1847981 h 6078415"/>
                <a:gd name="connsiteX2041" fmla="*/ 8139871 w 11685910"/>
                <a:gd name="connsiteY2041" fmla="*/ 1867619 h 6078415"/>
                <a:gd name="connsiteX2042" fmla="*/ 8115310 w 11685910"/>
                <a:gd name="connsiteY2042" fmla="*/ 1891817 h 6078415"/>
                <a:gd name="connsiteX2043" fmla="*/ 8115310 w 11685910"/>
                <a:gd name="connsiteY2043" fmla="*/ 1927544 h 6078415"/>
                <a:gd name="connsiteX2044" fmla="*/ 8084568 w 11685910"/>
                <a:gd name="connsiteY2044" fmla="*/ 1959091 h 6078415"/>
                <a:gd name="connsiteX2045" fmla="*/ 8084568 w 11685910"/>
                <a:gd name="connsiteY2045" fmla="*/ 1959471 h 6078415"/>
                <a:gd name="connsiteX2046" fmla="*/ 8115310 w 11685910"/>
                <a:gd name="connsiteY2046" fmla="*/ 1990764 h 6078415"/>
                <a:gd name="connsiteX2047" fmla="*/ 8115310 w 11685910"/>
                <a:gd name="connsiteY2047" fmla="*/ 2026112 h 6078415"/>
                <a:gd name="connsiteX2048" fmla="*/ 8120793 w 11685910"/>
                <a:gd name="connsiteY2048" fmla="*/ 2045433 h 6078415"/>
                <a:gd name="connsiteX2049" fmla="*/ 8139871 w 11685910"/>
                <a:gd name="connsiteY2049" fmla="*/ 2051450 h 6078415"/>
                <a:gd name="connsiteX2050" fmla="*/ 8139871 w 11685910"/>
                <a:gd name="connsiteY2050" fmla="*/ 2070961 h 6078415"/>
                <a:gd name="connsiteX2051" fmla="*/ 8084877 w 11685910"/>
                <a:gd name="connsiteY2051" fmla="*/ 2032446 h 6078415"/>
                <a:gd name="connsiteX2052" fmla="*/ 8084877 w 11685910"/>
                <a:gd name="connsiteY2052" fmla="*/ 1995072 h 6078415"/>
                <a:gd name="connsiteX2053" fmla="*/ 8060778 w 11685910"/>
                <a:gd name="connsiteY2053" fmla="*/ 1968719 h 6078415"/>
                <a:gd name="connsiteX2054" fmla="*/ 8060778 w 11685910"/>
                <a:gd name="connsiteY2054" fmla="*/ 1950223 h 6078415"/>
                <a:gd name="connsiteX2055" fmla="*/ 8084877 w 11685910"/>
                <a:gd name="connsiteY2055" fmla="*/ 1923363 h 6078415"/>
                <a:gd name="connsiteX2056" fmla="*/ 8084877 w 11685910"/>
                <a:gd name="connsiteY2056" fmla="*/ 1887002 h 6078415"/>
                <a:gd name="connsiteX2057" fmla="*/ 8139871 w 11685910"/>
                <a:gd name="connsiteY2057" fmla="*/ 1847981 h 6078415"/>
                <a:gd name="connsiteX2058" fmla="*/ 5151280 w 11685910"/>
                <a:gd name="connsiteY2058" fmla="*/ 1847981 h 6078415"/>
                <a:gd name="connsiteX2059" fmla="*/ 5205966 w 11685910"/>
                <a:gd name="connsiteY2059" fmla="*/ 1887002 h 6078415"/>
                <a:gd name="connsiteX2060" fmla="*/ 5205966 w 11685910"/>
                <a:gd name="connsiteY2060" fmla="*/ 1923363 h 6078415"/>
                <a:gd name="connsiteX2061" fmla="*/ 5229911 w 11685910"/>
                <a:gd name="connsiteY2061" fmla="*/ 1950223 h 6078415"/>
                <a:gd name="connsiteX2062" fmla="*/ 5229911 w 11685910"/>
                <a:gd name="connsiteY2062" fmla="*/ 1968719 h 6078415"/>
                <a:gd name="connsiteX2063" fmla="*/ 5205966 w 11685910"/>
                <a:gd name="connsiteY2063" fmla="*/ 1995072 h 6078415"/>
                <a:gd name="connsiteX2064" fmla="*/ 5205966 w 11685910"/>
                <a:gd name="connsiteY2064" fmla="*/ 2032446 h 6078415"/>
                <a:gd name="connsiteX2065" fmla="*/ 5151280 w 11685910"/>
                <a:gd name="connsiteY2065" fmla="*/ 2070961 h 6078415"/>
                <a:gd name="connsiteX2066" fmla="*/ 5151280 w 11685910"/>
                <a:gd name="connsiteY2066" fmla="*/ 2051450 h 6078415"/>
                <a:gd name="connsiteX2067" fmla="*/ 5170358 w 11685910"/>
                <a:gd name="connsiteY2067" fmla="*/ 2045369 h 6078415"/>
                <a:gd name="connsiteX2068" fmla="*/ 5175999 w 11685910"/>
                <a:gd name="connsiteY2068" fmla="*/ 2026112 h 6078415"/>
                <a:gd name="connsiteX2069" fmla="*/ 5175999 w 11685910"/>
                <a:gd name="connsiteY2069" fmla="*/ 1990764 h 6078415"/>
                <a:gd name="connsiteX2070" fmla="*/ 5206429 w 11685910"/>
                <a:gd name="connsiteY2070" fmla="*/ 1959471 h 6078415"/>
                <a:gd name="connsiteX2071" fmla="*/ 5206429 w 11685910"/>
                <a:gd name="connsiteY2071" fmla="*/ 1959091 h 6078415"/>
                <a:gd name="connsiteX2072" fmla="*/ 5175999 w 11685910"/>
                <a:gd name="connsiteY2072" fmla="*/ 1927544 h 6078415"/>
                <a:gd name="connsiteX2073" fmla="*/ 5175999 w 11685910"/>
                <a:gd name="connsiteY2073" fmla="*/ 1891817 h 6078415"/>
                <a:gd name="connsiteX2074" fmla="*/ 5151280 w 11685910"/>
                <a:gd name="connsiteY2074" fmla="*/ 1867619 h 6078415"/>
                <a:gd name="connsiteX2075" fmla="*/ 5129963 w 11685910"/>
                <a:gd name="connsiteY2075" fmla="*/ 1847981 h 6078415"/>
                <a:gd name="connsiteX2076" fmla="*/ 5129963 w 11685910"/>
                <a:gd name="connsiteY2076" fmla="*/ 1867619 h 6078415"/>
                <a:gd name="connsiteX2077" fmla="*/ 5105400 w 11685910"/>
                <a:gd name="connsiteY2077" fmla="*/ 1891817 h 6078415"/>
                <a:gd name="connsiteX2078" fmla="*/ 5105400 w 11685910"/>
                <a:gd name="connsiteY2078" fmla="*/ 1927544 h 6078415"/>
                <a:gd name="connsiteX2079" fmla="*/ 5074658 w 11685910"/>
                <a:gd name="connsiteY2079" fmla="*/ 1959091 h 6078415"/>
                <a:gd name="connsiteX2080" fmla="*/ 5074658 w 11685910"/>
                <a:gd name="connsiteY2080" fmla="*/ 1959471 h 6078415"/>
                <a:gd name="connsiteX2081" fmla="*/ 5105400 w 11685910"/>
                <a:gd name="connsiteY2081" fmla="*/ 1990764 h 6078415"/>
                <a:gd name="connsiteX2082" fmla="*/ 5105400 w 11685910"/>
                <a:gd name="connsiteY2082" fmla="*/ 2026112 h 6078415"/>
                <a:gd name="connsiteX2083" fmla="*/ 5110885 w 11685910"/>
                <a:gd name="connsiteY2083" fmla="*/ 2045433 h 6078415"/>
                <a:gd name="connsiteX2084" fmla="*/ 5129963 w 11685910"/>
                <a:gd name="connsiteY2084" fmla="*/ 2051450 h 6078415"/>
                <a:gd name="connsiteX2085" fmla="*/ 5129963 w 11685910"/>
                <a:gd name="connsiteY2085" fmla="*/ 2070961 h 6078415"/>
                <a:gd name="connsiteX2086" fmla="*/ 5074967 w 11685910"/>
                <a:gd name="connsiteY2086" fmla="*/ 2032446 h 6078415"/>
                <a:gd name="connsiteX2087" fmla="*/ 5074967 w 11685910"/>
                <a:gd name="connsiteY2087" fmla="*/ 1995072 h 6078415"/>
                <a:gd name="connsiteX2088" fmla="*/ 5050869 w 11685910"/>
                <a:gd name="connsiteY2088" fmla="*/ 1968719 h 6078415"/>
                <a:gd name="connsiteX2089" fmla="*/ 5050869 w 11685910"/>
                <a:gd name="connsiteY2089" fmla="*/ 1950223 h 6078415"/>
                <a:gd name="connsiteX2090" fmla="*/ 5074967 w 11685910"/>
                <a:gd name="connsiteY2090" fmla="*/ 1923363 h 6078415"/>
                <a:gd name="connsiteX2091" fmla="*/ 5074967 w 11685910"/>
                <a:gd name="connsiteY2091" fmla="*/ 1887002 h 6078415"/>
                <a:gd name="connsiteX2092" fmla="*/ 5129963 w 11685910"/>
                <a:gd name="connsiteY2092" fmla="*/ 1847981 h 6078415"/>
                <a:gd name="connsiteX2093" fmla="*/ 2097668 w 11685910"/>
                <a:gd name="connsiteY2093" fmla="*/ 1847981 h 6078415"/>
                <a:gd name="connsiteX2094" fmla="*/ 2152352 w 11685910"/>
                <a:gd name="connsiteY2094" fmla="*/ 1887002 h 6078415"/>
                <a:gd name="connsiteX2095" fmla="*/ 2152352 w 11685910"/>
                <a:gd name="connsiteY2095" fmla="*/ 1923363 h 6078415"/>
                <a:gd name="connsiteX2096" fmla="*/ 2176297 w 11685910"/>
                <a:gd name="connsiteY2096" fmla="*/ 1950223 h 6078415"/>
                <a:gd name="connsiteX2097" fmla="*/ 2176297 w 11685910"/>
                <a:gd name="connsiteY2097" fmla="*/ 1968719 h 6078415"/>
                <a:gd name="connsiteX2098" fmla="*/ 2152352 w 11685910"/>
                <a:gd name="connsiteY2098" fmla="*/ 1995072 h 6078415"/>
                <a:gd name="connsiteX2099" fmla="*/ 2152352 w 11685910"/>
                <a:gd name="connsiteY2099" fmla="*/ 2032446 h 6078415"/>
                <a:gd name="connsiteX2100" fmla="*/ 2097668 w 11685910"/>
                <a:gd name="connsiteY2100" fmla="*/ 2070961 h 6078415"/>
                <a:gd name="connsiteX2101" fmla="*/ 2097668 w 11685910"/>
                <a:gd name="connsiteY2101" fmla="*/ 2051450 h 6078415"/>
                <a:gd name="connsiteX2102" fmla="*/ 2116745 w 11685910"/>
                <a:gd name="connsiteY2102" fmla="*/ 2045369 h 6078415"/>
                <a:gd name="connsiteX2103" fmla="*/ 2122383 w 11685910"/>
                <a:gd name="connsiteY2103" fmla="*/ 2026112 h 6078415"/>
                <a:gd name="connsiteX2104" fmla="*/ 2122383 w 11685910"/>
                <a:gd name="connsiteY2104" fmla="*/ 1990764 h 6078415"/>
                <a:gd name="connsiteX2105" fmla="*/ 2152815 w 11685910"/>
                <a:gd name="connsiteY2105" fmla="*/ 1959471 h 6078415"/>
                <a:gd name="connsiteX2106" fmla="*/ 2152815 w 11685910"/>
                <a:gd name="connsiteY2106" fmla="*/ 1959091 h 6078415"/>
                <a:gd name="connsiteX2107" fmla="*/ 2122383 w 11685910"/>
                <a:gd name="connsiteY2107" fmla="*/ 1927544 h 6078415"/>
                <a:gd name="connsiteX2108" fmla="*/ 2122383 w 11685910"/>
                <a:gd name="connsiteY2108" fmla="*/ 1891817 h 6078415"/>
                <a:gd name="connsiteX2109" fmla="*/ 2097668 w 11685910"/>
                <a:gd name="connsiteY2109" fmla="*/ 1867619 h 6078415"/>
                <a:gd name="connsiteX2110" fmla="*/ 2076347 w 11685910"/>
                <a:gd name="connsiteY2110" fmla="*/ 1847981 h 6078415"/>
                <a:gd name="connsiteX2111" fmla="*/ 2076347 w 11685910"/>
                <a:gd name="connsiteY2111" fmla="*/ 1867619 h 6078415"/>
                <a:gd name="connsiteX2112" fmla="*/ 2051785 w 11685910"/>
                <a:gd name="connsiteY2112" fmla="*/ 1891817 h 6078415"/>
                <a:gd name="connsiteX2113" fmla="*/ 2051785 w 11685910"/>
                <a:gd name="connsiteY2113" fmla="*/ 1927544 h 6078415"/>
                <a:gd name="connsiteX2114" fmla="*/ 2021044 w 11685910"/>
                <a:gd name="connsiteY2114" fmla="*/ 1959091 h 6078415"/>
                <a:gd name="connsiteX2115" fmla="*/ 2021044 w 11685910"/>
                <a:gd name="connsiteY2115" fmla="*/ 1959471 h 6078415"/>
                <a:gd name="connsiteX2116" fmla="*/ 2051785 w 11685910"/>
                <a:gd name="connsiteY2116" fmla="*/ 1990764 h 6078415"/>
                <a:gd name="connsiteX2117" fmla="*/ 2051785 w 11685910"/>
                <a:gd name="connsiteY2117" fmla="*/ 2026112 h 6078415"/>
                <a:gd name="connsiteX2118" fmla="*/ 2057270 w 11685910"/>
                <a:gd name="connsiteY2118" fmla="*/ 2045433 h 6078415"/>
                <a:gd name="connsiteX2119" fmla="*/ 2076347 w 11685910"/>
                <a:gd name="connsiteY2119" fmla="*/ 2051450 h 6078415"/>
                <a:gd name="connsiteX2120" fmla="*/ 2076347 w 11685910"/>
                <a:gd name="connsiteY2120" fmla="*/ 2070961 h 6078415"/>
                <a:gd name="connsiteX2121" fmla="*/ 2021353 w 11685910"/>
                <a:gd name="connsiteY2121" fmla="*/ 2032446 h 6078415"/>
                <a:gd name="connsiteX2122" fmla="*/ 2021353 w 11685910"/>
                <a:gd name="connsiteY2122" fmla="*/ 1995072 h 6078415"/>
                <a:gd name="connsiteX2123" fmla="*/ 1997254 w 11685910"/>
                <a:gd name="connsiteY2123" fmla="*/ 1968719 h 6078415"/>
                <a:gd name="connsiteX2124" fmla="*/ 1997254 w 11685910"/>
                <a:gd name="connsiteY2124" fmla="*/ 1950223 h 6078415"/>
                <a:gd name="connsiteX2125" fmla="*/ 2021353 w 11685910"/>
                <a:gd name="connsiteY2125" fmla="*/ 1923363 h 6078415"/>
                <a:gd name="connsiteX2126" fmla="*/ 2021353 w 11685910"/>
                <a:gd name="connsiteY2126" fmla="*/ 1887002 h 6078415"/>
                <a:gd name="connsiteX2127" fmla="*/ 2076347 w 11685910"/>
                <a:gd name="connsiteY2127" fmla="*/ 1847981 h 6078415"/>
                <a:gd name="connsiteX2128" fmla="*/ 11415781 w 11685910"/>
                <a:gd name="connsiteY2128" fmla="*/ 1842347 h 6078415"/>
                <a:gd name="connsiteX2129" fmla="*/ 11443856 w 11685910"/>
                <a:gd name="connsiteY2129" fmla="*/ 1842347 h 6078415"/>
                <a:gd name="connsiteX2130" fmla="*/ 11430080 w 11685910"/>
                <a:gd name="connsiteY2130" fmla="*/ 1909484 h 6078415"/>
                <a:gd name="connsiteX2131" fmla="*/ 11472280 w 11685910"/>
                <a:gd name="connsiteY2131" fmla="*/ 1909484 h 6078415"/>
                <a:gd name="connsiteX2132" fmla="*/ 11486579 w 11685910"/>
                <a:gd name="connsiteY2132" fmla="*/ 1842347 h 6078415"/>
                <a:gd name="connsiteX2133" fmla="*/ 11514132 w 11685910"/>
                <a:gd name="connsiteY2133" fmla="*/ 1842347 h 6078415"/>
                <a:gd name="connsiteX2134" fmla="*/ 11500181 w 11685910"/>
                <a:gd name="connsiteY2134" fmla="*/ 1909484 h 6078415"/>
                <a:gd name="connsiteX2135" fmla="*/ 11539940 w 11685910"/>
                <a:gd name="connsiteY2135" fmla="*/ 1909484 h 6078415"/>
                <a:gd name="connsiteX2136" fmla="*/ 11534534 w 11685910"/>
                <a:gd name="connsiteY2136" fmla="*/ 1933898 h 6078415"/>
                <a:gd name="connsiteX2137" fmla="*/ 11494950 w 11685910"/>
                <a:gd name="connsiteY2137" fmla="*/ 1933898 h 6078415"/>
                <a:gd name="connsiteX2138" fmla="*/ 11484836 w 11685910"/>
                <a:gd name="connsiteY2138" fmla="*/ 1982027 h 6078415"/>
                <a:gd name="connsiteX2139" fmla="*/ 11528082 w 11685910"/>
                <a:gd name="connsiteY2139" fmla="*/ 1982027 h 6078415"/>
                <a:gd name="connsiteX2140" fmla="*/ 11521978 w 11685910"/>
                <a:gd name="connsiteY2140" fmla="*/ 2006440 h 6078415"/>
                <a:gd name="connsiteX2141" fmla="*/ 11479779 w 11685910"/>
                <a:gd name="connsiteY2141" fmla="*/ 2006440 h 6078415"/>
                <a:gd name="connsiteX2142" fmla="*/ 11465479 w 11685910"/>
                <a:gd name="connsiteY2142" fmla="*/ 2070961 h 6078415"/>
                <a:gd name="connsiteX2143" fmla="*/ 11437752 w 11685910"/>
                <a:gd name="connsiteY2143" fmla="*/ 2070961 h 6078415"/>
                <a:gd name="connsiteX2144" fmla="*/ 11451703 w 11685910"/>
                <a:gd name="connsiteY2144" fmla="*/ 2006440 h 6078415"/>
                <a:gd name="connsiteX2145" fmla="*/ 11409503 w 11685910"/>
                <a:gd name="connsiteY2145" fmla="*/ 2006440 h 6078415"/>
                <a:gd name="connsiteX2146" fmla="*/ 11395901 w 11685910"/>
                <a:gd name="connsiteY2146" fmla="*/ 2070961 h 6078415"/>
                <a:gd name="connsiteX2147" fmla="*/ 11368175 w 11685910"/>
                <a:gd name="connsiteY2147" fmla="*/ 2070961 h 6078415"/>
                <a:gd name="connsiteX2148" fmla="*/ 11381776 w 11685910"/>
                <a:gd name="connsiteY2148" fmla="*/ 2006440 h 6078415"/>
                <a:gd name="connsiteX2149" fmla="*/ 11341843 w 11685910"/>
                <a:gd name="connsiteY2149" fmla="*/ 2006440 h 6078415"/>
                <a:gd name="connsiteX2150" fmla="*/ 11346725 w 11685910"/>
                <a:gd name="connsiteY2150" fmla="*/ 1982027 h 6078415"/>
                <a:gd name="connsiteX2151" fmla="*/ 11387182 w 11685910"/>
                <a:gd name="connsiteY2151" fmla="*/ 1982027 h 6078415"/>
                <a:gd name="connsiteX2152" fmla="*/ 11396773 w 11685910"/>
                <a:gd name="connsiteY2152" fmla="*/ 1933898 h 6078415"/>
                <a:gd name="connsiteX2153" fmla="*/ 11354224 w 11685910"/>
                <a:gd name="connsiteY2153" fmla="*/ 1933898 h 6078415"/>
                <a:gd name="connsiteX2154" fmla="*/ 11359281 w 11685910"/>
                <a:gd name="connsiteY2154" fmla="*/ 1909484 h 6078415"/>
                <a:gd name="connsiteX2155" fmla="*/ 11401830 w 11685910"/>
                <a:gd name="connsiteY2155" fmla="*/ 1909484 h 6078415"/>
                <a:gd name="connsiteX2156" fmla="*/ 5351443 w 11685910"/>
                <a:gd name="connsiteY2156" fmla="*/ 1842347 h 6078415"/>
                <a:gd name="connsiteX2157" fmla="*/ 5379518 w 11685910"/>
                <a:gd name="connsiteY2157" fmla="*/ 1842347 h 6078415"/>
                <a:gd name="connsiteX2158" fmla="*/ 5365742 w 11685910"/>
                <a:gd name="connsiteY2158" fmla="*/ 1909484 h 6078415"/>
                <a:gd name="connsiteX2159" fmla="*/ 5407943 w 11685910"/>
                <a:gd name="connsiteY2159" fmla="*/ 1909484 h 6078415"/>
                <a:gd name="connsiteX2160" fmla="*/ 5422241 w 11685910"/>
                <a:gd name="connsiteY2160" fmla="*/ 1842347 h 6078415"/>
                <a:gd name="connsiteX2161" fmla="*/ 5449794 w 11685910"/>
                <a:gd name="connsiteY2161" fmla="*/ 1842347 h 6078415"/>
                <a:gd name="connsiteX2162" fmla="*/ 5435844 w 11685910"/>
                <a:gd name="connsiteY2162" fmla="*/ 1909484 h 6078415"/>
                <a:gd name="connsiteX2163" fmla="*/ 5475602 w 11685910"/>
                <a:gd name="connsiteY2163" fmla="*/ 1909484 h 6078415"/>
                <a:gd name="connsiteX2164" fmla="*/ 5470197 w 11685910"/>
                <a:gd name="connsiteY2164" fmla="*/ 1933898 h 6078415"/>
                <a:gd name="connsiteX2165" fmla="*/ 5430612 w 11685910"/>
                <a:gd name="connsiteY2165" fmla="*/ 1933898 h 6078415"/>
                <a:gd name="connsiteX2166" fmla="*/ 5420499 w 11685910"/>
                <a:gd name="connsiteY2166" fmla="*/ 1982027 h 6078415"/>
                <a:gd name="connsiteX2167" fmla="*/ 5463745 w 11685910"/>
                <a:gd name="connsiteY2167" fmla="*/ 1982027 h 6078415"/>
                <a:gd name="connsiteX2168" fmla="*/ 5457641 w 11685910"/>
                <a:gd name="connsiteY2168" fmla="*/ 2006440 h 6078415"/>
                <a:gd name="connsiteX2169" fmla="*/ 5415441 w 11685910"/>
                <a:gd name="connsiteY2169" fmla="*/ 2006440 h 6078415"/>
                <a:gd name="connsiteX2170" fmla="*/ 5401143 w 11685910"/>
                <a:gd name="connsiteY2170" fmla="*/ 2070961 h 6078415"/>
                <a:gd name="connsiteX2171" fmla="*/ 5373415 w 11685910"/>
                <a:gd name="connsiteY2171" fmla="*/ 2070961 h 6078415"/>
                <a:gd name="connsiteX2172" fmla="*/ 5387365 w 11685910"/>
                <a:gd name="connsiteY2172" fmla="*/ 2006440 h 6078415"/>
                <a:gd name="connsiteX2173" fmla="*/ 5345166 w 11685910"/>
                <a:gd name="connsiteY2173" fmla="*/ 2006440 h 6078415"/>
                <a:gd name="connsiteX2174" fmla="*/ 5331563 w 11685910"/>
                <a:gd name="connsiteY2174" fmla="*/ 2070961 h 6078415"/>
                <a:gd name="connsiteX2175" fmla="*/ 5303838 w 11685910"/>
                <a:gd name="connsiteY2175" fmla="*/ 2070961 h 6078415"/>
                <a:gd name="connsiteX2176" fmla="*/ 5317438 w 11685910"/>
                <a:gd name="connsiteY2176" fmla="*/ 2006440 h 6078415"/>
                <a:gd name="connsiteX2177" fmla="*/ 5277506 w 11685910"/>
                <a:gd name="connsiteY2177" fmla="*/ 2006440 h 6078415"/>
                <a:gd name="connsiteX2178" fmla="*/ 5282388 w 11685910"/>
                <a:gd name="connsiteY2178" fmla="*/ 1982027 h 6078415"/>
                <a:gd name="connsiteX2179" fmla="*/ 5322844 w 11685910"/>
                <a:gd name="connsiteY2179" fmla="*/ 1982027 h 6078415"/>
                <a:gd name="connsiteX2180" fmla="*/ 5332435 w 11685910"/>
                <a:gd name="connsiteY2180" fmla="*/ 1933898 h 6078415"/>
                <a:gd name="connsiteX2181" fmla="*/ 5289887 w 11685910"/>
                <a:gd name="connsiteY2181" fmla="*/ 1933898 h 6078415"/>
                <a:gd name="connsiteX2182" fmla="*/ 5294944 w 11685910"/>
                <a:gd name="connsiteY2182" fmla="*/ 1909484 h 6078415"/>
                <a:gd name="connsiteX2183" fmla="*/ 5337492 w 11685910"/>
                <a:gd name="connsiteY2183" fmla="*/ 1909484 h 6078415"/>
                <a:gd name="connsiteX2184" fmla="*/ 6225654 w 11685910"/>
                <a:gd name="connsiteY2184" fmla="*/ 1697074 h 6078415"/>
                <a:gd name="connsiteX2185" fmla="*/ 6202463 w 11685910"/>
                <a:gd name="connsiteY2185" fmla="*/ 1736321 h 6078415"/>
                <a:gd name="connsiteX2186" fmla="*/ 6218875 w 11685910"/>
                <a:gd name="connsiteY2186" fmla="*/ 1739711 h 6078415"/>
                <a:gd name="connsiteX2187" fmla="*/ 6235287 w 11685910"/>
                <a:gd name="connsiteY2187" fmla="*/ 1736143 h 6078415"/>
                <a:gd name="connsiteX2188" fmla="*/ 6232344 w 11685910"/>
                <a:gd name="connsiteY2188" fmla="*/ 1726688 h 6078415"/>
                <a:gd name="connsiteX2189" fmla="*/ 6233325 w 11685910"/>
                <a:gd name="connsiteY2189" fmla="*/ 1713487 h 6078415"/>
                <a:gd name="connsiteX2190" fmla="*/ 6225654 w 11685910"/>
                <a:gd name="connsiteY2190" fmla="*/ 1697074 h 6078415"/>
                <a:gd name="connsiteX2191" fmla="*/ 179757 w 11685910"/>
                <a:gd name="connsiteY2191" fmla="*/ 1697074 h 6078415"/>
                <a:gd name="connsiteX2192" fmla="*/ 156566 w 11685910"/>
                <a:gd name="connsiteY2192" fmla="*/ 1736321 h 6078415"/>
                <a:gd name="connsiteX2193" fmla="*/ 172978 w 11685910"/>
                <a:gd name="connsiteY2193" fmla="*/ 1739711 h 6078415"/>
                <a:gd name="connsiteX2194" fmla="*/ 189390 w 11685910"/>
                <a:gd name="connsiteY2194" fmla="*/ 1736143 h 6078415"/>
                <a:gd name="connsiteX2195" fmla="*/ 186447 w 11685910"/>
                <a:gd name="connsiteY2195" fmla="*/ 1726688 h 6078415"/>
                <a:gd name="connsiteX2196" fmla="*/ 187428 w 11685910"/>
                <a:gd name="connsiteY2196" fmla="*/ 1713487 h 6078415"/>
                <a:gd name="connsiteX2197" fmla="*/ 179757 w 11685910"/>
                <a:gd name="connsiteY2197" fmla="*/ 1697074 h 6078415"/>
                <a:gd name="connsiteX2198" fmla="*/ 6065633 w 11685910"/>
                <a:gd name="connsiteY2198" fmla="*/ 1680662 h 6078415"/>
                <a:gd name="connsiteX2199" fmla="*/ 6051986 w 11685910"/>
                <a:gd name="connsiteY2199" fmla="*/ 1700910 h 6078415"/>
                <a:gd name="connsiteX2200" fmla="*/ 6073482 w 11685910"/>
                <a:gd name="connsiteY2200" fmla="*/ 1722496 h 6078415"/>
                <a:gd name="connsiteX2201" fmla="*/ 6082402 w 11685910"/>
                <a:gd name="connsiteY2201" fmla="*/ 1715271 h 6078415"/>
                <a:gd name="connsiteX2202" fmla="*/ 6065633 w 11685910"/>
                <a:gd name="connsiteY2202" fmla="*/ 1680662 h 6078415"/>
                <a:gd name="connsiteX2203" fmla="*/ 19736 w 11685910"/>
                <a:gd name="connsiteY2203" fmla="*/ 1680662 h 6078415"/>
                <a:gd name="connsiteX2204" fmla="*/ 6089 w 11685910"/>
                <a:gd name="connsiteY2204" fmla="*/ 1700910 h 6078415"/>
                <a:gd name="connsiteX2205" fmla="*/ 27585 w 11685910"/>
                <a:gd name="connsiteY2205" fmla="*/ 1722496 h 6078415"/>
                <a:gd name="connsiteX2206" fmla="*/ 36505 w 11685910"/>
                <a:gd name="connsiteY2206" fmla="*/ 1715271 h 6078415"/>
                <a:gd name="connsiteX2207" fmla="*/ 19736 w 11685910"/>
                <a:gd name="connsiteY2207" fmla="*/ 1680662 h 6078415"/>
                <a:gd name="connsiteX2208" fmla="*/ 6049245 w 11685910"/>
                <a:gd name="connsiteY2208" fmla="*/ 1612371 h 6078415"/>
                <a:gd name="connsiteX2209" fmla="*/ 6049044 w 11685910"/>
                <a:gd name="connsiteY2209" fmla="*/ 1613888 h 6078415"/>
                <a:gd name="connsiteX2210" fmla="*/ 6048978 w 11685910"/>
                <a:gd name="connsiteY2210" fmla="*/ 1612628 h 6078415"/>
                <a:gd name="connsiteX2211" fmla="*/ 3348 w 11685910"/>
                <a:gd name="connsiteY2211" fmla="*/ 1612371 h 6078415"/>
                <a:gd name="connsiteX2212" fmla="*/ 3147 w 11685910"/>
                <a:gd name="connsiteY2212" fmla="*/ 1613888 h 6078415"/>
                <a:gd name="connsiteX2213" fmla="*/ 3081 w 11685910"/>
                <a:gd name="connsiteY2213" fmla="*/ 1612628 h 6078415"/>
                <a:gd name="connsiteX2214" fmla="*/ 6251165 w 11685910"/>
                <a:gd name="connsiteY2214" fmla="*/ 1585177 h 6078415"/>
                <a:gd name="connsiteX2215" fmla="*/ 6247173 w 11685910"/>
                <a:gd name="connsiteY2215" fmla="*/ 1588031 h 6078415"/>
                <a:gd name="connsiteX2216" fmla="*/ 6254095 w 11685910"/>
                <a:gd name="connsiteY2216" fmla="*/ 1596401 h 6078415"/>
                <a:gd name="connsiteX2217" fmla="*/ 6260976 w 11685910"/>
                <a:gd name="connsiteY2217" fmla="*/ 1594675 h 6078415"/>
                <a:gd name="connsiteX2218" fmla="*/ 6234752 w 11685910"/>
                <a:gd name="connsiteY2218" fmla="*/ 1613853 h 6078415"/>
                <a:gd name="connsiteX2219" fmla="*/ 6239769 w 11685910"/>
                <a:gd name="connsiteY2219" fmla="*/ 1606230 h 6078415"/>
                <a:gd name="connsiteX2220" fmla="*/ 6231987 w 11685910"/>
                <a:gd name="connsiteY2220" fmla="*/ 1599269 h 6078415"/>
                <a:gd name="connsiteX2221" fmla="*/ 6227170 w 11685910"/>
                <a:gd name="connsiteY2221" fmla="*/ 1603328 h 6078415"/>
                <a:gd name="connsiteX2222" fmla="*/ 6251165 w 11685910"/>
                <a:gd name="connsiteY2222" fmla="*/ 1585177 h 6078415"/>
                <a:gd name="connsiteX2223" fmla="*/ 205268 w 11685910"/>
                <a:gd name="connsiteY2223" fmla="*/ 1585177 h 6078415"/>
                <a:gd name="connsiteX2224" fmla="*/ 201276 w 11685910"/>
                <a:gd name="connsiteY2224" fmla="*/ 1588031 h 6078415"/>
                <a:gd name="connsiteX2225" fmla="*/ 208198 w 11685910"/>
                <a:gd name="connsiteY2225" fmla="*/ 1596401 h 6078415"/>
                <a:gd name="connsiteX2226" fmla="*/ 215079 w 11685910"/>
                <a:gd name="connsiteY2226" fmla="*/ 1594675 h 6078415"/>
                <a:gd name="connsiteX2227" fmla="*/ 188855 w 11685910"/>
                <a:gd name="connsiteY2227" fmla="*/ 1613853 h 6078415"/>
                <a:gd name="connsiteX2228" fmla="*/ 193872 w 11685910"/>
                <a:gd name="connsiteY2228" fmla="*/ 1606230 h 6078415"/>
                <a:gd name="connsiteX2229" fmla="*/ 186090 w 11685910"/>
                <a:gd name="connsiteY2229" fmla="*/ 1599269 h 6078415"/>
                <a:gd name="connsiteX2230" fmla="*/ 181273 w 11685910"/>
                <a:gd name="connsiteY2230" fmla="*/ 1603328 h 6078415"/>
                <a:gd name="connsiteX2231" fmla="*/ 205268 w 11685910"/>
                <a:gd name="connsiteY2231" fmla="*/ 1585177 h 6078415"/>
                <a:gd name="connsiteX2232" fmla="*/ 6224596 w 11685910"/>
                <a:gd name="connsiteY2232" fmla="*/ 1568764 h 6078415"/>
                <a:gd name="connsiteX2233" fmla="*/ 6226880 w 11685910"/>
                <a:gd name="connsiteY2233" fmla="*/ 1568802 h 6078415"/>
                <a:gd name="connsiteX2234" fmla="*/ 6235020 w 11685910"/>
                <a:gd name="connsiteY2234" fmla="*/ 1570057 h 6078415"/>
                <a:gd name="connsiteX2235" fmla="*/ 6216110 w 11685910"/>
                <a:gd name="connsiteY2235" fmla="*/ 1588967 h 6078415"/>
                <a:gd name="connsiteX2236" fmla="*/ 6224596 w 11685910"/>
                <a:gd name="connsiteY2236" fmla="*/ 1568764 h 6078415"/>
                <a:gd name="connsiteX2237" fmla="*/ 178699 w 11685910"/>
                <a:gd name="connsiteY2237" fmla="*/ 1568764 h 6078415"/>
                <a:gd name="connsiteX2238" fmla="*/ 180983 w 11685910"/>
                <a:gd name="connsiteY2238" fmla="*/ 1568802 h 6078415"/>
                <a:gd name="connsiteX2239" fmla="*/ 189123 w 11685910"/>
                <a:gd name="connsiteY2239" fmla="*/ 1570057 h 6078415"/>
                <a:gd name="connsiteX2240" fmla="*/ 170213 w 11685910"/>
                <a:gd name="connsiteY2240" fmla="*/ 1588967 h 6078415"/>
                <a:gd name="connsiteX2241" fmla="*/ 178699 w 11685910"/>
                <a:gd name="connsiteY2241" fmla="*/ 1568764 h 6078415"/>
                <a:gd name="connsiteX2242" fmla="*/ 6327199 w 11685910"/>
                <a:gd name="connsiteY2242" fmla="*/ 1546688 h 6078415"/>
                <a:gd name="connsiteX2243" fmla="*/ 6319002 w 11685910"/>
                <a:gd name="connsiteY2243" fmla="*/ 1560609 h 6078415"/>
                <a:gd name="connsiteX2244" fmla="*/ 6306826 w 11685910"/>
                <a:gd name="connsiteY2244" fmla="*/ 1562599 h 6078415"/>
                <a:gd name="connsiteX2245" fmla="*/ 6317967 w 11685910"/>
                <a:gd name="connsiteY2245" fmla="*/ 1555970 h 6078415"/>
                <a:gd name="connsiteX2246" fmla="*/ 6327199 w 11685910"/>
                <a:gd name="connsiteY2246" fmla="*/ 1546688 h 6078415"/>
                <a:gd name="connsiteX2247" fmla="*/ 281302 w 11685910"/>
                <a:gd name="connsiteY2247" fmla="*/ 1546688 h 6078415"/>
                <a:gd name="connsiteX2248" fmla="*/ 273104 w 11685910"/>
                <a:gd name="connsiteY2248" fmla="*/ 1560609 h 6078415"/>
                <a:gd name="connsiteX2249" fmla="*/ 260929 w 11685910"/>
                <a:gd name="connsiteY2249" fmla="*/ 1562599 h 6078415"/>
                <a:gd name="connsiteX2250" fmla="*/ 272070 w 11685910"/>
                <a:gd name="connsiteY2250" fmla="*/ 1555970 h 6078415"/>
                <a:gd name="connsiteX2251" fmla="*/ 281302 w 11685910"/>
                <a:gd name="connsiteY2251" fmla="*/ 1546688 h 6078415"/>
                <a:gd name="connsiteX2252" fmla="*/ 6223262 w 11685910"/>
                <a:gd name="connsiteY2252" fmla="*/ 1527682 h 6078415"/>
                <a:gd name="connsiteX2253" fmla="*/ 6229125 w 11685910"/>
                <a:gd name="connsiteY2253" fmla="*/ 1528196 h 6078415"/>
                <a:gd name="connsiteX2254" fmla="*/ 6272110 w 11685910"/>
                <a:gd name="connsiteY2254" fmla="*/ 1557416 h 6078415"/>
                <a:gd name="connsiteX2255" fmla="*/ 6289981 w 11685910"/>
                <a:gd name="connsiteY2255" fmla="*/ 1578426 h 6078415"/>
                <a:gd name="connsiteX2256" fmla="*/ 6286841 w 11685910"/>
                <a:gd name="connsiteY2256" fmla="*/ 1586153 h 6078415"/>
                <a:gd name="connsiteX2257" fmla="*/ 6299867 w 11685910"/>
                <a:gd name="connsiteY2257" fmla="*/ 1596190 h 6078415"/>
                <a:gd name="connsiteX2258" fmla="*/ 6298191 w 11685910"/>
                <a:gd name="connsiteY2258" fmla="*/ 1559107 h 6078415"/>
                <a:gd name="connsiteX2259" fmla="*/ 6313405 w 11685910"/>
                <a:gd name="connsiteY2259" fmla="*/ 1549447 h 6078415"/>
                <a:gd name="connsiteX2260" fmla="*/ 6325238 w 11685910"/>
                <a:gd name="connsiteY2260" fmla="*/ 1538338 h 6078415"/>
                <a:gd name="connsiteX2261" fmla="*/ 6347938 w 11685910"/>
                <a:gd name="connsiteY2261" fmla="*/ 1600401 h 6078415"/>
                <a:gd name="connsiteX2262" fmla="*/ 6310507 w 11685910"/>
                <a:gd name="connsiteY2262" fmla="*/ 1668260 h 6078415"/>
                <a:gd name="connsiteX2263" fmla="*/ 6278696 w 11685910"/>
                <a:gd name="connsiteY2263" fmla="*/ 1668973 h 6078415"/>
                <a:gd name="connsiteX2264" fmla="*/ 6274716 w 11685910"/>
                <a:gd name="connsiteY2264" fmla="*/ 1667587 h 6078415"/>
                <a:gd name="connsiteX2265" fmla="*/ 6274239 w 11685910"/>
                <a:gd name="connsiteY2265" fmla="*/ 1669848 h 6078415"/>
                <a:gd name="connsiteX2266" fmla="*/ 6249652 w 11685910"/>
                <a:gd name="connsiteY2266" fmla="*/ 1689752 h 6078415"/>
                <a:gd name="connsiteX2267" fmla="*/ 6228159 w 11685910"/>
                <a:gd name="connsiteY2267" fmla="*/ 1680092 h 6078415"/>
                <a:gd name="connsiteX2268" fmla="*/ 6227193 w 11685910"/>
                <a:gd name="connsiteY2268" fmla="*/ 1692650 h 6078415"/>
                <a:gd name="connsiteX2269" fmla="*/ 6236853 w 11685910"/>
                <a:gd name="connsiteY2269" fmla="*/ 1713176 h 6078415"/>
                <a:gd name="connsiteX2270" fmla="*/ 6236370 w 11685910"/>
                <a:gd name="connsiteY2270" fmla="*/ 1724285 h 6078415"/>
                <a:gd name="connsiteX2271" fmla="*/ 6238543 w 11685910"/>
                <a:gd name="connsiteY2271" fmla="*/ 1738050 h 6078415"/>
                <a:gd name="connsiteX2272" fmla="*/ 6222605 w 11685910"/>
                <a:gd name="connsiteY2272" fmla="*/ 1743846 h 6078415"/>
                <a:gd name="connsiteX2273" fmla="*/ 6197731 w 11685910"/>
                <a:gd name="connsiteY2273" fmla="*/ 1738533 h 6078415"/>
                <a:gd name="connsiteX2274" fmla="*/ 6196972 w 11685910"/>
                <a:gd name="connsiteY2274" fmla="*/ 1734079 h 6078415"/>
                <a:gd name="connsiteX2275" fmla="*/ 6196932 w 11685910"/>
                <a:gd name="connsiteY2275" fmla="*/ 1732734 h 6078415"/>
                <a:gd name="connsiteX2276" fmla="*/ 6193193 w 11685910"/>
                <a:gd name="connsiteY2276" fmla="*/ 1736278 h 6078415"/>
                <a:gd name="connsiteX2277" fmla="*/ 6169719 w 11685910"/>
                <a:gd name="connsiteY2277" fmla="*/ 1750607 h 6078415"/>
                <a:gd name="connsiteX2278" fmla="*/ 6146294 w 11685910"/>
                <a:gd name="connsiteY2278" fmla="*/ 1722353 h 6078415"/>
                <a:gd name="connsiteX2279" fmla="*/ 6157161 w 11685910"/>
                <a:gd name="connsiteY2279" fmla="*/ 1710520 h 6078415"/>
                <a:gd name="connsiteX2280" fmla="*/ 6132288 w 11685910"/>
                <a:gd name="connsiteY2280" fmla="*/ 1708105 h 6078415"/>
                <a:gd name="connsiteX2281" fmla="*/ 6131322 w 11685910"/>
                <a:gd name="connsiteY2281" fmla="*/ 1718972 h 6078415"/>
                <a:gd name="connsiteX2282" fmla="*/ 6125043 w 11685910"/>
                <a:gd name="connsiteY2282" fmla="*/ 1729598 h 6078415"/>
                <a:gd name="connsiteX2283" fmla="*/ 6119972 w 11685910"/>
                <a:gd name="connsiteY2283" fmla="*/ 1748675 h 6078415"/>
                <a:gd name="connsiteX2284" fmla="*/ 6079884 w 11685910"/>
                <a:gd name="connsiteY2284" fmla="*/ 1740223 h 6078415"/>
                <a:gd name="connsiteX2285" fmla="*/ 6080850 w 11685910"/>
                <a:gd name="connsiteY2285" fmla="*/ 1726217 h 6078415"/>
                <a:gd name="connsiteX2286" fmla="*/ 6071191 w 11685910"/>
                <a:gd name="connsiteY2286" fmla="*/ 1728149 h 6078415"/>
                <a:gd name="connsiteX2287" fmla="*/ 6046076 w 11685910"/>
                <a:gd name="connsiteY2287" fmla="*/ 1702309 h 6078415"/>
                <a:gd name="connsiteX2288" fmla="*/ 6061290 w 11685910"/>
                <a:gd name="connsiteY2288" fmla="*/ 1675746 h 6078415"/>
                <a:gd name="connsiteX2289" fmla="*/ 6062739 w 11685910"/>
                <a:gd name="connsiteY2289" fmla="*/ 1649182 h 6078415"/>
                <a:gd name="connsiteX2290" fmla="*/ 6047283 w 11685910"/>
                <a:gd name="connsiteY2290" fmla="*/ 1627206 h 6078415"/>
                <a:gd name="connsiteX2291" fmla="*/ 6049044 w 11685910"/>
                <a:gd name="connsiteY2291" fmla="*/ 1613888 h 6078415"/>
                <a:gd name="connsiteX2292" fmla="*/ 6049503 w 11685910"/>
                <a:gd name="connsiteY2292" fmla="*/ 1622608 h 6078415"/>
                <a:gd name="connsiteX2293" fmla="*/ 6050326 w 11685910"/>
                <a:gd name="connsiteY2293" fmla="*/ 1623003 h 6078415"/>
                <a:gd name="connsiteX2294" fmla="*/ 6050449 w 11685910"/>
                <a:gd name="connsiteY2294" fmla="*/ 1624178 h 6078415"/>
                <a:gd name="connsiteX2295" fmla="*/ 6070004 w 11685910"/>
                <a:gd name="connsiteY2295" fmla="*/ 1638025 h 6078415"/>
                <a:gd name="connsiteX2296" fmla="*/ 6088227 w 11685910"/>
                <a:gd name="connsiteY2296" fmla="*/ 1708655 h 6078415"/>
                <a:gd name="connsiteX2297" fmla="*/ 6089189 w 11685910"/>
                <a:gd name="connsiteY2297" fmla="*/ 1710504 h 6078415"/>
                <a:gd name="connsiteX2298" fmla="*/ 6089155 w 11685910"/>
                <a:gd name="connsiteY2298" fmla="*/ 1711372 h 6078415"/>
                <a:gd name="connsiteX2299" fmla="*/ 6087754 w 11685910"/>
                <a:gd name="connsiteY2299" fmla="*/ 1724815 h 6078415"/>
                <a:gd name="connsiteX2300" fmla="*/ 6084454 w 11685910"/>
                <a:gd name="connsiteY2300" fmla="*/ 1736143 h 6078415"/>
                <a:gd name="connsiteX2301" fmla="*/ 6118617 w 11685910"/>
                <a:gd name="connsiteY2301" fmla="*/ 1742743 h 6078415"/>
                <a:gd name="connsiteX2302" fmla="*/ 6119776 w 11685910"/>
                <a:gd name="connsiteY2302" fmla="*/ 1731861 h 6078415"/>
                <a:gd name="connsiteX2303" fmla="*/ 6126377 w 11685910"/>
                <a:gd name="connsiteY2303" fmla="*/ 1717679 h 6078415"/>
                <a:gd name="connsiteX2304" fmla="*/ 6126656 w 11685910"/>
                <a:gd name="connsiteY2304" fmla="*/ 1702571 h 6078415"/>
                <a:gd name="connsiteX2305" fmla="*/ 6126448 w 11685910"/>
                <a:gd name="connsiteY2305" fmla="*/ 1696892 h 6078415"/>
                <a:gd name="connsiteX2306" fmla="*/ 6128036 w 11685910"/>
                <a:gd name="connsiteY2306" fmla="*/ 1698741 h 6078415"/>
                <a:gd name="connsiteX2307" fmla="*/ 6167408 w 11685910"/>
                <a:gd name="connsiteY2307" fmla="*/ 1696539 h 6078415"/>
                <a:gd name="connsiteX2308" fmla="*/ 6168300 w 11685910"/>
                <a:gd name="connsiteY2308" fmla="*/ 1710276 h 6078415"/>
                <a:gd name="connsiteX2309" fmla="*/ 6151263 w 11685910"/>
                <a:gd name="connsiteY2309" fmla="*/ 1722942 h 6078415"/>
                <a:gd name="connsiteX2310" fmla="*/ 6170173 w 11685910"/>
                <a:gd name="connsiteY2310" fmla="*/ 1745865 h 6078415"/>
                <a:gd name="connsiteX2311" fmla="*/ 6205228 w 11685910"/>
                <a:gd name="connsiteY2311" fmla="*/ 1718125 h 6078415"/>
                <a:gd name="connsiteX2312" fmla="*/ 6224316 w 11685910"/>
                <a:gd name="connsiteY2312" fmla="*/ 1676291 h 6078415"/>
                <a:gd name="connsiteX2313" fmla="*/ 6207453 w 11685910"/>
                <a:gd name="connsiteY2313" fmla="*/ 1658029 h 6078415"/>
                <a:gd name="connsiteX2314" fmla="*/ 6207259 w 11685910"/>
                <a:gd name="connsiteY2314" fmla="*/ 1657520 h 6078415"/>
                <a:gd name="connsiteX2315" fmla="*/ 6209877 w 11685910"/>
                <a:gd name="connsiteY2315" fmla="*/ 1659168 h 6078415"/>
                <a:gd name="connsiteX2316" fmla="*/ 6229044 w 11685910"/>
                <a:gd name="connsiteY2316" fmla="*/ 1669780 h 6078415"/>
                <a:gd name="connsiteX2317" fmla="*/ 6250362 w 11685910"/>
                <a:gd name="connsiteY2317" fmla="*/ 1684230 h 6078415"/>
                <a:gd name="connsiteX2318" fmla="*/ 6271323 w 11685910"/>
                <a:gd name="connsiteY2318" fmla="*/ 1665855 h 6078415"/>
                <a:gd name="connsiteX2319" fmla="*/ 6268023 w 11685910"/>
                <a:gd name="connsiteY2319" fmla="*/ 1665588 h 6078415"/>
                <a:gd name="connsiteX2320" fmla="*/ 6240230 w 11685910"/>
                <a:gd name="connsiteY2320" fmla="*/ 1643440 h 6078415"/>
                <a:gd name="connsiteX2321" fmla="*/ 6241155 w 11685910"/>
                <a:gd name="connsiteY2321" fmla="*/ 1638664 h 6078415"/>
                <a:gd name="connsiteX2322" fmla="*/ 6242907 w 11685910"/>
                <a:gd name="connsiteY2322" fmla="*/ 1640573 h 6078415"/>
                <a:gd name="connsiteX2323" fmla="*/ 6314674 w 11685910"/>
                <a:gd name="connsiteY2323" fmla="*/ 1658720 h 6078415"/>
                <a:gd name="connsiteX2324" fmla="*/ 6326537 w 11685910"/>
                <a:gd name="connsiteY2324" fmla="*/ 1541603 h 6078415"/>
                <a:gd name="connsiteX2325" fmla="*/ 6317260 w 11685910"/>
                <a:gd name="connsiteY2325" fmla="*/ 1552307 h 6078415"/>
                <a:gd name="connsiteX2326" fmla="*/ 6303702 w 11685910"/>
                <a:gd name="connsiteY2326" fmla="*/ 1559175 h 6078415"/>
                <a:gd name="connsiteX2327" fmla="*/ 6295225 w 11685910"/>
                <a:gd name="connsiteY2327" fmla="*/ 1619971 h 6078415"/>
                <a:gd name="connsiteX2328" fmla="*/ 6293745 w 11685910"/>
                <a:gd name="connsiteY2328" fmla="*/ 1621138 h 6078415"/>
                <a:gd name="connsiteX2329" fmla="*/ 6294056 w 11685910"/>
                <a:gd name="connsiteY2329" fmla="*/ 1620537 h 6078415"/>
                <a:gd name="connsiteX2330" fmla="*/ 6297280 w 11685910"/>
                <a:gd name="connsiteY2330" fmla="*/ 1601454 h 6078415"/>
                <a:gd name="connsiteX2331" fmla="*/ 6284703 w 11685910"/>
                <a:gd name="connsiteY2331" fmla="*/ 1603863 h 6078415"/>
                <a:gd name="connsiteX2332" fmla="*/ 6286041 w 11685910"/>
                <a:gd name="connsiteY2332" fmla="*/ 1593427 h 6078415"/>
                <a:gd name="connsiteX2333" fmla="*/ 6274267 w 11685910"/>
                <a:gd name="connsiteY2333" fmla="*/ 1593337 h 6078415"/>
                <a:gd name="connsiteX2334" fmla="*/ 6277656 w 11685910"/>
                <a:gd name="connsiteY2334" fmla="*/ 1585577 h 6078415"/>
                <a:gd name="connsiteX2335" fmla="*/ 6270849 w 11685910"/>
                <a:gd name="connsiteY2335" fmla="*/ 1582433 h 6078415"/>
                <a:gd name="connsiteX2336" fmla="*/ 6268963 w 11685910"/>
                <a:gd name="connsiteY2336" fmla="*/ 1582446 h 6078415"/>
                <a:gd name="connsiteX2337" fmla="*/ 6270514 w 11685910"/>
                <a:gd name="connsiteY2337" fmla="*/ 1581889 h 6078415"/>
                <a:gd name="connsiteX2338" fmla="*/ 6272840 w 11685910"/>
                <a:gd name="connsiteY2338" fmla="*/ 1581207 h 6078415"/>
                <a:gd name="connsiteX2339" fmla="*/ 6284079 w 11685910"/>
                <a:gd name="connsiteY2339" fmla="*/ 1578620 h 6078415"/>
                <a:gd name="connsiteX2340" fmla="*/ 6272661 w 11685910"/>
                <a:gd name="connsiteY2340" fmla="*/ 1564081 h 6078415"/>
                <a:gd name="connsiteX2341" fmla="*/ 6260762 w 11685910"/>
                <a:gd name="connsiteY2341" fmla="*/ 1562621 h 6078415"/>
                <a:gd name="connsiteX2342" fmla="*/ 6259663 w 11685910"/>
                <a:gd name="connsiteY2342" fmla="*/ 1562563 h 6078415"/>
                <a:gd name="connsiteX2343" fmla="*/ 6259672 w 11685910"/>
                <a:gd name="connsiteY2343" fmla="*/ 1562539 h 6078415"/>
                <a:gd name="connsiteX2344" fmla="*/ 6267399 w 11685910"/>
                <a:gd name="connsiteY2344" fmla="*/ 1560156 h 6078415"/>
                <a:gd name="connsiteX2345" fmla="*/ 6225030 w 11685910"/>
                <a:gd name="connsiteY2345" fmla="*/ 1534200 h 6078415"/>
                <a:gd name="connsiteX2346" fmla="*/ 6174900 w 11685910"/>
                <a:gd name="connsiteY2346" fmla="*/ 1557658 h 6078415"/>
                <a:gd name="connsiteX2347" fmla="*/ 6189037 w 11685910"/>
                <a:gd name="connsiteY2347" fmla="*/ 1557983 h 6078415"/>
                <a:gd name="connsiteX2348" fmla="*/ 6189610 w 11685910"/>
                <a:gd name="connsiteY2348" fmla="*/ 1558067 h 6078415"/>
                <a:gd name="connsiteX2349" fmla="*/ 6187216 w 11685910"/>
                <a:gd name="connsiteY2349" fmla="*/ 1558718 h 6078415"/>
                <a:gd name="connsiteX2350" fmla="*/ 6162783 w 11685910"/>
                <a:gd name="connsiteY2350" fmla="*/ 1563799 h 6078415"/>
                <a:gd name="connsiteX2351" fmla="*/ 6116620 w 11685910"/>
                <a:gd name="connsiteY2351" fmla="*/ 1623678 h 6078415"/>
                <a:gd name="connsiteX2352" fmla="*/ 6130507 w 11685910"/>
                <a:gd name="connsiteY2352" fmla="*/ 1645641 h 6078415"/>
                <a:gd name="connsiteX2353" fmla="*/ 6144916 w 11685910"/>
                <a:gd name="connsiteY2353" fmla="*/ 1629215 h 6078415"/>
                <a:gd name="connsiteX2354" fmla="*/ 6128058 w 11685910"/>
                <a:gd name="connsiteY2354" fmla="*/ 1664085 h 6078415"/>
                <a:gd name="connsiteX2355" fmla="*/ 6143880 w 11685910"/>
                <a:gd name="connsiteY2355" fmla="*/ 1673403 h 6078415"/>
                <a:gd name="connsiteX2356" fmla="*/ 6170852 w 11685910"/>
                <a:gd name="connsiteY2356" fmla="*/ 1660051 h 6078415"/>
                <a:gd name="connsiteX2357" fmla="*/ 6188143 w 11685910"/>
                <a:gd name="connsiteY2357" fmla="*/ 1658321 h 6078415"/>
                <a:gd name="connsiteX2358" fmla="*/ 6194339 w 11685910"/>
                <a:gd name="connsiteY2358" fmla="*/ 1589735 h 6078415"/>
                <a:gd name="connsiteX2359" fmla="*/ 6195059 w 11685910"/>
                <a:gd name="connsiteY2359" fmla="*/ 1667111 h 6078415"/>
                <a:gd name="connsiteX2360" fmla="*/ 6192966 w 11685910"/>
                <a:gd name="connsiteY2360" fmla="*/ 1666768 h 6078415"/>
                <a:gd name="connsiteX2361" fmla="*/ 6190315 w 11685910"/>
                <a:gd name="connsiteY2361" fmla="*/ 1666090 h 6078415"/>
                <a:gd name="connsiteX2362" fmla="*/ 6187599 w 11685910"/>
                <a:gd name="connsiteY2362" fmla="*/ 1665666 h 6078415"/>
                <a:gd name="connsiteX2363" fmla="*/ 6186838 w 11685910"/>
                <a:gd name="connsiteY2363" fmla="*/ 1665490 h 6078415"/>
                <a:gd name="connsiteX2364" fmla="*/ 6180113 w 11685910"/>
                <a:gd name="connsiteY2364" fmla="*/ 1665262 h 6078415"/>
                <a:gd name="connsiteX2365" fmla="*/ 6179134 w 11685910"/>
                <a:gd name="connsiteY2365" fmla="*/ 1665490 h 6078415"/>
                <a:gd name="connsiteX2366" fmla="*/ 6178542 w 11685910"/>
                <a:gd name="connsiteY2366" fmla="*/ 1665541 h 6078415"/>
                <a:gd name="connsiteX2367" fmla="*/ 6139578 w 11685910"/>
                <a:gd name="connsiteY2367" fmla="*/ 1681375 h 6078415"/>
                <a:gd name="connsiteX2368" fmla="*/ 6117388 w 11685910"/>
                <a:gd name="connsiteY2368" fmla="*/ 1663777 h 6078415"/>
                <a:gd name="connsiteX2369" fmla="*/ 6116933 w 11685910"/>
                <a:gd name="connsiteY2369" fmla="*/ 1663187 h 6078415"/>
                <a:gd name="connsiteX2370" fmla="*/ 6118644 w 11685910"/>
                <a:gd name="connsiteY2370" fmla="*/ 1660328 h 6078415"/>
                <a:gd name="connsiteX2371" fmla="*/ 6124682 w 11685910"/>
                <a:gd name="connsiteY2371" fmla="*/ 1651583 h 6078415"/>
                <a:gd name="connsiteX2372" fmla="*/ 6107734 w 11685910"/>
                <a:gd name="connsiteY2372" fmla="*/ 1624735 h 6078415"/>
                <a:gd name="connsiteX2373" fmla="*/ 6137794 w 11685910"/>
                <a:gd name="connsiteY2373" fmla="*/ 1578887 h 6078415"/>
                <a:gd name="connsiteX2374" fmla="*/ 6058278 w 11685910"/>
                <a:gd name="connsiteY2374" fmla="*/ 1625950 h 6078415"/>
                <a:gd name="connsiteX2375" fmla="*/ 6054677 w 11685910"/>
                <a:gd name="connsiteY2375" fmla="*/ 1622709 h 6078415"/>
                <a:gd name="connsiteX2376" fmla="*/ 6055730 w 11685910"/>
                <a:gd name="connsiteY2376" fmla="*/ 1622118 h 6078415"/>
                <a:gd name="connsiteX2377" fmla="*/ 6059657 w 11685910"/>
                <a:gd name="connsiteY2377" fmla="*/ 1602346 h 6078415"/>
                <a:gd name="connsiteX2378" fmla="*/ 6049245 w 11685910"/>
                <a:gd name="connsiteY2378" fmla="*/ 1612371 h 6078415"/>
                <a:gd name="connsiteX2379" fmla="*/ 6050151 w 11685910"/>
                <a:gd name="connsiteY2379" fmla="*/ 1605518 h 6078415"/>
                <a:gd name="connsiteX2380" fmla="*/ 6063705 w 11685910"/>
                <a:gd name="connsiteY2380" fmla="*/ 1597020 h 6078415"/>
                <a:gd name="connsiteX2381" fmla="*/ 6063705 w 11685910"/>
                <a:gd name="connsiteY2381" fmla="*/ 1620686 h 6078415"/>
                <a:gd name="connsiteX2382" fmla="*/ 6139532 w 11685910"/>
                <a:gd name="connsiteY2382" fmla="*/ 1572630 h 6078415"/>
                <a:gd name="connsiteX2383" fmla="*/ 6161991 w 11685910"/>
                <a:gd name="connsiteY2383" fmla="*/ 1556208 h 6078415"/>
                <a:gd name="connsiteX2384" fmla="*/ 6167986 w 11685910"/>
                <a:gd name="connsiteY2384" fmla="*/ 1555580 h 6078415"/>
                <a:gd name="connsiteX2385" fmla="*/ 6168681 w 11685910"/>
                <a:gd name="connsiteY2385" fmla="*/ 1554093 h 6078415"/>
                <a:gd name="connsiteX2386" fmla="*/ 6187831 w 11685910"/>
                <a:gd name="connsiteY2386" fmla="*/ 1535682 h 6078415"/>
                <a:gd name="connsiteX2387" fmla="*/ 6223262 w 11685910"/>
                <a:gd name="connsiteY2387" fmla="*/ 1527682 h 6078415"/>
                <a:gd name="connsiteX2388" fmla="*/ 177365 w 11685910"/>
                <a:gd name="connsiteY2388" fmla="*/ 1527682 h 6078415"/>
                <a:gd name="connsiteX2389" fmla="*/ 183228 w 11685910"/>
                <a:gd name="connsiteY2389" fmla="*/ 1528196 h 6078415"/>
                <a:gd name="connsiteX2390" fmla="*/ 226214 w 11685910"/>
                <a:gd name="connsiteY2390" fmla="*/ 1557416 h 6078415"/>
                <a:gd name="connsiteX2391" fmla="*/ 244084 w 11685910"/>
                <a:gd name="connsiteY2391" fmla="*/ 1578426 h 6078415"/>
                <a:gd name="connsiteX2392" fmla="*/ 240944 w 11685910"/>
                <a:gd name="connsiteY2392" fmla="*/ 1586153 h 6078415"/>
                <a:gd name="connsiteX2393" fmla="*/ 253970 w 11685910"/>
                <a:gd name="connsiteY2393" fmla="*/ 1596190 h 6078415"/>
                <a:gd name="connsiteX2394" fmla="*/ 252294 w 11685910"/>
                <a:gd name="connsiteY2394" fmla="*/ 1559107 h 6078415"/>
                <a:gd name="connsiteX2395" fmla="*/ 267508 w 11685910"/>
                <a:gd name="connsiteY2395" fmla="*/ 1549447 h 6078415"/>
                <a:gd name="connsiteX2396" fmla="*/ 279341 w 11685910"/>
                <a:gd name="connsiteY2396" fmla="*/ 1538338 h 6078415"/>
                <a:gd name="connsiteX2397" fmla="*/ 302041 w 11685910"/>
                <a:gd name="connsiteY2397" fmla="*/ 1600401 h 6078415"/>
                <a:gd name="connsiteX2398" fmla="*/ 264610 w 11685910"/>
                <a:gd name="connsiteY2398" fmla="*/ 1668260 h 6078415"/>
                <a:gd name="connsiteX2399" fmla="*/ 232799 w 11685910"/>
                <a:gd name="connsiteY2399" fmla="*/ 1668973 h 6078415"/>
                <a:gd name="connsiteX2400" fmla="*/ 228819 w 11685910"/>
                <a:gd name="connsiteY2400" fmla="*/ 1667587 h 6078415"/>
                <a:gd name="connsiteX2401" fmla="*/ 228342 w 11685910"/>
                <a:gd name="connsiteY2401" fmla="*/ 1669848 h 6078415"/>
                <a:gd name="connsiteX2402" fmla="*/ 203755 w 11685910"/>
                <a:gd name="connsiteY2402" fmla="*/ 1689752 h 6078415"/>
                <a:gd name="connsiteX2403" fmla="*/ 182262 w 11685910"/>
                <a:gd name="connsiteY2403" fmla="*/ 1680092 h 6078415"/>
                <a:gd name="connsiteX2404" fmla="*/ 181296 w 11685910"/>
                <a:gd name="connsiteY2404" fmla="*/ 1692650 h 6078415"/>
                <a:gd name="connsiteX2405" fmla="*/ 190956 w 11685910"/>
                <a:gd name="connsiteY2405" fmla="*/ 1713176 h 6078415"/>
                <a:gd name="connsiteX2406" fmla="*/ 190473 w 11685910"/>
                <a:gd name="connsiteY2406" fmla="*/ 1724285 h 6078415"/>
                <a:gd name="connsiteX2407" fmla="*/ 192646 w 11685910"/>
                <a:gd name="connsiteY2407" fmla="*/ 1738050 h 6078415"/>
                <a:gd name="connsiteX2408" fmla="*/ 176708 w 11685910"/>
                <a:gd name="connsiteY2408" fmla="*/ 1743846 h 6078415"/>
                <a:gd name="connsiteX2409" fmla="*/ 151834 w 11685910"/>
                <a:gd name="connsiteY2409" fmla="*/ 1738533 h 6078415"/>
                <a:gd name="connsiteX2410" fmla="*/ 151075 w 11685910"/>
                <a:gd name="connsiteY2410" fmla="*/ 1734079 h 6078415"/>
                <a:gd name="connsiteX2411" fmla="*/ 151035 w 11685910"/>
                <a:gd name="connsiteY2411" fmla="*/ 1732734 h 6078415"/>
                <a:gd name="connsiteX2412" fmla="*/ 147296 w 11685910"/>
                <a:gd name="connsiteY2412" fmla="*/ 1736278 h 6078415"/>
                <a:gd name="connsiteX2413" fmla="*/ 123822 w 11685910"/>
                <a:gd name="connsiteY2413" fmla="*/ 1750607 h 6078415"/>
                <a:gd name="connsiteX2414" fmla="*/ 100397 w 11685910"/>
                <a:gd name="connsiteY2414" fmla="*/ 1722353 h 6078415"/>
                <a:gd name="connsiteX2415" fmla="*/ 111264 w 11685910"/>
                <a:gd name="connsiteY2415" fmla="*/ 1710520 h 6078415"/>
                <a:gd name="connsiteX2416" fmla="*/ 86391 w 11685910"/>
                <a:gd name="connsiteY2416" fmla="*/ 1708105 h 6078415"/>
                <a:gd name="connsiteX2417" fmla="*/ 85425 w 11685910"/>
                <a:gd name="connsiteY2417" fmla="*/ 1718972 h 6078415"/>
                <a:gd name="connsiteX2418" fmla="*/ 79146 w 11685910"/>
                <a:gd name="connsiteY2418" fmla="*/ 1729598 h 6078415"/>
                <a:gd name="connsiteX2419" fmla="*/ 74075 w 11685910"/>
                <a:gd name="connsiteY2419" fmla="*/ 1748675 h 6078415"/>
                <a:gd name="connsiteX2420" fmla="*/ 33987 w 11685910"/>
                <a:gd name="connsiteY2420" fmla="*/ 1740223 h 6078415"/>
                <a:gd name="connsiteX2421" fmla="*/ 34953 w 11685910"/>
                <a:gd name="connsiteY2421" fmla="*/ 1726217 h 6078415"/>
                <a:gd name="connsiteX2422" fmla="*/ 25294 w 11685910"/>
                <a:gd name="connsiteY2422" fmla="*/ 1728149 h 6078415"/>
                <a:gd name="connsiteX2423" fmla="*/ 179 w 11685910"/>
                <a:gd name="connsiteY2423" fmla="*/ 1702309 h 6078415"/>
                <a:gd name="connsiteX2424" fmla="*/ 15393 w 11685910"/>
                <a:gd name="connsiteY2424" fmla="*/ 1675746 h 6078415"/>
                <a:gd name="connsiteX2425" fmla="*/ 16842 w 11685910"/>
                <a:gd name="connsiteY2425" fmla="*/ 1649182 h 6078415"/>
                <a:gd name="connsiteX2426" fmla="*/ 1386 w 11685910"/>
                <a:gd name="connsiteY2426" fmla="*/ 1627206 h 6078415"/>
                <a:gd name="connsiteX2427" fmla="*/ 3147 w 11685910"/>
                <a:gd name="connsiteY2427" fmla="*/ 1613888 h 6078415"/>
                <a:gd name="connsiteX2428" fmla="*/ 3606 w 11685910"/>
                <a:gd name="connsiteY2428" fmla="*/ 1622608 h 6078415"/>
                <a:gd name="connsiteX2429" fmla="*/ 4429 w 11685910"/>
                <a:gd name="connsiteY2429" fmla="*/ 1623003 h 6078415"/>
                <a:gd name="connsiteX2430" fmla="*/ 4552 w 11685910"/>
                <a:gd name="connsiteY2430" fmla="*/ 1624178 h 6078415"/>
                <a:gd name="connsiteX2431" fmla="*/ 24107 w 11685910"/>
                <a:gd name="connsiteY2431" fmla="*/ 1638025 h 6078415"/>
                <a:gd name="connsiteX2432" fmla="*/ 42330 w 11685910"/>
                <a:gd name="connsiteY2432" fmla="*/ 1708655 h 6078415"/>
                <a:gd name="connsiteX2433" fmla="*/ 43292 w 11685910"/>
                <a:gd name="connsiteY2433" fmla="*/ 1710504 h 6078415"/>
                <a:gd name="connsiteX2434" fmla="*/ 43258 w 11685910"/>
                <a:gd name="connsiteY2434" fmla="*/ 1711372 h 6078415"/>
                <a:gd name="connsiteX2435" fmla="*/ 41857 w 11685910"/>
                <a:gd name="connsiteY2435" fmla="*/ 1724815 h 6078415"/>
                <a:gd name="connsiteX2436" fmla="*/ 38557 w 11685910"/>
                <a:gd name="connsiteY2436" fmla="*/ 1736143 h 6078415"/>
                <a:gd name="connsiteX2437" fmla="*/ 72720 w 11685910"/>
                <a:gd name="connsiteY2437" fmla="*/ 1742743 h 6078415"/>
                <a:gd name="connsiteX2438" fmla="*/ 73879 w 11685910"/>
                <a:gd name="connsiteY2438" fmla="*/ 1731861 h 6078415"/>
                <a:gd name="connsiteX2439" fmla="*/ 80480 w 11685910"/>
                <a:gd name="connsiteY2439" fmla="*/ 1717679 h 6078415"/>
                <a:gd name="connsiteX2440" fmla="*/ 80759 w 11685910"/>
                <a:gd name="connsiteY2440" fmla="*/ 1702571 h 6078415"/>
                <a:gd name="connsiteX2441" fmla="*/ 80551 w 11685910"/>
                <a:gd name="connsiteY2441" fmla="*/ 1696892 h 6078415"/>
                <a:gd name="connsiteX2442" fmla="*/ 82139 w 11685910"/>
                <a:gd name="connsiteY2442" fmla="*/ 1698741 h 6078415"/>
                <a:gd name="connsiteX2443" fmla="*/ 121511 w 11685910"/>
                <a:gd name="connsiteY2443" fmla="*/ 1696539 h 6078415"/>
                <a:gd name="connsiteX2444" fmla="*/ 122403 w 11685910"/>
                <a:gd name="connsiteY2444" fmla="*/ 1710276 h 6078415"/>
                <a:gd name="connsiteX2445" fmla="*/ 105366 w 11685910"/>
                <a:gd name="connsiteY2445" fmla="*/ 1722942 h 6078415"/>
                <a:gd name="connsiteX2446" fmla="*/ 124276 w 11685910"/>
                <a:gd name="connsiteY2446" fmla="*/ 1745865 h 6078415"/>
                <a:gd name="connsiteX2447" fmla="*/ 159331 w 11685910"/>
                <a:gd name="connsiteY2447" fmla="*/ 1718125 h 6078415"/>
                <a:gd name="connsiteX2448" fmla="*/ 178419 w 11685910"/>
                <a:gd name="connsiteY2448" fmla="*/ 1676291 h 6078415"/>
                <a:gd name="connsiteX2449" fmla="*/ 161556 w 11685910"/>
                <a:gd name="connsiteY2449" fmla="*/ 1658029 h 6078415"/>
                <a:gd name="connsiteX2450" fmla="*/ 161362 w 11685910"/>
                <a:gd name="connsiteY2450" fmla="*/ 1657520 h 6078415"/>
                <a:gd name="connsiteX2451" fmla="*/ 163980 w 11685910"/>
                <a:gd name="connsiteY2451" fmla="*/ 1659168 h 6078415"/>
                <a:gd name="connsiteX2452" fmla="*/ 183147 w 11685910"/>
                <a:gd name="connsiteY2452" fmla="*/ 1669780 h 6078415"/>
                <a:gd name="connsiteX2453" fmla="*/ 204465 w 11685910"/>
                <a:gd name="connsiteY2453" fmla="*/ 1684230 h 6078415"/>
                <a:gd name="connsiteX2454" fmla="*/ 225426 w 11685910"/>
                <a:gd name="connsiteY2454" fmla="*/ 1665855 h 6078415"/>
                <a:gd name="connsiteX2455" fmla="*/ 222126 w 11685910"/>
                <a:gd name="connsiteY2455" fmla="*/ 1665588 h 6078415"/>
                <a:gd name="connsiteX2456" fmla="*/ 194333 w 11685910"/>
                <a:gd name="connsiteY2456" fmla="*/ 1643440 h 6078415"/>
                <a:gd name="connsiteX2457" fmla="*/ 195257 w 11685910"/>
                <a:gd name="connsiteY2457" fmla="*/ 1638664 h 6078415"/>
                <a:gd name="connsiteX2458" fmla="*/ 197010 w 11685910"/>
                <a:gd name="connsiteY2458" fmla="*/ 1640573 h 6078415"/>
                <a:gd name="connsiteX2459" fmla="*/ 268777 w 11685910"/>
                <a:gd name="connsiteY2459" fmla="*/ 1658720 h 6078415"/>
                <a:gd name="connsiteX2460" fmla="*/ 280640 w 11685910"/>
                <a:gd name="connsiteY2460" fmla="*/ 1541603 h 6078415"/>
                <a:gd name="connsiteX2461" fmla="*/ 271363 w 11685910"/>
                <a:gd name="connsiteY2461" fmla="*/ 1552307 h 6078415"/>
                <a:gd name="connsiteX2462" fmla="*/ 257805 w 11685910"/>
                <a:gd name="connsiteY2462" fmla="*/ 1559175 h 6078415"/>
                <a:gd name="connsiteX2463" fmla="*/ 249328 w 11685910"/>
                <a:gd name="connsiteY2463" fmla="*/ 1619971 h 6078415"/>
                <a:gd name="connsiteX2464" fmla="*/ 247848 w 11685910"/>
                <a:gd name="connsiteY2464" fmla="*/ 1621138 h 6078415"/>
                <a:gd name="connsiteX2465" fmla="*/ 248159 w 11685910"/>
                <a:gd name="connsiteY2465" fmla="*/ 1620537 h 6078415"/>
                <a:gd name="connsiteX2466" fmla="*/ 251383 w 11685910"/>
                <a:gd name="connsiteY2466" fmla="*/ 1601454 h 6078415"/>
                <a:gd name="connsiteX2467" fmla="*/ 238806 w 11685910"/>
                <a:gd name="connsiteY2467" fmla="*/ 1603863 h 6078415"/>
                <a:gd name="connsiteX2468" fmla="*/ 240144 w 11685910"/>
                <a:gd name="connsiteY2468" fmla="*/ 1593427 h 6078415"/>
                <a:gd name="connsiteX2469" fmla="*/ 228370 w 11685910"/>
                <a:gd name="connsiteY2469" fmla="*/ 1593337 h 6078415"/>
                <a:gd name="connsiteX2470" fmla="*/ 231759 w 11685910"/>
                <a:gd name="connsiteY2470" fmla="*/ 1585577 h 6078415"/>
                <a:gd name="connsiteX2471" fmla="*/ 224953 w 11685910"/>
                <a:gd name="connsiteY2471" fmla="*/ 1582433 h 6078415"/>
                <a:gd name="connsiteX2472" fmla="*/ 223066 w 11685910"/>
                <a:gd name="connsiteY2472" fmla="*/ 1582446 h 6078415"/>
                <a:gd name="connsiteX2473" fmla="*/ 224617 w 11685910"/>
                <a:gd name="connsiteY2473" fmla="*/ 1581889 h 6078415"/>
                <a:gd name="connsiteX2474" fmla="*/ 226943 w 11685910"/>
                <a:gd name="connsiteY2474" fmla="*/ 1581207 h 6078415"/>
                <a:gd name="connsiteX2475" fmla="*/ 238182 w 11685910"/>
                <a:gd name="connsiteY2475" fmla="*/ 1578620 h 6078415"/>
                <a:gd name="connsiteX2476" fmla="*/ 226764 w 11685910"/>
                <a:gd name="connsiteY2476" fmla="*/ 1564081 h 6078415"/>
                <a:gd name="connsiteX2477" fmla="*/ 214865 w 11685910"/>
                <a:gd name="connsiteY2477" fmla="*/ 1562621 h 6078415"/>
                <a:gd name="connsiteX2478" fmla="*/ 213766 w 11685910"/>
                <a:gd name="connsiteY2478" fmla="*/ 1562563 h 6078415"/>
                <a:gd name="connsiteX2479" fmla="*/ 213775 w 11685910"/>
                <a:gd name="connsiteY2479" fmla="*/ 1562539 h 6078415"/>
                <a:gd name="connsiteX2480" fmla="*/ 221502 w 11685910"/>
                <a:gd name="connsiteY2480" fmla="*/ 1560156 h 6078415"/>
                <a:gd name="connsiteX2481" fmla="*/ 179133 w 11685910"/>
                <a:gd name="connsiteY2481" fmla="*/ 1534200 h 6078415"/>
                <a:gd name="connsiteX2482" fmla="*/ 129003 w 11685910"/>
                <a:gd name="connsiteY2482" fmla="*/ 1557658 h 6078415"/>
                <a:gd name="connsiteX2483" fmla="*/ 143140 w 11685910"/>
                <a:gd name="connsiteY2483" fmla="*/ 1557983 h 6078415"/>
                <a:gd name="connsiteX2484" fmla="*/ 143713 w 11685910"/>
                <a:gd name="connsiteY2484" fmla="*/ 1558067 h 6078415"/>
                <a:gd name="connsiteX2485" fmla="*/ 141319 w 11685910"/>
                <a:gd name="connsiteY2485" fmla="*/ 1558718 h 6078415"/>
                <a:gd name="connsiteX2486" fmla="*/ 116886 w 11685910"/>
                <a:gd name="connsiteY2486" fmla="*/ 1563799 h 6078415"/>
                <a:gd name="connsiteX2487" fmla="*/ 70723 w 11685910"/>
                <a:gd name="connsiteY2487" fmla="*/ 1623678 h 6078415"/>
                <a:gd name="connsiteX2488" fmla="*/ 84610 w 11685910"/>
                <a:gd name="connsiteY2488" fmla="*/ 1645641 h 6078415"/>
                <a:gd name="connsiteX2489" fmla="*/ 99019 w 11685910"/>
                <a:gd name="connsiteY2489" fmla="*/ 1629215 h 6078415"/>
                <a:gd name="connsiteX2490" fmla="*/ 82161 w 11685910"/>
                <a:gd name="connsiteY2490" fmla="*/ 1664085 h 6078415"/>
                <a:gd name="connsiteX2491" fmla="*/ 97983 w 11685910"/>
                <a:gd name="connsiteY2491" fmla="*/ 1673403 h 6078415"/>
                <a:gd name="connsiteX2492" fmla="*/ 124955 w 11685910"/>
                <a:gd name="connsiteY2492" fmla="*/ 1660051 h 6078415"/>
                <a:gd name="connsiteX2493" fmla="*/ 142246 w 11685910"/>
                <a:gd name="connsiteY2493" fmla="*/ 1658321 h 6078415"/>
                <a:gd name="connsiteX2494" fmla="*/ 148442 w 11685910"/>
                <a:gd name="connsiteY2494" fmla="*/ 1589735 h 6078415"/>
                <a:gd name="connsiteX2495" fmla="*/ 149162 w 11685910"/>
                <a:gd name="connsiteY2495" fmla="*/ 1667111 h 6078415"/>
                <a:gd name="connsiteX2496" fmla="*/ 147069 w 11685910"/>
                <a:gd name="connsiteY2496" fmla="*/ 1666768 h 6078415"/>
                <a:gd name="connsiteX2497" fmla="*/ 144418 w 11685910"/>
                <a:gd name="connsiteY2497" fmla="*/ 1666090 h 6078415"/>
                <a:gd name="connsiteX2498" fmla="*/ 141702 w 11685910"/>
                <a:gd name="connsiteY2498" fmla="*/ 1665666 h 6078415"/>
                <a:gd name="connsiteX2499" fmla="*/ 140941 w 11685910"/>
                <a:gd name="connsiteY2499" fmla="*/ 1665490 h 6078415"/>
                <a:gd name="connsiteX2500" fmla="*/ 134216 w 11685910"/>
                <a:gd name="connsiteY2500" fmla="*/ 1665262 h 6078415"/>
                <a:gd name="connsiteX2501" fmla="*/ 133237 w 11685910"/>
                <a:gd name="connsiteY2501" fmla="*/ 1665490 h 6078415"/>
                <a:gd name="connsiteX2502" fmla="*/ 132645 w 11685910"/>
                <a:gd name="connsiteY2502" fmla="*/ 1665541 h 6078415"/>
                <a:gd name="connsiteX2503" fmla="*/ 93681 w 11685910"/>
                <a:gd name="connsiteY2503" fmla="*/ 1681375 h 6078415"/>
                <a:gd name="connsiteX2504" fmla="*/ 71491 w 11685910"/>
                <a:gd name="connsiteY2504" fmla="*/ 1663777 h 6078415"/>
                <a:gd name="connsiteX2505" fmla="*/ 71036 w 11685910"/>
                <a:gd name="connsiteY2505" fmla="*/ 1663187 h 6078415"/>
                <a:gd name="connsiteX2506" fmla="*/ 72747 w 11685910"/>
                <a:gd name="connsiteY2506" fmla="*/ 1660328 h 6078415"/>
                <a:gd name="connsiteX2507" fmla="*/ 78785 w 11685910"/>
                <a:gd name="connsiteY2507" fmla="*/ 1651583 h 6078415"/>
                <a:gd name="connsiteX2508" fmla="*/ 61837 w 11685910"/>
                <a:gd name="connsiteY2508" fmla="*/ 1624735 h 6078415"/>
                <a:gd name="connsiteX2509" fmla="*/ 91897 w 11685910"/>
                <a:gd name="connsiteY2509" fmla="*/ 1578887 h 6078415"/>
                <a:gd name="connsiteX2510" fmla="*/ 12381 w 11685910"/>
                <a:gd name="connsiteY2510" fmla="*/ 1625950 h 6078415"/>
                <a:gd name="connsiteX2511" fmla="*/ 8780 w 11685910"/>
                <a:gd name="connsiteY2511" fmla="*/ 1622709 h 6078415"/>
                <a:gd name="connsiteX2512" fmla="*/ 9833 w 11685910"/>
                <a:gd name="connsiteY2512" fmla="*/ 1622118 h 6078415"/>
                <a:gd name="connsiteX2513" fmla="*/ 13760 w 11685910"/>
                <a:gd name="connsiteY2513" fmla="*/ 1602346 h 6078415"/>
                <a:gd name="connsiteX2514" fmla="*/ 3348 w 11685910"/>
                <a:gd name="connsiteY2514" fmla="*/ 1612371 h 6078415"/>
                <a:gd name="connsiteX2515" fmla="*/ 4254 w 11685910"/>
                <a:gd name="connsiteY2515" fmla="*/ 1605518 h 6078415"/>
                <a:gd name="connsiteX2516" fmla="*/ 17808 w 11685910"/>
                <a:gd name="connsiteY2516" fmla="*/ 1597020 h 6078415"/>
                <a:gd name="connsiteX2517" fmla="*/ 17808 w 11685910"/>
                <a:gd name="connsiteY2517" fmla="*/ 1620686 h 6078415"/>
                <a:gd name="connsiteX2518" fmla="*/ 93636 w 11685910"/>
                <a:gd name="connsiteY2518" fmla="*/ 1572630 h 6078415"/>
                <a:gd name="connsiteX2519" fmla="*/ 116094 w 11685910"/>
                <a:gd name="connsiteY2519" fmla="*/ 1556208 h 6078415"/>
                <a:gd name="connsiteX2520" fmla="*/ 122089 w 11685910"/>
                <a:gd name="connsiteY2520" fmla="*/ 1555580 h 6078415"/>
                <a:gd name="connsiteX2521" fmla="*/ 122784 w 11685910"/>
                <a:gd name="connsiteY2521" fmla="*/ 1554093 h 6078415"/>
                <a:gd name="connsiteX2522" fmla="*/ 141934 w 11685910"/>
                <a:gd name="connsiteY2522" fmla="*/ 1535682 h 6078415"/>
                <a:gd name="connsiteX2523" fmla="*/ 177365 w 11685910"/>
                <a:gd name="connsiteY2523" fmla="*/ 1527682 h 6078415"/>
                <a:gd name="connsiteX2524" fmla="*/ 7307218 w 11685910"/>
                <a:gd name="connsiteY2524" fmla="*/ 1527636 h 6078415"/>
                <a:gd name="connsiteX2525" fmla="*/ 7352068 w 11685910"/>
                <a:gd name="connsiteY2525" fmla="*/ 1566659 h 6078415"/>
                <a:gd name="connsiteX2526" fmla="*/ 7352068 w 11685910"/>
                <a:gd name="connsiteY2526" fmla="*/ 1603018 h 6078415"/>
                <a:gd name="connsiteX2527" fmla="*/ 7371705 w 11685910"/>
                <a:gd name="connsiteY2527" fmla="*/ 1629878 h 6078415"/>
                <a:gd name="connsiteX2528" fmla="*/ 7371705 w 11685910"/>
                <a:gd name="connsiteY2528" fmla="*/ 1648374 h 6078415"/>
                <a:gd name="connsiteX2529" fmla="*/ 7352068 w 11685910"/>
                <a:gd name="connsiteY2529" fmla="*/ 1674727 h 6078415"/>
                <a:gd name="connsiteX2530" fmla="*/ 7352068 w 11685910"/>
                <a:gd name="connsiteY2530" fmla="*/ 1712102 h 6078415"/>
                <a:gd name="connsiteX2531" fmla="*/ 7307218 w 11685910"/>
                <a:gd name="connsiteY2531" fmla="*/ 1750616 h 6078415"/>
                <a:gd name="connsiteX2532" fmla="*/ 7307218 w 11685910"/>
                <a:gd name="connsiteY2532" fmla="*/ 1731105 h 6078415"/>
                <a:gd name="connsiteX2533" fmla="*/ 7322865 w 11685910"/>
                <a:gd name="connsiteY2533" fmla="*/ 1725024 h 6078415"/>
                <a:gd name="connsiteX2534" fmla="*/ 7327489 w 11685910"/>
                <a:gd name="connsiteY2534" fmla="*/ 1705767 h 6078415"/>
                <a:gd name="connsiteX2535" fmla="*/ 7327489 w 11685910"/>
                <a:gd name="connsiteY2535" fmla="*/ 1670419 h 6078415"/>
                <a:gd name="connsiteX2536" fmla="*/ 7352448 w 11685910"/>
                <a:gd name="connsiteY2536" fmla="*/ 1639126 h 6078415"/>
                <a:gd name="connsiteX2537" fmla="*/ 7352448 w 11685910"/>
                <a:gd name="connsiteY2537" fmla="*/ 1638746 h 6078415"/>
                <a:gd name="connsiteX2538" fmla="*/ 7327489 w 11685910"/>
                <a:gd name="connsiteY2538" fmla="*/ 1607199 h 6078415"/>
                <a:gd name="connsiteX2539" fmla="*/ 7327489 w 11685910"/>
                <a:gd name="connsiteY2539" fmla="*/ 1571472 h 6078415"/>
                <a:gd name="connsiteX2540" fmla="*/ 7307218 w 11685910"/>
                <a:gd name="connsiteY2540" fmla="*/ 1547274 h 6078415"/>
                <a:gd name="connsiteX2541" fmla="*/ 7289734 w 11685910"/>
                <a:gd name="connsiteY2541" fmla="*/ 1527636 h 6078415"/>
                <a:gd name="connsiteX2542" fmla="*/ 7289734 w 11685910"/>
                <a:gd name="connsiteY2542" fmla="*/ 1547274 h 6078415"/>
                <a:gd name="connsiteX2543" fmla="*/ 7269590 w 11685910"/>
                <a:gd name="connsiteY2543" fmla="*/ 1571472 h 6078415"/>
                <a:gd name="connsiteX2544" fmla="*/ 7269590 w 11685910"/>
                <a:gd name="connsiteY2544" fmla="*/ 1607199 h 6078415"/>
                <a:gd name="connsiteX2545" fmla="*/ 7244378 w 11685910"/>
                <a:gd name="connsiteY2545" fmla="*/ 1638746 h 6078415"/>
                <a:gd name="connsiteX2546" fmla="*/ 7244378 w 11685910"/>
                <a:gd name="connsiteY2546" fmla="*/ 1639126 h 6078415"/>
                <a:gd name="connsiteX2547" fmla="*/ 7269590 w 11685910"/>
                <a:gd name="connsiteY2547" fmla="*/ 1670419 h 6078415"/>
                <a:gd name="connsiteX2548" fmla="*/ 7269590 w 11685910"/>
                <a:gd name="connsiteY2548" fmla="*/ 1705767 h 6078415"/>
                <a:gd name="connsiteX2549" fmla="*/ 7274088 w 11685910"/>
                <a:gd name="connsiteY2549" fmla="*/ 1725087 h 6078415"/>
                <a:gd name="connsiteX2550" fmla="*/ 7289734 w 11685910"/>
                <a:gd name="connsiteY2550" fmla="*/ 1731105 h 6078415"/>
                <a:gd name="connsiteX2551" fmla="*/ 7289734 w 11685910"/>
                <a:gd name="connsiteY2551" fmla="*/ 1750616 h 6078415"/>
                <a:gd name="connsiteX2552" fmla="*/ 7244632 w 11685910"/>
                <a:gd name="connsiteY2552" fmla="*/ 1712102 h 6078415"/>
                <a:gd name="connsiteX2553" fmla="*/ 7244632 w 11685910"/>
                <a:gd name="connsiteY2553" fmla="*/ 1674727 h 6078415"/>
                <a:gd name="connsiteX2554" fmla="*/ 7224867 w 11685910"/>
                <a:gd name="connsiteY2554" fmla="*/ 1648374 h 6078415"/>
                <a:gd name="connsiteX2555" fmla="*/ 7224867 w 11685910"/>
                <a:gd name="connsiteY2555" fmla="*/ 1629878 h 6078415"/>
                <a:gd name="connsiteX2556" fmla="*/ 7244632 w 11685910"/>
                <a:gd name="connsiteY2556" fmla="*/ 1603018 h 6078415"/>
                <a:gd name="connsiteX2557" fmla="*/ 7244632 w 11685910"/>
                <a:gd name="connsiteY2557" fmla="*/ 1566659 h 6078415"/>
                <a:gd name="connsiteX2558" fmla="*/ 7289734 w 11685910"/>
                <a:gd name="connsiteY2558" fmla="*/ 1527636 h 6078415"/>
                <a:gd name="connsiteX2559" fmla="*/ 1251166 w 11685910"/>
                <a:gd name="connsiteY2559" fmla="*/ 1527636 h 6078415"/>
                <a:gd name="connsiteX2560" fmla="*/ 1296016 w 11685910"/>
                <a:gd name="connsiteY2560" fmla="*/ 1566659 h 6078415"/>
                <a:gd name="connsiteX2561" fmla="*/ 1296016 w 11685910"/>
                <a:gd name="connsiteY2561" fmla="*/ 1603018 h 6078415"/>
                <a:gd name="connsiteX2562" fmla="*/ 1315653 w 11685910"/>
                <a:gd name="connsiteY2562" fmla="*/ 1629878 h 6078415"/>
                <a:gd name="connsiteX2563" fmla="*/ 1315653 w 11685910"/>
                <a:gd name="connsiteY2563" fmla="*/ 1648374 h 6078415"/>
                <a:gd name="connsiteX2564" fmla="*/ 1296016 w 11685910"/>
                <a:gd name="connsiteY2564" fmla="*/ 1674727 h 6078415"/>
                <a:gd name="connsiteX2565" fmla="*/ 1296016 w 11685910"/>
                <a:gd name="connsiteY2565" fmla="*/ 1712102 h 6078415"/>
                <a:gd name="connsiteX2566" fmla="*/ 1251166 w 11685910"/>
                <a:gd name="connsiteY2566" fmla="*/ 1750616 h 6078415"/>
                <a:gd name="connsiteX2567" fmla="*/ 1251166 w 11685910"/>
                <a:gd name="connsiteY2567" fmla="*/ 1731105 h 6078415"/>
                <a:gd name="connsiteX2568" fmla="*/ 1266813 w 11685910"/>
                <a:gd name="connsiteY2568" fmla="*/ 1725024 h 6078415"/>
                <a:gd name="connsiteX2569" fmla="*/ 1271437 w 11685910"/>
                <a:gd name="connsiteY2569" fmla="*/ 1705767 h 6078415"/>
                <a:gd name="connsiteX2570" fmla="*/ 1271437 w 11685910"/>
                <a:gd name="connsiteY2570" fmla="*/ 1670419 h 6078415"/>
                <a:gd name="connsiteX2571" fmla="*/ 1296396 w 11685910"/>
                <a:gd name="connsiteY2571" fmla="*/ 1639126 h 6078415"/>
                <a:gd name="connsiteX2572" fmla="*/ 1296396 w 11685910"/>
                <a:gd name="connsiteY2572" fmla="*/ 1638746 h 6078415"/>
                <a:gd name="connsiteX2573" fmla="*/ 1271437 w 11685910"/>
                <a:gd name="connsiteY2573" fmla="*/ 1607199 h 6078415"/>
                <a:gd name="connsiteX2574" fmla="*/ 1271437 w 11685910"/>
                <a:gd name="connsiteY2574" fmla="*/ 1571472 h 6078415"/>
                <a:gd name="connsiteX2575" fmla="*/ 1251166 w 11685910"/>
                <a:gd name="connsiteY2575" fmla="*/ 1547274 h 6078415"/>
                <a:gd name="connsiteX2576" fmla="*/ 1233682 w 11685910"/>
                <a:gd name="connsiteY2576" fmla="*/ 1527636 h 6078415"/>
                <a:gd name="connsiteX2577" fmla="*/ 1233682 w 11685910"/>
                <a:gd name="connsiteY2577" fmla="*/ 1547274 h 6078415"/>
                <a:gd name="connsiteX2578" fmla="*/ 1213538 w 11685910"/>
                <a:gd name="connsiteY2578" fmla="*/ 1571472 h 6078415"/>
                <a:gd name="connsiteX2579" fmla="*/ 1213538 w 11685910"/>
                <a:gd name="connsiteY2579" fmla="*/ 1607199 h 6078415"/>
                <a:gd name="connsiteX2580" fmla="*/ 1188326 w 11685910"/>
                <a:gd name="connsiteY2580" fmla="*/ 1638746 h 6078415"/>
                <a:gd name="connsiteX2581" fmla="*/ 1188326 w 11685910"/>
                <a:gd name="connsiteY2581" fmla="*/ 1639126 h 6078415"/>
                <a:gd name="connsiteX2582" fmla="*/ 1213538 w 11685910"/>
                <a:gd name="connsiteY2582" fmla="*/ 1670419 h 6078415"/>
                <a:gd name="connsiteX2583" fmla="*/ 1213538 w 11685910"/>
                <a:gd name="connsiteY2583" fmla="*/ 1705767 h 6078415"/>
                <a:gd name="connsiteX2584" fmla="*/ 1218036 w 11685910"/>
                <a:gd name="connsiteY2584" fmla="*/ 1725087 h 6078415"/>
                <a:gd name="connsiteX2585" fmla="*/ 1233682 w 11685910"/>
                <a:gd name="connsiteY2585" fmla="*/ 1731105 h 6078415"/>
                <a:gd name="connsiteX2586" fmla="*/ 1233682 w 11685910"/>
                <a:gd name="connsiteY2586" fmla="*/ 1750616 h 6078415"/>
                <a:gd name="connsiteX2587" fmla="*/ 1188580 w 11685910"/>
                <a:gd name="connsiteY2587" fmla="*/ 1712102 h 6078415"/>
                <a:gd name="connsiteX2588" fmla="*/ 1188580 w 11685910"/>
                <a:gd name="connsiteY2588" fmla="*/ 1674727 h 6078415"/>
                <a:gd name="connsiteX2589" fmla="*/ 1168815 w 11685910"/>
                <a:gd name="connsiteY2589" fmla="*/ 1648374 h 6078415"/>
                <a:gd name="connsiteX2590" fmla="*/ 1168815 w 11685910"/>
                <a:gd name="connsiteY2590" fmla="*/ 1629878 h 6078415"/>
                <a:gd name="connsiteX2591" fmla="*/ 1188580 w 11685910"/>
                <a:gd name="connsiteY2591" fmla="*/ 1603018 h 6078415"/>
                <a:gd name="connsiteX2592" fmla="*/ 1188580 w 11685910"/>
                <a:gd name="connsiteY2592" fmla="*/ 1566659 h 6078415"/>
                <a:gd name="connsiteX2593" fmla="*/ 1233682 w 11685910"/>
                <a:gd name="connsiteY2593" fmla="*/ 1527636 h 6078415"/>
                <a:gd name="connsiteX2594" fmla="*/ 11615831 w 11685910"/>
                <a:gd name="connsiteY2594" fmla="*/ 1214333 h 6078415"/>
                <a:gd name="connsiteX2595" fmla="*/ 11660680 w 11685910"/>
                <a:gd name="connsiteY2595" fmla="*/ 1253354 h 6078415"/>
                <a:gd name="connsiteX2596" fmla="*/ 11660680 w 11685910"/>
                <a:gd name="connsiteY2596" fmla="*/ 1289715 h 6078415"/>
                <a:gd name="connsiteX2597" fmla="*/ 11680318 w 11685910"/>
                <a:gd name="connsiteY2597" fmla="*/ 1316575 h 6078415"/>
                <a:gd name="connsiteX2598" fmla="*/ 11680318 w 11685910"/>
                <a:gd name="connsiteY2598" fmla="*/ 1335071 h 6078415"/>
                <a:gd name="connsiteX2599" fmla="*/ 11660680 w 11685910"/>
                <a:gd name="connsiteY2599" fmla="*/ 1361425 h 6078415"/>
                <a:gd name="connsiteX2600" fmla="*/ 11660680 w 11685910"/>
                <a:gd name="connsiteY2600" fmla="*/ 1398799 h 6078415"/>
                <a:gd name="connsiteX2601" fmla="*/ 11615831 w 11685910"/>
                <a:gd name="connsiteY2601" fmla="*/ 1437313 h 6078415"/>
                <a:gd name="connsiteX2602" fmla="*/ 11615831 w 11685910"/>
                <a:gd name="connsiteY2602" fmla="*/ 1417802 h 6078415"/>
                <a:gd name="connsiteX2603" fmla="*/ 11631478 w 11685910"/>
                <a:gd name="connsiteY2603" fmla="*/ 1411722 h 6078415"/>
                <a:gd name="connsiteX2604" fmla="*/ 11636102 w 11685910"/>
                <a:gd name="connsiteY2604" fmla="*/ 1392464 h 6078415"/>
                <a:gd name="connsiteX2605" fmla="*/ 11636102 w 11685910"/>
                <a:gd name="connsiteY2605" fmla="*/ 1357116 h 6078415"/>
                <a:gd name="connsiteX2606" fmla="*/ 11661061 w 11685910"/>
                <a:gd name="connsiteY2606" fmla="*/ 1325823 h 6078415"/>
                <a:gd name="connsiteX2607" fmla="*/ 11661061 w 11685910"/>
                <a:gd name="connsiteY2607" fmla="*/ 1325443 h 6078415"/>
                <a:gd name="connsiteX2608" fmla="*/ 11636102 w 11685910"/>
                <a:gd name="connsiteY2608" fmla="*/ 1293896 h 6078415"/>
                <a:gd name="connsiteX2609" fmla="*/ 11636102 w 11685910"/>
                <a:gd name="connsiteY2609" fmla="*/ 1258169 h 6078415"/>
                <a:gd name="connsiteX2610" fmla="*/ 11615831 w 11685910"/>
                <a:gd name="connsiteY2610" fmla="*/ 1233971 h 6078415"/>
                <a:gd name="connsiteX2611" fmla="*/ 11598347 w 11685910"/>
                <a:gd name="connsiteY2611" fmla="*/ 1214333 h 6078415"/>
                <a:gd name="connsiteX2612" fmla="*/ 11598347 w 11685910"/>
                <a:gd name="connsiteY2612" fmla="*/ 1233971 h 6078415"/>
                <a:gd name="connsiteX2613" fmla="*/ 11578203 w 11685910"/>
                <a:gd name="connsiteY2613" fmla="*/ 1258169 h 6078415"/>
                <a:gd name="connsiteX2614" fmla="*/ 11578203 w 11685910"/>
                <a:gd name="connsiteY2614" fmla="*/ 1293896 h 6078415"/>
                <a:gd name="connsiteX2615" fmla="*/ 11552991 w 11685910"/>
                <a:gd name="connsiteY2615" fmla="*/ 1325443 h 6078415"/>
                <a:gd name="connsiteX2616" fmla="*/ 11552991 w 11685910"/>
                <a:gd name="connsiteY2616" fmla="*/ 1325823 h 6078415"/>
                <a:gd name="connsiteX2617" fmla="*/ 11578203 w 11685910"/>
                <a:gd name="connsiteY2617" fmla="*/ 1357116 h 6078415"/>
                <a:gd name="connsiteX2618" fmla="*/ 11578203 w 11685910"/>
                <a:gd name="connsiteY2618" fmla="*/ 1392464 h 6078415"/>
                <a:gd name="connsiteX2619" fmla="*/ 11582701 w 11685910"/>
                <a:gd name="connsiteY2619" fmla="*/ 1411784 h 6078415"/>
                <a:gd name="connsiteX2620" fmla="*/ 11598347 w 11685910"/>
                <a:gd name="connsiteY2620" fmla="*/ 1417802 h 6078415"/>
                <a:gd name="connsiteX2621" fmla="*/ 11598347 w 11685910"/>
                <a:gd name="connsiteY2621" fmla="*/ 1437313 h 6078415"/>
                <a:gd name="connsiteX2622" fmla="*/ 11553244 w 11685910"/>
                <a:gd name="connsiteY2622" fmla="*/ 1398799 h 6078415"/>
                <a:gd name="connsiteX2623" fmla="*/ 11553244 w 11685910"/>
                <a:gd name="connsiteY2623" fmla="*/ 1361425 h 6078415"/>
                <a:gd name="connsiteX2624" fmla="*/ 11533480 w 11685910"/>
                <a:gd name="connsiteY2624" fmla="*/ 1335071 h 6078415"/>
                <a:gd name="connsiteX2625" fmla="*/ 11533480 w 11685910"/>
                <a:gd name="connsiteY2625" fmla="*/ 1316575 h 6078415"/>
                <a:gd name="connsiteX2626" fmla="*/ 11553244 w 11685910"/>
                <a:gd name="connsiteY2626" fmla="*/ 1289715 h 6078415"/>
                <a:gd name="connsiteX2627" fmla="*/ 11553244 w 11685910"/>
                <a:gd name="connsiteY2627" fmla="*/ 1253354 h 6078415"/>
                <a:gd name="connsiteX2628" fmla="*/ 11598347 w 11685910"/>
                <a:gd name="connsiteY2628" fmla="*/ 1214333 h 6078415"/>
                <a:gd name="connsiteX2629" fmla="*/ 10941808 w 11685910"/>
                <a:gd name="connsiteY2629" fmla="*/ 1214333 h 6078415"/>
                <a:gd name="connsiteX2630" fmla="*/ 10986657 w 11685910"/>
                <a:gd name="connsiteY2630" fmla="*/ 1253354 h 6078415"/>
                <a:gd name="connsiteX2631" fmla="*/ 10986657 w 11685910"/>
                <a:gd name="connsiteY2631" fmla="*/ 1289715 h 6078415"/>
                <a:gd name="connsiteX2632" fmla="*/ 11006295 w 11685910"/>
                <a:gd name="connsiteY2632" fmla="*/ 1316575 h 6078415"/>
                <a:gd name="connsiteX2633" fmla="*/ 11006295 w 11685910"/>
                <a:gd name="connsiteY2633" fmla="*/ 1335071 h 6078415"/>
                <a:gd name="connsiteX2634" fmla="*/ 10986657 w 11685910"/>
                <a:gd name="connsiteY2634" fmla="*/ 1361425 h 6078415"/>
                <a:gd name="connsiteX2635" fmla="*/ 10986657 w 11685910"/>
                <a:gd name="connsiteY2635" fmla="*/ 1398799 h 6078415"/>
                <a:gd name="connsiteX2636" fmla="*/ 10941808 w 11685910"/>
                <a:gd name="connsiteY2636" fmla="*/ 1437313 h 6078415"/>
                <a:gd name="connsiteX2637" fmla="*/ 10941808 w 11685910"/>
                <a:gd name="connsiteY2637" fmla="*/ 1417802 h 6078415"/>
                <a:gd name="connsiteX2638" fmla="*/ 10957455 w 11685910"/>
                <a:gd name="connsiteY2638" fmla="*/ 1411722 h 6078415"/>
                <a:gd name="connsiteX2639" fmla="*/ 10962079 w 11685910"/>
                <a:gd name="connsiteY2639" fmla="*/ 1392464 h 6078415"/>
                <a:gd name="connsiteX2640" fmla="*/ 10962079 w 11685910"/>
                <a:gd name="connsiteY2640" fmla="*/ 1357116 h 6078415"/>
                <a:gd name="connsiteX2641" fmla="*/ 10987038 w 11685910"/>
                <a:gd name="connsiteY2641" fmla="*/ 1325823 h 6078415"/>
                <a:gd name="connsiteX2642" fmla="*/ 10987038 w 11685910"/>
                <a:gd name="connsiteY2642" fmla="*/ 1325443 h 6078415"/>
                <a:gd name="connsiteX2643" fmla="*/ 10962079 w 11685910"/>
                <a:gd name="connsiteY2643" fmla="*/ 1293896 h 6078415"/>
                <a:gd name="connsiteX2644" fmla="*/ 10962079 w 11685910"/>
                <a:gd name="connsiteY2644" fmla="*/ 1258169 h 6078415"/>
                <a:gd name="connsiteX2645" fmla="*/ 10941808 w 11685910"/>
                <a:gd name="connsiteY2645" fmla="*/ 1233971 h 6078415"/>
                <a:gd name="connsiteX2646" fmla="*/ 10924324 w 11685910"/>
                <a:gd name="connsiteY2646" fmla="*/ 1214333 h 6078415"/>
                <a:gd name="connsiteX2647" fmla="*/ 10924324 w 11685910"/>
                <a:gd name="connsiteY2647" fmla="*/ 1233971 h 6078415"/>
                <a:gd name="connsiteX2648" fmla="*/ 10904180 w 11685910"/>
                <a:gd name="connsiteY2648" fmla="*/ 1258169 h 6078415"/>
                <a:gd name="connsiteX2649" fmla="*/ 10904180 w 11685910"/>
                <a:gd name="connsiteY2649" fmla="*/ 1293896 h 6078415"/>
                <a:gd name="connsiteX2650" fmla="*/ 10878968 w 11685910"/>
                <a:gd name="connsiteY2650" fmla="*/ 1325443 h 6078415"/>
                <a:gd name="connsiteX2651" fmla="*/ 10878968 w 11685910"/>
                <a:gd name="connsiteY2651" fmla="*/ 1325823 h 6078415"/>
                <a:gd name="connsiteX2652" fmla="*/ 10904180 w 11685910"/>
                <a:gd name="connsiteY2652" fmla="*/ 1357116 h 6078415"/>
                <a:gd name="connsiteX2653" fmla="*/ 10904180 w 11685910"/>
                <a:gd name="connsiteY2653" fmla="*/ 1392464 h 6078415"/>
                <a:gd name="connsiteX2654" fmla="*/ 10908678 w 11685910"/>
                <a:gd name="connsiteY2654" fmla="*/ 1411784 h 6078415"/>
                <a:gd name="connsiteX2655" fmla="*/ 10924324 w 11685910"/>
                <a:gd name="connsiteY2655" fmla="*/ 1417802 h 6078415"/>
                <a:gd name="connsiteX2656" fmla="*/ 10924324 w 11685910"/>
                <a:gd name="connsiteY2656" fmla="*/ 1437313 h 6078415"/>
                <a:gd name="connsiteX2657" fmla="*/ 10879221 w 11685910"/>
                <a:gd name="connsiteY2657" fmla="*/ 1398799 h 6078415"/>
                <a:gd name="connsiteX2658" fmla="*/ 10879221 w 11685910"/>
                <a:gd name="connsiteY2658" fmla="*/ 1361425 h 6078415"/>
                <a:gd name="connsiteX2659" fmla="*/ 10859457 w 11685910"/>
                <a:gd name="connsiteY2659" fmla="*/ 1335071 h 6078415"/>
                <a:gd name="connsiteX2660" fmla="*/ 10859457 w 11685910"/>
                <a:gd name="connsiteY2660" fmla="*/ 1316575 h 6078415"/>
                <a:gd name="connsiteX2661" fmla="*/ 10879221 w 11685910"/>
                <a:gd name="connsiteY2661" fmla="*/ 1289715 h 6078415"/>
                <a:gd name="connsiteX2662" fmla="*/ 10879221 w 11685910"/>
                <a:gd name="connsiteY2662" fmla="*/ 1253354 h 6078415"/>
                <a:gd name="connsiteX2663" fmla="*/ 10924324 w 11685910"/>
                <a:gd name="connsiteY2663" fmla="*/ 1214333 h 6078415"/>
                <a:gd name="connsiteX2664" fmla="*/ 9743358 w 11685910"/>
                <a:gd name="connsiteY2664" fmla="*/ 1214333 h 6078415"/>
                <a:gd name="connsiteX2665" fmla="*/ 9788207 w 11685910"/>
                <a:gd name="connsiteY2665" fmla="*/ 1253354 h 6078415"/>
                <a:gd name="connsiteX2666" fmla="*/ 9788207 w 11685910"/>
                <a:gd name="connsiteY2666" fmla="*/ 1289715 h 6078415"/>
                <a:gd name="connsiteX2667" fmla="*/ 9807845 w 11685910"/>
                <a:gd name="connsiteY2667" fmla="*/ 1316575 h 6078415"/>
                <a:gd name="connsiteX2668" fmla="*/ 9807845 w 11685910"/>
                <a:gd name="connsiteY2668" fmla="*/ 1335071 h 6078415"/>
                <a:gd name="connsiteX2669" fmla="*/ 9788207 w 11685910"/>
                <a:gd name="connsiteY2669" fmla="*/ 1361425 h 6078415"/>
                <a:gd name="connsiteX2670" fmla="*/ 9788207 w 11685910"/>
                <a:gd name="connsiteY2670" fmla="*/ 1398799 h 6078415"/>
                <a:gd name="connsiteX2671" fmla="*/ 9743358 w 11685910"/>
                <a:gd name="connsiteY2671" fmla="*/ 1437313 h 6078415"/>
                <a:gd name="connsiteX2672" fmla="*/ 9743358 w 11685910"/>
                <a:gd name="connsiteY2672" fmla="*/ 1417802 h 6078415"/>
                <a:gd name="connsiteX2673" fmla="*/ 9759005 w 11685910"/>
                <a:gd name="connsiteY2673" fmla="*/ 1411722 h 6078415"/>
                <a:gd name="connsiteX2674" fmla="*/ 9763629 w 11685910"/>
                <a:gd name="connsiteY2674" fmla="*/ 1392464 h 6078415"/>
                <a:gd name="connsiteX2675" fmla="*/ 9763629 w 11685910"/>
                <a:gd name="connsiteY2675" fmla="*/ 1357116 h 6078415"/>
                <a:gd name="connsiteX2676" fmla="*/ 9788588 w 11685910"/>
                <a:gd name="connsiteY2676" fmla="*/ 1325823 h 6078415"/>
                <a:gd name="connsiteX2677" fmla="*/ 9788588 w 11685910"/>
                <a:gd name="connsiteY2677" fmla="*/ 1325443 h 6078415"/>
                <a:gd name="connsiteX2678" fmla="*/ 9763629 w 11685910"/>
                <a:gd name="connsiteY2678" fmla="*/ 1293896 h 6078415"/>
                <a:gd name="connsiteX2679" fmla="*/ 9763629 w 11685910"/>
                <a:gd name="connsiteY2679" fmla="*/ 1258169 h 6078415"/>
                <a:gd name="connsiteX2680" fmla="*/ 9743358 w 11685910"/>
                <a:gd name="connsiteY2680" fmla="*/ 1233971 h 6078415"/>
                <a:gd name="connsiteX2681" fmla="*/ 9725874 w 11685910"/>
                <a:gd name="connsiteY2681" fmla="*/ 1214333 h 6078415"/>
                <a:gd name="connsiteX2682" fmla="*/ 9725874 w 11685910"/>
                <a:gd name="connsiteY2682" fmla="*/ 1233971 h 6078415"/>
                <a:gd name="connsiteX2683" fmla="*/ 9705730 w 11685910"/>
                <a:gd name="connsiteY2683" fmla="*/ 1258169 h 6078415"/>
                <a:gd name="connsiteX2684" fmla="*/ 9705730 w 11685910"/>
                <a:gd name="connsiteY2684" fmla="*/ 1293896 h 6078415"/>
                <a:gd name="connsiteX2685" fmla="*/ 9680518 w 11685910"/>
                <a:gd name="connsiteY2685" fmla="*/ 1325443 h 6078415"/>
                <a:gd name="connsiteX2686" fmla="*/ 9680518 w 11685910"/>
                <a:gd name="connsiteY2686" fmla="*/ 1325823 h 6078415"/>
                <a:gd name="connsiteX2687" fmla="*/ 9705730 w 11685910"/>
                <a:gd name="connsiteY2687" fmla="*/ 1357116 h 6078415"/>
                <a:gd name="connsiteX2688" fmla="*/ 9705730 w 11685910"/>
                <a:gd name="connsiteY2688" fmla="*/ 1392464 h 6078415"/>
                <a:gd name="connsiteX2689" fmla="*/ 9710228 w 11685910"/>
                <a:gd name="connsiteY2689" fmla="*/ 1411784 h 6078415"/>
                <a:gd name="connsiteX2690" fmla="*/ 9725874 w 11685910"/>
                <a:gd name="connsiteY2690" fmla="*/ 1417802 h 6078415"/>
                <a:gd name="connsiteX2691" fmla="*/ 9725874 w 11685910"/>
                <a:gd name="connsiteY2691" fmla="*/ 1437313 h 6078415"/>
                <a:gd name="connsiteX2692" fmla="*/ 9680771 w 11685910"/>
                <a:gd name="connsiteY2692" fmla="*/ 1398799 h 6078415"/>
                <a:gd name="connsiteX2693" fmla="*/ 9680771 w 11685910"/>
                <a:gd name="connsiteY2693" fmla="*/ 1361425 h 6078415"/>
                <a:gd name="connsiteX2694" fmla="*/ 9661007 w 11685910"/>
                <a:gd name="connsiteY2694" fmla="*/ 1335071 h 6078415"/>
                <a:gd name="connsiteX2695" fmla="*/ 9661007 w 11685910"/>
                <a:gd name="connsiteY2695" fmla="*/ 1316575 h 6078415"/>
                <a:gd name="connsiteX2696" fmla="*/ 9680771 w 11685910"/>
                <a:gd name="connsiteY2696" fmla="*/ 1289715 h 6078415"/>
                <a:gd name="connsiteX2697" fmla="*/ 9680771 w 11685910"/>
                <a:gd name="connsiteY2697" fmla="*/ 1253354 h 6078415"/>
                <a:gd name="connsiteX2698" fmla="*/ 9725874 w 11685910"/>
                <a:gd name="connsiteY2698" fmla="*/ 1214333 h 6078415"/>
                <a:gd name="connsiteX2699" fmla="*/ 8119156 w 11685910"/>
                <a:gd name="connsiteY2699" fmla="*/ 1214333 h 6078415"/>
                <a:gd name="connsiteX2700" fmla="*/ 8164005 w 11685910"/>
                <a:gd name="connsiteY2700" fmla="*/ 1253354 h 6078415"/>
                <a:gd name="connsiteX2701" fmla="*/ 8164005 w 11685910"/>
                <a:gd name="connsiteY2701" fmla="*/ 1289715 h 6078415"/>
                <a:gd name="connsiteX2702" fmla="*/ 8183643 w 11685910"/>
                <a:gd name="connsiteY2702" fmla="*/ 1316575 h 6078415"/>
                <a:gd name="connsiteX2703" fmla="*/ 8183643 w 11685910"/>
                <a:gd name="connsiteY2703" fmla="*/ 1335071 h 6078415"/>
                <a:gd name="connsiteX2704" fmla="*/ 8164005 w 11685910"/>
                <a:gd name="connsiteY2704" fmla="*/ 1361425 h 6078415"/>
                <a:gd name="connsiteX2705" fmla="*/ 8164005 w 11685910"/>
                <a:gd name="connsiteY2705" fmla="*/ 1398799 h 6078415"/>
                <a:gd name="connsiteX2706" fmla="*/ 8119156 w 11685910"/>
                <a:gd name="connsiteY2706" fmla="*/ 1437313 h 6078415"/>
                <a:gd name="connsiteX2707" fmla="*/ 8119156 w 11685910"/>
                <a:gd name="connsiteY2707" fmla="*/ 1417802 h 6078415"/>
                <a:gd name="connsiteX2708" fmla="*/ 8134803 w 11685910"/>
                <a:gd name="connsiteY2708" fmla="*/ 1411722 h 6078415"/>
                <a:gd name="connsiteX2709" fmla="*/ 8139427 w 11685910"/>
                <a:gd name="connsiteY2709" fmla="*/ 1392464 h 6078415"/>
                <a:gd name="connsiteX2710" fmla="*/ 8139427 w 11685910"/>
                <a:gd name="connsiteY2710" fmla="*/ 1357116 h 6078415"/>
                <a:gd name="connsiteX2711" fmla="*/ 8164386 w 11685910"/>
                <a:gd name="connsiteY2711" fmla="*/ 1325823 h 6078415"/>
                <a:gd name="connsiteX2712" fmla="*/ 8164386 w 11685910"/>
                <a:gd name="connsiteY2712" fmla="*/ 1325443 h 6078415"/>
                <a:gd name="connsiteX2713" fmla="*/ 8139427 w 11685910"/>
                <a:gd name="connsiteY2713" fmla="*/ 1293896 h 6078415"/>
                <a:gd name="connsiteX2714" fmla="*/ 8139427 w 11685910"/>
                <a:gd name="connsiteY2714" fmla="*/ 1258169 h 6078415"/>
                <a:gd name="connsiteX2715" fmla="*/ 8119156 w 11685910"/>
                <a:gd name="connsiteY2715" fmla="*/ 1233971 h 6078415"/>
                <a:gd name="connsiteX2716" fmla="*/ 8101672 w 11685910"/>
                <a:gd name="connsiteY2716" fmla="*/ 1214333 h 6078415"/>
                <a:gd name="connsiteX2717" fmla="*/ 8101672 w 11685910"/>
                <a:gd name="connsiteY2717" fmla="*/ 1233971 h 6078415"/>
                <a:gd name="connsiteX2718" fmla="*/ 8081528 w 11685910"/>
                <a:gd name="connsiteY2718" fmla="*/ 1258169 h 6078415"/>
                <a:gd name="connsiteX2719" fmla="*/ 8081528 w 11685910"/>
                <a:gd name="connsiteY2719" fmla="*/ 1293896 h 6078415"/>
                <a:gd name="connsiteX2720" fmla="*/ 8056316 w 11685910"/>
                <a:gd name="connsiteY2720" fmla="*/ 1325443 h 6078415"/>
                <a:gd name="connsiteX2721" fmla="*/ 8056316 w 11685910"/>
                <a:gd name="connsiteY2721" fmla="*/ 1325823 h 6078415"/>
                <a:gd name="connsiteX2722" fmla="*/ 8081528 w 11685910"/>
                <a:gd name="connsiteY2722" fmla="*/ 1357116 h 6078415"/>
                <a:gd name="connsiteX2723" fmla="*/ 8081528 w 11685910"/>
                <a:gd name="connsiteY2723" fmla="*/ 1392464 h 6078415"/>
                <a:gd name="connsiteX2724" fmla="*/ 8086026 w 11685910"/>
                <a:gd name="connsiteY2724" fmla="*/ 1411784 h 6078415"/>
                <a:gd name="connsiteX2725" fmla="*/ 8101672 w 11685910"/>
                <a:gd name="connsiteY2725" fmla="*/ 1417802 h 6078415"/>
                <a:gd name="connsiteX2726" fmla="*/ 8101672 w 11685910"/>
                <a:gd name="connsiteY2726" fmla="*/ 1437313 h 6078415"/>
                <a:gd name="connsiteX2727" fmla="*/ 8056570 w 11685910"/>
                <a:gd name="connsiteY2727" fmla="*/ 1398799 h 6078415"/>
                <a:gd name="connsiteX2728" fmla="*/ 8056570 w 11685910"/>
                <a:gd name="connsiteY2728" fmla="*/ 1361425 h 6078415"/>
                <a:gd name="connsiteX2729" fmla="*/ 8036805 w 11685910"/>
                <a:gd name="connsiteY2729" fmla="*/ 1335071 h 6078415"/>
                <a:gd name="connsiteX2730" fmla="*/ 8036805 w 11685910"/>
                <a:gd name="connsiteY2730" fmla="*/ 1316575 h 6078415"/>
                <a:gd name="connsiteX2731" fmla="*/ 8056570 w 11685910"/>
                <a:gd name="connsiteY2731" fmla="*/ 1289715 h 6078415"/>
                <a:gd name="connsiteX2732" fmla="*/ 8056570 w 11685910"/>
                <a:gd name="connsiteY2732" fmla="*/ 1253354 h 6078415"/>
                <a:gd name="connsiteX2733" fmla="*/ 8101672 w 11685910"/>
                <a:gd name="connsiteY2733" fmla="*/ 1214333 h 6078415"/>
                <a:gd name="connsiteX2734" fmla="*/ 5543447 w 11685910"/>
                <a:gd name="connsiteY2734" fmla="*/ 1214333 h 6078415"/>
                <a:gd name="connsiteX2735" fmla="*/ 5588296 w 11685910"/>
                <a:gd name="connsiteY2735" fmla="*/ 1253354 h 6078415"/>
                <a:gd name="connsiteX2736" fmla="*/ 5588296 w 11685910"/>
                <a:gd name="connsiteY2736" fmla="*/ 1289715 h 6078415"/>
                <a:gd name="connsiteX2737" fmla="*/ 5607934 w 11685910"/>
                <a:gd name="connsiteY2737" fmla="*/ 1316575 h 6078415"/>
                <a:gd name="connsiteX2738" fmla="*/ 5607934 w 11685910"/>
                <a:gd name="connsiteY2738" fmla="*/ 1335071 h 6078415"/>
                <a:gd name="connsiteX2739" fmla="*/ 5588296 w 11685910"/>
                <a:gd name="connsiteY2739" fmla="*/ 1361425 h 6078415"/>
                <a:gd name="connsiteX2740" fmla="*/ 5588296 w 11685910"/>
                <a:gd name="connsiteY2740" fmla="*/ 1398799 h 6078415"/>
                <a:gd name="connsiteX2741" fmla="*/ 5543447 w 11685910"/>
                <a:gd name="connsiteY2741" fmla="*/ 1437313 h 6078415"/>
                <a:gd name="connsiteX2742" fmla="*/ 5543447 w 11685910"/>
                <a:gd name="connsiteY2742" fmla="*/ 1417802 h 6078415"/>
                <a:gd name="connsiteX2743" fmla="*/ 5559093 w 11685910"/>
                <a:gd name="connsiteY2743" fmla="*/ 1411722 h 6078415"/>
                <a:gd name="connsiteX2744" fmla="*/ 5563718 w 11685910"/>
                <a:gd name="connsiteY2744" fmla="*/ 1392464 h 6078415"/>
                <a:gd name="connsiteX2745" fmla="*/ 5563718 w 11685910"/>
                <a:gd name="connsiteY2745" fmla="*/ 1357116 h 6078415"/>
                <a:gd name="connsiteX2746" fmla="*/ 5588677 w 11685910"/>
                <a:gd name="connsiteY2746" fmla="*/ 1325823 h 6078415"/>
                <a:gd name="connsiteX2747" fmla="*/ 5588677 w 11685910"/>
                <a:gd name="connsiteY2747" fmla="*/ 1325443 h 6078415"/>
                <a:gd name="connsiteX2748" fmla="*/ 5563718 w 11685910"/>
                <a:gd name="connsiteY2748" fmla="*/ 1293896 h 6078415"/>
                <a:gd name="connsiteX2749" fmla="*/ 5563718 w 11685910"/>
                <a:gd name="connsiteY2749" fmla="*/ 1258169 h 6078415"/>
                <a:gd name="connsiteX2750" fmla="*/ 5543447 w 11685910"/>
                <a:gd name="connsiteY2750" fmla="*/ 1233971 h 6078415"/>
                <a:gd name="connsiteX2751" fmla="*/ 5525964 w 11685910"/>
                <a:gd name="connsiteY2751" fmla="*/ 1214333 h 6078415"/>
                <a:gd name="connsiteX2752" fmla="*/ 5525964 w 11685910"/>
                <a:gd name="connsiteY2752" fmla="*/ 1233971 h 6078415"/>
                <a:gd name="connsiteX2753" fmla="*/ 5505819 w 11685910"/>
                <a:gd name="connsiteY2753" fmla="*/ 1258169 h 6078415"/>
                <a:gd name="connsiteX2754" fmla="*/ 5505819 w 11685910"/>
                <a:gd name="connsiteY2754" fmla="*/ 1293896 h 6078415"/>
                <a:gd name="connsiteX2755" fmla="*/ 5480606 w 11685910"/>
                <a:gd name="connsiteY2755" fmla="*/ 1325443 h 6078415"/>
                <a:gd name="connsiteX2756" fmla="*/ 5480606 w 11685910"/>
                <a:gd name="connsiteY2756" fmla="*/ 1325823 h 6078415"/>
                <a:gd name="connsiteX2757" fmla="*/ 5505819 w 11685910"/>
                <a:gd name="connsiteY2757" fmla="*/ 1357116 h 6078415"/>
                <a:gd name="connsiteX2758" fmla="*/ 5505819 w 11685910"/>
                <a:gd name="connsiteY2758" fmla="*/ 1392464 h 6078415"/>
                <a:gd name="connsiteX2759" fmla="*/ 5510316 w 11685910"/>
                <a:gd name="connsiteY2759" fmla="*/ 1411784 h 6078415"/>
                <a:gd name="connsiteX2760" fmla="*/ 5525964 w 11685910"/>
                <a:gd name="connsiteY2760" fmla="*/ 1417802 h 6078415"/>
                <a:gd name="connsiteX2761" fmla="*/ 5525964 w 11685910"/>
                <a:gd name="connsiteY2761" fmla="*/ 1437313 h 6078415"/>
                <a:gd name="connsiteX2762" fmla="*/ 5480860 w 11685910"/>
                <a:gd name="connsiteY2762" fmla="*/ 1398799 h 6078415"/>
                <a:gd name="connsiteX2763" fmla="*/ 5480860 w 11685910"/>
                <a:gd name="connsiteY2763" fmla="*/ 1361425 h 6078415"/>
                <a:gd name="connsiteX2764" fmla="*/ 5461096 w 11685910"/>
                <a:gd name="connsiteY2764" fmla="*/ 1335071 h 6078415"/>
                <a:gd name="connsiteX2765" fmla="*/ 5461096 w 11685910"/>
                <a:gd name="connsiteY2765" fmla="*/ 1316575 h 6078415"/>
                <a:gd name="connsiteX2766" fmla="*/ 5480860 w 11685910"/>
                <a:gd name="connsiteY2766" fmla="*/ 1289715 h 6078415"/>
                <a:gd name="connsiteX2767" fmla="*/ 5480860 w 11685910"/>
                <a:gd name="connsiteY2767" fmla="*/ 1253354 h 6078415"/>
                <a:gd name="connsiteX2768" fmla="*/ 5525964 w 11685910"/>
                <a:gd name="connsiteY2768" fmla="*/ 1214333 h 6078415"/>
                <a:gd name="connsiteX2769" fmla="*/ 4877346 w 11685910"/>
                <a:gd name="connsiteY2769" fmla="*/ 1214333 h 6078415"/>
                <a:gd name="connsiteX2770" fmla="*/ 4922195 w 11685910"/>
                <a:gd name="connsiteY2770" fmla="*/ 1253354 h 6078415"/>
                <a:gd name="connsiteX2771" fmla="*/ 4922195 w 11685910"/>
                <a:gd name="connsiteY2771" fmla="*/ 1289715 h 6078415"/>
                <a:gd name="connsiteX2772" fmla="*/ 4941832 w 11685910"/>
                <a:gd name="connsiteY2772" fmla="*/ 1316575 h 6078415"/>
                <a:gd name="connsiteX2773" fmla="*/ 4941832 w 11685910"/>
                <a:gd name="connsiteY2773" fmla="*/ 1335071 h 6078415"/>
                <a:gd name="connsiteX2774" fmla="*/ 4922195 w 11685910"/>
                <a:gd name="connsiteY2774" fmla="*/ 1361425 h 6078415"/>
                <a:gd name="connsiteX2775" fmla="*/ 4922195 w 11685910"/>
                <a:gd name="connsiteY2775" fmla="*/ 1398799 h 6078415"/>
                <a:gd name="connsiteX2776" fmla="*/ 4877346 w 11685910"/>
                <a:gd name="connsiteY2776" fmla="*/ 1437313 h 6078415"/>
                <a:gd name="connsiteX2777" fmla="*/ 4877346 w 11685910"/>
                <a:gd name="connsiteY2777" fmla="*/ 1417802 h 6078415"/>
                <a:gd name="connsiteX2778" fmla="*/ 4892991 w 11685910"/>
                <a:gd name="connsiteY2778" fmla="*/ 1411722 h 6078415"/>
                <a:gd name="connsiteX2779" fmla="*/ 4897617 w 11685910"/>
                <a:gd name="connsiteY2779" fmla="*/ 1392464 h 6078415"/>
                <a:gd name="connsiteX2780" fmla="*/ 4897617 w 11685910"/>
                <a:gd name="connsiteY2780" fmla="*/ 1357116 h 6078415"/>
                <a:gd name="connsiteX2781" fmla="*/ 4922575 w 11685910"/>
                <a:gd name="connsiteY2781" fmla="*/ 1325823 h 6078415"/>
                <a:gd name="connsiteX2782" fmla="*/ 4922575 w 11685910"/>
                <a:gd name="connsiteY2782" fmla="*/ 1325443 h 6078415"/>
                <a:gd name="connsiteX2783" fmla="*/ 4897617 w 11685910"/>
                <a:gd name="connsiteY2783" fmla="*/ 1293896 h 6078415"/>
                <a:gd name="connsiteX2784" fmla="*/ 4897617 w 11685910"/>
                <a:gd name="connsiteY2784" fmla="*/ 1258169 h 6078415"/>
                <a:gd name="connsiteX2785" fmla="*/ 4877346 w 11685910"/>
                <a:gd name="connsiteY2785" fmla="*/ 1233971 h 6078415"/>
                <a:gd name="connsiteX2786" fmla="*/ 4859861 w 11685910"/>
                <a:gd name="connsiteY2786" fmla="*/ 1214333 h 6078415"/>
                <a:gd name="connsiteX2787" fmla="*/ 4859861 w 11685910"/>
                <a:gd name="connsiteY2787" fmla="*/ 1233971 h 6078415"/>
                <a:gd name="connsiteX2788" fmla="*/ 4839717 w 11685910"/>
                <a:gd name="connsiteY2788" fmla="*/ 1258169 h 6078415"/>
                <a:gd name="connsiteX2789" fmla="*/ 4839717 w 11685910"/>
                <a:gd name="connsiteY2789" fmla="*/ 1293896 h 6078415"/>
                <a:gd name="connsiteX2790" fmla="*/ 4814505 w 11685910"/>
                <a:gd name="connsiteY2790" fmla="*/ 1325443 h 6078415"/>
                <a:gd name="connsiteX2791" fmla="*/ 4814505 w 11685910"/>
                <a:gd name="connsiteY2791" fmla="*/ 1325823 h 6078415"/>
                <a:gd name="connsiteX2792" fmla="*/ 4839717 w 11685910"/>
                <a:gd name="connsiteY2792" fmla="*/ 1357116 h 6078415"/>
                <a:gd name="connsiteX2793" fmla="*/ 4839717 w 11685910"/>
                <a:gd name="connsiteY2793" fmla="*/ 1392464 h 6078415"/>
                <a:gd name="connsiteX2794" fmla="*/ 4844214 w 11685910"/>
                <a:gd name="connsiteY2794" fmla="*/ 1411784 h 6078415"/>
                <a:gd name="connsiteX2795" fmla="*/ 4859861 w 11685910"/>
                <a:gd name="connsiteY2795" fmla="*/ 1417802 h 6078415"/>
                <a:gd name="connsiteX2796" fmla="*/ 4859861 w 11685910"/>
                <a:gd name="connsiteY2796" fmla="*/ 1437313 h 6078415"/>
                <a:gd name="connsiteX2797" fmla="*/ 4814758 w 11685910"/>
                <a:gd name="connsiteY2797" fmla="*/ 1398799 h 6078415"/>
                <a:gd name="connsiteX2798" fmla="*/ 4814758 w 11685910"/>
                <a:gd name="connsiteY2798" fmla="*/ 1361425 h 6078415"/>
                <a:gd name="connsiteX2799" fmla="*/ 4794994 w 11685910"/>
                <a:gd name="connsiteY2799" fmla="*/ 1335071 h 6078415"/>
                <a:gd name="connsiteX2800" fmla="*/ 4794994 w 11685910"/>
                <a:gd name="connsiteY2800" fmla="*/ 1316575 h 6078415"/>
                <a:gd name="connsiteX2801" fmla="*/ 4814758 w 11685910"/>
                <a:gd name="connsiteY2801" fmla="*/ 1289715 h 6078415"/>
                <a:gd name="connsiteX2802" fmla="*/ 4814758 w 11685910"/>
                <a:gd name="connsiteY2802" fmla="*/ 1253354 h 6078415"/>
                <a:gd name="connsiteX2803" fmla="*/ 4859861 w 11685910"/>
                <a:gd name="connsiteY2803" fmla="*/ 1214333 h 6078415"/>
                <a:gd name="connsiteX2804" fmla="*/ 2052800 w 11685910"/>
                <a:gd name="connsiteY2804" fmla="*/ 1214333 h 6078415"/>
                <a:gd name="connsiteX2805" fmla="*/ 2097651 w 11685910"/>
                <a:gd name="connsiteY2805" fmla="*/ 1253354 h 6078415"/>
                <a:gd name="connsiteX2806" fmla="*/ 2097651 w 11685910"/>
                <a:gd name="connsiteY2806" fmla="*/ 1289715 h 6078415"/>
                <a:gd name="connsiteX2807" fmla="*/ 2117288 w 11685910"/>
                <a:gd name="connsiteY2807" fmla="*/ 1316575 h 6078415"/>
                <a:gd name="connsiteX2808" fmla="*/ 2117288 w 11685910"/>
                <a:gd name="connsiteY2808" fmla="*/ 1335071 h 6078415"/>
                <a:gd name="connsiteX2809" fmla="*/ 2097651 w 11685910"/>
                <a:gd name="connsiteY2809" fmla="*/ 1361425 h 6078415"/>
                <a:gd name="connsiteX2810" fmla="*/ 2097651 w 11685910"/>
                <a:gd name="connsiteY2810" fmla="*/ 1398799 h 6078415"/>
                <a:gd name="connsiteX2811" fmla="*/ 2052800 w 11685910"/>
                <a:gd name="connsiteY2811" fmla="*/ 1437313 h 6078415"/>
                <a:gd name="connsiteX2812" fmla="*/ 2052800 w 11685910"/>
                <a:gd name="connsiteY2812" fmla="*/ 1417802 h 6078415"/>
                <a:gd name="connsiteX2813" fmla="*/ 2068447 w 11685910"/>
                <a:gd name="connsiteY2813" fmla="*/ 1411722 h 6078415"/>
                <a:gd name="connsiteX2814" fmla="*/ 2073072 w 11685910"/>
                <a:gd name="connsiteY2814" fmla="*/ 1392464 h 6078415"/>
                <a:gd name="connsiteX2815" fmla="*/ 2073072 w 11685910"/>
                <a:gd name="connsiteY2815" fmla="*/ 1357116 h 6078415"/>
                <a:gd name="connsiteX2816" fmla="*/ 2098031 w 11685910"/>
                <a:gd name="connsiteY2816" fmla="*/ 1325823 h 6078415"/>
                <a:gd name="connsiteX2817" fmla="*/ 2098031 w 11685910"/>
                <a:gd name="connsiteY2817" fmla="*/ 1325443 h 6078415"/>
                <a:gd name="connsiteX2818" fmla="*/ 2073072 w 11685910"/>
                <a:gd name="connsiteY2818" fmla="*/ 1293896 h 6078415"/>
                <a:gd name="connsiteX2819" fmla="*/ 2073072 w 11685910"/>
                <a:gd name="connsiteY2819" fmla="*/ 1258169 h 6078415"/>
                <a:gd name="connsiteX2820" fmla="*/ 2052800 w 11685910"/>
                <a:gd name="connsiteY2820" fmla="*/ 1233971 h 6078415"/>
                <a:gd name="connsiteX2821" fmla="*/ 2035316 w 11685910"/>
                <a:gd name="connsiteY2821" fmla="*/ 1214333 h 6078415"/>
                <a:gd name="connsiteX2822" fmla="*/ 2035316 w 11685910"/>
                <a:gd name="connsiteY2822" fmla="*/ 1233971 h 6078415"/>
                <a:gd name="connsiteX2823" fmla="*/ 2015173 w 11685910"/>
                <a:gd name="connsiteY2823" fmla="*/ 1258169 h 6078415"/>
                <a:gd name="connsiteX2824" fmla="*/ 2015173 w 11685910"/>
                <a:gd name="connsiteY2824" fmla="*/ 1293896 h 6078415"/>
                <a:gd name="connsiteX2825" fmla="*/ 1989960 w 11685910"/>
                <a:gd name="connsiteY2825" fmla="*/ 1325443 h 6078415"/>
                <a:gd name="connsiteX2826" fmla="*/ 1989960 w 11685910"/>
                <a:gd name="connsiteY2826" fmla="*/ 1325823 h 6078415"/>
                <a:gd name="connsiteX2827" fmla="*/ 2015173 w 11685910"/>
                <a:gd name="connsiteY2827" fmla="*/ 1357116 h 6078415"/>
                <a:gd name="connsiteX2828" fmla="*/ 2015173 w 11685910"/>
                <a:gd name="connsiteY2828" fmla="*/ 1392464 h 6078415"/>
                <a:gd name="connsiteX2829" fmla="*/ 2019670 w 11685910"/>
                <a:gd name="connsiteY2829" fmla="*/ 1411784 h 6078415"/>
                <a:gd name="connsiteX2830" fmla="*/ 2035316 w 11685910"/>
                <a:gd name="connsiteY2830" fmla="*/ 1417802 h 6078415"/>
                <a:gd name="connsiteX2831" fmla="*/ 2035316 w 11685910"/>
                <a:gd name="connsiteY2831" fmla="*/ 1437313 h 6078415"/>
                <a:gd name="connsiteX2832" fmla="*/ 1990214 w 11685910"/>
                <a:gd name="connsiteY2832" fmla="*/ 1398799 h 6078415"/>
                <a:gd name="connsiteX2833" fmla="*/ 1990214 w 11685910"/>
                <a:gd name="connsiteY2833" fmla="*/ 1361425 h 6078415"/>
                <a:gd name="connsiteX2834" fmla="*/ 1970449 w 11685910"/>
                <a:gd name="connsiteY2834" fmla="*/ 1335071 h 6078415"/>
                <a:gd name="connsiteX2835" fmla="*/ 1970449 w 11685910"/>
                <a:gd name="connsiteY2835" fmla="*/ 1316575 h 6078415"/>
                <a:gd name="connsiteX2836" fmla="*/ 1990214 w 11685910"/>
                <a:gd name="connsiteY2836" fmla="*/ 1289715 h 6078415"/>
                <a:gd name="connsiteX2837" fmla="*/ 1990214 w 11685910"/>
                <a:gd name="connsiteY2837" fmla="*/ 1253354 h 6078415"/>
                <a:gd name="connsiteX2838" fmla="*/ 2035316 w 11685910"/>
                <a:gd name="connsiteY2838" fmla="*/ 1214333 h 6078415"/>
                <a:gd name="connsiteX2839" fmla="*/ 8998507 w 11685910"/>
                <a:gd name="connsiteY2839" fmla="*/ 1084932 h 6078415"/>
                <a:gd name="connsiteX2840" fmla="*/ 8975158 w 11685910"/>
                <a:gd name="connsiteY2840" fmla="*/ 1124444 h 6078415"/>
                <a:gd name="connsiteX2841" fmla="*/ 8991682 w 11685910"/>
                <a:gd name="connsiteY2841" fmla="*/ 1127857 h 6078415"/>
                <a:gd name="connsiteX2842" fmla="*/ 9008205 w 11685910"/>
                <a:gd name="connsiteY2842" fmla="*/ 1124265 h 6078415"/>
                <a:gd name="connsiteX2843" fmla="*/ 9005242 w 11685910"/>
                <a:gd name="connsiteY2843" fmla="*/ 1114746 h 6078415"/>
                <a:gd name="connsiteX2844" fmla="*/ 9006230 w 11685910"/>
                <a:gd name="connsiteY2844" fmla="*/ 1101455 h 6078415"/>
                <a:gd name="connsiteX2845" fmla="*/ 8998507 w 11685910"/>
                <a:gd name="connsiteY2845" fmla="*/ 1084932 h 6078415"/>
                <a:gd name="connsiteX2846" fmla="*/ 2937770 w 11685910"/>
                <a:gd name="connsiteY2846" fmla="*/ 1084932 h 6078415"/>
                <a:gd name="connsiteX2847" fmla="*/ 2914421 w 11685910"/>
                <a:gd name="connsiteY2847" fmla="*/ 1124444 h 6078415"/>
                <a:gd name="connsiteX2848" fmla="*/ 2930946 w 11685910"/>
                <a:gd name="connsiteY2848" fmla="*/ 1127857 h 6078415"/>
                <a:gd name="connsiteX2849" fmla="*/ 2947468 w 11685910"/>
                <a:gd name="connsiteY2849" fmla="*/ 1124265 h 6078415"/>
                <a:gd name="connsiteX2850" fmla="*/ 2944505 w 11685910"/>
                <a:gd name="connsiteY2850" fmla="*/ 1114746 h 6078415"/>
                <a:gd name="connsiteX2851" fmla="*/ 2945494 w 11685910"/>
                <a:gd name="connsiteY2851" fmla="*/ 1101455 h 6078415"/>
                <a:gd name="connsiteX2852" fmla="*/ 2937770 w 11685910"/>
                <a:gd name="connsiteY2852" fmla="*/ 1084932 h 6078415"/>
                <a:gd name="connsiteX2853" fmla="*/ 8837402 w 11685910"/>
                <a:gd name="connsiteY2853" fmla="*/ 1068408 h 6078415"/>
                <a:gd name="connsiteX2854" fmla="*/ 8823663 w 11685910"/>
                <a:gd name="connsiteY2854" fmla="*/ 1088793 h 6078415"/>
                <a:gd name="connsiteX2855" fmla="*/ 8845305 w 11685910"/>
                <a:gd name="connsiteY2855" fmla="*/ 1110525 h 6078415"/>
                <a:gd name="connsiteX2856" fmla="*/ 8854285 w 11685910"/>
                <a:gd name="connsiteY2856" fmla="*/ 1103251 h 6078415"/>
                <a:gd name="connsiteX2857" fmla="*/ 8837402 w 11685910"/>
                <a:gd name="connsiteY2857" fmla="*/ 1068408 h 6078415"/>
                <a:gd name="connsiteX2858" fmla="*/ 2776666 w 11685910"/>
                <a:gd name="connsiteY2858" fmla="*/ 1068408 h 6078415"/>
                <a:gd name="connsiteX2859" fmla="*/ 2762926 w 11685910"/>
                <a:gd name="connsiteY2859" fmla="*/ 1088793 h 6078415"/>
                <a:gd name="connsiteX2860" fmla="*/ 2784568 w 11685910"/>
                <a:gd name="connsiteY2860" fmla="*/ 1110525 h 6078415"/>
                <a:gd name="connsiteX2861" fmla="*/ 2793548 w 11685910"/>
                <a:gd name="connsiteY2861" fmla="*/ 1103251 h 6078415"/>
                <a:gd name="connsiteX2862" fmla="*/ 2776666 w 11685910"/>
                <a:gd name="connsiteY2862" fmla="*/ 1068408 h 6078415"/>
                <a:gd name="connsiteX2863" fmla="*/ 8820903 w 11685910"/>
                <a:gd name="connsiteY2863" fmla="*/ 999655 h 6078415"/>
                <a:gd name="connsiteX2864" fmla="*/ 8820701 w 11685910"/>
                <a:gd name="connsiteY2864" fmla="*/ 1001181 h 6078415"/>
                <a:gd name="connsiteX2865" fmla="*/ 8820634 w 11685910"/>
                <a:gd name="connsiteY2865" fmla="*/ 999913 h 6078415"/>
                <a:gd name="connsiteX2866" fmla="*/ 2760166 w 11685910"/>
                <a:gd name="connsiteY2866" fmla="*/ 999654 h 6078415"/>
                <a:gd name="connsiteX2867" fmla="*/ 2759965 w 11685910"/>
                <a:gd name="connsiteY2867" fmla="*/ 1001182 h 6078415"/>
                <a:gd name="connsiteX2868" fmla="*/ 2759898 w 11685910"/>
                <a:gd name="connsiteY2868" fmla="*/ 999913 h 6078415"/>
                <a:gd name="connsiteX2869" fmla="*/ 9024190 w 11685910"/>
                <a:gd name="connsiteY2869" fmla="*/ 972275 h 6078415"/>
                <a:gd name="connsiteX2870" fmla="*/ 9020171 w 11685910"/>
                <a:gd name="connsiteY2870" fmla="*/ 975149 h 6078415"/>
                <a:gd name="connsiteX2871" fmla="*/ 9027141 w 11685910"/>
                <a:gd name="connsiteY2871" fmla="*/ 983577 h 6078415"/>
                <a:gd name="connsiteX2872" fmla="*/ 9034068 w 11685910"/>
                <a:gd name="connsiteY2872" fmla="*/ 981839 h 6078415"/>
                <a:gd name="connsiteX2873" fmla="*/ 9007667 w 11685910"/>
                <a:gd name="connsiteY2873" fmla="*/ 1001147 h 6078415"/>
                <a:gd name="connsiteX2874" fmla="*/ 9012717 w 11685910"/>
                <a:gd name="connsiteY2874" fmla="*/ 993472 h 6078415"/>
                <a:gd name="connsiteX2875" fmla="*/ 9004883 w 11685910"/>
                <a:gd name="connsiteY2875" fmla="*/ 986464 h 6078415"/>
                <a:gd name="connsiteX2876" fmla="*/ 9000033 w 11685910"/>
                <a:gd name="connsiteY2876" fmla="*/ 990550 h 6078415"/>
                <a:gd name="connsiteX2877" fmla="*/ 9024190 w 11685910"/>
                <a:gd name="connsiteY2877" fmla="*/ 972275 h 6078415"/>
                <a:gd name="connsiteX2878" fmla="*/ 2963453 w 11685910"/>
                <a:gd name="connsiteY2878" fmla="*/ 972275 h 6078415"/>
                <a:gd name="connsiteX2879" fmla="*/ 2959436 w 11685910"/>
                <a:gd name="connsiteY2879" fmla="*/ 975149 h 6078415"/>
                <a:gd name="connsiteX2880" fmla="*/ 2966404 w 11685910"/>
                <a:gd name="connsiteY2880" fmla="*/ 983577 h 6078415"/>
                <a:gd name="connsiteX2881" fmla="*/ 2973332 w 11685910"/>
                <a:gd name="connsiteY2881" fmla="*/ 981839 h 6078415"/>
                <a:gd name="connsiteX2882" fmla="*/ 2946930 w 11685910"/>
                <a:gd name="connsiteY2882" fmla="*/ 1001147 h 6078415"/>
                <a:gd name="connsiteX2883" fmla="*/ 2951980 w 11685910"/>
                <a:gd name="connsiteY2883" fmla="*/ 993472 h 6078415"/>
                <a:gd name="connsiteX2884" fmla="*/ 2944146 w 11685910"/>
                <a:gd name="connsiteY2884" fmla="*/ 986464 h 6078415"/>
                <a:gd name="connsiteX2885" fmla="*/ 2939297 w 11685910"/>
                <a:gd name="connsiteY2885" fmla="*/ 990550 h 6078415"/>
                <a:gd name="connsiteX2886" fmla="*/ 2963453 w 11685910"/>
                <a:gd name="connsiteY2886" fmla="*/ 972275 h 6078415"/>
                <a:gd name="connsiteX2887" fmla="*/ 8997441 w 11685910"/>
                <a:gd name="connsiteY2887" fmla="*/ 955753 h 6078415"/>
                <a:gd name="connsiteX2888" fmla="*/ 8999742 w 11685910"/>
                <a:gd name="connsiteY2888" fmla="*/ 955790 h 6078415"/>
                <a:gd name="connsiteX2889" fmla="*/ 9007936 w 11685910"/>
                <a:gd name="connsiteY2889" fmla="*/ 957054 h 6078415"/>
                <a:gd name="connsiteX2890" fmla="*/ 8988898 w 11685910"/>
                <a:gd name="connsiteY2890" fmla="*/ 976092 h 6078415"/>
                <a:gd name="connsiteX2891" fmla="*/ 8997441 w 11685910"/>
                <a:gd name="connsiteY2891" fmla="*/ 955753 h 6078415"/>
                <a:gd name="connsiteX2892" fmla="*/ 2936704 w 11685910"/>
                <a:gd name="connsiteY2892" fmla="*/ 955753 h 6078415"/>
                <a:gd name="connsiteX2893" fmla="*/ 2939005 w 11685910"/>
                <a:gd name="connsiteY2893" fmla="*/ 955790 h 6078415"/>
                <a:gd name="connsiteX2894" fmla="*/ 2947199 w 11685910"/>
                <a:gd name="connsiteY2894" fmla="*/ 957054 h 6078415"/>
                <a:gd name="connsiteX2895" fmla="*/ 2928161 w 11685910"/>
                <a:gd name="connsiteY2895" fmla="*/ 976092 h 6078415"/>
                <a:gd name="connsiteX2896" fmla="*/ 2936704 w 11685910"/>
                <a:gd name="connsiteY2896" fmla="*/ 955753 h 6078415"/>
                <a:gd name="connsiteX2897" fmla="*/ 9100739 w 11685910"/>
                <a:gd name="connsiteY2897" fmla="*/ 933525 h 6078415"/>
                <a:gd name="connsiteX2898" fmla="*/ 9092486 w 11685910"/>
                <a:gd name="connsiteY2898" fmla="*/ 947541 h 6078415"/>
                <a:gd name="connsiteX2899" fmla="*/ 9080228 w 11685910"/>
                <a:gd name="connsiteY2899" fmla="*/ 949546 h 6078415"/>
                <a:gd name="connsiteX2900" fmla="*/ 9091445 w 11685910"/>
                <a:gd name="connsiteY2900" fmla="*/ 942872 h 6078415"/>
                <a:gd name="connsiteX2901" fmla="*/ 9100739 w 11685910"/>
                <a:gd name="connsiteY2901" fmla="*/ 933525 h 6078415"/>
                <a:gd name="connsiteX2902" fmla="*/ 3040003 w 11685910"/>
                <a:gd name="connsiteY2902" fmla="*/ 933525 h 6078415"/>
                <a:gd name="connsiteX2903" fmla="*/ 3031749 w 11685910"/>
                <a:gd name="connsiteY2903" fmla="*/ 947541 h 6078415"/>
                <a:gd name="connsiteX2904" fmla="*/ 3019491 w 11685910"/>
                <a:gd name="connsiteY2904" fmla="*/ 949546 h 6078415"/>
                <a:gd name="connsiteX2905" fmla="*/ 3030708 w 11685910"/>
                <a:gd name="connsiteY2905" fmla="*/ 942872 h 6078415"/>
                <a:gd name="connsiteX2906" fmla="*/ 3040003 w 11685910"/>
                <a:gd name="connsiteY2906" fmla="*/ 933525 h 6078415"/>
                <a:gd name="connsiteX2907" fmla="*/ 10081433 w 11685910"/>
                <a:gd name="connsiteY2907" fmla="*/ 916889 h 6078415"/>
                <a:gd name="connsiteX2908" fmla="*/ 10136119 w 11685910"/>
                <a:gd name="connsiteY2908" fmla="*/ 955910 h 6078415"/>
                <a:gd name="connsiteX2909" fmla="*/ 10136119 w 11685910"/>
                <a:gd name="connsiteY2909" fmla="*/ 992271 h 6078415"/>
                <a:gd name="connsiteX2910" fmla="*/ 10160063 w 11685910"/>
                <a:gd name="connsiteY2910" fmla="*/ 1019131 h 6078415"/>
                <a:gd name="connsiteX2911" fmla="*/ 10160063 w 11685910"/>
                <a:gd name="connsiteY2911" fmla="*/ 1037627 h 6078415"/>
                <a:gd name="connsiteX2912" fmla="*/ 10136119 w 11685910"/>
                <a:gd name="connsiteY2912" fmla="*/ 1063980 h 6078415"/>
                <a:gd name="connsiteX2913" fmla="*/ 10136119 w 11685910"/>
                <a:gd name="connsiteY2913" fmla="*/ 1101355 h 6078415"/>
                <a:gd name="connsiteX2914" fmla="*/ 10081433 w 11685910"/>
                <a:gd name="connsiteY2914" fmla="*/ 1139869 h 6078415"/>
                <a:gd name="connsiteX2915" fmla="*/ 10081433 w 11685910"/>
                <a:gd name="connsiteY2915" fmla="*/ 1120358 h 6078415"/>
                <a:gd name="connsiteX2916" fmla="*/ 10100511 w 11685910"/>
                <a:gd name="connsiteY2916" fmla="*/ 1114277 h 6078415"/>
                <a:gd name="connsiteX2917" fmla="*/ 10106150 w 11685910"/>
                <a:gd name="connsiteY2917" fmla="*/ 1095020 h 6078415"/>
                <a:gd name="connsiteX2918" fmla="*/ 10106150 w 11685910"/>
                <a:gd name="connsiteY2918" fmla="*/ 1059672 h 6078415"/>
                <a:gd name="connsiteX2919" fmla="*/ 10136582 w 11685910"/>
                <a:gd name="connsiteY2919" fmla="*/ 1028379 h 6078415"/>
                <a:gd name="connsiteX2920" fmla="*/ 10136582 w 11685910"/>
                <a:gd name="connsiteY2920" fmla="*/ 1027999 h 6078415"/>
                <a:gd name="connsiteX2921" fmla="*/ 10106150 w 11685910"/>
                <a:gd name="connsiteY2921" fmla="*/ 996452 h 6078415"/>
                <a:gd name="connsiteX2922" fmla="*/ 10106150 w 11685910"/>
                <a:gd name="connsiteY2922" fmla="*/ 960725 h 6078415"/>
                <a:gd name="connsiteX2923" fmla="*/ 10081433 w 11685910"/>
                <a:gd name="connsiteY2923" fmla="*/ 936527 h 6078415"/>
                <a:gd name="connsiteX2924" fmla="*/ 10060114 w 11685910"/>
                <a:gd name="connsiteY2924" fmla="*/ 916889 h 6078415"/>
                <a:gd name="connsiteX2925" fmla="*/ 10060114 w 11685910"/>
                <a:gd name="connsiteY2925" fmla="*/ 936527 h 6078415"/>
                <a:gd name="connsiteX2926" fmla="*/ 10035552 w 11685910"/>
                <a:gd name="connsiteY2926" fmla="*/ 960725 h 6078415"/>
                <a:gd name="connsiteX2927" fmla="*/ 10035552 w 11685910"/>
                <a:gd name="connsiteY2927" fmla="*/ 996452 h 6078415"/>
                <a:gd name="connsiteX2928" fmla="*/ 10004811 w 11685910"/>
                <a:gd name="connsiteY2928" fmla="*/ 1027999 h 6078415"/>
                <a:gd name="connsiteX2929" fmla="*/ 10004811 w 11685910"/>
                <a:gd name="connsiteY2929" fmla="*/ 1028379 h 6078415"/>
                <a:gd name="connsiteX2930" fmla="*/ 10035552 w 11685910"/>
                <a:gd name="connsiteY2930" fmla="*/ 1059672 h 6078415"/>
                <a:gd name="connsiteX2931" fmla="*/ 10035552 w 11685910"/>
                <a:gd name="connsiteY2931" fmla="*/ 1095020 h 6078415"/>
                <a:gd name="connsiteX2932" fmla="*/ 10041036 w 11685910"/>
                <a:gd name="connsiteY2932" fmla="*/ 1114340 h 6078415"/>
                <a:gd name="connsiteX2933" fmla="*/ 10060114 w 11685910"/>
                <a:gd name="connsiteY2933" fmla="*/ 1120358 h 6078415"/>
                <a:gd name="connsiteX2934" fmla="*/ 10060114 w 11685910"/>
                <a:gd name="connsiteY2934" fmla="*/ 1139869 h 6078415"/>
                <a:gd name="connsiteX2935" fmla="*/ 10005120 w 11685910"/>
                <a:gd name="connsiteY2935" fmla="*/ 1101355 h 6078415"/>
                <a:gd name="connsiteX2936" fmla="*/ 10005120 w 11685910"/>
                <a:gd name="connsiteY2936" fmla="*/ 1063980 h 6078415"/>
                <a:gd name="connsiteX2937" fmla="*/ 9981021 w 11685910"/>
                <a:gd name="connsiteY2937" fmla="*/ 1037627 h 6078415"/>
                <a:gd name="connsiteX2938" fmla="*/ 9981021 w 11685910"/>
                <a:gd name="connsiteY2938" fmla="*/ 1019131 h 6078415"/>
                <a:gd name="connsiteX2939" fmla="*/ 10005120 w 11685910"/>
                <a:gd name="connsiteY2939" fmla="*/ 992271 h 6078415"/>
                <a:gd name="connsiteX2940" fmla="*/ 10005120 w 11685910"/>
                <a:gd name="connsiteY2940" fmla="*/ 955910 h 6078415"/>
                <a:gd name="connsiteX2941" fmla="*/ 10060114 w 11685910"/>
                <a:gd name="connsiteY2941" fmla="*/ 916889 h 6078415"/>
                <a:gd name="connsiteX2942" fmla="*/ 4018207 w 11685910"/>
                <a:gd name="connsiteY2942" fmla="*/ 916889 h 6078415"/>
                <a:gd name="connsiteX2943" fmla="*/ 4072893 w 11685910"/>
                <a:gd name="connsiteY2943" fmla="*/ 955910 h 6078415"/>
                <a:gd name="connsiteX2944" fmla="*/ 4072893 w 11685910"/>
                <a:gd name="connsiteY2944" fmla="*/ 992271 h 6078415"/>
                <a:gd name="connsiteX2945" fmla="*/ 4096837 w 11685910"/>
                <a:gd name="connsiteY2945" fmla="*/ 1019131 h 6078415"/>
                <a:gd name="connsiteX2946" fmla="*/ 4096837 w 11685910"/>
                <a:gd name="connsiteY2946" fmla="*/ 1037627 h 6078415"/>
                <a:gd name="connsiteX2947" fmla="*/ 4072893 w 11685910"/>
                <a:gd name="connsiteY2947" fmla="*/ 1063980 h 6078415"/>
                <a:gd name="connsiteX2948" fmla="*/ 4072893 w 11685910"/>
                <a:gd name="connsiteY2948" fmla="*/ 1101355 h 6078415"/>
                <a:gd name="connsiteX2949" fmla="*/ 4018207 w 11685910"/>
                <a:gd name="connsiteY2949" fmla="*/ 1139869 h 6078415"/>
                <a:gd name="connsiteX2950" fmla="*/ 4018207 w 11685910"/>
                <a:gd name="connsiteY2950" fmla="*/ 1120358 h 6078415"/>
                <a:gd name="connsiteX2951" fmla="*/ 4037285 w 11685910"/>
                <a:gd name="connsiteY2951" fmla="*/ 1114277 h 6078415"/>
                <a:gd name="connsiteX2952" fmla="*/ 4042924 w 11685910"/>
                <a:gd name="connsiteY2952" fmla="*/ 1095020 h 6078415"/>
                <a:gd name="connsiteX2953" fmla="*/ 4042924 w 11685910"/>
                <a:gd name="connsiteY2953" fmla="*/ 1059672 h 6078415"/>
                <a:gd name="connsiteX2954" fmla="*/ 4073356 w 11685910"/>
                <a:gd name="connsiteY2954" fmla="*/ 1028379 h 6078415"/>
                <a:gd name="connsiteX2955" fmla="*/ 4073356 w 11685910"/>
                <a:gd name="connsiteY2955" fmla="*/ 1027999 h 6078415"/>
                <a:gd name="connsiteX2956" fmla="*/ 4042924 w 11685910"/>
                <a:gd name="connsiteY2956" fmla="*/ 996452 h 6078415"/>
                <a:gd name="connsiteX2957" fmla="*/ 4042924 w 11685910"/>
                <a:gd name="connsiteY2957" fmla="*/ 960725 h 6078415"/>
                <a:gd name="connsiteX2958" fmla="*/ 4018207 w 11685910"/>
                <a:gd name="connsiteY2958" fmla="*/ 936527 h 6078415"/>
                <a:gd name="connsiteX2959" fmla="*/ 3996889 w 11685910"/>
                <a:gd name="connsiteY2959" fmla="*/ 916889 h 6078415"/>
                <a:gd name="connsiteX2960" fmla="*/ 3996889 w 11685910"/>
                <a:gd name="connsiteY2960" fmla="*/ 936527 h 6078415"/>
                <a:gd name="connsiteX2961" fmla="*/ 3972327 w 11685910"/>
                <a:gd name="connsiteY2961" fmla="*/ 960725 h 6078415"/>
                <a:gd name="connsiteX2962" fmla="*/ 3972327 w 11685910"/>
                <a:gd name="connsiteY2962" fmla="*/ 996452 h 6078415"/>
                <a:gd name="connsiteX2963" fmla="*/ 3941585 w 11685910"/>
                <a:gd name="connsiteY2963" fmla="*/ 1027999 h 6078415"/>
                <a:gd name="connsiteX2964" fmla="*/ 3941585 w 11685910"/>
                <a:gd name="connsiteY2964" fmla="*/ 1028379 h 6078415"/>
                <a:gd name="connsiteX2965" fmla="*/ 3972327 w 11685910"/>
                <a:gd name="connsiteY2965" fmla="*/ 1059672 h 6078415"/>
                <a:gd name="connsiteX2966" fmla="*/ 3972327 w 11685910"/>
                <a:gd name="connsiteY2966" fmla="*/ 1095020 h 6078415"/>
                <a:gd name="connsiteX2967" fmla="*/ 3977811 w 11685910"/>
                <a:gd name="connsiteY2967" fmla="*/ 1114340 h 6078415"/>
                <a:gd name="connsiteX2968" fmla="*/ 3996889 w 11685910"/>
                <a:gd name="connsiteY2968" fmla="*/ 1120358 h 6078415"/>
                <a:gd name="connsiteX2969" fmla="*/ 3996889 w 11685910"/>
                <a:gd name="connsiteY2969" fmla="*/ 1139869 h 6078415"/>
                <a:gd name="connsiteX2970" fmla="*/ 3941894 w 11685910"/>
                <a:gd name="connsiteY2970" fmla="*/ 1101355 h 6078415"/>
                <a:gd name="connsiteX2971" fmla="*/ 3941894 w 11685910"/>
                <a:gd name="connsiteY2971" fmla="*/ 1063980 h 6078415"/>
                <a:gd name="connsiteX2972" fmla="*/ 3917795 w 11685910"/>
                <a:gd name="connsiteY2972" fmla="*/ 1037627 h 6078415"/>
                <a:gd name="connsiteX2973" fmla="*/ 3917795 w 11685910"/>
                <a:gd name="connsiteY2973" fmla="*/ 1019131 h 6078415"/>
                <a:gd name="connsiteX2974" fmla="*/ 3941894 w 11685910"/>
                <a:gd name="connsiteY2974" fmla="*/ 992271 h 6078415"/>
                <a:gd name="connsiteX2975" fmla="*/ 3941894 w 11685910"/>
                <a:gd name="connsiteY2975" fmla="*/ 955910 h 6078415"/>
                <a:gd name="connsiteX2976" fmla="*/ 3996889 w 11685910"/>
                <a:gd name="connsiteY2976" fmla="*/ 916889 h 6078415"/>
                <a:gd name="connsiteX2977" fmla="*/ 8996098 w 11685910"/>
                <a:gd name="connsiteY2977" fmla="*/ 914392 h 6078415"/>
                <a:gd name="connsiteX2978" fmla="*/ 9002002 w 11685910"/>
                <a:gd name="connsiteY2978" fmla="*/ 914909 h 6078415"/>
                <a:gd name="connsiteX2979" fmla="*/ 9045278 w 11685910"/>
                <a:gd name="connsiteY2979" fmla="*/ 944327 h 6078415"/>
                <a:gd name="connsiteX2980" fmla="*/ 9063269 w 11685910"/>
                <a:gd name="connsiteY2980" fmla="*/ 965479 h 6078415"/>
                <a:gd name="connsiteX2981" fmla="*/ 9060108 w 11685910"/>
                <a:gd name="connsiteY2981" fmla="*/ 973259 h 6078415"/>
                <a:gd name="connsiteX2982" fmla="*/ 9073222 w 11685910"/>
                <a:gd name="connsiteY2982" fmla="*/ 983364 h 6078415"/>
                <a:gd name="connsiteX2983" fmla="*/ 9071535 w 11685910"/>
                <a:gd name="connsiteY2983" fmla="*/ 946030 h 6078415"/>
                <a:gd name="connsiteX2984" fmla="*/ 9086852 w 11685910"/>
                <a:gd name="connsiteY2984" fmla="*/ 936305 h 6078415"/>
                <a:gd name="connsiteX2985" fmla="*/ 9098765 w 11685910"/>
                <a:gd name="connsiteY2985" fmla="*/ 925121 h 6078415"/>
                <a:gd name="connsiteX2986" fmla="*/ 9121619 w 11685910"/>
                <a:gd name="connsiteY2986" fmla="*/ 987604 h 6078415"/>
                <a:gd name="connsiteX2987" fmla="*/ 9083935 w 11685910"/>
                <a:gd name="connsiteY2987" fmla="*/ 1055922 h 6078415"/>
                <a:gd name="connsiteX2988" fmla="*/ 9051908 w 11685910"/>
                <a:gd name="connsiteY2988" fmla="*/ 1056640 h 6078415"/>
                <a:gd name="connsiteX2989" fmla="*/ 9047901 w 11685910"/>
                <a:gd name="connsiteY2989" fmla="*/ 1055245 h 6078415"/>
                <a:gd name="connsiteX2990" fmla="*/ 9047421 w 11685910"/>
                <a:gd name="connsiteY2990" fmla="*/ 1057521 h 6078415"/>
                <a:gd name="connsiteX2991" fmla="*/ 9022667 w 11685910"/>
                <a:gd name="connsiteY2991" fmla="*/ 1077560 h 6078415"/>
                <a:gd name="connsiteX2992" fmla="*/ 9001029 w 11685910"/>
                <a:gd name="connsiteY2992" fmla="*/ 1067835 h 6078415"/>
                <a:gd name="connsiteX2993" fmla="*/ 9000056 w 11685910"/>
                <a:gd name="connsiteY2993" fmla="*/ 1080477 h 6078415"/>
                <a:gd name="connsiteX2994" fmla="*/ 9009781 w 11685910"/>
                <a:gd name="connsiteY2994" fmla="*/ 1101143 h 6078415"/>
                <a:gd name="connsiteX2995" fmla="*/ 9009295 w 11685910"/>
                <a:gd name="connsiteY2995" fmla="*/ 1112327 h 6078415"/>
                <a:gd name="connsiteX2996" fmla="*/ 9011483 w 11685910"/>
                <a:gd name="connsiteY2996" fmla="*/ 1126185 h 6078415"/>
                <a:gd name="connsiteX2997" fmla="*/ 8995437 w 11685910"/>
                <a:gd name="connsiteY2997" fmla="*/ 1132020 h 6078415"/>
                <a:gd name="connsiteX2998" fmla="*/ 8970395 w 11685910"/>
                <a:gd name="connsiteY2998" fmla="*/ 1126671 h 6078415"/>
                <a:gd name="connsiteX2999" fmla="*/ 8969631 w 11685910"/>
                <a:gd name="connsiteY2999" fmla="*/ 1122187 h 6078415"/>
                <a:gd name="connsiteX3000" fmla="*/ 8969591 w 11685910"/>
                <a:gd name="connsiteY3000" fmla="*/ 1120833 h 6078415"/>
                <a:gd name="connsiteX3001" fmla="*/ 8965826 w 11685910"/>
                <a:gd name="connsiteY3001" fmla="*/ 1124401 h 6078415"/>
                <a:gd name="connsiteX3002" fmla="*/ 8942193 w 11685910"/>
                <a:gd name="connsiteY3002" fmla="*/ 1138827 h 6078415"/>
                <a:gd name="connsiteX3003" fmla="*/ 8918610 w 11685910"/>
                <a:gd name="connsiteY3003" fmla="*/ 1110382 h 6078415"/>
                <a:gd name="connsiteX3004" fmla="*/ 8929550 w 11685910"/>
                <a:gd name="connsiteY3004" fmla="*/ 1098468 h 6078415"/>
                <a:gd name="connsiteX3005" fmla="*/ 8904508 w 11685910"/>
                <a:gd name="connsiteY3005" fmla="*/ 1096037 h 6078415"/>
                <a:gd name="connsiteX3006" fmla="*/ 8903536 w 11685910"/>
                <a:gd name="connsiteY3006" fmla="*/ 1106978 h 6078415"/>
                <a:gd name="connsiteX3007" fmla="*/ 8897214 w 11685910"/>
                <a:gd name="connsiteY3007" fmla="*/ 1117675 h 6078415"/>
                <a:gd name="connsiteX3008" fmla="*/ 8892109 w 11685910"/>
                <a:gd name="connsiteY3008" fmla="*/ 1136882 h 6078415"/>
                <a:gd name="connsiteX3009" fmla="*/ 8851750 w 11685910"/>
                <a:gd name="connsiteY3009" fmla="*/ 1128373 h 6078415"/>
                <a:gd name="connsiteX3010" fmla="*/ 8852723 w 11685910"/>
                <a:gd name="connsiteY3010" fmla="*/ 1114272 h 6078415"/>
                <a:gd name="connsiteX3011" fmla="*/ 8842998 w 11685910"/>
                <a:gd name="connsiteY3011" fmla="*/ 1116217 h 6078415"/>
                <a:gd name="connsiteX3012" fmla="*/ 8817713 w 11685910"/>
                <a:gd name="connsiteY3012" fmla="*/ 1090202 h 6078415"/>
                <a:gd name="connsiteX3013" fmla="*/ 8833030 w 11685910"/>
                <a:gd name="connsiteY3013" fmla="*/ 1063458 h 6078415"/>
                <a:gd name="connsiteX3014" fmla="*/ 8834488 w 11685910"/>
                <a:gd name="connsiteY3014" fmla="*/ 1036715 h 6078415"/>
                <a:gd name="connsiteX3015" fmla="*/ 8818928 w 11685910"/>
                <a:gd name="connsiteY3015" fmla="*/ 1014591 h 6078415"/>
                <a:gd name="connsiteX3016" fmla="*/ 8820701 w 11685910"/>
                <a:gd name="connsiteY3016" fmla="*/ 1001181 h 6078415"/>
                <a:gd name="connsiteX3017" fmla="*/ 8821163 w 11685910"/>
                <a:gd name="connsiteY3017" fmla="*/ 1009961 h 6078415"/>
                <a:gd name="connsiteX3018" fmla="*/ 8821992 w 11685910"/>
                <a:gd name="connsiteY3018" fmla="*/ 1010359 h 6078415"/>
                <a:gd name="connsiteX3019" fmla="*/ 8822115 w 11685910"/>
                <a:gd name="connsiteY3019" fmla="*/ 1011541 h 6078415"/>
                <a:gd name="connsiteX3020" fmla="*/ 8841803 w 11685910"/>
                <a:gd name="connsiteY3020" fmla="*/ 1025483 h 6078415"/>
                <a:gd name="connsiteX3021" fmla="*/ 8860149 w 11685910"/>
                <a:gd name="connsiteY3021" fmla="*/ 1096591 h 6078415"/>
                <a:gd name="connsiteX3022" fmla="*/ 8861117 w 11685910"/>
                <a:gd name="connsiteY3022" fmla="*/ 1098453 h 6078415"/>
                <a:gd name="connsiteX3023" fmla="*/ 8861083 w 11685910"/>
                <a:gd name="connsiteY3023" fmla="*/ 1099327 h 6078415"/>
                <a:gd name="connsiteX3024" fmla="*/ 8859673 w 11685910"/>
                <a:gd name="connsiteY3024" fmla="*/ 1112860 h 6078415"/>
                <a:gd name="connsiteX3025" fmla="*/ 8856351 w 11685910"/>
                <a:gd name="connsiteY3025" fmla="*/ 1124265 h 6078415"/>
                <a:gd name="connsiteX3026" fmla="*/ 8890745 w 11685910"/>
                <a:gd name="connsiteY3026" fmla="*/ 1130910 h 6078415"/>
                <a:gd name="connsiteX3027" fmla="*/ 8891912 w 11685910"/>
                <a:gd name="connsiteY3027" fmla="*/ 1119954 h 6078415"/>
                <a:gd name="connsiteX3028" fmla="*/ 8898557 w 11685910"/>
                <a:gd name="connsiteY3028" fmla="*/ 1105676 h 6078415"/>
                <a:gd name="connsiteX3029" fmla="*/ 8898838 w 11685910"/>
                <a:gd name="connsiteY3029" fmla="*/ 1090466 h 6078415"/>
                <a:gd name="connsiteX3030" fmla="*/ 8898628 w 11685910"/>
                <a:gd name="connsiteY3030" fmla="*/ 1084748 h 6078415"/>
                <a:gd name="connsiteX3031" fmla="*/ 8900228 w 11685910"/>
                <a:gd name="connsiteY3031" fmla="*/ 1086610 h 6078415"/>
                <a:gd name="connsiteX3032" fmla="*/ 8939866 w 11685910"/>
                <a:gd name="connsiteY3032" fmla="*/ 1084393 h 6078415"/>
                <a:gd name="connsiteX3033" fmla="*/ 8940764 w 11685910"/>
                <a:gd name="connsiteY3033" fmla="*/ 1098222 h 6078415"/>
                <a:gd name="connsiteX3034" fmla="*/ 8923612 w 11685910"/>
                <a:gd name="connsiteY3034" fmla="*/ 1110974 h 6078415"/>
                <a:gd name="connsiteX3035" fmla="*/ 8942650 w 11685910"/>
                <a:gd name="connsiteY3035" fmla="*/ 1134053 h 6078415"/>
                <a:gd name="connsiteX3036" fmla="*/ 8977942 w 11685910"/>
                <a:gd name="connsiteY3036" fmla="*/ 1106125 h 6078415"/>
                <a:gd name="connsiteX3037" fmla="*/ 8997160 w 11685910"/>
                <a:gd name="connsiteY3037" fmla="*/ 1064008 h 6078415"/>
                <a:gd name="connsiteX3038" fmla="*/ 8980182 w 11685910"/>
                <a:gd name="connsiteY3038" fmla="*/ 1045621 h 6078415"/>
                <a:gd name="connsiteX3039" fmla="*/ 8979987 w 11685910"/>
                <a:gd name="connsiteY3039" fmla="*/ 1045109 h 6078415"/>
                <a:gd name="connsiteX3040" fmla="*/ 8982623 w 11685910"/>
                <a:gd name="connsiteY3040" fmla="*/ 1046769 h 6078415"/>
                <a:gd name="connsiteX3041" fmla="*/ 9001919 w 11685910"/>
                <a:gd name="connsiteY3041" fmla="*/ 1057452 h 6078415"/>
                <a:gd name="connsiteX3042" fmla="*/ 9023382 w 11685910"/>
                <a:gd name="connsiteY3042" fmla="*/ 1072000 h 6078415"/>
                <a:gd name="connsiteX3043" fmla="*/ 9044485 w 11685910"/>
                <a:gd name="connsiteY3043" fmla="*/ 1053501 h 6078415"/>
                <a:gd name="connsiteX3044" fmla="*/ 9041163 w 11685910"/>
                <a:gd name="connsiteY3044" fmla="*/ 1053232 h 6078415"/>
                <a:gd name="connsiteX3045" fmla="*/ 9013182 w 11685910"/>
                <a:gd name="connsiteY3045" fmla="*/ 1030934 h 6078415"/>
                <a:gd name="connsiteX3046" fmla="*/ 9014112 w 11685910"/>
                <a:gd name="connsiteY3046" fmla="*/ 1026126 h 6078415"/>
                <a:gd name="connsiteX3047" fmla="*/ 9015876 w 11685910"/>
                <a:gd name="connsiteY3047" fmla="*/ 1028048 h 6078415"/>
                <a:gd name="connsiteX3048" fmla="*/ 9088129 w 11685910"/>
                <a:gd name="connsiteY3048" fmla="*/ 1046317 h 6078415"/>
                <a:gd name="connsiteX3049" fmla="*/ 9100073 w 11685910"/>
                <a:gd name="connsiteY3049" fmla="*/ 928407 h 6078415"/>
                <a:gd name="connsiteX3050" fmla="*/ 9090733 w 11685910"/>
                <a:gd name="connsiteY3050" fmla="*/ 939184 h 6078415"/>
                <a:gd name="connsiteX3051" fmla="*/ 9077083 w 11685910"/>
                <a:gd name="connsiteY3051" fmla="*/ 946098 h 6078415"/>
                <a:gd name="connsiteX3052" fmla="*/ 9068549 w 11685910"/>
                <a:gd name="connsiteY3052" fmla="*/ 1007305 h 6078415"/>
                <a:gd name="connsiteX3053" fmla="*/ 9067058 w 11685910"/>
                <a:gd name="connsiteY3053" fmla="*/ 1008481 h 6078415"/>
                <a:gd name="connsiteX3054" fmla="*/ 9067372 w 11685910"/>
                <a:gd name="connsiteY3054" fmla="*/ 1007876 h 6078415"/>
                <a:gd name="connsiteX3055" fmla="*/ 9070618 w 11685910"/>
                <a:gd name="connsiteY3055" fmla="*/ 988664 h 6078415"/>
                <a:gd name="connsiteX3056" fmla="*/ 9057956 w 11685910"/>
                <a:gd name="connsiteY3056" fmla="*/ 991089 h 6078415"/>
                <a:gd name="connsiteX3057" fmla="*/ 9059303 w 11685910"/>
                <a:gd name="connsiteY3057" fmla="*/ 980582 h 6078415"/>
                <a:gd name="connsiteX3058" fmla="*/ 9047449 w 11685910"/>
                <a:gd name="connsiteY3058" fmla="*/ 980492 h 6078415"/>
                <a:gd name="connsiteX3059" fmla="*/ 9050861 w 11685910"/>
                <a:gd name="connsiteY3059" fmla="*/ 972680 h 6078415"/>
                <a:gd name="connsiteX3060" fmla="*/ 9044008 w 11685910"/>
                <a:gd name="connsiteY3060" fmla="*/ 969514 h 6078415"/>
                <a:gd name="connsiteX3061" fmla="*/ 9042109 w 11685910"/>
                <a:gd name="connsiteY3061" fmla="*/ 969527 h 6078415"/>
                <a:gd name="connsiteX3062" fmla="*/ 9043671 w 11685910"/>
                <a:gd name="connsiteY3062" fmla="*/ 968966 h 6078415"/>
                <a:gd name="connsiteX3063" fmla="*/ 9046012 w 11685910"/>
                <a:gd name="connsiteY3063" fmla="*/ 968279 h 6078415"/>
                <a:gd name="connsiteX3064" fmla="*/ 9057327 w 11685910"/>
                <a:gd name="connsiteY3064" fmla="*/ 965675 h 6078415"/>
                <a:gd name="connsiteX3065" fmla="*/ 9045832 w 11685910"/>
                <a:gd name="connsiteY3065" fmla="*/ 951037 h 6078415"/>
                <a:gd name="connsiteX3066" fmla="*/ 9033852 w 11685910"/>
                <a:gd name="connsiteY3066" fmla="*/ 949568 h 6078415"/>
                <a:gd name="connsiteX3067" fmla="*/ 9032746 w 11685910"/>
                <a:gd name="connsiteY3067" fmla="*/ 949509 h 6078415"/>
                <a:gd name="connsiteX3068" fmla="*/ 9032755 w 11685910"/>
                <a:gd name="connsiteY3068" fmla="*/ 949486 h 6078415"/>
                <a:gd name="connsiteX3069" fmla="*/ 9040534 w 11685910"/>
                <a:gd name="connsiteY3069" fmla="*/ 947086 h 6078415"/>
                <a:gd name="connsiteX3070" fmla="*/ 8997878 w 11685910"/>
                <a:gd name="connsiteY3070" fmla="*/ 920954 h 6078415"/>
                <a:gd name="connsiteX3071" fmla="*/ 8947410 w 11685910"/>
                <a:gd name="connsiteY3071" fmla="*/ 944572 h 6078415"/>
                <a:gd name="connsiteX3072" fmla="*/ 8961642 w 11685910"/>
                <a:gd name="connsiteY3072" fmla="*/ 944899 h 6078415"/>
                <a:gd name="connsiteX3073" fmla="*/ 8962219 w 11685910"/>
                <a:gd name="connsiteY3073" fmla="*/ 944982 h 6078415"/>
                <a:gd name="connsiteX3074" fmla="*/ 8959809 w 11685910"/>
                <a:gd name="connsiteY3074" fmla="*/ 945637 h 6078415"/>
                <a:gd name="connsiteX3075" fmla="*/ 8935210 w 11685910"/>
                <a:gd name="connsiteY3075" fmla="*/ 950754 h 6078415"/>
                <a:gd name="connsiteX3076" fmla="*/ 8888734 w 11685910"/>
                <a:gd name="connsiteY3076" fmla="*/ 1011039 h 6078415"/>
                <a:gd name="connsiteX3077" fmla="*/ 8902716 w 11685910"/>
                <a:gd name="connsiteY3077" fmla="*/ 1033151 h 6078415"/>
                <a:gd name="connsiteX3078" fmla="*/ 8917222 w 11685910"/>
                <a:gd name="connsiteY3078" fmla="*/ 1016613 h 6078415"/>
                <a:gd name="connsiteX3079" fmla="*/ 8900250 w 11685910"/>
                <a:gd name="connsiteY3079" fmla="*/ 1051719 h 6078415"/>
                <a:gd name="connsiteX3080" fmla="*/ 8916179 w 11685910"/>
                <a:gd name="connsiteY3080" fmla="*/ 1061100 h 6078415"/>
                <a:gd name="connsiteX3081" fmla="*/ 8943334 w 11685910"/>
                <a:gd name="connsiteY3081" fmla="*/ 1047657 h 6078415"/>
                <a:gd name="connsiteX3082" fmla="*/ 8960742 w 11685910"/>
                <a:gd name="connsiteY3082" fmla="*/ 1045916 h 6078415"/>
                <a:gd name="connsiteX3083" fmla="*/ 8966979 w 11685910"/>
                <a:gd name="connsiteY3083" fmla="*/ 976866 h 6078415"/>
                <a:gd name="connsiteX3084" fmla="*/ 8967705 w 11685910"/>
                <a:gd name="connsiteY3084" fmla="*/ 1054765 h 6078415"/>
                <a:gd name="connsiteX3085" fmla="*/ 8965597 w 11685910"/>
                <a:gd name="connsiteY3085" fmla="*/ 1054420 h 6078415"/>
                <a:gd name="connsiteX3086" fmla="*/ 8962928 w 11685910"/>
                <a:gd name="connsiteY3086" fmla="*/ 1053737 h 6078415"/>
                <a:gd name="connsiteX3087" fmla="*/ 8960194 w 11685910"/>
                <a:gd name="connsiteY3087" fmla="*/ 1053311 h 6078415"/>
                <a:gd name="connsiteX3088" fmla="*/ 8959428 w 11685910"/>
                <a:gd name="connsiteY3088" fmla="*/ 1053133 h 6078415"/>
                <a:gd name="connsiteX3089" fmla="*/ 8952657 w 11685910"/>
                <a:gd name="connsiteY3089" fmla="*/ 1052904 h 6078415"/>
                <a:gd name="connsiteX3090" fmla="*/ 8951671 w 11685910"/>
                <a:gd name="connsiteY3090" fmla="*/ 1053134 h 6078415"/>
                <a:gd name="connsiteX3091" fmla="*/ 8951076 w 11685910"/>
                <a:gd name="connsiteY3091" fmla="*/ 1053185 h 6078415"/>
                <a:gd name="connsiteX3092" fmla="*/ 8911848 w 11685910"/>
                <a:gd name="connsiteY3092" fmla="*/ 1069127 h 6078415"/>
                <a:gd name="connsiteX3093" fmla="*/ 8889508 w 11685910"/>
                <a:gd name="connsiteY3093" fmla="*/ 1051408 h 6078415"/>
                <a:gd name="connsiteX3094" fmla="*/ 8889050 w 11685910"/>
                <a:gd name="connsiteY3094" fmla="*/ 1050814 h 6078415"/>
                <a:gd name="connsiteX3095" fmla="*/ 8890772 w 11685910"/>
                <a:gd name="connsiteY3095" fmla="*/ 1047937 h 6078415"/>
                <a:gd name="connsiteX3096" fmla="*/ 8896851 w 11685910"/>
                <a:gd name="connsiteY3096" fmla="*/ 1039133 h 6078415"/>
                <a:gd name="connsiteX3097" fmla="*/ 8879789 w 11685910"/>
                <a:gd name="connsiteY3097" fmla="*/ 1012102 h 6078415"/>
                <a:gd name="connsiteX3098" fmla="*/ 8910052 w 11685910"/>
                <a:gd name="connsiteY3098" fmla="*/ 965944 h 6078415"/>
                <a:gd name="connsiteX3099" fmla="*/ 8829997 w 11685910"/>
                <a:gd name="connsiteY3099" fmla="*/ 1013326 h 6078415"/>
                <a:gd name="connsiteX3100" fmla="*/ 8826372 w 11685910"/>
                <a:gd name="connsiteY3100" fmla="*/ 1010063 h 6078415"/>
                <a:gd name="connsiteX3101" fmla="*/ 8827432 w 11685910"/>
                <a:gd name="connsiteY3101" fmla="*/ 1009468 h 6078415"/>
                <a:gd name="connsiteX3102" fmla="*/ 8831386 w 11685910"/>
                <a:gd name="connsiteY3102" fmla="*/ 989562 h 6078415"/>
                <a:gd name="connsiteX3103" fmla="*/ 8820903 w 11685910"/>
                <a:gd name="connsiteY3103" fmla="*/ 999655 h 6078415"/>
                <a:gd name="connsiteX3104" fmla="*/ 8821815 w 11685910"/>
                <a:gd name="connsiteY3104" fmla="*/ 992755 h 6078415"/>
                <a:gd name="connsiteX3105" fmla="*/ 8835461 w 11685910"/>
                <a:gd name="connsiteY3105" fmla="*/ 984200 h 6078415"/>
                <a:gd name="connsiteX3106" fmla="*/ 8835461 w 11685910"/>
                <a:gd name="connsiteY3106" fmla="*/ 1008026 h 6078415"/>
                <a:gd name="connsiteX3107" fmla="*/ 8911802 w 11685910"/>
                <a:gd name="connsiteY3107" fmla="*/ 959644 h 6078415"/>
                <a:gd name="connsiteX3108" fmla="*/ 8934413 w 11685910"/>
                <a:gd name="connsiteY3108" fmla="*/ 943112 h 6078415"/>
                <a:gd name="connsiteX3109" fmla="*/ 8940449 w 11685910"/>
                <a:gd name="connsiteY3109" fmla="*/ 942479 h 6078415"/>
                <a:gd name="connsiteX3110" fmla="*/ 8941148 w 11685910"/>
                <a:gd name="connsiteY3110" fmla="*/ 940982 h 6078415"/>
                <a:gd name="connsiteX3111" fmla="*/ 8960427 w 11685910"/>
                <a:gd name="connsiteY3111" fmla="*/ 922446 h 6078415"/>
                <a:gd name="connsiteX3112" fmla="*/ 8996098 w 11685910"/>
                <a:gd name="connsiteY3112" fmla="*/ 914392 h 6078415"/>
                <a:gd name="connsiteX3113" fmla="*/ 2935363 w 11685910"/>
                <a:gd name="connsiteY3113" fmla="*/ 914392 h 6078415"/>
                <a:gd name="connsiteX3114" fmla="*/ 2941265 w 11685910"/>
                <a:gd name="connsiteY3114" fmla="*/ 914909 h 6078415"/>
                <a:gd name="connsiteX3115" fmla="*/ 2984542 w 11685910"/>
                <a:gd name="connsiteY3115" fmla="*/ 944327 h 6078415"/>
                <a:gd name="connsiteX3116" fmla="*/ 3002532 w 11685910"/>
                <a:gd name="connsiteY3116" fmla="*/ 965479 h 6078415"/>
                <a:gd name="connsiteX3117" fmla="*/ 2999373 w 11685910"/>
                <a:gd name="connsiteY3117" fmla="*/ 973259 h 6078415"/>
                <a:gd name="connsiteX3118" fmla="*/ 3012485 w 11685910"/>
                <a:gd name="connsiteY3118" fmla="*/ 983364 h 6078415"/>
                <a:gd name="connsiteX3119" fmla="*/ 3010799 w 11685910"/>
                <a:gd name="connsiteY3119" fmla="*/ 946030 h 6078415"/>
                <a:gd name="connsiteX3120" fmla="*/ 3026115 w 11685910"/>
                <a:gd name="connsiteY3120" fmla="*/ 936305 h 6078415"/>
                <a:gd name="connsiteX3121" fmla="*/ 3038029 w 11685910"/>
                <a:gd name="connsiteY3121" fmla="*/ 925121 h 6078415"/>
                <a:gd name="connsiteX3122" fmla="*/ 3060882 w 11685910"/>
                <a:gd name="connsiteY3122" fmla="*/ 987604 h 6078415"/>
                <a:gd name="connsiteX3123" fmla="*/ 3023198 w 11685910"/>
                <a:gd name="connsiteY3123" fmla="*/ 1055922 h 6078415"/>
                <a:gd name="connsiteX3124" fmla="*/ 2991171 w 11685910"/>
                <a:gd name="connsiteY3124" fmla="*/ 1056640 h 6078415"/>
                <a:gd name="connsiteX3125" fmla="*/ 2987165 w 11685910"/>
                <a:gd name="connsiteY3125" fmla="*/ 1055245 h 6078415"/>
                <a:gd name="connsiteX3126" fmla="*/ 2986685 w 11685910"/>
                <a:gd name="connsiteY3126" fmla="*/ 1057521 h 6078415"/>
                <a:gd name="connsiteX3127" fmla="*/ 2961930 w 11685910"/>
                <a:gd name="connsiteY3127" fmla="*/ 1077560 h 6078415"/>
                <a:gd name="connsiteX3128" fmla="*/ 2940292 w 11685910"/>
                <a:gd name="connsiteY3128" fmla="*/ 1067835 h 6078415"/>
                <a:gd name="connsiteX3129" fmla="*/ 2939319 w 11685910"/>
                <a:gd name="connsiteY3129" fmla="*/ 1080477 h 6078415"/>
                <a:gd name="connsiteX3130" fmla="*/ 2949045 w 11685910"/>
                <a:gd name="connsiteY3130" fmla="*/ 1101143 h 6078415"/>
                <a:gd name="connsiteX3131" fmla="*/ 2948558 w 11685910"/>
                <a:gd name="connsiteY3131" fmla="*/ 1112327 h 6078415"/>
                <a:gd name="connsiteX3132" fmla="*/ 2950746 w 11685910"/>
                <a:gd name="connsiteY3132" fmla="*/ 1126185 h 6078415"/>
                <a:gd name="connsiteX3133" fmla="*/ 2934701 w 11685910"/>
                <a:gd name="connsiteY3133" fmla="*/ 1132020 h 6078415"/>
                <a:gd name="connsiteX3134" fmla="*/ 2909658 w 11685910"/>
                <a:gd name="connsiteY3134" fmla="*/ 1126671 h 6078415"/>
                <a:gd name="connsiteX3135" fmla="*/ 2908894 w 11685910"/>
                <a:gd name="connsiteY3135" fmla="*/ 1122187 h 6078415"/>
                <a:gd name="connsiteX3136" fmla="*/ 2908854 w 11685910"/>
                <a:gd name="connsiteY3136" fmla="*/ 1120833 h 6078415"/>
                <a:gd name="connsiteX3137" fmla="*/ 2905089 w 11685910"/>
                <a:gd name="connsiteY3137" fmla="*/ 1124401 h 6078415"/>
                <a:gd name="connsiteX3138" fmla="*/ 2881456 w 11685910"/>
                <a:gd name="connsiteY3138" fmla="*/ 1138827 h 6078415"/>
                <a:gd name="connsiteX3139" fmla="*/ 2857873 w 11685910"/>
                <a:gd name="connsiteY3139" fmla="*/ 1110382 h 6078415"/>
                <a:gd name="connsiteX3140" fmla="*/ 2868814 w 11685910"/>
                <a:gd name="connsiteY3140" fmla="*/ 1098468 h 6078415"/>
                <a:gd name="connsiteX3141" fmla="*/ 2843771 w 11685910"/>
                <a:gd name="connsiteY3141" fmla="*/ 1096037 h 6078415"/>
                <a:gd name="connsiteX3142" fmla="*/ 2842800 w 11685910"/>
                <a:gd name="connsiteY3142" fmla="*/ 1106978 h 6078415"/>
                <a:gd name="connsiteX3143" fmla="*/ 2836479 w 11685910"/>
                <a:gd name="connsiteY3143" fmla="*/ 1117675 h 6078415"/>
                <a:gd name="connsiteX3144" fmla="*/ 2831372 w 11685910"/>
                <a:gd name="connsiteY3144" fmla="*/ 1136882 h 6078415"/>
                <a:gd name="connsiteX3145" fmla="*/ 2791015 w 11685910"/>
                <a:gd name="connsiteY3145" fmla="*/ 1128373 h 6078415"/>
                <a:gd name="connsiteX3146" fmla="*/ 2791986 w 11685910"/>
                <a:gd name="connsiteY3146" fmla="*/ 1114272 h 6078415"/>
                <a:gd name="connsiteX3147" fmla="*/ 2782262 w 11685910"/>
                <a:gd name="connsiteY3147" fmla="*/ 1116217 h 6078415"/>
                <a:gd name="connsiteX3148" fmla="*/ 2756976 w 11685910"/>
                <a:gd name="connsiteY3148" fmla="*/ 1090202 h 6078415"/>
                <a:gd name="connsiteX3149" fmla="*/ 2772294 w 11685910"/>
                <a:gd name="connsiteY3149" fmla="*/ 1063458 h 6078415"/>
                <a:gd name="connsiteX3150" fmla="*/ 2773751 w 11685910"/>
                <a:gd name="connsiteY3150" fmla="*/ 1036715 h 6078415"/>
                <a:gd name="connsiteX3151" fmla="*/ 2758192 w 11685910"/>
                <a:gd name="connsiteY3151" fmla="*/ 1014591 h 6078415"/>
                <a:gd name="connsiteX3152" fmla="*/ 2759965 w 11685910"/>
                <a:gd name="connsiteY3152" fmla="*/ 1001182 h 6078415"/>
                <a:gd name="connsiteX3153" fmla="*/ 2760426 w 11685910"/>
                <a:gd name="connsiteY3153" fmla="*/ 1009961 h 6078415"/>
                <a:gd name="connsiteX3154" fmla="*/ 2761256 w 11685910"/>
                <a:gd name="connsiteY3154" fmla="*/ 1010359 h 6078415"/>
                <a:gd name="connsiteX3155" fmla="*/ 2761379 w 11685910"/>
                <a:gd name="connsiteY3155" fmla="*/ 1011541 h 6078415"/>
                <a:gd name="connsiteX3156" fmla="*/ 2781066 w 11685910"/>
                <a:gd name="connsiteY3156" fmla="*/ 1025483 h 6078415"/>
                <a:gd name="connsiteX3157" fmla="*/ 2799412 w 11685910"/>
                <a:gd name="connsiteY3157" fmla="*/ 1096591 h 6078415"/>
                <a:gd name="connsiteX3158" fmla="*/ 2800381 w 11685910"/>
                <a:gd name="connsiteY3158" fmla="*/ 1098453 h 6078415"/>
                <a:gd name="connsiteX3159" fmla="*/ 2800347 w 11685910"/>
                <a:gd name="connsiteY3159" fmla="*/ 1099327 h 6078415"/>
                <a:gd name="connsiteX3160" fmla="*/ 2798937 w 11685910"/>
                <a:gd name="connsiteY3160" fmla="*/ 1112860 h 6078415"/>
                <a:gd name="connsiteX3161" fmla="*/ 2795614 w 11685910"/>
                <a:gd name="connsiteY3161" fmla="*/ 1124265 h 6078415"/>
                <a:gd name="connsiteX3162" fmla="*/ 2830008 w 11685910"/>
                <a:gd name="connsiteY3162" fmla="*/ 1130910 h 6078415"/>
                <a:gd name="connsiteX3163" fmla="*/ 2831175 w 11685910"/>
                <a:gd name="connsiteY3163" fmla="*/ 1119954 h 6078415"/>
                <a:gd name="connsiteX3164" fmla="*/ 2837821 w 11685910"/>
                <a:gd name="connsiteY3164" fmla="*/ 1105676 h 6078415"/>
                <a:gd name="connsiteX3165" fmla="*/ 2838101 w 11685910"/>
                <a:gd name="connsiteY3165" fmla="*/ 1090466 h 6078415"/>
                <a:gd name="connsiteX3166" fmla="*/ 2837893 w 11685910"/>
                <a:gd name="connsiteY3166" fmla="*/ 1084748 h 6078415"/>
                <a:gd name="connsiteX3167" fmla="*/ 2839491 w 11685910"/>
                <a:gd name="connsiteY3167" fmla="*/ 1086610 h 6078415"/>
                <a:gd name="connsiteX3168" fmla="*/ 2879129 w 11685910"/>
                <a:gd name="connsiteY3168" fmla="*/ 1084393 h 6078415"/>
                <a:gd name="connsiteX3169" fmla="*/ 2880027 w 11685910"/>
                <a:gd name="connsiteY3169" fmla="*/ 1098222 h 6078415"/>
                <a:gd name="connsiteX3170" fmla="*/ 2862875 w 11685910"/>
                <a:gd name="connsiteY3170" fmla="*/ 1110974 h 6078415"/>
                <a:gd name="connsiteX3171" fmla="*/ 2881915 w 11685910"/>
                <a:gd name="connsiteY3171" fmla="*/ 1134053 h 6078415"/>
                <a:gd name="connsiteX3172" fmla="*/ 2917206 w 11685910"/>
                <a:gd name="connsiteY3172" fmla="*/ 1106125 h 6078415"/>
                <a:gd name="connsiteX3173" fmla="*/ 2936424 w 11685910"/>
                <a:gd name="connsiteY3173" fmla="*/ 1064008 h 6078415"/>
                <a:gd name="connsiteX3174" fmla="*/ 2919445 w 11685910"/>
                <a:gd name="connsiteY3174" fmla="*/ 1045621 h 6078415"/>
                <a:gd name="connsiteX3175" fmla="*/ 2919250 w 11685910"/>
                <a:gd name="connsiteY3175" fmla="*/ 1045109 h 6078415"/>
                <a:gd name="connsiteX3176" fmla="*/ 2921887 w 11685910"/>
                <a:gd name="connsiteY3176" fmla="*/ 1046769 h 6078415"/>
                <a:gd name="connsiteX3177" fmla="*/ 2941183 w 11685910"/>
                <a:gd name="connsiteY3177" fmla="*/ 1057452 h 6078415"/>
                <a:gd name="connsiteX3178" fmla="*/ 2962645 w 11685910"/>
                <a:gd name="connsiteY3178" fmla="*/ 1072000 h 6078415"/>
                <a:gd name="connsiteX3179" fmla="*/ 2983749 w 11685910"/>
                <a:gd name="connsiteY3179" fmla="*/ 1053501 h 6078415"/>
                <a:gd name="connsiteX3180" fmla="*/ 2980427 w 11685910"/>
                <a:gd name="connsiteY3180" fmla="*/ 1053232 h 6078415"/>
                <a:gd name="connsiteX3181" fmla="*/ 2952445 w 11685910"/>
                <a:gd name="connsiteY3181" fmla="*/ 1030934 h 6078415"/>
                <a:gd name="connsiteX3182" fmla="*/ 2953376 w 11685910"/>
                <a:gd name="connsiteY3182" fmla="*/ 1026126 h 6078415"/>
                <a:gd name="connsiteX3183" fmla="*/ 2955141 w 11685910"/>
                <a:gd name="connsiteY3183" fmla="*/ 1028048 h 6078415"/>
                <a:gd name="connsiteX3184" fmla="*/ 3027392 w 11685910"/>
                <a:gd name="connsiteY3184" fmla="*/ 1046317 h 6078415"/>
                <a:gd name="connsiteX3185" fmla="*/ 3039336 w 11685910"/>
                <a:gd name="connsiteY3185" fmla="*/ 928407 h 6078415"/>
                <a:gd name="connsiteX3186" fmla="*/ 3029997 w 11685910"/>
                <a:gd name="connsiteY3186" fmla="*/ 939184 h 6078415"/>
                <a:gd name="connsiteX3187" fmla="*/ 3016347 w 11685910"/>
                <a:gd name="connsiteY3187" fmla="*/ 946098 h 6078415"/>
                <a:gd name="connsiteX3188" fmla="*/ 3007812 w 11685910"/>
                <a:gd name="connsiteY3188" fmla="*/ 1007305 h 6078415"/>
                <a:gd name="connsiteX3189" fmla="*/ 3006322 w 11685910"/>
                <a:gd name="connsiteY3189" fmla="*/ 1008481 h 6078415"/>
                <a:gd name="connsiteX3190" fmla="*/ 3006635 w 11685910"/>
                <a:gd name="connsiteY3190" fmla="*/ 1007876 h 6078415"/>
                <a:gd name="connsiteX3191" fmla="*/ 3009881 w 11685910"/>
                <a:gd name="connsiteY3191" fmla="*/ 988664 h 6078415"/>
                <a:gd name="connsiteX3192" fmla="*/ 2997219 w 11685910"/>
                <a:gd name="connsiteY3192" fmla="*/ 991089 h 6078415"/>
                <a:gd name="connsiteX3193" fmla="*/ 2998567 w 11685910"/>
                <a:gd name="connsiteY3193" fmla="*/ 980582 h 6078415"/>
                <a:gd name="connsiteX3194" fmla="*/ 2986712 w 11685910"/>
                <a:gd name="connsiteY3194" fmla="*/ 980492 h 6078415"/>
                <a:gd name="connsiteX3195" fmla="*/ 2990126 w 11685910"/>
                <a:gd name="connsiteY3195" fmla="*/ 972680 h 6078415"/>
                <a:gd name="connsiteX3196" fmla="*/ 2983272 w 11685910"/>
                <a:gd name="connsiteY3196" fmla="*/ 969514 h 6078415"/>
                <a:gd name="connsiteX3197" fmla="*/ 2981373 w 11685910"/>
                <a:gd name="connsiteY3197" fmla="*/ 969527 h 6078415"/>
                <a:gd name="connsiteX3198" fmla="*/ 2982934 w 11685910"/>
                <a:gd name="connsiteY3198" fmla="*/ 968966 h 6078415"/>
                <a:gd name="connsiteX3199" fmla="*/ 2985276 w 11685910"/>
                <a:gd name="connsiteY3199" fmla="*/ 968279 h 6078415"/>
                <a:gd name="connsiteX3200" fmla="*/ 2996590 w 11685910"/>
                <a:gd name="connsiteY3200" fmla="*/ 965675 h 6078415"/>
                <a:gd name="connsiteX3201" fmla="*/ 2985096 w 11685910"/>
                <a:gd name="connsiteY3201" fmla="*/ 951037 h 6078415"/>
                <a:gd name="connsiteX3202" fmla="*/ 2973115 w 11685910"/>
                <a:gd name="connsiteY3202" fmla="*/ 949568 h 6078415"/>
                <a:gd name="connsiteX3203" fmla="*/ 2972009 w 11685910"/>
                <a:gd name="connsiteY3203" fmla="*/ 949509 h 6078415"/>
                <a:gd name="connsiteX3204" fmla="*/ 2972018 w 11685910"/>
                <a:gd name="connsiteY3204" fmla="*/ 949486 h 6078415"/>
                <a:gd name="connsiteX3205" fmla="*/ 2979799 w 11685910"/>
                <a:gd name="connsiteY3205" fmla="*/ 947086 h 6078415"/>
                <a:gd name="connsiteX3206" fmla="*/ 2937141 w 11685910"/>
                <a:gd name="connsiteY3206" fmla="*/ 920954 h 6078415"/>
                <a:gd name="connsiteX3207" fmla="*/ 2886673 w 11685910"/>
                <a:gd name="connsiteY3207" fmla="*/ 944572 h 6078415"/>
                <a:gd name="connsiteX3208" fmla="*/ 2900905 w 11685910"/>
                <a:gd name="connsiteY3208" fmla="*/ 944899 h 6078415"/>
                <a:gd name="connsiteX3209" fmla="*/ 2901482 w 11685910"/>
                <a:gd name="connsiteY3209" fmla="*/ 944982 h 6078415"/>
                <a:gd name="connsiteX3210" fmla="*/ 2899072 w 11685910"/>
                <a:gd name="connsiteY3210" fmla="*/ 945637 h 6078415"/>
                <a:gd name="connsiteX3211" fmla="*/ 2874475 w 11685910"/>
                <a:gd name="connsiteY3211" fmla="*/ 950754 h 6078415"/>
                <a:gd name="connsiteX3212" fmla="*/ 2827999 w 11685910"/>
                <a:gd name="connsiteY3212" fmla="*/ 1011039 h 6078415"/>
                <a:gd name="connsiteX3213" fmla="*/ 2841979 w 11685910"/>
                <a:gd name="connsiteY3213" fmla="*/ 1033151 h 6078415"/>
                <a:gd name="connsiteX3214" fmla="*/ 2856485 w 11685910"/>
                <a:gd name="connsiteY3214" fmla="*/ 1016613 h 6078415"/>
                <a:gd name="connsiteX3215" fmla="*/ 2839513 w 11685910"/>
                <a:gd name="connsiteY3215" fmla="*/ 1051719 h 6078415"/>
                <a:gd name="connsiteX3216" fmla="*/ 2855442 w 11685910"/>
                <a:gd name="connsiteY3216" fmla="*/ 1061100 h 6078415"/>
                <a:gd name="connsiteX3217" fmla="*/ 2882598 w 11685910"/>
                <a:gd name="connsiteY3217" fmla="*/ 1047657 h 6078415"/>
                <a:gd name="connsiteX3218" fmla="*/ 2900005 w 11685910"/>
                <a:gd name="connsiteY3218" fmla="*/ 1045916 h 6078415"/>
                <a:gd name="connsiteX3219" fmla="*/ 2906243 w 11685910"/>
                <a:gd name="connsiteY3219" fmla="*/ 976866 h 6078415"/>
                <a:gd name="connsiteX3220" fmla="*/ 2906969 w 11685910"/>
                <a:gd name="connsiteY3220" fmla="*/ 1054765 h 6078415"/>
                <a:gd name="connsiteX3221" fmla="*/ 2904860 w 11685910"/>
                <a:gd name="connsiteY3221" fmla="*/ 1054420 h 6078415"/>
                <a:gd name="connsiteX3222" fmla="*/ 2902192 w 11685910"/>
                <a:gd name="connsiteY3222" fmla="*/ 1053737 h 6078415"/>
                <a:gd name="connsiteX3223" fmla="*/ 2899458 w 11685910"/>
                <a:gd name="connsiteY3223" fmla="*/ 1053311 h 6078415"/>
                <a:gd name="connsiteX3224" fmla="*/ 2898691 w 11685910"/>
                <a:gd name="connsiteY3224" fmla="*/ 1053133 h 6078415"/>
                <a:gd name="connsiteX3225" fmla="*/ 2891922 w 11685910"/>
                <a:gd name="connsiteY3225" fmla="*/ 1052904 h 6078415"/>
                <a:gd name="connsiteX3226" fmla="*/ 2890936 w 11685910"/>
                <a:gd name="connsiteY3226" fmla="*/ 1053134 h 6078415"/>
                <a:gd name="connsiteX3227" fmla="*/ 2890339 w 11685910"/>
                <a:gd name="connsiteY3227" fmla="*/ 1053185 h 6078415"/>
                <a:gd name="connsiteX3228" fmla="*/ 2851111 w 11685910"/>
                <a:gd name="connsiteY3228" fmla="*/ 1069127 h 6078415"/>
                <a:gd name="connsiteX3229" fmla="*/ 2828772 w 11685910"/>
                <a:gd name="connsiteY3229" fmla="*/ 1051408 h 6078415"/>
                <a:gd name="connsiteX3230" fmla="*/ 2828313 w 11685910"/>
                <a:gd name="connsiteY3230" fmla="*/ 1050814 h 6078415"/>
                <a:gd name="connsiteX3231" fmla="*/ 2830035 w 11685910"/>
                <a:gd name="connsiteY3231" fmla="*/ 1047937 h 6078415"/>
                <a:gd name="connsiteX3232" fmla="*/ 2836114 w 11685910"/>
                <a:gd name="connsiteY3232" fmla="*/ 1039133 h 6078415"/>
                <a:gd name="connsiteX3233" fmla="*/ 2819053 w 11685910"/>
                <a:gd name="connsiteY3233" fmla="*/ 1012102 h 6078415"/>
                <a:gd name="connsiteX3234" fmla="*/ 2849315 w 11685910"/>
                <a:gd name="connsiteY3234" fmla="*/ 965944 h 6078415"/>
                <a:gd name="connsiteX3235" fmla="*/ 2769260 w 11685910"/>
                <a:gd name="connsiteY3235" fmla="*/ 1013326 h 6078415"/>
                <a:gd name="connsiteX3236" fmla="*/ 2765636 w 11685910"/>
                <a:gd name="connsiteY3236" fmla="*/ 1010063 h 6078415"/>
                <a:gd name="connsiteX3237" fmla="*/ 2766697 w 11685910"/>
                <a:gd name="connsiteY3237" fmla="*/ 1009468 h 6078415"/>
                <a:gd name="connsiteX3238" fmla="*/ 2770650 w 11685910"/>
                <a:gd name="connsiteY3238" fmla="*/ 989562 h 6078415"/>
                <a:gd name="connsiteX3239" fmla="*/ 2760166 w 11685910"/>
                <a:gd name="connsiteY3239" fmla="*/ 999654 h 6078415"/>
                <a:gd name="connsiteX3240" fmla="*/ 2761079 w 11685910"/>
                <a:gd name="connsiteY3240" fmla="*/ 992755 h 6078415"/>
                <a:gd name="connsiteX3241" fmla="*/ 2774724 w 11685910"/>
                <a:gd name="connsiteY3241" fmla="*/ 984200 h 6078415"/>
                <a:gd name="connsiteX3242" fmla="*/ 2774724 w 11685910"/>
                <a:gd name="connsiteY3242" fmla="*/ 1008026 h 6078415"/>
                <a:gd name="connsiteX3243" fmla="*/ 2851066 w 11685910"/>
                <a:gd name="connsiteY3243" fmla="*/ 959644 h 6078415"/>
                <a:gd name="connsiteX3244" fmla="*/ 2873676 w 11685910"/>
                <a:gd name="connsiteY3244" fmla="*/ 943112 h 6078415"/>
                <a:gd name="connsiteX3245" fmla="*/ 2879712 w 11685910"/>
                <a:gd name="connsiteY3245" fmla="*/ 942479 h 6078415"/>
                <a:gd name="connsiteX3246" fmla="*/ 2880412 w 11685910"/>
                <a:gd name="connsiteY3246" fmla="*/ 940982 h 6078415"/>
                <a:gd name="connsiteX3247" fmla="*/ 2899691 w 11685910"/>
                <a:gd name="connsiteY3247" fmla="*/ 922446 h 6078415"/>
                <a:gd name="connsiteX3248" fmla="*/ 2935363 w 11685910"/>
                <a:gd name="connsiteY3248" fmla="*/ 914392 h 6078415"/>
                <a:gd name="connsiteX3249" fmla="*/ 11621423 w 11685910"/>
                <a:gd name="connsiteY3249" fmla="*/ 638389 h 6078415"/>
                <a:gd name="connsiteX3250" fmla="*/ 11666272 w 11685910"/>
                <a:gd name="connsiteY3250" fmla="*/ 677411 h 6078415"/>
                <a:gd name="connsiteX3251" fmla="*/ 11666272 w 11685910"/>
                <a:gd name="connsiteY3251" fmla="*/ 713771 h 6078415"/>
                <a:gd name="connsiteX3252" fmla="*/ 11685910 w 11685910"/>
                <a:gd name="connsiteY3252" fmla="*/ 740631 h 6078415"/>
                <a:gd name="connsiteX3253" fmla="*/ 11685910 w 11685910"/>
                <a:gd name="connsiteY3253" fmla="*/ 759127 h 6078415"/>
                <a:gd name="connsiteX3254" fmla="*/ 11666272 w 11685910"/>
                <a:gd name="connsiteY3254" fmla="*/ 785480 h 6078415"/>
                <a:gd name="connsiteX3255" fmla="*/ 11666272 w 11685910"/>
                <a:gd name="connsiteY3255" fmla="*/ 822855 h 6078415"/>
                <a:gd name="connsiteX3256" fmla="*/ 11621423 w 11685910"/>
                <a:gd name="connsiteY3256" fmla="*/ 861369 h 6078415"/>
                <a:gd name="connsiteX3257" fmla="*/ 11621423 w 11685910"/>
                <a:gd name="connsiteY3257" fmla="*/ 841858 h 6078415"/>
                <a:gd name="connsiteX3258" fmla="*/ 11637070 w 11685910"/>
                <a:gd name="connsiteY3258" fmla="*/ 835777 h 6078415"/>
                <a:gd name="connsiteX3259" fmla="*/ 11641694 w 11685910"/>
                <a:gd name="connsiteY3259" fmla="*/ 816520 h 6078415"/>
                <a:gd name="connsiteX3260" fmla="*/ 11641694 w 11685910"/>
                <a:gd name="connsiteY3260" fmla="*/ 781173 h 6078415"/>
                <a:gd name="connsiteX3261" fmla="*/ 11666653 w 11685910"/>
                <a:gd name="connsiteY3261" fmla="*/ 749879 h 6078415"/>
                <a:gd name="connsiteX3262" fmla="*/ 11666653 w 11685910"/>
                <a:gd name="connsiteY3262" fmla="*/ 749500 h 6078415"/>
                <a:gd name="connsiteX3263" fmla="*/ 11641694 w 11685910"/>
                <a:gd name="connsiteY3263" fmla="*/ 717952 h 6078415"/>
                <a:gd name="connsiteX3264" fmla="*/ 11641694 w 11685910"/>
                <a:gd name="connsiteY3264" fmla="*/ 682226 h 6078415"/>
                <a:gd name="connsiteX3265" fmla="*/ 11621423 w 11685910"/>
                <a:gd name="connsiteY3265" fmla="*/ 658027 h 6078415"/>
                <a:gd name="connsiteX3266" fmla="*/ 11603939 w 11685910"/>
                <a:gd name="connsiteY3266" fmla="*/ 638389 h 6078415"/>
                <a:gd name="connsiteX3267" fmla="*/ 11603939 w 11685910"/>
                <a:gd name="connsiteY3267" fmla="*/ 658027 h 6078415"/>
                <a:gd name="connsiteX3268" fmla="*/ 11583795 w 11685910"/>
                <a:gd name="connsiteY3268" fmla="*/ 682226 h 6078415"/>
                <a:gd name="connsiteX3269" fmla="*/ 11583795 w 11685910"/>
                <a:gd name="connsiteY3269" fmla="*/ 717952 h 6078415"/>
                <a:gd name="connsiteX3270" fmla="*/ 11558583 w 11685910"/>
                <a:gd name="connsiteY3270" fmla="*/ 749500 h 6078415"/>
                <a:gd name="connsiteX3271" fmla="*/ 11558583 w 11685910"/>
                <a:gd name="connsiteY3271" fmla="*/ 749879 h 6078415"/>
                <a:gd name="connsiteX3272" fmla="*/ 11583795 w 11685910"/>
                <a:gd name="connsiteY3272" fmla="*/ 781173 h 6078415"/>
                <a:gd name="connsiteX3273" fmla="*/ 11583795 w 11685910"/>
                <a:gd name="connsiteY3273" fmla="*/ 816520 h 6078415"/>
                <a:gd name="connsiteX3274" fmla="*/ 11588293 w 11685910"/>
                <a:gd name="connsiteY3274" fmla="*/ 835840 h 6078415"/>
                <a:gd name="connsiteX3275" fmla="*/ 11603939 w 11685910"/>
                <a:gd name="connsiteY3275" fmla="*/ 841858 h 6078415"/>
                <a:gd name="connsiteX3276" fmla="*/ 11603939 w 11685910"/>
                <a:gd name="connsiteY3276" fmla="*/ 861369 h 6078415"/>
                <a:gd name="connsiteX3277" fmla="*/ 11558836 w 11685910"/>
                <a:gd name="connsiteY3277" fmla="*/ 822855 h 6078415"/>
                <a:gd name="connsiteX3278" fmla="*/ 11558836 w 11685910"/>
                <a:gd name="connsiteY3278" fmla="*/ 785480 h 6078415"/>
                <a:gd name="connsiteX3279" fmla="*/ 11539072 w 11685910"/>
                <a:gd name="connsiteY3279" fmla="*/ 759127 h 6078415"/>
                <a:gd name="connsiteX3280" fmla="*/ 11539072 w 11685910"/>
                <a:gd name="connsiteY3280" fmla="*/ 740631 h 6078415"/>
                <a:gd name="connsiteX3281" fmla="*/ 11558836 w 11685910"/>
                <a:gd name="connsiteY3281" fmla="*/ 713771 h 6078415"/>
                <a:gd name="connsiteX3282" fmla="*/ 11558836 w 11685910"/>
                <a:gd name="connsiteY3282" fmla="*/ 677411 h 6078415"/>
                <a:gd name="connsiteX3283" fmla="*/ 11603939 w 11685910"/>
                <a:gd name="connsiteY3283" fmla="*/ 638389 h 6078415"/>
                <a:gd name="connsiteX3284" fmla="*/ 10947400 w 11685910"/>
                <a:gd name="connsiteY3284" fmla="*/ 638389 h 6078415"/>
                <a:gd name="connsiteX3285" fmla="*/ 10992249 w 11685910"/>
                <a:gd name="connsiteY3285" fmla="*/ 677411 h 6078415"/>
                <a:gd name="connsiteX3286" fmla="*/ 10992249 w 11685910"/>
                <a:gd name="connsiteY3286" fmla="*/ 713771 h 6078415"/>
                <a:gd name="connsiteX3287" fmla="*/ 11011887 w 11685910"/>
                <a:gd name="connsiteY3287" fmla="*/ 740631 h 6078415"/>
                <a:gd name="connsiteX3288" fmla="*/ 11011887 w 11685910"/>
                <a:gd name="connsiteY3288" fmla="*/ 759127 h 6078415"/>
                <a:gd name="connsiteX3289" fmla="*/ 10992249 w 11685910"/>
                <a:gd name="connsiteY3289" fmla="*/ 785480 h 6078415"/>
                <a:gd name="connsiteX3290" fmla="*/ 10992249 w 11685910"/>
                <a:gd name="connsiteY3290" fmla="*/ 822855 h 6078415"/>
                <a:gd name="connsiteX3291" fmla="*/ 10947400 w 11685910"/>
                <a:gd name="connsiteY3291" fmla="*/ 861369 h 6078415"/>
                <a:gd name="connsiteX3292" fmla="*/ 10947400 w 11685910"/>
                <a:gd name="connsiteY3292" fmla="*/ 841858 h 6078415"/>
                <a:gd name="connsiteX3293" fmla="*/ 10963047 w 11685910"/>
                <a:gd name="connsiteY3293" fmla="*/ 835777 h 6078415"/>
                <a:gd name="connsiteX3294" fmla="*/ 10967671 w 11685910"/>
                <a:gd name="connsiteY3294" fmla="*/ 816520 h 6078415"/>
                <a:gd name="connsiteX3295" fmla="*/ 10967671 w 11685910"/>
                <a:gd name="connsiteY3295" fmla="*/ 781173 h 6078415"/>
                <a:gd name="connsiteX3296" fmla="*/ 10992630 w 11685910"/>
                <a:gd name="connsiteY3296" fmla="*/ 749879 h 6078415"/>
                <a:gd name="connsiteX3297" fmla="*/ 10992630 w 11685910"/>
                <a:gd name="connsiteY3297" fmla="*/ 749500 h 6078415"/>
                <a:gd name="connsiteX3298" fmla="*/ 10967671 w 11685910"/>
                <a:gd name="connsiteY3298" fmla="*/ 717952 h 6078415"/>
                <a:gd name="connsiteX3299" fmla="*/ 10967671 w 11685910"/>
                <a:gd name="connsiteY3299" fmla="*/ 682226 h 6078415"/>
                <a:gd name="connsiteX3300" fmla="*/ 10947400 w 11685910"/>
                <a:gd name="connsiteY3300" fmla="*/ 658027 h 6078415"/>
                <a:gd name="connsiteX3301" fmla="*/ 10929916 w 11685910"/>
                <a:gd name="connsiteY3301" fmla="*/ 638389 h 6078415"/>
                <a:gd name="connsiteX3302" fmla="*/ 10929916 w 11685910"/>
                <a:gd name="connsiteY3302" fmla="*/ 658027 h 6078415"/>
                <a:gd name="connsiteX3303" fmla="*/ 10909772 w 11685910"/>
                <a:gd name="connsiteY3303" fmla="*/ 682226 h 6078415"/>
                <a:gd name="connsiteX3304" fmla="*/ 10909772 w 11685910"/>
                <a:gd name="connsiteY3304" fmla="*/ 717952 h 6078415"/>
                <a:gd name="connsiteX3305" fmla="*/ 10884560 w 11685910"/>
                <a:gd name="connsiteY3305" fmla="*/ 749500 h 6078415"/>
                <a:gd name="connsiteX3306" fmla="*/ 10884560 w 11685910"/>
                <a:gd name="connsiteY3306" fmla="*/ 749879 h 6078415"/>
                <a:gd name="connsiteX3307" fmla="*/ 10909772 w 11685910"/>
                <a:gd name="connsiteY3307" fmla="*/ 781173 h 6078415"/>
                <a:gd name="connsiteX3308" fmla="*/ 10909772 w 11685910"/>
                <a:gd name="connsiteY3308" fmla="*/ 816520 h 6078415"/>
                <a:gd name="connsiteX3309" fmla="*/ 10914270 w 11685910"/>
                <a:gd name="connsiteY3309" fmla="*/ 835840 h 6078415"/>
                <a:gd name="connsiteX3310" fmla="*/ 10929916 w 11685910"/>
                <a:gd name="connsiteY3310" fmla="*/ 841858 h 6078415"/>
                <a:gd name="connsiteX3311" fmla="*/ 10929916 w 11685910"/>
                <a:gd name="connsiteY3311" fmla="*/ 861369 h 6078415"/>
                <a:gd name="connsiteX3312" fmla="*/ 10884813 w 11685910"/>
                <a:gd name="connsiteY3312" fmla="*/ 822855 h 6078415"/>
                <a:gd name="connsiteX3313" fmla="*/ 10884813 w 11685910"/>
                <a:gd name="connsiteY3313" fmla="*/ 785480 h 6078415"/>
                <a:gd name="connsiteX3314" fmla="*/ 10865049 w 11685910"/>
                <a:gd name="connsiteY3314" fmla="*/ 759127 h 6078415"/>
                <a:gd name="connsiteX3315" fmla="*/ 10865049 w 11685910"/>
                <a:gd name="connsiteY3315" fmla="*/ 740631 h 6078415"/>
                <a:gd name="connsiteX3316" fmla="*/ 10884813 w 11685910"/>
                <a:gd name="connsiteY3316" fmla="*/ 713771 h 6078415"/>
                <a:gd name="connsiteX3317" fmla="*/ 10884813 w 11685910"/>
                <a:gd name="connsiteY3317" fmla="*/ 677411 h 6078415"/>
                <a:gd name="connsiteX3318" fmla="*/ 10929916 w 11685910"/>
                <a:gd name="connsiteY3318" fmla="*/ 638389 h 6078415"/>
                <a:gd name="connsiteX3319" fmla="*/ 9748950 w 11685910"/>
                <a:gd name="connsiteY3319" fmla="*/ 638389 h 6078415"/>
                <a:gd name="connsiteX3320" fmla="*/ 9793799 w 11685910"/>
                <a:gd name="connsiteY3320" fmla="*/ 677411 h 6078415"/>
                <a:gd name="connsiteX3321" fmla="*/ 9793799 w 11685910"/>
                <a:gd name="connsiteY3321" fmla="*/ 713771 h 6078415"/>
                <a:gd name="connsiteX3322" fmla="*/ 9813437 w 11685910"/>
                <a:gd name="connsiteY3322" fmla="*/ 740631 h 6078415"/>
                <a:gd name="connsiteX3323" fmla="*/ 9813437 w 11685910"/>
                <a:gd name="connsiteY3323" fmla="*/ 759127 h 6078415"/>
                <a:gd name="connsiteX3324" fmla="*/ 9793799 w 11685910"/>
                <a:gd name="connsiteY3324" fmla="*/ 785480 h 6078415"/>
                <a:gd name="connsiteX3325" fmla="*/ 9793799 w 11685910"/>
                <a:gd name="connsiteY3325" fmla="*/ 822855 h 6078415"/>
                <a:gd name="connsiteX3326" fmla="*/ 9748950 w 11685910"/>
                <a:gd name="connsiteY3326" fmla="*/ 861369 h 6078415"/>
                <a:gd name="connsiteX3327" fmla="*/ 9748950 w 11685910"/>
                <a:gd name="connsiteY3327" fmla="*/ 841858 h 6078415"/>
                <a:gd name="connsiteX3328" fmla="*/ 9764597 w 11685910"/>
                <a:gd name="connsiteY3328" fmla="*/ 835777 h 6078415"/>
                <a:gd name="connsiteX3329" fmla="*/ 9769221 w 11685910"/>
                <a:gd name="connsiteY3329" fmla="*/ 816520 h 6078415"/>
                <a:gd name="connsiteX3330" fmla="*/ 9769221 w 11685910"/>
                <a:gd name="connsiteY3330" fmla="*/ 781173 h 6078415"/>
                <a:gd name="connsiteX3331" fmla="*/ 9794180 w 11685910"/>
                <a:gd name="connsiteY3331" fmla="*/ 749879 h 6078415"/>
                <a:gd name="connsiteX3332" fmla="*/ 9794180 w 11685910"/>
                <a:gd name="connsiteY3332" fmla="*/ 749500 h 6078415"/>
                <a:gd name="connsiteX3333" fmla="*/ 9769221 w 11685910"/>
                <a:gd name="connsiteY3333" fmla="*/ 717952 h 6078415"/>
                <a:gd name="connsiteX3334" fmla="*/ 9769221 w 11685910"/>
                <a:gd name="connsiteY3334" fmla="*/ 682226 h 6078415"/>
                <a:gd name="connsiteX3335" fmla="*/ 9748950 w 11685910"/>
                <a:gd name="connsiteY3335" fmla="*/ 658027 h 6078415"/>
                <a:gd name="connsiteX3336" fmla="*/ 9731466 w 11685910"/>
                <a:gd name="connsiteY3336" fmla="*/ 638389 h 6078415"/>
                <a:gd name="connsiteX3337" fmla="*/ 9731466 w 11685910"/>
                <a:gd name="connsiteY3337" fmla="*/ 658027 h 6078415"/>
                <a:gd name="connsiteX3338" fmla="*/ 9711322 w 11685910"/>
                <a:gd name="connsiteY3338" fmla="*/ 682226 h 6078415"/>
                <a:gd name="connsiteX3339" fmla="*/ 9711322 w 11685910"/>
                <a:gd name="connsiteY3339" fmla="*/ 717952 h 6078415"/>
                <a:gd name="connsiteX3340" fmla="*/ 9686110 w 11685910"/>
                <a:gd name="connsiteY3340" fmla="*/ 749500 h 6078415"/>
                <a:gd name="connsiteX3341" fmla="*/ 9686110 w 11685910"/>
                <a:gd name="connsiteY3341" fmla="*/ 749879 h 6078415"/>
                <a:gd name="connsiteX3342" fmla="*/ 9711322 w 11685910"/>
                <a:gd name="connsiteY3342" fmla="*/ 781173 h 6078415"/>
                <a:gd name="connsiteX3343" fmla="*/ 9711322 w 11685910"/>
                <a:gd name="connsiteY3343" fmla="*/ 816520 h 6078415"/>
                <a:gd name="connsiteX3344" fmla="*/ 9715820 w 11685910"/>
                <a:gd name="connsiteY3344" fmla="*/ 835840 h 6078415"/>
                <a:gd name="connsiteX3345" fmla="*/ 9731466 w 11685910"/>
                <a:gd name="connsiteY3345" fmla="*/ 841858 h 6078415"/>
                <a:gd name="connsiteX3346" fmla="*/ 9731466 w 11685910"/>
                <a:gd name="connsiteY3346" fmla="*/ 861369 h 6078415"/>
                <a:gd name="connsiteX3347" fmla="*/ 9686363 w 11685910"/>
                <a:gd name="connsiteY3347" fmla="*/ 822855 h 6078415"/>
                <a:gd name="connsiteX3348" fmla="*/ 9686363 w 11685910"/>
                <a:gd name="connsiteY3348" fmla="*/ 785480 h 6078415"/>
                <a:gd name="connsiteX3349" fmla="*/ 9666599 w 11685910"/>
                <a:gd name="connsiteY3349" fmla="*/ 759127 h 6078415"/>
                <a:gd name="connsiteX3350" fmla="*/ 9666599 w 11685910"/>
                <a:gd name="connsiteY3350" fmla="*/ 740631 h 6078415"/>
                <a:gd name="connsiteX3351" fmla="*/ 9686363 w 11685910"/>
                <a:gd name="connsiteY3351" fmla="*/ 713771 h 6078415"/>
                <a:gd name="connsiteX3352" fmla="*/ 9686363 w 11685910"/>
                <a:gd name="connsiteY3352" fmla="*/ 677411 h 6078415"/>
                <a:gd name="connsiteX3353" fmla="*/ 9731466 w 11685910"/>
                <a:gd name="connsiteY3353" fmla="*/ 638389 h 6078415"/>
                <a:gd name="connsiteX3354" fmla="*/ 8124748 w 11685910"/>
                <a:gd name="connsiteY3354" fmla="*/ 638389 h 6078415"/>
                <a:gd name="connsiteX3355" fmla="*/ 8169597 w 11685910"/>
                <a:gd name="connsiteY3355" fmla="*/ 677411 h 6078415"/>
                <a:gd name="connsiteX3356" fmla="*/ 8169597 w 11685910"/>
                <a:gd name="connsiteY3356" fmla="*/ 713771 h 6078415"/>
                <a:gd name="connsiteX3357" fmla="*/ 8189235 w 11685910"/>
                <a:gd name="connsiteY3357" fmla="*/ 740631 h 6078415"/>
                <a:gd name="connsiteX3358" fmla="*/ 8189235 w 11685910"/>
                <a:gd name="connsiteY3358" fmla="*/ 759127 h 6078415"/>
                <a:gd name="connsiteX3359" fmla="*/ 8169597 w 11685910"/>
                <a:gd name="connsiteY3359" fmla="*/ 785480 h 6078415"/>
                <a:gd name="connsiteX3360" fmla="*/ 8169597 w 11685910"/>
                <a:gd name="connsiteY3360" fmla="*/ 822855 h 6078415"/>
                <a:gd name="connsiteX3361" fmla="*/ 8124748 w 11685910"/>
                <a:gd name="connsiteY3361" fmla="*/ 861369 h 6078415"/>
                <a:gd name="connsiteX3362" fmla="*/ 8124748 w 11685910"/>
                <a:gd name="connsiteY3362" fmla="*/ 841858 h 6078415"/>
                <a:gd name="connsiteX3363" fmla="*/ 8140395 w 11685910"/>
                <a:gd name="connsiteY3363" fmla="*/ 835777 h 6078415"/>
                <a:gd name="connsiteX3364" fmla="*/ 8145019 w 11685910"/>
                <a:gd name="connsiteY3364" fmla="*/ 816520 h 6078415"/>
                <a:gd name="connsiteX3365" fmla="*/ 8145019 w 11685910"/>
                <a:gd name="connsiteY3365" fmla="*/ 781173 h 6078415"/>
                <a:gd name="connsiteX3366" fmla="*/ 8169978 w 11685910"/>
                <a:gd name="connsiteY3366" fmla="*/ 749879 h 6078415"/>
                <a:gd name="connsiteX3367" fmla="*/ 8169978 w 11685910"/>
                <a:gd name="connsiteY3367" fmla="*/ 749500 h 6078415"/>
                <a:gd name="connsiteX3368" fmla="*/ 8145019 w 11685910"/>
                <a:gd name="connsiteY3368" fmla="*/ 717952 h 6078415"/>
                <a:gd name="connsiteX3369" fmla="*/ 8145019 w 11685910"/>
                <a:gd name="connsiteY3369" fmla="*/ 682226 h 6078415"/>
                <a:gd name="connsiteX3370" fmla="*/ 8124748 w 11685910"/>
                <a:gd name="connsiteY3370" fmla="*/ 658027 h 6078415"/>
                <a:gd name="connsiteX3371" fmla="*/ 8107264 w 11685910"/>
                <a:gd name="connsiteY3371" fmla="*/ 638389 h 6078415"/>
                <a:gd name="connsiteX3372" fmla="*/ 8107264 w 11685910"/>
                <a:gd name="connsiteY3372" fmla="*/ 658027 h 6078415"/>
                <a:gd name="connsiteX3373" fmla="*/ 8087120 w 11685910"/>
                <a:gd name="connsiteY3373" fmla="*/ 682226 h 6078415"/>
                <a:gd name="connsiteX3374" fmla="*/ 8087120 w 11685910"/>
                <a:gd name="connsiteY3374" fmla="*/ 717952 h 6078415"/>
                <a:gd name="connsiteX3375" fmla="*/ 8061908 w 11685910"/>
                <a:gd name="connsiteY3375" fmla="*/ 749500 h 6078415"/>
                <a:gd name="connsiteX3376" fmla="*/ 8061908 w 11685910"/>
                <a:gd name="connsiteY3376" fmla="*/ 749879 h 6078415"/>
                <a:gd name="connsiteX3377" fmla="*/ 8087120 w 11685910"/>
                <a:gd name="connsiteY3377" fmla="*/ 781173 h 6078415"/>
                <a:gd name="connsiteX3378" fmla="*/ 8087120 w 11685910"/>
                <a:gd name="connsiteY3378" fmla="*/ 816520 h 6078415"/>
                <a:gd name="connsiteX3379" fmla="*/ 8091618 w 11685910"/>
                <a:gd name="connsiteY3379" fmla="*/ 835840 h 6078415"/>
                <a:gd name="connsiteX3380" fmla="*/ 8107264 w 11685910"/>
                <a:gd name="connsiteY3380" fmla="*/ 841858 h 6078415"/>
                <a:gd name="connsiteX3381" fmla="*/ 8107264 w 11685910"/>
                <a:gd name="connsiteY3381" fmla="*/ 861369 h 6078415"/>
                <a:gd name="connsiteX3382" fmla="*/ 8062162 w 11685910"/>
                <a:gd name="connsiteY3382" fmla="*/ 822855 h 6078415"/>
                <a:gd name="connsiteX3383" fmla="*/ 8062162 w 11685910"/>
                <a:gd name="connsiteY3383" fmla="*/ 785480 h 6078415"/>
                <a:gd name="connsiteX3384" fmla="*/ 8042397 w 11685910"/>
                <a:gd name="connsiteY3384" fmla="*/ 759127 h 6078415"/>
                <a:gd name="connsiteX3385" fmla="*/ 8042397 w 11685910"/>
                <a:gd name="connsiteY3385" fmla="*/ 740631 h 6078415"/>
                <a:gd name="connsiteX3386" fmla="*/ 8062162 w 11685910"/>
                <a:gd name="connsiteY3386" fmla="*/ 713771 h 6078415"/>
                <a:gd name="connsiteX3387" fmla="*/ 8062162 w 11685910"/>
                <a:gd name="connsiteY3387" fmla="*/ 677411 h 6078415"/>
                <a:gd name="connsiteX3388" fmla="*/ 8107264 w 11685910"/>
                <a:gd name="connsiteY3388" fmla="*/ 638389 h 6078415"/>
                <a:gd name="connsiteX3389" fmla="*/ 5549040 w 11685910"/>
                <a:gd name="connsiteY3389" fmla="*/ 638389 h 6078415"/>
                <a:gd name="connsiteX3390" fmla="*/ 5593889 w 11685910"/>
                <a:gd name="connsiteY3390" fmla="*/ 677411 h 6078415"/>
                <a:gd name="connsiteX3391" fmla="*/ 5593889 w 11685910"/>
                <a:gd name="connsiteY3391" fmla="*/ 713771 h 6078415"/>
                <a:gd name="connsiteX3392" fmla="*/ 5613526 w 11685910"/>
                <a:gd name="connsiteY3392" fmla="*/ 740631 h 6078415"/>
                <a:gd name="connsiteX3393" fmla="*/ 5613526 w 11685910"/>
                <a:gd name="connsiteY3393" fmla="*/ 759127 h 6078415"/>
                <a:gd name="connsiteX3394" fmla="*/ 5593889 w 11685910"/>
                <a:gd name="connsiteY3394" fmla="*/ 785480 h 6078415"/>
                <a:gd name="connsiteX3395" fmla="*/ 5593889 w 11685910"/>
                <a:gd name="connsiteY3395" fmla="*/ 822855 h 6078415"/>
                <a:gd name="connsiteX3396" fmla="*/ 5549040 w 11685910"/>
                <a:gd name="connsiteY3396" fmla="*/ 861369 h 6078415"/>
                <a:gd name="connsiteX3397" fmla="*/ 5549040 w 11685910"/>
                <a:gd name="connsiteY3397" fmla="*/ 841858 h 6078415"/>
                <a:gd name="connsiteX3398" fmla="*/ 5564686 w 11685910"/>
                <a:gd name="connsiteY3398" fmla="*/ 835777 h 6078415"/>
                <a:gd name="connsiteX3399" fmla="*/ 5569311 w 11685910"/>
                <a:gd name="connsiteY3399" fmla="*/ 816520 h 6078415"/>
                <a:gd name="connsiteX3400" fmla="*/ 5569311 w 11685910"/>
                <a:gd name="connsiteY3400" fmla="*/ 781173 h 6078415"/>
                <a:gd name="connsiteX3401" fmla="*/ 5594268 w 11685910"/>
                <a:gd name="connsiteY3401" fmla="*/ 749879 h 6078415"/>
                <a:gd name="connsiteX3402" fmla="*/ 5594268 w 11685910"/>
                <a:gd name="connsiteY3402" fmla="*/ 749500 h 6078415"/>
                <a:gd name="connsiteX3403" fmla="*/ 5569311 w 11685910"/>
                <a:gd name="connsiteY3403" fmla="*/ 717952 h 6078415"/>
                <a:gd name="connsiteX3404" fmla="*/ 5569311 w 11685910"/>
                <a:gd name="connsiteY3404" fmla="*/ 682226 h 6078415"/>
                <a:gd name="connsiteX3405" fmla="*/ 5549040 w 11685910"/>
                <a:gd name="connsiteY3405" fmla="*/ 658027 h 6078415"/>
                <a:gd name="connsiteX3406" fmla="*/ 5531555 w 11685910"/>
                <a:gd name="connsiteY3406" fmla="*/ 638389 h 6078415"/>
                <a:gd name="connsiteX3407" fmla="*/ 5531555 w 11685910"/>
                <a:gd name="connsiteY3407" fmla="*/ 658027 h 6078415"/>
                <a:gd name="connsiteX3408" fmla="*/ 5511412 w 11685910"/>
                <a:gd name="connsiteY3408" fmla="*/ 682226 h 6078415"/>
                <a:gd name="connsiteX3409" fmla="*/ 5511412 w 11685910"/>
                <a:gd name="connsiteY3409" fmla="*/ 717952 h 6078415"/>
                <a:gd name="connsiteX3410" fmla="*/ 5486199 w 11685910"/>
                <a:gd name="connsiteY3410" fmla="*/ 749500 h 6078415"/>
                <a:gd name="connsiteX3411" fmla="*/ 5486199 w 11685910"/>
                <a:gd name="connsiteY3411" fmla="*/ 749879 h 6078415"/>
                <a:gd name="connsiteX3412" fmla="*/ 5511412 w 11685910"/>
                <a:gd name="connsiteY3412" fmla="*/ 781173 h 6078415"/>
                <a:gd name="connsiteX3413" fmla="*/ 5511412 w 11685910"/>
                <a:gd name="connsiteY3413" fmla="*/ 816520 h 6078415"/>
                <a:gd name="connsiteX3414" fmla="*/ 5515909 w 11685910"/>
                <a:gd name="connsiteY3414" fmla="*/ 835840 h 6078415"/>
                <a:gd name="connsiteX3415" fmla="*/ 5531555 w 11685910"/>
                <a:gd name="connsiteY3415" fmla="*/ 841858 h 6078415"/>
                <a:gd name="connsiteX3416" fmla="*/ 5531555 w 11685910"/>
                <a:gd name="connsiteY3416" fmla="*/ 861369 h 6078415"/>
                <a:gd name="connsiteX3417" fmla="*/ 5486453 w 11685910"/>
                <a:gd name="connsiteY3417" fmla="*/ 822855 h 6078415"/>
                <a:gd name="connsiteX3418" fmla="*/ 5486453 w 11685910"/>
                <a:gd name="connsiteY3418" fmla="*/ 785480 h 6078415"/>
                <a:gd name="connsiteX3419" fmla="*/ 5466689 w 11685910"/>
                <a:gd name="connsiteY3419" fmla="*/ 759127 h 6078415"/>
                <a:gd name="connsiteX3420" fmla="*/ 5466689 w 11685910"/>
                <a:gd name="connsiteY3420" fmla="*/ 740631 h 6078415"/>
                <a:gd name="connsiteX3421" fmla="*/ 5486453 w 11685910"/>
                <a:gd name="connsiteY3421" fmla="*/ 713771 h 6078415"/>
                <a:gd name="connsiteX3422" fmla="*/ 5486453 w 11685910"/>
                <a:gd name="connsiteY3422" fmla="*/ 677411 h 6078415"/>
                <a:gd name="connsiteX3423" fmla="*/ 5531555 w 11685910"/>
                <a:gd name="connsiteY3423" fmla="*/ 638389 h 6078415"/>
                <a:gd name="connsiteX3424" fmla="*/ 4882938 w 11685910"/>
                <a:gd name="connsiteY3424" fmla="*/ 638389 h 6078415"/>
                <a:gd name="connsiteX3425" fmla="*/ 4927787 w 11685910"/>
                <a:gd name="connsiteY3425" fmla="*/ 677411 h 6078415"/>
                <a:gd name="connsiteX3426" fmla="*/ 4927787 w 11685910"/>
                <a:gd name="connsiteY3426" fmla="*/ 713771 h 6078415"/>
                <a:gd name="connsiteX3427" fmla="*/ 4947424 w 11685910"/>
                <a:gd name="connsiteY3427" fmla="*/ 740631 h 6078415"/>
                <a:gd name="connsiteX3428" fmla="*/ 4947424 w 11685910"/>
                <a:gd name="connsiteY3428" fmla="*/ 759127 h 6078415"/>
                <a:gd name="connsiteX3429" fmla="*/ 4927787 w 11685910"/>
                <a:gd name="connsiteY3429" fmla="*/ 785480 h 6078415"/>
                <a:gd name="connsiteX3430" fmla="*/ 4927787 w 11685910"/>
                <a:gd name="connsiteY3430" fmla="*/ 822855 h 6078415"/>
                <a:gd name="connsiteX3431" fmla="*/ 4882938 w 11685910"/>
                <a:gd name="connsiteY3431" fmla="*/ 861369 h 6078415"/>
                <a:gd name="connsiteX3432" fmla="*/ 4882938 w 11685910"/>
                <a:gd name="connsiteY3432" fmla="*/ 841858 h 6078415"/>
                <a:gd name="connsiteX3433" fmla="*/ 4898583 w 11685910"/>
                <a:gd name="connsiteY3433" fmla="*/ 835777 h 6078415"/>
                <a:gd name="connsiteX3434" fmla="*/ 4903208 w 11685910"/>
                <a:gd name="connsiteY3434" fmla="*/ 816520 h 6078415"/>
                <a:gd name="connsiteX3435" fmla="*/ 4903208 w 11685910"/>
                <a:gd name="connsiteY3435" fmla="*/ 781173 h 6078415"/>
                <a:gd name="connsiteX3436" fmla="*/ 4928167 w 11685910"/>
                <a:gd name="connsiteY3436" fmla="*/ 749879 h 6078415"/>
                <a:gd name="connsiteX3437" fmla="*/ 4928167 w 11685910"/>
                <a:gd name="connsiteY3437" fmla="*/ 749500 h 6078415"/>
                <a:gd name="connsiteX3438" fmla="*/ 4903208 w 11685910"/>
                <a:gd name="connsiteY3438" fmla="*/ 717952 h 6078415"/>
                <a:gd name="connsiteX3439" fmla="*/ 4903208 w 11685910"/>
                <a:gd name="connsiteY3439" fmla="*/ 682226 h 6078415"/>
                <a:gd name="connsiteX3440" fmla="*/ 4882938 w 11685910"/>
                <a:gd name="connsiteY3440" fmla="*/ 658027 h 6078415"/>
                <a:gd name="connsiteX3441" fmla="*/ 4865453 w 11685910"/>
                <a:gd name="connsiteY3441" fmla="*/ 638389 h 6078415"/>
                <a:gd name="connsiteX3442" fmla="*/ 4865453 w 11685910"/>
                <a:gd name="connsiteY3442" fmla="*/ 658027 h 6078415"/>
                <a:gd name="connsiteX3443" fmla="*/ 4845309 w 11685910"/>
                <a:gd name="connsiteY3443" fmla="*/ 682226 h 6078415"/>
                <a:gd name="connsiteX3444" fmla="*/ 4845309 w 11685910"/>
                <a:gd name="connsiteY3444" fmla="*/ 717952 h 6078415"/>
                <a:gd name="connsiteX3445" fmla="*/ 4820097 w 11685910"/>
                <a:gd name="connsiteY3445" fmla="*/ 749500 h 6078415"/>
                <a:gd name="connsiteX3446" fmla="*/ 4820097 w 11685910"/>
                <a:gd name="connsiteY3446" fmla="*/ 749879 h 6078415"/>
                <a:gd name="connsiteX3447" fmla="*/ 4845309 w 11685910"/>
                <a:gd name="connsiteY3447" fmla="*/ 781173 h 6078415"/>
                <a:gd name="connsiteX3448" fmla="*/ 4845309 w 11685910"/>
                <a:gd name="connsiteY3448" fmla="*/ 816520 h 6078415"/>
                <a:gd name="connsiteX3449" fmla="*/ 4849806 w 11685910"/>
                <a:gd name="connsiteY3449" fmla="*/ 835840 h 6078415"/>
                <a:gd name="connsiteX3450" fmla="*/ 4865453 w 11685910"/>
                <a:gd name="connsiteY3450" fmla="*/ 841858 h 6078415"/>
                <a:gd name="connsiteX3451" fmla="*/ 4865453 w 11685910"/>
                <a:gd name="connsiteY3451" fmla="*/ 861369 h 6078415"/>
                <a:gd name="connsiteX3452" fmla="*/ 4820350 w 11685910"/>
                <a:gd name="connsiteY3452" fmla="*/ 822855 h 6078415"/>
                <a:gd name="connsiteX3453" fmla="*/ 4820350 w 11685910"/>
                <a:gd name="connsiteY3453" fmla="*/ 785480 h 6078415"/>
                <a:gd name="connsiteX3454" fmla="*/ 4800586 w 11685910"/>
                <a:gd name="connsiteY3454" fmla="*/ 759127 h 6078415"/>
                <a:gd name="connsiteX3455" fmla="*/ 4800586 w 11685910"/>
                <a:gd name="connsiteY3455" fmla="*/ 740631 h 6078415"/>
                <a:gd name="connsiteX3456" fmla="*/ 4820350 w 11685910"/>
                <a:gd name="connsiteY3456" fmla="*/ 713771 h 6078415"/>
                <a:gd name="connsiteX3457" fmla="*/ 4820350 w 11685910"/>
                <a:gd name="connsiteY3457" fmla="*/ 677411 h 6078415"/>
                <a:gd name="connsiteX3458" fmla="*/ 4865453 w 11685910"/>
                <a:gd name="connsiteY3458" fmla="*/ 638389 h 6078415"/>
                <a:gd name="connsiteX3459" fmla="*/ 2058393 w 11685910"/>
                <a:gd name="connsiteY3459" fmla="*/ 638389 h 6078415"/>
                <a:gd name="connsiteX3460" fmla="*/ 2103243 w 11685910"/>
                <a:gd name="connsiteY3460" fmla="*/ 677411 h 6078415"/>
                <a:gd name="connsiteX3461" fmla="*/ 2103243 w 11685910"/>
                <a:gd name="connsiteY3461" fmla="*/ 713771 h 6078415"/>
                <a:gd name="connsiteX3462" fmla="*/ 2122880 w 11685910"/>
                <a:gd name="connsiteY3462" fmla="*/ 740631 h 6078415"/>
                <a:gd name="connsiteX3463" fmla="*/ 2122880 w 11685910"/>
                <a:gd name="connsiteY3463" fmla="*/ 759127 h 6078415"/>
                <a:gd name="connsiteX3464" fmla="*/ 2103243 w 11685910"/>
                <a:gd name="connsiteY3464" fmla="*/ 785480 h 6078415"/>
                <a:gd name="connsiteX3465" fmla="*/ 2103243 w 11685910"/>
                <a:gd name="connsiteY3465" fmla="*/ 822855 h 6078415"/>
                <a:gd name="connsiteX3466" fmla="*/ 2058393 w 11685910"/>
                <a:gd name="connsiteY3466" fmla="*/ 861369 h 6078415"/>
                <a:gd name="connsiteX3467" fmla="*/ 2058393 w 11685910"/>
                <a:gd name="connsiteY3467" fmla="*/ 841858 h 6078415"/>
                <a:gd name="connsiteX3468" fmla="*/ 2074040 w 11685910"/>
                <a:gd name="connsiteY3468" fmla="*/ 835777 h 6078415"/>
                <a:gd name="connsiteX3469" fmla="*/ 2078664 w 11685910"/>
                <a:gd name="connsiteY3469" fmla="*/ 816520 h 6078415"/>
                <a:gd name="connsiteX3470" fmla="*/ 2078664 w 11685910"/>
                <a:gd name="connsiteY3470" fmla="*/ 781173 h 6078415"/>
                <a:gd name="connsiteX3471" fmla="*/ 2103623 w 11685910"/>
                <a:gd name="connsiteY3471" fmla="*/ 749879 h 6078415"/>
                <a:gd name="connsiteX3472" fmla="*/ 2103623 w 11685910"/>
                <a:gd name="connsiteY3472" fmla="*/ 749500 h 6078415"/>
                <a:gd name="connsiteX3473" fmla="*/ 2078664 w 11685910"/>
                <a:gd name="connsiteY3473" fmla="*/ 717952 h 6078415"/>
                <a:gd name="connsiteX3474" fmla="*/ 2078664 w 11685910"/>
                <a:gd name="connsiteY3474" fmla="*/ 682226 h 6078415"/>
                <a:gd name="connsiteX3475" fmla="*/ 2058393 w 11685910"/>
                <a:gd name="connsiteY3475" fmla="*/ 658027 h 6078415"/>
                <a:gd name="connsiteX3476" fmla="*/ 2040908 w 11685910"/>
                <a:gd name="connsiteY3476" fmla="*/ 638389 h 6078415"/>
                <a:gd name="connsiteX3477" fmla="*/ 2040908 w 11685910"/>
                <a:gd name="connsiteY3477" fmla="*/ 658027 h 6078415"/>
                <a:gd name="connsiteX3478" fmla="*/ 2020765 w 11685910"/>
                <a:gd name="connsiteY3478" fmla="*/ 682226 h 6078415"/>
                <a:gd name="connsiteX3479" fmla="*/ 2020765 w 11685910"/>
                <a:gd name="connsiteY3479" fmla="*/ 717952 h 6078415"/>
                <a:gd name="connsiteX3480" fmla="*/ 1995553 w 11685910"/>
                <a:gd name="connsiteY3480" fmla="*/ 749500 h 6078415"/>
                <a:gd name="connsiteX3481" fmla="*/ 1995553 w 11685910"/>
                <a:gd name="connsiteY3481" fmla="*/ 749879 h 6078415"/>
                <a:gd name="connsiteX3482" fmla="*/ 2020765 w 11685910"/>
                <a:gd name="connsiteY3482" fmla="*/ 781173 h 6078415"/>
                <a:gd name="connsiteX3483" fmla="*/ 2020765 w 11685910"/>
                <a:gd name="connsiteY3483" fmla="*/ 816520 h 6078415"/>
                <a:gd name="connsiteX3484" fmla="*/ 2025262 w 11685910"/>
                <a:gd name="connsiteY3484" fmla="*/ 835840 h 6078415"/>
                <a:gd name="connsiteX3485" fmla="*/ 2040908 w 11685910"/>
                <a:gd name="connsiteY3485" fmla="*/ 841858 h 6078415"/>
                <a:gd name="connsiteX3486" fmla="*/ 2040908 w 11685910"/>
                <a:gd name="connsiteY3486" fmla="*/ 861369 h 6078415"/>
                <a:gd name="connsiteX3487" fmla="*/ 1995806 w 11685910"/>
                <a:gd name="connsiteY3487" fmla="*/ 822855 h 6078415"/>
                <a:gd name="connsiteX3488" fmla="*/ 1995806 w 11685910"/>
                <a:gd name="connsiteY3488" fmla="*/ 785480 h 6078415"/>
                <a:gd name="connsiteX3489" fmla="*/ 1976041 w 11685910"/>
                <a:gd name="connsiteY3489" fmla="*/ 759127 h 6078415"/>
                <a:gd name="connsiteX3490" fmla="*/ 1976041 w 11685910"/>
                <a:gd name="connsiteY3490" fmla="*/ 740631 h 6078415"/>
                <a:gd name="connsiteX3491" fmla="*/ 1995806 w 11685910"/>
                <a:gd name="connsiteY3491" fmla="*/ 713771 h 6078415"/>
                <a:gd name="connsiteX3492" fmla="*/ 1995806 w 11685910"/>
                <a:gd name="connsiteY3492" fmla="*/ 677411 h 6078415"/>
                <a:gd name="connsiteX3493" fmla="*/ 2040908 w 11685910"/>
                <a:gd name="connsiteY3493" fmla="*/ 638389 h 6078415"/>
                <a:gd name="connsiteX3494" fmla="*/ 9005765 w 11685910"/>
                <a:gd name="connsiteY3494" fmla="*/ 498119 h 6078415"/>
                <a:gd name="connsiteX3495" fmla="*/ 8982416 w 11685910"/>
                <a:gd name="connsiteY3495" fmla="*/ 537631 h 6078415"/>
                <a:gd name="connsiteX3496" fmla="*/ 8998940 w 11685910"/>
                <a:gd name="connsiteY3496" fmla="*/ 541044 h 6078415"/>
                <a:gd name="connsiteX3497" fmla="*/ 9015463 w 11685910"/>
                <a:gd name="connsiteY3497" fmla="*/ 537452 h 6078415"/>
                <a:gd name="connsiteX3498" fmla="*/ 9012500 w 11685910"/>
                <a:gd name="connsiteY3498" fmla="*/ 527933 h 6078415"/>
                <a:gd name="connsiteX3499" fmla="*/ 9013488 w 11685910"/>
                <a:gd name="connsiteY3499" fmla="*/ 514642 h 6078415"/>
                <a:gd name="connsiteX3500" fmla="*/ 9005765 w 11685910"/>
                <a:gd name="connsiteY3500" fmla="*/ 498119 h 6078415"/>
                <a:gd name="connsiteX3501" fmla="*/ 2945029 w 11685910"/>
                <a:gd name="connsiteY3501" fmla="*/ 498119 h 6078415"/>
                <a:gd name="connsiteX3502" fmla="*/ 2921680 w 11685910"/>
                <a:gd name="connsiteY3502" fmla="*/ 537631 h 6078415"/>
                <a:gd name="connsiteX3503" fmla="*/ 2938203 w 11685910"/>
                <a:gd name="connsiteY3503" fmla="*/ 541044 h 6078415"/>
                <a:gd name="connsiteX3504" fmla="*/ 2954726 w 11685910"/>
                <a:gd name="connsiteY3504" fmla="*/ 537452 h 6078415"/>
                <a:gd name="connsiteX3505" fmla="*/ 2951763 w 11685910"/>
                <a:gd name="connsiteY3505" fmla="*/ 527933 h 6078415"/>
                <a:gd name="connsiteX3506" fmla="*/ 2952751 w 11685910"/>
                <a:gd name="connsiteY3506" fmla="*/ 514642 h 6078415"/>
                <a:gd name="connsiteX3507" fmla="*/ 2945029 w 11685910"/>
                <a:gd name="connsiteY3507" fmla="*/ 498119 h 6078415"/>
                <a:gd name="connsiteX3508" fmla="*/ 8844660 w 11685910"/>
                <a:gd name="connsiteY3508" fmla="*/ 481595 h 6078415"/>
                <a:gd name="connsiteX3509" fmla="*/ 8830921 w 11685910"/>
                <a:gd name="connsiteY3509" fmla="*/ 501980 h 6078415"/>
                <a:gd name="connsiteX3510" fmla="*/ 8852563 w 11685910"/>
                <a:gd name="connsiteY3510" fmla="*/ 523712 h 6078415"/>
                <a:gd name="connsiteX3511" fmla="*/ 8861543 w 11685910"/>
                <a:gd name="connsiteY3511" fmla="*/ 516438 h 6078415"/>
                <a:gd name="connsiteX3512" fmla="*/ 8844660 w 11685910"/>
                <a:gd name="connsiteY3512" fmla="*/ 481595 h 6078415"/>
                <a:gd name="connsiteX3513" fmla="*/ 2783925 w 11685910"/>
                <a:gd name="connsiteY3513" fmla="*/ 481595 h 6078415"/>
                <a:gd name="connsiteX3514" fmla="*/ 2770185 w 11685910"/>
                <a:gd name="connsiteY3514" fmla="*/ 501980 h 6078415"/>
                <a:gd name="connsiteX3515" fmla="*/ 2791826 w 11685910"/>
                <a:gd name="connsiteY3515" fmla="*/ 523712 h 6078415"/>
                <a:gd name="connsiteX3516" fmla="*/ 2800806 w 11685910"/>
                <a:gd name="connsiteY3516" fmla="*/ 516438 h 6078415"/>
                <a:gd name="connsiteX3517" fmla="*/ 2783925 w 11685910"/>
                <a:gd name="connsiteY3517" fmla="*/ 481595 h 6078415"/>
                <a:gd name="connsiteX3518" fmla="*/ 8828161 w 11685910"/>
                <a:gd name="connsiteY3518" fmla="*/ 412842 h 6078415"/>
                <a:gd name="connsiteX3519" fmla="*/ 8827959 w 11685910"/>
                <a:gd name="connsiteY3519" fmla="*/ 414368 h 6078415"/>
                <a:gd name="connsiteX3520" fmla="*/ 8827892 w 11685910"/>
                <a:gd name="connsiteY3520" fmla="*/ 413100 h 6078415"/>
                <a:gd name="connsiteX3521" fmla="*/ 2767424 w 11685910"/>
                <a:gd name="connsiteY3521" fmla="*/ 412841 h 6078415"/>
                <a:gd name="connsiteX3522" fmla="*/ 2767222 w 11685910"/>
                <a:gd name="connsiteY3522" fmla="*/ 414369 h 6078415"/>
                <a:gd name="connsiteX3523" fmla="*/ 2767156 w 11685910"/>
                <a:gd name="connsiteY3523" fmla="*/ 413100 h 6078415"/>
                <a:gd name="connsiteX3524" fmla="*/ 9031448 w 11685910"/>
                <a:gd name="connsiteY3524" fmla="*/ 385462 h 6078415"/>
                <a:gd name="connsiteX3525" fmla="*/ 9027429 w 11685910"/>
                <a:gd name="connsiteY3525" fmla="*/ 388336 h 6078415"/>
                <a:gd name="connsiteX3526" fmla="*/ 9034399 w 11685910"/>
                <a:gd name="connsiteY3526" fmla="*/ 396764 h 6078415"/>
                <a:gd name="connsiteX3527" fmla="*/ 9041326 w 11685910"/>
                <a:gd name="connsiteY3527" fmla="*/ 395026 h 6078415"/>
                <a:gd name="connsiteX3528" fmla="*/ 9014925 w 11685910"/>
                <a:gd name="connsiteY3528" fmla="*/ 414334 h 6078415"/>
                <a:gd name="connsiteX3529" fmla="*/ 9019975 w 11685910"/>
                <a:gd name="connsiteY3529" fmla="*/ 406659 h 6078415"/>
                <a:gd name="connsiteX3530" fmla="*/ 9012141 w 11685910"/>
                <a:gd name="connsiteY3530" fmla="*/ 399651 h 6078415"/>
                <a:gd name="connsiteX3531" fmla="*/ 9007291 w 11685910"/>
                <a:gd name="connsiteY3531" fmla="*/ 403737 h 6078415"/>
                <a:gd name="connsiteX3532" fmla="*/ 9031448 w 11685910"/>
                <a:gd name="connsiteY3532" fmla="*/ 385462 h 6078415"/>
                <a:gd name="connsiteX3533" fmla="*/ 2970711 w 11685910"/>
                <a:gd name="connsiteY3533" fmla="*/ 385462 h 6078415"/>
                <a:gd name="connsiteX3534" fmla="*/ 2966693 w 11685910"/>
                <a:gd name="connsiteY3534" fmla="*/ 388336 h 6078415"/>
                <a:gd name="connsiteX3535" fmla="*/ 2973663 w 11685910"/>
                <a:gd name="connsiteY3535" fmla="*/ 396764 h 6078415"/>
                <a:gd name="connsiteX3536" fmla="*/ 2980590 w 11685910"/>
                <a:gd name="connsiteY3536" fmla="*/ 395026 h 6078415"/>
                <a:gd name="connsiteX3537" fmla="*/ 2954189 w 11685910"/>
                <a:gd name="connsiteY3537" fmla="*/ 414334 h 6078415"/>
                <a:gd name="connsiteX3538" fmla="*/ 2959239 w 11685910"/>
                <a:gd name="connsiteY3538" fmla="*/ 406659 h 6078415"/>
                <a:gd name="connsiteX3539" fmla="*/ 2951404 w 11685910"/>
                <a:gd name="connsiteY3539" fmla="*/ 399651 h 6078415"/>
                <a:gd name="connsiteX3540" fmla="*/ 2946555 w 11685910"/>
                <a:gd name="connsiteY3540" fmla="*/ 403737 h 6078415"/>
                <a:gd name="connsiteX3541" fmla="*/ 2970711 w 11685910"/>
                <a:gd name="connsiteY3541" fmla="*/ 385462 h 6078415"/>
                <a:gd name="connsiteX3542" fmla="*/ 9004699 w 11685910"/>
                <a:gd name="connsiteY3542" fmla="*/ 368940 h 6078415"/>
                <a:gd name="connsiteX3543" fmla="*/ 9007000 w 11685910"/>
                <a:gd name="connsiteY3543" fmla="*/ 368977 h 6078415"/>
                <a:gd name="connsiteX3544" fmla="*/ 9015194 w 11685910"/>
                <a:gd name="connsiteY3544" fmla="*/ 370241 h 6078415"/>
                <a:gd name="connsiteX3545" fmla="*/ 8996156 w 11685910"/>
                <a:gd name="connsiteY3545" fmla="*/ 389279 h 6078415"/>
                <a:gd name="connsiteX3546" fmla="*/ 9004699 w 11685910"/>
                <a:gd name="connsiteY3546" fmla="*/ 368940 h 6078415"/>
                <a:gd name="connsiteX3547" fmla="*/ 2943962 w 11685910"/>
                <a:gd name="connsiteY3547" fmla="*/ 368940 h 6078415"/>
                <a:gd name="connsiteX3548" fmla="*/ 2946264 w 11685910"/>
                <a:gd name="connsiteY3548" fmla="*/ 368977 h 6078415"/>
                <a:gd name="connsiteX3549" fmla="*/ 2954458 w 11685910"/>
                <a:gd name="connsiteY3549" fmla="*/ 370241 h 6078415"/>
                <a:gd name="connsiteX3550" fmla="*/ 2935420 w 11685910"/>
                <a:gd name="connsiteY3550" fmla="*/ 389279 h 6078415"/>
                <a:gd name="connsiteX3551" fmla="*/ 2943962 w 11685910"/>
                <a:gd name="connsiteY3551" fmla="*/ 368940 h 6078415"/>
                <a:gd name="connsiteX3552" fmla="*/ 9107997 w 11685910"/>
                <a:gd name="connsiteY3552" fmla="*/ 346712 h 6078415"/>
                <a:gd name="connsiteX3553" fmla="*/ 9099744 w 11685910"/>
                <a:gd name="connsiteY3553" fmla="*/ 360728 h 6078415"/>
                <a:gd name="connsiteX3554" fmla="*/ 9087486 w 11685910"/>
                <a:gd name="connsiteY3554" fmla="*/ 362733 h 6078415"/>
                <a:gd name="connsiteX3555" fmla="*/ 9098703 w 11685910"/>
                <a:gd name="connsiteY3555" fmla="*/ 356059 h 6078415"/>
                <a:gd name="connsiteX3556" fmla="*/ 9107997 w 11685910"/>
                <a:gd name="connsiteY3556" fmla="*/ 346712 h 6078415"/>
                <a:gd name="connsiteX3557" fmla="*/ 3047262 w 11685910"/>
                <a:gd name="connsiteY3557" fmla="*/ 346712 h 6078415"/>
                <a:gd name="connsiteX3558" fmla="*/ 3039007 w 11685910"/>
                <a:gd name="connsiteY3558" fmla="*/ 360728 h 6078415"/>
                <a:gd name="connsiteX3559" fmla="*/ 3026750 w 11685910"/>
                <a:gd name="connsiteY3559" fmla="*/ 362733 h 6078415"/>
                <a:gd name="connsiteX3560" fmla="*/ 3037966 w 11685910"/>
                <a:gd name="connsiteY3560" fmla="*/ 356059 h 6078415"/>
                <a:gd name="connsiteX3561" fmla="*/ 3047262 w 11685910"/>
                <a:gd name="connsiteY3561" fmla="*/ 346712 h 6078415"/>
                <a:gd name="connsiteX3562" fmla="*/ 10088691 w 11685910"/>
                <a:gd name="connsiteY3562" fmla="*/ 330076 h 6078415"/>
                <a:gd name="connsiteX3563" fmla="*/ 10143377 w 11685910"/>
                <a:gd name="connsiteY3563" fmla="*/ 369097 h 6078415"/>
                <a:gd name="connsiteX3564" fmla="*/ 10143377 w 11685910"/>
                <a:gd name="connsiteY3564" fmla="*/ 405458 h 6078415"/>
                <a:gd name="connsiteX3565" fmla="*/ 10167321 w 11685910"/>
                <a:gd name="connsiteY3565" fmla="*/ 432318 h 6078415"/>
                <a:gd name="connsiteX3566" fmla="*/ 10167321 w 11685910"/>
                <a:gd name="connsiteY3566" fmla="*/ 450814 h 6078415"/>
                <a:gd name="connsiteX3567" fmla="*/ 10143377 w 11685910"/>
                <a:gd name="connsiteY3567" fmla="*/ 477167 h 6078415"/>
                <a:gd name="connsiteX3568" fmla="*/ 10143377 w 11685910"/>
                <a:gd name="connsiteY3568" fmla="*/ 514542 h 6078415"/>
                <a:gd name="connsiteX3569" fmla="*/ 10088691 w 11685910"/>
                <a:gd name="connsiteY3569" fmla="*/ 553056 h 6078415"/>
                <a:gd name="connsiteX3570" fmla="*/ 10088691 w 11685910"/>
                <a:gd name="connsiteY3570" fmla="*/ 533545 h 6078415"/>
                <a:gd name="connsiteX3571" fmla="*/ 10107769 w 11685910"/>
                <a:gd name="connsiteY3571" fmla="*/ 527464 h 6078415"/>
                <a:gd name="connsiteX3572" fmla="*/ 10113408 w 11685910"/>
                <a:gd name="connsiteY3572" fmla="*/ 508207 h 6078415"/>
                <a:gd name="connsiteX3573" fmla="*/ 10113408 w 11685910"/>
                <a:gd name="connsiteY3573" fmla="*/ 472859 h 6078415"/>
                <a:gd name="connsiteX3574" fmla="*/ 10143840 w 11685910"/>
                <a:gd name="connsiteY3574" fmla="*/ 441566 h 6078415"/>
                <a:gd name="connsiteX3575" fmla="*/ 10143840 w 11685910"/>
                <a:gd name="connsiteY3575" fmla="*/ 441186 h 6078415"/>
                <a:gd name="connsiteX3576" fmla="*/ 10113408 w 11685910"/>
                <a:gd name="connsiteY3576" fmla="*/ 409639 h 6078415"/>
                <a:gd name="connsiteX3577" fmla="*/ 10113408 w 11685910"/>
                <a:gd name="connsiteY3577" fmla="*/ 373912 h 6078415"/>
                <a:gd name="connsiteX3578" fmla="*/ 10088691 w 11685910"/>
                <a:gd name="connsiteY3578" fmla="*/ 349714 h 6078415"/>
                <a:gd name="connsiteX3579" fmla="*/ 10067372 w 11685910"/>
                <a:gd name="connsiteY3579" fmla="*/ 330076 h 6078415"/>
                <a:gd name="connsiteX3580" fmla="*/ 10067372 w 11685910"/>
                <a:gd name="connsiteY3580" fmla="*/ 349714 h 6078415"/>
                <a:gd name="connsiteX3581" fmla="*/ 10042810 w 11685910"/>
                <a:gd name="connsiteY3581" fmla="*/ 373912 h 6078415"/>
                <a:gd name="connsiteX3582" fmla="*/ 10042810 w 11685910"/>
                <a:gd name="connsiteY3582" fmla="*/ 409639 h 6078415"/>
                <a:gd name="connsiteX3583" fmla="*/ 10012069 w 11685910"/>
                <a:gd name="connsiteY3583" fmla="*/ 441186 h 6078415"/>
                <a:gd name="connsiteX3584" fmla="*/ 10012069 w 11685910"/>
                <a:gd name="connsiteY3584" fmla="*/ 441566 h 6078415"/>
                <a:gd name="connsiteX3585" fmla="*/ 10042810 w 11685910"/>
                <a:gd name="connsiteY3585" fmla="*/ 472859 h 6078415"/>
                <a:gd name="connsiteX3586" fmla="*/ 10042810 w 11685910"/>
                <a:gd name="connsiteY3586" fmla="*/ 508207 h 6078415"/>
                <a:gd name="connsiteX3587" fmla="*/ 10048294 w 11685910"/>
                <a:gd name="connsiteY3587" fmla="*/ 527527 h 6078415"/>
                <a:gd name="connsiteX3588" fmla="*/ 10067372 w 11685910"/>
                <a:gd name="connsiteY3588" fmla="*/ 533545 h 6078415"/>
                <a:gd name="connsiteX3589" fmla="*/ 10067372 w 11685910"/>
                <a:gd name="connsiteY3589" fmla="*/ 553056 h 6078415"/>
                <a:gd name="connsiteX3590" fmla="*/ 10012378 w 11685910"/>
                <a:gd name="connsiteY3590" fmla="*/ 514542 h 6078415"/>
                <a:gd name="connsiteX3591" fmla="*/ 10012378 w 11685910"/>
                <a:gd name="connsiteY3591" fmla="*/ 477167 h 6078415"/>
                <a:gd name="connsiteX3592" fmla="*/ 9988279 w 11685910"/>
                <a:gd name="connsiteY3592" fmla="*/ 450814 h 6078415"/>
                <a:gd name="connsiteX3593" fmla="*/ 9988279 w 11685910"/>
                <a:gd name="connsiteY3593" fmla="*/ 432318 h 6078415"/>
                <a:gd name="connsiteX3594" fmla="*/ 10012378 w 11685910"/>
                <a:gd name="connsiteY3594" fmla="*/ 405458 h 6078415"/>
                <a:gd name="connsiteX3595" fmla="*/ 10012378 w 11685910"/>
                <a:gd name="connsiteY3595" fmla="*/ 369097 h 6078415"/>
                <a:gd name="connsiteX3596" fmla="*/ 10067372 w 11685910"/>
                <a:gd name="connsiteY3596" fmla="*/ 330076 h 6078415"/>
                <a:gd name="connsiteX3597" fmla="*/ 4025465 w 11685910"/>
                <a:gd name="connsiteY3597" fmla="*/ 330076 h 6078415"/>
                <a:gd name="connsiteX3598" fmla="*/ 4080151 w 11685910"/>
                <a:gd name="connsiteY3598" fmla="*/ 369097 h 6078415"/>
                <a:gd name="connsiteX3599" fmla="*/ 4080151 w 11685910"/>
                <a:gd name="connsiteY3599" fmla="*/ 405458 h 6078415"/>
                <a:gd name="connsiteX3600" fmla="*/ 4104095 w 11685910"/>
                <a:gd name="connsiteY3600" fmla="*/ 432318 h 6078415"/>
                <a:gd name="connsiteX3601" fmla="*/ 4104095 w 11685910"/>
                <a:gd name="connsiteY3601" fmla="*/ 450814 h 6078415"/>
                <a:gd name="connsiteX3602" fmla="*/ 4080151 w 11685910"/>
                <a:gd name="connsiteY3602" fmla="*/ 477167 h 6078415"/>
                <a:gd name="connsiteX3603" fmla="*/ 4080151 w 11685910"/>
                <a:gd name="connsiteY3603" fmla="*/ 514542 h 6078415"/>
                <a:gd name="connsiteX3604" fmla="*/ 4025465 w 11685910"/>
                <a:gd name="connsiteY3604" fmla="*/ 553056 h 6078415"/>
                <a:gd name="connsiteX3605" fmla="*/ 4025465 w 11685910"/>
                <a:gd name="connsiteY3605" fmla="*/ 533545 h 6078415"/>
                <a:gd name="connsiteX3606" fmla="*/ 4044543 w 11685910"/>
                <a:gd name="connsiteY3606" fmla="*/ 527464 h 6078415"/>
                <a:gd name="connsiteX3607" fmla="*/ 4050182 w 11685910"/>
                <a:gd name="connsiteY3607" fmla="*/ 508207 h 6078415"/>
                <a:gd name="connsiteX3608" fmla="*/ 4050182 w 11685910"/>
                <a:gd name="connsiteY3608" fmla="*/ 472859 h 6078415"/>
                <a:gd name="connsiteX3609" fmla="*/ 4080614 w 11685910"/>
                <a:gd name="connsiteY3609" fmla="*/ 441566 h 6078415"/>
                <a:gd name="connsiteX3610" fmla="*/ 4080614 w 11685910"/>
                <a:gd name="connsiteY3610" fmla="*/ 441186 h 6078415"/>
                <a:gd name="connsiteX3611" fmla="*/ 4050182 w 11685910"/>
                <a:gd name="connsiteY3611" fmla="*/ 409639 h 6078415"/>
                <a:gd name="connsiteX3612" fmla="*/ 4050182 w 11685910"/>
                <a:gd name="connsiteY3612" fmla="*/ 373912 h 6078415"/>
                <a:gd name="connsiteX3613" fmla="*/ 4025465 w 11685910"/>
                <a:gd name="connsiteY3613" fmla="*/ 349714 h 6078415"/>
                <a:gd name="connsiteX3614" fmla="*/ 4004147 w 11685910"/>
                <a:gd name="connsiteY3614" fmla="*/ 330076 h 6078415"/>
                <a:gd name="connsiteX3615" fmla="*/ 4004147 w 11685910"/>
                <a:gd name="connsiteY3615" fmla="*/ 349714 h 6078415"/>
                <a:gd name="connsiteX3616" fmla="*/ 3979585 w 11685910"/>
                <a:gd name="connsiteY3616" fmla="*/ 373912 h 6078415"/>
                <a:gd name="connsiteX3617" fmla="*/ 3979585 w 11685910"/>
                <a:gd name="connsiteY3617" fmla="*/ 409639 h 6078415"/>
                <a:gd name="connsiteX3618" fmla="*/ 3948843 w 11685910"/>
                <a:gd name="connsiteY3618" fmla="*/ 441186 h 6078415"/>
                <a:gd name="connsiteX3619" fmla="*/ 3948843 w 11685910"/>
                <a:gd name="connsiteY3619" fmla="*/ 441566 h 6078415"/>
                <a:gd name="connsiteX3620" fmla="*/ 3979585 w 11685910"/>
                <a:gd name="connsiteY3620" fmla="*/ 472859 h 6078415"/>
                <a:gd name="connsiteX3621" fmla="*/ 3979585 w 11685910"/>
                <a:gd name="connsiteY3621" fmla="*/ 508207 h 6078415"/>
                <a:gd name="connsiteX3622" fmla="*/ 3985069 w 11685910"/>
                <a:gd name="connsiteY3622" fmla="*/ 527527 h 6078415"/>
                <a:gd name="connsiteX3623" fmla="*/ 4004147 w 11685910"/>
                <a:gd name="connsiteY3623" fmla="*/ 533545 h 6078415"/>
                <a:gd name="connsiteX3624" fmla="*/ 4004147 w 11685910"/>
                <a:gd name="connsiteY3624" fmla="*/ 553056 h 6078415"/>
                <a:gd name="connsiteX3625" fmla="*/ 3949152 w 11685910"/>
                <a:gd name="connsiteY3625" fmla="*/ 514542 h 6078415"/>
                <a:gd name="connsiteX3626" fmla="*/ 3949152 w 11685910"/>
                <a:gd name="connsiteY3626" fmla="*/ 477167 h 6078415"/>
                <a:gd name="connsiteX3627" fmla="*/ 3925053 w 11685910"/>
                <a:gd name="connsiteY3627" fmla="*/ 450814 h 6078415"/>
                <a:gd name="connsiteX3628" fmla="*/ 3925053 w 11685910"/>
                <a:gd name="connsiteY3628" fmla="*/ 432318 h 6078415"/>
                <a:gd name="connsiteX3629" fmla="*/ 3949152 w 11685910"/>
                <a:gd name="connsiteY3629" fmla="*/ 405458 h 6078415"/>
                <a:gd name="connsiteX3630" fmla="*/ 3949152 w 11685910"/>
                <a:gd name="connsiteY3630" fmla="*/ 369097 h 6078415"/>
                <a:gd name="connsiteX3631" fmla="*/ 4004147 w 11685910"/>
                <a:gd name="connsiteY3631" fmla="*/ 330076 h 6078415"/>
                <a:gd name="connsiteX3632" fmla="*/ 9003356 w 11685910"/>
                <a:gd name="connsiteY3632" fmla="*/ 327579 h 6078415"/>
                <a:gd name="connsiteX3633" fmla="*/ 9009260 w 11685910"/>
                <a:gd name="connsiteY3633" fmla="*/ 328096 h 6078415"/>
                <a:gd name="connsiteX3634" fmla="*/ 9052536 w 11685910"/>
                <a:gd name="connsiteY3634" fmla="*/ 357514 h 6078415"/>
                <a:gd name="connsiteX3635" fmla="*/ 9070527 w 11685910"/>
                <a:gd name="connsiteY3635" fmla="*/ 378666 h 6078415"/>
                <a:gd name="connsiteX3636" fmla="*/ 9067366 w 11685910"/>
                <a:gd name="connsiteY3636" fmla="*/ 386446 h 6078415"/>
                <a:gd name="connsiteX3637" fmla="*/ 9080480 w 11685910"/>
                <a:gd name="connsiteY3637" fmla="*/ 396551 h 6078415"/>
                <a:gd name="connsiteX3638" fmla="*/ 9078793 w 11685910"/>
                <a:gd name="connsiteY3638" fmla="*/ 359217 h 6078415"/>
                <a:gd name="connsiteX3639" fmla="*/ 9094110 w 11685910"/>
                <a:gd name="connsiteY3639" fmla="*/ 349492 h 6078415"/>
                <a:gd name="connsiteX3640" fmla="*/ 9106023 w 11685910"/>
                <a:gd name="connsiteY3640" fmla="*/ 338308 h 6078415"/>
                <a:gd name="connsiteX3641" fmla="*/ 9128877 w 11685910"/>
                <a:gd name="connsiteY3641" fmla="*/ 400791 h 6078415"/>
                <a:gd name="connsiteX3642" fmla="*/ 9091193 w 11685910"/>
                <a:gd name="connsiteY3642" fmla="*/ 469109 h 6078415"/>
                <a:gd name="connsiteX3643" fmla="*/ 9059166 w 11685910"/>
                <a:gd name="connsiteY3643" fmla="*/ 469827 h 6078415"/>
                <a:gd name="connsiteX3644" fmla="*/ 9055159 w 11685910"/>
                <a:gd name="connsiteY3644" fmla="*/ 468432 h 6078415"/>
                <a:gd name="connsiteX3645" fmla="*/ 9054679 w 11685910"/>
                <a:gd name="connsiteY3645" fmla="*/ 470708 h 6078415"/>
                <a:gd name="connsiteX3646" fmla="*/ 9029925 w 11685910"/>
                <a:gd name="connsiteY3646" fmla="*/ 490747 h 6078415"/>
                <a:gd name="connsiteX3647" fmla="*/ 9008287 w 11685910"/>
                <a:gd name="connsiteY3647" fmla="*/ 481022 h 6078415"/>
                <a:gd name="connsiteX3648" fmla="*/ 9007314 w 11685910"/>
                <a:gd name="connsiteY3648" fmla="*/ 493664 h 6078415"/>
                <a:gd name="connsiteX3649" fmla="*/ 9017039 w 11685910"/>
                <a:gd name="connsiteY3649" fmla="*/ 514330 h 6078415"/>
                <a:gd name="connsiteX3650" fmla="*/ 9016553 w 11685910"/>
                <a:gd name="connsiteY3650" fmla="*/ 525514 h 6078415"/>
                <a:gd name="connsiteX3651" fmla="*/ 9018741 w 11685910"/>
                <a:gd name="connsiteY3651" fmla="*/ 539372 h 6078415"/>
                <a:gd name="connsiteX3652" fmla="*/ 9002695 w 11685910"/>
                <a:gd name="connsiteY3652" fmla="*/ 545207 h 6078415"/>
                <a:gd name="connsiteX3653" fmla="*/ 8977653 w 11685910"/>
                <a:gd name="connsiteY3653" fmla="*/ 539858 h 6078415"/>
                <a:gd name="connsiteX3654" fmla="*/ 8976889 w 11685910"/>
                <a:gd name="connsiteY3654" fmla="*/ 535374 h 6078415"/>
                <a:gd name="connsiteX3655" fmla="*/ 8976849 w 11685910"/>
                <a:gd name="connsiteY3655" fmla="*/ 534020 h 6078415"/>
                <a:gd name="connsiteX3656" fmla="*/ 8973084 w 11685910"/>
                <a:gd name="connsiteY3656" fmla="*/ 537588 h 6078415"/>
                <a:gd name="connsiteX3657" fmla="*/ 8949451 w 11685910"/>
                <a:gd name="connsiteY3657" fmla="*/ 552014 h 6078415"/>
                <a:gd name="connsiteX3658" fmla="*/ 8925868 w 11685910"/>
                <a:gd name="connsiteY3658" fmla="*/ 523569 h 6078415"/>
                <a:gd name="connsiteX3659" fmla="*/ 8936808 w 11685910"/>
                <a:gd name="connsiteY3659" fmla="*/ 511655 h 6078415"/>
                <a:gd name="connsiteX3660" fmla="*/ 8911766 w 11685910"/>
                <a:gd name="connsiteY3660" fmla="*/ 509224 h 6078415"/>
                <a:gd name="connsiteX3661" fmla="*/ 8910794 w 11685910"/>
                <a:gd name="connsiteY3661" fmla="*/ 520165 h 6078415"/>
                <a:gd name="connsiteX3662" fmla="*/ 8904472 w 11685910"/>
                <a:gd name="connsiteY3662" fmla="*/ 530862 h 6078415"/>
                <a:gd name="connsiteX3663" fmla="*/ 8899367 w 11685910"/>
                <a:gd name="connsiteY3663" fmla="*/ 550069 h 6078415"/>
                <a:gd name="connsiteX3664" fmla="*/ 8859008 w 11685910"/>
                <a:gd name="connsiteY3664" fmla="*/ 541560 h 6078415"/>
                <a:gd name="connsiteX3665" fmla="*/ 8859981 w 11685910"/>
                <a:gd name="connsiteY3665" fmla="*/ 527459 h 6078415"/>
                <a:gd name="connsiteX3666" fmla="*/ 8850256 w 11685910"/>
                <a:gd name="connsiteY3666" fmla="*/ 529404 h 6078415"/>
                <a:gd name="connsiteX3667" fmla="*/ 8824971 w 11685910"/>
                <a:gd name="connsiteY3667" fmla="*/ 503389 h 6078415"/>
                <a:gd name="connsiteX3668" fmla="*/ 8840288 w 11685910"/>
                <a:gd name="connsiteY3668" fmla="*/ 476645 h 6078415"/>
                <a:gd name="connsiteX3669" fmla="*/ 8841746 w 11685910"/>
                <a:gd name="connsiteY3669" fmla="*/ 449902 h 6078415"/>
                <a:gd name="connsiteX3670" fmla="*/ 8826186 w 11685910"/>
                <a:gd name="connsiteY3670" fmla="*/ 427778 h 6078415"/>
                <a:gd name="connsiteX3671" fmla="*/ 8827959 w 11685910"/>
                <a:gd name="connsiteY3671" fmla="*/ 414368 h 6078415"/>
                <a:gd name="connsiteX3672" fmla="*/ 8828421 w 11685910"/>
                <a:gd name="connsiteY3672" fmla="*/ 423148 h 6078415"/>
                <a:gd name="connsiteX3673" fmla="*/ 8829250 w 11685910"/>
                <a:gd name="connsiteY3673" fmla="*/ 423546 h 6078415"/>
                <a:gd name="connsiteX3674" fmla="*/ 8829373 w 11685910"/>
                <a:gd name="connsiteY3674" fmla="*/ 424728 h 6078415"/>
                <a:gd name="connsiteX3675" fmla="*/ 8849061 w 11685910"/>
                <a:gd name="connsiteY3675" fmla="*/ 438670 h 6078415"/>
                <a:gd name="connsiteX3676" fmla="*/ 8867407 w 11685910"/>
                <a:gd name="connsiteY3676" fmla="*/ 509778 h 6078415"/>
                <a:gd name="connsiteX3677" fmla="*/ 8868375 w 11685910"/>
                <a:gd name="connsiteY3677" fmla="*/ 511640 h 6078415"/>
                <a:gd name="connsiteX3678" fmla="*/ 8868341 w 11685910"/>
                <a:gd name="connsiteY3678" fmla="*/ 512514 h 6078415"/>
                <a:gd name="connsiteX3679" fmla="*/ 8866931 w 11685910"/>
                <a:gd name="connsiteY3679" fmla="*/ 526047 h 6078415"/>
                <a:gd name="connsiteX3680" fmla="*/ 8863609 w 11685910"/>
                <a:gd name="connsiteY3680" fmla="*/ 537452 h 6078415"/>
                <a:gd name="connsiteX3681" fmla="*/ 8898003 w 11685910"/>
                <a:gd name="connsiteY3681" fmla="*/ 544097 h 6078415"/>
                <a:gd name="connsiteX3682" fmla="*/ 8899170 w 11685910"/>
                <a:gd name="connsiteY3682" fmla="*/ 533141 h 6078415"/>
                <a:gd name="connsiteX3683" fmla="*/ 8905815 w 11685910"/>
                <a:gd name="connsiteY3683" fmla="*/ 518863 h 6078415"/>
                <a:gd name="connsiteX3684" fmla="*/ 8906096 w 11685910"/>
                <a:gd name="connsiteY3684" fmla="*/ 503653 h 6078415"/>
                <a:gd name="connsiteX3685" fmla="*/ 8905886 w 11685910"/>
                <a:gd name="connsiteY3685" fmla="*/ 497935 h 6078415"/>
                <a:gd name="connsiteX3686" fmla="*/ 8907486 w 11685910"/>
                <a:gd name="connsiteY3686" fmla="*/ 499797 h 6078415"/>
                <a:gd name="connsiteX3687" fmla="*/ 8947124 w 11685910"/>
                <a:gd name="connsiteY3687" fmla="*/ 497580 h 6078415"/>
                <a:gd name="connsiteX3688" fmla="*/ 8948022 w 11685910"/>
                <a:gd name="connsiteY3688" fmla="*/ 511409 h 6078415"/>
                <a:gd name="connsiteX3689" fmla="*/ 8930870 w 11685910"/>
                <a:gd name="connsiteY3689" fmla="*/ 524161 h 6078415"/>
                <a:gd name="connsiteX3690" fmla="*/ 8949908 w 11685910"/>
                <a:gd name="connsiteY3690" fmla="*/ 547240 h 6078415"/>
                <a:gd name="connsiteX3691" fmla="*/ 8985200 w 11685910"/>
                <a:gd name="connsiteY3691" fmla="*/ 519312 h 6078415"/>
                <a:gd name="connsiteX3692" fmla="*/ 9004418 w 11685910"/>
                <a:gd name="connsiteY3692" fmla="*/ 477195 h 6078415"/>
                <a:gd name="connsiteX3693" fmla="*/ 8987440 w 11685910"/>
                <a:gd name="connsiteY3693" fmla="*/ 458808 h 6078415"/>
                <a:gd name="connsiteX3694" fmla="*/ 8987245 w 11685910"/>
                <a:gd name="connsiteY3694" fmla="*/ 458296 h 6078415"/>
                <a:gd name="connsiteX3695" fmla="*/ 8989881 w 11685910"/>
                <a:gd name="connsiteY3695" fmla="*/ 459956 h 6078415"/>
                <a:gd name="connsiteX3696" fmla="*/ 9009177 w 11685910"/>
                <a:gd name="connsiteY3696" fmla="*/ 470639 h 6078415"/>
                <a:gd name="connsiteX3697" fmla="*/ 9030640 w 11685910"/>
                <a:gd name="connsiteY3697" fmla="*/ 485187 h 6078415"/>
                <a:gd name="connsiteX3698" fmla="*/ 9051743 w 11685910"/>
                <a:gd name="connsiteY3698" fmla="*/ 466688 h 6078415"/>
                <a:gd name="connsiteX3699" fmla="*/ 9048421 w 11685910"/>
                <a:gd name="connsiteY3699" fmla="*/ 466419 h 6078415"/>
                <a:gd name="connsiteX3700" fmla="*/ 9020440 w 11685910"/>
                <a:gd name="connsiteY3700" fmla="*/ 444121 h 6078415"/>
                <a:gd name="connsiteX3701" fmla="*/ 9021370 w 11685910"/>
                <a:gd name="connsiteY3701" fmla="*/ 439313 h 6078415"/>
                <a:gd name="connsiteX3702" fmla="*/ 9023134 w 11685910"/>
                <a:gd name="connsiteY3702" fmla="*/ 441235 h 6078415"/>
                <a:gd name="connsiteX3703" fmla="*/ 9095387 w 11685910"/>
                <a:gd name="connsiteY3703" fmla="*/ 459504 h 6078415"/>
                <a:gd name="connsiteX3704" fmla="*/ 9107331 w 11685910"/>
                <a:gd name="connsiteY3704" fmla="*/ 341594 h 6078415"/>
                <a:gd name="connsiteX3705" fmla="*/ 9097991 w 11685910"/>
                <a:gd name="connsiteY3705" fmla="*/ 352371 h 6078415"/>
                <a:gd name="connsiteX3706" fmla="*/ 9084341 w 11685910"/>
                <a:gd name="connsiteY3706" fmla="*/ 359285 h 6078415"/>
                <a:gd name="connsiteX3707" fmla="*/ 9075807 w 11685910"/>
                <a:gd name="connsiteY3707" fmla="*/ 420492 h 6078415"/>
                <a:gd name="connsiteX3708" fmla="*/ 9074316 w 11685910"/>
                <a:gd name="connsiteY3708" fmla="*/ 421668 h 6078415"/>
                <a:gd name="connsiteX3709" fmla="*/ 9074630 w 11685910"/>
                <a:gd name="connsiteY3709" fmla="*/ 421063 h 6078415"/>
                <a:gd name="connsiteX3710" fmla="*/ 9077876 w 11685910"/>
                <a:gd name="connsiteY3710" fmla="*/ 401851 h 6078415"/>
                <a:gd name="connsiteX3711" fmla="*/ 9065214 w 11685910"/>
                <a:gd name="connsiteY3711" fmla="*/ 404276 h 6078415"/>
                <a:gd name="connsiteX3712" fmla="*/ 9066561 w 11685910"/>
                <a:gd name="connsiteY3712" fmla="*/ 393769 h 6078415"/>
                <a:gd name="connsiteX3713" fmla="*/ 9054707 w 11685910"/>
                <a:gd name="connsiteY3713" fmla="*/ 393679 h 6078415"/>
                <a:gd name="connsiteX3714" fmla="*/ 9058119 w 11685910"/>
                <a:gd name="connsiteY3714" fmla="*/ 385867 h 6078415"/>
                <a:gd name="connsiteX3715" fmla="*/ 9051266 w 11685910"/>
                <a:gd name="connsiteY3715" fmla="*/ 382701 h 6078415"/>
                <a:gd name="connsiteX3716" fmla="*/ 9049367 w 11685910"/>
                <a:gd name="connsiteY3716" fmla="*/ 382714 h 6078415"/>
                <a:gd name="connsiteX3717" fmla="*/ 9050929 w 11685910"/>
                <a:gd name="connsiteY3717" fmla="*/ 382153 h 6078415"/>
                <a:gd name="connsiteX3718" fmla="*/ 9053270 w 11685910"/>
                <a:gd name="connsiteY3718" fmla="*/ 381466 h 6078415"/>
                <a:gd name="connsiteX3719" fmla="*/ 9064585 w 11685910"/>
                <a:gd name="connsiteY3719" fmla="*/ 378862 h 6078415"/>
                <a:gd name="connsiteX3720" fmla="*/ 9053090 w 11685910"/>
                <a:gd name="connsiteY3720" fmla="*/ 364224 h 6078415"/>
                <a:gd name="connsiteX3721" fmla="*/ 9041110 w 11685910"/>
                <a:gd name="connsiteY3721" fmla="*/ 362755 h 6078415"/>
                <a:gd name="connsiteX3722" fmla="*/ 9040004 w 11685910"/>
                <a:gd name="connsiteY3722" fmla="*/ 362696 h 6078415"/>
                <a:gd name="connsiteX3723" fmla="*/ 9040013 w 11685910"/>
                <a:gd name="connsiteY3723" fmla="*/ 362673 h 6078415"/>
                <a:gd name="connsiteX3724" fmla="*/ 9047792 w 11685910"/>
                <a:gd name="connsiteY3724" fmla="*/ 360273 h 6078415"/>
                <a:gd name="connsiteX3725" fmla="*/ 9005136 w 11685910"/>
                <a:gd name="connsiteY3725" fmla="*/ 334141 h 6078415"/>
                <a:gd name="connsiteX3726" fmla="*/ 8954668 w 11685910"/>
                <a:gd name="connsiteY3726" fmla="*/ 357759 h 6078415"/>
                <a:gd name="connsiteX3727" fmla="*/ 8968900 w 11685910"/>
                <a:gd name="connsiteY3727" fmla="*/ 358086 h 6078415"/>
                <a:gd name="connsiteX3728" fmla="*/ 8969477 w 11685910"/>
                <a:gd name="connsiteY3728" fmla="*/ 358169 h 6078415"/>
                <a:gd name="connsiteX3729" fmla="*/ 8967067 w 11685910"/>
                <a:gd name="connsiteY3729" fmla="*/ 358824 h 6078415"/>
                <a:gd name="connsiteX3730" fmla="*/ 8942468 w 11685910"/>
                <a:gd name="connsiteY3730" fmla="*/ 363941 h 6078415"/>
                <a:gd name="connsiteX3731" fmla="*/ 8895992 w 11685910"/>
                <a:gd name="connsiteY3731" fmla="*/ 424226 h 6078415"/>
                <a:gd name="connsiteX3732" fmla="*/ 8909974 w 11685910"/>
                <a:gd name="connsiteY3732" fmla="*/ 446338 h 6078415"/>
                <a:gd name="connsiteX3733" fmla="*/ 8924480 w 11685910"/>
                <a:gd name="connsiteY3733" fmla="*/ 429800 h 6078415"/>
                <a:gd name="connsiteX3734" fmla="*/ 8907508 w 11685910"/>
                <a:gd name="connsiteY3734" fmla="*/ 464906 h 6078415"/>
                <a:gd name="connsiteX3735" fmla="*/ 8923437 w 11685910"/>
                <a:gd name="connsiteY3735" fmla="*/ 474287 h 6078415"/>
                <a:gd name="connsiteX3736" fmla="*/ 8950592 w 11685910"/>
                <a:gd name="connsiteY3736" fmla="*/ 460844 h 6078415"/>
                <a:gd name="connsiteX3737" fmla="*/ 8968000 w 11685910"/>
                <a:gd name="connsiteY3737" fmla="*/ 459103 h 6078415"/>
                <a:gd name="connsiteX3738" fmla="*/ 8974237 w 11685910"/>
                <a:gd name="connsiteY3738" fmla="*/ 390053 h 6078415"/>
                <a:gd name="connsiteX3739" fmla="*/ 8974963 w 11685910"/>
                <a:gd name="connsiteY3739" fmla="*/ 467952 h 6078415"/>
                <a:gd name="connsiteX3740" fmla="*/ 8972855 w 11685910"/>
                <a:gd name="connsiteY3740" fmla="*/ 467607 h 6078415"/>
                <a:gd name="connsiteX3741" fmla="*/ 8970186 w 11685910"/>
                <a:gd name="connsiteY3741" fmla="*/ 466924 h 6078415"/>
                <a:gd name="connsiteX3742" fmla="*/ 8967452 w 11685910"/>
                <a:gd name="connsiteY3742" fmla="*/ 466498 h 6078415"/>
                <a:gd name="connsiteX3743" fmla="*/ 8966686 w 11685910"/>
                <a:gd name="connsiteY3743" fmla="*/ 466320 h 6078415"/>
                <a:gd name="connsiteX3744" fmla="*/ 8959915 w 11685910"/>
                <a:gd name="connsiteY3744" fmla="*/ 466091 h 6078415"/>
                <a:gd name="connsiteX3745" fmla="*/ 8958929 w 11685910"/>
                <a:gd name="connsiteY3745" fmla="*/ 466321 h 6078415"/>
                <a:gd name="connsiteX3746" fmla="*/ 8958334 w 11685910"/>
                <a:gd name="connsiteY3746" fmla="*/ 466372 h 6078415"/>
                <a:gd name="connsiteX3747" fmla="*/ 8919106 w 11685910"/>
                <a:gd name="connsiteY3747" fmla="*/ 482314 h 6078415"/>
                <a:gd name="connsiteX3748" fmla="*/ 8896766 w 11685910"/>
                <a:gd name="connsiteY3748" fmla="*/ 464595 h 6078415"/>
                <a:gd name="connsiteX3749" fmla="*/ 8896308 w 11685910"/>
                <a:gd name="connsiteY3749" fmla="*/ 464001 h 6078415"/>
                <a:gd name="connsiteX3750" fmla="*/ 8898030 w 11685910"/>
                <a:gd name="connsiteY3750" fmla="*/ 461124 h 6078415"/>
                <a:gd name="connsiteX3751" fmla="*/ 8904109 w 11685910"/>
                <a:gd name="connsiteY3751" fmla="*/ 452320 h 6078415"/>
                <a:gd name="connsiteX3752" fmla="*/ 8887047 w 11685910"/>
                <a:gd name="connsiteY3752" fmla="*/ 425289 h 6078415"/>
                <a:gd name="connsiteX3753" fmla="*/ 8917310 w 11685910"/>
                <a:gd name="connsiteY3753" fmla="*/ 379131 h 6078415"/>
                <a:gd name="connsiteX3754" fmla="*/ 8837255 w 11685910"/>
                <a:gd name="connsiteY3754" fmla="*/ 426513 h 6078415"/>
                <a:gd name="connsiteX3755" fmla="*/ 8833630 w 11685910"/>
                <a:gd name="connsiteY3755" fmla="*/ 423250 h 6078415"/>
                <a:gd name="connsiteX3756" fmla="*/ 8834690 w 11685910"/>
                <a:gd name="connsiteY3756" fmla="*/ 422655 h 6078415"/>
                <a:gd name="connsiteX3757" fmla="*/ 8838644 w 11685910"/>
                <a:gd name="connsiteY3757" fmla="*/ 402749 h 6078415"/>
                <a:gd name="connsiteX3758" fmla="*/ 8828161 w 11685910"/>
                <a:gd name="connsiteY3758" fmla="*/ 412842 h 6078415"/>
                <a:gd name="connsiteX3759" fmla="*/ 8829073 w 11685910"/>
                <a:gd name="connsiteY3759" fmla="*/ 405942 h 6078415"/>
                <a:gd name="connsiteX3760" fmla="*/ 8842719 w 11685910"/>
                <a:gd name="connsiteY3760" fmla="*/ 397387 h 6078415"/>
                <a:gd name="connsiteX3761" fmla="*/ 8842719 w 11685910"/>
                <a:gd name="connsiteY3761" fmla="*/ 421213 h 6078415"/>
                <a:gd name="connsiteX3762" fmla="*/ 8919060 w 11685910"/>
                <a:gd name="connsiteY3762" fmla="*/ 372831 h 6078415"/>
                <a:gd name="connsiteX3763" fmla="*/ 8941671 w 11685910"/>
                <a:gd name="connsiteY3763" fmla="*/ 356299 h 6078415"/>
                <a:gd name="connsiteX3764" fmla="*/ 8947707 w 11685910"/>
                <a:gd name="connsiteY3764" fmla="*/ 355666 h 6078415"/>
                <a:gd name="connsiteX3765" fmla="*/ 8948406 w 11685910"/>
                <a:gd name="connsiteY3765" fmla="*/ 354169 h 6078415"/>
                <a:gd name="connsiteX3766" fmla="*/ 8967685 w 11685910"/>
                <a:gd name="connsiteY3766" fmla="*/ 335633 h 6078415"/>
                <a:gd name="connsiteX3767" fmla="*/ 9003356 w 11685910"/>
                <a:gd name="connsiteY3767" fmla="*/ 327579 h 6078415"/>
                <a:gd name="connsiteX3768" fmla="*/ 2942620 w 11685910"/>
                <a:gd name="connsiteY3768" fmla="*/ 327579 h 6078415"/>
                <a:gd name="connsiteX3769" fmla="*/ 2948523 w 11685910"/>
                <a:gd name="connsiteY3769" fmla="*/ 328096 h 6078415"/>
                <a:gd name="connsiteX3770" fmla="*/ 2991799 w 11685910"/>
                <a:gd name="connsiteY3770" fmla="*/ 357514 h 6078415"/>
                <a:gd name="connsiteX3771" fmla="*/ 3009790 w 11685910"/>
                <a:gd name="connsiteY3771" fmla="*/ 378666 h 6078415"/>
                <a:gd name="connsiteX3772" fmla="*/ 3006630 w 11685910"/>
                <a:gd name="connsiteY3772" fmla="*/ 386446 h 6078415"/>
                <a:gd name="connsiteX3773" fmla="*/ 3019743 w 11685910"/>
                <a:gd name="connsiteY3773" fmla="*/ 396551 h 6078415"/>
                <a:gd name="connsiteX3774" fmla="*/ 3018057 w 11685910"/>
                <a:gd name="connsiteY3774" fmla="*/ 359217 h 6078415"/>
                <a:gd name="connsiteX3775" fmla="*/ 3033374 w 11685910"/>
                <a:gd name="connsiteY3775" fmla="*/ 349492 h 6078415"/>
                <a:gd name="connsiteX3776" fmla="*/ 3045288 w 11685910"/>
                <a:gd name="connsiteY3776" fmla="*/ 338308 h 6078415"/>
                <a:gd name="connsiteX3777" fmla="*/ 3068141 w 11685910"/>
                <a:gd name="connsiteY3777" fmla="*/ 400791 h 6078415"/>
                <a:gd name="connsiteX3778" fmla="*/ 3030456 w 11685910"/>
                <a:gd name="connsiteY3778" fmla="*/ 469109 h 6078415"/>
                <a:gd name="connsiteX3779" fmla="*/ 2998429 w 11685910"/>
                <a:gd name="connsiteY3779" fmla="*/ 469827 h 6078415"/>
                <a:gd name="connsiteX3780" fmla="*/ 2994423 w 11685910"/>
                <a:gd name="connsiteY3780" fmla="*/ 468432 h 6078415"/>
                <a:gd name="connsiteX3781" fmla="*/ 2993942 w 11685910"/>
                <a:gd name="connsiteY3781" fmla="*/ 470708 h 6078415"/>
                <a:gd name="connsiteX3782" fmla="*/ 2969189 w 11685910"/>
                <a:gd name="connsiteY3782" fmla="*/ 490747 h 6078415"/>
                <a:gd name="connsiteX3783" fmla="*/ 2947551 w 11685910"/>
                <a:gd name="connsiteY3783" fmla="*/ 481022 h 6078415"/>
                <a:gd name="connsiteX3784" fmla="*/ 2946577 w 11685910"/>
                <a:gd name="connsiteY3784" fmla="*/ 493664 h 6078415"/>
                <a:gd name="connsiteX3785" fmla="*/ 2956304 w 11685910"/>
                <a:gd name="connsiteY3785" fmla="*/ 514330 h 6078415"/>
                <a:gd name="connsiteX3786" fmla="*/ 2955817 w 11685910"/>
                <a:gd name="connsiteY3786" fmla="*/ 525514 h 6078415"/>
                <a:gd name="connsiteX3787" fmla="*/ 2958005 w 11685910"/>
                <a:gd name="connsiteY3787" fmla="*/ 539372 h 6078415"/>
                <a:gd name="connsiteX3788" fmla="*/ 2941958 w 11685910"/>
                <a:gd name="connsiteY3788" fmla="*/ 545207 h 6078415"/>
                <a:gd name="connsiteX3789" fmla="*/ 2916916 w 11685910"/>
                <a:gd name="connsiteY3789" fmla="*/ 539858 h 6078415"/>
                <a:gd name="connsiteX3790" fmla="*/ 2916152 w 11685910"/>
                <a:gd name="connsiteY3790" fmla="*/ 535374 h 6078415"/>
                <a:gd name="connsiteX3791" fmla="*/ 2916113 w 11685910"/>
                <a:gd name="connsiteY3791" fmla="*/ 534020 h 6078415"/>
                <a:gd name="connsiteX3792" fmla="*/ 2912347 w 11685910"/>
                <a:gd name="connsiteY3792" fmla="*/ 537588 h 6078415"/>
                <a:gd name="connsiteX3793" fmla="*/ 2888714 w 11685910"/>
                <a:gd name="connsiteY3793" fmla="*/ 552014 h 6078415"/>
                <a:gd name="connsiteX3794" fmla="*/ 2865132 w 11685910"/>
                <a:gd name="connsiteY3794" fmla="*/ 523569 h 6078415"/>
                <a:gd name="connsiteX3795" fmla="*/ 2876071 w 11685910"/>
                <a:gd name="connsiteY3795" fmla="*/ 511655 h 6078415"/>
                <a:gd name="connsiteX3796" fmla="*/ 2851030 w 11685910"/>
                <a:gd name="connsiteY3796" fmla="*/ 509224 h 6078415"/>
                <a:gd name="connsiteX3797" fmla="*/ 2850057 w 11685910"/>
                <a:gd name="connsiteY3797" fmla="*/ 520165 h 6078415"/>
                <a:gd name="connsiteX3798" fmla="*/ 2843736 w 11685910"/>
                <a:gd name="connsiteY3798" fmla="*/ 530862 h 6078415"/>
                <a:gd name="connsiteX3799" fmla="*/ 2838631 w 11685910"/>
                <a:gd name="connsiteY3799" fmla="*/ 550069 h 6078415"/>
                <a:gd name="connsiteX3800" fmla="*/ 2798272 w 11685910"/>
                <a:gd name="connsiteY3800" fmla="*/ 541560 h 6078415"/>
                <a:gd name="connsiteX3801" fmla="*/ 2799245 w 11685910"/>
                <a:gd name="connsiteY3801" fmla="*/ 527459 h 6078415"/>
                <a:gd name="connsiteX3802" fmla="*/ 2789519 w 11685910"/>
                <a:gd name="connsiteY3802" fmla="*/ 529404 h 6078415"/>
                <a:gd name="connsiteX3803" fmla="*/ 2764234 w 11685910"/>
                <a:gd name="connsiteY3803" fmla="*/ 503389 h 6078415"/>
                <a:gd name="connsiteX3804" fmla="*/ 2779551 w 11685910"/>
                <a:gd name="connsiteY3804" fmla="*/ 476645 h 6078415"/>
                <a:gd name="connsiteX3805" fmla="*/ 2781010 w 11685910"/>
                <a:gd name="connsiteY3805" fmla="*/ 449902 h 6078415"/>
                <a:gd name="connsiteX3806" fmla="*/ 2765449 w 11685910"/>
                <a:gd name="connsiteY3806" fmla="*/ 427778 h 6078415"/>
                <a:gd name="connsiteX3807" fmla="*/ 2767222 w 11685910"/>
                <a:gd name="connsiteY3807" fmla="*/ 414369 h 6078415"/>
                <a:gd name="connsiteX3808" fmla="*/ 2767684 w 11685910"/>
                <a:gd name="connsiteY3808" fmla="*/ 423148 h 6078415"/>
                <a:gd name="connsiteX3809" fmla="*/ 2768513 w 11685910"/>
                <a:gd name="connsiteY3809" fmla="*/ 423546 h 6078415"/>
                <a:gd name="connsiteX3810" fmla="*/ 2768636 w 11685910"/>
                <a:gd name="connsiteY3810" fmla="*/ 424728 h 6078415"/>
                <a:gd name="connsiteX3811" fmla="*/ 2788324 w 11685910"/>
                <a:gd name="connsiteY3811" fmla="*/ 438670 h 6078415"/>
                <a:gd name="connsiteX3812" fmla="*/ 2806671 w 11685910"/>
                <a:gd name="connsiteY3812" fmla="*/ 509778 h 6078415"/>
                <a:gd name="connsiteX3813" fmla="*/ 2807639 w 11685910"/>
                <a:gd name="connsiteY3813" fmla="*/ 511640 h 6078415"/>
                <a:gd name="connsiteX3814" fmla="*/ 2807605 w 11685910"/>
                <a:gd name="connsiteY3814" fmla="*/ 512514 h 6078415"/>
                <a:gd name="connsiteX3815" fmla="*/ 2806194 w 11685910"/>
                <a:gd name="connsiteY3815" fmla="*/ 526047 h 6078415"/>
                <a:gd name="connsiteX3816" fmla="*/ 2802872 w 11685910"/>
                <a:gd name="connsiteY3816" fmla="*/ 537452 h 6078415"/>
                <a:gd name="connsiteX3817" fmla="*/ 2837267 w 11685910"/>
                <a:gd name="connsiteY3817" fmla="*/ 544097 h 6078415"/>
                <a:gd name="connsiteX3818" fmla="*/ 2838434 w 11685910"/>
                <a:gd name="connsiteY3818" fmla="*/ 533141 h 6078415"/>
                <a:gd name="connsiteX3819" fmla="*/ 2845079 w 11685910"/>
                <a:gd name="connsiteY3819" fmla="*/ 518863 h 6078415"/>
                <a:gd name="connsiteX3820" fmla="*/ 2845360 w 11685910"/>
                <a:gd name="connsiteY3820" fmla="*/ 503653 h 6078415"/>
                <a:gd name="connsiteX3821" fmla="*/ 2845150 w 11685910"/>
                <a:gd name="connsiteY3821" fmla="*/ 497935 h 6078415"/>
                <a:gd name="connsiteX3822" fmla="*/ 2846749 w 11685910"/>
                <a:gd name="connsiteY3822" fmla="*/ 499797 h 6078415"/>
                <a:gd name="connsiteX3823" fmla="*/ 2886388 w 11685910"/>
                <a:gd name="connsiteY3823" fmla="*/ 497580 h 6078415"/>
                <a:gd name="connsiteX3824" fmla="*/ 2887286 w 11685910"/>
                <a:gd name="connsiteY3824" fmla="*/ 511409 h 6078415"/>
                <a:gd name="connsiteX3825" fmla="*/ 2870133 w 11685910"/>
                <a:gd name="connsiteY3825" fmla="*/ 524161 h 6078415"/>
                <a:gd name="connsiteX3826" fmla="*/ 2889172 w 11685910"/>
                <a:gd name="connsiteY3826" fmla="*/ 547240 h 6078415"/>
                <a:gd name="connsiteX3827" fmla="*/ 2924463 w 11685910"/>
                <a:gd name="connsiteY3827" fmla="*/ 519312 h 6078415"/>
                <a:gd name="connsiteX3828" fmla="*/ 2943681 w 11685910"/>
                <a:gd name="connsiteY3828" fmla="*/ 477195 h 6078415"/>
                <a:gd name="connsiteX3829" fmla="*/ 2926703 w 11685910"/>
                <a:gd name="connsiteY3829" fmla="*/ 458808 h 6078415"/>
                <a:gd name="connsiteX3830" fmla="*/ 2926509 w 11685910"/>
                <a:gd name="connsiteY3830" fmla="*/ 458296 h 6078415"/>
                <a:gd name="connsiteX3831" fmla="*/ 2929145 w 11685910"/>
                <a:gd name="connsiteY3831" fmla="*/ 459956 h 6078415"/>
                <a:gd name="connsiteX3832" fmla="*/ 2948440 w 11685910"/>
                <a:gd name="connsiteY3832" fmla="*/ 470639 h 6078415"/>
                <a:gd name="connsiteX3833" fmla="*/ 2969904 w 11685910"/>
                <a:gd name="connsiteY3833" fmla="*/ 485187 h 6078415"/>
                <a:gd name="connsiteX3834" fmla="*/ 2991007 w 11685910"/>
                <a:gd name="connsiteY3834" fmla="*/ 466688 h 6078415"/>
                <a:gd name="connsiteX3835" fmla="*/ 2987684 w 11685910"/>
                <a:gd name="connsiteY3835" fmla="*/ 466419 h 6078415"/>
                <a:gd name="connsiteX3836" fmla="*/ 2959704 w 11685910"/>
                <a:gd name="connsiteY3836" fmla="*/ 444121 h 6078415"/>
                <a:gd name="connsiteX3837" fmla="*/ 2960634 w 11685910"/>
                <a:gd name="connsiteY3837" fmla="*/ 439313 h 6078415"/>
                <a:gd name="connsiteX3838" fmla="*/ 2962398 w 11685910"/>
                <a:gd name="connsiteY3838" fmla="*/ 441235 h 6078415"/>
                <a:gd name="connsiteX3839" fmla="*/ 3034650 w 11685910"/>
                <a:gd name="connsiteY3839" fmla="*/ 459504 h 6078415"/>
                <a:gd name="connsiteX3840" fmla="*/ 3046595 w 11685910"/>
                <a:gd name="connsiteY3840" fmla="*/ 341594 h 6078415"/>
                <a:gd name="connsiteX3841" fmla="*/ 3037256 w 11685910"/>
                <a:gd name="connsiteY3841" fmla="*/ 352371 h 6078415"/>
                <a:gd name="connsiteX3842" fmla="*/ 3023606 w 11685910"/>
                <a:gd name="connsiteY3842" fmla="*/ 359285 h 6078415"/>
                <a:gd name="connsiteX3843" fmla="*/ 3015070 w 11685910"/>
                <a:gd name="connsiteY3843" fmla="*/ 420492 h 6078415"/>
                <a:gd name="connsiteX3844" fmla="*/ 3013581 w 11685910"/>
                <a:gd name="connsiteY3844" fmla="*/ 421668 h 6078415"/>
                <a:gd name="connsiteX3845" fmla="*/ 3013893 w 11685910"/>
                <a:gd name="connsiteY3845" fmla="*/ 421063 h 6078415"/>
                <a:gd name="connsiteX3846" fmla="*/ 3017139 w 11685910"/>
                <a:gd name="connsiteY3846" fmla="*/ 401851 h 6078415"/>
                <a:gd name="connsiteX3847" fmla="*/ 3004477 w 11685910"/>
                <a:gd name="connsiteY3847" fmla="*/ 404276 h 6078415"/>
                <a:gd name="connsiteX3848" fmla="*/ 3005824 w 11685910"/>
                <a:gd name="connsiteY3848" fmla="*/ 393769 h 6078415"/>
                <a:gd name="connsiteX3849" fmla="*/ 2993971 w 11685910"/>
                <a:gd name="connsiteY3849" fmla="*/ 393679 h 6078415"/>
                <a:gd name="connsiteX3850" fmla="*/ 2997383 w 11685910"/>
                <a:gd name="connsiteY3850" fmla="*/ 385867 h 6078415"/>
                <a:gd name="connsiteX3851" fmla="*/ 2990530 w 11685910"/>
                <a:gd name="connsiteY3851" fmla="*/ 382701 h 6078415"/>
                <a:gd name="connsiteX3852" fmla="*/ 2988630 w 11685910"/>
                <a:gd name="connsiteY3852" fmla="*/ 382714 h 6078415"/>
                <a:gd name="connsiteX3853" fmla="*/ 2990193 w 11685910"/>
                <a:gd name="connsiteY3853" fmla="*/ 382153 h 6078415"/>
                <a:gd name="connsiteX3854" fmla="*/ 2992533 w 11685910"/>
                <a:gd name="connsiteY3854" fmla="*/ 381466 h 6078415"/>
                <a:gd name="connsiteX3855" fmla="*/ 3003849 w 11685910"/>
                <a:gd name="connsiteY3855" fmla="*/ 378862 h 6078415"/>
                <a:gd name="connsiteX3856" fmla="*/ 2992353 w 11685910"/>
                <a:gd name="connsiteY3856" fmla="*/ 364224 h 6078415"/>
                <a:gd name="connsiteX3857" fmla="*/ 2980373 w 11685910"/>
                <a:gd name="connsiteY3857" fmla="*/ 362755 h 6078415"/>
                <a:gd name="connsiteX3858" fmla="*/ 2979267 w 11685910"/>
                <a:gd name="connsiteY3858" fmla="*/ 362696 h 6078415"/>
                <a:gd name="connsiteX3859" fmla="*/ 2979277 w 11685910"/>
                <a:gd name="connsiteY3859" fmla="*/ 362673 h 6078415"/>
                <a:gd name="connsiteX3860" fmla="*/ 2987056 w 11685910"/>
                <a:gd name="connsiteY3860" fmla="*/ 360273 h 6078415"/>
                <a:gd name="connsiteX3861" fmla="*/ 2944399 w 11685910"/>
                <a:gd name="connsiteY3861" fmla="*/ 334141 h 6078415"/>
                <a:gd name="connsiteX3862" fmla="*/ 2893931 w 11685910"/>
                <a:gd name="connsiteY3862" fmla="*/ 357759 h 6078415"/>
                <a:gd name="connsiteX3863" fmla="*/ 2908163 w 11685910"/>
                <a:gd name="connsiteY3863" fmla="*/ 358086 h 6078415"/>
                <a:gd name="connsiteX3864" fmla="*/ 2908741 w 11685910"/>
                <a:gd name="connsiteY3864" fmla="*/ 358169 h 6078415"/>
                <a:gd name="connsiteX3865" fmla="*/ 2906330 w 11685910"/>
                <a:gd name="connsiteY3865" fmla="*/ 358824 h 6078415"/>
                <a:gd name="connsiteX3866" fmla="*/ 2881732 w 11685910"/>
                <a:gd name="connsiteY3866" fmla="*/ 363941 h 6078415"/>
                <a:gd name="connsiteX3867" fmla="*/ 2835256 w 11685910"/>
                <a:gd name="connsiteY3867" fmla="*/ 424226 h 6078415"/>
                <a:gd name="connsiteX3868" fmla="*/ 2849238 w 11685910"/>
                <a:gd name="connsiteY3868" fmla="*/ 446338 h 6078415"/>
                <a:gd name="connsiteX3869" fmla="*/ 2863743 w 11685910"/>
                <a:gd name="connsiteY3869" fmla="*/ 429800 h 6078415"/>
                <a:gd name="connsiteX3870" fmla="*/ 2846772 w 11685910"/>
                <a:gd name="connsiteY3870" fmla="*/ 464906 h 6078415"/>
                <a:gd name="connsiteX3871" fmla="*/ 2862700 w 11685910"/>
                <a:gd name="connsiteY3871" fmla="*/ 474287 h 6078415"/>
                <a:gd name="connsiteX3872" fmla="*/ 2889855 w 11685910"/>
                <a:gd name="connsiteY3872" fmla="*/ 460844 h 6078415"/>
                <a:gd name="connsiteX3873" fmla="*/ 2907263 w 11685910"/>
                <a:gd name="connsiteY3873" fmla="*/ 459103 h 6078415"/>
                <a:gd name="connsiteX3874" fmla="*/ 2913502 w 11685910"/>
                <a:gd name="connsiteY3874" fmla="*/ 390053 h 6078415"/>
                <a:gd name="connsiteX3875" fmla="*/ 2914226 w 11685910"/>
                <a:gd name="connsiteY3875" fmla="*/ 467952 h 6078415"/>
                <a:gd name="connsiteX3876" fmla="*/ 2912119 w 11685910"/>
                <a:gd name="connsiteY3876" fmla="*/ 467607 h 6078415"/>
                <a:gd name="connsiteX3877" fmla="*/ 2909449 w 11685910"/>
                <a:gd name="connsiteY3877" fmla="*/ 466924 h 6078415"/>
                <a:gd name="connsiteX3878" fmla="*/ 2906717 w 11685910"/>
                <a:gd name="connsiteY3878" fmla="*/ 466498 h 6078415"/>
                <a:gd name="connsiteX3879" fmla="*/ 2905950 w 11685910"/>
                <a:gd name="connsiteY3879" fmla="*/ 466320 h 6078415"/>
                <a:gd name="connsiteX3880" fmla="*/ 2899179 w 11685910"/>
                <a:gd name="connsiteY3880" fmla="*/ 466091 h 6078415"/>
                <a:gd name="connsiteX3881" fmla="*/ 2898193 w 11685910"/>
                <a:gd name="connsiteY3881" fmla="*/ 466321 h 6078415"/>
                <a:gd name="connsiteX3882" fmla="*/ 2897597 w 11685910"/>
                <a:gd name="connsiteY3882" fmla="*/ 466372 h 6078415"/>
                <a:gd name="connsiteX3883" fmla="*/ 2858370 w 11685910"/>
                <a:gd name="connsiteY3883" fmla="*/ 482314 h 6078415"/>
                <a:gd name="connsiteX3884" fmla="*/ 2836029 w 11685910"/>
                <a:gd name="connsiteY3884" fmla="*/ 464595 h 6078415"/>
                <a:gd name="connsiteX3885" fmla="*/ 2835572 w 11685910"/>
                <a:gd name="connsiteY3885" fmla="*/ 464001 h 6078415"/>
                <a:gd name="connsiteX3886" fmla="*/ 2837293 w 11685910"/>
                <a:gd name="connsiteY3886" fmla="*/ 461124 h 6078415"/>
                <a:gd name="connsiteX3887" fmla="*/ 2843373 w 11685910"/>
                <a:gd name="connsiteY3887" fmla="*/ 452320 h 6078415"/>
                <a:gd name="connsiteX3888" fmla="*/ 2826310 w 11685910"/>
                <a:gd name="connsiteY3888" fmla="*/ 425289 h 6078415"/>
                <a:gd name="connsiteX3889" fmla="*/ 2856573 w 11685910"/>
                <a:gd name="connsiteY3889" fmla="*/ 379131 h 6078415"/>
                <a:gd name="connsiteX3890" fmla="*/ 2776519 w 11685910"/>
                <a:gd name="connsiteY3890" fmla="*/ 426513 h 6078415"/>
                <a:gd name="connsiteX3891" fmla="*/ 2772894 w 11685910"/>
                <a:gd name="connsiteY3891" fmla="*/ 423250 h 6078415"/>
                <a:gd name="connsiteX3892" fmla="*/ 2773954 w 11685910"/>
                <a:gd name="connsiteY3892" fmla="*/ 422655 h 6078415"/>
                <a:gd name="connsiteX3893" fmla="*/ 2777907 w 11685910"/>
                <a:gd name="connsiteY3893" fmla="*/ 402749 h 6078415"/>
                <a:gd name="connsiteX3894" fmla="*/ 2767424 w 11685910"/>
                <a:gd name="connsiteY3894" fmla="*/ 412841 h 6078415"/>
                <a:gd name="connsiteX3895" fmla="*/ 2768337 w 11685910"/>
                <a:gd name="connsiteY3895" fmla="*/ 405942 h 6078415"/>
                <a:gd name="connsiteX3896" fmla="*/ 2781982 w 11685910"/>
                <a:gd name="connsiteY3896" fmla="*/ 397387 h 6078415"/>
                <a:gd name="connsiteX3897" fmla="*/ 2781982 w 11685910"/>
                <a:gd name="connsiteY3897" fmla="*/ 421213 h 6078415"/>
                <a:gd name="connsiteX3898" fmla="*/ 2858323 w 11685910"/>
                <a:gd name="connsiteY3898" fmla="*/ 372831 h 6078415"/>
                <a:gd name="connsiteX3899" fmla="*/ 2880935 w 11685910"/>
                <a:gd name="connsiteY3899" fmla="*/ 356299 h 6078415"/>
                <a:gd name="connsiteX3900" fmla="*/ 2886970 w 11685910"/>
                <a:gd name="connsiteY3900" fmla="*/ 355666 h 6078415"/>
                <a:gd name="connsiteX3901" fmla="*/ 2887669 w 11685910"/>
                <a:gd name="connsiteY3901" fmla="*/ 354169 h 6078415"/>
                <a:gd name="connsiteX3902" fmla="*/ 2906950 w 11685910"/>
                <a:gd name="connsiteY3902" fmla="*/ 335633 h 6078415"/>
                <a:gd name="connsiteX3903" fmla="*/ 2942620 w 11685910"/>
                <a:gd name="connsiteY3903" fmla="*/ 327579 h 6078415"/>
                <a:gd name="connsiteX3904" fmla="*/ 11439364 w 11685910"/>
                <a:gd name="connsiteY3904" fmla="*/ 91551 h 6078415"/>
                <a:gd name="connsiteX3905" fmla="*/ 11428902 w 11685910"/>
                <a:gd name="connsiteY3905" fmla="*/ 139681 h 6078415"/>
                <a:gd name="connsiteX3906" fmla="*/ 11471625 w 11685910"/>
                <a:gd name="connsiteY3906" fmla="*/ 139681 h 6078415"/>
                <a:gd name="connsiteX3907" fmla="*/ 11481913 w 11685910"/>
                <a:gd name="connsiteY3907" fmla="*/ 91551 h 6078415"/>
                <a:gd name="connsiteX3908" fmla="*/ 5375028 w 11685910"/>
                <a:gd name="connsiteY3908" fmla="*/ 91551 h 6078415"/>
                <a:gd name="connsiteX3909" fmla="*/ 5364565 w 11685910"/>
                <a:gd name="connsiteY3909" fmla="*/ 139681 h 6078415"/>
                <a:gd name="connsiteX3910" fmla="*/ 5407288 w 11685910"/>
                <a:gd name="connsiteY3910" fmla="*/ 139681 h 6078415"/>
                <a:gd name="connsiteX3911" fmla="*/ 5417576 w 11685910"/>
                <a:gd name="connsiteY3911" fmla="*/ 91551 h 6078415"/>
                <a:gd name="connsiteX3912" fmla="*/ 11226456 w 11685910"/>
                <a:gd name="connsiteY3912" fmla="*/ 5634 h 6078415"/>
                <a:gd name="connsiteX3913" fmla="*/ 11281142 w 11685910"/>
                <a:gd name="connsiteY3913" fmla="*/ 44655 h 6078415"/>
                <a:gd name="connsiteX3914" fmla="*/ 11281142 w 11685910"/>
                <a:gd name="connsiteY3914" fmla="*/ 81016 h 6078415"/>
                <a:gd name="connsiteX3915" fmla="*/ 11305086 w 11685910"/>
                <a:gd name="connsiteY3915" fmla="*/ 107876 h 6078415"/>
                <a:gd name="connsiteX3916" fmla="*/ 11305086 w 11685910"/>
                <a:gd name="connsiteY3916" fmla="*/ 126372 h 6078415"/>
                <a:gd name="connsiteX3917" fmla="*/ 11281142 w 11685910"/>
                <a:gd name="connsiteY3917" fmla="*/ 152725 h 6078415"/>
                <a:gd name="connsiteX3918" fmla="*/ 11281142 w 11685910"/>
                <a:gd name="connsiteY3918" fmla="*/ 190100 h 6078415"/>
                <a:gd name="connsiteX3919" fmla="*/ 11226456 w 11685910"/>
                <a:gd name="connsiteY3919" fmla="*/ 228614 h 6078415"/>
                <a:gd name="connsiteX3920" fmla="*/ 11226456 w 11685910"/>
                <a:gd name="connsiteY3920" fmla="*/ 209103 h 6078415"/>
                <a:gd name="connsiteX3921" fmla="*/ 11245534 w 11685910"/>
                <a:gd name="connsiteY3921" fmla="*/ 203022 h 6078415"/>
                <a:gd name="connsiteX3922" fmla="*/ 11251173 w 11685910"/>
                <a:gd name="connsiteY3922" fmla="*/ 183765 h 6078415"/>
                <a:gd name="connsiteX3923" fmla="*/ 11251173 w 11685910"/>
                <a:gd name="connsiteY3923" fmla="*/ 148417 h 6078415"/>
                <a:gd name="connsiteX3924" fmla="*/ 11281605 w 11685910"/>
                <a:gd name="connsiteY3924" fmla="*/ 117125 h 6078415"/>
                <a:gd name="connsiteX3925" fmla="*/ 11281605 w 11685910"/>
                <a:gd name="connsiteY3925" fmla="*/ 116744 h 6078415"/>
                <a:gd name="connsiteX3926" fmla="*/ 11251173 w 11685910"/>
                <a:gd name="connsiteY3926" fmla="*/ 85197 h 6078415"/>
                <a:gd name="connsiteX3927" fmla="*/ 11251173 w 11685910"/>
                <a:gd name="connsiteY3927" fmla="*/ 49470 h 6078415"/>
                <a:gd name="connsiteX3928" fmla="*/ 11226456 w 11685910"/>
                <a:gd name="connsiteY3928" fmla="*/ 25273 h 6078415"/>
                <a:gd name="connsiteX3929" fmla="*/ 11205137 w 11685910"/>
                <a:gd name="connsiteY3929" fmla="*/ 5634 h 6078415"/>
                <a:gd name="connsiteX3930" fmla="*/ 11205137 w 11685910"/>
                <a:gd name="connsiteY3930" fmla="*/ 25273 h 6078415"/>
                <a:gd name="connsiteX3931" fmla="*/ 11180575 w 11685910"/>
                <a:gd name="connsiteY3931" fmla="*/ 49470 h 6078415"/>
                <a:gd name="connsiteX3932" fmla="*/ 11180575 w 11685910"/>
                <a:gd name="connsiteY3932" fmla="*/ 85197 h 6078415"/>
                <a:gd name="connsiteX3933" fmla="*/ 11149834 w 11685910"/>
                <a:gd name="connsiteY3933" fmla="*/ 116744 h 6078415"/>
                <a:gd name="connsiteX3934" fmla="*/ 11149834 w 11685910"/>
                <a:gd name="connsiteY3934" fmla="*/ 117125 h 6078415"/>
                <a:gd name="connsiteX3935" fmla="*/ 11180575 w 11685910"/>
                <a:gd name="connsiteY3935" fmla="*/ 148417 h 6078415"/>
                <a:gd name="connsiteX3936" fmla="*/ 11180575 w 11685910"/>
                <a:gd name="connsiteY3936" fmla="*/ 183765 h 6078415"/>
                <a:gd name="connsiteX3937" fmla="*/ 11186059 w 11685910"/>
                <a:gd name="connsiteY3937" fmla="*/ 203086 h 6078415"/>
                <a:gd name="connsiteX3938" fmla="*/ 11205137 w 11685910"/>
                <a:gd name="connsiteY3938" fmla="*/ 209103 h 6078415"/>
                <a:gd name="connsiteX3939" fmla="*/ 11205137 w 11685910"/>
                <a:gd name="connsiteY3939" fmla="*/ 228614 h 6078415"/>
                <a:gd name="connsiteX3940" fmla="*/ 11150143 w 11685910"/>
                <a:gd name="connsiteY3940" fmla="*/ 190100 h 6078415"/>
                <a:gd name="connsiteX3941" fmla="*/ 11150143 w 11685910"/>
                <a:gd name="connsiteY3941" fmla="*/ 152725 h 6078415"/>
                <a:gd name="connsiteX3942" fmla="*/ 11126044 w 11685910"/>
                <a:gd name="connsiteY3942" fmla="*/ 126372 h 6078415"/>
                <a:gd name="connsiteX3943" fmla="*/ 11126044 w 11685910"/>
                <a:gd name="connsiteY3943" fmla="*/ 107876 h 6078415"/>
                <a:gd name="connsiteX3944" fmla="*/ 11150143 w 11685910"/>
                <a:gd name="connsiteY3944" fmla="*/ 81016 h 6078415"/>
                <a:gd name="connsiteX3945" fmla="*/ 11150143 w 11685910"/>
                <a:gd name="connsiteY3945" fmla="*/ 44655 h 6078415"/>
                <a:gd name="connsiteX3946" fmla="*/ 11205137 w 11685910"/>
                <a:gd name="connsiteY3946" fmla="*/ 5634 h 6078415"/>
                <a:gd name="connsiteX3947" fmla="*/ 8175706 w 11685910"/>
                <a:gd name="connsiteY3947" fmla="*/ 5634 h 6078415"/>
                <a:gd name="connsiteX3948" fmla="*/ 8230392 w 11685910"/>
                <a:gd name="connsiteY3948" fmla="*/ 44655 h 6078415"/>
                <a:gd name="connsiteX3949" fmla="*/ 8230392 w 11685910"/>
                <a:gd name="connsiteY3949" fmla="*/ 81016 h 6078415"/>
                <a:gd name="connsiteX3950" fmla="*/ 8254336 w 11685910"/>
                <a:gd name="connsiteY3950" fmla="*/ 107876 h 6078415"/>
                <a:gd name="connsiteX3951" fmla="*/ 8254336 w 11685910"/>
                <a:gd name="connsiteY3951" fmla="*/ 126372 h 6078415"/>
                <a:gd name="connsiteX3952" fmla="*/ 8230392 w 11685910"/>
                <a:gd name="connsiteY3952" fmla="*/ 152725 h 6078415"/>
                <a:gd name="connsiteX3953" fmla="*/ 8230392 w 11685910"/>
                <a:gd name="connsiteY3953" fmla="*/ 190100 h 6078415"/>
                <a:gd name="connsiteX3954" fmla="*/ 8175706 w 11685910"/>
                <a:gd name="connsiteY3954" fmla="*/ 228614 h 6078415"/>
                <a:gd name="connsiteX3955" fmla="*/ 8175706 w 11685910"/>
                <a:gd name="connsiteY3955" fmla="*/ 209103 h 6078415"/>
                <a:gd name="connsiteX3956" fmla="*/ 8194784 w 11685910"/>
                <a:gd name="connsiteY3956" fmla="*/ 203022 h 6078415"/>
                <a:gd name="connsiteX3957" fmla="*/ 8200423 w 11685910"/>
                <a:gd name="connsiteY3957" fmla="*/ 183765 h 6078415"/>
                <a:gd name="connsiteX3958" fmla="*/ 8200423 w 11685910"/>
                <a:gd name="connsiteY3958" fmla="*/ 148417 h 6078415"/>
                <a:gd name="connsiteX3959" fmla="*/ 8230855 w 11685910"/>
                <a:gd name="connsiteY3959" fmla="*/ 117125 h 6078415"/>
                <a:gd name="connsiteX3960" fmla="*/ 8230855 w 11685910"/>
                <a:gd name="connsiteY3960" fmla="*/ 116744 h 6078415"/>
                <a:gd name="connsiteX3961" fmla="*/ 8200423 w 11685910"/>
                <a:gd name="connsiteY3961" fmla="*/ 85197 h 6078415"/>
                <a:gd name="connsiteX3962" fmla="*/ 8200423 w 11685910"/>
                <a:gd name="connsiteY3962" fmla="*/ 49470 h 6078415"/>
                <a:gd name="connsiteX3963" fmla="*/ 8175706 w 11685910"/>
                <a:gd name="connsiteY3963" fmla="*/ 25273 h 6078415"/>
                <a:gd name="connsiteX3964" fmla="*/ 8154387 w 11685910"/>
                <a:gd name="connsiteY3964" fmla="*/ 5634 h 6078415"/>
                <a:gd name="connsiteX3965" fmla="*/ 8154387 w 11685910"/>
                <a:gd name="connsiteY3965" fmla="*/ 25273 h 6078415"/>
                <a:gd name="connsiteX3966" fmla="*/ 8129826 w 11685910"/>
                <a:gd name="connsiteY3966" fmla="*/ 49470 h 6078415"/>
                <a:gd name="connsiteX3967" fmla="*/ 8129826 w 11685910"/>
                <a:gd name="connsiteY3967" fmla="*/ 85197 h 6078415"/>
                <a:gd name="connsiteX3968" fmla="*/ 8099084 w 11685910"/>
                <a:gd name="connsiteY3968" fmla="*/ 116744 h 6078415"/>
                <a:gd name="connsiteX3969" fmla="*/ 8099084 w 11685910"/>
                <a:gd name="connsiteY3969" fmla="*/ 117125 h 6078415"/>
                <a:gd name="connsiteX3970" fmla="*/ 8129826 w 11685910"/>
                <a:gd name="connsiteY3970" fmla="*/ 148417 h 6078415"/>
                <a:gd name="connsiteX3971" fmla="*/ 8129826 w 11685910"/>
                <a:gd name="connsiteY3971" fmla="*/ 183765 h 6078415"/>
                <a:gd name="connsiteX3972" fmla="*/ 8135309 w 11685910"/>
                <a:gd name="connsiteY3972" fmla="*/ 203086 h 6078415"/>
                <a:gd name="connsiteX3973" fmla="*/ 8154387 w 11685910"/>
                <a:gd name="connsiteY3973" fmla="*/ 209103 h 6078415"/>
                <a:gd name="connsiteX3974" fmla="*/ 8154387 w 11685910"/>
                <a:gd name="connsiteY3974" fmla="*/ 228614 h 6078415"/>
                <a:gd name="connsiteX3975" fmla="*/ 8099393 w 11685910"/>
                <a:gd name="connsiteY3975" fmla="*/ 190100 h 6078415"/>
                <a:gd name="connsiteX3976" fmla="*/ 8099393 w 11685910"/>
                <a:gd name="connsiteY3976" fmla="*/ 152725 h 6078415"/>
                <a:gd name="connsiteX3977" fmla="*/ 8075294 w 11685910"/>
                <a:gd name="connsiteY3977" fmla="*/ 126372 h 6078415"/>
                <a:gd name="connsiteX3978" fmla="*/ 8075294 w 11685910"/>
                <a:gd name="connsiteY3978" fmla="*/ 107876 h 6078415"/>
                <a:gd name="connsiteX3979" fmla="*/ 8099393 w 11685910"/>
                <a:gd name="connsiteY3979" fmla="*/ 81016 h 6078415"/>
                <a:gd name="connsiteX3980" fmla="*/ 8099393 w 11685910"/>
                <a:gd name="connsiteY3980" fmla="*/ 44655 h 6078415"/>
                <a:gd name="connsiteX3981" fmla="*/ 8154387 w 11685910"/>
                <a:gd name="connsiteY3981" fmla="*/ 5634 h 6078415"/>
                <a:gd name="connsiteX3982" fmla="*/ 5165797 w 11685910"/>
                <a:gd name="connsiteY3982" fmla="*/ 5634 h 6078415"/>
                <a:gd name="connsiteX3983" fmla="*/ 5220483 w 11685910"/>
                <a:gd name="connsiteY3983" fmla="*/ 44655 h 6078415"/>
                <a:gd name="connsiteX3984" fmla="*/ 5220483 w 11685910"/>
                <a:gd name="connsiteY3984" fmla="*/ 81016 h 6078415"/>
                <a:gd name="connsiteX3985" fmla="*/ 5244426 w 11685910"/>
                <a:gd name="connsiteY3985" fmla="*/ 107876 h 6078415"/>
                <a:gd name="connsiteX3986" fmla="*/ 5244426 w 11685910"/>
                <a:gd name="connsiteY3986" fmla="*/ 126372 h 6078415"/>
                <a:gd name="connsiteX3987" fmla="*/ 5220483 w 11685910"/>
                <a:gd name="connsiteY3987" fmla="*/ 152725 h 6078415"/>
                <a:gd name="connsiteX3988" fmla="*/ 5220483 w 11685910"/>
                <a:gd name="connsiteY3988" fmla="*/ 190100 h 6078415"/>
                <a:gd name="connsiteX3989" fmla="*/ 5165797 w 11685910"/>
                <a:gd name="connsiteY3989" fmla="*/ 228614 h 6078415"/>
                <a:gd name="connsiteX3990" fmla="*/ 5165797 w 11685910"/>
                <a:gd name="connsiteY3990" fmla="*/ 209103 h 6078415"/>
                <a:gd name="connsiteX3991" fmla="*/ 5184875 w 11685910"/>
                <a:gd name="connsiteY3991" fmla="*/ 203022 h 6078415"/>
                <a:gd name="connsiteX3992" fmla="*/ 5190513 w 11685910"/>
                <a:gd name="connsiteY3992" fmla="*/ 183765 h 6078415"/>
                <a:gd name="connsiteX3993" fmla="*/ 5190513 w 11685910"/>
                <a:gd name="connsiteY3993" fmla="*/ 148417 h 6078415"/>
                <a:gd name="connsiteX3994" fmla="*/ 5220946 w 11685910"/>
                <a:gd name="connsiteY3994" fmla="*/ 117125 h 6078415"/>
                <a:gd name="connsiteX3995" fmla="*/ 5220946 w 11685910"/>
                <a:gd name="connsiteY3995" fmla="*/ 116744 h 6078415"/>
                <a:gd name="connsiteX3996" fmla="*/ 5190513 w 11685910"/>
                <a:gd name="connsiteY3996" fmla="*/ 85197 h 6078415"/>
                <a:gd name="connsiteX3997" fmla="*/ 5190513 w 11685910"/>
                <a:gd name="connsiteY3997" fmla="*/ 49470 h 6078415"/>
                <a:gd name="connsiteX3998" fmla="*/ 5165797 w 11685910"/>
                <a:gd name="connsiteY3998" fmla="*/ 25273 h 6078415"/>
                <a:gd name="connsiteX3999" fmla="*/ 5144478 w 11685910"/>
                <a:gd name="connsiteY3999" fmla="*/ 5634 h 6078415"/>
                <a:gd name="connsiteX4000" fmla="*/ 5144478 w 11685910"/>
                <a:gd name="connsiteY4000" fmla="*/ 25273 h 6078415"/>
                <a:gd name="connsiteX4001" fmla="*/ 5119917 w 11685910"/>
                <a:gd name="connsiteY4001" fmla="*/ 49470 h 6078415"/>
                <a:gd name="connsiteX4002" fmla="*/ 5119917 w 11685910"/>
                <a:gd name="connsiteY4002" fmla="*/ 85197 h 6078415"/>
                <a:gd name="connsiteX4003" fmla="*/ 5089175 w 11685910"/>
                <a:gd name="connsiteY4003" fmla="*/ 116744 h 6078415"/>
                <a:gd name="connsiteX4004" fmla="*/ 5089175 w 11685910"/>
                <a:gd name="connsiteY4004" fmla="*/ 117125 h 6078415"/>
                <a:gd name="connsiteX4005" fmla="*/ 5119917 w 11685910"/>
                <a:gd name="connsiteY4005" fmla="*/ 148417 h 6078415"/>
                <a:gd name="connsiteX4006" fmla="*/ 5119917 w 11685910"/>
                <a:gd name="connsiteY4006" fmla="*/ 183765 h 6078415"/>
                <a:gd name="connsiteX4007" fmla="*/ 5125400 w 11685910"/>
                <a:gd name="connsiteY4007" fmla="*/ 203086 h 6078415"/>
                <a:gd name="connsiteX4008" fmla="*/ 5144478 w 11685910"/>
                <a:gd name="connsiteY4008" fmla="*/ 209103 h 6078415"/>
                <a:gd name="connsiteX4009" fmla="*/ 5144478 w 11685910"/>
                <a:gd name="connsiteY4009" fmla="*/ 228614 h 6078415"/>
                <a:gd name="connsiteX4010" fmla="*/ 5089484 w 11685910"/>
                <a:gd name="connsiteY4010" fmla="*/ 190100 h 6078415"/>
                <a:gd name="connsiteX4011" fmla="*/ 5089484 w 11685910"/>
                <a:gd name="connsiteY4011" fmla="*/ 152725 h 6078415"/>
                <a:gd name="connsiteX4012" fmla="*/ 5065386 w 11685910"/>
                <a:gd name="connsiteY4012" fmla="*/ 126372 h 6078415"/>
                <a:gd name="connsiteX4013" fmla="*/ 5065386 w 11685910"/>
                <a:gd name="connsiteY4013" fmla="*/ 107876 h 6078415"/>
                <a:gd name="connsiteX4014" fmla="*/ 5089484 w 11685910"/>
                <a:gd name="connsiteY4014" fmla="*/ 81016 h 6078415"/>
                <a:gd name="connsiteX4015" fmla="*/ 5089484 w 11685910"/>
                <a:gd name="connsiteY4015" fmla="*/ 44655 h 6078415"/>
                <a:gd name="connsiteX4016" fmla="*/ 5144478 w 11685910"/>
                <a:gd name="connsiteY4016" fmla="*/ 5634 h 6078415"/>
                <a:gd name="connsiteX4017" fmla="*/ 2112183 w 11685910"/>
                <a:gd name="connsiteY4017" fmla="*/ 5634 h 6078415"/>
                <a:gd name="connsiteX4018" fmla="*/ 2166869 w 11685910"/>
                <a:gd name="connsiteY4018" fmla="*/ 44655 h 6078415"/>
                <a:gd name="connsiteX4019" fmla="*/ 2166869 w 11685910"/>
                <a:gd name="connsiteY4019" fmla="*/ 81016 h 6078415"/>
                <a:gd name="connsiteX4020" fmla="*/ 2190814 w 11685910"/>
                <a:gd name="connsiteY4020" fmla="*/ 107876 h 6078415"/>
                <a:gd name="connsiteX4021" fmla="*/ 2190814 w 11685910"/>
                <a:gd name="connsiteY4021" fmla="*/ 126372 h 6078415"/>
                <a:gd name="connsiteX4022" fmla="*/ 2166869 w 11685910"/>
                <a:gd name="connsiteY4022" fmla="*/ 152725 h 6078415"/>
                <a:gd name="connsiteX4023" fmla="*/ 2166869 w 11685910"/>
                <a:gd name="connsiteY4023" fmla="*/ 190100 h 6078415"/>
                <a:gd name="connsiteX4024" fmla="*/ 2112183 w 11685910"/>
                <a:gd name="connsiteY4024" fmla="*/ 228614 h 6078415"/>
                <a:gd name="connsiteX4025" fmla="*/ 2112183 w 11685910"/>
                <a:gd name="connsiteY4025" fmla="*/ 209103 h 6078415"/>
                <a:gd name="connsiteX4026" fmla="*/ 2131261 w 11685910"/>
                <a:gd name="connsiteY4026" fmla="*/ 203022 h 6078415"/>
                <a:gd name="connsiteX4027" fmla="*/ 2136900 w 11685910"/>
                <a:gd name="connsiteY4027" fmla="*/ 183765 h 6078415"/>
                <a:gd name="connsiteX4028" fmla="*/ 2136900 w 11685910"/>
                <a:gd name="connsiteY4028" fmla="*/ 148417 h 6078415"/>
                <a:gd name="connsiteX4029" fmla="*/ 2167332 w 11685910"/>
                <a:gd name="connsiteY4029" fmla="*/ 117125 h 6078415"/>
                <a:gd name="connsiteX4030" fmla="*/ 2167332 w 11685910"/>
                <a:gd name="connsiteY4030" fmla="*/ 116744 h 6078415"/>
                <a:gd name="connsiteX4031" fmla="*/ 2136900 w 11685910"/>
                <a:gd name="connsiteY4031" fmla="*/ 85197 h 6078415"/>
                <a:gd name="connsiteX4032" fmla="*/ 2136900 w 11685910"/>
                <a:gd name="connsiteY4032" fmla="*/ 49470 h 6078415"/>
                <a:gd name="connsiteX4033" fmla="*/ 2112183 w 11685910"/>
                <a:gd name="connsiteY4033" fmla="*/ 25273 h 6078415"/>
                <a:gd name="connsiteX4034" fmla="*/ 2090864 w 11685910"/>
                <a:gd name="connsiteY4034" fmla="*/ 5634 h 6078415"/>
                <a:gd name="connsiteX4035" fmla="*/ 2090864 w 11685910"/>
                <a:gd name="connsiteY4035" fmla="*/ 25273 h 6078415"/>
                <a:gd name="connsiteX4036" fmla="*/ 2066302 w 11685910"/>
                <a:gd name="connsiteY4036" fmla="*/ 49470 h 6078415"/>
                <a:gd name="connsiteX4037" fmla="*/ 2066302 w 11685910"/>
                <a:gd name="connsiteY4037" fmla="*/ 85197 h 6078415"/>
                <a:gd name="connsiteX4038" fmla="*/ 2035561 w 11685910"/>
                <a:gd name="connsiteY4038" fmla="*/ 116744 h 6078415"/>
                <a:gd name="connsiteX4039" fmla="*/ 2035561 w 11685910"/>
                <a:gd name="connsiteY4039" fmla="*/ 117125 h 6078415"/>
                <a:gd name="connsiteX4040" fmla="*/ 2066302 w 11685910"/>
                <a:gd name="connsiteY4040" fmla="*/ 148417 h 6078415"/>
                <a:gd name="connsiteX4041" fmla="*/ 2066302 w 11685910"/>
                <a:gd name="connsiteY4041" fmla="*/ 183765 h 6078415"/>
                <a:gd name="connsiteX4042" fmla="*/ 2071786 w 11685910"/>
                <a:gd name="connsiteY4042" fmla="*/ 203086 h 6078415"/>
                <a:gd name="connsiteX4043" fmla="*/ 2090864 w 11685910"/>
                <a:gd name="connsiteY4043" fmla="*/ 209103 h 6078415"/>
                <a:gd name="connsiteX4044" fmla="*/ 2090864 w 11685910"/>
                <a:gd name="connsiteY4044" fmla="*/ 228614 h 6078415"/>
                <a:gd name="connsiteX4045" fmla="*/ 2035870 w 11685910"/>
                <a:gd name="connsiteY4045" fmla="*/ 190100 h 6078415"/>
                <a:gd name="connsiteX4046" fmla="*/ 2035870 w 11685910"/>
                <a:gd name="connsiteY4046" fmla="*/ 152725 h 6078415"/>
                <a:gd name="connsiteX4047" fmla="*/ 2011770 w 11685910"/>
                <a:gd name="connsiteY4047" fmla="*/ 126372 h 6078415"/>
                <a:gd name="connsiteX4048" fmla="*/ 2011770 w 11685910"/>
                <a:gd name="connsiteY4048" fmla="*/ 107876 h 6078415"/>
                <a:gd name="connsiteX4049" fmla="*/ 2035870 w 11685910"/>
                <a:gd name="connsiteY4049" fmla="*/ 81016 h 6078415"/>
                <a:gd name="connsiteX4050" fmla="*/ 2035870 w 11685910"/>
                <a:gd name="connsiteY4050" fmla="*/ 44655 h 6078415"/>
                <a:gd name="connsiteX4051" fmla="*/ 2090864 w 11685910"/>
                <a:gd name="connsiteY4051" fmla="*/ 5634 h 6078415"/>
                <a:gd name="connsiteX4052" fmla="*/ 11430297 w 11685910"/>
                <a:gd name="connsiteY4052" fmla="*/ 0 h 6078415"/>
                <a:gd name="connsiteX4053" fmla="*/ 11458372 w 11685910"/>
                <a:gd name="connsiteY4053" fmla="*/ 0 h 6078415"/>
                <a:gd name="connsiteX4054" fmla="*/ 11444596 w 11685910"/>
                <a:gd name="connsiteY4054" fmla="*/ 67137 h 6078415"/>
                <a:gd name="connsiteX4055" fmla="*/ 11486796 w 11685910"/>
                <a:gd name="connsiteY4055" fmla="*/ 67137 h 6078415"/>
                <a:gd name="connsiteX4056" fmla="*/ 11501095 w 11685910"/>
                <a:gd name="connsiteY4056" fmla="*/ 0 h 6078415"/>
                <a:gd name="connsiteX4057" fmla="*/ 11528648 w 11685910"/>
                <a:gd name="connsiteY4057" fmla="*/ 0 h 6078415"/>
                <a:gd name="connsiteX4058" fmla="*/ 11514697 w 11685910"/>
                <a:gd name="connsiteY4058" fmla="*/ 67137 h 6078415"/>
                <a:gd name="connsiteX4059" fmla="*/ 11554456 w 11685910"/>
                <a:gd name="connsiteY4059" fmla="*/ 67137 h 6078415"/>
                <a:gd name="connsiteX4060" fmla="*/ 11549050 w 11685910"/>
                <a:gd name="connsiteY4060" fmla="*/ 91551 h 6078415"/>
                <a:gd name="connsiteX4061" fmla="*/ 11509466 w 11685910"/>
                <a:gd name="connsiteY4061" fmla="*/ 91551 h 6078415"/>
                <a:gd name="connsiteX4062" fmla="*/ 11499352 w 11685910"/>
                <a:gd name="connsiteY4062" fmla="*/ 139681 h 6078415"/>
                <a:gd name="connsiteX4063" fmla="*/ 11542598 w 11685910"/>
                <a:gd name="connsiteY4063" fmla="*/ 139681 h 6078415"/>
                <a:gd name="connsiteX4064" fmla="*/ 11536494 w 11685910"/>
                <a:gd name="connsiteY4064" fmla="*/ 164093 h 6078415"/>
                <a:gd name="connsiteX4065" fmla="*/ 11494295 w 11685910"/>
                <a:gd name="connsiteY4065" fmla="*/ 164093 h 6078415"/>
                <a:gd name="connsiteX4066" fmla="*/ 11479995 w 11685910"/>
                <a:gd name="connsiteY4066" fmla="*/ 228614 h 6078415"/>
                <a:gd name="connsiteX4067" fmla="*/ 11452268 w 11685910"/>
                <a:gd name="connsiteY4067" fmla="*/ 228614 h 6078415"/>
                <a:gd name="connsiteX4068" fmla="*/ 11466219 w 11685910"/>
                <a:gd name="connsiteY4068" fmla="*/ 164093 h 6078415"/>
                <a:gd name="connsiteX4069" fmla="*/ 11424019 w 11685910"/>
                <a:gd name="connsiteY4069" fmla="*/ 164093 h 6078415"/>
                <a:gd name="connsiteX4070" fmla="*/ 11410417 w 11685910"/>
                <a:gd name="connsiteY4070" fmla="*/ 228614 h 6078415"/>
                <a:gd name="connsiteX4071" fmla="*/ 11382691 w 11685910"/>
                <a:gd name="connsiteY4071" fmla="*/ 228614 h 6078415"/>
                <a:gd name="connsiteX4072" fmla="*/ 11396292 w 11685910"/>
                <a:gd name="connsiteY4072" fmla="*/ 164093 h 6078415"/>
                <a:gd name="connsiteX4073" fmla="*/ 11356359 w 11685910"/>
                <a:gd name="connsiteY4073" fmla="*/ 164093 h 6078415"/>
                <a:gd name="connsiteX4074" fmla="*/ 11361241 w 11685910"/>
                <a:gd name="connsiteY4074" fmla="*/ 139681 h 6078415"/>
                <a:gd name="connsiteX4075" fmla="*/ 11401698 w 11685910"/>
                <a:gd name="connsiteY4075" fmla="*/ 139681 h 6078415"/>
                <a:gd name="connsiteX4076" fmla="*/ 11411289 w 11685910"/>
                <a:gd name="connsiteY4076" fmla="*/ 91551 h 6078415"/>
                <a:gd name="connsiteX4077" fmla="*/ 11368740 w 11685910"/>
                <a:gd name="connsiteY4077" fmla="*/ 91551 h 6078415"/>
                <a:gd name="connsiteX4078" fmla="*/ 11373797 w 11685910"/>
                <a:gd name="connsiteY4078" fmla="*/ 67137 h 6078415"/>
                <a:gd name="connsiteX4079" fmla="*/ 11416346 w 11685910"/>
                <a:gd name="connsiteY4079" fmla="*/ 67137 h 6078415"/>
                <a:gd name="connsiteX4080" fmla="*/ 5365960 w 11685910"/>
                <a:gd name="connsiteY4080" fmla="*/ 0 h 6078415"/>
                <a:gd name="connsiteX4081" fmla="*/ 5394034 w 11685910"/>
                <a:gd name="connsiteY4081" fmla="*/ 0 h 6078415"/>
                <a:gd name="connsiteX4082" fmla="*/ 5380258 w 11685910"/>
                <a:gd name="connsiteY4082" fmla="*/ 67137 h 6078415"/>
                <a:gd name="connsiteX4083" fmla="*/ 5422458 w 11685910"/>
                <a:gd name="connsiteY4083" fmla="*/ 67137 h 6078415"/>
                <a:gd name="connsiteX4084" fmla="*/ 5436757 w 11685910"/>
                <a:gd name="connsiteY4084" fmla="*/ 0 h 6078415"/>
                <a:gd name="connsiteX4085" fmla="*/ 5464310 w 11685910"/>
                <a:gd name="connsiteY4085" fmla="*/ 0 h 6078415"/>
                <a:gd name="connsiteX4086" fmla="*/ 5450359 w 11685910"/>
                <a:gd name="connsiteY4086" fmla="*/ 67137 h 6078415"/>
                <a:gd name="connsiteX4087" fmla="*/ 5490118 w 11685910"/>
                <a:gd name="connsiteY4087" fmla="*/ 67137 h 6078415"/>
                <a:gd name="connsiteX4088" fmla="*/ 5484714 w 11685910"/>
                <a:gd name="connsiteY4088" fmla="*/ 91551 h 6078415"/>
                <a:gd name="connsiteX4089" fmla="*/ 5445128 w 11685910"/>
                <a:gd name="connsiteY4089" fmla="*/ 91551 h 6078415"/>
                <a:gd name="connsiteX4090" fmla="*/ 5435014 w 11685910"/>
                <a:gd name="connsiteY4090" fmla="*/ 139681 h 6078415"/>
                <a:gd name="connsiteX4091" fmla="*/ 5478260 w 11685910"/>
                <a:gd name="connsiteY4091" fmla="*/ 139681 h 6078415"/>
                <a:gd name="connsiteX4092" fmla="*/ 5472158 w 11685910"/>
                <a:gd name="connsiteY4092" fmla="*/ 164093 h 6078415"/>
                <a:gd name="connsiteX4093" fmla="*/ 5429957 w 11685910"/>
                <a:gd name="connsiteY4093" fmla="*/ 164093 h 6078415"/>
                <a:gd name="connsiteX4094" fmla="*/ 5415658 w 11685910"/>
                <a:gd name="connsiteY4094" fmla="*/ 228614 h 6078415"/>
                <a:gd name="connsiteX4095" fmla="*/ 5387930 w 11685910"/>
                <a:gd name="connsiteY4095" fmla="*/ 228614 h 6078415"/>
                <a:gd name="connsiteX4096" fmla="*/ 5401881 w 11685910"/>
                <a:gd name="connsiteY4096" fmla="*/ 164093 h 6078415"/>
                <a:gd name="connsiteX4097" fmla="*/ 5359681 w 11685910"/>
                <a:gd name="connsiteY4097" fmla="*/ 164093 h 6078415"/>
                <a:gd name="connsiteX4098" fmla="*/ 5346079 w 11685910"/>
                <a:gd name="connsiteY4098" fmla="*/ 228614 h 6078415"/>
                <a:gd name="connsiteX4099" fmla="*/ 5318353 w 11685910"/>
                <a:gd name="connsiteY4099" fmla="*/ 228614 h 6078415"/>
                <a:gd name="connsiteX4100" fmla="*/ 5331955 w 11685910"/>
                <a:gd name="connsiteY4100" fmla="*/ 164093 h 6078415"/>
                <a:gd name="connsiteX4101" fmla="*/ 5292021 w 11685910"/>
                <a:gd name="connsiteY4101" fmla="*/ 164093 h 6078415"/>
                <a:gd name="connsiteX4102" fmla="*/ 5296904 w 11685910"/>
                <a:gd name="connsiteY4102" fmla="*/ 139681 h 6078415"/>
                <a:gd name="connsiteX4103" fmla="*/ 5337360 w 11685910"/>
                <a:gd name="connsiteY4103" fmla="*/ 139681 h 6078415"/>
                <a:gd name="connsiteX4104" fmla="*/ 5346952 w 11685910"/>
                <a:gd name="connsiteY4104" fmla="*/ 91551 h 6078415"/>
                <a:gd name="connsiteX4105" fmla="*/ 5304402 w 11685910"/>
                <a:gd name="connsiteY4105" fmla="*/ 91551 h 6078415"/>
                <a:gd name="connsiteX4106" fmla="*/ 5309459 w 11685910"/>
                <a:gd name="connsiteY4106" fmla="*/ 67137 h 6078415"/>
                <a:gd name="connsiteX4107" fmla="*/ 5352009 w 11685910"/>
                <a:gd name="connsiteY4107" fmla="*/ 67137 h 607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Lst>
              <a:rect l="l" t="t" r="r" b="b"/>
              <a:pathLst>
                <a:path w="11685910" h="6078415">
                  <a:moveTo>
                    <a:pt x="8150891" y="5855435"/>
                  </a:moveTo>
                  <a:cubicBezTo>
                    <a:pt x="8180791" y="5855773"/>
                    <a:pt x="8195740" y="5868780"/>
                    <a:pt x="8195740" y="5894457"/>
                  </a:cubicBezTo>
                  <a:lnTo>
                    <a:pt x="8195740" y="5930817"/>
                  </a:lnTo>
                  <a:cubicBezTo>
                    <a:pt x="8195740" y="5947879"/>
                    <a:pt x="8202286" y="5956832"/>
                    <a:pt x="8215378" y="5957677"/>
                  </a:cubicBezTo>
                  <a:lnTo>
                    <a:pt x="8215378" y="5976174"/>
                  </a:lnTo>
                  <a:cubicBezTo>
                    <a:pt x="8202286" y="5977019"/>
                    <a:pt x="8195740" y="5985802"/>
                    <a:pt x="8195740" y="6002526"/>
                  </a:cubicBezTo>
                  <a:lnTo>
                    <a:pt x="8195740" y="6039901"/>
                  </a:lnTo>
                  <a:cubicBezTo>
                    <a:pt x="8195740" y="6065239"/>
                    <a:pt x="8180791" y="6078077"/>
                    <a:pt x="8150891" y="6078415"/>
                  </a:cubicBezTo>
                  <a:lnTo>
                    <a:pt x="8150891" y="6058905"/>
                  </a:lnTo>
                  <a:cubicBezTo>
                    <a:pt x="8158239" y="6058736"/>
                    <a:pt x="8163455" y="6056709"/>
                    <a:pt x="8166538" y="6052823"/>
                  </a:cubicBezTo>
                  <a:cubicBezTo>
                    <a:pt x="8169620" y="6048938"/>
                    <a:pt x="8171162" y="6042519"/>
                    <a:pt x="8171162" y="6033566"/>
                  </a:cubicBezTo>
                  <a:lnTo>
                    <a:pt x="8171162" y="5998219"/>
                  </a:lnTo>
                  <a:cubicBezTo>
                    <a:pt x="8171162" y="5981073"/>
                    <a:pt x="8179482" y="5970642"/>
                    <a:pt x="8196121" y="5966925"/>
                  </a:cubicBezTo>
                  <a:lnTo>
                    <a:pt x="8196121" y="5966545"/>
                  </a:lnTo>
                  <a:cubicBezTo>
                    <a:pt x="8179482" y="5962575"/>
                    <a:pt x="8171162" y="5952060"/>
                    <a:pt x="8171162" y="5934999"/>
                  </a:cubicBezTo>
                  <a:lnTo>
                    <a:pt x="8171162" y="5899271"/>
                  </a:lnTo>
                  <a:cubicBezTo>
                    <a:pt x="8171162" y="5883477"/>
                    <a:pt x="8164405" y="5875410"/>
                    <a:pt x="8150891" y="5875073"/>
                  </a:cubicBezTo>
                  <a:close/>
                  <a:moveTo>
                    <a:pt x="8133407" y="5855435"/>
                  </a:moveTo>
                  <a:lnTo>
                    <a:pt x="8133407" y="5875073"/>
                  </a:lnTo>
                  <a:cubicBezTo>
                    <a:pt x="8119977" y="5875410"/>
                    <a:pt x="8113263" y="5883477"/>
                    <a:pt x="8113263" y="5899271"/>
                  </a:cubicBezTo>
                  <a:lnTo>
                    <a:pt x="8113263" y="5934999"/>
                  </a:lnTo>
                  <a:cubicBezTo>
                    <a:pt x="8113263" y="5952060"/>
                    <a:pt x="8104858" y="5962575"/>
                    <a:pt x="8088050" y="5966545"/>
                  </a:cubicBezTo>
                  <a:lnTo>
                    <a:pt x="8088050" y="5966925"/>
                  </a:lnTo>
                  <a:cubicBezTo>
                    <a:pt x="8104858" y="5970642"/>
                    <a:pt x="8113263" y="5981073"/>
                    <a:pt x="8113263" y="5998219"/>
                  </a:cubicBezTo>
                  <a:lnTo>
                    <a:pt x="8113263" y="6033566"/>
                  </a:lnTo>
                  <a:cubicBezTo>
                    <a:pt x="8113263" y="6042604"/>
                    <a:pt x="8114762" y="6049043"/>
                    <a:pt x="8117760" y="6052886"/>
                  </a:cubicBezTo>
                  <a:cubicBezTo>
                    <a:pt x="8120758" y="6056730"/>
                    <a:pt x="8125974" y="6058736"/>
                    <a:pt x="8133407" y="6058905"/>
                  </a:cubicBezTo>
                  <a:lnTo>
                    <a:pt x="8133407" y="6078415"/>
                  </a:lnTo>
                  <a:cubicBezTo>
                    <a:pt x="8103338" y="6078077"/>
                    <a:pt x="8088304" y="6065239"/>
                    <a:pt x="8088304" y="6039901"/>
                  </a:cubicBezTo>
                  <a:lnTo>
                    <a:pt x="8088304" y="6002526"/>
                  </a:lnTo>
                  <a:cubicBezTo>
                    <a:pt x="8088304" y="5985802"/>
                    <a:pt x="8081716" y="5977019"/>
                    <a:pt x="8068540" y="5976174"/>
                  </a:cubicBezTo>
                  <a:lnTo>
                    <a:pt x="8068540" y="5957677"/>
                  </a:lnTo>
                  <a:cubicBezTo>
                    <a:pt x="8081716" y="5956832"/>
                    <a:pt x="8088304" y="5947879"/>
                    <a:pt x="8088304" y="5930817"/>
                  </a:cubicBezTo>
                  <a:lnTo>
                    <a:pt x="8088304" y="5894457"/>
                  </a:lnTo>
                  <a:cubicBezTo>
                    <a:pt x="8088304" y="5868780"/>
                    <a:pt x="8103338" y="5855773"/>
                    <a:pt x="8133407" y="5855435"/>
                  </a:cubicBezTo>
                  <a:close/>
                  <a:moveTo>
                    <a:pt x="11191247" y="5500304"/>
                  </a:moveTo>
                  <a:cubicBezTo>
                    <a:pt x="11221147" y="5500642"/>
                    <a:pt x="11236096" y="5513649"/>
                    <a:pt x="11236096" y="5539326"/>
                  </a:cubicBezTo>
                  <a:lnTo>
                    <a:pt x="11236096" y="5575686"/>
                  </a:lnTo>
                  <a:cubicBezTo>
                    <a:pt x="11236096" y="5592748"/>
                    <a:pt x="11242642" y="5601701"/>
                    <a:pt x="11255734" y="5602546"/>
                  </a:cubicBezTo>
                  <a:lnTo>
                    <a:pt x="11255734" y="5621043"/>
                  </a:lnTo>
                  <a:cubicBezTo>
                    <a:pt x="11242642" y="5621888"/>
                    <a:pt x="11236096" y="5630671"/>
                    <a:pt x="11236096" y="5647395"/>
                  </a:cubicBezTo>
                  <a:lnTo>
                    <a:pt x="11236096" y="5684770"/>
                  </a:lnTo>
                  <a:cubicBezTo>
                    <a:pt x="11236096" y="5710108"/>
                    <a:pt x="11221147" y="5722946"/>
                    <a:pt x="11191247" y="5723284"/>
                  </a:cubicBezTo>
                  <a:lnTo>
                    <a:pt x="11191247" y="5703774"/>
                  </a:lnTo>
                  <a:cubicBezTo>
                    <a:pt x="11198595" y="5703605"/>
                    <a:pt x="11203811" y="5701578"/>
                    <a:pt x="11206894" y="5697692"/>
                  </a:cubicBezTo>
                  <a:cubicBezTo>
                    <a:pt x="11209976" y="5693807"/>
                    <a:pt x="11211518" y="5687388"/>
                    <a:pt x="11211518" y="5678435"/>
                  </a:cubicBezTo>
                  <a:lnTo>
                    <a:pt x="11211518" y="5643088"/>
                  </a:lnTo>
                  <a:cubicBezTo>
                    <a:pt x="11211518" y="5625942"/>
                    <a:pt x="11219838" y="5615511"/>
                    <a:pt x="11236477" y="5611794"/>
                  </a:cubicBezTo>
                  <a:lnTo>
                    <a:pt x="11236477" y="5611414"/>
                  </a:lnTo>
                  <a:cubicBezTo>
                    <a:pt x="11219838" y="5607444"/>
                    <a:pt x="11211518" y="5596929"/>
                    <a:pt x="11211518" y="5579868"/>
                  </a:cubicBezTo>
                  <a:lnTo>
                    <a:pt x="11211518" y="5544140"/>
                  </a:lnTo>
                  <a:cubicBezTo>
                    <a:pt x="11211518" y="5528346"/>
                    <a:pt x="11204761" y="5520279"/>
                    <a:pt x="11191247" y="5519942"/>
                  </a:cubicBezTo>
                  <a:close/>
                  <a:moveTo>
                    <a:pt x="11173763" y="5500304"/>
                  </a:moveTo>
                  <a:lnTo>
                    <a:pt x="11173763" y="5519942"/>
                  </a:lnTo>
                  <a:cubicBezTo>
                    <a:pt x="11160334" y="5520279"/>
                    <a:pt x="11153619" y="5528346"/>
                    <a:pt x="11153619" y="5544140"/>
                  </a:cubicBezTo>
                  <a:lnTo>
                    <a:pt x="11153619" y="5579868"/>
                  </a:lnTo>
                  <a:cubicBezTo>
                    <a:pt x="11153619" y="5596929"/>
                    <a:pt x="11145215" y="5607444"/>
                    <a:pt x="11128407" y="5611414"/>
                  </a:cubicBezTo>
                  <a:lnTo>
                    <a:pt x="11128407" y="5611794"/>
                  </a:lnTo>
                  <a:cubicBezTo>
                    <a:pt x="11145215" y="5615511"/>
                    <a:pt x="11153619" y="5625942"/>
                    <a:pt x="11153619" y="5643088"/>
                  </a:cubicBezTo>
                  <a:lnTo>
                    <a:pt x="11153619" y="5678435"/>
                  </a:lnTo>
                  <a:cubicBezTo>
                    <a:pt x="11153619" y="5687473"/>
                    <a:pt x="11155118" y="5693912"/>
                    <a:pt x="11158117" y="5697755"/>
                  </a:cubicBezTo>
                  <a:cubicBezTo>
                    <a:pt x="11161115" y="5701599"/>
                    <a:pt x="11166330" y="5703605"/>
                    <a:pt x="11173763" y="5703774"/>
                  </a:cubicBezTo>
                  <a:lnTo>
                    <a:pt x="11173763" y="5723284"/>
                  </a:lnTo>
                  <a:cubicBezTo>
                    <a:pt x="11143694" y="5722946"/>
                    <a:pt x="11128660" y="5710108"/>
                    <a:pt x="11128660" y="5684770"/>
                  </a:cubicBezTo>
                  <a:lnTo>
                    <a:pt x="11128660" y="5647395"/>
                  </a:lnTo>
                  <a:cubicBezTo>
                    <a:pt x="11128660" y="5630671"/>
                    <a:pt x="11122072" y="5621888"/>
                    <a:pt x="11108896" y="5621043"/>
                  </a:cubicBezTo>
                  <a:lnTo>
                    <a:pt x="11108896" y="5602546"/>
                  </a:lnTo>
                  <a:cubicBezTo>
                    <a:pt x="11122072" y="5601701"/>
                    <a:pt x="11128660" y="5592748"/>
                    <a:pt x="11128660" y="5575686"/>
                  </a:cubicBezTo>
                  <a:lnTo>
                    <a:pt x="11128660" y="5539326"/>
                  </a:lnTo>
                  <a:cubicBezTo>
                    <a:pt x="11128660" y="5513649"/>
                    <a:pt x="11143694" y="5500642"/>
                    <a:pt x="11173763" y="5500304"/>
                  </a:cubicBezTo>
                  <a:close/>
                  <a:moveTo>
                    <a:pt x="8150891" y="5500304"/>
                  </a:moveTo>
                  <a:cubicBezTo>
                    <a:pt x="8180791" y="5500642"/>
                    <a:pt x="8195740" y="5513649"/>
                    <a:pt x="8195740" y="5539326"/>
                  </a:cubicBezTo>
                  <a:lnTo>
                    <a:pt x="8195740" y="5575686"/>
                  </a:lnTo>
                  <a:cubicBezTo>
                    <a:pt x="8195740" y="5592748"/>
                    <a:pt x="8202286" y="5601701"/>
                    <a:pt x="8215378" y="5602546"/>
                  </a:cubicBezTo>
                  <a:lnTo>
                    <a:pt x="8215378" y="5621043"/>
                  </a:lnTo>
                  <a:cubicBezTo>
                    <a:pt x="8202286" y="5621888"/>
                    <a:pt x="8195740" y="5630671"/>
                    <a:pt x="8195740" y="5647395"/>
                  </a:cubicBezTo>
                  <a:lnTo>
                    <a:pt x="8195740" y="5684770"/>
                  </a:lnTo>
                  <a:cubicBezTo>
                    <a:pt x="8195740" y="5710108"/>
                    <a:pt x="8180791" y="5722946"/>
                    <a:pt x="8150891" y="5723284"/>
                  </a:cubicBezTo>
                  <a:lnTo>
                    <a:pt x="8150891" y="5703774"/>
                  </a:lnTo>
                  <a:cubicBezTo>
                    <a:pt x="8158239" y="5703605"/>
                    <a:pt x="8163455" y="5701578"/>
                    <a:pt x="8166538" y="5697692"/>
                  </a:cubicBezTo>
                  <a:cubicBezTo>
                    <a:pt x="8169620" y="5693807"/>
                    <a:pt x="8171162" y="5687388"/>
                    <a:pt x="8171162" y="5678435"/>
                  </a:cubicBezTo>
                  <a:lnTo>
                    <a:pt x="8171162" y="5643088"/>
                  </a:lnTo>
                  <a:cubicBezTo>
                    <a:pt x="8171162" y="5625942"/>
                    <a:pt x="8179482" y="5615511"/>
                    <a:pt x="8196121" y="5611794"/>
                  </a:cubicBezTo>
                  <a:lnTo>
                    <a:pt x="8196121" y="5611414"/>
                  </a:lnTo>
                  <a:cubicBezTo>
                    <a:pt x="8179482" y="5607444"/>
                    <a:pt x="8171162" y="5596929"/>
                    <a:pt x="8171162" y="5579868"/>
                  </a:cubicBezTo>
                  <a:lnTo>
                    <a:pt x="8171162" y="5544140"/>
                  </a:lnTo>
                  <a:cubicBezTo>
                    <a:pt x="8171162" y="5528346"/>
                    <a:pt x="8164405" y="5520279"/>
                    <a:pt x="8150891" y="5519942"/>
                  </a:cubicBezTo>
                  <a:close/>
                  <a:moveTo>
                    <a:pt x="8133407" y="5500304"/>
                  </a:moveTo>
                  <a:lnTo>
                    <a:pt x="8133407" y="5519942"/>
                  </a:lnTo>
                  <a:cubicBezTo>
                    <a:pt x="8119977" y="5520279"/>
                    <a:pt x="8113263" y="5528346"/>
                    <a:pt x="8113263" y="5544140"/>
                  </a:cubicBezTo>
                  <a:lnTo>
                    <a:pt x="8113263" y="5579868"/>
                  </a:lnTo>
                  <a:cubicBezTo>
                    <a:pt x="8113263" y="5596929"/>
                    <a:pt x="8104858" y="5607444"/>
                    <a:pt x="8088050" y="5611414"/>
                  </a:cubicBezTo>
                  <a:lnTo>
                    <a:pt x="8088050" y="5611794"/>
                  </a:lnTo>
                  <a:cubicBezTo>
                    <a:pt x="8104858" y="5615511"/>
                    <a:pt x="8113263" y="5625942"/>
                    <a:pt x="8113263" y="5643088"/>
                  </a:cubicBezTo>
                  <a:lnTo>
                    <a:pt x="8113263" y="5678435"/>
                  </a:lnTo>
                  <a:cubicBezTo>
                    <a:pt x="8113263" y="5687473"/>
                    <a:pt x="8114762" y="5693912"/>
                    <a:pt x="8117760" y="5697755"/>
                  </a:cubicBezTo>
                  <a:cubicBezTo>
                    <a:pt x="8120758" y="5701599"/>
                    <a:pt x="8125974" y="5703605"/>
                    <a:pt x="8133407" y="5703774"/>
                  </a:cubicBezTo>
                  <a:lnTo>
                    <a:pt x="8133407" y="5723284"/>
                  </a:lnTo>
                  <a:cubicBezTo>
                    <a:pt x="8103338" y="5722946"/>
                    <a:pt x="8088304" y="5710108"/>
                    <a:pt x="8088304" y="5684770"/>
                  </a:cubicBezTo>
                  <a:lnTo>
                    <a:pt x="8088304" y="5647395"/>
                  </a:lnTo>
                  <a:cubicBezTo>
                    <a:pt x="8088304" y="5630671"/>
                    <a:pt x="8081716" y="5621888"/>
                    <a:pt x="8068540" y="5621043"/>
                  </a:cubicBezTo>
                  <a:lnTo>
                    <a:pt x="8068540" y="5602546"/>
                  </a:lnTo>
                  <a:cubicBezTo>
                    <a:pt x="8081716" y="5601701"/>
                    <a:pt x="8088304" y="5592748"/>
                    <a:pt x="8088304" y="5575686"/>
                  </a:cubicBezTo>
                  <a:lnTo>
                    <a:pt x="8088304" y="5539326"/>
                  </a:lnTo>
                  <a:cubicBezTo>
                    <a:pt x="8088304" y="5513649"/>
                    <a:pt x="8103338" y="5500642"/>
                    <a:pt x="8133407" y="5500304"/>
                  </a:cubicBezTo>
                  <a:close/>
                  <a:moveTo>
                    <a:pt x="11191247" y="5162674"/>
                  </a:moveTo>
                  <a:cubicBezTo>
                    <a:pt x="11221147" y="5163012"/>
                    <a:pt x="11236096" y="5176019"/>
                    <a:pt x="11236096" y="5201695"/>
                  </a:cubicBezTo>
                  <a:lnTo>
                    <a:pt x="11236096" y="5238056"/>
                  </a:lnTo>
                  <a:cubicBezTo>
                    <a:pt x="11236096" y="5255118"/>
                    <a:pt x="11242642" y="5264070"/>
                    <a:pt x="11255734" y="5264915"/>
                  </a:cubicBezTo>
                  <a:lnTo>
                    <a:pt x="11255734" y="5283412"/>
                  </a:lnTo>
                  <a:cubicBezTo>
                    <a:pt x="11242642" y="5284257"/>
                    <a:pt x="11236096" y="5293041"/>
                    <a:pt x="11236096" y="5309765"/>
                  </a:cubicBezTo>
                  <a:lnTo>
                    <a:pt x="11236096" y="5347139"/>
                  </a:lnTo>
                  <a:cubicBezTo>
                    <a:pt x="11236096" y="5372478"/>
                    <a:pt x="11221147" y="5385316"/>
                    <a:pt x="11191247" y="5385654"/>
                  </a:cubicBezTo>
                  <a:lnTo>
                    <a:pt x="11191247" y="5366143"/>
                  </a:lnTo>
                  <a:cubicBezTo>
                    <a:pt x="11198595" y="5365974"/>
                    <a:pt x="11203811" y="5363947"/>
                    <a:pt x="11206894" y="5360062"/>
                  </a:cubicBezTo>
                  <a:cubicBezTo>
                    <a:pt x="11209976" y="5356176"/>
                    <a:pt x="11211518" y="5349757"/>
                    <a:pt x="11211518" y="5340805"/>
                  </a:cubicBezTo>
                  <a:lnTo>
                    <a:pt x="11211518" y="5305457"/>
                  </a:lnTo>
                  <a:cubicBezTo>
                    <a:pt x="11211518" y="5288311"/>
                    <a:pt x="11219838" y="5277880"/>
                    <a:pt x="11236477" y="5274164"/>
                  </a:cubicBezTo>
                  <a:lnTo>
                    <a:pt x="11236477" y="5273784"/>
                  </a:lnTo>
                  <a:cubicBezTo>
                    <a:pt x="11219838" y="5269814"/>
                    <a:pt x="11211518" y="5259299"/>
                    <a:pt x="11211518" y="5242237"/>
                  </a:cubicBezTo>
                  <a:lnTo>
                    <a:pt x="11211518" y="5206510"/>
                  </a:lnTo>
                  <a:cubicBezTo>
                    <a:pt x="11211518" y="5190715"/>
                    <a:pt x="11204761" y="5182649"/>
                    <a:pt x="11191247" y="5182311"/>
                  </a:cubicBezTo>
                  <a:close/>
                  <a:moveTo>
                    <a:pt x="11173763" y="5162674"/>
                  </a:moveTo>
                  <a:lnTo>
                    <a:pt x="11173763" y="5182311"/>
                  </a:lnTo>
                  <a:cubicBezTo>
                    <a:pt x="11160334" y="5182649"/>
                    <a:pt x="11153619" y="5190715"/>
                    <a:pt x="11153619" y="5206510"/>
                  </a:cubicBezTo>
                  <a:lnTo>
                    <a:pt x="11153619" y="5242237"/>
                  </a:lnTo>
                  <a:cubicBezTo>
                    <a:pt x="11153619" y="5259299"/>
                    <a:pt x="11145215" y="5269814"/>
                    <a:pt x="11128407" y="5273784"/>
                  </a:cubicBezTo>
                  <a:lnTo>
                    <a:pt x="11128407" y="5274164"/>
                  </a:lnTo>
                  <a:cubicBezTo>
                    <a:pt x="11145215" y="5277880"/>
                    <a:pt x="11153619" y="5288311"/>
                    <a:pt x="11153619" y="5305457"/>
                  </a:cubicBezTo>
                  <a:lnTo>
                    <a:pt x="11153619" y="5340805"/>
                  </a:lnTo>
                  <a:cubicBezTo>
                    <a:pt x="11153619" y="5349842"/>
                    <a:pt x="11155118" y="5356282"/>
                    <a:pt x="11158117" y="5360125"/>
                  </a:cubicBezTo>
                  <a:cubicBezTo>
                    <a:pt x="11161115" y="5363968"/>
                    <a:pt x="11166330" y="5365974"/>
                    <a:pt x="11173763" y="5366143"/>
                  </a:cubicBezTo>
                  <a:lnTo>
                    <a:pt x="11173763" y="5385654"/>
                  </a:lnTo>
                  <a:cubicBezTo>
                    <a:pt x="11143694" y="5385316"/>
                    <a:pt x="11128660" y="5372478"/>
                    <a:pt x="11128660" y="5347139"/>
                  </a:cubicBezTo>
                  <a:lnTo>
                    <a:pt x="11128660" y="5309765"/>
                  </a:lnTo>
                  <a:cubicBezTo>
                    <a:pt x="11128660" y="5293041"/>
                    <a:pt x="11122072" y="5284257"/>
                    <a:pt x="11108896" y="5283412"/>
                  </a:cubicBezTo>
                  <a:lnTo>
                    <a:pt x="11108896" y="5264915"/>
                  </a:lnTo>
                  <a:cubicBezTo>
                    <a:pt x="11122072" y="5264070"/>
                    <a:pt x="11128660" y="5255118"/>
                    <a:pt x="11128660" y="5238056"/>
                  </a:cubicBezTo>
                  <a:lnTo>
                    <a:pt x="11128660" y="5201695"/>
                  </a:lnTo>
                  <a:cubicBezTo>
                    <a:pt x="11128660" y="5176019"/>
                    <a:pt x="11143694" y="5163012"/>
                    <a:pt x="11173763" y="5162674"/>
                  </a:cubicBezTo>
                  <a:close/>
                  <a:moveTo>
                    <a:pt x="8150891" y="5162674"/>
                  </a:moveTo>
                  <a:cubicBezTo>
                    <a:pt x="8180791" y="5163012"/>
                    <a:pt x="8195740" y="5176019"/>
                    <a:pt x="8195740" y="5201696"/>
                  </a:cubicBezTo>
                  <a:lnTo>
                    <a:pt x="8195740" y="5238056"/>
                  </a:lnTo>
                  <a:cubicBezTo>
                    <a:pt x="8195740" y="5255118"/>
                    <a:pt x="8202286" y="5264071"/>
                    <a:pt x="8215378" y="5264916"/>
                  </a:cubicBezTo>
                  <a:lnTo>
                    <a:pt x="8215378" y="5283413"/>
                  </a:lnTo>
                  <a:cubicBezTo>
                    <a:pt x="8202286" y="5284258"/>
                    <a:pt x="8195740" y="5293041"/>
                    <a:pt x="8195740" y="5309765"/>
                  </a:cubicBezTo>
                  <a:lnTo>
                    <a:pt x="8195740" y="5347140"/>
                  </a:lnTo>
                  <a:cubicBezTo>
                    <a:pt x="8195740" y="5372478"/>
                    <a:pt x="8180791" y="5385316"/>
                    <a:pt x="8150891" y="5385654"/>
                  </a:cubicBezTo>
                  <a:lnTo>
                    <a:pt x="8150891" y="5366144"/>
                  </a:lnTo>
                  <a:cubicBezTo>
                    <a:pt x="8158239" y="5365975"/>
                    <a:pt x="8163455" y="5363948"/>
                    <a:pt x="8166538" y="5360062"/>
                  </a:cubicBezTo>
                  <a:cubicBezTo>
                    <a:pt x="8169620" y="5356177"/>
                    <a:pt x="8171162" y="5349758"/>
                    <a:pt x="8171162" y="5340805"/>
                  </a:cubicBezTo>
                  <a:lnTo>
                    <a:pt x="8171162" y="5305458"/>
                  </a:lnTo>
                  <a:cubicBezTo>
                    <a:pt x="8171162" y="5288312"/>
                    <a:pt x="8179482" y="5277881"/>
                    <a:pt x="8196121" y="5274164"/>
                  </a:cubicBezTo>
                  <a:lnTo>
                    <a:pt x="8196121" y="5273784"/>
                  </a:lnTo>
                  <a:cubicBezTo>
                    <a:pt x="8179482" y="5269814"/>
                    <a:pt x="8171162" y="5259299"/>
                    <a:pt x="8171162" y="5242238"/>
                  </a:cubicBezTo>
                  <a:lnTo>
                    <a:pt x="8171162" y="5206510"/>
                  </a:lnTo>
                  <a:cubicBezTo>
                    <a:pt x="8171162" y="5190716"/>
                    <a:pt x="8164405" y="5182649"/>
                    <a:pt x="8150891" y="5182312"/>
                  </a:cubicBezTo>
                  <a:close/>
                  <a:moveTo>
                    <a:pt x="8133407" y="5162674"/>
                  </a:moveTo>
                  <a:lnTo>
                    <a:pt x="8133407" y="5182312"/>
                  </a:lnTo>
                  <a:cubicBezTo>
                    <a:pt x="8119977" y="5182649"/>
                    <a:pt x="8113263" y="5190716"/>
                    <a:pt x="8113263" y="5206510"/>
                  </a:cubicBezTo>
                  <a:lnTo>
                    <a:pt x="8113263" y="5242238"/>
                  </a:lnTo>
                  <a:cubicBezTo>
                    <a:pt x="8113263" y="5259299"/>
                    <a:pt x="8104858" y="5269814"/>
                    <a:pt x="8088050" y="5273784"/>
                  </a:cubicBezTo>
                  <a:lnTo>
                    <a:pt x="8088050" y="5274164"/>
                  </a:lnTo>
                  <a:cubicBezTo>
                    <a:pt x="8104858" y="5277881"/>
                    <a:pt x="8113263" y="5288312"/>
                    <a:pt x="8113263" y="5305458"/>
                  </a:cubicBezTo>
                  <a:lnTo>
                    <a:pt x="8113263" y="5340805"/>
                  </a:lnTo>
                  <a:cubicBezTo>
                    <a:pt x="8113263" y="5349843"/>
                    <a:pt x="8114762" y="5356282"/>
                    <a:pt x="8117760" y="5360125"/>
                  </a:cubicBezTo>
                  <a:cubicBezTo>
                    <a:pt x="8120758" y="5363969"/>
                    <a:pt x="8125974" y="5365975"/>
                    <a:pt x="8133407" y="5366144"/>
                  </a:cubicBezTo>
                  <a:lnTo>
                    <a:pt x="8133407" y="5385654"/>
                  </a:lnTo>
                  <a:cubicBezTo>
                    <a:pt x="8103338" y="5385316"/>
                    <a:pt x="8088304" y="5372478"/>
                    <a:pt x="8088304" y="5347140"/>
                  </a:cubicBezTo>
                  <a:lnTo>
                    <a:pt x="8088304" y="5309765"/>
                  </a:lnTo>
                  <a:cubicBezTo>
                    <a:pt x="8088304" y="5293041"/>
                    <a:pt x="8081716" y="5284258"/>
                    <a:pt x="8068540" y="5283413"/>
                  </a:cubicBezTo>
                  <a:lnTo>
                    <a:pt x="8068540" y="5264916"/>
                  </a:lnTo>
                  <a:cubicBezTo>
                    <a:pt x="8081716" y="5264071"/>
                    <a:pt x="8088304" y="5255118"/>
                    <a:pt x="8088304" y="5238056"/>
                  </a:cubicBezTo>
                  <a:lnTo>
                    <a:pt x="8088304" y="5201696"/>
                  </a:lnTo>
                  <a:cubicBezTo>
                    <a:pt x="8088304" y="5176019"/>
                    <a:pt x="8103338" y="5163012"/>
                    <a:pt x="8133407" y="5162674"/>
                  </a:cubicBezTo>
                  <a:close/>
                  <a:moveTo>
                    <a:pt x="5096170" y="5162674"/>
                  </a:moveTo>
                  <a:cubicBezTo>
                    <a:pt x="5126070" y="5163012"/>
                    <a:pt x="5141019" y="5176019"/>
                    <a:pt x="5141019" y="5201696"/>
                  </a:cubicBezTo>
                  <a:lnTo>
                    <a:pt x="5141019" y="5238056"/>
                  </a:lnTo>
                  <a:cubicBezTo>
                    <a:pt x="5141019" y="5255118"/>
                    <a:pt x="5147565" y="5264071"/>
                    <a:pt x="5160658" y="5264916"/>
                  </a:cubicBezTo>
                  <a:lnTo>
                    <a:pt x="5160658" y="5283413"/>
                  </a:lnTo>
                  <a:cubicBezTo>
                    <a:pt x="5147565" y="5284258"/>
                    <a:pt x="5141019" y="5293041"/>
                    <a:pt x="5141019" y="5309765"/>
                  </a:cubicBezTo>
                  <a:lnTo>
                    <a:pt x="5141019" y="5347140"/>
                  </a:lnTo>
                  <a:cubicBezTo>
                    <a:pt x="5141019" y="5372478"/>
                    <a:pt x="5126070" y="5385316"/>
                    <a:pt x="5096170" y="5385654"/>
                  </a:cubicBezTo>
                  <a:lnTo>
                    <a:pt x="5096170" y="5366144"/>
                  </a:lnTo>
                  <a:cubicBezTo>
                    <a:pt x="5103519" y="5365975"/>
                    <a:pt x="5108733" y="5363948"/>
                    <a:pt x="5111817" y="5360062"/>
                  </a:cubicBezTo>
                  <a:cubicBezTo>
                    <a:pt x="5114899" y="5356177"/>
                    <a:pt x="5116441" y="5349758"/>
                    <a:pt x="5116441" y="5340805"/>
                  </a:cubicBezTo>
                  <a:lnTo>
                    <a:pt x="5116441" y="5305458"/>
                  </a:lnTo>
                  <a:cubicBezTo>
                    <a:pt x="5116441" y="5288312"/>
                    <a:pt x="5124760" y="5277881"/>
                    <a:pt x="5141399" y="5274164"/>
                  </a:cubicBezTo>
                  <a:lnTo>
                    <a:pt x="5141399" y="5273784"/>
                  </a:lnTo>
                  <a:cubicBezTo>
                    <a:pt x="5124760" y="5269814"/>
                    <a:pt x="5116441" y="5259299"/>
                    <a:pt x="5116441" y="5242238"/>
                  </a:cubicBezTo>
                  <a:lnTo>
                    <a:pt x="5116441" y="5206510"/>
                  </a:lnTo>
                  <a:cubicBezTo>
                    <a:pt x="5116441" y="5190716"/>
                    <a:pt x="5109684" y="5182649"/>
                    <a:pt x="5096170" y="5182312"/>
                  </a:cubicBezTo>
                  <a:close/>
                  <a:moveTo>
                    <a:pt x="5078686" y="5162674"/>
                  </a:moveTo>
                  <a:lnTo>
                    <a:pt x="5078686" y="5182312"/>
                  </a:lnTo>
                  <a:cubicBezTo>
                    <a:pt x="5065256" y="5182649"/>
                    <a:pt x="5058542" y="5190716"/>
                    <a:pt x="5058542" y="5206510"/>
                  </a:cubicBezTo>
                  <a:lnTo>
                    <a:pt x="5058542" y="5242238"/>
                  </a:lnTo>
                  <a:cubicBezTo>
                    <a:pt x="5058542" y="5259299"/>
                    <a:pt x="5050137" y="5269814"/>
                    <a:pt x="5033329" y="5273784"/>
                  </a:cubicBezTo>
                  <a:lnTo>
                    <a:pt x="5033329" y="5274164"/>
                  </a:lnTo>
                  <a:cubicBezTo>
                    <a:pt x="5050137" y="5277881"/>
                    <a:pt x="5058542" y="5288312"/>
                    <a:pt x="5058542" y="5305458"/>
                  </a:cubicBezTo>
                  <a:lnTo>
                    <a:pt x="5058542" y="5340805"/>
                  </a:lnTo>
                  <a:cubicBezTo>
                    <a:pt x="5058542" y="5349843"/>
                    <a:pt x="5060042" y="5356282"/>
                    <a:pt x="5063039" y="5360125"/>
                  </a:cubicBezTo>
                  <a:cubicBezTo>
                    <a:pt x="5066037" y="5363969"/>
                    <a:pt x="5071253" y="5365975"/>
                    <a:pt x="5078686" y="5366144"/>
                  </a:cubicBezTo>
                  <a:lnTo>
                    <a:pt x="5078686" y="5385654"/>
                  </a:lnTo>
                  <a:cubicBezTo>
                    <a:pt x="5048617" y="5385316"/>
                    <a:pt x="5033583" y="5372478"/>
                    <a:pt x="5033583" y="5347140"/>
                  </a:cubicBezTo>
                  <a:lnTo>
                    <a:pt x="5033583" y="5309765"/>
                  </a:lnTo>
                  <a:cubicBezTo>
                    <a:pt x="5033583" y="5293041"/>
                    <a:pt x="5026995" y="5284258"/>
                    <a:pt x="5013819" y="5283413"/>
                  </a:cubicBezTo>
                  <a:lnTo>
                    <a:pt x="5013819" y="5264916"/>
                  </a:lnTo>
                  <a:cubicBezTo>
                    <a:pt x="5026995" y="5264071"/>
                    <a:pt x="5033583" y="5255118"/>
                    <a:pt x="5033583" y="5238056"/>
                  </a:cubicBezTo>
                  <a:lnTo>
                    <a:pt x="5033583" y="5201696"/>
                  </a:lnTo>
                  <a:cubicBezTo>
                    <a:pt x="5033583" y="5176019"/>
                    <a:pt x="5048617" y="5163012"/>
                    <a:pt x="5078686" y="5162674"/>
                  </a:cubicBezTo>
                  <a:close/>
                  <a:moveTo>
                    <a:pt x="11191247" y="4849604"/>
                  </a:moveTo>
                  <a:cubicBezTo>
                    <a:pt x="11221147" y="4849942"/>
                    <a:pt x="11236096" y="4862949"/>
                    <a:pt x="11236096" y="4888625"/>
                  </a:cubicBezTo>
                  <a:lnTo>
                    <a:pt x="11236096" y="4924986"/>
                  </a:lnTo>
                  <a:cubicBezTo>
                    <a:pt x="11236096" y="4942048"/>
                    <a:pt x="11242642" y="4951000"/>
                    <a:pt x="11255734" y="4951845"/>
                  </a:cubicBezTo>
                  <a:lnTo>
                    <a:pt x="11255734" y="4970342"/>
                  </a:lnTo>
                  <a:cubicBezTo>
                    <a:pt x="11242642" y="4971187"/>
                    <a:pt x="11236096" y="4979971"/>
                    <a:pt x="11236096" y="4996695"/>
                  </a:cubicBezTo>
                  <a:lnTo>
                    <a:pt x="11236096" y="5034069"/>
                  </a:lnTo>
                  <a:cubicBezTo>
                    <a:pt x="11236096" y="5059408"/>
                    <a:pt x="11221147" y="5072246"/>
                    <a:pt x="11191247" y="5072584"/>
                  </a:cubicBezTo>
                  <a:lnTo>
                    <a:pt x="11191247" y="5053073"/>
                  </a:lnTo>
                  <a:cubicBezTo>
                    <a:pt x="11198595" y="5052904"/>
                    <a:pt x="11203811" y="5050877"/>
                    <a:pt x="11206894" y="5046992"/>
                  </a:cubicBezTo>
                  <a:cubicBezTo>
                    <a:pt x="11209976" y="5043106"/>
                    <a:pt x="11211518" y="5036687"/>
                    <a:pt x="11211518" y="5027735"/>
                  </a:cubicBezTo>
                  <a:lnTo>
                    <a:pt x="11211518" y="4992387"/>
                  </a:lnTo>
                  <a:cubicBezTo>
                    <a:pt x="11211518" y="4975241"/>
                    <a:pt x="11219838" y="4964810"/>
                    <a:pt x="11236477" y="4961094"/>
                  </a:cubicBezTo>
                  <a:lnTo>
                    <a:pt x="11236477" y="4960714"/>
                  </a:lnTo>
                  <a:cubicBezTo>
                    <a:pt x="11219838" y="4956744"/>
                    <a:pt x="11211518" y="4946229"/>
                    <a:pt x="11211518" y="4929167"/>
                  </a:cubicBezTo>
                  <a:lnTo>
                    <a:pt x="11211518" y="4893440"/>
                  </a:lnTo>
                  <a:cubicBezTo>
                    <a:pt x="11211518" y="4877645"/>
                    <a:pt x="11204761" y="4869579"/>
                    <a:pt x="11191247" y="4869241"/>
                  </a:cubicBezTo>
                  <a:close/>
                  <a:moveTo>
                    <a:pt x="11173763" y="4849604"/>
                  </a:moveTo>
                  <a:lnTo>
                    <a:pt x="11173763" y="4869241"/>
                  </a:lnTo>
                  <a:cubicBezTo>
                    <a:pt x="11160334" y="4869579"/>
                    <a:pt x="11153619" y="4877645"/>
                    <a:pt x="11153619" y="4893440"/>
                  </a:cubicBezTo>
                  <a:lnTo>
                    <a:pt x="11153619" y="4929167"/>
                  </a:lnTo>
                  <a:cubicBezTo>
                    <a:pt x="11153619" y="4946229"/>
                    <a:pt x="11145215" y="4956744"/>
                    <a:pt x="11128407" y="4960714"/>
                  </a:cubicBezTo>
                  <a:lnTo>
                    <a:pt x="11128407" y="4961094"/>
                  </a:lnTo>
                  <a:cubicBezTo>
                    <a:pt x="11145215" y="4964810"/>
                    <a:pt x="11153619" y="4975241"/>
                    <a:pt x="11153619" y="4992387"/>
                  </a:cubicBezTo>
                  <a:lnTo>
                    <a:pt x="11153619" y="5027735"/>
                  </a:lnTo>
                  <a:cubicBezTo>
                    <a:pt x="11153619" y="5036772"/>
                    <a:pt x="11155118" y="5043212"/>
                    <a:pt x="11158117" y="5047055"/>
                  </a:cubicBezTo>
                  <a:cubicBezTo>
                    <a:pt x="11161115" y="5050898"/>
                    <a:pt x="11166330" y="5052904"/>
                    <a:pt x="11173763" y="5053073"/>
                  </a:cubicBezTo>
                  <a:lnTo>
                    <a:pt x="11173763" y="5072584"/>
                  </a:lnTo>
                  <a:cubicBezTo>
                    <a:pt x="11143694" y="5072246"/>
                    <a:pt x="11128660" y="5059408"/>
                    <a:pt x="11128660" y="5034069"/>
                  </a:cubicBezTo>
                  <a:lnTo>
                    <a:pt x="11128660" y="4996695"/>
                  </a:lnTo>
                  <a:cubicBezTo>
                    <a:pt x="11128660" y="4979971"/>
                    <a:pt x="11122072" y="4971187"/>
                    <a:pt x="11108896" y="4970342"/>
                  </a:cubicBezTo>
                  <a:lnTo>
                    <a:pt x="11108896" y="4951845"/>
                  </a:lnTo>
                  <a:cubicBezTo>
                    <a:pt x="11122072" y="4951000"/>
                    <a:pt x="11128660" y="4942048"/>
                    <a:pt x="11128660" y="4924986"/>
                  </a:cubicBezTo>
                  <a:lnTo>
                    <a:pt x="11128660" y="4888625"/>
                  </a:lnTo>
                  <a:cubicBezTo>
                    <a:pt x="11128660" y="4862949"/>
                    <a:pt x="11143694" y="4849942"/>
                    <a:pt x="11173763" y="4849604"/>
                  </a:cubicBezTo>
                  <a:close/>
                  <a:moveTo>
                    <a:pt x="8150891" y="4849604"/>
                  </a:moveTo>
                  <a:cubicBezTo>
                    <a:pt x="8180791" y="4849942"/>
                    <a:pt x="8195740" y="4862949"/>
                    <a:pt x="8195740" y="4888626"/>
                  </a:cubicBezTo>
                  <a:lnTo>
                    <a:pt x="8195740" y="4924986"/>
                  </a:lnTo>
                  <a:cubicBezTo>
                    <a:pt x="8195740" y="4942048"/>
                    <a:pt x="8202286" y="4951001"/>
                    <a:pt x="8215378" y="4951846"/>
                  </a:cubicBezTo>
                  <a:lnTo>
                    <a:pt x="8215378" y="4970343"/>
                  </a:lnTo>
                  <a:cubicBezTo>
                    <a:pt x="8202286" y="4971188"/>
                    <a:pt x="8195740" y="4979971"/>
                    <a:pt x="8195740" y="4996695"/>
                  </a:cubicBezTo>
                  <a:lnTo>
                    <a:pt x="8195740" y="5034070"/>
                  </a:lnTo>
                  <a:cubicBezTo>
                    <a:pt x="8195740" y="5059408"/>
                    <a:pt x="8180791" y="5072246"/>
                    <a:pt x="8150891" y="5072584"/>
                  </a:cubicBezTo>
                  <a:lnTo>
                    <a:pt x="8150891" y="5053074"/>
                  </a:lnTo>
                  <a:cubicBezTo>
                    <a:pt x="8158239" y="5052905"/>
                    <a:pt x="8163455" y="5050878"/>
                    <a:pt x="8166538" y="5046992"/>
                  </a:cubicBezTo>
                  <a:cubicBezTo>
                    <a:pt x="8169620" y="5043107"/>
                    <a:pt x="8171162" y="5036688"/>
                    <a:pt x="8171162" y="5027735"/>
                  </a:cubicBezTo>
                  <a:lnTo>
                    <a:pt x="8171162" y="4992388"/>
                  </a:lnTo>
                  <a:cubicBezTo>
                    <a:pt x="8171162" y="4975242"/>
                    <a:pt x="8179482" y="4964811"/>
                    <a:pt x="8196121" y="4961094"/>
                  </a:cubicBezTo>
                  <a:lnTo>
                    <a:pt x="8196121" y="4960714"/>
                  </a:lnTo>
                  <a:cubicBezTo>
                    <a:pt x="8179482" y="4956744"/>
                    <a:pt x="8171162" y="4946229"/>
                    <a:pt x="8171162" y="4929168"/>
                  </a:cubicBezTo>
                  <a:lnTo>
                    <a:pt x="8171162" y="4893440"/>
                  </a:lnTo>
                  <a:cubicBezTo>
                    <a:pt x="8171162" y="4877646"/>
                    <a:pt x="8164405" y="4869579"/>
                    <a:pt x="8150891" y="4869242"/>
                  </a:cubicBezTo>
                  <a:close/>
                  <a:moveTo>
                    <a:pt x="8133407" y="4849604"/>
                  </a:moveTo>
                  <a:lnTo>
                    <a:pt x="8133407" y="4869242"/>
                  </a:lnTo>
                  <a:cubicBezTo>
                    <a:pt x="8119977" y="4869579"/>
                    <a:pt x="8113263" y="4877646"/>
                    <a:pt x="8113263" y="4893440"/>
                  </a:cubicBezTo>
                  <a:lnTo>
                    <a:pt x="8113263" y="4929168"/>
                  </a:lnTo>
                  <a:cubicBezTo>
                    <a:pt x="8113263" y="4946229"/>
                    <a:pt x="8104858" y="4956744"/>
                    <a:pt x="8088050" y="4960714"/>
                  </a:cubicBezTo>
                  <a:lnTo>
                    <a:pt x="8088050" y="4961094"/>
                  </a:lnTo>
                  <a:cubicBezTo>
                    <a:pt x="8104858" y="4964811"/>
                    <a:pt x="8113263" y="4975242"/>
                    <a:pt x="8113263" y="4992388"/>
                  </a:cubicBezTo>
                  <a:lnTo>
                    <a:pt x="8113263" y="5027735"/>
                  </a:lnTo>
                  <a:cubicBezTo>
                    <a:pt x="8113263" y="5036773"/>
                    <a:pt x="8114762" y="5043212"/>
                    <a:pt x="8117760" y="5047055"/>
                  </a:cubicBezTo>
                  <a:cubicBezTo>
                    <a:pt x="8120758" y="5050899"/>
                    <a:pt x="8125974" y="5052905"/>
                    <a:pt x="8133407" y="5053074"/>
                  </a:cubicBezTo>
                  <a:lnTo>
                    <a:pt x="8133407" y="5072584"/>
                  </a:lnTo>
                  <a:cubicBezTo>
                    <a:pt x="8103338" y="5072246"/>
                    <a:pt x="8088304" y="5059408"/>
                    <a:pt x="8088304" y="5034070"/>
                  </a:cubicBezTo>
                  <a:lnTo>
                    <a:pt x="8088304" y="4996695"/>
                  </a:lnTo>
                  <a:cubicBezTo>
                    <a:pt x="8088304" y="4979971"/>
                    <a:pt x="8081716" y="4971188"/>
                    <a:pt x="8068540" y="4970343"/>
                  </a:cubicBezTo>
                  <a:lnTo>
                    <a:pt x="8068540" y="4951846"/>
                  </a:lnTo>
                  <a:cubicBezTo>
                    <a:pt x="8081716" y="4951001"/>
                    <a:pt x="8088304" y="4942048"/>
                    <a:pt x="8088304" y="4924986"/>
                  </a:cubicBezTo>
                  <a:lnTo>
                    <a:pt x="8088304" y="4888626"/>
                  </a:lnTo>
                  <a:cubicBezTo>
                    <a:pt x="8088304" y="4862949"/>
                    <a:pt x="8103338" y="4849942"/>
                    <a:pt x="8133407" y="4849604"/>
                  </a:cubicBezTo>
                  <a:close/>
                  <a:moveTo>
                    <a:pt x="5096170" y="4849604"/>
                  </a:moveTo>
                  <a:cubicBezTo>
                    <a:pt x="5126070" y="4849942"/>
                    <a:pt x="5141019" y="4862949"/>
                    <a:pt x="5141019" y="4888626"/>
                  </a:cubicBezTo>
                  <a:lnTo>
                    <a:pt x="5141019" y="4924986"/>
                  </a:lnTo>
                  <a:cubicBezTo>
                    <a:pt x="5141019" y="4942048"/>
                    <a:pt x="5147565" y="4951001"/>
                    <a:pt x="5160658" y="4951846"/>
                  </a:cubicBezTo>
                  <a:lnTo>
                    <a:pt x="5160658" y="4970343"/>
                  </a:lnTo>
                  <a:cubicBezTo>
                    <a:pt x="5147565" y="4971188"/>
                    <a:pt x="5141019" y="4979971"/>
                    <a:pt x="5141019" y="4996695"/>
                  </a:cubicBezTo>
                  <a:lnTo>
                    <a:pt x="5141019" y="5034070"/>
                  </a:lnTo>
                  <a:cubicBezTo>
                    <a:pt x="5141019" y="5059408"/>
                    <a:pt x="5126070" y="5072246"/>
                    <a:pt x="5096170" y="5072584"/>
                  </a:cubicBezTo>
                  <a:lnTo>
                    <a:pt x="5096170" y="5053074"/>
                  </a:lnTo>
                  <a:cubicBezTo>
                    <a:pt x="5103519" y="5052905"/>
                    <a:pt x="5108733" y="5050878"/>
                    <a:pt x="5111817" y="5046992"/>
                  </a:cubicBezTo>
                  <a:cubicBezTo>
                    <a:pt x="5114899" y="5043107"/>
                    <a:pt x="5116441" y="5036688"/>
                    <a:pt x="5116441" y="5027735"/>
                  </a:cubicBezTo>
                  <a:lnTo>
                    <a:pt x="5116441" y="4992388"/>
                  </a:lnTo>
                  <a:cubicBezTo>
                    <a:pt x="5116441" y="4975242"/>
                    <a:pt x="5124760" y="4964811"/>
                    <a:pt x="5141399" y="4961094"/>
                  </a:cubicBezTo>
                  <a:lnTo>
                    <a:pt x="5141399" y="4960714"/>
                  </a:lnTo>
                  <a:cubicBezTo>
                    <a:pt x="5124760" y="4956744"/>
                    <a:pt x="5116441" y="4946229"/>
                    <a:pt x="5116441" y="4929168"/>
                  </a:cubicBezTo>
                  <a:lnTo>
                    <a:pt x="5116441" y="4893440"/>
                  </a:lnTo>
                  <a:cubicBezTo>
                    <a:pt x="5116441" y="4877646"/>
                    <a:pt x="5109684" y="4869579"/>
                    <a:pt x="5096170" y="4869242"/>
                  </a:cubicBezTo>
                  <a:close/>
                  <a:moveTo>
                    <a:pt x="5078686" y="4849604"/>
                  </a:moveTo>
                  <a:lnTo>
                    <a:pt x="5078686" y="4869242"/>
                  </a:lnTo>
                  <a:cubicBezTo>
                    <a:pt x="5065256" y="4869579"/>
                    <a:pt x="5058542" y="4877646"/>
                    <a:pt x="5058542" y="4893440"/>
                  </a:cubicBezTo>
                  <a:lnTo>
                    <a:pt x="5058542" y="4929168"/>
                  </a:lnTo>
                  <a:cubicBezTo>
                    <a:pt x="5058542" y="4946229"/>
                    <a:pt x="5050137" y="4956744"/>
                    <a:pt x="5033329" y="4960714"/>
                  </a:cubicBezTo>
                  <a:lnTo>
                    <a:pt x="5033329" y="4961094"/>
                  </a:lnTo>
                  <a:cubicBezTo>
                    <a:pt x="5050137" y="4964811"/>
                    <a:pt x="5058542" y="4975242"/>
                    <a:pt x="5058542" y="4992388"/>
                  </a:cubicBezTo>
                  <a:lnTo>
                    <a:pt x="5058542" y="5027735"/>
                  </a:lnTo>
                  <a:cubicBezTo>
                    <a:pt x="5058542" y="5036773"/>
                    <a:pt x="5060042" y="5043212"/>
                    <a:pt x="5063039" y="5047055"/>
                  </a:cubicBezTo>
                  <a:cubicBezTo>
                    <a:pt x="5066037" y="5050899"/>
                    <a:pt x="5071253" y="5052905"/>
                    <a:pt x="5078686" y="5053074"/>
                  </a:cubicBezTo>
                  <a:lnTo>
                    <a:pt x="5078686" y="5072584"/>
                  </a:lnTo>
                  <a:cubicBezTo>
                    <a:pt x="5048617" y="5072246"/>
                    <a:pt x="5033583" y="5059408"/>
                    <a:pt x="5033583" y="5034070"/>
                  </a:cubicBezTo>
                  <a:lnTo>
                    <a:pt x="5033583" y="4996695"/>
                  </a:lnTo>
                  <a:cubicBezTo>
                    <a:pt x="5033583" y="4979971"/>
                    <a:pt x="5026995" y="4971188"/>
                    <a:pt x="5013819" y="4970343"/>
                  </a:cubicBezTo>
                  <a:lnTo>
                    <a:pt x="5013819" y="4951846"/>
                  </a:lnTo>
                  <a:cubicBezTo>
                    <a:pt x="5026995" y="4951001"/>
                    <a:pt x="5033583" y="4942048"/>
                    <a:pt x="5033583" y="4924986"/>
                  </a:cubicBezTo>
                  <a:lnTo>
                    <a:pt x="5033583" y="4888626"/>
                  </a:lnTo>
                  <a:cubicBezTo>
                    <a:pt x="5033583" y="4862949"/>
                    <a:pt x="5048617" y="4849942"/>
                    <a:pt x="5078686" y="4849604"/>
                  </a:cubicBezTo>
                  <a:close/>
                  <a:moveTo>
                    <a:pt x="2067894" y="4849604"/>
                  </a:moveTo>
                  <a:cubicBezTo>
                    <a:pt x="2097794" y="4849942"/>
                    <a:pt x="2112743" y="4862949"/>
                    <a:pt x="2112743" y="4888626"/>
                  </a:cubicBezTo>
                  <a:lnTo>
                    <a:pt x="2112743" y="4924986"/>
                  </a:lnTo>
                  <a:cubicBezTo>
                    <a:pt x="2112743" y="4942048"/>
                    <a:pt x="2119289" y="4951001"/>
                    <a:pt x="2132381" y="4951846"/>
                  </a:cubicBezTo>
                  <a:lnTo>
                    <a:pt x="2132381" y="4970343"/>
                  </a:lnTo>
                  <a:cubicBezTo>
                    <a:pt x="2119289" y="4971188"/>
                    <a:pt x="2112743" y="4979971"/>
                    <a:pt x="2112743" y="4996695"/>
                  </a:cubicBezTo>
                  <a:lnTo>
                    <a:pt x="2112743" y="5034070"/>
                  </a:lnTo>
                  <a:cubicBezTo>
                    <a:pt x="2112743" y="5059408"/>
                    <a:pt x="2097794" y="5072246"/>
                    <a:pt x="2067894" y="5072584"/>
                  </a:cubicBezTo>
                  <a:lnTo>
                    <a:pt x="2067894" y="5053074"/>
                  </a:lnTo>
                  <a:cubicBezTo>
                    <a:pt x="2075242" y="5052905"/>
                    <a:pt x="2080458" y="5050878"/>
                    <a:pt x="2083541" y="5046992"/>
                  </a:cubicBezTo>
                  <a:cubicBezTo>
                    <a:pt x="2086624" y="5043107"/>
                    <a:pt x="2088165" y="5036688"/>
                    <a:pt x="2088165" y="5027735"/>
                  </a:cubicBezTo>
                  <a:lnTo>
                    <a:pt x="2088165" y="4992388"/>
                  </a:lnTo>
                  <a:cubicBezTo>
                    <a:pt x="2088165" y="4975242"/>
                    <a:pt x="2096485" y="4964811"/>
                    <a:pt x="2113123" y="4961094"/>
                  </a:cubicBezTo>
                  <a:lnTo>
                    <a:pt x="2113123" y="4960714"/>
                  </a:lnTo>
                  <a:cubicBezTo>
                    <a:pt x="2096485" y="4956744"/>
                    <a:pt x="2088165" y="4946229"/>
                    <a:pt x="2088165" y="4929168"/>
                  </a:cubicBezTo>
                  <a:lnTo>
                    <a:pt x="2088165" y="4893440"/>
                  </a:lnTo>
                  <a:cubicBezTo>
                    <a:pt x="2088165" y="4877646"/>
                    <a:pt x="2081408" y="4869579"/>
                    <a:pt x="2067894" y="4869242"/>
                  </a:cubicBezTo>
                  <a:close/>
                  <a:moveTo>
                    <a:pt x="2050410" y="4849604"/>
                  </a:moveTo>
                  <a:lnTo>
                    <a:pt x="2050410" y="4869242"/>
                  </a:lnTo>
                  <a:cubicBezTo>
                    <a:pt x="2036981" y="4869579"/>
                    <a:pt x="2030266" y="4877646"/>
                    <a:pt x="2030266" y="4893440"/>
                  </a:cubicBezTo>
                  <a:lnTo>
                    <a:pt x="2030266" y="4929168"/>
                  </a:lnTo>
                  <a:cubicBezTo>
                    <a:pt x="2030266" y="4946229"/>
                    <a:pt x="2021862" y="4956744"/>
                    <a:pt x="2005053" y="4960714"/>
                  </a:cubicBezTo>
                  <a:lnTo>
                    <a:pt x="2005053" y="4961094"/>
                  </a:lnTo>
                  <a:cubicBezTo>
                    <a:pt x="2021862" y="4964811"/>
                    <a:pt x="2030266" y="4975242"/>
                    <a:pt x="2030266" y="4992388"/>
                  </a:cubicBezTo>
                  <a:lnTo>
                    <a:pt x="2030266" y="5027735"/>
                  </a:lnTo>
                  <a:cubicBezTo>
                    <a:pt x="2030266" y="5036773"/>
                    <a:pt x="2031765" y="5043212"/>
                    <a:pt x="2034764" y="5047055"/>
                  </a:cubicBezTo>
                  <a:cubicBezTo>
                    <a:pt x="2037762" y="5050899"/>
                    <a:pt x="2042978" y="5052905"/>
                    <a:pt x="2050410" y="5053074"/>
                  </a:cubicBezTo>
                  <a:lnTo>
                    <a:pt x="2050410" y="5072584"/>
                  </a:lnTo>
                  <a:cubicBezTo>
                    <a:pt x="2020341" y="5072246"/>
                    <a:pt x="2005307" y="5059408"/>
                    <a:pt x="2005307" y="5034070"/>
                  </a:cubicBezTo>
                  <a:lnTo>
                    <a:pt x="2005307" y="4996695"/>
                  </a:lnTo>
                  <a:cubicBezTo>
                    <a:pt x="2005307" y="4979971"/>
                    <a:pt x="1998718" y="4971188"/>
                    <a:pt x="1985542" y="4970343"/>
                  </a:cubicBezTo>
                  <a:lnTo>
                    <a:pt x="1985542" y="4951846"/>
                  </a:lnTo>
                  <a:cubicBezTo>
                    <a:pt x="1998718" y="4951001"/>
                    <a:pt x="2005307" y="4942048"/>
                    <a:pt x="2005307" y="4924986"/>
                  </a:cubicBezTo>
                  <a:lnTo>
                    <a:pt x="2005307" y="4888626"/>
                  </a:lnTo>
                  <a:cubicBezTo>
                    <a:pt x="2005307" y="4862949"/>
                    <a:pt x="2020341" y="4849942"/>
                    <a:pt x="2050410" y="4849604"/>
                  </a:cubicBezTo>
                  <a:close/>
                  <a:moveTo>
                    <a:pt x="11192939" y="4509400"/>
                  </a:moveTo>
                  <a:cubicBezTo>
                    <a:pt x="11222839" y="4509738"/>
                    <a:pt x="11237788" y="4522745"/>
                    <a:pt x="11237788" y="4548421"/>
                  </a:cubicBezTo>
                  <a:lnTo>
                    <a:pt x="11237788" y="4584782"/>
                  </a:lnTo>
                  <a:cubicBezTo>
                    <a:pt x="11237788" y="4601844"/>
                    <a:pt x="11244334" y="4610796"/>
                    <a:pt x="11257426" y="4611641"/>
                  </a:cubicBezTo>
                  <a:lnTo>
                    <a:pt x="11257426" y="4630138"/>
                  </a:lnTo>
                  <a:cubicBezTo>
                    <a:pt x="11244334" y="4630983"/>
                    <a:pt x="11237788" y="4639767"/>
                    <a:pt x="11237788" y="4656491"/>
                  </a:cubicBezTo>
                  <a:lnTo>
                    <a:pt x="11237788" y="4693865"/>
                  </a:lnTo>
                  <a:cubicBezTo>
                    <a:pt x="11237788" y="4719204"/>
                    <a:pt x="11222839" y="4732042"/>
                    <a:pt x="11192939" y="4732380"/>
                  </a:cubicBezTo>
                  <a:lnTo>
                    <a:pt x="11192939" y="4712869"/>
                  </a:lnTo>
                  <a:cubicBezTo>
                    <a:pt x="11200287" y="4712700"/>
                    <a:pt x="11205503" y="4710673"/>
                    <a:pt x="11208586" y="4706788"/>
                  </a:cubicBezTo>
                  <a:cubicBezTo>
                    <a:pt x="11211668" y="4702902"/>
                    <a:pt x="11213210" y="4696483"/>
                    <a:pt x="11213210" y="4687531"/>
                  </a:cubicBezTo>
                  <a:lnTo>
                    <a:pt x="11213210" y="4652183"/>
                  </a:lnTo>
                  <a:cubicBezTo>
                    <a:pt x="11213210" y="4635037"/>
                    <a:pt x="11221530" y="4624606"/>
                    <a:pt x="11238169" y="4620890"/>
                  </a:cubicBezTo>
                  <a:lnTo>
                    <a:pt x="11238169" y="4620510"/>
                  </a:lnTo>
                  <a:cubicBezTo>
                    <a:pt x="11221530" y="4616540"/>
                    <a:pt x="11213210" y="4606025"/>
                    <a:pt x="11213210" y="4588963"/>
                  </a:cubicBezTo>
                  <a:lnTo>
                    <a:pt x="11213210" y="4553236"/>
                  </a:lnTo>
                  <a:cubicBezTo>
                    <a:pt x="11213210" y="4537441"/>
                    <a:pt x="11206453" y="4529375"/>
                    <a:pt x="11192939" y="4529037"/>
                  </a:cubicBezTo>
                  <a:close/>
                  <a:moveTo>
                    <a:pt x="11175455" y="4509400"/>
                  </a:moveTo>
                  <a:lnTo>
                    <a:pt x="11175455" y="4529037"/>
                  </a:lnTo>
                  <a:cubicBezTo>
                    <a:pt x="11162026" y="4529375"/>
                    <a:pt x="11155311" y="4537441"/>
                    <a:pt x="11155311" y="4553236"/>
                  </a:cubicBezTo>
                  <a:lnTo>
                    <a:pt x="11155311" y="4588963"/>
                  </a:lnTo>
                  <a:cubicBezTo>
                    <a:pt x="11155311" y="4606025"/>
                    <a:pt x="11146907" y="4616540"/>
                    <a:pt x="11130099" y="4620510"/>
                  </a:cubicBezTo>
                  <a:lnTo>
                    <a:pt x="11130099" y="4620890"/>
                  </a:lnTo>
                  <a:cubicBezTo>
                    <a:pt x="11146907" y="4624606"/>
                    <a:pt x="11155311" y="4635037"/>
                    <a:pt x="11155311" y="4652183"/>
                  </a:cubicBezTo>
                  <a:lnTo>
                    <a:pt x="11155311" y="4687531"/>
                  </a:lnTo>
                  <a:cubicBezTo>
                    <a:pt x="11155311" y="4696568"/>
                    <a:pt x="11156810" y="4703008"/>
                    <a:pt x="11159809" y="4706851"/>
                  </a:cubicBezTo>
                  <a:cubicBezTo>
                    <a:pt x="11162807" y="4710694"/>
                    <a:pt x="11168022" y="4712700"/>
                    <a:pt x="11175455" y="4712869"/>
                  </a:cubicBezTo>
                  <a:lnTo>
                    <a:pt x="11175455" y="4732380"/>
                  </a:lnTo>
                  <a:cubicBezTo>
                    <a:pt x="11145386" y="4732042"/>
                    <a:pt x="11130352" y="4719204"/>
                    <a:pt x="11130352" y="4693865"/>
                  </a:cubicBezTo>
                  <a:lnTo>
                    <a:pt x="11130352" y="4656491"/>
                  </a:lnTo>
                  <a:cubicBezTo>
                    <a:pt x="11130352" y="4639767"/>
                    <a:pt x="11123764" y="4630983"/>
                    <a:pt x="11110588" y="4630138"/>
                  </a:cubicBezTo>
                  <a:lnTo>
                    <a:pt x="11110588" y="4611641"/>
                  </a:lnTo>
                  <a:cubicBezTo>
                    <a:pt x="11123764" y="4610796"/>
                    <a:pt x="11130352" y="4601844"/>
                    <a:pt x="11130352" y="4584782"/>
                  </a:cubicBezTo>
                  <a:lnTo>
                    <a:pt x="11130352" y="4548421"/>
                  </a:lnTo>
                  <a:cubicBezTo>
                    <a:pt x="11130352" y="4522745"/>
                    <a:pt x="11145386" y="4509738"/>
                    <a:pt x="11175455" y="4509400"/>
                  </a:cubicBezTo>
                  <a:close/>
                  <a:moveTo>
                    <a:pt x="8152583" y="4509400"/>
                  </a:moveTo>
                  <a:cubicBezTo>
                    <a:pt x="8182483" y="4509738"/>
                    <a:pt x="8197432" y="4522745"/>
                    <a:pt x="8197432" y="4548422"/>
                  </a:cubicBezTo>
                  <a:lnTo>
                    <a:pt x="8197432" y="4584782"/>
                  </a:lnTo>
                  <a:cubicBezTo>
                    <a:pt x="8197432" y="4601844"/>
                    <a:pt x="8203978" y="4610797"/>
                    <a:pt x="8217070" y="4611642"/>
                  </a:cubicBezTo>
                  <a:lnTo>
                    <a:pt x="8217070" y="4630139"/>
                  </a:lnTo>
                  <a:cubicBezTo>
                    <a:pt x="8203978" y="4630984"/>
                    <a:pt x="8197432" y="4639767"/>
                    <a:pt x="8197432" y="4656491"/>
                  </a:cubicBezTo>
                  <a:lnTo>
                    <a:pt x="8197432" y="4693866"/>
                  </a:lnTo>
                  <a:cubicBezTo>
                    <a:pt x="8197432" y="4719204"/>
                    <a:pt x="8182483" y="4732042"/>
                    <a:pt x="8152583" y="4732380"/>
                  </a:cubicBezTo>
                  <a:lnTo>
                    <a:pt x="8152583" y="4712870"/>
                  </a:lnTo>
                  <a:cubicBezTo>
                    <a:pt x="8159931" y="4712701"/>
                    <a:pt x="8165147" y="4710674"/>
                    <a:pt x="8168230" y="4706788"/>
                  </a:cubicBezTo>
                  <a:cubicBezTo>
                    <a:pt x="8171312" y="4702903"/>
                    <a:pt x="8172854" y="4696484"/>
                    <a:pt x="8172854" y="4687531"/>
                  </a:cubicBezTo>
                  <a:lnTo>
                    <a:pt x="8172854" y="4652184"/>
                  </a:lnTo>
                  <a:cubicBezTo>
                    <a:pt x="8172854" y="4635038"/>
                    <a:pt x="8181174" y="4624607"/>
                    <a:pt x="8197813" y="4620890"/>
                  </a:cubicBezTo>
                  <a:lnTo>
                    <a:pt x="8197813" y="4620510"/>
                  </a:lnTo>
                  <a:cubicBezTo>
                    <a:pt x="8181174" y="4616540"/>
                    <a:pt x="8172854" y="4606025"/>
                    <a:pt x="8172854" y="4588964"/>
                  </a:cubicBezTo>
                  <a:lnTo>
                    <a:pt x="8172854" y="4553236"/>
                  </a:lnTo>
                  <a:cubicBezTo>
                    <a:pt x="8172854" y="4537442"/>
                    <a:pt x="8166097" y="4529375"/>
                    <a:pt x="8152583" y="4529038"/>
                  </a:cubicBezTo>
                  <a:close/>
                  <a:moveTo>
                    <a:pt x="8135099" y="4509400"/>
                  </a:moveTo>
                  <a:lnTo>
                    <a:pt x="8135099" y="4529038"/>
                  </a:lnTo>
                  <a:cubicBezTo>
                    <a:pt x="8121669" y="4529375"/>
                    <a:pt x="8114955" y="4537442"/>
                    <a:pt x="8114955" y="4553236"/>
                  </a:cubicBezTo>
                  <a:lnTo>
                    <a:pt x="8114955" y="4588964"/>
                  </a:lnTo>
                  <a:cubicBezTo>
                    <a:pt x="8114955" y="4606025"/>
                    <a:pt x="8106550" y="4616540"/>
                    <a:pt x="8089742" y="4620510"/>
                  </a:cubicBezTo>
                  <a:lnTo>
                    <a:pt x="8089742" y="4620890"/>
                  </a:lnTo>
                  <a:cubicBezTo>
                    <a:pt x="8106550" y="4624607"/>
                    <a:pt x="8114955" y="4635038"/>
                    <a:pt x="8114955" y="4652184"/>
                  </a:cubicBezTo>
                  <a:lnTo>
                    <a:pt x="8114955" y="4687531"/>
                  </a:lnTo>
                  <a:cubicBezTo>
                    <a:pt x="8114955" y="4696569"/>
                    <a:pt x="8116454" y="4703008"/>
                    <a:pt x="8119452" y="4706851"/>
                  </a:cubicBezTo>
                  <a:cubicBezTo>
                    <a:pt x="8122450" y="4710695"/>
                    <a:pt x="8127666" y="4712701"/>
                    <a:pt x="8135099" y="4712870"/>
                  </a:cubicBezTo>
                  <a:lnTo>
                    <a:pt x="8135099" y="4732380"/>
                  </a:lnTo>
                  <a:cubicBezTo>
                    <a:pt x="8105030" y="4732042"/>
                    <a:pt x="8089996" y="4719204"/>
                    <a:pt x="8089996" y="4693866"/>
                  </a:cubicBezTo>
                  <a:lnTo>
                    <a:pt x="8089996" y="4656491"/>
                  </a:lnTo>
                  <a:cubicBezTo>
                    <a:pt x="8089996" y="4639767"/>
                    <a:pt x="8083408" y="4630984"/>
                    <a:pt x="8070232" y="4630139"/>
                  </a:cubicBezTo>
                  <a:lnTo>
                    <a:pt x="8070232" y="4611642"/>
                  </a:lnTo>
                  <a:cubicBezTo>
                    <a:pt x="8083408" y="4610797"/>
                    <a:pt x="8089996" y="4601844"/>
                    <a:pt x="8089996" y="4584782"/>
                  </a:cubicBezTo>
                  <a:lnTo>
                    <a:pt x="8089996" y="4548422"/>
                  </a:lnTo>
                  <a:cubicBezTo>
                    <a:pt x="8089996" y="4522745"/>
                    <a:pt x="8105030" y="4509738"/>
                    <a:pt x="8135099" y="4509400"/>
                  </a:cubicBezTo>
                  <a:close/>
                  <a:moveTo>
                    <a:pt x="5097862" y="4509400"/>
                  </a:moveTo>
                  <a:cubicBezTo>
                    <a:pt x="5127762" y="4509738"/>
                    <a:pt x="5142711" y="4522745"/>
                    <a:pt x="5142711" y="4548422"/>
                  </a:cubicBezTo>
                  <a:lnTo>
                    <a:pt x="5142711" y="4584782"/>
                  </a:lnTo>
                  <a:cubicBezTo>
                    <a:pt x="5142711" y="4601844"/>
                    <a:pt x="5149258" y="4610797"/>
                    <a:pt x="5162349" y="4611642"/>
                  </a:cubicBezTo>
                  <a:lnTo>
                    <a:pt x="5162349" y="4630139"/>
                  </a:lnTo>
                  <a:cubicBezTo>
                    <a:pt x="5149258" y="4630984"/>
                    <a:pt x="5142711" y="4639767"/>
                    <a:pt x="5142711" y="4656491"/>
                  </a:cubicBezTo>
                  <a:lnTo>
                    <a:pt x="5142711" y="4693866"/>
                  </a:lnTo>
                  <a:cubicBezTo>
                    <a:pt x="5142711" y="4719204"/>
                    <a:pt x="5127762" y="4732042"/>
                    <a:pt x="5097862" y="4732380"/>
                  </a:cubicBezTo>
                  <a:lnTo>
                    <a:pt x="5097862" y="4712870"/>
                  </a:lnTo>
                  <a:cubicBezTo>
                    <a:pt x="5105210" y="4712701"/>
                    <a:pt x="5110426" y="4710674"/>
                    <a:pt x="5113508" y="4706788"/>
                  </a:cubicBezTo>
                  <a:cubicBezTo>
                    <a:pt x="5116591" y="4702903"/>
                    <a:pt x="5118133" y="4696484"/>
                    <a:pt x="5118133" y="4687531"/>
                  </a:cubicBezTo>
                  <a:lnTo>
                    <a:pt x="5118133" y="4652184"/>
                  </a:lnTo>
                  <a:cubicBezTo>
                    <a:pt x="5118133" y="4635038"/>
                    <a:pt x="5126452" y="4624607"/>
                    <a:pt x="5143092" y="4620890"/>
                  </a:cubicBezTo>
                  <a:lnTo>
                    <a:pt x="5143092" y="4620510"/>
                  </a:lnTo>
                  <a:cubicBezTo>
                    <a:pt x="5126452" y="4616540"/>
                    <a:pt x="5118133" y="4606025"/>
                    <a:pt x="5118133" y="4588964"/>
                  </a:cubicBezTo>
                  <a:lnTo>
                    <a:pt x="5118133" y="4553236"/>
                  </a:lnTo>
                  <a:cubicBezTo>
                    <a:pt x="5118133" y="4537442"/>
                    <a:pt x="5111376" y="4529375"/>
                    <a:pt x="5097862" y="4529038"/>
                  </a:cubicBezTo>
                  <a:close/>
                  <a:moveTo>
                    <a:pt x="5080378" y="4509400"/>
                  </a:moveTo>
                  <a:lnTo>
                    <a:pt x="5080378" y="4529038"/>
                  </a:lnTo>
                  <a:cubicBezTo>
                    <a:pt x="5066948" y="4529375"/>
                    <a:pt x="5060234" y="4537442"/>
                    <a:pt x="5060234" y="4553236"/>
                  </a:cubicBezTo>
                  <a:lnTo>
                    <a:pt x="5060234" y="4588964"/>
                  </a:lnTo>
                  <a:cubicBezTo>
                    <a:pt x="5060234" y="4606025"/>
                    <a:pt x="5051829" y="4616540"/>
                    <a:pt x="5035021" y="4620510"/>
                  </a:cubicBezTo>
                  <a:lnTo>
                    <a:pt x="5035021" y="4620890"/>
                  </a:lnTo>
                  <a:cubicBezTo>
                    <a:pt x="5051829" y="4624607"/>
                    <a:pt x="5060234" y="4635038"/>
                    <a:pt x="5060234" y="4652184"/>
                  </a:cubicBezTo>
                  <a:lnTo>
                    <a:pt x="5060234" y="4687531"/>
                  </a:lnTo>
                  <a:cubicBezTo>
                    <a:pt x="5060234" y="4696569"/>
                    <a:pt x="5061733" y="4703008"/>
                    <a:pt x="5064731" y="4706851"/>
                  </a:cubicBezTo>
                  <a:cubicBezTo>
                    <a:pt x="5067730" y="4710695"/>
                    <a:pt x="5072946" y="4712701"/>
                    <a:pt x="5080378" y="4712870"/>
                  </a:cubicBezTo>
                  <a:lnTo>
                    <a:pt x="5080378" y="4732380"/>
                  </a:lnTo>
                  <a:cubicBezTo>
                    <a:pt x="5050309" y="4732042"/>
                    <a:pt x="5035275" y="4719204"/>
                    <a:pt x="5035275" y="4693866"/>
                  </a:cubicBezTo>
                  <a:lnTo>
                    <a:pt x="5035275" y="4656491"/>
                  </a:lnTo>
                  <a:cubicBezTo>
                    <a:pt x="5035275" y="4639767"/>
                    <a:pt x="5028687" y="4630984"/>
                    <a:pt x="5015511" y="4630139"/>
                  </a:cubicBezTo>
                  <a:lnTo>
                    <a:pt x="5015511" y="4611642"/>
                  </a:lnTo>
                  <a:cubicBezTo>
                    <a:pt x="5028687" y="4610797"/>
                    <a:pt x="5035275" y="4601844"/>
                    <a:pt x="5035275" y="4584782"/>
                  </a:cubicBezTo>
                  <a:lnTo>
                    <a:pt x="5035275" y="4548422"/>
                  </a:lnTo>
                  <a:cubicBezTo>
                    <a:pt x="5035275" y="4522745"/>
                    <a:pt x="5050309" y="4509738"/>
                    <a:pt x="5080378" y="4509400"/>
                  </a:cubicBezTo>
                  <a:close/>
                  <a:moveTo>
                    <a:pt x="2069587" y="4509400"/>
                  </a:moveTo>
                  <a:cubicBezTo>
                    <a:pt x="2099486" y="4509738"/>
                    <a:pt x="2114436" y="4522745"/>
                    <a:pt x="2114436" y="4548422"/>
                  </a:cubicBezTo>
                  <a:lnTo>
                    <a:pt x="2114436" y="4584782"/>
                  </a:lnTo>
                  <a:cubicBezTo>
                    <a:pt x="2114436" y="4601844"/>
                    <a:pt x="2120981" y="4610797"/>
                    <a:pt x="2134073" y="4611642"/>
                  </a:cubicBezTo>
                  <a:lnTo>
                    <a:pt x="2134073" y="4630139"/>
                  </a:lnTo>
                  <a:cubicBezTo>
                    <a:pt x="2120981" y="4630984"/>
                    <a:pt x="2114436" y="4639767"/>
                    <a:pt x="2114436" y="4656491"/>
                  </a:cubicBezTo>
                  <a:lnTo>
                    <a:pt x="2114436" y="4693866"/>
                  </a:lnTo>
                  <a:cubicBezTo>
                    <a:pt x="2114436" y="4719204"/>
                    <a:pt x="2099486" y="4732042"/>
                    <a:pt x="2069587" y="4732380"/>
                  </a:cubicBezTo>
                  <a:lnTo>
                    <a:pt x="2069587" y="4712870"/>
                  </a:lnTo>
                  <a:cubicBezTo>
                    <a:pt x="2076935" y="4712701"/>
                    <a:pt x="2082150" y="4710674"/>
                    <a:pt x="2085232" y="4706788"/>
                  </a:cubicBezTo>
                  <a:cubicBezTo>
                    <a:pt x="2088316" y="4702903"/>
                    <a:pt x="2089857" y="4696484"/>
                    <a:pt x="2089857" y="4687531"/>
                  </a:cubicBezTo>
                  <a:lnTo>
                    <a:pt x="2089857" y="4652184"/>
                  </a:lnTo>
                  <a:cubicBezTo>
                    <a:pt x="2089857" y="4635038"/>
                    <a:pt x="2098177" y="4624607"/>
                    <a:pt x="2114816" y="4620890"/>
                  </a:cubicBezTo>
                  <a:lnTo>
                    <a:pt x="2114816" y="4620510"/>
                  </a:lnTo>
                  <a:cubicBezTo>
                    <a:pt x="2098177" y="4616540"/>
                    <a:pt x="2089857" y="4606025"/>
                    <a:pt x="2089857" y="4588964"/>
                  </a:cubicBezTo>
                  <a:lnTo>
                    <a:pt x="2089857" y="4553236"/>
                  </a:lnTo>
                  <a:cubicBezTo>
                    <a:pt x="2089857" y="4537442"/>
                    <a:pt x="2083100" y="4529375"/>
                    <a:pt x="2069587" y="4529038"/>
                  </a:cubicBezTo>
                  <a:close/>
                  <a:moveTo>
                    <a:pt x="2052102" y="4509400"/>
                  </a:moveTo>
                  <a:lnTo>
                    <a:pt x="2052102" y="4529038"/>
                  </a:lnTo>
                  <a:cubicBezTo>
                    <a:pt x="2038673" y="4529375"/>
                    <a:pt x="2031958" y="4537442"/>
                    <a:pt x="2031958" y="4553236"/>
                  </a:cubicBezTo>
                  <a:lnTo>
                    <a:pt x="2031958" y="4588964"/>
                  </a:lnTo>
                  <a:cubicBezTo>
                    <a:pt x="2031958" y="4606025"/>
                    <a:pt x="2023554" y="4616540"/>
                    <a:pt x="2006745" y="4620510"/>
                  </a:cubicBezTo>
                  <a:lnTo>
                    <a:pt x="2006745" y="4620890"/>
                  </a:lnTo>
                  <a:cubicBezTo>
                    <a:pt x="2023554" y="4624607"/>
                    <a:pt x="2031958" y="4635038"/>
                    <a:pt x="2031958" y="4652184"/>
                  </a:cubicBezTo>
                  <a:lnTo>
                    <a:pt x="2031958" y="4687531"/>
                  </a:lnTo>
                  <a:cubicBezTo>
                    <a:pt x="2031958" y="4696569"/>
                    <a:pt x="2033457" y="4703008"/>
                    <a:pt x="2036456" y="4706851"/>
                  </a:cubicBezTo>
                  <a:cubicBezTo>
                    <a:pt x="2039454" y="4710695"/>
                    <a:pt x="2044670" y="4712701"/>
                    <a:pt x="2052102" y="4712870"/>
                  </a:cubicBezTo>
                  <a:lnTo>
                    <a:pt x="2052102" y="4732380"/>
                  </a:lnTo>
                  <a:cubicBezTo>
                    <a:pt x="2022033" y="4732042"/>
                    <a:pt x="2006999" y="4719204"/>
                    <a:pt x="2006999" y="4693866"/>
                  </a:cubicBezTo>
                  <a:lnTo>
                    <a:pt x="2006999" y="4656491"/>
                  </a:lnTo>
                  <a:cubicBezTo>
                    <a:pt x="2006999" y="4639767"/>
                    <a:pt x="2000410" y="4630984"/>
                    <a:pt x="1987235" y="4630139"/>
                  </a:cubicBezTo>
                  <a:lnTo>
                    <a:pt x="1987235" y="4611642"/>
                  </a:lnTo>
                  <a:cubicBezTo>
                    <a:pt x="2000410" y="4610797"/>
                    <a:pt x="2006999" y="4601844"/>
                    <a:pt x="2006999" y="4584782"/>
                  </a:cubicBezTo>
                  <a:lnTo>
                    <a:pt x="2006999" y="4548422"/>
                  </a:lnTo>
                  <a:cubicBezTo>
                    <a:pt x="2006999" y="4522745"/>
                    <a:pt x="2022033" y="4509738"/>
                    <a:pt x="2052102" y="4509400"/>
                  </a:cubicBezTo>
                  <a:close/>
                  <a:moveTo>
                    <a:pt x="11194631" y="4169195"/>
                  </a:moveTo>
                  <a:cubicBezTo>
                    <a:pt x="11224531" y="4169533"/>
                    <a:pt x="11239480" y="4182540"/>
                    <a:pt x="11239480" y="4208216"/>
                  </a:cubicBezTo>
                  <a:lnTo>
                    <a:pt x="11239480" y="4244577"/>
                  </a:lnTo>
                  <a:cubicBezTo>
                    <a:pt x="11239480" y="4261639"/>
                    <a:pt x="11246026" y="4270591"/>
                    <a:pt x="11259118" y="4271436"/>
                  </a:cubicBezTo>
                  <a:lnTo>
                    <a:pt x="11259118" y="4289933"/>
                  </a:lnTo>
                  <a:cubicBezTo>
                    <a:pt x="11246026" y="4290778"/>
                    <a:pt x="11239480" y="4299562"/>
                    <a:pt x="11239480" y="4316286"/>
                  </a:cubicBezTo>
                  <a:lnTo>
                    <a:pt x="11239480" y="4353660"/>
                  </a:lnTo>
                  <a:cubicBezTo>
                    <a:pt x="11239480" y="4378999"/>
                    <a:pt x="11224531" y="4391837"/>
                    <a:pt x="11194631" y="4392175"/>
                  </a:cubicBezTo>
                  <a:lnTo>
                    <a:pt x="11194631" y="4372664"/>
                  </a:lnTo>
                  <a:cubicBezTo>
                    <a:pt x="11201979" y="4372495"/>
                    <a:pt x="11207195" y="4370468"/>
                    <a:pt x="11210278" y="4366583"/>
                  </a:cubicBezTo>
                  <a:cubicBezTo>
                    <a:pt x="11213360" y="4362697"/>
                    <a:pt x="11214902" y="4356278"/>
                    <a:pt x="11214902" y="4347326"/>
                  </a:cubicBezTo>
                  <a:lnTo>
                    <a:pt x="11214902" y="4311978"/>
                  </a:lnTo>
                  <a:cubicBezTo>
                    <a:pt x="11214902" y="4294832"/>
                    <a:pt x="11223222" y="4284401"/>
                    <a:pt x="11239861" y="4280685"/>
                  </a:cubicBezTo>
                  <a:lnTo>
                    <a:pt x="11239861" y="4280305"/>
                  </a:lnTo>
                  <a:cubicBezTo>
                    <a:pt x="11223222" y="4276335"/>
                    <a:pt x="11214902" y="4265820"/>
                    <a:pt x="11214902" y="4248758"/>
                  </a:cubicBezTo>
                  <a:lnTo>
                    <a:pt x="11214902" y="4213031"/>
                  </a:lnTo>
                  <a:cubicBezTo>
                    <a:pt x="11214902" y="4197236"/>
                    <a:pt x="11208145" y="4189170"/>
                    <a:pt x="11194631" y="4188832"/>
                  </a:cubicBezTo>
                  <a:close/>
                  <a:moveTo>
                    <a:pt x="11177147" y="4169195"/>
                  </a:moveTo>
                  <a:lnTo>
                    <a:pt x="11177147" y="4188832"/>
                  </a:lnTo>
                  <a:cubicBezTo>
                    <a:pt x="11163718" y="4189170"/>
                    <a:pt x="11157003" y="4197236"/>
                    <a:pt x="11157003" y="4213031"/>
                  </a:cubicBezTo>
                  <a:lnTo>
                    <a:pt x="11157003" y="4248758"/>
                  </a:lnTo>
                  <a:cubicBezTo>
                    <a:pt x="11157003" y="4265820"/>
                    <a:pt x="11148599" y="4276335"/>
                    <a:pt x="11131791" y="4280305"/>
                  </a:cubicBezTo>
                  <a:lnTo>
                    <a:pt x="11131791" y="4280685"/>
                  </a:lnTo>
                  <a:cubicBezTo>
                    <a:pt x="11148599" y="4284401"/>
                    <a:pt x="11157003" y="4294832"/>
                    <a:pt x="11157003" y="4311978"/>
                  </a:cubicBezTo>
                  <a:lnTo>
                    <a:pt x="11157003" y="4347326"/>
                  </a:lnTo>
                  <a:cubicBezTo>
                    <a:pt x="11157003" y="4356363"/>
                    <a:pt x="11158502" y="4362803"/>
                    <a:pt x="11161501" y="4366646"/>
                  </a:cubicBezTo>
                  <a:cubicBezTo>
                    <a:pt x="11164499" y="4370489"/>
                    <a:pt x="11169714" y="4372495"/>
                    <a:pt x="11177147" y="4372664"/>
                  </a:cubicBezTo>
                  <a:lnTo>
                    <a:pt x="11177147" y="4392175"/>
                  </a:lnTo>
                  <a:cubicBezTo>
                    <a:pt x="11147078" y="4391837"/>
                    <a:pt x="11132044" y="4378999"/>
                    <a:pt x="11132044" y="4353660"/>
                  </a:cubicBezTo>
                  <a:lnTo>
                    <a:pt x="11132044" y="4316286"/>
                  </a:lnTo>
                  <a:cubicBezTo>
                    <a:pt x="11132044" y="4299562"/>
                    <a:pt x="11125456" y="4290778"/>
                    <a:pt x="11112280" y="4289933"/>
                  </a:cubicBezTo>
                  <a:lnTo>
                    <a:pt x="11112280" y="4271436"/>
                  </a:lnTo>
                  <a:cubicBezTo>
                    <a:pt x="11125456" y="4270591"/>
                    <a:pt x="11132044" y="4261639"/>
                    <a:pt x="11132044" y="4244577"/>
                  </a:cubicBezTo>
                  <a:lnTo>
                    <a:pt x="11132044" y="4208216"/>
                  </a:lnTo>
                  <a:cubicBezTo>
                    <a:pt x="11132044" y="4182540"/>
                    <a:pt x="11147078" y="4169533"/>
                    <a:pt x="11177147" y="4169195"/>
                  </a:cubicBezTo>
                  <a:close/>
                  <a:moveTo>
                    <a:pt x="8154275" y="4169195"/>
                  </a:moveTo>
                  <a:cubicBezTo>
                    <a:pt x="8184175" y="4169533"/>
                    <a:pt x="8199124" y="4182540"/>
                    <a:pt x="8199124" y="4208217"/>
                  </a:cubicBezTo>
                  <a:lnTo>
                    <a:pt x="8199124" y="4244577"/>
                  </a:lnTo>
                  <a:cubicBezTo>
                    <a:pt x="8199124" y="4261639"/>
                    <a:pt x="8205670" y="4270592"/>
                    <a:pt x="8218762" y="4271437"/>
                  </a:cubicBezTo>
                  <a:lnTo>
                    <a:pt x="8218762" y="4289934"/>
                  </a:lnTo>
                  <a:cubicBezTo>
                    <a:pt x="8205670" y="4290779"/>
                    <a:pt x="8199124" y="4299562"/>
                    <a:pt x="8199124" y="4316286"/>
                  </a:cubicBezTo>
                  <a:lnTo>
                    <a:pt x="8199124" y="4353661"/>
                  </a:lnTo>
                  <a:cubicBezTo>
                    <a:pt x="8199124" y="4378999"/>
                    <a:pt x="8184175" y="4391837"/>
                    <a:pt x="8154275" y="4392175"/>
                  </a:cubicBezTo>
                  <a:lnTo>
                    <a:pt x="8154275" y="4372665"/>
                  </a:lnTo>
                  <a:cubicBezTo>
                    <a:pt x="8161623" y="4372496"/>
                    <a:pt x="8166839" y="4370469"/>
                    <a:pt x="8169922" y="4366583"/>
                  </a:cubicBezTo>
                  <a:cubicBezTo>
                    <a:pt x="8173004" y="4362698"/>
                    <a:pt x="8174546" y="4356279"/>
                    <a:pt x="8174546" y="4347326"/>
                  </a:cubicBezTo>
                  <a:lnTo>
                    <a:pt x="8174546" y="4311979"/>
                  </a:lnTo>
                  <a:cubicBezTo>
                    <a:pt x="8174546" y="4294833"/>
                    <a:pt x="8182866" y="4284402"/>
                    <a:pt x="8199505" y="4280685"/>
                  </a:cubicBezTo>
                  <a:lnTo>
                    <a:pt x="8199505" y="4280305"/>
                  </a:lnTo>
                  <a:cubicBezTo>
                    <a:pt x="8182866" y="4276335"/>
                    <a:pt x="8174546" y="4265820"/>
                    <a:pt x="8174546" y="4248759"/>
                  </a:cubicBezTo>
                  <a:lnTo>
                    <a:pt x="8174546" y="4213031"/>
                  </a:lnTo>
                  <a:cubicBezTo>
                    <a:pt x="8174546" y="4197237"/>
                    <a:pt x="8167789" y="4189170"/>
                    <a:pt x="8154275" y="4188833"/>
                  </a:cubicBezTo>
                  <a:close/>
                  <a:moveTo>
                    <a:pt x="8136791" y="4169195"/>
                  </a:moveTo>
                  <a:lnTo>
                    <a:pt x="8136791" y="4188833"/>
                  </a:lnTo>
                  <a:cubicBezTo>
                    <a:pt x="8123361" y="4189170"/>
                    <a:pt x="8116647" y="4197237"/>
                    <a:pt x="8116647" y="4213031"/>
                  </a:cubicBezTo>
                  <a:lnTo>
                    <a:pt x="8116647" y="4248759"/>
                  </a:lnTo>
                  <a:cubicBezTo>
                    <a:pt x="8116647" y="4265820"/>
                    <a:pt x="8108242" y="4276335"/>
                    <a:pt x="8091434" y="4280305"/>
                  </a:cubicBezTo>
                  <a:lnTo>
                    <a:pt x="8091434" y="4280685"/>
                  </a:lnTo>
                  <a:cubicBezTo>
                    <a:pt x="8108242" y="4284402"/>
                    <a:pt x="8116647" y="4294833"/>
                    <a:pt x="8116647" y="4311979"/>
                  </a:cubicBezTo>
                  <a:lnTo>
                    <a:pt x="8116647" y="4347326"/>
                  </a:lnTo>
                  <a:cubicBezTo>
                    <a:pt x="8116647" y="4356364"/>
                    <a:pt x="8118146" y="4362803"/>
                    <a:pt x="8121144" y="4366646"/>
                  </a:cubicBezTo>
                  <a:cubicBezTo>
                    <a:pt x="8124142" y="4370490"/>
                    <a:pt x="8129358" y="4372496"/>
                    <a:pt x="8136791" y="4372665"/>
                  </a:cubicBezTo>
                  <a:lnTo>
                    <a:pt x="8136791" y="4392175"/>
                  </a:lnTo>
                  <a:cubicBezTo>
                    <a:pt x="8106722" y="4391837"/>
                    <a:pt x="8091688" y="4378999"/>
                    <a:pt x="8091688" y="4353661"/>
                  </a:cubicBezTo>
                  <a:lnTo>
                    <a:pt x="8091688" y="4316286"/>
                  </a:lnTo>
                  <a:cubicBezTo>
                    <a:pt x="8091688" y="4299562"/>
                    <a:pt x="8085100" y="4290779"/>
                    <a:pt x="8071924" y="4289934"/>
                  </a:cubicBezTo>
                  <a:lnTo>
                    <a:pt x="8071924" y="4271437"/>
                  </a:lnTo>
                  <a:cubicBezTo>
                    <a:pt x="8085100" y="4270592"/>
                    <a:pt x="8091688" y="4261639"/>
                    <a:pt x="8091688" y="4244577"/>
                  </a:cubicBezTo>
                  <a:lnTo>
                    <a:pt x="8091688" y="4208217"/>
                  </a:lnTo>
                  <a:cubicBezTo>
                    <a:pt x="8091688" y="4182540"/>
                    <a:pt x="8106722" y="4169533"/>
                    <a:pt x="8136791" y="4169195"/>
                  </a:cubicBezTo>
                  <a:close/>
                  <a:moveTo>
                    <a:pt x="5099554" y="4169195"/>
                  </a:moveTo>
                  <a:cubicBezTo>
                    <a:pt x="5129455" y="4169533"/>
                    <a:pt x="5144404" y="4182540"/>
                    <a:pt x="5144404" y="4208217"/>
                  </a:cubicBezTo>
                  <a:lnTo>
                    <a:pt x="5144404" y="4244577"/>
                  </a:lnTo>
                  <a:cubicBezTo>
                    <a:pt x="5144404" y="4261639"/>
                    <a:pt x="5150949" y="4270592"/>
                    <a:pt x="5164041" y="4271437"/>
                  </a:cubicBezTo>
                  <a:lnTo>
                    <a:pt x="5164041" y="4289934"/>
                  </a:lnTo>
                  <a:cubicBezTo>
                    <a:pt x="5150949" y="4290779"/>
                    <a:pt x="5144404" y="4299562"/>
                    <a:pt x="5144404" y="4316286"/>
                  </a:cubicBezTo>
                  <a:lnTo>
                    <a:pt x="5144404" y="4353661"/>
                  </a:lnTo>
                  <a:cubicBezTo>
                    <a:pt x="5144404" y="4378999"/>
                    <a:pt x="5129455" y="4391837"/>
                    <a:pt x="5099554" y="4392175"/>
                  </a:cubicBezTo>
                  <a:lnTo>
                    <a:pt x="5099554" y="4372665"/>
                  </a:lnTo>
                  <a:cubicBezTo>
                    <a:pt x="5106902" y="4372496"/>
                    <a:pt x="5112117" y="4370469"/>
                    <a:pt x="5115200" y="4366583"/>
                  </a:cubicBezTo>
                  <a:cubicBezTo>
                    <a:pt x="5118283" y="4362698"/>
                    <a:pt x="5119826" y="4356279"/>
                    <a:pt x="5119826" y="4347326"/>
                  </a:cubicBezTo>
                  <a:lnTo>
                    <a:pt x="5119826" y="4311979"/>
                  </a:lnTo>
                  <a:cubicBezTo>
                    <a:pt x="5119826" y="4294833"/>
                    <a:pt x="5128144" y="4284402"/>
                    <a:pt x="5144783" y="4280685"/>
                  </a:cubicBezTo>
                  <a:lnTo>
                    <a:pt x="5144783" y="4280305"/>
                  </a:lnTo>
                  <a:cubicBezTo>
                    <a:pt x="5128144" y="4276335"/>
                    <a:pt x="5119826" y="4265820"/>
                    <a:pt x="5119826" y="4248759"/>
                  </a:cubicBezTo>
                  <a:lnTo>
                    <a:pt x="5119826" y="4213031"/>
                  </a:lnTo>
                  <a:cubicBezTo>
                    <a:pt x="5119826" y="4197237"/>
                    <a:pt x="5113069" y="4189170"/>
                    <a:pt x="5099554" y="4188833"/>
                  </a:cubicBezTo>
                  <a:close/>
                  <a:moveTo>
                    <a:pt x="5082070" y="4169195"/>
                  </a:moveTo>
                  <a:lnTo>
                    <a:pt x="5082070" y="4188833"/>
                  </a:lnTo>
                  <a:cubicBezTo>
                    <a:pt x="5068640" y="4189170"/>
                    <a:pt x="5061927" y="4197237"/>
                    <a:pt x="5061927" y="4213031"/>
                  </a:cubicBezTo>
                  <a:lnTo>
                    <a:pt x="5061927" y="4248759"/>
                  </a:lnTo>
                  <a:cubicBezTo>
                    <a:pt x="5061927" y="4265820"/>
                    <a:pt x="5053522" y="4276335"/>
                    <a:pt x="5036713" y="4280305"/>
                  </a:cubicBezTo>
                  <a:lnTo>
                    <a:pt x="5036713" y="4280685"/>
                  </a:lnTo>
                  <a:cubicBezTo>
                    <a:pt x="5053522" y="4284402"/>
                    <a:pt x="5061927" y="4294833"/>
                    <a:pt x="5061927" y="4311979"/>
                  </a:cubicBezTo>
                  <a:lnTo>
                    <a:pt x="5061927" y="4347326"/>
                  </a:lnTo>
                  <a:cubicBezTo>
                    <a:pt x="5061927" y="4356364"/>
                    <a:pt x="5063425" y="4362803"/>
                    <a:pt x="5066423" y="4366646"/>
                  </a:cubicBezTo>
                  <a:cubicBezTo>
                    <a:pt x="5069421" y="4370490"/>
                    <a:pt x="5074637" y="4372496"/>
                    <a:pt x="5082070" y="4372665"/>
                  </a:cubicBezTo>
                  <a:lnTo>
                    <a:pt x="5082070" y="4392175"/>
                  </a:lnTo>
                  <a:cubicBezTo>
                    <a:pt x="5052001" y="4391837"/>
                    <a:pt x="5036967" y="4378999"/>
                    <a:pt x="5036967" y="4353661"/>
                  </a:cubicBezTo>
                  <a:lnTo>
                    <a:pt x="5036967" y="4316286"/>
                  </a:lnTo>
                  <a:cubicBezTo>
                    <a:pt x="5036967" y="4299562"/>
                    <a:pt x="5030379" y="4290779"/>
                    <a:pt x="5017204" y="4289934"/>
                  </a:cubicBezTo>
                  <a:lnTo>
                    <a:pt x="5017204" y="4271437"/>
                  </a:lnTo>
                  <a:cubicBezTo>
                    <a:pt x="5030379" y="4270592"/>
                    <a:pt x="5036967" y="4261639"/>
                    <a:pt x="5036967" y="4244577"/>
                  </a:cubicBezTo>
                  <a:lnTo>
                    <a:pt x="5036967" y="4208217"/>
                  </a:lnTo>
                  <a:cubicBezTo>
                    <a:pt x="5036967" y="4182540"/>
                    <a:pt x="5052001" y="4169533"/>
                    <a:pt x="5082070" y="4169195"/>
                  </a:cubicBezTo>
                  <a:close/>
                  <a:moveTo>
                    <a:pt x="2071278" y="4169195"/>
                  </a:moveTo>
                  <a:cubicBezTo>
                    <a:pt x="2101178" y="4169533"/>
                    <a:pt x="2116128" y="4182540"/>
                    <a:pt x="2116128" y="4208217"/>
                  </a:cubicBezTo>
                  <a:lnTo>
                    <a:pt x="2116128" y="4244577"/>
                  </a:lnTo>
                  <a:cubicBezTo>
                    <a:pt x="2116128" y="4261639"/>
                    <a:pt x="2122673" y="4270592"/>
                    <a:pt x="2135765" y="4271437"/>
                  </a:cubicBezTo>
                  <a:lnTo>
                    <a:pt x="2135765" y="4289934"/>
                  </a:lnTo>
                  <a:cubicBezTo>
                    <a:pt x="2122673" y="4290779"/>
                    <a:pt x="2116128" y="4299562"/>
                    <a:pt x="2116128" y="4316286"/>
                  </a:cubicBezTo>
                  <a:lnTo>
                    <a:pt x="2116128" y="4353661"/>
                  </a:lnTo>
                  <a:cubicBezTo>
                    <a:pt x="2116128" y="4378999"/>
                    <a:pt x="2101178" y="4391837"/>
                    <a:pt x="2071278" y="4392175"/>
                  </a:cubicBezTo>
                  <a:lnTo>
                    <a:pt x="2071278" y="4372665"/>
                  </a:lnTo>
                  <a:cubicBezTo>
                    <a:pt x="2078626" y="4372496"/>
                    <a:pt x="2083842" y="4370469"/>
                    <a:pt x="2086925" y="4366583"/>
                  </a:cubicBezTo>
                  <a:cubicBezTo>
                    <a:pt x="2090008" y="4362698"/>
                    <a:pt x="2091548" y="4356279"/>
                    <a:pt x="2091548" y="4347326"/>
                  </a:cubicBezTo>
                  <a:lnTo>
                    <a:pt x="2091548" y="4311979"/>
                  </a:lnTo>
                  <a:cubicBezTo>
                    <a:pt x="2091548" y="4294833"/>
                    <a:pt x="2099869" y="4284402"/>
                    <a:pt x="2116508" y="4280685"/>
                  </a:cubicBezTo>
                  <a:lnTo>
                    <a:pt x="2116508" y="4280305"/>
                  </a:lnTo>
                  <a:cubicBezTo>
                    <a:pt x="2099869" y="4276335"/>
                    <a:pt x="2091548" y="4265820"/>
                    <a:pt x="2091548" y="4248759"/>
                  </a:cubicBezTo>
                  <a:lnTo>
                    <a:pt x="2091548" y="4213031"/>
                  </a:lnTo>
                  <a:cubicBezTo>
                    <a:pt x="2091548" y="4197237"/>
                    <a:pt x="2084792" y="4189170"/>
                    <a:pt x="2071278" y="4188833"/>
                  </a:cubicBezTo>
                  <a:close/>
                  <a:moveTo>
                    <a:pt x="2053794" y="4169195"/>
                  </a:moveTo>
                  <a:lnTo>
                    <a:pt x="2053794" y="4188833"/>
                  </a:lnTo>
                  <a:cubicBezTo>
                    <a:pt x="2040365" y="4189170"/>
                    <a:pt x="2033650" y="4197237"/>
                    <a:pt x="2033650" y="4213031"/>
                  </a:cubicBezTo>
                  <a:lnTo>
                    <a:pt x="2033650" y="4248759"/>
                  </a:lnTo>
                  <a:cubicBezTo>
                    <a:pt x="2033650" y="4265820"/>
                    <a:pt x="2025246" y="4276335"/>
                    <a:pt x="2008437" y="4280305"/>
                  </a:cubicBezTo>
                  <a:lnTo>
                    <a:pt x="2008437" y="4280685"/>
                  </a:lnTo>
                  <a:cubicBezTo>
                    <a:pt x="2025246" y="4284402"/>
                    <a:pt x="2033650" y="4294833"/>
                    <a:pt x="2033650" y="4311979"/>
                  </a:cubicBezTo>
                  <a:lnTo>
                    <a:pt x="2033650" y="4347326"/>
                  </a:lnTo>
                  <a:cubicBezTo>
                    <a:pt x="2033650" y="4356364"/>
                    <a:pt x="2035150" y="4362803"/>
                    <a:pt x="2038148" y="4366646"/>
                  </a:cubicBezTo>
                  <a:cubicBezTo>
                    <a:pt x="2041146" y="4370490"/>
                    <a:pt x="2046362" y="4372496"/>
                    <a:pt x="2053794" y="4372665"/>
                  </a:cubicBezTo>
                  <a:lnTo>
                    <a:pt x="2053794" y="4392175"/>
                  </a:lnTo>
                  <a:cubicBezTo>
                    <a:pt x="2023726" y="4391837"/>
                    <a:pt x="2008691" y="4378999"/>
                    <a:pt x="2008691" y="4353661"/>
                  </a:cubicBezTo>
                  <a:lnTo>
                    <a:pt x="2008691" y="4316286"/>
                  </a:lnTo>
                  <a:cubicBezTo>
                    <a:pt x="2008691" y="4299562"/>
                    <a:pt x="2002102" y="4290779"/>
                    <a:pt x="1988926" y="4289934"/>
                  </a:cubicBezTo>
                  <a:lnTo>
                    <a:pt x="1988926" y="4271437"/>
                  </a:lnTo>
                  <a:cubicBezTo>
                    <a:pt x="2002102" y="4270592"/>
                    <a:pt x="2008691" y="4261639"/>
                    <a:pt x="2008691" y="4244577"/>
                  </a:cubicBezTo>
                  <a:lnTo>
                    <a:pt x="2008691" y="4208217"/>
                  </a:lnTo>
                  <a:cubicBezTo>
                    <a:pt x="2008691" y="4182540"/>
                    <a:pt x="2023726" y="4169533"/>
                    <a:pt x="2053794" y="4169195"/>
                  </a:cubicBezTo>
                  <a:close/>
                  <a:moveTo>
                    <a:pt x="11196323" y="3828990"/>
                  </a:moveTo>
                  <a:cubicBezTo>
                    <a:pt x="11226223" y="3829328"/>
                    <a:pt x="11241172" y="3842335"/>
                    <a:pt x="11241172" y="3868011"/>
                  </a:cubicBezTo>
                  <a:lnTo>
                    <a:pt x="11241172" y="3904372"/>
                  </a:lnTo>
                  <a:cubicBezTo>
                    <a:pt x="11241172" y="3921434"/>
                    <a:pt x="11247718" y="3930387"/>
                    <a:pt x="11260810" y="3931231"/>
                  </a:cubicBezTo>
                  <a:lnTo>
                    <a:pt x="11260810" y="3949728"/>
                  </a:lnTo>
                  <a:cubicBezTo>
                    <a:pt x="11247718" y="3950573"/>
                    <a:pt x="11241172" y="3959357"/>
                    <a:pt x="11241172" y="3976081"/>
                  </a:cubicBezTo>
                  <a:lnTo>
                    <a:pt x="11241172" y="4013455"/>
                  </a:lnTo>
                  <a:cubicBezTo>
                    <a:pt x="11241172" y="4038794"/>
                    <a:pt x="11226223" y="4051632"/>
                    <a:pt x="11196323" y="4051970"/>
                  </a:cubicBezTo>
                  <a:lnTo>
                    <a:pt x="11196323" y="4032459"/>
                  </a:lnTo>
                  <a:cubicBezTo>
                    <a:pt x="11203671" y="4032290"/>
                    <a:pt x="11208887" y="4030263"/>
                    <a:pt x="11211970" y="4026378"/>
                  </a:cubicBezTo>
                  <a:cubicBezTo>
                    <a:pt x="11215052" y="4022492"/>
                    <a:pt x="11216594" y="4016073"/>
                    <a:pt x="11216594" y="4007121"/>
                  </a:cubicBezTo>
                  <a:lnTo>
                    <a:pt x="11216594" y="3971773"/>
                  </a:lnTo>
                  <a:cubicBezTo>
                    <a:pt x="11216594" y="3954627"/>
                    <a:pt x="11224914" y="3944196"/>
                    <a:pt x="11241553" y="3940480"/>
                  </a:cubicBezTo>
                  <a:lnTo>
                    <a:pt x="11241553" y="3940100"/>
                  </a:lnTo>
                  <a:cubicBezTo>
                    <a:pt x="11224914" y="3936130"/>
                    <a:pt x="11216594" y="3925615"/>
                    <a:pt x="11216594" y="3908553"/>
                  </a:cubicBezTo>
                  <a:lnTo>
                    <a:pt x="11216594" y="3872826"/>
                  </a:lnTo>
                  <a:cubicBezTo>
                    <a:pt x="11216594" y="3857031"/>
                    <a:pt x="11209837" y="3848965"/>
                    <a:pt x="11196323" y="3848627"/>
                  </a:cubicBezTo>
                  <a:close/>
                  <a:moveTo>
                    <a:pt x="11178839" y="3828990"/>
                  </a:moveTo>
                  <a:lnTo>
                    <a:pt x="11178839" y="3848627"/>
                  </a:lnTo>
                  <a:cubicBezTo>
                    <a:pt x="11165410" y="3848965"/>
                    <a:pt x="11158695" y="3857031"/>
                    <a:pt x="11158695" y="3872826"/>
                  </a:cubicBezTo>
                  <a:lnTo>
                    <a:pt x="11158695" y="3908553"/>
                  </a:lnTo>
                  <a:cubicBezTo>
                    <a:pt x="11158695" y="3925615"/>
                    <a:pt x="11150291" y="3936130"/>
                    <a:pt x="11133483" y="3940100"/>
                  </a:cubicBezTo>
                  <a:lnTo>
                    <a:pt x="11133483" y="3940480"/>
                  </a:lnTo>
                  <a:cubicBezTo>
                    <a:pt x="11150291" y="3944196"/>
                    <a:pt x="11158695" y="3954627"/>
                    <a:pt x="11158695" y="3971773"/>
                  </a:cubicBezTo>
                  <a:lnTo>
                    <a:pt x="11158695" y="4007121"/>
                  </a:lnTo>
                  <a:cubicBezTo>
                    <a:pt x="11158695" y="4016158"/>
                    <a:pt x="11160194" y="4022598"/>
                    <a:pt x="11163193" y="4026441"/>
                  </a:cubicBezTo>
                  <a:cubicBezTo>
                    <a:pt x="11166191" y="4030284"/>
                    <a:pt x="11171406" y="4032290"/>
                    <a:pt x="11178839" y="4032459"/>
                  </a:cubicBezTo>
                  <a:lnTo>
                    <a:pt x="11178839" y="4051970"/>
                  </a:lnTo>
                  <a:cubicBezTo>
                    <a:pt x="11148770" y="4051632"/>
                    <a:pt x="11133736" y="4038794"/>
                    <a:pt x="11133736" y="4013455"/>
                  </a:cubicBezTo>
                  <a:lnTo>
                    <a:pt x="11133736" y="3976081"/>
                  </a:lnTo>
                  <a:cubicBezTo>
                    <a:pt x="11133736" y="3959357"/>
                    <a:pt x="11127148" y="3950573"/>
                    <a:pt x="11113972" y="3949728"/>
                  </a:cubicBezTo>
                  <a:lnTo>
                    <a:pt x="11113972" y="3931231"/>
                  </a:lnTo>
                  <a:cubicBezTo>
                    <a:pt x="11127148" y="3930387"/>
                    <a:pt x="11133736" y="3921434"/>
                    <a:pt x="11133736" y="3904372"/>
                  </a:cubicBezTo>
                  <a:lnTo>
                    <a:pt x="11133736" y="3868011"/>
                  </a:lnTo>
                  <a:cubicBezTo>
                    <a:pt x="11133736" y="3842335"/>
                    <a:pt x="11148770" y="3829328"/>
                    <a:pt x="11178839" y="3828990"/>
                  </a:cubicBezTo>
                  <a:close/>
                  <a:moveTo>
                    <a:pt x="8155967" y="3828990"/>
                  </a:moveTo>
                  <a:cubicBezTo>
                    <a:pt x="8185867" y="3829328"/>
                    <a:pt x="8200816" y="3842335"/>
                    <a:pt x="8200816" y="3868012"/>
                  </a:cubicBezTo>
                  <a:lnTo>
                    <a:pt x="8200816" y="3904372"/>
                  </a:lnTo>
                  <a:cubicBezTo>
                    <a:pt x="8200816" y="3921434"/>
                    <a:pt x="8207362" y="3930387"/>
                    <a:pt x="8220454" y="3931232"/>
                  </a:cubicBezTo>
                  <a:lnTo>
                    <a:pt x="8220454" y="3949729"/>
                  </a:lnTo>
                  <a:cubicBezTo>
                    <a:pt x="8207362" y="3950573"/>
                    <a:pt x="8200816" y="3959357"/>
                    <a:pt x="8200816" y="3976081"/>
                  </a:cubicBezTo>
                  <a:lnTo>
                    <a:pt x="8200816" y="4013456"/>
                  </a:lnTo>
                  <a:cubicBezTo>
                    <a:pt x="8200816" y="4038794"/>
                    <a:pt x="8185867" y="4051632"/>
                    <a:pt x="8155967" y="4051970"/>
                  </a:cubicBezTo>
                  <a:lnTo>
                    <a:pt x="8155967" y="4032459"/>
                  </a:lnTo>
                  <a:cubicBezTo>
                    <a:pt x="8163315" y="4032290"/>
                    <a:pt x="8168531" y="4030264"/>
                    <a:pt x="8171614" y="4026378"/>
                  </a:cubicBezTo>
                  <a:cubicBezTo>
                    <a:pt x="8174696" y="4022493"/>
                    <a:pt x="8176238" y="4016074"/>
                    <a:pt x="8176238" y="4007121"/>
                  </a:cubicBezTo>
                  <a:lnTo>
                    <a:pt x="8176238" y="3971774"/>
                  </a:lnTo>
                  <a:cubicBezTo>
                    <a:pt x="8176238" y="3954628"/>
                    <a:pt x="8184558" y="3944197"/>
                    <a:pt x="8201197" y="3940480"/>
                  </a:cubicBezTo>
                  <a:lnTo>
                    <a:pt x="8201197" y="3940100"/>
                  </a:lnTo>
                  <a:cubicBezTo>
                    <a:pt x="8184558" y="3936130"/>
                    <a:pt x="8176238" y="3925615"/>
                    <a:pt x="8176238" y="3908553"/>
                  </a:cubicBezTo>
                  <a:lnTo>
                    <a:pt x="8176238" y="3872826"/>
                  </a:lnTo>
                  <a:cubicBezTo>
                    <a:pt x="8176238" y="3857031"/>
                    <a:pt x="8169481" y="3848965"/>
                    <a:pt x="8155967" y="3848628"/>
                  </a:cubicBezTo>
                  <a:close/>
                  <a:moveTo>
                    <a:pt x="8138483" y="3828990"/>
                  </a:moveTo>
                  <a:lnTo>
                    <a:pt x="8138483" y="3848628"/>
                  </a:lnTo>
                  <a:cubicBezTo>
                    <a:pt x="8125053" y="3848965"/>
                    <a:pt x="8118339" y="3857031"/>
                    <a:pt x="8118339" y="3872826"/>
                  </a:cubicBezTo>
                  <a:lnTo>
                    <a:pt x="8118339" y="3908553"/>
                  </a:lnTo>
                  <a:cubicBezTo>
                    <a:pt x="8118339" y="3925615"/>
                    <a:pt x="8109934" y="3936130"/>
                    <a:pt x="8093126" y="3940100"/>
                  </a:cubicBezTo>
                  <a:lnTo>
                    <a:pt x="8093126" y="3940480"/>
                  </a:lnTo>
                  <a:cubicBezTo>
                    <a:pt x="8109934" y="3944197"/>
                    <a:pt x="8118339" y="3954628"/>
                    <a:pt x="8118339" y="3971774"/>
                  </a:cubicBezTo>
                  <a:lnTo>
                    <a:pt x="8118339" y="4007121"/>
                  </a:lnTo>
                  <a:cubicBezTo>
                    <a:pt x="8118339" y="4016158"/>
                    <a:pt x="8119838" y="4022598"/>
                    <a:pt x="8122836" y="4026441"/>
                  </a:cubicBezTo>
                  <a:cubicBezTo>
                    <a:pt x="8125834" y="4030284"/>
                    <a:pt x="8131050" y="4032290"/>
                    <a:pt x="8138483" y="4032459"/>
                  </a:cubicBezTo>
                  <a:lnTo>
                    <a:pt x="8138483" y="4051970"/>
                  </a:lnTo>
                  <a:cubicBezTo>
                    <a:pt x="8108414" y="4051632"/>
                    <a:pt x="8093380" y="4038794"/>
                    <a:pt x="8093380" y="4013456"/>
                  </a:cubicBezTo>
                  <a:lnTo>
                    <a:pt x="8093380" y="3976081"/>
                  </a:lnTo>
                  <a:cubicBezTo>
                    <a:pt x="8093380" y="3959357"/>
                    <a:pt x="8086792" y="3950573"/>
                    <a:pt x="8073616" y="3949729"/>
                  </a:cubicBezTo>
                  <a:lnTo>
                    <a:pt x="8073616" y="3931232"/>
                  </a:lnTo>
                  <a:cubicBezTo>
                    <a:pt x="8086792" y="3930387"/>
                    <a:pt x="8093380" y="3921434"/>
                    <a:pt x="8093380" y="3904372"/>
                  </a:cubicBezTo>
                  <a:lnTo>
                    <a:pt x="8093380" y="3868012"/>
                  </a:lnTo>
                  <a:cubicBezTo>
                    <a:pt x="8093380" y="3842335"/>
                    <a:pt x="8108414" y="3829328"/>
                    <a:pt x="8138483" y="3828990"/>
                  </a:cubicBezTo>
                  <a:close/>
                  <a:moveTo>
                    <a:pt x="5101246" y="3828990"/>
                  </a:moveTo>
                  <a:cubicBezTo>
                    <a:pt x="5131146" y="3829328"/>
                    <a:pt x="5146095" y="3842335"/>
                    <a:pt x="5146095" y="3868012"/>
                  </a:cubicBezTo>
                  <a:lnTo>
                    <a:pt x="5146095" y="3904372"/>
                  </a:lnTo>
                  <a:cubicBezTo>
                    <a:pt x="5146095" y="3921434"/>
                    <a:pt x="5152641" y="3930387"/>
                    <a:pt x="5165734" y="3931232"/>
                  </a:cubicBezTo>
                  <a:lnTo>
                    <a:pt x="5165734" y="3949729"/>
                  </a:lnTo>
                  <a:cubicBezTo>
                    <a:pt x="5152641" y="3950573"/>
                    <a:pt x="5146095" y="3959357"/>
                    <a:pt x="5146095" y="3976081"/>
                  </a:cubicBezTo>
                  <a:lnTo>
                    <a:pt x="5146095" y="4013456"/>
                  </a:lnTo>
                  <a:cubicBezTo>
                    <a:pt x="5146095" y="4038794"/>
                    <a:pt x="5131146" y="4051632"/>
                    <a:pt x="5101246" y="4051970"/>
                  </a:cubicBezTo>
                  <a:lnTo>
                    <a:pt x="5101246" y="4032459"/>
                  </a:lnTo>
                  <a:cubicBezTo>
                    <a:pt x="5108595" y="4032290"/>
                    <a:pt x="5113809" y="4030264"/>
                    <a:pt x="5116893" y="4026378"/>
                  </a:cubicBezTo>
                  <a:cubicBezTo>
                    <a:pt x="5119975" y="4022493"/>
                    <a:pt x="5121517" y="4016074"/>
                    <a:pt x="5121517" y="4007121"/>
                  </a:cubicBezTo>
                  <a:lnTo>
                    <a:pt x="5121517" y="3971774"/>
                  </a:lnTo>
                  <a:cubicBezTo>
                    <a:pt x="5121517" y="3954628"/>
                    <a:pt x="5129836" y="3944197"/>
                    <a:pt x="5146475" y="3940480"/>
                  </a:cubicBezTo>
                  <a:lnTo>
                    <a:pt x="5146475" y="3940100"/>
                  </a:lnTo>
                  <a:cubicBezTo>
                    <a:pt x="5129836" y="3936130"/>
                    <a:pt x="5121517" y="3925615"/>
                    <a:pt x="5121517" y="3908553"/>
                  </a:cubicBezTo>
                  <a:lnTo>
                    <a:pt x="5121517" y="3872826"/>
                  </a:lnTo>
                  <a:cubicBezTo>
                    <a:pt x="5121517" y="3857031"/>
                    <a:pt x="5114760" y="3848965"/>
                    <a:pt x="5101246" y="3848628"/>
                  </a:cubicBezTo>
                  <a:close/>
                  <a:moveTo>
                    <a:pt x="5083763" y="3828990"/>
                  </a:moveTo>
                  <a:lnTo>
                    <a:pt x="5083763" y="3848628"/>
                  </a:lnTo>
                  <a:cubicBezTo>
                    <a:pt x="5070332" y="3848965"/>
                    <a:pt x="5063618" y="3857031"/>
                    <a:pt x="5063618" y="3872826"/>
                  </a:cubicBezTo>
                  <a:lnTo>
                    <a:pt x="5063618" y="3908553"/>
                  </a:lnTo>
                  <a:cubicBezTo>
                    <a:pt x="5063618" y="3925615"/>
                    <a:pt x="5055213" y="3936130"/>
                    <a:pt x="5038405" y="3940100"/>
                  </a:cubicBezTo>
                  <a:lnTo>
                    <a:pt x="5038405" y="3940480"/>
                  </a:lnTo>
                  <a:cubicBezTo>
                    <a:pt x="5055213" y="3944197"/>
                    <a:pt x="5063618" y="3954628"/>
                    <a:pt x="5063618" y="3971774"/>
                  </a:cubicBezTo>
                  <a:lnTo>
                    <a:pt x="5063618" y="4007121"/>
                  </a:lnTo>
                  <a:cubicBezTo>
                    <a:pt x="5063618" y="4016158"/>
                    <a:pt x="5065118" y="4022598"/>
                    <a:pt x="5068115" y="4026441"/>
                  </a:cubicBezTo>
                  <a:cubicBezTo>
                    <a:pt x="5071113" y="4030284"/>
                    <a:pt x="5076329" y="4032290"/>
                    <a:pt x="5083763" y="4032459"/>
                  </a:cubicBezTo>
                  <a:lnTo>
                    <a:pt x="5083763" y="4051970"/>
                  </a:lnTo>
                  <a:cubicBezTo>
                    <a:pt x="5053693" y="4051632"/>
                    <a:pt x="5038659" y="4038794"/>
                    <a:pt x="5038659" y="4013456"/>
                  </a:cubicBezTo>
                  <a:lnTo>
                    <a:pt x="5038659" y="3976081"/>
                  </a:lnTo>
                  <a:cubicBezTo>
                    <a:pt x="5038659" y="3959357"/>
                    <a:pt x="5032071" y="3950573"/>
                    <a:pt x="5018895" y="3949729"/>
                  </a:cubicBezTo>
                  <a:lnTo>
                    <a:pt x="5018895" y="3931232"/>
                  </a:lnTo>
                  <a:cubicBezTo>
                    <a:pt x="5032071" y="3930387"/>
                    <a:pt x="5038659" y="3921434"/>
                    <a:pt x="5038659" y="3904372"/>
                  </a:cubicBezTo>
                  <a:lnTo>
                    <a:pt x="5038659" y="3868012"/>
                  </a:lnTo>
                  <a:cubicBezTo>
                    <a:pt x="5038659" y="3842335"/>
                    <a:pt x="5053693" y="3829328"/>
                    <a:pt x="5083763" y="3828990"/>
                  </a:cubicBezTo>
                  <a:close/>
                  <a:moveTo>
                    <a:pt x="2072970" y="3828990"/>
                  </a:moveTo>
                  <a:cubicBezTo>
                    <a:pt x="2102870" y="3829328"/>
                    <a:pt x="2117820" y="3842335"/>
                    <a:pt x="2117820" y="3868012"/>
                  </a:cubicBezTo>
                  <a:lnTo>
                    <a:pt x="2117820" y="3904372"/>
                  </a:lnTo>
                  <a:cubicBezTo>
                    <a:pt x="2117820" y="3921434"/>
                    <a:pt x="2124366" y="3930387"/>
                    <a:pt x="2137457" y="3931232"/>
                  </a:cubicBezTo>
                  <a:lnTo>
                    <a:pt x="2137457" y="3949729"/>
                  </a:lnTo>
                  <a:cubicBezTo>
                    <a:pt x="2124366" y="3950573"/>
                    <a:pt x="2117820" y="3959357"/>
                    <a:pt x="2117820" y="3976081"/>
                  </a:cubicBezTo>
                  <a:lnTo>
                    <a:pt x="2117820" y="4013456"/>
                  </a:lnTo>
                  <a:cubicBezTo>
                    <a:pt x="2117820" y="4038794"/>
                    <a:pt x="2102870" y="4051632"/>
                    <a:pt x="2072970" y="4051970"/>
                  </a:cubicBezTo>
                  <a:lnTo>
                    <a:pt x="2072970" y="4032459"/>
                  </a:lnTo>
                  <a:cubicBezTo>
                    <a:pt x="2080319" y="4032290"/>
                    <a:pt x="2085534" y="4030264"/>
                    <a:pt x="2088617" y="4026378"/>
                  </a:cubicBezTo>
                  <a:cubicBezTo>
                    <a:pt x="2091700" y="4022493"/>
                    <a:pt x="2093241" y="4016074"/>
                    <a:pt x="2093241" y="4007121"/>
                  </a:cubicBezTo>
                  <a:lnTo>
                    <a:pt x="2093241" y="3971774"/>
                  </a:lnTo>
                  <a:cubicBezTo>
                    <a:pt x="2093241" y="3954628"/>
                    <a:pt x="2101561" y="3944197"/>
                    <a:pt x="2118200" y="3940480"/>
                  </a:cubicBezTo>
                  <a:lnTo>
                    <a:pt x="2118200" y="3940100"/>
                  </a:lnTo>
                  <a:cubicBezTo>
                    <a:pt x="2101561" y="3936130"/>
                    <a:pt x="2093241" y="3925615"/>
                    <a:pt x="2093241" y="3908553"/>
                  </a:cubicBezTo>
                  <a:lnTo>
                    <a:pt x="2093241" y="3872826"/>
                  </a:lnTo>
                  <a:cubicBezTo>
                    <a:pt x="2093241" y="3857031"/>
                    <a:pt x="2086485" y="3848965"/>
                    <a:pt x="2072970" y="3848628"/>
                  </a:cubicBezTo>
                  <a:close/>
                  <a:moveTo>
                    <a:pt x="2055487" y="3828990"/>
                  </a:moveTo>
                  <a:lnTo>
                    <a:pt x="2055487" y="3848628"/>
                  </a:lnTo>
                  <a:cubicBezTo>
                    <a:pt x="2042057" y="3848965"/>
                    <a:pt x="2035342" y="3857031"/>
                    <a:pt x="2035342" y="3872826"/>
                  </a:cubicBezTo>
                  <a:lnTo>
                    <a:pt x="2035342" y="3908553"/>
                  </a:lnTo>
                  <a:cubicBezTo>
                    <a:pt x="2035342" y="3925615"/>
                    <a:pt x="2026938" y="3936130"/>
                    <a:pt x="2010130" y="3940100"/>
                  </a:cubicBezTo>
                  <a:lnTo>
                    <a:pt x="2010130" y="3940480"/>
                  </a:lnTo>
                  <a:cubicBezTo>
                    <a:pt x="2026938" y="3944197"/>
                    <a:pt x="2035342" y="3954628"/>
                    <a:pt x="2035342" y="3971774"/>
                  </a:cubicBezTo>
                  <a:lnTo>
                    <a:pt x="2035342" y="4007121"/>
                  </a:lnTo>
                  <a:cubicBezTo>
                    <a:pt x="2035342" y="4016158"/>
                    <a:pt x="2036842" y="4022598"/>
                    <a:pt x="2039840" y="4026441"/>
                  </a:cubicBezTo>
                  <a:cubicBezTo>
                    <a:pt x="2042838" y="4030284"/>
                    <a:pt x="2048054" y="4032290"/>
                    <a:pt x="2055487" y="4032459"/>
                  </a:cubicBezTo>
                  <a:lnTo>
                    <a:pt x="2055487" y="4051970"/>
                  </a:lnTo>
                  <a:cubicBezTo>
                    <a:pt x="2025417" y="4051632"/>
                    <a:pt x="2010383" y="4038794"/>
                    <a:pt x="2010383" y="4013456"/>
                  </a:cubicBezTo>
                  <a:lnTo>
                    <a:pt x="2010383" y="3976081"/>
                  </a:lnTo>
                  <a:cubicBezTo>
                    <a:pt x="2010383" y="3959357"/>
                    <a:pt x="2003794" y="3950573"/>
                    <a:pt x="1990618" y="3949729"/>
                  </a:cubicBezTo>
                  <a:lnTo>
                    <a:pt x="1990618" y="3931232"/>
                  </a:lnTo>
                  <a:cubicBezTo>
                    <a:pt x="2003794" y="3930387"/>
                    <a:pt x="2010383" y="3921434"/>
                    <a:pt x="2010383" y="3904372"/>
                  </a:cubicBezTo>
                  <a:lnTo>
                    <a:pt x="2010383" y="3868012"/>
                  </a:lnTo>
                  <a:cubicBezTo>
                    <a:pt x="2010383" y="3842335"/>
                    <a:pt x="2025417" y="3829328"/>
                    <a:pt x="2055487" y="3828990"/>
                  </a:cubicBezTo>
                  <a:close/>
                  <a:moveTo>
                    <a:pt x="11198015" y="3488785"/>
                  </a:moveTo>
                  <a:cubicBezTo>
                    <a:pt x="11227915" y="3489123"/>
                    <a:pt x="11242864" y="3502130"/>
                    <a:pt x="11242864" y="3527806"/>
                  </a:cubicBezTo>
                  <a:lnTo>
                    <a:pt x="11242864" y="3564167"/>
                  </a:lnTo>
                  <a:cubicBezTo>
                    <a:pt x="11242864" y="3581229"/>
                    <a:pt x="11249410" y="3590182"/>
                    <a:pt x="11262502" y="3591026"/>
                  </a:cubicBezTo>
                  <a:lnTo>
                    <a:pt x="11262502" y="3609523"/>
                  </a:lnTo>
                  <a:cubicBezTo>
                    <a:pt x="11249410" y="3610368"/>
                    <a:pt x="11242864" y="3619152"/>
                    <a:pt x="11242864" y="3635876"/>
                  </a:cubicBezTo>
                  <a:lnTo>
                    <a:pt x="11242864" y="3673250"/>
                  </a:lnTo>
                  <a:cubicBezTo>
                    <a:pt x="11242864" y="3698589"/>
                    <a:pt x="11227915" y="3711427"/>
                    <a:pt x="11198015" y="3711765"/>
                  </a:cubicBezTo>
                  <a:lnTo>
                    <a:pt x="11198015" y="3692254"/>
                  </a:lnTo>
                  <a:cubicBezTo>
                    <a:pt x="11205363" y="3692085"/>
                    <a:pt x="11210579" y="3690058"/>
                    <a:pt x="11213662" y="3686173"/>
                  </a:cubicBezTo>
                  <a:cubicBezTo>
                    <a:pt x="11216744" y="3682287"/>
                    <a:pt x="11218286" y="3675868"/>
                    <a:pt x="11218286" y="3666916"/>
                  </a:cubicBezTo>
                  <a:lnTo>
                    <a:pt x="11218286" y="3631568"/>
                  </a:lnTo>
                  <a:cubicBezTo>
                    <a:pt x="11218286" y="3614422"/>
                    <a:pt x="11226606" y="3603991"/>
                    <a:pt x="11243245" y="3600275"/>
                  </a:cubicBezTo>
                  <a:lnTo>
                    <a:pt x="11243245" y="3599895"/>
                  </a:lnTo>
                  <a:cubicBezTo>
                    <a:pt x="11226606" y="3595925"/>
                    <a:pt x="11218286" y="3585410"/>
                    <a:pt x="11218286" y="3568348"/>
                  </a:cubicBezTo>
                  <a:lnTo>
                    <a:pt x="11218286" y="3532621"/>
                  </a:lnTo>
                  <a:cubicBezTo>
                    <a:pt x="11218286" y="3516826"/>
                    <a:pt x="11211529" y="3508760"/>
                    <a:pt x="11198015" y="3508422"/>
                  </a:cubicBezTo>
                  <a:close/>
                  <a:moveTo>
                    <a:pt x="11180531" y="3488785"/>
                  </a:moveTo>
                  <a:lnTo>
                    <a:pt x="11180531" y="3508422"/>
                  </a:lnTo>
                  <a:cubicBezTo>
                    <a:pt x="11167102" y="3508760"/>
                    <a:pt x="11160387" y="3516826"/>
                    <a:pt x="11160387" y="3532621"/>
                  </a:cubicBezTo>
                  <a:lnTo>
                    <a:pt x="11160387" y="3568348"/>
                  </a:lnTo>
                  <a:cubicBezTo>
                    <a:pt x="11160387" y="3585410"/>
                    <a:pt x="11151983" y="3595925"/>
                    <a:pt x="11135175" y="3599895"/>
                  </a:cubicBezTo>
                  <a:lnTo>
                    <a:pt x="11135175" y="3600275"/>
                  </a:lnTo>
                  <a:cubicBezTo>
                    <a:pt x="11151983" y="3603991"/>
                    <a:pt x="11160387" y="3614422"/>
                    <a:pt x="11160387" y="3631568"/>
                  </a:cubicBezTo>
                  <a:lnTo>
                    <a:pt x="11160387" y="3666916"/>
                  </a:lnTo>
                  <a:cubicBezTo>
                    <a:pt x="11160387" y="3675953"/>
                    <a:pt x="11161886" y="3682393"/>
                    <a:pt x="11164885" y="3686236"/>
                  </a:cubicBezTo>
                  <a:cubicBezTo>
                    <a:pt x="11167883" y="3690079"/>
                    <a:pt x="11173098" y="3692085"/>
                    <a:pt x="11180531" y="3692254"/>
                  </a:cubicBezTo>
                  <a:lnTo>
                    <a:pt x="11180531" y="3711765"/>
                  </a:lnTo>
                  <a:cubicBezTo>
                    <a:pt x="11150462" y="3711427"/>
                    <a:pt x="11135428" y="3698589"/>
                    <a:pt x="11135428" y="3673250"/>
                  </a:cubicBezTo>
                  <a:lnTo>
                    <a:pt x="11135428" y="3635876"/>
                  </a:lnTo>
                  <a:cubicBezTo>
                    <a:pt x="11135428" y="3619152"/>
                    <a:pt x="11128840" y="3610368"/>
                    <a:pt x="11115664" y="3609523"/>
                  </a:cubicBezTo>
                  <a:lnTo>
                    <a:pt x="11115664" y="3591026"/>
                  </a:lnTo>
                  <a:cubicBezTo>
                    <a:pt x="11128840" y="3590182"/>
                    <a:pt x="11135428" y="3581229"/>
                    <a:pt x="11135428" y="3564167"/>
                  </a:cubicBezTo>
                  <a:lnTo>
                    <a:pt x="11135428" y="3527806"/>
                  </a:lnTo>
                  <a:cubicBezTo>
                    <a:pt x="11135428" y="3502130"/>
                    <a:pt x="11150462" y="3489123"/>
                    <a:pt x="11180531" y="3488785"/>
                  </a:cubicBezTo>
                  <a:close/>
                  <a:moveTo>
                    <a:pt x="8157659" y="3488785"/>
                  </a:moveTo>
                  <a:cubicBezTo>
                    <a:pt x="8187559" y="3489123"/>
                    <a:pt x="8202508" y="3502130"/>
                    <a:pt x="8202508" y="3527807"/>
                  </a:cubicBezTo>
                  <a:lnTo>
                    <a:pt x="8202508" y="3564167"/>
                  </a:lnTo>
                  <a:cubicBezTo>
                    <a:pt x="8202508" y="3581229"/>
                    <a:pt x="8209054" y="3590182"/>
                    <a:pt x="8222146" y="3591027"/>
                  </a:cubicBezTo>
                  <a:lnTo>
                    <a:pt x="8222146" y="3609524"/>
                  </a:lnTo>
                  <a:cubicBezTo>
                    <a:pt x="8209054" y="3610368"/>
                    <a:pt x="8202508" y="3619152"/>
                    <a:pt x="8202508" y="3635876"/>
                  </a:cubicBezTo>
                  <a:lnTo>
                    <a:pt x="8202508" y="3673251"/>
                  </a:lnTo>
                  <a:cubicBezTo>
                    <a:pt x="8202508" y="3698589"/>
                    <a:pt x="8187559" y="3711427"/>
                    <a:pt x="8157659" y="3711765"/>
                  </a:cubicBezTo>
                  <a:lnTo>
                    <a:pt x="8157659" y="3692254"/>
                  </a:lnTo>
                  <a:cubicBezTo>
                    <a:pt x="8165007" y="3692085"/>
                    <a:pt x="8170223" y="3690059"/>
                    <a:pt x="8173306" y="3686173"/>
                  </a:cubicBezTo>
                  <a:cubicBezTo>
                    <a:pt x="8176388" y="3682288"/>
                    <a:pt x="8177930" y="3675869"/>
                    <a:pt x="8177930" y="3666916"/>
                  </a:cubicBezTo>
                  <a:lnTo>
                    <a:pt x="8177930" y="3631569"/>
                  </a:lnTo>
                  <a:cubicBezTo>
                    <a:pt x="8177930" y="3614423"/>
                    <a:pt x="8186250" y="3603992"/>
                    <a:pt x="8202889" y="3600275"/>
                  </a:cubicBezTo>
                  <a:lnTo>
                    <a:pt x="8202889" y="3599895"/>
                  </a:lnTo>
                  <a:cubicBezTo>
                    <a:pt x="8186250" y="3595925"/>
                    <a:pt x="8177930" y="3585410"/>
                    <a:pt x="8177930" y="3568348"/>
                  </a:cubicBezTo>
                  <a:lnTo>
                    <a:pt x="8177930" y="3532621"/>
                  </a:lnTo>
                  <a:cubicBezTo>
                    <a:pt x="8177930" y="3516826"/>
                    <a:pt x="8171173" y="3508760"/>
                    <a:pt x="8157659" y="3508423"/>
                  </a:cubicBezTo>
                  <a:close/>
                  <a:moveTo>
                    <a:pt x="8140175" y="3488785"/>
                  </a:moveTo>
                  <a:lnTo>
                    <a:pt x="8140175" y="3508423"/>
                  </a:lnTo>
                  <a:cubicBezTo>
                    <a:pt x="8126745" y="3508760"/>
                    <a:pt x="8120031" y="3516826"/>
                    <a:pt x="8120031" y="3532621"/>
                  </a:cubicBezTo>
                  <a:lnTo>
                    <a:pt x="8120031" y="3568348"/>
                  </a:lnTo>
                  <a:cubicBezTo>
                    <a:pt x="8120031" y="3585410"/>
                    <a:pt x="8111626" y="3595925"/>
                    <a:pt x="8094818" y="3599895"/>
                  </a:cubicBezTo>
                  <a:lnTo>
                    <a:pt x="8094818" y="3600275"/>
                  </a:lnTo>
                  <a:cubicBezTo>
                    <a:pt x="8111626" y="3603992"/>
                    <a:pt x="8120031" y="3614423"/>
                    <a:pt x="8120031" y="3631569"/>
                  </a:cubicBezTo>
                  <a:lnTo>
                    <a:pt x="8120031" y="3666916"/>
                  </a:lnTo>
                  <a:cubicBezTo>
                    <a:pt x="8120031" y="3675953"/>
                    <a:pt x="8121530" y="3682393"/>
                    <a:pt x="8124528" y="3686236"/>
                  </a:cubicBezTo>
                  <a:cubicBezTo>
                    <a:pt x="8127526" y="3690079"/>
                    <a:pt x="8132742" y="3692085"/>
                    <a:pt x="8140175" y="3692254"/>
                  </a:cubicBezTo>
                  <a:lnTo>
                    <a:pt x="8140175" y="3711765"/>
                  </a:lnTo>
                  <a:cubicBezTo>
                    <a:pt x="8110106" y="3711427"/>
                    <a:pt x="8095072" y="3698589"/>
                    <a:pt x="8095072" y="3673251"/>
                  </a:cubicBezTo>
                  <a:lnTo>
                    <a:pt x="8095072" y="3635876"/>
                  </a:lnTo>
                  <a:cubicBezTo>
                    <a:pt x="8095072" y="3619152"/>
                    <a:pt x="8088484" y="3610368"/>
                    <a:pt x="8075308" y="3609524"/>
                  </a:cubicBezTo>
                  <a:lnTo>
                    <a:pt x="8075308" y="3591027"/>
                  </a:lnTo>
                  <a:cubicBezTo>
                    <a:pt x="8088484" y="3590182"/>
                    <a:pt x="8095072" y="3581229"/>
                    <a:pt x="8095072" y="3564167"/>
                  </a:cubicBezTo>
                  <a:lnTo>
                    <a:pt x="8095072" y="3527807"/>
                  </a:lnTo>
                  <a:cubicBezTo>
                    <a:pt x="8095072" y="3502130"/>
                    <a:pt x="8110106" y="3489123"/>
                    <a:pt x="8140175" y="3488785"/>
                  </a:cubicBezTo>
                  <a:close/>
                  <a:moveTo>
                    <a:pt x="5102938" y="3488785"/>
                  </a:moveTo>
                  <a:cubicBezTo>
                    <a:pt x="5132838" y="3489123"/>
                    <a:pt x="5147787" y="3502130"/>
                    <a:pt x="5147787" y="3527807"/>
                  </a:cubicBezTo>
                  <a:lnTo>
                    <a:pt x="5147787" y="3564167"/>
                  </a:lnTo>
                  <a:cubicBezTo>
                    <a:pt x="5147787" y="3581229"/>
                    <a:pt x="5154333" y="3590182"/>
                    <a:pt x="5167425" y="3591027"/>
                  </a:cubicBezTo>
                  <a:lnTo>
                    <a:pt x="5167425" y="3609524"/>
                  </a:lnTo>
                  <a:cubicBezTo>
                    <a:pt x="5154333" y="3610368"/>
                    <a:pt x="5147787" y="3619152"/>
                    <a:pt x="5147787" y="3635876"/>
                  </a:cubicBezTo>
                  <a:lnTo>
                    <a:pt x="5147787" y="3673251"/>
                  </a:lnTo>
                  <a:cubicBezTo>
                    <a:pt x="5147787" y="3698589"/>
                    <a:pt x="5132838" y="3711427"/>
                    <a:pt x="5102938" y="3711765"/>
                  </a:cubicBezTo>
                  <a:lnTo>
                    <a:pt x="5102938" y="3692254"/>
                  </a:lnTo>
                  <a:cubicBezTo>
                    <a:pt x="5110286" y="3692085"/>
                    <a:pt x="5115502" y="3690059"/>
                    <a:pt x="5118584" y="3686173"/>
                  </a:cubicBezTo>
                  <a:cubicBezTo>
                    <a:pt x="5121667" y="3682288"/>
                    <a:pt x="5123209" y="3675869"/>
                    <a:pt x="5123209" y="3666916"/>
                  </a:cubicBezTo>
                  <a:lnTo>
                    <a:pt x="5123209" y="3631569"/>
                  </a:lnTo>
                  <a:cubicBezTo>
                    <a:pt x="5123209" y="3614423"/>
                    <a:pt x="5131529" y="3603992"/>
                    <a:pt x="5148167" y="3600275"/>
                  </a:cubicBezTo>
                  <a:lnTo>
                    <a:pt x="5148167" y="3599895"/>
                  </a:lnTo>
                  <a:cubicBezTo>
                    <a:pt x="5131529" y="3595925"/>
                    <a:pt x="5123209" y="3585410"/>
                    <a:pt x="5123209" y="3568348"/>
                  </a:cubicBezTo>
                  <a:lnTo>
                    <a:pt x="5123209" y="3532621"/>
                  </a:lnTo>
                  <a:cubicBezTo>
                    <a:pt x="5123209" y="3516826"/>
                    <a:pt x="5116452" y="3508760"/>
                    <a:pt x="5102938" y="3508423"/>
                  </a:cubicBezTo>
                  <a:close/>
                  <a:moveTo>
                    <a:pt x="5085454" y="3488785"/>
                  </a:moveTo>
                  <a:lnTo>
                    <a:pt x="5085454" y="3508423"/>
                  </a:lnTo>
                  <a:cubicBezTo>
                    <a:pt x="5072025" y="3508760"/>
                    <a:pt x="5065310" y="3516826"/>
                    <a:pt x="5065310" y="3532621"/>
                  </a:cubicBezTo>
                  <a:lnTo>
                    <a:pt x="5065310" y="3568348"/>
                  </a:lnTo>
                  <a:cubicBezTo>
                    <a:pt x="5065310" y="3585410"/>
                    <a:pt x="5056905" y="3595925"/>
                    <a:pt x="5040097" y="3599895"/>
                  </a:cubicBezTo>
                  <a:lnTo>
                    <a:pt x="5040097" y="3600275"/>
                  </a:lnTo>
                  <a:cubicBezTo>
                    <a:pt x="5056905" y="3603992"/>
                    <a:pt x="5065310" y="3614423"/>
                    <a:pt x="5065310" y="3631569"/>
                  </a:cubicBezTo>
                  <a:lnTo>
                    <a:pt x="5065310" y="3666916"/>
                  </a:lnTo>
                  <a:cubicBezTo>
                    <a:pt x="5065310" y="3675953"/>
                    <a:pt x="5066809" y="3682393"/>
                    <a:pt x="5069807" y="3686236"/>
                  </a:cubicBezTo>
                  <a:cubicBezTo>
                    <a:pt x="5072806" y="3690079"/>
                    <a:pt x="5078022" y="3692085"/>
                    <a:pt x="5085454" y="3692254"/>
                  </a:cubicBezTo>
                  <a:lnTo>
                    <a:pt x="5085454" y="3711765"/>
                  </a:lnTo>
                  <a:cubicBezTo>
                    <a:pt x="5055385" y="3711427"/>
                    <a:pt x="5040351" y="3698589"/>
                    <a:pt x="5040351" y="3673251"/>
                  </a:cubicBezTo>
                  <a:lnTo>
                    <a:pt x="5040351" y="3635876"/>
                  </a:lnTo>
                  <a:cubicBezTo>
                    <a:pt x="5040351" y="3619152"/>
                    <a:pt x="5033763" y="3610368"/>
                    <a:pt x="5020587" y="3609524"/>
                  </a:cubicBezTo>
                  <a:lnTo>
                    <a:pt x="5020587" y="3591027"/>
                  </a:lnTo>
                  <a:cubicBezTo>
                    <a:pt x="5033763" y="3590182"/>
                    <a:pt x="5040351" y="3581229"/>
                    <a:pt x="5040351" y="3564167"/>
                  </a:cubicBezTo>
                  <a:lnTo>
                    <a:pt x="5040351" y="3527807"/>
                  </a:lnTo>
                  <a:cubicBezTo>
                    <a:pt x="5040351" y="3502130"/>
                    <a:pt x="5055385" y="3489123"/>
                    <a:pt x="5085454" y="3488785"/>
                  </a:cubicBezTo>
                  <a:close/>
                  <a:moveTo>
                    <a:pt x="2074663" y="3488785"/>
                  </a:moveTo>
                  <a:cubicBezTo>
                    <a:pt x="2104562" y="3489123"/>
                    <a:pt x="2119512" y="3502130"/>
                    <a:pt x="2119512" y="3527807"/>
                  </a:cubicBezTo>
                  <a:lnTo>
                    <a:pt x="2119512" y="3564167"/>
                  </a:lnTo>
                  <a:cubicBezTo>
                    <a:pt x="2119512" y="3581229"/>
                    <a:pt x="2126058" y="3590182"/>
                    <a:pt x="2139149" y="3591027"/>
                  </a:cubicBezTo>
                  <a:lnTo>
                    <a:pt x="2139149" y="3609524"/>
                  </a:lnTo>
                  <a:cubicBezTo>
                    <a:pt x="2126058" y="3610368"/>
                    <a:pt x="2119512" y="3619152"/>
                    <a:pt x="2119512" y="3635876"/>
                  </a:cubicBezTo>
                  <a:lnTo>
                    <a:pt x="2119512" y="3673251"/>
                  </a:lnTo>
                  <a:cubicBezTo>
                    <a:pt x="2119512" y="3698589"/>
                    <a:pt x="2104562" y="3711427"/>
                    <a:pt x="2074663" y="3711765"/>
                  </a:cubicBezTo>
                  <a:lnTo>
                    <a:pt x="2074663" y="3692254"/>
                  </a:lnTo>
                  <a:cubicBezTo>
                    <a:pt x="2082011" y="3692085"/>
                    <a:pt x="2087226" y="3690059"/>
                    <a:pt x="2090309" y="3686173"/>
                  </a:cubicBezTo>
                  <a:cubicBezTo>
                    <a:pt x="2093391" y="3682288"/>
                    <a:pt x="2094934" y="3675869"/>
                    <a:pt x="2094934" y="3666916"/>
                  </a:cubicBezTo>
                  <a:lnTo>
                    <a:pt x="2094934" y="3631569"/>
                  </a:lnTo>
                  <a:cubicBezTo>
                    <a:pt x="2094934" y="3614423"/>
                    <a:pt x="2103253" y="3603992"/>
                    <a:pt x="2119892" y="3600275"/>
                  </a:cubicBezTo>
                  <a:lnTo>
                    <a:pt x="2119892" y="3599895"/>
                  </a:lnTo>
                  <a:cubicBezTo>
                    <a:pt x="2103253" y="3595925"/>
                    <a:pt x="2094934" y="3585410"/>
                    <a:pt x="2094934" y="3568348"/>
                  </a:cubicBezTo>
                  <a:lnTo>
                    <a:pt x="2094934" y="3532621"/>
                  </a:lnTo>
                  <a:cubicBezTo>
                    <a:pt x="2094934" y="3516826"/>
                    <a:pt x="2088175" y="3508760"/>
                    <a:pt x="2074663" y="3508423"/>
                  </a:cubicBezTo>
                  <a:close/>
                  <a:moveTo>
                    <a:pt x="2057179" y="3488785"/>
                  </a:moveTo>
                  <a:lnTo>
                    <a:pt x="2057179" y="3508423"/>
                  </a:lnTo>
                  <a:cubicBezTo>
                    <a:pt x="2043749" y="3508760"/>
                    <a:pt x="2037034" y="3516826"/>
                    <a:pt x="2037034" y="3532621"/>
                  </a:cubicBezTo>
                  <a:lnTo>
                    <a:pt x="2037034" y="3568348"/>
                  </a:lnTo>
                  <a:cubicBezTo>
                    <a:pt x="2037034" y="3585410"/>
                    <a:pt x="2028630" y="3595925"/>
                    <a:pt x="2011822" y="3599895"/>
                  </a:cubicBezTo>
                  <a:lnTo>
                    <a:pt x="2011822" y="3600275"/>
                  </a:lnTo>
                  <a:cubicBezTo>
                    <a:pt x="2028630" y="3603992"/>
                    <a:pt x="2037034" y="3614423"/>
                    <a:pt x="2037034" y="3631569"/>
                  </a:cubicBezTo>
                  <a:lnTo>
                    <a:pt x="2037034" y="3666916"/>
                  </a:lnTo>
                  <a:cubicBezTo>
                    <a:pt x="2037034" y="3675953"/>
                    <a:pt x="2038534" y="3682393"/>
                    <a:pt x="2041532" y="3686236"/>
                  </a:cubicBezTo>
                  <a:cubicBezTo>
                    <a:pt x="2044530" y="3690079"/>
                    <a:pt x="2049746" y="3692085"/>
                    <a:pt x="2057179" y="3692254"/>
                  </a:cubicBezTo>
                  <a:lnTo>
                    <a:pt x="2057179" y="3711765"/>
                  </a:lnTo>
                  <a:cubicBezTo>
                    <a:pt x="2027110" y="3711427"/>
                    <a:pt x="2012076" y="3698589"/>
                    <a:pt x="2012076" y="3673251"/>
                  </a:cubicBezTo>
                  <a:lnTo>
                    <a:pt x="2012076" y="3635876"/>
                  </a:lnTo>
                  <a:cubicBezTo>
                    <a:pt x="2012076" y="3619152"/>
                    <a:pt x="2005487" y="3610368"/>
                    <a:pt x="1992310" y="3609524"/>
                  </a:cubicBezTo>
                  <a:lnTo>
                    <a:pt x="1992310" y="3591027"/>
                  </a:lnTo>
                  <a:cubicBezTo>
                    <a:pt x="2005487" y="3590182"/>
                    <a:pt x="2012076" y="3581229"/>
                    <a:pt x="2012076" y="3564167"/>
                  </a:cubicBezTo>
                  <a:lnTo>
                    <a:pt x="2012076" y="3527807"/>
                  </a:lnTo>
                  <a:cubicBezTo>
                    <a:pt x="2012076" y="3502130"/>
                    <a:pt x="2027110" y="3489123"/>
                    <a:pt x="2057179" y="3488785"/>
                  </a:cubicBezTo>
                  <a:close/>
                  <a:moveTo>
                    <a:pt x="11198015" y="3115795"/>
                  </a:moveTo>
                  <a:cubicBezTo>
                    <a:pt x="11227915" y="3116133"/>
                    <a:pt x="11242864" y="3129140"/>
                    <a:pt x="11242864" y="3154817"/>
                  </a:cubicBezTo>
                  <a:lnTo>
                    <a:pt x="11242864" y="3191177"/>
                  </a:lnTo>
                  <a:cubicBezTo>
                    <a:pt x="11242864" y="3208239"/>
                    <a:pt x="11249410" y="3217192"/>
                    <a:pt x="11262502" y="3218037"/>
                  </a:cubicBezTo>
                  <a:lnTo>
                    <a:pt x="11262502" y="3236534"/>
                  </a:lnTo>
                  <a:cubicBezTo>
                    <a:pt x="11249410" y="3237378"/>
                    <a:pt x="11242864" y="3246162"/>
                    <a:pt x="11242864" y="3262886"/>
                  </a:cubicBezTo>
                  <a:lnTo>
                    <a:pt x="11242864" y="3300261"/>
                  </a:lnTo>
                  <a:cubicBezTo>
                    <a:pt x="11242864" y="3325599"/>
                    <a:pt x="11227915" y="3338437"/>
                    <a:pt x="11198015" y="3338775"/>
                  </a:cubicBezTo>
                  <a:lnTo>
                    <a:pt x="11198015" y="3319264"/>
                  </a:lnTo>
                  <a:cubicBezTo>
                    <a:pt x="11205363" y="3319095"/>
                    <a:pt x="11210579" y="3317069"/>
                    <a:pt x="11213662" y="3313183"/>
                  </a:cubicBezTo>
                  <a:cubicBezTo>
                    <a:pt x="11216744" y="3309298"/>
                    <a:pt x="11218286" y="3302879"/>
                    <a:pt x="11218286" y="3293926"/>
                  </a:cubicBezTo>
                  <a:lnTo>
                    <a:pt x="11218286" y="3258579"/>
                  </a:lnTo>
                  <a:cubicBezTo>
                    <a:pt x="11218286" y="3241433"/>
                    <a:pt x="11226606" y="3231002"/>
                    <a:pt x="11243245" y="3227285"/>
                  </a:cubicBezTo>
                  <a:lnTo>
                    <a:pt x="11243245" y="3226905"/>
                  </a:lnTo>
                  <a:cubicBezTo>
                    <a:pt x="11226606" y="3222935"/>
                    <a:pt x="11218286" y="3212420"/>
                    <a:pt x="11218286" y="3195358"/>
                  </a:cubicBezTo>
                  <a:lnTo>
                    <a:pt x="11218286" y="3159631"/>
                  </a:lnTo>
                  <a:cubicBezTo>
                    <a:pt x="11218286" y="3143836"/>
                    <a:pt x="11211529" y="3135770"/>
                    <a:pt x="11198015" y="3135433"/>
                  </a:cubicBezTo>
                  <a:close/>
                  <a:moveTo>
                    <a:pt x="11180531" y="3115795"/>
                  </a:moveTo>
                  <a:lnTo>
                    <a:pt x="11180531" y="3135433"/>
                  </a:lnTo>
                  <a:cubicBezTo>
                    <a:pt x="11167102" y="3135770"/>
                    <a:pt x="11160387" y="3143836"/>
                    <a:pt x="11160387" y="3159631"/>
                  </a:cubicBezTo>
                  <a:lnTo>
                    <a:pt x="11160387" y="3195358"/>
                  </a:lnTo>
                  <a:cubicBezTo>
                    <a:pt x="11160387" y="3212420"/>
                    <a:pt x="11151983" y="3222935"/>
                    <a:pt x="11135175" y="3226905"/>
                  </a:cubicBezTo>
                  <a:lnTo>
                    <a:pt x="11135175" y="3227285"/>
                  </a:lnTo>
                  <a:cubicBezTo>
                    <a:pt x="11151983" y="3231002"/>
                    <a:pt x="11160387" y="3241433"/>
                    <a:pt x="11160387" y="3258579"/>
                  </a:cubicBezTo>
                  <a:lnTo>
                    <a:pt x="11160387" y="3293926"/>
                  </a:lnTo>
                  <a:cubicBezTo>
                    <a:pt x="11160387" y="3302963"/>
                    <a:pt x="11161886" y="3309403"/>
                    <a:pt x="11164885" y="3313246"/>
                  </a:cubicBezTo>
                  <a:cubicBezTo>
                    <a:pt x="11167883" y="3317089"/>
                    <a:pt x="11173098" y="3319095"/>
                    <a:pt x="11180531" y="3319264"/>
                  </a:cubicBezTo>
                  <a:lnTo>
                    <a:pt x="11180531" y="3338775"/>
                  </a:lnTo>
                  <a:cubicBezTo>
                    <a:pt x="11150462" y="3338437"/>
                    <a:pt x="11135428" y="3325599"/>
                    <a:pt x="11135428" y="3300261"/>
                  </a:cubicBezTo>
                  <a:lnTo>
                    <a:pt x="11135428" y="3262886"/>
                  </a:lnTo>
                  <a:cubicBezTo>
                    <a:pt x="11135428" y="3246162"/>
                    <a:pt x="11128840" y="3237378"/>
                    <a:pt x="11115664" y="3236534"/>
                  </a:cubicBezTo>
                  <a:lnTo>
                    <a:pt x="11115664" y="3218037"/>
                  </a:lnTo>
                  <a:cubicBezTo>
                    <a:pt x="11128840" y="3217192"/>
                    <a:pt x="11135428" y="3208239"/>
                    <a:pt x="11135428" y="3191177"/>
                  </a:cubicBezTo>
                  <a:lnTo>
                    <a:pt x="11135428" y="3154817"/>
                  </a:lnTo>
                  <a:cubicBezTo>
                    <a:pt x="11135428" y="3129140"/>
                    <a:pt x="11150462" y="3116133"/>
                    <a:pt x="11180531" y="3115795"/>
                  </a:cubicBezTo>
                  <a:close/>
                  <a:moveTo>
                    <a:pt x="8139350" y="3115795"/>
                  </a:moveTo>
                  <a:cubicBezTo>
                    <a:pt x="8169250" y="3116133"/>
                    <a:pt x="8184199" y="3129140"/>
                    <a:pt x="8184199" y="3154817"/>
                  </a:cubicBezTo>
                  <a:lnTo>
                    <a:pt x="8184199" y="3191177"/>
                  </a:lnTo>
                  <a:cubicBezTo>
                    <a:pt x="8184199" y="3208239"/>
                    <a:pt x="8190745" y="3217192"/>
                    <a:pt x="8203837" y="3218037"/>
                  </a:cubicBezTo>
                  <a:lnTo>
                    <a:pt x="8203837" y="3236534"/>
                  </a:lnTo>
                  <a:cubicBezTo>
                    <a:pt x="8190745" y="3237378"/>
                    <a:pt x="8184199" y="3246162"/>
                    <a:pt x="8184199" y="3262886"/>
                  </a:cubicBezTo>
                  <a:lnTo>
                    <a:pt x="8184199" y="3300261"/>
                  </a:lnTo>
                  <a:cubicBezTo>
                    <a:pt x="8184199" y="3325599"/>
                    <a:pt x="8169250" y="3338437"/>
                    <a:pt x="8139350" y="3338775"/>
                  </a:cubicBezTo>
                  <a:lnTo>
                    <a:pt x="8139350" y="3319264"/>
                  </a:lnTo>
                  <a:cubicBezTo>
                    <a:pt x="8146698" y="3319095"/>
                    <a:pt x="8151914" y="3317069"/>
                    <a:pt x="8154997" y="3313183"/>
                  </a:cubicBezTo>
                  <a:cubicBezTo>
                    <a:pt x="8158079" y="3309298"/>
                    <a:pt x="8159621" y="3302879"/>
                    <a:pt x="8159621" y="3293926"/>
                  </a:cubicBezTo>
                  <a:lnTo>
                    <a:pt x="8159621" y="3258579"/>
                  </a:lnTo>
                  <a:cubicBezTo>
                    <a:pt x="8159621" y="3241433"/>
                    <a:pt x="8167941" y="3231002"/>
                    <a:pt x="8184580" y="3227285"/>
                  </a:cubicBezTo>
                  <a:lnTo>
                    <a:pt x="8184580" y="3226905"/>
                  </a:lnTo>
                  <a:cubicBezTo>
                    <a:pt x="8167941" y="3222935"/>
                    <a:pt x="8159621" y="3212420"/>
                    <a:pt x="8159621" y="3195358"/>
                  </a:cubicBezTo>
                  <a:lnTo>
                    <a:pt x="8159621" y="3159631"/>
                  </a:lnTo>
                  <a:cubicBezTo>
                    <a:pt x="8159621" y="3143836"/>
                    <a:pt x="8152864" y="3135770"/>
                    <a:pt x="8139350" y="3135433"/>
                  </a:cubicBezTo>
                  <a:close/>
                  <a:moveTo>
                    <a:pt x="8121866" y="3115795"/>
                  </a:moveTo>
                  <a:lnTo>
                    <a:pt x="8121866" y="3135433"/>
                  </a:lnTo>
                  <a:cubicBezTo>
                    <a:pt x="8108437" y="3135770"/>
                    <a:pt x="8101722" y="3143836"/>
                    <a:pt x="8101722" y="3159631"/>
                  </a:cubicBezTo>
                  <a:lnTo>
                    <a:pt x="8101722" y="3195358"/>
                  </a:lnTo>
                  <a:cubicBezTo>
                    <a:pt x="8101722" y="3212420"/>
                    <a:pt x="8093318" y="3222935"/>
                    <a:pt x="8076510" y="3226905"/>
                  </a:cubicBezTo>
                  <a:lnTo>
                    <a:pt x="8076510" y="3227285"/>
                  </a:lnTo>
                  <a:cubicBezTo>
                    <a:pt x="8093318" y="3231002"/>
                    <a:pt x="8101722" y="3241433"/>
                    <a:pt x="8101722" y="3258579"/>
                  </a:cubicBezTo>
                  <a:lnTo>
                    <a:pt x="8101722" y="3293926"/>
                  </a:lnTo>
                  <a:cubicBezTo>
                    <a:pt x="8101722" y="3302963"/>
                    <a:pt x="8103221" y="3309403"/>
                    <a:pt x="8106220" y="3313246"/>
                  </a:cubicBezTo>
                  <a:cubicBezTo>
                    <a:pt x="8109218" y="3317089"/>
                    <a:pt x="8114434" y="3319095"/>
                    <a:pt x="8121866" y="3319264"/>
                  </a:cubicBezTo>
                  <a:lnTo>
                    <a:pt x="8121866" y="3338775"/>
                  </a:lnTo>
                  <a:cubicBezTo>
                    <a:pt x="8091798" y="3338437"/>
                    <a:pt x="8076764" y="3325599"/>
                    <a:pt x="8076764" y="3300261"/>
                  </a:cubicBezTo>
                  <a:lnTo>
                    <a:pt x="8076764" y="3262886"/>
                  </a:lnTo>
                  <a:cubicBezTo>
                    <a:pt x="8076764" y="3246162"/>
                    <a:pt x="8070175" y="3237378"/>
                    <a:pt x="8056999" y="3236534"/>
                  </a:cubicBezTo>
                  <a:lnTo>
                    <a:pt x="8056999" y="3218037"/>
                  </a:lnTo>
                  <a:cubicBezTo>
                    <a:pt x="8070175" y="3217192"/>
                    <a:pt x="8076764" y="3208239"/>
                    <a:pt x="8076764" y="3191177"/>
                  </a:cubicBezTo>
                  <a:lnTo>
                    <a:pt x="8076764" y="3154817"/>
                  </a:lnTo>
                  <a:cubicBezTo>
                    <a:pt x="8076764" y="3129140"/>
                    <a:pt x="8091798" y="3116133"/>
                    <a:pt x="8121866" y="3115795"/>
                  </a:cubicBezTo>
                  <a:close/>
                  <a:moveTo>
                    <a:pt x="5133348" y="3115795"/>
                  </a:moveTo>
                  <a:cubicBezTo>
                    <a:pt x="5163249" y="3116133"/>
                    <a:pt x="5178199" y="3129140"/>
                    <a:pt x="5178199" y="3154817"/>
                  </a:cubicBezTo>
                  <a:lnTo>
                    <a:pt x="5178199" y="3191177"/>
                  </a:lnTo>
                  <a:cubicBezTo>
                    <a:pt x="5178199" y="3208239"/>
                    <a:pt x="5184744" y="3217192"/>
                    <a:pt x="5197835" y="3218037"/>
                  </a:cubicBezTo>
                  <a:lnTo>
                    <a:pt x="5197835" y="3236534"/>
                  </a:lnTo>
                  <a:cubicBezTo>
                    <a:pt x="5184744" y="3237378"/>
                    <a:pt x="5178199" y="3246162"/>
                    <a:pt x="5178199" y="3262886"/>
                  </a:cubicBezTo>
                  <a:lnTo>
                    <a:pt x="5178199" y="3300261"/>
                  </a:lnTo>
                  <a:cubicBezTo>
                    <a:pt x="5178199" y="3325599"/>
                    <a:pt x="5163249" y="3338437"/>
                    <a:pt x="5133348" y="3338775"/>
                  </a:cubicBezTo>
                  <a:lnTo>
                    <a:pt x="5133348" y="3319264"/>
                  </a:lnTo>
                  <a:cubicBezTo>
                    <a:pt x="5140697" y="3319095"/>
                    <a:pt x="5145912" y="3317069"/>
                    <a:pt x="5148996" y="3313183"/>
                  </a:cubicBezTo>
                  <a:cubicBezTo>
                    <a:pt x="5152078" y="3309298"/>
                    <a:pt x="5153619" y="3302879"/>
                    <a:pt x="5153619" y="3293926"/>
                  </a:cubicBezTo>
                  <a:lnTo>
                    <a:pt x="5153619" y="3258579"/>
                  </a:lnTo>
                  <a:cubicBezTo>
                    <a:pt x="5153619" y="3241433"/>
                    <a:pt x="5161939" y="3231002"/>
                    <a:pt x="5178578" y="3227285"/>
                  </a:cubicBezTo>
                  <a:lnTo>
                    <a:pt x="5178578" y="3226905"/>
                  </a:lnTo>
                  <a:cubicBezTo>
                    <a:pt x="5161939" y="3222935"/>
                    <a:pt x="5153619" y="3212420"/>
                    <a:pt x="5153619" y="3195358"/>
                  </a:cubicBezTo>
                  <a:lnTo>
                    <a:pt x="5153619" y="3159631"/>
                  </a:lnTo>
                  <a:cubicBezTo>
                    <a:pt x="5153619" y="3143836"/>
                    <a:pt x="5146862" y="3135770"/>
                    <a:pt x="5133348" y="3135433"/>
                  </a:cubicBezTo>
                  <a:close/>
                  <a:moveTo>
                    <a:pt x="5115864" y="3115795"/>
                  </a:moveTo>
                  <a:lnTo>
                    <a:pt x="5115864" y="3135433"/>
                  </a:lnTo>
                  <a:cubicBezTo>
                    <a:pt x="5102435" y="3135770"/>
                    <a:pt x="5095720" y="3143836"/>
                    <a:pt x="5095720" y="3159631"/>
                  </a:cubicBezTo>
                  <a:lnTo>
                    <a:pt x="5095720" y="3195358"/>
                  </a:lnTo>
                  <a:cubicBezTo>
                    <a:pt x="5095720" y="3212420"/>
                    <a:pt x="5087316" y="3222935"/>
                    <a:pt x="5070509" y="3226905"/>
                  </a:cubicBezTo>
                  <a:lnTo>
                    <a:pt x="5070509" y="3227285"/>
                  </a:lnTo>
                  <a:cubicBezTo>
                    <a:pt x="5087316" y="3231002"/>
                    <a:pt x="5095720" y="3241433"/>
                    <a:pt x="5095720" y="3258579"/>
                  </a:cubicBezTo>
                  <a:lnTo>
                    <a:pt x="5095720" y="3293926"/>
                  </a:lnTo>
                  <a:cubicBezTo>
                    <a:pt x="5095720" y="3302963"/>
                    <a:pt x="5097219" y="3309403"/>
                    <a:pt x="5100219" y="3313246"/>
                  </a:cubicBezTo>
                  <a:cubicBezTo>
                    <a:pt x="5103216" y="3317089"/>
                    <a:pt x="5108432" y="3319095"/>
                    <a:pt x="5115864" y="3319264"/>
                  </a:cubicBezTo>
                  <a:lnTo>
                    <a:pt x="5115864" y="3338775"/>
                  </a:lnTo>
                  <a:cubicBezTo>
                    <a:pt x="5085796" y="3338437"/>
                    <a:pt x="5070762" y="3325599"/>
                    <a:pt x="5070762" y="3300261"/>
                  </a:cubicBezTo>
                  <a:lnTo>
                    <a:pt x="5070762" y="3262886"/>
                  </a:lnTo>
                  <a:cubicBezTo>
                    <a:pt x="5070762" y="3246162"/>
                    <a:pt x="5064173" y="3237378"/>
                    <a:pt x="5050997" y="3236534"/>
                  </a:cubicBezTo>
                  <a:lnTo>
                    <a:pt x="5050997" y="3218037"/>
                  </a:lnTo>
                  <a:cubicBezTo>
                    <a:pt x="5064173" y="3217192"/>
                    <a:pt x="5070762" y="3208239"/>
                    <a:pt x="5070762" y="3191177"/>
                  </a:cubicBezTo>
                  <a:lnTo>
                    <a:pt x="5070762" y="3154817"/>
                  </a:lnTo>
                  <a:cubicBezTo>
                    <a:pt x="5070762" y="3129140"/>
                    <a:pt x="5085796" y="3116133"/>
                    <a:pt x="5115864" y="3115795"/>
                  </a:cubicBezTo>
                  <a:close/>
                  <a:moveTo>
                    <a:pt x="2074662" y="3115795"/>
                  </a:moveTo>
                  <a:cubicBezTo>
                    <a:pt x="2104562" y="3116133"/>
                    <a:pt x="2119511" y="3129140"/>
                    <a:pt x="2119511" y="3154817"/>
                  </a:cubicBezTo>
                  <a:lnTo>
                    <a:pt x="2119511" y="3191177"/>
                  </a:lnTo>
                  <a:cubicBezTo>
                    <a:pt x="2119511" y="3208239"/>
                    <a:pt x="2126057" y="3217192"/>
                    <a:pt x="2139149" y="3218037"/>
                  </a:cubicBezTo>
                  <a:lnTo>
                    <a:pt x="2139149" y="3236534"/>
                  </a:lnTo>
                  <a:cubicBezTo>
                    <a:pt x="2126057" y="3237378"/>
                    <a:pt x="2119511" y="3246162"/>
                    <a:pt x="2119511" y="3262886"/>
                  </a:cubicBezTo>
                  <a:lnTo>
                    <a:pt x="2119511" y="3300261"/>
                  </a:lnTo>
                  <a:cubicBezTo>
                    <a:pt x="2119511" y="3325599"/>
                    <a:pt x="2104562" y="3338437"/>
                    <a:pt x="2074662" y="3338775"/>
                  </a:cubicBezTo>
                  <a:lnTo>
                    <a:pt x="2074662" y="3319264"/>
                  </a:lnTo>
                  <a:cubicBezTo>
                    <a:pt x="2082010" y="3319095"/>
                    <a:pt x="2087226" y="3317069"/>
                    <a:pt x="2090309" y="3313183"/>
                  </a:cubicBezTo>
                  <a:cubicBezTo>
                    <a:pt x="2093391" y="3309298"/>
                    <a:pt x="2094933" y="3302879"/>
                    <a:pt x="2094933" y="3293926"/>
                  </a:cubicBezTo>
                  <a:lnTo>
                    <a:pt x="2094933" y="3258579"/>
                  </a:lnTo>
                  <a:cubicBezTo>
                    <a:pt x="2094933" y="3241433"/>
                    <a:pt x="2103251" y="3231002"/>
                    <a:pt x="2119891" y="3227285"/>
                  </a:cubicBezTo>
                  <a:lnTo>
                    <a:pt x="2119891" y="3226905"/>
                  </a:lnTo>
                  <a:cubicBezTo>
                    <a:pt x="2103251" y="3222935"/>
                    <a:pt x="2094933" y="3212420"/>
                    <a:pt x="2094933" y="3195358"/>
                  </a:cubicBezTo>
                  <a:lnTo>
                    <a:pt x="2094933" y="3159631"/>
                  </a:lnTo>
                  <a:cubicBezTo>
                    <a:pt x="2094933" y="3143836"/>
                    <a:pt x="2088175" y="3135770"/>
                    <a:pt x="2074662" y="3135433"/>
                  </a:cubicBezTo>
                  <a:close/>
                  <a:moveTo>
                    <a:pt x="2057178" y="3115795"/>
                  </a:moveTo>
                  <a:lnTo>
                    <a:pt x="2057178" y="3135433"/>
                  </a:lnTo>
                  <a:cubicBezTo>
                    <a:pt x="2043749" y="3135770"/>
                    <a:pt x="2037034" y="3143836"/>
                    <a:pt x="2037034" y="3159631"/>
                  </a:cubicBezTo>
                  <a:lnTo>
                    <a:pt x="2037034" y="3195358"/>
                  </a:lnTo>
                  <a:cubicBezTo>
                    <a:pt x="2037034" y="3212420"/>
                    <a:pt x="2028630" y="3222935"/>
                    <a:pt x="2011822" y="3226905"/>
                  </a:cubicBezTo>
                  <a:lnTo>
                    <a:pt x="2011822" y="3227285"/>
                  </a:lnTo>
                  <a:cubicBezTo>
                    <a:pt x="2028630" y="3231002"/>
                    <a:pt x="2037034" y="3241433"/>
                    <a:pt x="2037034" y="3258579"/>
                  </a:cubicBezTo>
                  <a:lnTo>
                    <a:pt x="2037034" y="3293926"/>
                  </a:lnTo>
                  <a:cubicBezTo>
                    <a:pt x="2037034" y="3302963"/>
                    <a:pt x="2038533" y="3309403"/>
                    <a:pt x="2041532" y="3313246"/>
                  </a:cubicBezTo>
                  <a:cubicBezTo>
                    <a:pt x="2044530" y="3317089"/>
                    <a:pt x="2049746" y="3319095"/>
                    <a:pt x="2057178" y="3319264"/>
                  </a:cubicBezTo>
                  <a:lnTo>
                    <a:pt x="2057178" y="3338775"/>
                  </a:lnTo>
                  <a:cubicBezTo>
                    <a:pt x="2027110" y="3338437"/>
                    <a:pt x="2012076" y="3325599"/>
                    <a:pt x="2012076" y="3300261"/>
                  </a:cubicBezTo>
                  <a:lnTo>
                    <a:pt x="2012076" y="3262886"/>
                  </a:lnTo>
                  <a:cubicBezTo>
                    <a:pt x="2012076" y="3246162"/>
                    <a:pt x="2005487" y="3237378"/>
                    <a:pt x="1992310" y="3236534"/>
                  </a:cubicBezTo>
                  <a:lnTo>
                    <a:pt x="1992310" y="3218037"/>
                  </a:lnTo>
                  <a:cubicBezTo>
                    <a:pt x="2005487" y="3217192"/>
                    <a:pt x="2012076" y="3208239"/>
                    <a:pt x="2012076" y="3191177"/>
                  </a:cubicBezTo>
                  <a:lnTo>
                    <a:pt x="2012076" y="3154817"/>
                  </a:lnTo>
                  <a:cubicBezTo>
                    <a:pt x="2012076" y="3129140"/>
                    <a:pt x="2027110" y="3116133"/>
                    <a:pt x="2057178" y="3115795"/>
                  </a:cubicBezTo>
                  <a:close/>
                  <a:moveTo>
                    <a:pt x="6225654" y="2984201"/>
                  </a:moveTo>
                  <a:cubicBezTo>
                    <a:pt x="6221135" y="3002100"/>
                    <a:pt x="6215991" y="3013399"/>
                    <a:pt x="6202463" y="3023448"/>
                  </a:cubicBezTo>
                  <a:cubicBezTo>
                    <a:pt x="6201095" y="3030792"/>
                    <a:pt x="6213404" y="3026868"/>
                    <a:pt x="6218875" y="3026838"/>
                  </a:cubicBezTo>
                  <a:cubicBezTo>
                    <a:pt x="6224346" y="3026808"/>
                    <a:pt x="6233831" y="3028280"/>
                    <a:pt x="6235287" y="3023270"/>
                  </a:cubicBezTo>
                  <a:cubicBezTo>
                    <a:pt x="6236269" y="3019821"/>
                    <a:pt x="6233860" y="3017175"/>
                    <a:pt x="6232344" y="3013815"/>
                  </a:cubicBezTo>
                  <a:cubicBezTo>
                    <a:pt x="6231571" y="3010128"/>
                    <a:pt x="6234440" y="3005549"/>
                    <a:pt x="6233325" y="3000614"/>
                  </a:cubicBezTo>
                  <a:cubicBezTo>
                    <a:pt x="6232210" y="2995678"/>
                    <a:pt x="6228925" y="2987888"/>
                    <a:pt x="6225654" y="2984201"/>
                  </a:cubicBezTo>
                  <a:close/>
                  <a:moveTo>
                    <a:pt x="6065633" y="2967789"/>
                  </a:moveTo>
                  <a:cubicBezTo>
                    <a:pt x="6060816" y="2973290"/>
                    <a:pt x="6051986" y="2983785"/>
                    <a:pt x="6051986" y="2988037"/>
                  </a:cubicBezTo>
                  <a:cubicBezTo>
                    <a:pt x="6052253" y="2993329"/>
                    <a:pt x="6066436" y="3008969"/>
                    <a:pt x="6073482" y="3009623"/>
                  </a:cubicBezTo>
                  <a:cubicBezTo>
                    <a:pt x="6079310" y="3009771"/>
                    <a:pt x="6079875" y="3006709"/>
                    <a:pt x="6082402" y="3002398"/>
                  </a:cubicBezTo>
                  <a:cubicBezTo>
                    <a:pt x="6074315" y="2990951"/>
                    <a:pt x="6070955" y="2985123"/>
                    <a:pt x="6065633" y="2967789"/>
                  </a:cubicBezTo>
                  <a:close/>
                  <a:moveTo>
                    <a:pt x="6049245" y="2899498"/>
                  </a:moveTo>
                  <a:lnTo>
                    <a:pt x="6049044" y="2901015"/>
                  </a:lnTo>
                  <a:lnTo>
                    <a:pt x="6048978" y="2899755"/>
                  </a:lnTo>
                  <a:close/>
                  <a:moveTo>
                    <a:pt x="6251165" y="2872303"/>
                  </a:moveTo>
                  <a:cubicBezTo>
                    <a:pt x="6251127" y="2872474"/>
                    <a:pt x="6248269" y="2873537"/>
                    <a:pt x="6247173" y="2875157"/>
                  </a:cubicBezTo>
                  <a:cubicBezTo>
                    <a:pt x="6251710" y="2876669"/>
                    <a:pt x="6253304" y="2878092"/>
                    <a:pt x="6254095" y="2883528"/>
                  </a:cubicBezTo>
                  <a:cubicBezTo>
                    <a:pt x="6254309" y="2883488"/>
                    <a:pt x="6255803" y="2882282"/>
                    <a:pt x="6260976" y="2881802"/>
                  </a:cubicBezTo>
                  <a:cubicBezTo>
                    <a:pt x="6249232" y="2886500"/>
                    <a:pt x="6243285" y="2891555"/>
                    <a:pt x="6234752" y="2900980"/>
                  </a:cubicBezTo>
                  <a:cubicBezTo>
                    <a:pt x="6237451" y="2895673"/>
                    <a:pt x="6239750" y="2893423"/>
                    <a:pt x="6239769" y="2893357"/>
                  </a:cubicBezTo>
                  <a:cubicBezTo>
                    <a:pt x="6235302" y="2891840"/>
                    <a:pt x="6234046" y="2891482"/>
                    <a:pt x="6231987" y="2886396"/>
                  </a:cubicBezTo>
                  <a:cubicBezTo>
                    <a:pt x="6231716" y="2886545"/>
                    <a:pt x="6231266" y="2886314"/>
                    <a:pt x="6227170" y="2890455"/>
                  </a:cubicBezTo>
                  <a:cubicBezTo>
                    <a:pt x="6234366" y="2876302"/>
                    <a:pt x="6241115" y="2875395"/>
                    <a:pt x="6251165" y="2872303"/>
                  </a:cubicBezTo>
                  <a:close/>
                  <a:moveTo>
                    <a:pt x="6224596" y="2855891"/>
                  </a:moveTo>
                  <a:cubicBezTo>
                    <a:pt x="6225296" y="2855836"/>
                    <a:pt x="6226055" y="2855856"/>
                    <a:pt x="6226880" y="2855928"/>
                  </a:cubicBezTo>
                  <a:cubicBezTo>
                    <a:pt x="6229081" y="2856121"/>
                    <a:pt x="6231749" y="2856686"/>
                    <a:pt x="6235020" y="2857184"/>
                  </a:cubicBezTo>
                  <a:cubicBezTo>
                    <a:pt x="6223900" y="2858938"/>
                    <a:pt x="6220808" y="2865152"/>
                    <a:pt x="6216110" y="2876094"/>
                  </a:cubicBezTo>
                  <a:cubicBezTo>
                    <a:pt x="6217671" y="2860367"/>
                    <a:pt x="6219693" y="2856280"/>
                    <a:pt x="6224596" y="2855891"/>
                  </a:cubicBezTo>
                  <a:close/>
                  <a:moveTo>
                    <a:pt x="6327199" y="2833814"/>
                  </a:moveTo>
                  <a:cubicBezTo>
                    <a:pt x="6328797" y="2835870"/>
                    <a:pt x="6323936" y="2843611"/>
                    <a:pt x="6319002" y="2847735"/>
                  </a:cubicBezTo>
                  <a:cubicBezTo>
                    <a:pt x="6314067" y="2851859"/>
                    <a:pt x="6306797" y="2851436"/>
                    <a:pt x="6306826" y="2849726"/>
                  </a:cubicBezTo>
                  <a:cubicBezTo>
                    <a:pt x="6306854" y="2848017"/>
                    <a:pt x="6314571" y="2845750"/>
                    <a:pt x="6317967" y="2843097"/>
                  </a:cubicBezTo>
                  <a:cubicBezTo>
                    <a:pt x="6321362" y="2840445"/>
                    <a:pt x="6326070" y="2832828"/>
                    <a:pt x="6327199" y="2833814"/>
                  </a:cubicBezTo>
                  <a:close/>
                  <a:moveTo>
                    <a:pt x="6223262" y="2814809"/>
                  </a:moveTo>
                  <a:cubicBezTo>
                    <a:pt x="6225201" y="2814884"/>
                    <a:pt x="6227158" y="2815051"/>
                    <a:pt x="6229125" y="2815323"/>
                  </a:cubicBezTo>
                  <a:cubicBezTo>
                    <a:pt x="6244862" y="2817496"/>
                    <a:pt x="6265107" y="2833998"/>
                    <a:pt x="6272110" y="2844543"/>
                  </a:cubicBezTo>
                  <a:cubicBezTo>
                    <a:pt x="6281529" y="2847119"/>
                    <a:pt x="6287526" y="2860763"/>
                    <a:pt x="6289981" y="2865553"/>
                  </a:cubicBezTo>
                  <a:cubicBezTo>
                    <a:pt x="6292436" y="2870342"/>
                    <a:pt x="6289578" y="2873079"/>
                    <a:pt x="6286841" y="2873280"/>
                  </a:cubicBezTo>
                  <a:cubicBezTo>
                    <a:pt x="6286801" y="2873864"/>
                    <a:pt x="6295283" y="2880645"/>
                    <a:pt x="6299867" y="2883317"/>
                  </a:cubicBezTo>
                  <a:cubicBezTo>
                    <a:pt x="6303414" y="2867897"/>
                    <a:pt x="6298267" y="2857548"/>
                    <a:pt x="6298191" y="2846234"/>
                  </a:cubicBezTo>
                  <a:cubicBezTo>
                    <a:pt x="6303585" y="2836815"/>
                    <a:pt x="6308012" y="2840196"/>
                    <a:pt x="6313405" y="2836574"/>
                  </a:cubicBezTo>
                  <a:cubicBezTo>
                    <a:pt x="6316625" y="2832871"/>
                    <a:pt x="6319604" y="2825063"/>
                    <a:pt x="6325238" y="2825466"/>
                  </a:cubicBezTo>
                  <a:cubicBezTo>
                    <a:pt x="6335059" y="2825868"/>
                    <a:pt x="6347536" y="2844141"/>
                    <a:pt x="6347938" y="2887528"/>
                  </a:cubicBezTo>
                  <a:cubicBezTo>
                    <a:pt x="6348180" y="2921981"/>
                    <a:pt x="6334415" y="2945083"/>
                    <a:pt x="6310507" y="2955387"/>
                  </a:cubicBezTo>
                  <a:cubicBezTo>
                    <a:pt x="6298282" y="2958647"/>
                    <a:pt x="6287788" y="2958443"/>
                    <a:pt x="6278696" y="2956100"/>
                  </a:cubicBezTo>
                  <a:lnTo>
                    <a:pt x="6274716" y="2954714"/>
                  </a:lnTo>
                  <a:lnTo>
                    <a:pt x="6274239" y="2956975"/>
                  </a:lnTo>
                  <a:cubicBezTo>
                    <a:pt x="6269387" y="2975589"/>
                    <a:pt x="6255744" y="2977020"/>
                    <a:pt x="6249652" y="2976879"/>
                  </a:cubicBezTo>
                  <a:cubicBezTo>
                    <a:pt x="6242689" y="2976718"/>
                    <a:pt x="6232385" y="2970278"/>
                    <a:pt x="6228159" y="2967220"/>
                  </a:cubicBezTo>
                  <a:cubicBezTo>
                    <a:pt x="6228038" y="2971888"/>
                    <a:pt x="6229125" y="2973539"/>
                    <a:pt x="6227193" y="2979777"/>
                  </a:cubicBezTo>
                  <a:cubicBezTo>
                    <a:pt x="6232264" y="2983118"/>
                    <a:pt x="6235323" y="2995031"/>
                    <a:pt x="6236853" y="3000303"/>
                  </a:cubicBezTo>
                  <a:cubicBezTo>
                    <a:pt x="6238382" y="3005576"/>
                    <a:pt x="6236491" y="3006783"/>
                    <a:pt x="6236370" y="3011412"/>
                  </a:cubicBezTo>
                  <a:cubicBezTo>
                    <a:pt x="6236249" y="3016041"/>
                    <a:pt x="6241079" y="3019743"/>
                    <a:pt x="6238543" y="3025177"/>
                  </a:cubicBezTo>
                  <a:cubicBezTo>
                    <a:pt x="6236008" y="3030610"/>
                    <a:pt x="6229407" y="3030892"/>
                    <a:pt x="6222605" y="3030973"/>
                  </a:cubicBezTo>
                  <a:cubicBezTo>
                    <a:pt x="6215803" y="3031053"/>
                    <a:pt x="6200589" y="3035722"/>
                    <a:pt x="6197731" y="3025660"/>
                  </a:cubicBezTo>
                  <a:cubicBezTo>
                    <a:pt x="6197374" y="3024402"/>
                    <a:pt x="6197124" y="3022903"/>
                    <a:pt x="6196972" y="3021206"/>
                  </a:cubicBezTo>
                  <a:cubicBezTo>
                    <a:pt x="6196959" y="3020757"/>
                    <a:pt x="6196946" y="3020309"/>
                    <a:pt x="6196932" y="3019861"/>
                  </a:cubicBezTo>
                  <a:lnTo>
                    <a:pt x="6193193" y="3023405"/>
                  </a:lnTo>
                  <a:cubicBezTo>
                    <a:pt x="6184645" y="3031452"/>
                    <a:pt x="6176938" y="3038036"/>
                    <a:pt x="6169719" y="3037734"/>
                  </a:cubicBezTo>
                  <a:cubicBezTo>
                    <a:pt x="6157684" y="3035319"/>
                    <a:pt x="6148387" y="3016161"/>
                    <a:pt x="6146294" y="3009480"/>
                  </a:cubicBezTo>
                  <a:cubicBezTo>
                    <a:pt x="6144201" y="3002799"/>
                    <a:pt x="6151003" y="3001551"/>
                    <a:pt x="6157161" y="2997647"/>
                  </a:cubicBezTo>
                  <a:cubicBezTo>
                    <a:pt x="6151003" y="3001229"/>
                    <a:pt x="6134340" y="2998291"/>
                    <a:pt x="6132288" y="2995232"/>
                  </a:cubicBezTo>
                  <a:cubicBezTo>
                    <a:pt x="6132891" y="3001591"/>
                    <a:pt x="6132529" y="3002517"/>
                    <a:pt x="6131322" y="3006099"/>
                  </a:cubicBezTo>
                  <a:cubicBezTo>
                    <a:pt x="6130114" y="3009681"/>
                    <a:pt x="6126935" y="3011774"/>
                    <a:pt x="6125043" y="3016725"/>
                  </a:cubicBezTo>
                  <a:cubicBezTo>
                    <a:pt x="6123151" y="3021675"/>
                    <a:pt x="6127498" y="3034031"/>
                    <a:pt x="6119972" y="3035802"/>
                  </a:cubicBezTo>
                  <a:cubicBezTo>
                    <a:pt x="6112445" y="3037573"/>
                    <a:pt x="6089061" y="3036889"/>
                    <a:pt x="6079884" y="3027350"/>
                  </a:cubicBezTo>
                  <a:cubicBezTo>
                    <a:pt x="6076021" y="3022641"/>
                    <a:pt x="6082299" y="3015356"/>
                    <a:pt x="6080850" y="3013344"/>
                  </a:cubicBezTo>
                  <a:cubicBezTo>
                    <a:pt x="6079402" y="3011331"/>
                    <a:pt x="6076987" y="3019260"/>
                    <a:pt x="6071191" y="3015276"/>
                  </a:cubicBezTo>
                  <a:cubicBezTo>
                    <a:pt x="6065395" y="3011291"/>
                    <a:pt x="6047726" y="2998170"/>
                    <a:pt x="6046076" y="2989436"/>
                  </a:cubicBezTo>
                  <a:cubicBezTo>
                    <a:pt x="6044426" y="2980703"/>
                    <a:pt x="6054488" y="2971526"/>
                    <a:pt x="6061290" y="2962873"/>
                  </a:cubicBezTo>
                  <a:cubicBezTo>
                    <a:pt x="6059640" y="2953495"/>
                    <a:pt x="6058955" y="2947216"/>
                    <a:pt x="6062739" y="2936309"/>
                  </a:cubicBezTo>
                  <a:cubicBezTo>
                    <a:pt x="6057667" y="2933210"/>
                    <a:pt x="6046639" y="2928823"/>
                    <a:pt x="6047283" y="2914333"/>
                  </a:cubicBezTo>
                  <a:lnTo>
                    <a:pt x="6049044" y="2901015"/>
                  </a:lnTo>
                  <a:lnTo>
                    <a:pt x="6049503" y="2909735"/>
                  </a:lnTo>
                  <a:lnTo>
                    <a:pt x="6050326" y="2910131"/>
                  </a:lnTo>
                  <a:lnTo>
                    <a:pt x="6050449" y="2911305"/>
                  </a:lnTo>
                  <a:cubicBezTo>
                    <a:pt x="6051473" y="2919684"/>
                    <a:pt x="6054216" y="2928966"/>
                    <a:pt x="6070004" y="2925152"/>
                  </a:cubicBezTo>
                  <a:cubicBezTo>
                    <a:pt x="6063214" y="2961185"/>
                    <a:pt x="6078550" y="2979051"/>
                    <a:pt x="6088227" y="2995782"/>
                  </a:cubicBezTo>
                  <a:lnTo>
                    <a:pt x="6089189" y="2997632"/>
                  </a:lnTo>
                  <a:lnTo>
                    <a:pt x="6089155" y="2998499"/>
                  </a:lnTo>
                  <a:cubicBezTo>
                    <a:pt x="6088864" y="3003607"/>
                    <a:pt x="6088133" y="3007147"/>
                    <a:pt x="6087754" y="3011942"/>
                  </a:cubicBezTo>
                  <a:cubicBezTo>
                    <a:pt x="6086654" y="3015718"/>
                    <a:pt x="6083948" y="3015302"/>
                    <a:pt x="6084454" y="3023270"/>
                  </a:cubicBezTo>
                  <a:cubicBezTo>
                    <a:pt x="6084781" y="3028235"/>
                    <a:pt x="6113919" y="3036233"/>
                    <a:pt x="6118617" y="3029871"/>
                  </a:cubicBezTo>
                  <a:cubicBezTo>
                    <a:pt x="6119984" y="3027670"/>
                    <a:pt x="6119390" y="3022616"/>
                    <a:pt x="6119776" y="3018988"/>
                  </a:cubicBezTo>
                  <a:cubicBezTo>
                    <a:pt x="6120371" y="3014945"/>
                    <a:pt x="6125604" y="3010544"/>
                    <a:pt x="6126377" y="3004806"/>
                  </a:cubicBezTo>
                  <a:cubicBezTo>
                    <a:pt x="6126882" y="3000242"/>
                    <a:pt x="6126830" y="2995076"/>
                    <a:pt x="6126656" y="2989698"/>
                  </a:cubicBezTo>
                  <a:lnTo>
                    <a:pt x="6126448" y="2984019"/>
                  </a:lnTo>
                  <a:lnTo>
                    <a:pt x="6128036" y="2985869"/>
                  </a:lnTo>
                  <a:cubicBezTo>
                    <a:pt x="6138309" y="2996346"/>
                    <a:pt x="6160097" y="2999874"/>
                    <a:pt x="6167408" y="2983666"/>
                  </a:cubicBezTo>
                  <a:cubicBezTo>
                    <a:pt x="6167497" y="2988869"/>
                    <a:pt x="6169192" y="2990861"/>
                    <a:pt x="6168300" y="2997403"/>
                  </a:cubicBezTo>
                  <a:cubicBezTo>
                    <a:pt x="6165743" y="3001535"/>
                    <a:pt x="6154355" y="3002457"/>
                    <a:pt x="6151263" y="3010069"/>
                  </a:cubicBezTo>
                  <a:cubicBezTo>
                    <a:pt x="6150341" y="3013250"/>
                    <a:pt x="6162443" y="3032309"/>
                    <a:pt x="6170173" y="3032992"/>
                  </a:cubicBezTo>
                  <a:cubicBezTo>
                    <a:pt x="6175792" y="3033646"/>
                    <a:pt x="6186229" y="3022616"/>
                    <a:pt x="6205228" y="3005252"/>
                  </a:cubicBezTo>
                  <a:cubicBezTo>
                    <a:pt x="6208169" y="3002564"/>
                    <a:pt x="6219291" y="2981466"/>
                    <a:pt x="6224316" y="2963418"/>
                  </a:cubicBezTo>
                  <a:cubicBezTo>
                    <a:pt x="6219194" y="2960846"/>
                    <a:pt x="6211772" y="2954718"/>
                    <a:pt x="6207453" y="2945155"/>
                  </a:cubicBezTo>
                  <a:lnTo>
                    <a:pt x="6207259" y="2944647"/>
                  </a:lnTo>
                  <a:lnTo>
                    <a:pt x="6209877" y="2946295"/>
                  </a:lnTo>
                  <a:cubicBezTo>
                    <a:pt x="6216467" y="2950685"/>
                    <a:pt x="6223157" y="2955502"/>
                    <a:pt x="6229044" y="2956907"/>
                  </a:cubicBezTo>
                  <a:cubicBezTo>
                    <a:pt x="6233385" y="2961902"/>
                    <a:pt x="6238439" y="2969841"/>
                    <a:pt x="6250362" y="2971357"/>
                  </a:cubicBezTo>
                  <a:cubicBezTo>
                    <a:pt x="6260530" y="2973081"/>
                    <a:pt x="6267755" y="2963478"/>
                    <a:pt x="6271323" y="2952982"/>
                  </a:cubicBezTo>
                  <a:lnTo>
                    <a:pt x="6268023" y="2952715"/>
                  </a:lnTo>
                  <a:cubicBezTo>
                    <a:pt x="6252859" y="2978136"/>
                    <a:pt x="6236833" y="2954952"/>
                    <a:pt x="6240230" y="2930567"/>
                  </a:cubicBezTo>
                  <a:lnTo>
                    <a:pt x="6241155" y="2925791"/>
                  </a:lnTo>
                  <a:lnTo>
                    <a:pt x="6242907" y="2927701"/>
                  </a:lnTo>
                  <a:cubicBezTo>
                    <a:pt x="6273179" y="2958552"/>
                    <a:pt x="6299649" y="2954041"/>
                    <a:pt x="6314674" y="2945846"/>
                  </a:cubicBezTo>
                  <a:cubicBezTo>
                    <a:pt x="6355823" y="2920484"/>
                    <a:pt x="6343767" y="2832956"/>
                    <a:pt x="6326537" y="2828730"/>
                  </a:cubicBezTo>
                  <a:cubicBezTo>
                    <a:pt x="6322597" y="2827764"/>
                    <a:pt x="6319847" y="2837917"/>
                    <a:pt x="6317260" y="2839434"/>
                  </a:cubicBezTo>
                  <a:cubicBezTo>
                    <a:pt x="6309322" y="2843626"/>
                    <a:pt x="6305843" y="2843001"/>
                    <a:pt x="6303702" y="2846302"/>
                  </a:cubicBezTo>
                  <a:cubicBezTo>
                    <a:pt x="6299465" y="2852490"/>
                    <a:pt x="6315063" y="2888312"/>
                    <a:pt x="6295225" y="2907097"/>
                  </a:cubicBezTo>
                  <a:lnTo>
                    <a:pt x="6293745" y="2908265"/>
                  </a:lnTo>
                  <a:lnTo>
                    <a:pt x="6294056" y="2907664"/>
                  </a:lnTo>
                  <a:cubicBezTo>
                    <a:pt x="6297815" y="2900400"/>
                    <a:pt x="6301762" y="2892083"/>
                    <a:pt x="6297280" y="2888582"/>
                  </a:cubicBezTo>
                  <a:cubicBezTo>
                    <a:pt x="6292017" y="2884389"/>
                    <a:pt x="6288717" y="2887600"/>
                    <a:pt x="6284703" y="2890990"/>
                  </a:cubicBezTo>
                  <a:cubicBezTo>
                    <a:pt x="6287290" y="2888046"/>
                    <a:pt x="6290412" y="2887511"/>
                    <a:pt x="6286041" y="2880554"/>
                  </a:cubicBezTo>
                  <a:cubicBezTo>
                    <a:pt x="6282562" y="2878205"/>
                    <a:pt x="6280689" y="2878800"/>
                    <a:pt x="6274267" y="2880464"/>
                  </a:cubicBezTo>
                  <a:cubicBezTo>
                    <a:pt x="6278340" y="2877432"/>
                    <a:pt x="6279648" y="2878591"/>
                    <a:pt x="6277656" y="2872704"/>
                  </a:cubicBezTo>
                  <a:cubicBezTo>
                    <a:pt x="6274936" y="2869047"/>
                    <a:pt x="6273570" y="2869354"/>
                    <a:pt x="6270849" y="2869560"/>
                  </a:cubicBezTo>
                  <a:lnTo>
                    <a:pt x="6268963" y="2869573"/>
                  </a:lnTo>
                  <a:lnTo>
                    <a:pt x="6270514" y="2869016"/>
                  </a:lnTo>
                  <a:cubicBezTo>
                    <a:pt x="6271384" y="2868723"/>
                    <a:pt x="6272171" y="2868486"/>
                    <a:pt x="6272840" y="2868334"/>
                  </a:cubicBezTo>
                  <a:cubicBezTo>
                    <a:pt x="6278192" y="2867115"/>
                    <a:pt x="6284049" y="2868794"/>
                    <a:pt x="6284079" y="2865747"/>
                  </a:cubicBezTo>
                  <a:cubicBezTo>
                    <a:pt x="6284733" y="2862417"/>
                    <a:pt x="6276378" y="2852040"/>
                    <a:pt x="6272661" y="2851208"/>
                  </a:cubicBezTo>
                  <a:cubicBezTo>
                    <a:pt x="6270677" y="2850583"/>
                    <a:pt x="6265481" y="2850059"/>
                    <a:pt x="6260762" y="2849748"/>
                  </a:cubicBezTo>
                  <a:lnTo>
                    <a:pt x="6259663" y="2849690"/>
                  </a:lnTo>
                  <a:lnTo>
                    <a:pt x="6259672" y="2849666"/>
                  </a:lnTo>
                  <a:cubicBezTo>
                    <a:pt x="6260792" y="2848119"/>
                    <a:pt x="6264522" y="2847551"/>
                    <a:pt x="6267399" y="2847283"/>
                  </a:cubicBezTo>
                  <a:cubicBezTo>
                    <a:pt x="6255327" y="2831346"/>
                    <a:pt x="6239063" y="2821118"/>
                    <a:pt x="6225030" y="2821327"/>
                  </a:cubicBezTo>
                  <a:cubicBezTo>
                    <a:pt x="6208112" y="2821832"/>
                    <a:pt x="6186912" y="2826173"/>
                    <a:pt x="6174900" y="2844786"/>
                  </a:cubicBezTo>
                  <a:cubicBezTo>
                    <a:pt x="6181040" y="2844719"/>
                    <a:pt x="6185608" y="2844747"/>
                    <a:pt x="6189037" y="2845110"/>
                  </a:cubicBezTo>
                  <a:lnTo>
                    <a:pt x="6189610" y="2845193"/>
                  </a:lnTo>
                  <a:lnTo>
                    <a:pt x="6187216" y="2845844"/>
                  </a:lnTo>
                  <a:cubicBezTo>
                    <a:pt x="6174496" y="2848904"/>
                    <a:pt x="6165635" y="2848447"/>
                    <a:pt x="6162783" y="2850926"/>
                  </a:cubicBezTo>
                  <a:cubicBezTo>
                    <a:pt x="6156821" y="2855098"/>
                    <a:pt x="6118212" y="2890667"/>
                    <a:pt x="6116620" y="2910805"/>
                  </a:cubicBezTo>
                  <a:cubicBezTo>
                    <a:pt x="6120709" y="2921495"/>
                    <a:pt x="6121478" y="2913941"/>
                    <a:pt x="6130507" y="2932769"/>
                  </a:cubicBezTo>
                  <a:lnTo>
                    <a:pt x="6144916" y="2916343"/>
                  </a:lnTo>
                  <a:lnTo>
                    <a:pt x="6128058" y="2951212"/>
                  </a:lnTo>
                  <a:cubicBezTo>
                    <a:pt x="6132262" y="2957351"/>
                    <a:pt x="6135127" y="2960635"/>
                    <a:pt x="6143880" y="2960530"/>
                  </a:cubicBezTo>
                  <a:cubicBezTo>
                    <a:pt x="6153228" y="2959290"/>
                    <a:pt x="6161862" y="2951628"/>
                    <a:pt x="6170852" y="2947177"/>
                  </a:cubicBezTo>
                  <a:cubicBezTo>
                    <a:pt x="6179738" y="2943479"/>
                    <a:pt x="6182379" y="2946025"/>
                    <a:pt x="6188143" y="2945448"/>
                  </a:cubicBezTo>
                  <a:cubicBezTo>
                    <a:pt x="6200288" y="2912507"/>
                    <a:pt x="6181213" y="2912658"/>
                    <a:pt x="6194339" y="2876862"/>
                  </a:cubicBezTo>
                  <a:cubicBezTo>
                    <a:pt x="6189673" y="2905776"/>
                    <a:pt x="6208199" y="2905790"/>
                    <a:pt x="6195059" y="2954238"/>
                  </a:cubicBezTo>
                  <a:lnTo>
                    <a:pt x="6192966" y="2953895"/>
                  </a:lnTo>
                  <a:lnTo>
                    <a:pt x="6190315" y="2953217"/>
                  </a:lnTo>
                  <a:lnTo>
                    <a:pt x="6187599" y="2952793"/>
                  </a:lnTo>
                  <a:lnTo>
                    <a:pt x="6186838" y="2952617"/>
                  </a:lnTo>
                  <a:cubicBezTo>
                    <a:pt x="6184783" y="2952212"/>
                    <a:pt x="6182621" y="2951994"/>
                    <a:pt x="6180113" y="2952389"/>
                  </a:cubicBezTo>
                  <a:lnTo>
                    <a:pt x="6179134" y="2952617"/>
                  </a:lnTo>
                  <a:lnTo>
                    <a:pt x="6178542" y="2952669"/>
                  </a:lnTo>
                  <a:cubicBezTo>
                    <a:pt x="6165429" y="2954710"/>
                    <a:pt x="6160606" y="2966273"/>
                    <a:pt x="6139578" y="2968503"/>
                  </a:cubicBezTo>
                  <a:cubicBezTo>
                    <a:pt x="6133308" y="2967280"/>
                    <a:pt x="6123282" y="2958067"/>
                    <a:pt x="6117388" y="2950903"/>
                  </a:cubicBezTo>
                  <a:lnTo>
                    <a:pt x="6116933" y="2950314"/>
                  </a:lnTo>
                  <a:lnTo>
                    <a:pt x="6118644" y="2947455"/>
                  </a:lnTo>
                  <a:cubicBezTo>
                    <a:pt x="6120471" y="2944609"/>
                    <a:pt x="6122471" y="2941699"/>
                    <a:pt x="6124682" y="2938711"/>
                  </a:cubicBezTo>
                  <a:cubicBezTo>
                    <a:pt x="6120817" y="2928334"/>
                    <a:pt x="6110618" y="2924736"/>
                    <a:pt x="6107734" y="2911862"/>
                  </a:cubicBezTo>
                  <a:cubicBezTo>
                    <a:pt x="6112402" y="2898542"/>
                    <a:pt x="6114305" y="2889860"/>
                    <a:pt x="6137794" y="2866014"/>
                  </a:cubicBezTo>
                  <a:cubicBezTo>
                    <a:pt x="6075356" y="2874964"/>
                    <a:pt x="6075541" y="2925230"/>
                    <a:pt x="6058278" y="2913077"/>
                  </a:cubicBezTo>
                  <a:lnTo>
                    <a:pt x="6054677" y="2909836"/>
                  </a:lnTo>
                  <a:lnTo>
                    <a:pt x="6055730" y="2909245"/>
                  </a:lnTo>
                  <a:cubicBezTo>
                    <a:pt x="6062093" y="2904959"/>
                    <a:pt x="6054558" y="2898787"/>
                    <a:pt x="6059657" y="2889473"/>
                  </a:cubicBezTo>
                  <a:lnTo>
                    <a:pt x="6049245" y="2899498"/>
                  </a:lnTo>
                  <a:lnTo>
                    <a:pt x="6050151" y="2892645"/>
                  </a:lnTo>
                  <a:cubicBezTo>
                    <a:pt x="6055212" y="2887609"/>
                    <a:pt x="6062055" y="2884771"/>
                    <a:pt x="6063705" y="2884147"/>
                  </a:cubicBezTo>
                  <a:cubicBezTo>
                    <a:pt x="6060605" y="2893606"/>
                    <a:pt x="6067367" y="2900206"/>
                    <a:pt x="6063705" y="2907813"/>
                  </a:cubicBezTo>
                  <a:cubicBezTo>
                    <a:pt x="6098922" y="2863017"/>
                    <a:pt x="6123232" y="2860159"/>
                    <a:pt x="6139532" y="2859757"/>
                  </a:cubicBezTo>
                  <a:cubicBezTo>
                    <a:pt x="6152211" y="2848487"/>
                    <a:pt x="6153297" y="2845549"/>
                    <a:pt x="6161991" y="2843336"/>
                  </a:cubicBezTo>
                  <a:lnTo>
                    <a:pt x="6167986" y="2842707"/>
                  </a:lnTo>
                  <a:lnTo>
                    <a:pt x="6168681" y="2841220"/>
                  </a:lnTo>
                  <a:cubicBezTo>
                    <a:pt x="6174017" y="2830623"/>
                    <a:pt x="6178674" y="2827317"/>
                    <a:pt x="6187831" y="2822809"/>
                  </a:cubicBezTo>
                  <a:cubicBezTo>
                    <a:pt x="6196987" y="2818301"/>
                    <a:pt x="6209687" y="2814286"/>
                    <a:pt x="6223262" y="2814809"/>
                  </a:cubicBezTo>
                  <a:close/>
                  <a:moveTo>
                    <a:pt x="11472799" y="2814763"/>
                  </a:moveTo>
                  <a:cubicBezTo>
                    <a:pt x="11502699" y="2815101"/>
                    <a:pt x="11517648" y="2828108"/>
                    <a:pt x="11517648" y="2853785"/>
                  </a:cubicBezTo>
                  <a:lnTo>
                    <a:pt x="11517648" y="2890145"/>
                  </a:lnTo>
                  <a:cubicBezTo>
                    <a:pt x="11517648" y="2907207"/>
                    <a:pt x="11524194" y="2916160"/>
                    <a:pt x="11537286" y="2917005"/>
                  </a:cubicBezTo>
                  <a:lnTo>
                    <a:pt x="11537286" y="2935502"/>
                  </a:lnTo>
                  <a:cubicBezTo>
                    <a:pt x="11524194" y="2936346"/>
                    <a:pt x="11517648" y="2945130"/>
                    <a:pt x="11517648" y="2961854"/>
                  </a:cubicBezTo>
                  <a:lnTo>
                    <a:pt x="11517648" y="2999229"/>
                  </a:lnTo>
                  <a:cubicBezTo>
                    <a:pt x="11517648" y="3024567"/>
                    <a:pt x="11502699" y="3037405"/>
                    <a:pt x="11472799" y="3037743"/>
                  </a:cubicBezTo>
                  <a:lnTo>
                    <a:pt x="11472799" y="3018232"/>
                  </a:lnTo>
                  <a:cubicBezTo>
                    <a:pt x="11480147" y="3018063"/>
                    <a:pt x="11485363" y="3016037"/>
                    <a:pt x="11488446" y="3012151"/>
                  </a:cubicBezTo>
                  <a:cubicBezTo>
                    <a:pt x="11491528" y="3008266"/>
                    <a:pt x="11493070" y="3001847"/>
                    <a:pt x="11493070" y="2992894"/>
                  </a:cubicBezTo>
                  <a:lnTo>
                    <a:pt x="11493070" y="2957547"/>
                  </a:lnTo>
                  <a:cubicBezTo>
                    <a:pt x="11493070" y="2940401"/>
                    <a:pt x="11501390" y="2929970"/>
                    <a:pt x="11518029" y="2926253"/>
                  </a:cubicBezTo>
                  <a:lnTo>
                    <a:pt x="11518029" y="2925873"/>
                  </a:lnTo>
                  <a:cubicBezTo>
                    <a:pt x="11501390" y="2921903"/>
                    <a:pt x="11493070" y="2911388"/>
                    <a:pt x="11493070" y="2894326"/>
                  </a:cubicBezTo>
                  <a:lnTo>
                    <a:pt x="11493070" y="2858599"/>
                  </a:lnTo>
                  <a:cubicBezTo>
                    <a:pt x="11493070" y="2842804"/>
                    <a:pt x="11486313" y="2834738"/>
                    <a:pt x="11472799" y="2834401"/>
                  </a:cubicBezTo>
                  <a:close/>
                  <a:moveTo>
                    <a:pt x="11455315" y="2814763"/>
                  </a:moveTo>
                  <a:lnTo>
                    <a:pt x="11455315" y="2834401"/>
                  </a:lnTo>
                  <a:cubicBezTo>
                    <a:pt x="11441886" y="2834738"/>
                    <a:pt x="11435171" y="2842804"/>
                    <a:pt x="11435171" y="2858599"/>
                  </a:cubicBezTo>
                  <a:lnTo>
                    <a:pt x="11435171" y="2894326"/>
                  </a:lnTo>
                  <a:cubicBezTo>
                    <a:pt x="11435171" y="2911388"/>
                    <a:pt x="11426767" y="2921903"/>
                    <a:pt x="11409959" y="2925873"/>
                  </a:cubicBezTo>
                  <a:lnTo>
                    <a:pt x="11409959" y="2926253"/>
                  </a:lnTo>
                  <a:cubicBezTo>
                    <a:pt x="11426767" y="2929970"/>
                    <a:pt x="11435171" y="2940401"/>
                    <a:pt x="11435171" y="2957547"/>
                  </a:cubicBezTo>
                  <a:lnTo>
                    <a:pt x="11435171" y="2992894"/>
                  </a:lnTo>
                  <a:cubicBezTo>
                    <a:pt x="11435171" y="3001931"/>
                    <a:pt x="11436670" y="3008371"/>
                    <a:pt x="11439669" y="3012214"/>
                  </a:cubicBezTo>
                  <a:cubicBezTo>
                    <a:pt x="11442667" y="3016057"/>
                    <a:pt x="11447882" y="3018063"/>
                    <a:pt x="11455315" y="3018232"/>
                  </a:cubicBezTo>
                  <a:lnTo>
                    <a:pt x="11455315" y="3037743"/>
                  </a:lnTo>
                  <a:cubicBezTo>
                    <a:pt x="11425246" y="3037405"/>
                    <a:pt x="11410212" y="3024567"/>
                    <a:pt x="11410212" y="2999229"/>
                  </a:cubicBezTo>
                  <a:lnTo>
                    <a:pt x="11410212" y="2961854"/>
                  </a:lnTo>
                  <a:cubicBezTo>
                    <a:pt x="11410212" y="2945130"/>
                    <a:pt x="11403624" y="2936346"/>
                    <a:pt x="11390448" y="2935502"/>
                  </a:cubicBezTo>
                  <a:lnTo>
                    <a:pt x="11390448" y="2917005"/>
                  </a:lnTo>
                  <a:cubicBezTo>
                    <a:pt x="11403624" y="2916160"/>
                    <a:pt x="11410212" y="2907207"/>
                    <a:pt x="11410212" y="2890145"/>
                  </a:cubicBezTo>
                  <a:lnTo>
                    <a:pt x="11410212" y="2853785"/>
                  </a:lnTo>
                  <a:cubicBezTo>
                    <a:pt x="11410212" y="2828108"/>
                    <a:pt x="11425246" y="2815101"/>
                    <a:pt x="11455315" y="2814763"/>
                  </a:cubicBezTo>
                  <a:close/>
                  <a:moveTo>
                    <a:pt x="7307218" y="2814763"/>
                  </a:moveTo>
                  <a:cubicBezTo>
                    <a:pt x="7337118" y="2815101"/>
                    <a:pt x="7352068" y="2828108"/>
                    <a:pt x="7352068" y="2853785"/>
                  </a:cubicBezTo>
                  <a:lnTo>
                    <a:pt x="7352068" y="2890145"/>
                  </a:lnTo>
                  <a:cubicBezTo>
                    <a:pt x="7352068" y="2907207"/>
                    <a:pt x="7358614" y="2916160"/>
                    <a:pt x="7371705" y="2917005"/>
                  </a:cubicBezTo>
                  <a:lnTo>
                    <a:pt x="7371705" y="2935502"/>
                  </a:lnTo>
                  <a:cubicBezTo>
                    <a:pt x="7358614" y="2936346"/>
                    <a:pt x="7352068" y="2945130"/>
                    <a:pt x="7352068" y="2961854"/>
                  </a:cubicBezTo>
                  <a:lnTo>
                    <a:pt x="7352068" y="2999229"/>
                  </a:lnTo>
                  <a:cubicBezTo>
                    <a:pt x="7352068" y="3024567"/>
                    <a:pt x="7337118" y="3037405"/>
                    <a:pt x="7307218" y="3037743"/>
                  </a:cubicBezTo>
                  <a:lnTo>
                    <a:pt x="7307218" y="3018232"/>
                  </a:lnTo>
                  <a:cubicBezTo>
                    <a:pt x="7314567" y="3018063"/>
                    <a:pt x="7319782" y="3016037"/>
                    <a:pt x="7322865" y="3012151"/>
                  </a:cubicBezTo>
                  <a:cubicBezTo>
                    <a:pt x="7325948" y="3008266"/>
                    <a:pt x="7327489" y="3001847"/>
                    <a:pt x="7327489" y="2992894"/>
                  </a:cubicBezTo>
                  <a:lnTo>
                    <a:pt x="7327489" y="2957547"/>
                  </a:lnTo>
                  <a:cubicBezTo>
                    <a:pt x="7327489" y="2940401"/>
                    <a:pt x="7335809" y="2929970"/>
                    <a:pt x="7352448" y="2926253"/>
                  </a:cubicBezTo>
                  <a:lnTo>
                    <a:pt x="7352448" y="2925873"/>
                  </a:lnTo>
                  <a:cubicBezTo>
                    <a:pt x="7335809" y="2921903"/>
                    <a:pt x="7327489" y="2911388"/>
                    <a:pt x="7327489" y="2894326"/>
                  </a:cubicBezTo>
                  <a:lnTo>
                    <a:pt x="7327489" y="2858599"/>
                  </a:lnTo>
                  <a:cubicBezTo>
                    <a:pt x="7327489" y="2842804"/>
                    <a:pt x="7320732" y="2834738"/>
                    <a:pt x="7307218" y="2834401"/>
                  </a:cubicBezTo>
                  <a:close/>
                  <a:moveTo>
                    <a:pt x="7289734" y="2814763"/>
                  </a:moveTo>
                  <a:lnTo>
                    <a:pt x="7289734" y="2834401"/>
                  </a:lnTo>
                  <a:cubicBezTo>
                    <a:pt x="7276305" y="2834738"/>
                    <a:pt x="7269590" y="2842804"/>
                    <a:pt x="7269590" y="2858599"/>
                  </a:cubicBezTo>
                  <a:lnTo>
                    <a:pt x="7269590" y="2894326"/>
                  </a:lnTo>
                  <a:cubicBezTo>
                    <a:pt x="7269590" y="2911388"/>
                    <a:pt x="7261186" y="2921903"/>
                    <a:pt x="7244378" y="2925873"/>
                  </a:cubicBezTo>
                  <a:lnTo>
                    <a:pt x="7244378" y="2926253"/>
                  </a:lnTo>
                  <a:cubicBezTo>
                    <a:pt x="7261186" y="2929970"/>
                    <a:pt x="7269590" y="2940401"/>
                    <a:pt x="7269590" y="2957547"/>
                  </a:cubicBezTo>
                  <a:lnTo>
                    <a:pt x="7269590" y="2992894"/>
                  </a:lnTo>
                  <a:cubicBezTo>
                    <a:pt x="7269590" y="3001931"/>
                    <a:pt x="7271089" y="3008371"/>
                    <a:pt x="7274088" y="3012214"/>
                  </a:cubicBezTo>
                  <a:cubicBezTo>
                    <a:pt x="7277086" y="3016057"/>
                    <a:pt x="7282302" y="3018063"/>
                    <a:pt x="7289734" y="3018232"/>
                  </a:cubicBezTo>
                  <a:lnTo>
                    <a:pt x="7289734" y="3037743"/>
                  </a:lnTo>
                  <a:cubicBezTo>
                    <a:pt x="7259666" y="3037405"/>
                    <a:pt x="7244632" y="3024567"/>
                    <a:pt x="7244632" y="2999229"/>
                  </a:cubicBezTo>
                  <a:lnTo>
                    <a:pt x="7244632" y="2961854"/>
                  </a:lnTo>
                  <a:cubicBezTo>
                    <a:pt x="7244632" y="2945130"/>
                    <a:pt x="7238043" y="2936346"/>
                    <a:pt x="7224867" y="2935502"/>
                  </a:cubicBezTo>
                  <a:lnTo>
                    <a:pt x="7224867" y="2917005"/>
                  </a:lnTo>
                  <a:cubicBezTo>
                    <a:pt x="7238043" y="2916160"/>
                    <a:pt x="7244632" y="2907207"/>
                    <a:pt x="7244632" y="2890145"/>
                  </a:cubicBezTo>
                  <a:lnTo>
                    <a:pt x="7244632" y="2853785"/>
                  </a:lnTo>
                  <a:cubicBezTo>
                    <a:pt x="7244632" y="2828108"/>
                    <a:pt x="7259666" y="2815101"/>
                    <a:pt x="7289734" y="2814763"/>
                  </a:cubicBezTo>
                  <a:close/>
                  <a:moveTo>
                    <a:pt x="1251166" y="2814763"/>
                  </a:moveTo>
                  <a:cubicBezTo>
                    <a:pt x="1281065" y="2815101"/>
                    <a:pt x="1296015" y="2828108"/>
                    <a:pt x="1296015" y="2853785"/>
                  </a:cubicBezTo>
                  <a:lnTo>
                    <a:pt x="1296015" y="2890145"/>
                  </a:lnTo>
                  <a:cubicBezTo>
                    <a:pt x="1296015" y="2907207"/>
                    <a:pt x="1302561" y="2916160"/>
                    <a:pt x="1315652" y="2917005"/>
                  </a:cubicBezTo>
                  <a:lnTo>
                    <a:pt x="1315652" y="2935502"/>
                  </a:lnTo>
                  <a:cubicBezTo>
                    <a:pt x="1302561" y="2936346"/>
                    <a:pt x="1296015" y="2945130"/>
                    <a:pt x="1296015" y="2961854"/>
                  </a:cubicBezTo>
                  <a:lnTo>
                    <a:pt x="1296015" y="2999229"/>
                  </a:lnTo>
                  <a:cubicBezTo>
                    <a:pt x="1296015" y="3024567"/>
                    <a:pt x="1281065" y="3037405"/>
                    <a:pt x="1251166" y="3037743"/>
                  </a:cubicBezTo>
                  <a:lnTo>
                    <a:pt x="1251166" y="3018232"/>
                  </a:lnTo>
                  <a:cubicBezTo>
                    <a:pt x="1258514" y="3018063"/>
                    <a:pt x="1263729" y="3016037"/>
                    <a:pt x="1266812" y="3012151"/>
                  </a:cubicBezTo>
                  <a:cubicBezTo>
                    <a:pt x="1269895" y="3008266"/>
                    <a:pt x="1271436" y="3001847"/>
                    <a:pt x="1271436" y="2992894"/>
                  </a:cubicBezTo>
                  <a:lnTo>
                    <a:pt x="1271436" y="2957547"/>
                  </a:lnTo>
                  <a:cubicBezTo>
                    <a:pt x="1271436" y="2940401"/>
                    <a:pt x="1279756" y="2929970"/>
                    <a:pt x="1296395" y="2926253"/>
                  </a:cubicBezTo>
                  <a:lnTo>
                    <a:pt x="1296395" y="2925873"/>
                  </a:lnTo>
                  <a:cubicBezTo>
                    <a:pt x="1279756" y="2921903"/>
                    <a:pt x="1271436" y="2911388"/>
                    <a:pt x="1271436" y="2894326"/>
                  </a:cubicBezTo>
                  <a:lnTo>
                    <a:pt x="1271436" y="2858599"/>
                  </a:lnTo>
                  <a:cubicBezTo>
                    <a:pt x="1271436" y="2842804"/>
                    <a:pt x="1264679" y="2834738"/>
                    <a:pt x="1251166" y="2834401"/>
                  </a:cubicBezTo>
                  <a:close/>
                  <a:moveTo>
                    <a:pt x="1233681" y="2814763"/>
                  </a:moveTo>
                  <a:lnTo>
                    <a:pt x="1233681" y="2834401"/>
                  </a:lnTo>
                  <a:cubicBezTo>
                    <a:pt x="1220252" y="2834738"/>
                    <a:pt x="1213537" y="2842804"/>
                    <a:pt x="1213537" y="2858599"/>
                  </a:cubicBezTo>
                  <a:lnTo>
                    <a:pt x="1213537" y="2894326"/>
                  </a:lnTo>
                  <a:cubicBezTo>
                    <a:pt x="1213537" y="2911388"/>
                    <a:pt x="1205133" y="2921903"/>
                    <a:pt x="1188325" y="2925873"/>
                  </a:cubicBezTo>
                  <a:lnTo>
                    <a:pt x="1188325" y="2926253"/>
                  </a:lnTo>
                  <a:cubicBezTo>
                    <a:pt x="1205133" y="2929970"/>
                    <a:pt x="1213537" y="2940401"/>
                    <a:pt x="1213537" y="2957547"/>
                  </a:cubicBezTo>
                  <a:lnTo>
                    <a:pt x="1213537" y="2992894"/>
                  </a:lnTo>
                  <a:cubicBezTo>
                    <a:pt x="1213537" y="3001931"/>
                    <a:pt x="1215036" y="3008371"/>
                    <a:pt x="1218035" y="3012214"/>
                  </a:cubicBezTo>
                  <a:cubicBezTo>
                    <a:pt x="1221033" y="3016057"/>
                    <a:pt x="1226249" y="3018063"/>
                    <a:pt x="1233681" y="3018232"/>
                  </a:cubicBezTo>
                  <a:lnTo>
                    <a:pt x="1233681" y="3037743"/>
                  </a:lnTo>
                  <a:cubicBezTo>
                    <a:pt x="1203613" y="3037405"/>
                    <a:pt x="1188579" y="3024567"/>
                    <a:pt x="1188579" y="2999229"/>
                  </a:cubicBezTo>
                  <a:lnTo>
                    <a:pt x="1188579" y="2961854"/>
                  </a:lnTo>
                  <a:cubicBezTo>
                    <a:pt x="1188579" y="2945130"/>
                    <a:pt x="1181990" y="2936346"/>
                    <a:pt x="1168814" y="2935502"/>
                  </a:cubicBezTo>
                  <a:lnTo>
                    <a:pt x="1168814" y="2917005"/>
                  </a:lnTo>
                  <a:cubicBezTo>
                    <a:pt x="1181990" y="2916160"/>
                    <a:pt x="1188579" y="2907207"/>
                    <a:pt x="1188579" y="2890145"/>
                  </a:cubicBezTo>
                  <a:lnTo>
                    <a:pt x="1188579" y="2853785"/>
                  </a:lnTo>
                  <a:cubicBezTo>
                    <a:pt x="1188579" y="2828108"/>
                    <a:pt x="1203613" y="2815101"/>
                    <a:pt x="1233681" y="2814763"/>
                  </a:cubicBezTo>
                  <a:close/>
                  <a:moveTo>
                    <a:pt x="11609322" y="2486370"/>
                  </a:moveTo>
                  <a:cubicBezTo>
                    <a:pt x="11639222" y="2486708"/>
                    <a:pt x="11654171" y="2499715"/>
                    <a:pt x="11654171" y="2525391"/>
                  </a:cubicBezTo>
                  <a:lnTo>
                    <a:pt x="11654171" y="2561752"/>
                  </a:lnTo>
                  <a:cubicBezTo>
                    <a:pt x="11654171" y="2578815"/>
                    <a:pt x="11660717" y="2587767"/>
                    <a:pt x="11673809" y="2588613"/>
                  </a:cubicBezTo>
                  <a:lnTo>
                    <a:pt x="11673809" y="2607108"/>
                  </a:lnTo>
                  <a:cubicBezTo>
                    <a:pt x="11660717" y="2607953"/>
                    <a:pt x="11654171" y="2616737"/>
                    <a:pt x="11654171" y="2633461"/>
                  </a:cubicBezTo>
                  <a:lnTo>
                    <a:pt x="11654171" y="2670836"/>
                  </a:lnTo>
                  <a:cubicBezTo>
                    <a:pt x="11654171" y="2696174"/>
                    <a:pt x="11639222" y="2709012"/>
                    <a:pt x="11609322" y="2709350"/>
                  </a:cubicBezTo>
                  <a:lnTo>
                    <a:pt x="11609322" y="2689839"/>
                  </a:lnTo>
                  <a:cubicBezTo>
                    <a:pt x="11616670" y="2689670"/>
                    <a:pt x="11621886" y="2687643"/>
                    <a:pt x="11624969" y="2683758"/>
                  </a:cubicBezTo>
                  <a:cubicBezTo>
                    <a:pt x="11628051" y="2679873"/>
                    <a:pt x="11629593" y="2673454"/>
                    <a:pt x="11629593" y="2664501"/>
                  </a:cubicBezTo>
                  <a:lnTo>
                    <a:pt x="11629593" y="2629153"/>
                  </a:lnTo>
                  <a:cubicBezTo>
                    <a:pt x="11629593" y="2612009"/>
                    <a:pt x="11637913" y="2601576"/>
                    <a:pt x="11654552" y="2597860"/>
                  </a:cubicBezTo>
                  <a:lnTo>
                    <a:pt x="11654552" y="2597480"/>
                  </a:lnTo>
                  <a:cubicBezTo>
                    <a:pt x="11637913" y="2593510"/>
                    <a:pt x="11629593" y="2582995"/>
                    <a:pt x="11629593" y="2565934"/>
                  </a:cubicBezTo>
                  <a:lnTo>
                    <a:pt x="11629593" y="2530206"/>
                  </a:lnTo>
                  <a:cubicBezTo>
                    <a:pt x="11629593" y="2514411"/>
                    <a:pt x="11622836" y="2506345"/>
                    <a:pt x="11609322" y="2506008"/>
                  </a:cubicBezTo>
                  <a:close/>
                  <a:moveTo>
                    <a:pt x="11591838" y="2486370"/>
                  </a:moveTo>
                  <a:lnTo>
                    <a:pt x="11591838" y="2506008"/>
                  </a:lnTo>
                  <a:cubicBezTo>
                    <a:pt x="11578409" y="2506345"/>
                    <a:pt x="11571694" y="2514411"/>
                    <a:pt x="11571694" y="2530206"/>
                  </a:cubicBezTo>
                  <a:lnTo>
                    <a:pt x="11571694" y="2565934"/>
                  </a:lnTo>
                  <a:cubicBezTo>
                    <a:pt x="11571694" y="2582995"/>
                    <a:pt x="11563290" y="2593510"/>
                    <a:pt x="11546482" y="2597480"/>
                  </a:cubicBezTo>
                  <a:lnTo>
                    <a:pt x="11546482" y="2597860"/>
                  </a:lnTo>
                  <a:cubicBezTo>
                    <a:pt x="11563290" y="2601576"/>
                    <a:pt x="11571694" y="2612009"/>
                    <a:pt x="11571694" y="2629153"/>
                  </a:cubicBezTo>
                  <a:lnTo>
                    <a:pt x="11571694" y="2664501"/>
                  </a:lnTo>
                  <a:cubicBezTo>
                    <a:pt x="11571694" y="2673538"/>
                    <a:pt x="11573193" y="2679978"/>
                    <a:pt x="11576192" y="2683821"/>
                  </a:cubicBezTo>
                  <a:cubicBezTo>
                    <a:pt x="11579190" y="2687664"/>
                    <a:pt x="11584405" y="2689670"/>
                    <a:pt x="11591838" y="2689839"/>
                  </a:cubicBezTo>
                  <a:lnTo>
                    <a:pt x="11591838" y="2709350"/>
                  </a:lnTo>
                  <a:cubicBezTo>
                    <a:pt x="11561769" y="2709012"/>
                    <a:pt x="11546735" y="2696174"/>
                    <a:pt x="11546735" y="2670836"/>
                  </a:cubicBezTo>
                  <a:lnTo>
                    <a:pt x="11546735" y="2633461"/>
                  </a:lnTo>
                  <a:cubicBezTo>
                    <a:pt x="11546735" y="2616737"/>
                    <a:pt x="11540147" y="2607953"/>
                    <a:pt x="11526971" y="2607108"/>
                  </a:cubicBezTo>
                  <a:lnTo>
                    <a:pt x="11526971" y="2588613"/>
                  </a:lnTo>
                  <a:cubicBezTo>
                    <a:pt x="11540147" y="2587767"/>
                    <a:pt x="11546735" y="2578815"/>
                    <a:pt x="11546735" y="2561752"/>
                  </a:cubicBezTo>
                  <a:lnTo>
                    <a:pt x="11546735" y="2525391"/>
                  </a:lnTo>
                  <a:cubicBezTo>
                    <a:pt x="11546735" y="2499715"/>
                    <a:pt x="11561769" y="2486708"/>
                    <a:pt x="11591838" y="2486370"/>
                  </a:cubicBezTo>
                  <a:close/>
                  <a:moveTo>
                    <a:pt x="10935299" y="2486370"/>
                  </a:moveTo>
                  <a:cubicBezTo>
                    <a:pt x="10965199" y="2486708"/>
                    <a:pt x="10980148" y="2499715"/>
                    <a:pt x="10980148" y="2525391"/>
                  </a:cubicBezTo>
                  <a:lnTo>
                    <a:pt x="10980148" y="2561752"/>
                  </a:lnTo>
                  <a:cubicBezTo>
                    <a:pt x="10980148" y="2578815"/>
                    <a:pt x="10986694" y="2587767"/>
                    <a:pt x="10999786" y="2588613"/>
                  </a:cubicBezTo>
                  <a:lnTo>
                    <a:pt x="10999786" y="2607108"/>
                  </a:lnTo>
                  <a:cubicBezTo>
                    <a:pt x="10986694" y="2607953"/>
                    <a:pt x="10980148" y="2616737"/>
                    <a:pt x="10980148" y="2633461"/>
                  </a:cubicBezTo>
                  <a:lnTo>
                    <a:pt x="10980148" y="2670836"/>
                  </a:lnTo>
                  <a:cubicBezTo>
                    <a:pt x="10980148" y="2696174"/>
                    <a:pt x="10965199" y="2709012"/>
                    <a:pt x="10935299" y="2709350"/>
                  </a:cubicBezTo>
                  <a:lnTo>
                    <a:pt x="10935299" y="2689839"/>
                  </a:lnTo>
                  <a:cubicBezTo>
                    <a:pt x="10942647" y="2689670"/>
                    <a:pt x="10947863" y="2687643"/>
                    <a:pt x="10950946" y="2683758"/>
                  </a:cubicBezTo>
                  <a:cubicBezTo>
                    <a:pt x="10954028" y="2679873"/>
                    <a:pt x="10955570" y="2673454"/>
                    <a:pt x="10955570" y="2664501"/>
                  </a:cubicBezTo>
                  <a:lnTo>
                    <a:pt x="10955570" y="2629153"/>
                  </a:lnTo>
                  <a:cubicBezTo>
                    <a:pt x="10955570" y="2612009"/>
                    <a:pt x="10963890" y="2601576"/>
                    <a:pt x="10980529" y="2597860"/>
                  </a:cubicBezTo>
                  <a:lnTo>
                    <a:pt x="10980529" y="2597480"/>
                  </a:lnTo>
                  <a:cubicBezTo>
                    <a:pt x="10963890" y="2593510"/>
                    <a:pt x="10955570" y="2582995"/>
                    <a:pt x="10955570" y="2565934"/>
                  </a:cubicBezTo>
                  <a:lnTo>
                    <a:pt x="10955570" y="2530206"/>
                  </a:lnTo>
                  <a:cubicBezTo>
                    <a:pt x="10955570" y="2514411"/>
                    <a:pt x="10948813" y="2506345"/>
                    <a:pt x="10935299" y="2506008"/>
                  </a:cubicBezTo>
                  <a:close/>
                  <a:moveTo>
                    <a:pt x="10917815" y="2486370"/>
                  </a:moveTo>
                  <a:lnTo>
                    <a:pt x="10917815" y="2506008"/>
                  </a:lnTo>
                  <a:cubicBezTo>
                    <a:pt x="10904386" y="2506345"/>
                    <a:pt x="10897671" y="2514411"/>
                    <a:pt x="10897671" y="2530206"/>
                  </a:cubicBezTo>
                  <a:lnTo>
                    <a:pt x="10897671" y="2565934"/>
                  </a:lnTo>
                  <a:cubicBezTo>
                    <a:pt x="10897671" y="2582995"/>
                    <a:pt x="10889267" y="2593510"/>
                    <a:pt x="10872459" y="2597480"/>
                  </a:cubicBezTo>
                  <a:lnTo>
                    <a:pt x="10872459" y="2597860"/>
                  </a:lnTo>
                  <a:cubicBezTo>
                    <a:pt x="10889267" y="2601576"/>
                    <a:pt x="10897671" y="2612009"/>
                    <a:pt x="10897671" y="2629153"/>
                  </a:cubicBezTo>
                  <a:lnTo>
                    <a:pt x="10897671" y="2664501"/>
                  </a:lnTo>
                  <a:cubicBezTo>
                    <a:pt x="10897671" y="2673538"/>
                    <a:pt x="10899170" y="2679978"/>
                    <a:pt x="10902169" y="2683821"/>
                  </a:cubicBezTo>
                  <a:cubicBezTo>
                    <a:pt x="10905167" y="2687664"/>
                    <a:pt x="10910382" y="2689670"/>
                    <a:pt x="10917815" y="2689839"/>
                  </a:cubicBezTo>
                  <a:lnTo>
                    <a:pt x="10917815" y="2709350"/>
                  </a:lnTo>
                  <a:cubicBezTo>
                    <a:pt x="10887746" y="2709012"/>
                    <a:pt x="10872712" y="2696174"/>
                    <a:pt x="10872712" y="2670836"/>
                  </a:cubicBezTo>
                  <a:lnTo>
                    <a:pt x="10872712" y="2633461"/>
                  </a:lnTo>
                  <a:cubicBezTo>
                    <a:pt x="10872712" y="2616737"/>
                    <a:pt x="10866124" y="2607953"/>
                    <a:pt x="10852948" y="2607108"/>
                  </a:cubicBezTo>
                  <a:lnTo>
                    <a:pt x="10852948" y="2588613"/>
                  </a:lnTo>
                  <a:cubicBezTo>
                    <a:pt x="10866124" y="2587767"/>
                    <a:pt x="10872712" y="2578815"/>
                    <a:pt x="10872712" y="2561752"/>
                  </a:cubicBezTo>
                  <a:lnTo>
                    <a:pt x="10872712" y="2525391"/>
                  </a:lnTo>
                  <a:cubicBezTo>
                    <a:pt x="10872712" y="2499715"/>
                    <a:pt x="10887746" y="2486708"/>
                    <a:pt x="10917815" y="2486370"/>
                  </a:cubicBezTo>
                  <a:close/>
                  <a:moveTo>
                    <a:pt x="9736849" y="2486370"/>
                  </a:moveTo>
                  <a:cubicBezTo>
                    <a:pt x="9766749" y="2486708"/>
                    <a:pt x="9781698" y="2499715"/>
                    <a:pt x="9781698" y="2525391"/>
                  </a:cubicBezTo>
                  <a:lnTo>
                    <a:pt x="9781698" y="2561752"/>
                  </a:lnTo>
                  <a:cubicBezTo>
                    <a:pt x="9781698" y="2578815"/>
                    <a:pt x="9788244" y="2587767"/>
                    <a:pt x="9801336" y="2588613"/>
                  </a:cubicBezTo>
                  <a:lnTo>
                    <a:pt x="9801336" y="2607108"/>
                  </a:lnTo>
                  <a:cubicBezTo>
                    <a:pt x="9788244" y="2607953"/>
                    <a:pt x="9781698" y="2616737"/>
                    <a:pt x="9781698" y="2633461"/>
                  </a:cubicBezTo>
                  <a:lnTo>
                    <a:pt x="9781698" y="2670836"/>
                  </a:lnTo>
                  <a:cubicBezTo>
                    <a:pt x="9781698" y="2696174"/>
                    <a:pt x="9766749" y="2709012"/>
                    <a:pt x="9736849" y="2709350"/>
                  </a:cubicBezTo>
                  <a:lnTo>
                    <a:pt x="9736849" y="2689839"/>
                  </a:lnTo>
                  <a:cubicBezTo>
                    <a:pt x="9744197" y="2689670"/>
                    <a:pt x="9749413" y="2687643"/>
                    <a:pt x="9752496" y="2683758"/>
                  </a:cubicBezTo>
                  <a:cubicBezTo>
                    <a:pt x="9755578" y="2679873"/>
                    <a:pt x="9757120" y="2673454"/>
                    <a:pt x="9757120" y="2664501"/>
                  </a:cubicBezTo>
                  <a:lnTo>
                    <a:pt x="9757120" y="2629153"/>
                  </a:lnTo>
                  <a:cubicBezTo>
                    <a:pt x="9757120" y="2612009"/>
                    <a:pt x="9765440" y="2601576"/>
                    <a:pt x="9782079" y="2597860"/>
                  </a:cubicBezTo>
                  <a:lnTo>
                    <a:pt x="9782079" y="2597480"/>
                  </a:lnTo>
                  <a:cubicBezTo>
                    <a:pt x="9765440" y="2593510"/>
                    <a:pt x="9757120" y="2582995"/>
                    <a:pt x="9757120" y="2565934"/>
                  </a:cubicBezTo>
                  <a:lnTo>
                    <a:pt x="9757120" y="2530206"/>
                  </a:lnTo>
                  <a:cubicBezTo>
                    <a:pt x="9757120" y="2514411"/>
                    <a:pt x="9750363" y="2506345"/>
                    <a:pt x="9736849" y="2506008"/>
                  </a:cubicBezTo>
                  <a:close/>
                  <a:moveTo>
                    <a:pt x="9719365" y="2486370"/>
                  </a:moveTo>
                  <a:lnTo>
                    <a:pt x="9719365" y="2506008"/>
                  </a:lnTo>
                  <a:cubicBezTo>
                    <a:pt x="9705936" y="2506345"/>
                    <a:pt x="9699221" y="2514411"/>
                    <a:pt x="9699221" y="2530206"/>
                  </a:cubicBezTo>
                  <a:lnTo>
                    <a:pt x="9699221" y="2565934"/>
                  </a:lnTo>
                  <a:cubicBezTo>
                    <a:pt x="9699221" y="2582995"/>
                    <a:pt x="9690817" y="2593510"/>
                    <a:pt x="9674009" y="2597480"/>
                  </a:cubicBezTo>
                  <a:lnTo>
                    <a:pt x="9674009" y="2597860"/>
                  </a:lnTo>
                  <a:cubicBezTo>
                    <a:pt x="9690817" y="2601576"/>
                    <a:pt x="9699221" y="2612009"/>
                    <a:pt x="9699221" y="2629153"/>
                  </a:cubicBezTo>
                  <a:lnTo>
                    <a:pt x="9699221" y="2664501"/>
                  </a:lnTo>
                  <a:cubicBezTo>
                    <a:pt x="9699221" y="2673538"/>
                    <a:pt x="9700720" y="2679978"/>
                    <a:pt x="9703719" y="2683821"/>
                  </a:cubicBezTo>
                  <a:cubicBezTo>
                    <a:pt x="9706717" y="2687664"/>
                    <a:pt x="9711932" y="2689670"/>
                    <a:pt x="9719365" y="2689839"/>
                  </a:cubicBezTo>
                  <a:lnTo>
                    <a:pt x="9719365" y="2709350"/>
                  </a:lnTo>
                  <a:cubicBezTo>
                    <a:pt x="9689296" y="2709012"/>
                    <a:pt x="9674262" y="2696174"/>
                    <a:pt x="9674262" y="2670836"/>
                  </a:cubicBezTo>
                  <a:lnTo>
                    <a:pt x="9674262" y="2633461"/>
                  </a:lnTo>
                  <a:cubicBezTo>
                    <a:pt x="9674262" y="2616737"/>
                    <a:pt x="9667674" y="2607953"/>
                    <a:pt x="9654498" y="2607108"/>
                  </a:cubicBezTo>
                  <a:lnTo>
                    <a:pt x="9654498" y="2588613"/>
                  </a:lnTo>
                  <a:cubicBezTo>
                    <a:pt x="9667674" y="2587767"/>
                    <a:pt x="9674262" y="2578815"/>
                    <a:pt x="9674262" y="2561752"/>
                  </a:cubicBezTo>
                  <a:lnTo>
                    <a:pt x="9674262" y="2525391"/>
                  </a:lnTo>
                  <a:cubicBezTo>
                    <a:pt x="9674262" y="2499715"/>
                    <a:pt x="9689296" y="2486708"/>
                    <a:pt x="9719365" y="2486370"/>
                  </a:cubicBezTo>
                  <a:close/>
                  <a:moveTo>
                    <a:pt x="8112647" y="2486370"/>
                  </a:moveTo>
                  <a:cubicBezTo>
                    <a:pt x="8142547" y="2486708"/>
                    <a:pt x="8157496" y="2499715"/>
                    <a:pt x="8157496" y="2525391"/>
                  </a:cubicBezTo>
                  <a:lnTo>
                    <a:pt x="8157496" y="2561752"/>
                  </a:lnTo>
                  <a:cubicBezTo>
                    <a:pt x="8157496" y="2578815"/>
                    <a:pt x="8164042" y="2587767"/>
                    <a:pt x="8177134" y="2588613"/>
                  </a:cubicBezTo>
                  <a:lnTo>
                    <a:pt x="8177134" y="2607108"/>
                  </a:lnTo>
                  <a:cubicBezTo>
                    <a:pt x="8164042" y="2607953"/>
                    <a:pt x="8157496" y="2616737"/>
                    <a:pt x="8157496" y="2633461"/>
                  </a:cubicBezTo>
                  <a:lnTo>
                    <a:pt x="8157496" y="2670836"/>
                  </a:lnTo>
                  <a:cubicBezTo>
                    <a:pt x="8157496" y="2696174"/>
                    <a:pt x="8142547" y="2709012"/>
                    <a:pt x="8112647" y="2709350"/>
                  </a:cubicBezTo>
                  <a:lnTo>
                    <a:pt x="8112647" y="2689839"/>
                  </a:lnTo>
                  <a:cubicBezTo>
                    <a:pt x="8119995" y="2689670"/>
                    <a:pt x="8125211" y="2687643"/>
                    <a:pt x="8128294" y="2683758"/>
                  </a:cubicBezTo>
                  <a:cubicBezTo>
                    <a:pt x="8131376" y="2679873"/>
                    <a:pt x="8132918" y="2673454"/>
                    <a:pt x="8132918" y="2664501"/>
                  </a:cubicBezTo>
                  <a:lnTo>
                    <a:pt x="8132918" y="2629153"/>
                  </a:lnTo>
                  <a:cubicBezTo>
                    <a:pt x="8132918" y="2612009"/>
                    <a:pt x="8141238" y="2601576"/>
                    <a:pt x="8157877" y="2597860"/>
                  </a:cubicBezTo>
                  <a:lnTo>
                    <a:pt x="8157877" y="2597480"/>
                  </a:lnTo>
                  <a:cubicBezTo>
                    <a:pt x="8141238" y="2593510"/>
                    <a:pt x="8132918" y="2582995"/>
                    <a:pt x="8132918" y="2565934"/>
                  </a:cubicBezTo>
                  <a:lnTo>
                    <a:pt x="8132918" y="2530206"/>
                  </a:lnTo>
                  <a:cubicBezTo>
                    <a:pt x="8132918" y="2514411"/>
                    <a:pt x="8126161" y="2506345"/>
                    <a:pt x="8112647" y="2506008"/>
                  </a:cubicBezTo>
                  <a:close/>
                  <a:moveTo>
                    <a:pt x="8095163" y="2486370"/>
                  </a:moveTo>
                  <a:lnTo>
                    <a:pt x="8095163" y="2506008"/>
                  </a:lnTo>
                  <a:cubicBezTo>
                    <a:pt x="8081734" y="2506345"/>
                    <a:pt x="8075019" y="2514411"/>
                    <a:pt x="8075019" y="2530206"/>
                  </a:cubicBezTo>
                  <a:lnTo>
                    <a:pt x="8075019" y="2565934"/>
                  </a:lnTo>
                  <a:cubicBezTo>
                    <a:pt x="8075019" y="2582995"/>
                    <a:pt x="8066615" y="2593510"/>
                    <a:pt x="8049807" y="2597480"/>
                  </a:cubicBezTo>
                  <a:lnTo>
                    <a:pt x="8049807" y="2597860"/>
                  </a:lnTo>
                  <a:cubicBezTo>
                    <a:pt x="8066615" y="2601576"/>
                    <a:pt x="8075019" y="2612009"/>
                    <a:pt x="8075019" y="2629153"/>
                  </a:cubicBezTo>
                  <a:lnTo>
                    <a:pt x="8075019" y="2664501"/>
                  </a:lnTo>
                  <a:cubicBezTo>
                    <a:pt x="8075019" y="2673538"/>
                    <a:pt x="8076518" y="2679978"/>
                    <a:pt x="8079517" y="2683821"/>
                  </a:cubicBezTo>
                  <a:cubicBezTo>
                    <a:pt x="8082515" y="2687664"/>
                    <a:pt x="8087731" y="2689670"/>
                    <a:pt x="8095163" y="2689839"/>
                  </a:cubicBezTo>
                  <a:lnTo>
                    <a:pt x="8095163" y="2709350"/>
                  </a:lnTo>
                  <a:cubicBezTo>
                    <a:pt x="8065095" y="2709012"/>
                    <a:pt x="8050061" y="2696174"/>
                    <a:pt x="8050061" y="2670836"/>
                  </a:cubicBezTo>
                  <a:lnTo>
                    <a:pt x="8050061" y="2633461"/>
                  </a:lnTo>
                  <a:cubicBezTo>
                    <a:pt x="8050061" y="2616737"/>
                    <a:pt x="8043472" y="2607953"/>
                    <a:pt x="8030296" y="2607108"/>
                  </a:cubicBezTo>
                  <a:lnTo>
                    <a:pt x="8030296" y="2588613"/>
                  </a:lnTo>
                  <a:cubicBezTo>
                    <a:pt x="8043472" y="2587767"/>
                    <a:pt x="8050061" y="2578815"/>
                    <a:pt x="8050061" y="2561752"/>
                  </a:cubicBezTo>
                  <a:lnTo>
                    <a:pt x="8050061" y="2525391"/>
                  </a:lnTo>
                  <a:cubicBezTo>
                    <a:pt x="8050061" y="2499715"/>
                    <a:pt x="8065095" y="2486708"/>
                    <a:pt x="8095163" y="2486370"/>
                  </a:cubicBezTo>
                  <a:close/>
                  <a:moveTo>
                    <a:pt x="5536938" y="2486370"/>
                  </a:moveTo>
                  <a:cubicBezTo>
                    <a:pt x="5566839" y="2486708"/>
                    <a:pt x="5581787" y="2499715"/>
                    <a:pt x="5581787" y="2525391"/>
                  </a:cubicBezTo>
                  <a:lnTo>
                    <a:pt x="5581787" y="2561752"/>
                  </a:lnTo>
                  <a:cubicBezTo>
                    <a:pt x="5581787" y="2578815"/>
                    <a:pt x="5588333" y="2587767"/>
                    <a:pt x="5601425" y="2588613"/>
                  </a:cubicBezTo>
                  <a:lnTo>
                    <a:pt x="5601425" y="2607108"/>
                  </a:lnTo>
                  <a:cubicBezTo>
                    <a:pt x="5588333" y="2607953"/>
                    <a:pt x="5581787" y="2616737"/>
                    <a:pt x="5581787" y="2633461"/>
                  </a:cubicBezTo>
                  <a:lnTo>
                    <a:pt x="5581787" y="2670836"/>
                  </a:lnTo>
                  <a:cubicBezTo>
                    <a:pt x="5581787" y="2696174"/>
                    <a:pt x="5566839" y="2709012"/>
                    <a:pt x="5536938" y="2709350"/>
                  </a:cubicBezTo>
                  <a:lnTo>
                    <a:pt x="5536938" y="2689839"/>
                  </a:lnTo>
                  <a:cubicBezTo>
                    <a:pt x="5544286" y="2689670"/>
                    <a:pt x="5549501" y="2687643"/>
                    <a:pt x="5552584" y="2683758"/>
                  </a:cubicBezTo>
                  <a:cubicBezTo>
                    <a:pt x="5555667" y="2679873"/>
                    <a:pt x="5557209" y="2673454"/>
                    <a:pt x="5557209" y="2664501"/>
                  </a:cubicBezTo>
                  <a:lnTo>
                    <a:pt x="5557209" y="2629153"/>
                  </a:lnTo>
                  <a:cubicBezTo>
                    <a:pt x="5557209" y="2612009"/>
                    <a:pt x="5565529" y="2601576"/>
                    <a:pt x="5582167" y="2597860"/>
                  </a:cubicBezTo>
                  <a:lnTo>
                    <a:pt x="5582167" y="2597480"/>
                  </a:lnTo>
                  <a:cubicBezTo>
                    <a:pt x="5565529" y="2593510"/>
                    <a:pt x="5557209" y="2582995"/>
                    <a:pt x="5557209" y="2565934"/>
                  </a:cubicBezTo>
                  <a:lnTo>
                    <a:pt x="5557209" y="2530206"/>
                  </a:lnTo>
                  <a:cubicBezTo>
                    <a:pt x="5557209" y="2514411"/>
                    <a:pt x="5550452" y="2506345"/>
                    <a:pt x="5536938" y="2506008"/>
                  </a:cubicBezTo>
                  <a:close/>
                  <a:moveTo>
                    <a:pt x="5519454" y="2486370"/>
                  </a:moveTo>
                  <a:lnTo>
                    <a:pt x="5519454" y="2506008"/>
                  </a:lnTo>
                  <a:cubicBezTo>
                    <a:pt x="5506025" y="2506345"/>
                    <a:pt x="5499311" y="2514411"/>
                    <a:pt x="5499311" y="2530206"/>
                  </a:cubicBezTo>
                  <a:lnTo>
                    <a:pt x="5499311" y="2565934"/>
                  </a:lnTo>
                  <a:cubicBezTo>
                    <a:pt x="5499311" y="2582995"/>
                    <a:pt x="5490905" y="2593510"/>
                    <a:pt x="5474097" y="2597480"/>
                  </a:cubicBezTo>
                  <a:lnTo>
                    <a:pt x="5474097" y="2597860"/>
                  </a:lnTo>
                  <a:cubicBezTo>
                    <a:pt x="5490905" y="2601576"/>
                    <a:pt x="5499311" y="2612009"/>
                    <a:pt x="5499311" y="2629153"/>
                  </a:cubicBezTo>
                  <a:lnTo>
                    <a:pt x="5499311" y="2664501"/>
                  </a:lnTo>
                  <a:cubicBezTo>
                    <a:pt x="5499311" y="2673538"/>
                    <a:pt x="5500809" y="2679978"/>
                    <a:pt x="5503807" y="2683821"/>
                  </a:cubicBezTo>
                  <a:cubicBezTo>
                    <a:pt x="5506805" y="2687664"/>
                    <a:pt x="5512021" y="2689670"/>
                    <a:pt x="5519454" y="2689839"/>
                  </a:cubicBezTo>
                  <a:lnTo>
                    <a:pt x="5519454" y="2709350"/>
                  </a:lnTo>
                  <a:cubicBezTo>
                    <a:pt x="5489386" y="2709012"/>
                    <a:pt x="5474352" y="2696174"/>
                    <a:pt x="5474352" y="2670836"/>
                  </a:cubicBezTo>
                  <a:lnTo>
                    <a:pt x="5474352" y="2633461"/>
                  </a:lnTo>
                  <a:cubicBezTo>
                    <a:pt x="5474352" y="2616737"/>
                    <a:pt x="5467764" y="2607953"/>
                    <a:pt x="5454588" y="2607108"/>
                  </a:cubicBezTo>
                  <a:lnTo>
                    <a:pt x="5454588" y="2588613"/>
                  </a:lnTo>
                  <a:cubicBezTo>
                    <a:pt x="5467764" y="2587767"/>
                    <a:pt x="5474352" y="2578815"/>
                    <a:pt x="5474352" y="2561752"/>
                  </a:cubicBezTo>
                  <a:lnTo>
                    <a:pt x="5474352" y="2525391"/>
                  </a:lnTo>
                  <a:cubicBezTo>
                    <a:pt x="5474352" y="2499715"/>
                    <a:pt x="5489386" y="2486708"/>
                    <a:pt x="5519454" y="2486370"/>
                  </a:cubicBezTo>
                  <a:close/>
                  <a:moveTo>
                    <a:pt x="4870836" y="2486370"/>
                  </a:moveTo>
                  <a:cubicBezTo>
                    <a:pt x="4900736" y="2486708"/>
                    <a:pt x="4915686" y="2499715"/>
                    <a:pt x="4915686" y="2525391"/>
                  </a:cubicBezTo>
                  <a:lnTo>
                    <a:pt x="4915686" y="2561752"/>
                  </a:lnTo>
                  <a:cubicBezTo>
                    <a:pt x="4915686" y="2578815"/>
                    <a:pt x="4922231" y="2587767"/>
                    <a:pt x="4935324" y="2588613"/>
                  </a:cubicBezTo>
                  <a:lnTo>
                    <a:pt x="4935324" y="2607108"/>
                  </a:lnTo>
                  <a:cubicBezTo>
                    <a:pt x="4922231" y="2607953"/>
                    <a:pt x="4915686" y="2616737"/>
                    <a:pt x="4915686" y="2633461"/>
                  </a:cubicBezTo>
                  <a:lnTo>
                    <a:pt x="4915686" y="2670836"/>
                  </a:lnTo>
                  <a:cubicBezTo>
                    <a:pt x="4915686" y="2696174"/>
                    <a:pt x="4900736" y="2709012"/>
                    <a:pt x="4870836" y="2709350"/>
                  </a:cubicBezTo>
                  <a:lnTo>
                    <a:pt x="4870836" y="2689839"/>
                  </a:lnTo>
                  <a:cubicBezTo>
                    <a:pt x="4878185" y="2689670"/>
                    <a:pt x="4883399" y="2687643"/>
                    <a:pt x="4886482" y="2683758"/>
                  </a:cubicBezTo>
                  <a:cubicBezTo>
                    <a:pt x="4889566" y="2679873"/>
                    <a:pt x="4891108" y="2673454"/>
                    <a:pt x="4891108" y="2664501"/>
                  </a:cubicBezTo>
                  <a:lnTo>
                    <a:pt x="4891108" y="2629153"/>
                  </a:lnTo>
                  <a:cubicBezTo>
                    <a:pt x="4891108" y="2612009"/>
                    <a:pt x="4899426" y="2601576"/>
                    <a:pt x="4916065" y="2597860"/>
                  </a:cubicBezTo>
                  <a:lnTo>
                    <a:pt x="4916065" y="2597480"/>
                  </a:lnTo>
                  <a:cubicBezTo>
                    <a:pt x="4899426" y="2593510"/>
                    <a:pt x="4891108" y="2582995"/>
                    <a:pt x="4891108" y="2565934"/>
                  </a:cubicBezTo>
                  <a:lnTo>
                    <a:pt x="4891108" y="2530206"/>
                  </a:lnTo>
                  <a:cubicBezTo>
                    <a:pt x="4891108" y="2514411"/>
                    <a:pt x="4884351" y="2506345"/>
                    <a:pt x="4870836" y="2506008"/>
                  </a:cubicBezTo>
                  <a:close/>
                  <a:moveTo>
                    <a:pt x="4853353" y="2486370"/>
                  </a:moveTo>
                  <a:lnTo>
                    <a:pt x="4853353" y="2506008"/>
                  </a:lnTo>
                  <a:cubicBezTo>
                    <a:pt x="4839922" y="2506345"/>
                    <a:pt x="4833208" y="2514411"/>
                    <a:pt x="4833208" y="2530206"/>
                  </a:cubicBezTo>
                  <a:lnTo>
                    <a:pt x="4833208" y="2565934"/>
                  </a:lnTo>
                  <a:cubicBezTo>
                    <a:pt x="4833208" y="2582995"/>
                    <a:pt x="4824804" y="2593510"/>
                    <a:pt x="4807996" y="2597480"/>
                  </a:cubicBezTo>
                  <a:lnTo>
                    <a:pt x="4807996" y="2597860"/>
                  </a:lnTo>
                  <a:cubicBezTo>
                    <a:pt x="4824804" y="2601576"/>
                    <a:pt x="4833208" y="2612009"/>
                    <a:pt x="4833208" y="2629153"/>
                  </a:cubicBezTo>
                  <a:lnTo>
                    <a:pt x="4833208" y="2664501"/>
                  </a:lnTo>
                  <a:cubicBezTo>
                    <a:pt x="4833208" y="2673538"/>
                    <a:pt x="4834707" y="2679978"/>
                    <a:pt x="4837705" y="2683821"/>
                  </a:cubicBezTo>
                  <a:cubicBezTo>
                    <a:pt x="4840703" y="2687664"/>
                    <a:pt x="4845919" y="2689670"/>
                    <a:pt x="4853353" y="2689839"/>
                  </a:cubicBezTo>
                  <a:lnTo>
                    <a:pt x="4853353" y="2709350"/>
                  </a:lnTo>
                  <a:cubicBezTo>
                    <a:pt x="4823284" y="2709012"/>
                    <a:pt x="4808250" y="2696174"/>
                    <a:pt x="4808250" y="2670836"/>
                  </a:cubicBezTo>
                  <a:lnTo>
                    <a:pt x="4808250" y="2633461"/>
                  </a:lnTo>
                  <a:cubicBezTo>
                    <a:pt x="4808250" y="2616737"/>
                    <a:pt x="4801662" y="2607953"/>
                    <a:pt x="4788486" y="2607108"/>
                  </a:cubicBezTo>
                  <a:lnTo>
                    <a:pt x="4788486" y="2588613"/>
                  </a:lnTo>
                  <a:cubicBezTo>
                    <a:pt x="4801662" y="2587767"/>
                    <a:pt x="4808250" y="2578815"/>
                    <a:pt x="4808250" y="2561752"/>
                  </a:cubicBezTo>
                  <a:lnTo>
                    <a:pt x="4808250" y="2525391"/>
                  </a:lnTo>
                  <a:cubicBezTo>
                    <a:pt x="4808250" y="2499715"/>
                    <a:pt x="4823284" y="2486708"/>
                    <a:pt x="4853353" y="2486370"/>
                  </a:cubicBezTo>
                  <a:close/>
                  <a:moveTo>
                    <a:pt x="2046291" y="2486370"/>
                  </a:moveTo>
                  <a:cubicBezTo>
                    <a:pt x="2076191" y="2486708"/>
                    <a:pt x="2091141" y="2499715"/>
                    <a:pt x="2091141" y="2525391"/>
                  </a:cubicBezTo>
                  <a:lnTo>
                    <a:pt x="2091141" y="2561752"/>
                  </a:lnTo>
                  <a:cubicBezTo>
                    <a:pt x="2091141" y="2578815"/>
                    <a:pt x="2097686" y="2587767"/>
                    <a:pt x="2110778" y="2588613"/>
                  </a:cubicBezTo>
                  <a:lnTo>
                    <a:pt x="2110778" y="2607108"/>
                  </a:lnTo>
                  <a:cubicBezTo>
                    <a:pt x="2097686" y="2607953"/>
                    <a:pt x="2091141" y="2616737"/>
                    <a:pt x="2091141" y="2633461"/>
                  </a:cubicBezTo>
                  <a:lnTo>
                    <a:pt x="2091141" y="2670836"/>
                  </a:lnTo>
                  <a:cubicBezTo>
                    <a:pt x="2091141" y="2696174"/>
                    <a:pt x="2076191" y="2709012"/>
                    <a:pt x="2046291" y="2709350"/>
                  </a:cubicBezTo>
                  <a:lnTo>
                    <a:pt x="2046291" y="2689839"/>
                  </a:lnTo>
                  <a:cubicBezTo>
                    <a:pt x="2053639" y="2689670"/>
                    <a:pt x="2058855" y="2687643"/>
                    <a:pt x="2061938" y="2683758"/>
                  </a:cubicBezTo>
                  <a:cubicBezTo>
                    <a:pt x="2065021" y="2679873"/>
                    <a:pt x="2066562" y="2673454"/>
                    <a:pt x="2066562" y="2664501"/>
                  </a:cubicBezTo>
                  <a:lnTo>
                    <a:pt x="2066562" y="2629153"/>
                  </a:lnTo>
                  <a:cubicBezTo>
                    <a:pt x="2066562" y="2612009"/>
                    <a:pt x="2074882" y="2601576"/>
                    <a:pt x="2091521" y="2597860"/>
                  </a:cubicBezTo>
                  <a:lnTo>
                    <a:pt x="2091521" y="2597480"/>
                  </a:lnTo>
                  <a:cubicBezTo>
                    <a:pt x="2074882" y="2593510"/>
                    <a:pt x="2066562" y="2582995"/>
                    <a:pt x="2066562" y="2565934"/>
                  </a:cubicBezTo>
                  <a:lnTo>
                    <a:pt x="2066562" y="2530206"/>
                  </a:lnTo>
                  <a:cubicBezTo>
                    <a:pt x="2066562" y="2514411"/>
                    <a:pt x="2059805" y="2506345"/>
                    <a:pt x="2046291" y="2506008"/>
                  </a:cubicBezTo>
                  <a:close/>
                  <a:moveTo>
                    <a:pt x="2028807" y="2486370"/>
                  </a:moveTo>
                  <a:lnTo>
                    <a:pt x="2028807" y="2506008"/>
                  </a:lnTo>
                  <a:cubicBezTo>
                    <a:pt x="2015378" y="2506345"/>
                    <a:pt x="2008663" y="2514411"/>
                    <a:pt x="2008663" y="2530206"/>
                  </a:cubicBezTo>
                  <a:lnTo>
                    <a:pt x="2008663" y="2565934"/>
                  </a:lnTo>
                  <a:cubicBezTo>
                    <a:pt x="2008663" y="2582995"/>
                    <a:pt x="2000259" y="2593510"/>
                    <a:pt x="1983451" y="2597480"/>
                  </a:cubicBezTo>
                  <a:lnTo>
                    <a:pt x="1983451" y="2597860"/>
                  </a:lnTo>
                  <a:cubicBezTo>
                    <a:pt x="2000259" y="2601576"/>
                    <a:pt x="2008663" y="2612009"/>
                    <a:pt x="2008663" y="2629153"/>
                  </a:cubicBezTo>
                  <a:lnTo>
                    <a:pt x="2008663" y="2664501"/>
                  </a:lnTo>
                  <a:cubicBezTo>
                    <a:pt x="2008663" y="2673538"/>
                    <a:pt x="2010162" y="2679978"/>
                    <a:pt x="2013160" y="2683821"/>
                  </a:cubicBezTo>
                  <a:cubicBezTo>
                    <a:pt x="2016159" y="2687664"/>
                    <a:pt x="2021374" y="2689670"/>
                    <a:pt x="2028807" y="2689839"/>
                  </a:cubicBezTo>
                  <a:lnTo>
                    <a:pt x="2028807" y="2709350"/>
                  </a:lnTo>
                  <a:cubicBezTo>
                    <a:pt x="1998738" y="2709012"/>
                    <a:pt x="1983704" y="2696174"/>
                    <a:pt x="1983704" y="2670836"/>
                  </a:cubicBezTo>
                  <a:lnTo>
                    <a:pt x="1983704" y="2633461"/>
                  </a:lnTo>
                  <a:cubicBezTo>
                    <a:pt x="1983704" y="2616737"/>
                    <a:pt x="1977116" y="2607953"/>
                    <a:pt x="1963940" y="2607108"/>
                  </a:cubicBezTo>
                  <a:lnTo>
                    <a:pt x="1963940" y="2588613"/>
                  </a:lnTo>
                  <a:cubicBezTo>
                    <a:pt x="1977116" y="2587767"/>
                    <a:pt x="1983704" y="2578815"/>
                    <a:pt x="1983704" y="2561752"/>
                  </a:cubicBezTo>
                  <a:lnTo>
                    <a:pt x="1983704" y="2525391"/>
                  </a:lnTo>
                  <a:cubicBezTo>
                    <a:pt x="1983704" y="2499715"/>
                    <a:pt x="1998738" y="2486708"/>
                    <a:pt x="2028807" y="2486370"/>
                  </a:cubicBezTo>
                  <a:close/>
                  <a:moveTo>
                    <a:pt x="8995951" y="2346637"/>
                  </a:moveTo>
                  <a:cubicBezTo>
                    <a:pt x="8991401" y="2364657"/>
                    <a:pt x="8986222" y="2376032"/>
                    <a:pt x="8972602" y="2386149"/>
                  </a:cubicBezTo>
                  <a:cubicBezTo>
                    <a:pt x="8971225" y="2393543"/>
                    <a:pt x="8983618" y="2389592"/>
                    <a:pt x="8989126" y="2389562"/>
                  </a:cubicBezTo>
                  <a:cubicBezTo>
                    <a:pt x="8994634" y="2389532"/>
                    <a:pt x="9004183" y="2391014"/>
                    <a:pt x="9005649" y="2385970"/>
                  </a:cubicBezTo>
                  <a:cubicBezTo>
                    <a:pt x="9006637" y="2382497"/>
                    <a:pt x="9004212" y="2379833"/>
                    <a:pt x="9002686" y="2376451"/>
                  </a:cubicBezTo>
                  <a:cubicBezTo>
                    <a:pt x="9001908" y="2372739"/>
                    <a:pt x="9004796" y="2368129"/>
                    <a:pt x="9003674" y="2363160"/>
                  </a:cubicBezTo>
                  <a:cubicBezTo>
                    <a:pt x="9002551" y="2358191"/>
                    <a:pt x="8999243" y="2350348"/>
                    <a:pt x="8995951" y="2346637"/>
                  </a:cubicBezTo>
                  <a:close/>
                  <a:moveTo>
                    <a:pt x="2935214" y="2346637"/>
                  </a:moveTo>
                  <a:cubicBezTo>
                    <a:pt x="2930664" y="2364657"/>
                    <a:pt x="2925485" y="2376032"/>
                    <a:pt x="2911865" y="2386149"/>
                  </a:cubicBezTo>
                  <a:cubicBezTo>
                    <a:pt x="2910489" y="2393543"/>
                    <a:pt x="2922881" y="2389592"/>
                    <a:pt x="2928389" y="2389562"/>
                  </a:cubicBezTo>
                  <a:cubicBezTo>
                    <a:pt x="2933897" y="2389532"/>
                    <a:pt x="2943446" y="2391014"/>
                    <a:pt x="2944912" y="2385970"/>
                  </a:cubicBezTo>
                  <a:cubicBezTo>
                    <a:pt x="2945900" y="2382497"/>
                    <a:pt x="2943476" y="2379833"/>
                    <a:pt x="2941949" y="2376451"/>
                  </a:cubicBezTo>
                  <a:cubicBezTo>
                    <a:pt x="2941171" y="2372739"/>
                    <a:pt x="2944060" y="2368129"/>
                    <a:pt x="2942937" y="2363160"/>
                  </a:cubicBezTo>
                  <a:cubicBezTo>
                    <a:pt x="2941814" y="2358191"/>
                    <a:pt x="2938507" y="2350348"/>
                    <a:pt x="2935214" y="2346637"/>
                  </a:cubicBezTo>
                  <a:close/>
                  <a:moveTo>
                    <a:pt x="8834846" y="2330113"/>
                  </a:moveTo>
                  <a:cubicBezTo>
                    <a:pt x="8829997" y="2335651"/>
                    <a:pt x="8821107" y="2346218"/>
                    <a:pt x="8821107" y="2350498"/>
                  </a:cubicBezTo>
                  <a:cubicBezTo>
                    <a:pt x="8821376" y="2355826"/>
                    <a:pt x="8835654" y="2371572"/>
                    <a:pt x="8842749" y="2372230"/>
                  </a:cubicBezTo>
                  <a:cubicBezTo>
                    <a:pt x="8848616" y="2372380"/>
                    <a:pt x="8849185" y="2369297"/>
                    <a:pt x="8851729" y="2364956"/>
                  </a:cubicBezTo>
                  <a:cubicBezTo>
                    <a:pt x="8843587" y="2353432"/>
                    <a:pt x="8840204" y="2347565"/>
                    <a:pt x="8834846" y="2330113"/>
                  </a:cubicBezTo>
                  <a:close/>
                  <a:moveTo>
                    <a:pt x="2774110" y="2330113"/>
                  </a:moveTo>
                  <a:cubicBezTo>
                    <a:pt x="2769260" y="2335651"/>
                    <a:pt x="2760370" y="2346218"/>
                    <a:pt x="2760370" y="2350498"/>
                  </a:cubicBezTo>
                  <a:cubicBezTo>
                    <a:pt x="2760639" y="2355826"/>
                    <a:pt x="2774918" y="2371572"/>
                    <a:pt x="2782012" y="2372230"/>
                  </a:cubicBezTo>
                  <a:cubicBezTo>
                    <a:pt x="2787879" y="2372380"/>
                    <a:pt x="2788448" y="2369297"/>
                    <a:pt x="2790992" y="2364956"/>
                  </a:cubicBezTo>
                  <a:cubicBezTo>
                    <a:pt x="2782850" y="2353432"/>
                    <a:pt x="2779468" y="2347565"/>
                    <a:pt x="2774110" y="2330113"/>
                  </a:cubicBezTo>
                  <a:close/>
                  <a:moveTo>
                    <a:pt x="8818347" y="2261360"/>
                  </a:moveTo>
                  <a:lnTo>
                    <a:pt x="8818145" y="2262886"/>
                  </a:lnTo>
                  <a:lnTo>
                    <a:pt x="8818078" y="2261618"/>
                  </a:lnTo>
                  <a:close/>
                  <a:moveTo>
                    <a:pt x="2757610" y="2261359"/>
                  </a:moveTo>
                  <a:lnTo>
                    <a:pt x="2757408" y="2262887"/>
                  </a:lnTo>
                  <a:lnTo>
                    <a:pt x="2757342" y="2261618"/>
                  </a:lnTo>
                  <a:close/>
                  <a:moveTo>
                    <a:pt x="9021634" y="2233980"/>
                  </a:moveTo>
                  <a:cubicBezTo>
                    <a:pt x="9021597" y="2234153"/>
                    <a:pt x="9018719" y="2235223"/>
                    <a:pt x="9017615" y="2236854"/>
                  </a:cubicBezTo>
                  <a:cubicBezTo>
                    <a:pt x="9022184" y="2238376"/>
                    <a:pt x="9023788" y="2239809"/>
                    <a:pt x="9024585" y="2245282"/>
                  </a:cubicBezTo>
                  <a:cubicBezTo>
                    <a:pt x="9024800" y="2245241"/>
                    <a:pt x="9026304" y="2244027"/>
                    <a:pt x="9031512" y="2243544"/>
                  </a:cubicBezTo>
                  <a:cubicBezTo>
                    <a:pt x="9019688" y="2248274"/>
                    <a:pt x="9013702" y="2253363"/>
                    <a:pt x="9005111" y="2262852"/>
                  </a:cubicBezTo>
                  <a:cubicBezTo>
                    <a:pt x="9007827" y="2257508"/>
                    <a:pt x="9010142" y="2255244"/>
                    <a:pt x="9010161" y="2255177"/>
                  </a:cubicBezTo>
                  <a:cubicBezTo>
                    <a:pt x="9005664" y="2253649"/>
                    <a:pt x="9004399" y="2253289"/>
                    <a:pt x="9002327" y="2248169"/>
                  </a:cubicBezTo>
                  <a:cubicBezTo>
                    <a:pt x="9002054" y="2248319"/>
                    <a:pt x="9001601" y="2248087"/>
                    <a:pt x="8997477" y="2252255"/>
                  </a:cubicBezTo>
                  <a:cubicBezTo>
                    <a:pt x="9004721" y="2238007"/>
                    <a:pt x="9011516" y="2237094"/>
                    <a:pt x="9021634" y="2233980"/>
                  </a:cubicBezTo>
                  <a:close/>
                  <a:moveTo>
                    <a:pt x="2960897" y="2233980"/>
                  </a:moveTo>
                  <a:cubicBezTo>
                    <a:pt x="2960860" y="2234153"/>
                    <a:pt x="2957983" y="2235223"/>
                    <a:pt x="2956879" y="2236854"/>
                  </a:cubicBezTo>
                  <a:cubicBezTo>
                    <a:pt x="2961447" y="2238376"/>
                    <a:pt x="2963051" y="2239809"/>
                    <a:pt x="2963848" y="2245282"/>
                  </a:cubicBezTo>
                  <a:cubicBezTo>
                    <a:pt x="2964063" y="2245241"/>
                    <a:pt x="2965567" y="2244027"/>
                    <a:pt x="2970776" y="2243544"/>
                  </a:cubicBezTo>
                  <a:cubicBezTo>
                    <a:pt x="2958952" y="2248274"/>
                    <a:pt x="2952965" y="2253363"/>
                    <a:pt x="2944374" y="2262852"/>
                  </a:cubicBezTo>
                  <a:cubicBezTo>
                    <a:pt x="2947090" y="2257508"/>
                    <a:pt x="2949406" y="2255244"/>
                    <a:pt x="2949424" y="2255177"/>
                  </a:cubicBezTo>
                  <a:cubicBezTo>
                    <a:pt x="2944927" y="2253649"/>
                    <a:pt x="2943662" y="2253289"/>
                    <a:pt x="2941590" y="2248169"/>
                  </a:cubicBezTo>
                  <a:cubicBezTo>
                    <a:pt x="2941317" y="2248319"/>
                    <a:pt x="2940864" y="2248087"/>
                    <a:pt x="2936741" y="2252255"/>
                  </a:cubicBezTo>
                  <a:cubicBezTo>
                    <a:pt x="2943984" y="2238007"/>
                    <a:pt x="2950780" y="2237094"/>
                    <a:pt x="2960897" y="2233980"/>
                  </a:cubicBezTo>
                  <a:close/>
                  <a:moveTo>
                    <a:pt x="8994885" y="2217458"/>
                  </a:moveTo>
                  <a:cubicBezTo>
                    <a:pt x="8995590" y="2217402"/>
                    <a:pt x="8996355" y="2217422"/>
                    <a:pt x="8997186" y="2217495"/>
                  </a:cubicBezTo>
                  <a:cubicBezTo>
                    <a:pt x="8999401" y="2217689"/>
                    <a:pt x="9002087" y="2218258"/>
                    <a:pt x="9005380" y="2218759"/>
                  </a:cubicBezTo>
                  <a:cubicBezTo>
                    <a:pt x="8994185" y="2220525"/>
                    <a:pt x="8991072" y="2226781"/>
                    <a:pt x="8986342" y="2237797"/>
                  </a:cubicBezTo>
                  <a:cubicBezTo>
                    <a:pt x="8987914" y="2221964"/>
                    <a:pt x="8989949" y="2217849"/>
                    <a:pt x="8994885" y="2217458"/>
                  </a:cubicBezTo>
                  <a:close/>
                  <a:moveTo>
                    <a:pt x="2934148" y="2217458"/>
                  </a:moveTo>
                  <a:cubicBezTo>
                    <a:pt x="2934854" y="2217402"/>
                    <a:pt x="2935618" y="2217422"/>
                    <a:pt x="2936449" y="2217495"/>
                  </a:cubicBezTo>
                  <a:cubicBezTo>
                    <a:pt x="2938664" y="2217689"/>
                    <a:pt x="2941350" y="2218258"/>
                    <a:pt x="2944643" y="2218759"/>
                  </a:cubicBezTo>
                  <a:cubicBezTo>
                    <a:pt x="2933448" y="2220525"/>
                    <a:pt x="2930335" y="2226781"/>
                    <a:pt x="2925605" y="2237797"/>
                  </a:cubicBezTo>
                  <a:cubicBezTo>
                    <a:pt x="2927177" y="2221964"/>
                    <a:pt x="2929212" y="2217849"/>
                    <a:pt x="2934148" y="2217458"/>
                  </a:cubicBezTo>
                  <a:close/>
                  <a:moveTo>
                    <a:pt x="9098183" y="2195230"/>
                  </a:moveTo>
                  <a:cubicBezTo>
                    <a:pt x="9099792" y="2197301"/>
                    <a:pt x="9094898" y="2205094"/>
                    <a:pt x="9089930" y="2209246"/>
                  </a:cubicBezTo>
                  <a:cubicBezTo>
                    <a:pt x="9084963" y="2213398"/>
                    <a:pt x="9077644" y="2212972"/>
                    <a:pt x="9077672" y="2211251"/>
                  </a:cubicBezTo>
                  <a:cubicBezTo>
                    <a:pt x="9077700" y="2209530"/>
                    <a:pt x="9085470" y="2207247"/>
                    <a:pt x="9088889" y="2204577"/>
                  </a:cubicBezTo>
                  <a:cubicBezTo>
                    <a:pt x="9092307" y="2201907"/>
                    <a:pt x="9097047" y="2194238"/>
                    <a:pt x="9098183" y="2195230"/>
                  </a:cubicBezTo>
                  <a:close/>
                  <a:moveTo>
                    <a:pt x="3037447" y="2195230"/>
                  </a:moveTo>
                  <a:cubicBezTo>
                    <a:pt x="3039055" y="2197301"/>
                    <a:pt x="3034161" y="2205094"/>
                    <a:pt x="3029193" y="2209246"/>
                  </a:cubicBezTo>
                  <a:cubicBezTo>
                    <a:pt x="3024226" y="2213398"/>
                    <a:pt x="3016907" y="2212972"/>
                    <a:pt x="3016935" y="2211251"/>
                  </a:cubicBezTo>
                  <a:cubicBezTo>
                    <a:pt x="3016963" y="2209530"/>
                    <a:pt x="3024733" y="2207247"/>
                    <a:pt x="3028152" y="2204577"/>
                  </a:cubicBezTo>
                  <a:cubicBezTo>
                    <a:pt x="3031570" y="2201907"/>
                    <a:pt x="3036310" y="2194238"/>
                    <a:pt x="3037447" y="2195230"/>
                  </a:cubicBezTo>
                  <a:close/>
                  <a:moveTo>
                    <a:pt x="10078877" y="2178594"/>
                  </a:moveTo>
                  <a:cubicBezTo>
                    <a:pt x="10115334" y="2178932"/>
                    <a:pt x="10133563" y="2191939"/>
                    <a:pt x="10133563" y="2217615"/>
                  </a:cubicBezTo>
                  <a:lnTo>
                    <a:pt x="10133563" y="2253976"/>
                  </a:lnTo>
                  <a:cubicBezTo>
                    <a:pt x="10133563" y="2271038"/>
                    <a:pt x="10141544" y="2279991"/>
                    <a:pt x="10157507" y="2280836"/>
                  </a:cubicBezTo>
                  <a:lnTo>
                    <a:pt x="10157507" y="2299332"/>
                  </a:lnTo>
                  <a:cubicBezTo>
                    <a:pt x="10141544" y="2300177"/>
                    <a:pt x="10133563" y="2308961"/>
                    <a:pt x="10133563" y="2325685"/>
                  </a:cubicBezTo>
                  <a:lnTo>
                    <a:pt x="10133563" y="2363060"/>
                  </a:lnTo>
                  <a:cubicBezTo>
                    <a:pt x="10133563" y="2388398"/>
                    <a:pt x="10115334" y="2401236"/>
                    <a:pt x="10078877" y="2401574"/>
                  </a:cubicBezTo>
                  <a:lnTo>
                    <a:pt x="10078877" y="2382063"/>
                  </a:lnTo>
                  <a:cubicBezTo>
                    <a:pt x="10087837" y="2381894"/>
                    <a:pt x="10094196" y="2379867"/>
                    <a:pt x="10097955" y="2375982"/>
                  </a:cubicBezTo>
                  <a:cubicBezTo>
                    <a:pt x="10101714" y="2372097"/>
                    <a:pt x="10103594" y="2365678"/>
                    <a:pt x="10103594" y="2356725"/>
                  </a:cubicBezTo>
                  <a:lnTo>
                    <a:pt x="10103594" y="2321377"/>
                  </a:lnTo>
                  <a:cubicBezTo>
                    <a:pt x="10103594" y="2304232"/>
                    <a:pt x="10113738" y="2293800"/>
                    <a:pt x="10134026" y="2290084"/>
                  </a:cubicBezTo>
                  <a:lnTo>
                    <a:pt x="10134026" y="2289704"/>
                  </a:lnTo>
                  <a:cubicBezTo>
                    <a:pt x="10113738" y="2285734"/>
                    <a:pt x="10103594" y="2275219"/>
                    <a:pt x="10103594" y="2258157"/>
                  </a:cubicBezTo>
                  <a:lnTo>
                    <a:pt x="10103594" y="2222430"/>
                  </a:lnTo>
                  <a:cubicBezTo>
                    <a:pt x="10103594" y="2206635"/>
                    <a:pt x="10095355" y="2198569"/>
                    <a:pt x="10078877" y="2198232"/>
                  </a:cubicBezTo>
                  <a:close/>
                  <a:moveTo>
                    <a:pt x="10057558" y="2178594"/>
                  </a:moveTo>
                  <a:lnTo>
                    <a:pt x="10057558" y="2198232"/>
                  </a:lnTo>
                  <a:cubicBezTo>
                    <a:pt x="10041184" y="2198569"/>
                    <a:pt x="10032996" y="2206635"/>
                    <a:pt x="10032996" y="2222430"/>
                  </a:cubicBezTo>
                  <a:lnTo>
                    <a:pt x="10032996" y="2258157"/>
                  </a:lnTo>
                  <a:cubicBezTo>
                    <a:pt x="10032996" y="2275219"/>
                    <a:pt x="10022749" y="2285734"/>
                    <a:pt x="10002255" y="2289704"/>
                  </a:cubicBezTo>
                  <a:lnTo>
                    <a:pt x="10002255" y="2290084"/>
                  </a:lnTo>
                  <a:cubicBezTo>
                    <a:pt x="10022749" y="2293800"/>
                    <a:pt x="10032996" y="2304232"/>
                    <a:pt x="10032996" y="2321377"/>
                  </a:cubicBezTo>
                  <a:lnTo>
                    <a:pt x="10032996" y="2356725"/>
                  </a:lnTo>
                  <a:cubicBezTo>
                    <a:pt x="10032996" y="2365762"/>
                    <a:pt x="10034824" y="2372202"/>
                    <a:pt x="10038480" y="2376045"/>
                  </a:cubicBezTo>
                  <a:cubicBezTo>
                    <a:pt x="10042136" y="2379888"/>
                    <a:pt x="10048496" y="2381894"/>
                    <a:pt x="10057558" y="2382063"/>
                  </a:cubicBezTo>
                  <a:lnTo>
                    <a:pt x="10057558" y="2401574"/>
                  </a:lnTo>
                  <a:cubicBezTo>
                    <a:pt x="10020895" y="2401236"/>
                    <a:pt x="10002564" y="2388398"/>
                    <a:pt x="10002564" y="2363060"/>
                  </a:cubicBezTo>
                  <a:lnTo>
                    <a:pt x="10002564" y="2325685"/>
                  </a:lnTo>
                  <a:cubicBezTo>
                    <a:pt x="10002564" y="2308961"/>
                    <a:pt x="9994531" y="2300177"/>
                    <a:pt x="9978465" y="2299332"/>
                  </a:cubicBezTo>
                  <a:lnTo>
                    <a:pt x="9978465" y="2280836"/>
                  </a:lnTo>
                  <a:cubicBezTo>
                    <a:pt x="9994531" y="2279991"/>
                    <a:pt x="10002564" y="2271038"/>
                    <a:pt x="10002564" y="2253976"/>
                  </a:cubicBezTo>
                  <a:lnTo>
                    <a:pt x="10002564" y="2217615"/>
                  </a:lnTo>
                  <a:cubicBezTo>
                    <a:pt x="10002564" y="2191939"/>
                    <a:pt x="10020895" y="2178932"/>
                    <a:pt x="10057558" y="2178594"/>
                  </a:cubicBezTo>
                  <a:close/>
                  <a:moveTo>
                    <a:pt x="4015651" y="2178594"/>
                  </a:moveTo>
                  <a:cubicBezTo>
                    <a:pt x="4052109" y="2178932"/>
                    <a:pt x="4070337" y="2191939"/>
                    <a:pt x="4070337" y="2217615"/>
                  </a:cubicBezTo>
                  <a:lnTo>
                    <a:pt x="4070337" y="2253976"/>
                  </a:lnTo>
                  <a:cubicBezTo>
                    <a:pt x="4070337" y="2271038"/>
                    <a:pt x="4078318" y="2279991"/>
                    <a:pt x="4094281" y="2280836"/>
                  </a:cubicBezTo>
                  <a:lnTo>
                    <a:pt x="4094281" y="2299332"/>
                  </a:lnTo>
                  <a:cubicBezTo>
                    <a:pt x="4078318" y="2300177"/>
                    <a:pt x="4070337" y="2308961"/>
                    <a:pt x="4070337" y="2325685"/>
                  </a:cubicBezTo>
                  <a:lnTo>
                    <a:pt x="4070337" y="2363060"/>
                  </a:lnTo>
                  <a:cubicBezTo>
                    <a:pt x="4070337" y="2388398"/>
                    <a:pt x="4052109" y="2401236"/>
                    <a:pt x="4015651" y="2401574"/>
                  </a:cubicBezTo>
                  <a:lnTo>
                    <a:pt x="4015651" y="2382063"/>
                  </a:lnTo>
                  <a:cubicBezTo>
                    <a:pt x="4024611" y="2381894"/>
                    <a:pt x="4030970" y="2379867"/>
                    <a:pt x="4034729" y="2375982"/>
                  </a:cubicBezTo>
                  <a:cubicBezTo>
                    <a:pt x="4038488" y="2372097"/>
                    <a:pt x="4040368" y="2365678"/>
                    <a:pt x="4040368" y="2356725"/>
                  </a:cubicBezTo>
                  <a:lnTo>
                    <a:pt x="4040368" y="2321377"/>
                  </a:lnTo>
                  <a:cubicBezTo>
                    <a:pt x="4040368" y="2304232"/>
                    <a:pt x="4050512" y="2293800"/>
                    <a:pt x="4070800" y="2290084"/>
                  </a:cubicBezTo>
                  <a:lnTo>
                    <a:pt x="4070800" y="2289704"/>
                  </a:lnTo>
                  <a:cubicBezTo>
                    <a:pt x="4050512" y="2285734"/>
                    <a:pt x="4040368" y="2275219"/>
                    <a:pt x="4040368" y="2258157"/>
                  </a:cubicBezTo>
                  <a:lnTo>
                    <a:pt x="4040368" y="2222430"/>
                  </a:lnTo>
                  <a:cubicBezTo>
                    <a:pt x="4040368" y="2206635"/>
                    <a:pt x="4032129" y="2198569"/>
                    <a:pt x="4015651" y="2198232"/>
                  </a:cubicBezTo>
                  <a:close/>
                  <a:moveTo>
                    <a:pt x="3994333" y="2178594"/>
                  </a:moveTo>
                  <a:lnTo>
                    <a:pt x="3994333" y="2198232"/>
                  </a:lnTo>
                  <a:cubicBezTo>
                    <a:pt x="3977958" y="2198569"/>
                    <a:pt x="3969771" y="2206635"/>
                    <a:pt x="3969771" y="2222430"/>
                  </a:cubicBezTo>
                  <a:lnTo>
                    <a:pt x="3969771" y="2258157"/>
                  </a:lnTo>
                  <a:cubicBezTo>
                    <a:pt x="3969771" y="2275219"/>
                    <a:pt x="3959524" y="2285734"/>
                    <a:pt x="3939029" y="2289704"/>
                  </a:cubicBezTo>
                  <a:lnTo>
                    <a:pt x="3939029" y="2290084"/>
                  </a:lnTo>
                  <a:cubicBezTo>
                    <a:pt x="3959524" y="2293800"/>
                    <a:pt x="3969771" y="2304232"/>
                    <a:pt x="3969771" y="2321377"/>
                  </a:cubicBezTo>
                  <a:lnTo>
                    <a:pt x="3969771" y="2356725"/>
                  </a:lnTo>
                  <a:cubicBezTo>
                    <a:pt x="3969771" y="2365762"/>
                    <a:pt x="3971598" y="2372202"/>
                    <a:pt x="3975255" y="2376045"/>
                  </a:cubicBezTo>
                  <a:cubicBezTo>
                    <a:pt x="3978911" y="2379888"/>
                    <a:pt x="3985270" y="2381894"/>
                    <a:pt x="3994333" y="2382063"/>
                  </a:cubicBezTo>
                  <a:lnTo>
                    <a:pt x="3994333" y="2401574"/>
                  </a:lnTo>
                  <a:cubicBezTo>
                    <a:pt x="3957670" y="2401236"/>
                    <a:pt x="3939338" y="2388398"/>
                    <a:pt x="3939338" y="2363060"/>
                  </a:cubicBezTo>
                  <a:lnTo>
                    <a:pt x="3939338" y="2325685"/>
                  </a:lnTo>
                  <a:cubicBezTo>
                    <a:pt x="3939338" y="2308961"/>
                    <a:pt x="3931305" y="2300177"/>
                    <a:pt x="3915239" y="2299332"/>
                  </a:cubicBezTo>
                  <a:lnTo>
                    <a:pt x="3915239" y="2280836"/>
                  </a:lnTo>
                  <a:cubicBezTo>
                    <a:pt x="3931305" y="2279991"/>
                    <a:pt x="3939338" y="2271038"/>
                    <a:pt x="3939338" y="2253976"/>
                  </a:cubicBezTo>
                  <a:lnTo>
                    <a:pt x="3939338" y="2217615"/>
                  </a:lnTo>
                  <a:cubicBezTo>
                    <a:pt x="3939338" y="2191939"/>
                    <a:pt x="3957670" y="2178932"/>
                    <a:pt x="3994333" y="2178594"/>
                  </a:cubicBezTo>
                  <a:close/>
                  <a:moveTo>
                    <a:pt x="8993542" y="2176097"/>
                  </a:moveTo>
                  <a:cubicBezTo>
                    <a:pt x="8995495" y="2176172"/>
                    <a:pt x="8997465" y="2176341"/>
                    <a:pt x="8999446" y="2176614"/>
                  </a:cubicBezTo>
                  <a:cubicBezTo>
                    <a:pt x="9015289" y="2178802"/>
                    <a:pt x="9035671" y="2195416"/>
                    <a:pt x="9042722" y="2206032"/>
                  </a:cubicBezTo>
                  <a:cubicBezTo>
                    <a:pt x="9052204" y="2208626"/>
                    <a:pt x="9058241" y="2222362"/>
                    <a:pt x="9060713" y="2227184"/>
                  </a:cubicBezTo>
                  <a:cubicBezTo>
                    <a:pt x="9063185" y="2232006"/>
                    <a:pt x="9060308" y="2234762"/>
                    <a:pt x="9057552" y="2234964"/>
                  </a:cubicBezTo>
                  <a:cubicBezTo>
                    <a:pt x="9057512" y="2235552"/>
                    <a:pt x="9066052" y="2242380"/>
                    <a:pt x="9070666" y="2245069"/>
                  </a:cubicBezTo>
                  <a:cubicBezTo>
                    <a:pt x="9074237" y="2229545"/>
                    <a:pt x="9069055" y="2219126"/>
                    <a:pt x="9068979" y="2207735"/>
                  </a:cubicBezTo>
                  <a:cubicBezTo>
                    <a:pt x="9074409" y="2198253"/>
                    <a:pt x="9078866" y="2201656"/>
                    <a:pt x="9084296" y="2198010"/>
                  </a:cubicBezTo>
                  <a:cubicBezTo>
                    <a:pt x="9087538" y="2194282"/>
                    <a:pt x="9090536" y="2186421"/>
                    <a:pt x="9096209" y="2186826"/>
                  </a:cubicBezTo>
                  <a:cubicBezTo>
                    <a:pt x="9106096" y="2187231"/>
                    <a:pt x="9118658" y="2205628"/>
                    <a:pt x="9119063" y="2249309"/>
                  </a:cubicBezTo>
                  <a:cubicBezTo>
                    <a:pt x="9119306" y="2283994"/>
                    <a:pt x="9105448" y="2307253"/>
                    <a:pt x="9081379" y="2317627"/>
                  </a:cubicBezTo>
                  <a:cubicBezTo>
                    <a:pt x="9069070" y="2320909"/>
                    <a:pt x="9058506" y="2320704"/>
                    <a:pt x="9049352" y="2318345"/>
                  </a:cubicBezTo>
                  <a:lnTo>
                    <a:pt x="9045345" y="2316950"/>
                  </a:lnTo>
                  <a:lnTo>
                    <a:pt x="9044865" y="2319226"/>
                  </a:lnTo>
                  <a:cubicBezTo>
                    <a:pt x="9039980" y="2337966"/>
                    <a:pt x="9026245" y="2339407"/>
                    <a:pt x="9020111" y="2339265"/>
                  </a:cubicBezTo>
                  <a:cubicBezTo>
                    <a:pt x="9013101" y="2339103"/>
                    <a:pt x="9002728" y="2332619"/>
                    <a:pt x="8998473" y="2329540"/>
                  </a:cubicBezTo>
                  <a:cubicBezTo>
                    <a:pt x="8998351" y="2334240"/>
                    <a:pt x="8999445" y="2335902"/>
                    <a:pt x="8997500" y="2342182"/>
                  </a:cubicBezTo>
                  <a:cubicBezTo>
                    <a:pt x="9002606" y="2345546"/>
                    <a:pt x="9005685" y="2357540"/>
                    <a:pt x="9007225" y="2362848"/>
                  </a:cubicBezTo>
                  <a:cubicBezTo>
                    <a:pt x="9008765" y="2368156"/>
                    <a:pt x="9006861" y="2369372"/>
                    <a:pt x="9006739" y="2374032"/>
                  </a:cubicBezTo>
                  <a:cubicBezTo>
                    <a:pt x="9006618" y="2378691"/>
                    <a:pt x="9011480" y="2382419"/>
                    <a:pt x="9008927" y="2387890"/>
                  </a:cubicBezTo>
                  <a:cubicBezTo>
                    <a:pt x="9006374" y="2393360"/>
                    <a:pt x="8999729" y="2393644"/>
                    <a:pt x="8992881" y="2393725"/>
                  </a:cubicBezTo>
                  <a:cubicBezTo>
                    <a:pt x="8986033" y="2393806"/>
                    <a:pt x="8970716" y="2398506"/>
                    <a:pt x="8967839" y="2388376"/>
                  </a:cubicBezTo>
                  <a:cubicBezTo>
                    <a:pt x="8967479" y="2387110"/>
                    <a:pt x="8967227" y="2385601"/>
                    <a:pt x="8967075" y="2383892"/>
                  </a:cubicBezTo>
                  <a:cubicBezTo>
                    <a:pt x="8967061" y="2383440"/>
                    <a:pt x="8967048" y="2382989"/>
                    <a:pt x="8967035" y="2382538"/>
                  </a:cubicBezTo>
                  <a:lnTo>
                    <a:pt x="8963270" y="2386106"/>
                  </a:lnTo>
                  <a:cubicBezTo>
                    <a:pt x="8954664" y="2394207"/>
                    <a:pt x="8946905" y="2400836"/>
                    <a:pt x="8939637" y="2400532"/>
                  </a:cubicBezTo>
                  <a:cubicBezTo>
                    <a:pt x="8927521" y="2398101"/>
                    <a:pt x="8918161" y="2378813"/>
                    <a:pt x="8916054" y="2372087"/>
                  </a:cubicBezTo>
                  <a:cubicBezTo>
                    <a:pt x="8913946" y="2365360"/>
                    <a:pt x="8920794" y="2364104"/>
                    <a:pt x="8926994" y="2360173"/>
                  </a:cubicBezTo>
                  <a:cubicBezTo>
                    <a:pt x="8920794" y="2363780"/>
                    <a:pt x="8904019" y="2360822"/>
                    <a:pt x="8901952" y="2357742"/>
                  </a:cubicBezTo>
                  <a:cubicBezTo>
                    <a:pt x="8902560" y="2364144"/>
                    <a:pt x="8902195" y="2365076"/>
                    <a:pt x="8900980" y="2368683"/>
                  </a:cubicBezTo>
                  <a:cubicBezTo>
                    <a:pt x="8899764" y="2372289"/>
                    <a:pt x="8896563" y="2374396"/>
                    <a:pt x="8894658" y="2379380"/>
                  </a:cubicBezTo>
                  <a:cubicBezTo>
                    <a:pt x="8892754" y="2384364"/>
                    <a:pt x="8897130" y="2396804"/>
                    <a:pt x="8889553" y="2398587"/>
                  </a:cubicBezTo>
                  <a:cubicBezTo>
                    <a:pt x="8881975" y="2400370"/>
                    <a:pt x="8858433" y="2399681"/>
                    <a:pt x="8849194" y="2390078"/>
                  </a:cubicBezTo>
                  <a:cubicBezTo>
                    <a:pt x="8845304" y="2385337"/>
                    <a:pt x="8851625" y="2378003"/>
                    <a:pt x="8850167" y="2375977"/>
                  </a:cubicBezTo>
                  <a:cubicBezTo>
                    <a:pt x="8848708" y="2373950"/>
                    <a:pt x="8846277" y="2381933"/>
                    <a:pt x="8840442" y="2377922"/>
                  </a:cubicBezTo>
                  <a:cubicBezTo>
                    <a:pt x="8834607" y="2373910"/>
                    <a:pt x="8816818" y="2360700"/>
                    <a:pt x="8815157" y="2351907"/>
                  </a:cubicBezTo>
                  <a:cubicBezTo>
                    <a:pt x="8813495" y="2343114"/>
                    <a:pt x="8823626" y="2333875"/>
                    <a:pt x="8830474" y="2325163"/>
                  </a:cubicBezTo>
                  <a:cubicBezTo>
                    <a:pt x="8828812" y="2315722"/>
                    <a:pt x="8828123" y="2309401"/>
                    <a:pt x="8831932" y="2298420"/>
                  </a:cubicBezTo>
                  <a:cubicBezTo>
                    <a:pt x="8826827" y="2295300"/>
                    <a:pt x="8815724" y="2290883"/>
                    <a:pt x="8816372" y="2276296"/>
                  </a:cubicBezTo>
                  <a:lnTo>
                    <a:pt x="8818145" y="2262886"/>
                  </a:lnTo>
                  <a:lnTo>
                    <a:pt x="8818607" y="2271666"/>
                  </a:lnTo>
                  <a:lnTo>
                    <a:pt x="8819436" y="2272064"/>
                  </a:lnTo>
                  <a:lnTo>
                    <a:pt x="8819559" y="2273246"/>
                  </a:lnTo>
                  <a:cubicBezTo>
                    <a:pt x="8820590" y="2281682"/>
                    <a:pt x="8823352" y="2291027"/>
                    <a:pt x="8839247" y="2287188"/>
                  </a:cubicBezTo>
                  <a:cubicBezTo>
                    <a:pt x="8832410" y="2323464"/>
                    <a:pt x="8847851" y="2341451"/>
                    <a:pt x="8857593" y="2358296"/>
                  </a:cubicBezTo>
                  <a:lnTo>
                    <a:pt x="8858561" y="2360158"/>
                  </a:lnTo>
                  <a:lnTo>
                    <a:pt x="8858527" y="2361032"/>
                  </a:lnTo>
                  <a:cubicBezTo>
                    <a:pt x="8858234" y="2366174"/>
                    <a:pt x="8857499" y="2369738"/>
                    <a:pt x="8857117" y="2374565"/>
                  </a:cubicBezTo>
                  <a:cubicBezTo>
                    <a:pt x="8856010" y="2378367"/>
                    <a:pt x="8853286" y="2377947"/>
                    <a:pt x="8853795" y="2385970"/>
                  </a:cubicBezTo>
                  <a:cubicBezTo>
                    <a:pt x="8854124" y="2390969"/>
                    <a:pt x="8883459" y="2399021"/>
                    <a:pt x="8888189" y="2392615"/>
                  </a:cubicBezTo>
                  <a:cubicBezTo>
                    <a:pt x="8889566" y="2390400"/>
                    <a:pt x="8888967" y="2385311"/>
                    <a:pt x="8889356" y="2381659"/>
                  </a:cubicBezTo>
                  <a:cubicBezTo>
                    <a:pt x="8889955" y="2377588"/>
                    <a:pt x="8895223" y="2373158"/>
                    <a:pt x="8896001" y="2367381"/>
                  </a:cubicBezTo>
                  <a:cubicBezTo>
                    <a:pt x="8896510" y="2362786"/>
                    <a:pt x="8896458" y="2357585"/>
                    <a:pt x="8896282" y="2352171"/>
                  </a:cubicBezTo>
                  <a:lnTo>
                    <a:pt x="8896072" y="2346453"/>
                  </a:lnTo>
                  <a:lnTo>
                    <a:pt x="8897672" y="2348315"/>
                  </a:lnTo>
                  <a:cubicBezTo>
                    <a:pt x="8908014" y="2358863"/>
                    <a:pt x="8929950" y="2362416"/>
                    <a:pt x="8937310" y="2346098"/>
                  </a:cubicBezTo>
                  <a:cubicBezTo>
                    <a:pt x="8937400" y="2351336"/>
                    <a:pt x="8939106" y="2353342"/>
                    <a:pt x="8938208" y="2359927"/>
                  </a:cubicBezTo>
                  <a:cubicBezTo>
                    <a:pt x="8935634" y="2364088"/>
                    <a:pt x="8924169" y="2365016"/>
                    <a:pt x="8921056" y="2372679"/>
                  </a:cubicBezTo>
                  <a:cubicBezTo>
                    <a:pt x="8920128" y="2375882"/>
                    <a:pt x="8932311" y="2395070"/>
                    <a:pt x="8940094" y="2395758"/>
                  </a:cubicBezTo>
                  <a:cubicBezTo>
                    <a:pt x="8945752" y="2396417"/>
                    <a:pt x="8956258" y="2385311"/>
                    <a:pt x="8975386" y="2367830"/>
                  </a:cubicBezTo>
                  <a:cubicBezTo>
                    <a:pt x="8978347" y="2365124"/>
                    <a:pt x="8989545" y="2343883"/>
                    <a:pt x="8994604" y="2325713"/>
                  </a:cubicBezTo>
                  <a:cubicBezTo>
                    <a:pt x="8989447" y="2323123"/>
                    <a:pt x="8981974" y="2316954"/>
                    <a:pt x="8977626" y="2307326"/>
                  </a:cubicBezTo>
                  <a:lnTo>
                    <a:pt x="8977431" y="2306814"/>
                  </a:lnTo>
                  <a:lnTo>
                    <a:pt x="8980067" y="2308474"/>
                  </a:lnTo>
                  <a:cubicBezTo>
                    <a:pt x="8986701" y="2312894"/>
                    <a:pt x="8993436" y="2317743"/>
                    <a:pt x="8999363" y="2319157"/>
                  </a:cubicBezTo>
                  <a:cubicBezTo>
                    <a:pt x="9003734" y="2324186"/>
                    <a:pt x="9008822" y="2332179"/>
                    <a:pt x="9020826" y="2333705"/>
                  </a:cubicBezTo>
                  <a:cubicBezTo>
                    <a:pt x="9031063" y="2335441"/>
                    <a:pt x="9038337" y="2325773"/>
                    <a:pt x="9041929" y="2315206"/>
                  </a:cubicBezTo>
                  <a:lnTo>
                    <a:pt x="9038607" y="2314937"/>
                  </a:lnTo>
                  <a:cubicBezTo>
                    <a:pt x="9023340" y="2340530"/>
                    <a:pt x="9007206" y="2317189"/>
                    <a:pt x="9010626" y="2292639"/>
                  </a:cubicBezTo>
                  <a:lnTo>
                    <a:pt x="9011556" y="2287831"/>
                  </a:lnTo>
                  <a:lnTo>
                    <a:pt x="9013320" y="2289753"/>
                  </a:lnTo>
                  <a:cubicBezTo>
                    <a:pt x="9043798" y="2320813"/>
                    <a:pt x="9070447" y="2316272"/>
                    <a:pt x="9085573" y="2308022"/>
                  </a:cubicBezTo>
                  <a:cubicBezTo>
                    <a:pt x="9127002" y="2282488"/>
                    <a:pt x="9114863" y="2194367"/>
                    <a:pt x="9097517" y="2190112"/>
                  </a:cubicBezTo>
                  <a:cubicBezTo>
                    <a:pt x="9093550" y="2189139"/>
                    <a:pt x="9090782" y="2199362"/>
                    <a:pt x="9088177" y="2200889"/>
                  </a:cubicBezTo>
                  <a:cubicBezTo>
                    <a:pt x="9080185" y="2205109"/>
                    <a:pt x="9076683" y="2204481"/>
                    <a:pt x="9074527" y="2207803"/>
                  </a:cubicBezTo>
                  <a:cubicBezTo>
                    <a:pt x="9070262" y="2214033"/>
                    <a:pt x="9085965" y="2250098"/>
                    <a:pt x="9065993" y="2269010"/>
                  </a:cubicBezTo>
                  <a:lnTo>
                    <a:pt x="9064502" y="2270186"/>
                  </a:lnTo>
                  <a:lnTo>
                    <a:pt x="9064816" y="2269581"/>
                  </a:lnTo>
                  <a:cubicBezTo>
                    <a:pt x="9068600" y="2262268"/>
                    <a:pt x="9072574" y="2253894"/>
                    <a:pt x="9068062" y="2250369"/>
                  </a:cubicBezTo>
                  <a:cubicBezTo>
                    <a:pt x="9062763" y="2246149"/>
                    <a:pt x="9059441" y="2249381"/>
                    <a:pt x="9055400" y="2252794"/>
                  </a:cubicBezTo>
                  <a:cubicBezTo>
                    <a:pt x="9058004" y="2249830"/>
                    <a:pt x="9061147" y="2249292"/>
                    <a:pt x="9056747" y="2242287"/>
                  </a:cubicBezTo>
                  <a:cubicBezTo>
                    <a:pt x="9053244" y="2239922"/>
                    <a:pt x="9051358" y="2240521"/>
                    <a:pt x="9044893" y="2242197"/>
                  </a:cubicBezTo>
                  <a:cubicBezTo>
                    <a:pt x="9048994" y="2239144"/>
                    <a:pt x="9050311" y="2240311"/>
                    <a:pt x="9048305" y="2234385"/>
                  </a:cubicBezTo>
                  <a:cubicBezTo>
                    <a:pt x="9045566" y="2230703"/>
                    <a:pt x="9044191" y="2231011"/>
                    <a:pt x="9041452" y="2231219"/>
                  </a:cubicBezTo>
                  <a:lnTo>
                    <a:pt x="9039553" y="2231232"/>
                  </a:lnTo>
                  <a:lnTo>
                    <a:pt x="9041115" y="2230671"/>
                  </a:lnTo>
                  <a:cubicBezTo>
                    <a:pt x="9041990" y="2230377"/>
                    <a:pt x="9042782" y="2230138"/>
                    <a:pt x="9043456" y="2229984"/>
                  </a:cubicBezTo>
                  <a:cubicBezTo>
                    <a:pt x="9048844" y="2228757"/>
                    <a:pt x="9054741" y="2230448"/>
                    <a:pt x="9054771" y="2227380"/>
                  </a:cubicBezTo>
                  <a:cubicBezTo>
                    <a:pt x="9055430" y="2224027"/>
                    <a:pt x="9047018" y="2213580"/>
                    <a:pt x="9043276" y="2212742"/>
                  </a:cubicBezTo>
                  <a:cubicBezTo>
                    <a:pt x="9041278" y="2212114"/>
                    <a:pt x="9036047" y="2211586"/>
                    <a:pt x="9031296" y="2211273"/>
                  </a:cubicBezTo>
                  <a:lnTo>
                    <a:pt x="9030190" y="2211214"/>
                  </a:lnTo>
                  <a:lnTo>
                    <a:pt x="9030199" y="2211191"/>
                  </a:lnTo>
                  <a:cubicBezTo>
                    <a:pt x="9031327" y="2209633"/>
                    <a:pt x="9035082" y="2209061"/>
                    <a:pt x="9037978" y="2208791"/>
                  </a:cubicBezTo>
                  <a:cubicBezTo>
                    <a:pt x="9025825" y="2192747"/>
                    <a:pt x="9009451" y="2182449"/>
                    <a:pt x="8995322" y="2182659"/>
                  </a:cubicBezTo>
                  <a:cubicBezTo>
                    <a:pt x="8978290" y="2183168"/>
                    <a:pt x="8956947" y="2187538"/>
                    <a:pt x="8944854" y="2206277"/>
                  </a:cubicBezTo>
                  <a:cubicBezTo>
                    <a:pt x="8951035" y="2206209"/>
                    <a:pt x="8955633" y="2206237"/>
                    <a:pt x="8959086" y="2206604"/>
                  </a:cubicBezTo>
                  <a:lnTo>
                    <a:pt x="8959663" y="2206687"/>
                  </a:lnTo>
                  <a:lnTo>
                    <a:pt x="8957253" y="2207342"/>
                  </a:lnTo>
                  <a:cubicBezTo>
                    <a:pt x="8944447" y="2210423"/>
                    <a:pt x="8935525" y="2209963"/>
                    <a:pt x="8932654" y="2212459"/>
                  </a:cubicBezTo>
                  <a:cubicBezTo>
                    <a:pt x="8926651" y="2216659"/>
                    <a:pt x="8887781" y="2252469"/>
                    <a:pt x="8886178" y="2272744"/>
                  </a:cubicBezTo>
                  <a:cubicBezTo>
                    <a:pt x="8890295" y="2283506"/>
                    <a:pt x="8891069" y="2275901"/>
                    <a:pt x="8900160" y="2294856"/>
                  </a:cubicBezTo>
                  <a:lnTo>
                    <a:pt x="8914666" y="2278318"/>
                  </a:lnTo>
                  <a:lnTo>
                    <a:pt x="8897694" y="2313424"/>
                  </a:lnTo>
                  <a:cubicBezTo>
                    <a:pt x="8901926" y="2319604"/>
                    <a:pt x="8904811" y="2322911"/>
                    <a:pt x="8913623" y="2322805"/>
                  </a:cubicBezTo>
                  <a:cubicBezTo>
                    <a:pt x="8923034" y="2321557"/>
                    <a:pt x="8931726" y="2313843"/>
                    <a:pt x="8940778" y="2309362"/>
                  </a:cubicBezTo>
                  <a:cubicBezTo>
                    <a:pt x="8949724" y="2305639"/>
                    <a:pt x="8952383" y="2308201"/>
                    <a:pt x="8958186" y="2307621"/>
                  </a:cubicBezTo>
                  <a:cubicBezTo>
                    <a:pt x="8970413" y="2274457"/>
                    <a:pt x="8951209" y="2274609"/>
                    <a:pt x="8964423" y="2238571"/>
                  </a:cubicBezTo>
                  <a:cubicBezTo>
                    <a:pt x="8959726" y="2267680"/>
                    <a:pt x="8978377" y="2267694"/>
                    <a:pt x="8965149" y="2316470"/>
                  </a:cubicBezTo>
                  <a:lnTo>
                    <a:pt x="8963041" y="2316125"/>
                  </a:lnTo>
                  <a:lnTo>
                    <a:pt x="8960372" y="2315442"/>
                  </a:lnTo>
                  <a:lnTo>
                    <a:pt x="8957638" y="2315016"/>
                  </a:lnTo>
                  <a:lnTo>
                    <a:pt x="8956872" y="2314838"/>
                  </a:lnTo>
                  <a:cubicBezTo>
                    <a:pt x="8954803" y="2314430"/>
                    <a:pt x="8952627" y="2314212"/>
                    <a:pt x="8950101" y="2314609"/>
                  </a:cubicBezTo>
                  <a:lnTo>
                    <a:pt x="8949115" y="2314839"/>
                  </a:lnTo>
                  <a:lnTo>
                    <a:pt x="8948520" y="2314890"/>
                  </a:lnTo>
                  <a:cubicBezTo>
                    <a:pt x="8935318" y="2316946"/>
                    <a:pt x="8930463" y="2328586"/>
                    <a:pt x="8909292" y="2330832"/>
                  </a:cubicBezTo>
                  <a:cubicBezTo>
                    <a:pt x="8902980" y="2329601"/>
                    <a:pt x="8892886" y="2320325"/>
                    <a:pt x="8886952" y="2313113"/>
                  </a:cubicBezTo>
                  <a:lnTo>
                    <a:pt x="8886494" y="2312519"/>
                  </a:lnTo>
                  <a:lnTo>
                    <a:pt x="8888216" y="2309642"/>
                  </a:lnTo>
                  <a:cubicBezTo>
                    <a:pt x="8890056" y="2306776"/>
                    <a:pt x="8892069" y="2303846"/>
                    <a:pt x="8894295" y="2300838"/>
                  </a:cubicBezTo>
                  <a:cubicBezTo>
                    <a:pt x="8890404" y="2290391"/>
                    <a:pt x="8880136" y="2286769"/>
                    <a:pt x="8877233" y="2273807"/>
                  </a:cubicBezTo>
                  <a:cubicBezTo>
                    <a:pt x="8881932" y="2260397"/>
                    <a:pt x="8883848" y="2251656"/>
                    <a:pt x="8907496" y="2227649"/>
                  </a:cubicBezTo>
                  <a:cubicBezTo>
                    <a:pt x="8844635" y="2236659"/>
                    <a:pt x="8844821" y="2287266"/>
                    <a:pt x="8827441" y="2275031"/>
                  </a:cubicBezTo>
                  <a:lnTo>
                    <a:pt x="8823816" y="2271768"/>
                  </a:lnTo>
                  <a:lnTo>
                    <a:pt x="8824876" y="2271173"/>
                  </a:lnTo>
                  <a:cubicBezTo>
                    <a:pt x="8831282" y="2266858"/>
                    <a:pt x="8823696" y="2260644"/>
                    <a:pt x="8828830" y="2251267"/>
                  </a:cubicBezTo>
                  <a:lnTo>
                    <a:pt x="8818347" y="2261360"/>
                  </a:lnTo>
                  <a:lnTo>
                    <a:pt x="8819259" y="2254460"/>
                  </a:lnTo>
                  <a:cubicBezTo>
                    <a:pt x="8824355" y="2249390"/>
                    <a:pt x="8831243" y="2246533"/>
                    <a:pt x="8832905" y="2245905"/>
                  </a:cubicBezTo>
                  <a:cubicBezTo>
                    <a:pt x="8829784" y="2255427"/>
                    <a:pt x="8836592" y="2262073"/>
                    <a:pt x="8832905" y="2269731"/>
                  </a:cubicBezTo>
                  <a:cubicBezTo>
                    <a:pt x="8868361" y="2224632"/>
                    <a:pt x="8892835" y="2221755"/>
                    <a:pt x="8909246" y="2221349"/>
                  </a:cubicBezTo>
                  <a:cubicBezTo>
                    <a:pt x="8922010" y="2210004"/>
                    <a:pt x="8923104" y="2207045"/>
                    <a:pt x="8931857" y="2204817"/>
                  </a:cubicBezTo>
                  <a:lnTo>
                    <a:pt x="8937893" y="2204184"/>
                  </a:lnTo>
                  <a:lnTo>
                    <a:pt x="8938592" y="2202687"/>
                  </a:lnTo>
                  <a:cubicBezTo>
                    <a:pt x="8943964" y="2192018"/>
                    <a:pt x="8948653" y="2188690"/>
                    <a:pt x="8957871" y="2184151"/>
                  </a:cubicBezTo>
                  <a:cubicBezTo>
                    <a:pt x="8967090" y="2179613"/>
                    <a:pt x="8979876" y="2175571"/>
                    <a:pt x="8993542" y="2176097"/>
                  </a:cubicBezTo>
                  <a:close/>
                  <a:moveTo>
                    <a:pt x="2932806" y="2176097"/>
                  </a:moveTo>
                  <a:cubicBezTo>
                    <a:pt x="2934758" y="2176172"/>
                    <a:pt x="2936728" y="2176341"/>
                    <a:pt x="2938709" y="2176614"/>
                  </a:cubicBezTo>
                  <a:cubicBezTo>
                    <a:pt x="2954552" y="2178802"/>
                    <a:pt x="2974934" y="2195416"/>
                    <a:pt x="2981985" y="2206032"/>
                  </a:cubicBezTo>
                  <a:cubicBezTo>
                    <a:pt x="2991467" y="2208626"/>
                    <a:pt x="2997504" y="2222362"/>
                    <a:pt x="2999976" y="2227184"/>
                  </a:cubicBezTo>
                  <a:cubicBezTo>
                    <a:pt x="3002448" y="2232006"/>
                    <a:pt x="2999571" y="2234762"/>
                    <a:pt x="2996816" y="2234964"/>
                  </a:cubicBezTo>
                  <a:cubicBezTo>
                    <a:pt x="2996775" y="2235552"/>
                    <a:pt x="3005315" y="2242380"/>
                    <a:pt x="3009929" y="2245069"/>
                  </a:cubicBezTo>
                  <a:cubicBezTo>
                    <a:pt x="3013500" y="2229545"/>
                    <a:pt x="3008318" y="2219126"/>
                    <a:pt x="3008243" y="2207735"/>
                  </a:cubicBezTo>
                  <a:cubicBezTo>
                    <a:pt x="3013672" y="2198253"/>
                    <a:pt x="3018130" y="2201656"/>
                    <a:pt x="3023559" y="2198010"/>
                  </a:cubicBezTo>
                  <a:cubicBezTo>
                    <a:pt x="3026801" y="2194282"/>
                    <a:pt x="3029800" y="2186421"/>
                    <a:pt x="3035473" y="2186826"/>
                  </a:cubicBezTo>
                  <a:cubicBezTo>
                    <a:pt x="3045359" y="2187231"/>
                    <a:pt x="3057921" y="2205628"/>
                    <a:pt x="3058326" y="2249309"/>
                  </a:cubicBezTo>
                  <a:cubicBezTo>
                    <a:pt x="3058569" y="2283994"/>
                    <a:pt x="3044711" y="2307253"/>
                    <a:pt x="3020642" y="2317627"/>
                  </a:cubicBezTo>
                  <a:cubicBezTo>
                    <a:pt x="3008334" y="2320909"/>
                    <a:pt x="2997769" y="2320704"/>
                    <a:pt x="2988615" y="2318345"/>
                  </a:cubicBezTo>
                  <a:lnTo>
                    <a:pt x="2984609" y="2316950"/>
                  </a:lnTo>
                  <a:lnTo>
                    <a:pt x="2984128" y="2319226"/>
                  </a:lnTo>
                  <a:cubicBezTo>
                    <a:pt x="2979243" y="2337966"/>
                    <a:pt x="2965508" y="2339407"/>
                    <a:pt x="2959374" y="2339265"/>
                  </a:cubicBezTo>
                  <a:cubicBezTo>
                    <a:pt x="2952364" y="2339103"/>
                    <a:pt x="2941991" y="2332619"/>
                    <a:pt x="2937736" y="2329540"/>
                  </a:cubicBezTo>
                  <a:cubicBezTo>
                    <a:pt x="2937614" y="2334240"/>
                    <a:pt x="2938709" y="2335902"/>
                    <a:pt x="2936763" y="2342182"/>
                  </a:cubicBezTo>
                  <a:cubicBezTo>
                    <a:pt x="2941869" y="2345546"/>
                    <a:pt x="2944949" y="2357540"/>
                    <a:pt x="2946489" y="2362848"/>
                  </a:cubicBezTo>
                  <a:cubicBezTo>
                    <a:pt x="2948028" y="2368156"/>
                    <a:pt x="2946124" y="2369372"/>
                    <a:pt x="2946002" y="2374032"/>
                  </a:cubicBezTo>
                  <a:cubicBezTo>
                    <a:pt x="2945881" y="2378691"/>
                    <a:pt x="2950743" y="2382419"/>
                    <a:pt x="2948190" y="2387890"/>
                  </a:cubicBezTo>
                  <a:cubicBezTo>
                    <a:pt x="2945637" y="2393360"/>
                    <a:pt x="2938992" y="2393644"/>
                    <a:pt x="2932144" y="2393725"/>
                  </a:cubicBezTo>
                  <a:cubicBezTo>
                    <a:pt x="2925296" y="2393806"/>
                    <a:pt x="2909979" y="2398506"/>
                    <a:pt x="2907102" y="2388376"/>
                  </a:cubicBezTo>
                  <a:cubicBezTo>
                    <a:pt x="2906743" y="2387110"/>
                    <a:pt x="2906491" y="2385601"/>
                    <a:pt x="2906338" y="2383892"/>
                  </a:cubicBezTo>
                  <a:cubicBezTo>
                    <a:pt x="2906324" y="2383440"/>
                    <a:pt x="2906311" y="2382989"/>
                    <a:pt x="2906298" y="2382538"/>
                  </a:cubicBezTo>
                  <a:lnTo>
                    <a:pt x="2902533" y="2386106"/>
                  </a:lnTo>
                  <a:cubicBezTo>
                    <a:pt x="2893927" y="2394207"/>
                    <a:pt x="2886168" y="2400836"/>
                    <a:pt x="2878900" y="2400532"/>
                  </a:cubicBezTo>
                  <a:cubicBezTo>
                    <a:pt x="2866784" y="2398101"/>
                    <a:pt x="2857424" y="2378813"/>
                    <a:pt x="2855317" y="2372087"/>
                  </a:cubicBezTo>
                  <a:cubicBezTo>
                    <a:pt x="2853210" y="2365360"/>
                    <a:pt x="2860058" y="2364104"/>
                    <a:pt x="2866257" y="2360173"/>
                  </a:cubicBezTo>
                  <a:cubicBezTo>
                    <a:pt x="2860058" y="2363780"/>
                    <a:pt x="2843282" y="2360822"/>
                    <a:pt x="2841215" y="2357742"/>
                  </a:cubicBezTo>
                  <a:cubicBezTo>
                    <a:pt x="2841823" y="2364144"/>
                    <a:pt x="2841459" y="2365076"/>
                    <a:pt x="2840243" y="2368683"/>
                  </a:cubicBezTo>
                  <a:cubicBezTo>
                    <a:pt x="2839027" y="2372289"/>
                    <a:pt x="2835826" y="2374396"/>
                    <a:pt x="2833922" y="2379380"/>
                  </a:cubicBezTo>
                  <a:cubicBezTo>
                    <a:pt x="2832018" y="2384364"/>
                    <a:pt x="2836393" y="2396804"/>
                    <a:pt x="2828816" y="2398587"/>
                  </a:cubicBezTo>
                  <a:cubicBezTo>
                    <a:pt x="2821239" y="2400370"/>
                    <a:pt x="2797696" y="2399681"/>
                    <a:pt x="2788458" y="2390078"/>
                  </a:cubicBezTo>
                  <a:cubicBezTo>
                    <a:pt x="2784567" y="2385337"/>
                    <a:pt x="2790889" y="2378003"/>
                    <a:pt x="2789430" y="2375977"/>
                  </a:cubicBezTo>
                  <a:cubicBezTo>
                    <a:pt x="2787971" y="2373950"/>
                    <a:pt x="2785540" y="2381933"/>
                    <a:pt x="2779705" y="2377922"/>
                  </a:cubicBezTo>
                  <a:cubicBezTo>
                    <a:pt x="2773870" y="2373910"/>
                    <a:pt x="2756081" y="2360700"/>
                    <a:pt x="2754420" y="2351907"/>
                  </a:cubicBezTo>
                  <a:cubicBezTo>
                    <a:pt x="2752758" y="2343114"/>
                    <a:pt x="2762889" y="2333875"/>
                    <a:pt x="2769737" y="2325163"/>
                  </a:cubicBezTo>
                  <a:cubicBezTo>
                    <a:pt x="2768076" y="2315722"/>
                    <a:pt x="2767386" y="2309401"/>
                    <a:pt x="2771195" y="2298420"/>
                  </a:cubicBezTo>
                  <a:cubicBezTo>
                    <a:pt x="2766090" y="2295300"/>
                    <a:pt x="2754987" y="2290883"/>
                    <a:pt x="2755635" y="2276296"/>
                  </a:cubicBezTo>
                  <a:lnTo>
                    <a:pt x="2757408" y="2262887"/>
                  </a:lnTo>
                  <a:lnTo>
                    <a:pt x="2757870" y="2271666"/>
                  </a:lnTo>
                  <a:lnTo>
                    <a:pt x="2758699" y="2272064"/>
                  </a:lnTo>
                  <a:lnTo>
                    <a:pt x="2758822" y="2273246"/>
                  </a:lnTo>
                  <a:cubicBezTo>
                    <a:pt x="2759853" y="2281682"/>
                    <a:pt x="2762615" y="2291027"/>
                    <a:pt x="2778510" y="2287188"/>
                  </a:cubicBezTo>
                  <a:cubicBezTo>
                    <a:pt x="2771674" y="2323464"/>
                    <a:pt x="2787114" y="2341451"/>
                    <a:pt x="2796856" y="2358296"/>
                  </a:cubicBezTo>
                  <a:lnTo>
                    <a:pt x="2797825" y="2360158"/>
                  </a:lnTo>
                  <a:lnTo>
                    <a:pt x="2797791" y="2361032"/>
                  </a:lnTo>
                  <a:cubicBezTo>
                    <a:pt x="2797497" y="2366174"/>
                    <a:pt x="2796762" y="2369738"/>
                    <a:pt x="2796380" y="2374565"/>
                  </a:cubicBezTo>
                  <a:cubicBezTo>
                    <a:pt x="2795273" y="2378367"/>
                    <a:pt x="2792549" y="2377947"/>
                    <a:pt x="2793058" y="2385970"/>
                  </a:cubicBezTo>
                  <a:cubicBezTo>
                    <a:pt x="2793387" y="2390969"/>
                    <a:pt x="2822722" y="2399021"/>
                    <a:pt x="2827452" y="2392615"/>
                  </a:cubicBezTo>
                  <a:cubicBezTo>
                    <a:pt x="2828829" y="2390400"/>
                    <a:pt x="2828231" y="2385311"/>
                    <a:pt x="2828619" y="2381659"/>
                  </a:cubicBezTo>
                  <a:cubicBezTo>
                    <a:pt x="2829218" y="2377588"/>
                    <a:pt x="2834486" y="2373158"/>
                    <a:pt x="2835265" y="2367381"/>
                  </a:cubicBezTo>
                  <a:cubicBezTo>
                    <a:pt x="2835773" y="2362786"/>
                    <a:pt x="2835721" y="2357585"/>
                    <a:pt x="2835545" y="2352171"/>
                  </a:cubicBezTo>
                  <a:lnTo>
                    <a:pt x="2835336" y="2346453"/>
                  </a:lnTo>
                  <a:lnTo>
                    <a:pt x="2836935" y="2348315"/>
                  </a:lnTo>
                  <a:cubicBezTo>
                    <a:pt x="2847277" y="2358863"/>
                    <a:pt x="2869213" y="2362416"/>
                    <a:pt x="2876573" y="2346098"/>
                  </a:cubicBezTo>
                  <a:cubicBezTo>
                    <a:pt x="2876663" y="2351336"/>
                    <a:pt x="2878370" y="2353342"/>
                    <a:pt x="2877471" y="2359927"/>
                  </a:cubicBezTo>
                  <a:cubicBezTo>
                    <a:pt x="2874897" y="2364088"/>
                    <a:pt x="2863433" y="2365016"/>
                    <a:pt x="2860319" y="2372679"/>
                  </a:cubicBezTo>
                  <a:cubicBezTo>
                    <a:pt x="2859391" y="2375882"/>
                    <a:pt x="2871575" y="2395070"/>
                    <a:pt x="2879358" y="2395758"/>
                  </a:cubicBezTo>
                  <a:cubicBezTo>
                    <a:pt x="2885015" y="2396417"/>
                    <a:pt x="2895522" y="2385311"/>
                    <a:pt x="2914649" y="2367830"/>
                  </a:cubicBezTo>
                  <a:cubicBezTo>
                    <a:pt x="2917610" y="2365124"/>
                    <a:pt x="2928808" y="2343883"/>
                    <a:pt x="2933867" y="2325713"/>
                  </a:cubicBezTo>
                  <a:cubicBezTo>
                    <a:pt x="2928711" y="2323123"/>
                    <a:pt x="2921238" y="2316954"/>
                    <a:pt x="2916889" y="2307326"/>
                  </a:cubicBezTo>
                  <a:lnTo>
                    <a:pt x="2916694" y="2306814"/>
                  </a:lnTo>
                  <a:lnTo>
                    <a:pt x="2919331" y="2308474"/>
                  </a:lnTo>
                  <a:cubicBezTo>
                    <a:pt x="2925965" y="2312894"/>
                    <a:pt x="2932699" y="2317743"/>
                    <a:pt x="2938626" y="2319157"/>
                  </a:cubicBezTo>
                  <a:cubicBezTo>
                    <a:pt x="2942997" y="2324186"/>
                    <a:pt x="2948086" y="2332179"/>
                    <a:pt x="2960089" y="2333705"/>
                  </a:cubicBezTo>
                  <a:cubicBezTo>
                    <a:pt x="2970326" y="2335441"/>
                    <a:pt x="2977600" y="2325773"/>
                    <a:pt x="2981193" y="2315206"/>
                  </a:cubicBezTo>
                  <a:lnTo>
                    <a:pt x="2977870" y="2314937"/>
                  </a:lnTo>
                  <a:cubicBezTo>
                    <a:pt x="2962604" y="2340530"/>
                    <a:pt x="2946469" y="2317189"/>
                    <a:pt x="2949889" y="2292639"/>
                  </a:cubicBezTo>
                  <a:lnTo>
                    <a:pt x="2950820" y="2287831"/>
                  </a:lnTo>
                  <a:lnTo>
                    <a:pt x="2952584" y="2289753"/>
                  </a:lnTo>
                  <a:cubicBezTo>
                    <a:pt x="2983061" y="2320813"/>
                    <a:pt x="3009710" y="2316272"/>
                    <a:pt x="3024836" y="2308022"/>
                  </a:cubicBezTo>
                  <a:cubicBezTo>
                    <a:pt x="3066265" y="2282488"/>
                    <a:pt x="3054126" y="2194367"/>
                    <a:pt x="3036780" y="2190112"/>
                  </a:cubicBezTo>
                  <a:cubicBezTo>
                    <a:pt x="3032814" y="2189139"/>
                    <a:pt x="3030045" y="2199362"/>
                    <a:pt x="3027441" y="2200889"/>
                  </a:cubicBezTo>
                  <a:cubicBezTo>
                    <a:pt x="3019448" y="2205109"/>
                    <a:pt x="3015946" y="2204481"/>
                    <a:pt x="3013791" y="2207803"/>
                  </a:cubicBezTo>
                  <a:cubicBezTo>
                    <a:pt x="3009525" y="2214033"/>
                    <a:pt x="3025228" y="2250098"/>
                    <a:pt x="3005256" y="2269010"/>
                  </a:cubicBezTo>
                  <a:lnTo>
                    <a:pt x="3003766" y="2270186"/>
                  </a:lnTo>
                  <a:lnTo>
                    <a:pt x="3004079" y="2269581"/>
                  </a:lnTo>
                  <a:cubicBezTo>
                    <a:pt x="3007864" y="2262268"/>
                    <a:pt x="3011837" y="2253894"/>
                    <a:pt x="3007325" y="2250369"/>
                  </a:cubicBezTo>
                  <a:cubicBezTo>
                    <a:pt x="3002026" y="2246149"/>
                    <a:pt x="2998704" y="2249381"/>
                    <a:pt x="2994663" y="2252794"/>
                  </a:cubicBezTo>
                  <a:cubicBezTo>
                    <a:pt x="2997267" y="2249830"/>
                    <a:pt x="3000410" y="2249292"/>
                    <a:pt x="2996010" y="2242287"/>
                  </a:cubicBezTo>
                  <a:cubicBezTo>
                    <a:pt x="2992507" y="2239922"/>
                    <a:pt x="2990622" y="2240521"/>
                    <a:pt x="2984156" y="2242197"/>
                  </a:cubicBezTo>
                  <a:cubicBezTo>
                    <a:pt x="2988257" y="2239144"/>
                    <a:pt x="2989574" y="2240311"/>
                    <a:pt x="2987569" y="2234385"/>
                  </a:cubicBezTo>
                  <a:cubicBezTo>
                    <a:pt x="2984829" y="2230703"/>
                    <a:pt x="2983454" y="2231011"/>
                    <a:pt x="2980716" y="2231219"/>
                  </a:cubicBezTo>
                  <a:lnTo>
                    <a:pt x="2978816" y="2231232"/>
                  </a:lnTo>
                  <a:lnTo>
                    <a:pt x="2980378" y="2230671"/>
                  </a:lnTo>
                  <a:cubicBezTo>
                    <a:pt x="2981254" y="2230377"/>
                    <a:pt x="2982046" y="2230138"/>
                    <a:pt x="2982719" y="2229984"/>
                  </a:cubicBezTo>
                  <a:cubicBezTo>
                    <a:pt x="2988107" y="2228757"/>
                    <a:pt x="2994004" y="2230448"/>
                    <a:pt x="2994034" y="2227380"/>
                  </a:cubicBezTo>
                  <a:cubicBezTo>
                    <a:pt x="2994693" y="2224027"/>
                    <a:pt x="2986281" y="2213580"/>
                    <a:pt x="2982539" y="2212742"/>
                  </a:cubicBezTo>
                  <a:cubicBezTo>
                    <a:pt x="2980541" y="2212114"/>
                    <a:pt x="2975311" y="2211586"/>
                    <a:pt x="2970559" y="2211273"/>
                  </a:cubicBezTo>
                  <a:lnTo>
                    <a:pt x="2969453" y="2211214"/>
                  </a:lnTo>
                  <a:lnTo>
                    <a:pt x="2969462" y="2211191"/>
                  </a:lnTo>
                  <a:cubicBezTo>
                    <a:pt x="2970590" y="2209633"/>
                    <a:pt x="2974345" y="2209061"/>
                    <a:pt x="2977242" y="2208791"/>
                  </a:cubicBezTo>
                  <a:cubicBezTo>
                    <a:pt x="2965088" y="2192747"/>
                    <a:pt x="2948714" y="2182449"/>
                    <a:pt x="2934585" y="2182659"/>
                  </a:cubicBezTo>
                  <a:cubicBezTo>
                    <a:pt x="2917553" y="2183168"/>
                    <a:pt x="2896210" y="2187538"/>
                    <a:pt x="2884117" y="2206277"/>
                  </a:cubicBezTo>
                  <a:cubicBezTo>
                    <a:pt x="2890298" y="2206209"/>
                    <a:pt x="2894897" y="2206237"/>
                    <a:pt x="2898349" y="2206604"/>
                  </a:cubicBezTo>
                  <a:lnTo>
                    <a:pt x="2898926" y="2206687"/>
                  </a:lnTo>
                  <a:lnTo>
                    <a:pt x="2896516" y="2207342"/>
                  </a:lnTo>
                  <a:cubicBezTo>
                    <a:pt x="2883710" y="2210423"/>
                    <a:pt x="2874789" y="2209963"/>
                    <a:pt x="2871918" y="2212459"/>
                  </a:cubicBezTo>
                  <a:cubicBezTo>
                    <a:pt x="2865915" y="2216659"/>
                    <a:pt x="2827044" y="2252469"/>
                    <a:pt x="2825442" y="2272744"/>
                  </a:cubicBezTo>
                  <a:cubicBezTo>
                    <a:pt x="2829559" y="2283506"/>
                    <a:pt x="2830333" y="2275901"/>
                    <a:pt x="2839423" y="2294856"/>
                  </a:cubicBezTo>
                  <a:lnTo>
                    <a:pt x="2853929" y="2278318"/>
                  </a:lnTo>
                  <a:lnTo>
                    <a:pt x="2836957" y="2313424"/>
                  </a:lnTo>
                  <a:cubicBezTo>
                    <a:pt x="2841189" y="2319604"/>
                    <a:pt x="2844075" y="2322911"/>
                    <a:pt x="2852886" y="2322805"/>
                  </a:cubicBezTo>
                  <a:cubicBezTo>
                    <a:pt x="2862297" y="2321557"/>
                    <a:pt x="2870990" y="2313843"/>
                    <a:pt x="2880041" y="2309362"/>
                  </a:cubicBezTo>
                  <a:cubicBezTo>
                    <a:pt x="2888987" y="2305639"/>
                    <a:pt x="2891646" y="2308201"/>
                    <a:pt x="2897449" y="2307621"/>
                  </a:cubicBezTo>
                  <a:cubicBezTo>
                    <a:pt x="2909676" y="2274457"/>
                    <a:pt x="2890472" y="2274609"/>
                    <a:pt x="2903687" y="2238571"/>
                  </a:cubicBezTo>
                  <a:cubicBezTo>
                    <a:pt x="2898989" y="2267680"/>
                    <a:pt x="2917640" y="2267694"/>
                    <a:pt x="2904412" y="2316470"/>
                  </a:cubicBezTo>
                  <a:lnTo>
                    <a:pt x="2902304" y="2316125"/>
                  </a:lnTo>
                  <a:lnTo>
                    <a:pt x="2899635" y="2315442"/>
                  </a:lnTo>
                  <a:lnTo>
                    <a:pt x="2896902" y="2315016"/>
                  </a:lnTo>
                  <a:lnTo>
                    <a:pt x="2896135" y="2314838"/>
                  </a:lnTo>
                  <a:cubicBezTo>
                    <a:pt x="2894067" y="2314430"/>
                    <a:pt x="2891890" y="2314212"/>
                    <a:pt x="2889365" y="2314609"/>
                  </a:cubicBezTo>
                  <a:lnTo>
                    <a:pt x="2888379" y="2314839"/>
                  </a:lnTo>
                  <a:lnTo>
                    <a:pt x="2887783" y="2314890"/>
                  </a:lnTo>
                  <a:cubicBezTo>
                    <a:pt x="2874581" y="2316946"/>
                    <a:pt x="2869726" y="2328586"/>
                    <a:pt x="2848555" y="2330832"/>
                  </a:cubicBezTo>
                  <a:cubicBezTo>
                    <a:pt x="2842243" y="2329601"/>
                    <a:pt x="2832149" y="2320325"/>
                    <a:pt x="2826215" y="2313113"/>
                  </a:cubicBezTo>
                  <a:lnTo>
                    <a:pt x="2825757" y="2312519"/>
                  </a:lnTo>
                  <a:lnTo>
                    <a:pt x="2827479" y="2309642"/>
                  </a:lnTo>
                  <a:cubicBezTo>
                    <a:pt x="2829319" y="2306776"/>
                    <a:pt x="2831332" y="2303846"/>
                    <a:pt x="2833558" y="2300838"/>
                  </a:cubicBezTo>
                  <a:cubicBezTo>
                    <a:pt x="2829667" y="2290391"/>
                    <a:pt x="2819400" y="2286769"/>
                    <a:pt x="2816496" y="2273807"/>
                  </a:cubicBezTo>
                  <a:cubicBezTo>
                    <a:pt x="2821196" y="2260397"/>
                    <a:pt x="2823111" y="2251656"/>
                    <a:pt x="2846759" y="2227649"/>
                  </a:cubicBezTo>
                  <a:cubicBezTo>
                    <a:pt x="2783898" y="2236659"/>
                    <a:pt x="2784085" y="2287266"/>
                    <a:pt x="2766704" y="2275031"/>
                  </a:cubicBezTo>
                  <a:lnTo>
                    <a:pt x="2763080" y="2271768"/>
                  </a:lnTo>
                  <a:lnTo>
                    <a:pt x="2764140" y="2271173"/>
                  </a:lnTo>
                  <a:cubicBezTo>
                    <a:pt x="2770545" y="2266858"/>
                    <a:pt x="2762959" y="2260644"/>
                    <a:pt x="2768093" y="2251267"/>
                  </a:cubicBezTo>
                  <a:lnTo>
                    <a:pt x="2757610" y="2261359"/>
                  </a:lnTo>
                  <a:lnTo>
                    <a:pt x="2758523" y="2254460"/>
                  </a:lnTo>
                  <a:cubicBezTo>
                    <a:pt x="2763618" y="2249390"/>
                    <a:pt x="2770507" y="2246533"/>
                    <a:pt x="2772168" y="2245905"/>
                  </a:cubicBezTo>
                  <a:cubicBezTo>
                    <a:pt x="2769048" y="2255427"/>
                    <a:pt x="2775856" y="2262073"/>
                    <a:pt x="2772168" y="2269731"/>
                  </a:cubicBezTo>
                  <a:cubicBezTo>
                    <a:pt x="2807624" y="2224632"/>
                    <a:pt x="2832098" y="2221755"/>
                    <a:pt x="2848509" y="2221349"/>
                  </a:cubicBezTo>
                  <a:cubicBezTo>
                    <a:pt x="2861273" y="2210004"/>
                    <a:pt x="2862368" y="2207045"/>
                    <a:pt x="2871120" y="2204817"/>
                  </a:cubicBezTo>
                  <a:lnTo>
                    <a:pt x="2877156" y="2204184"/>
                  </a:lnTo>
                  <a:lnTo>
                    <a:pt x="2877855" y="2202687"/>
                  </a:lnTo>
                  <a:cubicBezTo>
                    <a:pt x="2883227" y="2192018"/>
                    <a:pt x="2887916" y="2188690"/>
                    <a:pt x="2897135" y="2184151"/>
                  </a:cubicBezTo>
                  <a:cubicBezTo>
                    <a:pt x="2906353" y="2179613"/>
                    <a:pt x="2919139" y="2175571"/>
                    <a:pt x="2932806" y="2176097"/>
                  </a:cubicBezTo>
                  <a:close/>
                  <a:moveTo>
                    <a:pt x="11424848" y="1933898"/>
                  </a:moveTo>
                  <a:lnTo>
                    <a:pt x="11414386" y="1982027"/>
                  </a:lnTo>
                  <a:lnTo>
                    <a:pt x="11457109" y="1982027"/>
                  </a:lnTo>
                  <a:lnTo>
                    <a:pt x="11467397" y="1933898"/>
                  </a:lnTo>
                  <a:close/>
                  <a:moveTo>
                    <a:pt x="5360511" y="1933898"/>
                  </a:moveTo>
                  <a:lnTo>
                    <a:pt x="5350048" y="1982027"/>
                  </a:lnTo>
                  <a:lnTo>
                    <a:pt x="5392771" y="1982027"/>
                  </a:lnTo>
                  <a:lnTo>
                    <a:pt x="5403060" y="1933898"/>
                  </a:lnTo>
                  <a:close/>
                  <a:moveTo>
                    <a:pt x="11211940" y="1847981"/>
                  </a:moveTo>
                  <a:cubicBezTo>
                    <a:pt x="11248397" y="1848319"/>
                    <a:pt x="11266626" y="1861326"/>
                    <a:pt x="11266626" y="1887002"/>
                  </a:cubicBezTo>
                  <a:lnTo>
                    <a:pt x="11266626" y="1923363"/>
                  </a:lnTo>
                  <a:cubicBezTo>
                    <a:pt x="11266626" y="1940425"/>
                    <a:pt x="11274607" y="1949378"/>
                    <a:pt x="11290570" y="1950223"/>
                  </a:cubicBezTo>
                  <a:lnTo>
                    <a:pt x="11290570" y="1968719"/>
                  </a:lnTo>
                  <a:cubicBezTo>
                    <a:pt x="11274607" y="1969564"/>
                    <a:pt x="11266626" y="1978348"/>
                    <a:pt x="11266626" y="1995072"/>
                  </a:cubicBezTo>
                  <a:lnTo>
                    <a:pt x="11266626" y="2032446"/>
                  </a:lnTo>
                  <a:cubicBezTo>
                    <a:pt x="11266626" y="2057785"/>
                    <a:pt x="11248397" y="2070623"/>
                    <a:pt x="11211940" y="2070961"/>
                  </a:cubicBezTo>
                  <a:lnTo>
                    <a:pt x="11211940" y="2051450"/>
                  </a:lnTo>
                  <a:cubicBezTo>
                    <a:pt x="11220900" y="2051282"/>
                    <a:pt x="11227259" y="2049254"/>
                    <a:pt x="11231018" y="2045369"/>
                  </a:cubicBezTo>
                  <a:cubicBezTo>
                    <a:pt x="11234777" y="2041485"/>
                    <a:pt x="11236657" y="2035065"/>
                    <a:pt x="11236657" y="2026112"/>
                  </a:cubicBezTo>
                  <a:lnTo>
                    <a:pt x="11236657" y="1990764"/>
                  </a:lnTo>
                  <a:cubicBezTo>
                    <a:pt x="11236657" y="1973619"/>
                    <a:pt x="11246801" y="1963187"/>
                    <a:pt x="11267089" y="1959471"/>
                  </a:cubicBezTo>
                  <a:lnTo>
                    <a:pt x="11267089" y="1959091"/>
                  </a:lnTo>
                  <a:cubicBezTo>
                    <a:pt x="11246801" y="1955121"/>
                    <a:pt x="11236657" y="1944606"/>
                    <a:pt x="11236657" y="1927544"/>
                  </a:cubicBezTo>
                  <a:lnTo>
                    <a:pt x="11236657" y="1891817"/>
                  </a:lnTo>
                  <a:cubicBezTo>
                    <a:pt x="11236657" y="1876022"/>
                    <a:pt x="11228418" y="1867956"/>
                    <a:pt x="11211940" y="1867619"/>
                  </a:cubicBezTo>
                  <a:close/>
                  <a:moveTo>
                    <a:pt x="11190621" y="1847981"/>
                  </a:moveTo>
                  <a:lnTo>
                    <a:pt x="11190621" y="1867619"/>
                  </a:lnTo>
                  <a:cubicBezTo>
                    <a:pt x="11174247" y="1867956"/>
                    <a:pt x="11166059" y="1876022"/>
                    <a:pt x="11166059" y="1891817"/>
                  </a:cubicBezTo>
                  <a:lnTo>
                    <a:pt x="11166059" y="1927544"/>
                  </a:lnTo>
                  <a:cubicBezTo>
                    <a:pt x="11166059" y="1944606"/>
                    <a:pt x="11155812" y="1955121"/>
                    <a:pt x="11135318" y="1959091"/>
                  </a:cubicBezTo>
                  <a:lnTo>
                    <a:pt x="11135318" y="1959471"/>
                  </a:lnTo>
                  <a:cubicBezTo>
                    <a:pt x="11155812" y="1963187"/>
                    <a:pt x="11166059" y="1973619"/>
                    <a:pt x="11166059" y="1990764"/>
                  </a:cubicBezTo>
                  <a:lnTo>
                    <a:pt x="11166059" y="2026112"/>
                  </a:lnTo>
                  <a:cubicBezTo>
                    <a:pt x="11166059" y="2035149"/>
                    <a:pt x="11167887" y="2041589"/>
                    <a:pt x="11171543" y="2045433"/>
                  </a:cubicBezTo>
                  <a:cubicBezTo>
                    <a:pt x="11175199" y="2049275"/>
                    <a:pt x="11181559" y="2051282"/>
                    <a:pt x="11190621" y="2051450"/>
                  </a:cubicBezTo>
                  <a:lnTo>
                    <a:pt x="11190621" y="2070961"/>
                  </a:lnTo>
                  <a:cubicBezTo>
                    <a:pt x="11153958" y="2070623"/>
                    <a:pt x="11135627" y="2057785"/>
                    <a:pt x="11135627" y="2032446"/>
                  </a:cubicBezTo>
                  <a:lnTo>
                    <a:pt x="11135627" y="1995072"/>
                  </a:lnTo>
                  <a:cubicBezTo>
                    <a:pt x="11135627" y="1978348"/>
                    <a:pt x="11127594" y="1969564"/>
                    <a:pt x="11111528" y="1968719"/>
                  </a:cubicBezTo>
                  <a:lnTo>
                    <a:pt x="11111528" y="1950223"/>
                  </a:lnTo>
                  <a:cubicBezTo>
                    <a:pt x="11127594" y="1949378"/>
                    <a:pt x="11135627" y="1940425"/>
                    <a:pt x="11135627" y="1923363"/>
                  </a:cubicBezTo>
                  <a:lnTo>
                    <a:pt x="11135627" y="1887002"/>
                  </a:lnTo>
                  <a:cubicBezTo>
                    <a:pt x="11135627" y="1861326"/>
                    <a:pt x="11153958" y="1848319"/>
                    <a:pt x="11190621" y="1847981"/>
                  </a:cubicBezTo>
                  <a:close/>
                  <a:moveTo>
                    <a:pt x="8161190" y="1847981"/>
                  </a:moveTo>
                  <a:cubicBezTo>
                    <a:pt x="8197647" y="1848319"/>
                    <a:pt x="8215876" y="1861326"/>
                    <a:pt x="8215876" y="1887002"/>
                  </a:cubicBezTo>
                  <a:lnTo>
                    <a:pt x="8215876" y="1923363"/>
                  </a:lnTo>
                  <a:cubicBezTo>
                    <a:pt x="8215876" y="1940425"/>
                    <a:pt x="8223857" y="1949378"/>
                    <a:pt x="8239820" y="1950223"/>
                  </a:cubicBezTo>
                  <a:lnTo>
                    <a:pt x="8239820" y="1968719"/>
                  </a:lnTo>
                  <a:cubicBezTo>
                    <a:pt x="8223857" y="1969564"/>
                    <a:pt x="8215876" y="1978348"/>
                    <a:pt x="8215876" y="1995072"/>
                  </a:cubicBezTo>
                  <a:lnTo>
                    <a:pt x="8215876" y="2032446"/>
                  </a:lnTo>
                  <a:cubicBezTo>
                    <a:pt x="8215876" y="2057785"/>
                    <a:pt x="8197647" y="2070623"/>
                    <a:pt x="8161190" y="2070961"/>
                  </a:cubicBezTo>
                  <a:lnTo>
                    <a:pt x="8161190" y="2051450"/>
                  </a:lnTo>
                  <a:cubicBezTo>
                    <a:pt x="8170150" y="2051282"/>
                    <a:pt x="8176509" y="2049254"/>
                    <a:pt x="8180268" y="2045369"/>
                  </a:cubicBezTo>
                  <a:cubicBezTo>
                    <a:pt x="8184027" y="2041485"/>
                    <a:pt x="8185907" y="2035065"/>
                    <a:pt x="8185907" y="2026112"/>
                  </a:cubicBezTo>
                  <a:lnTo>
                    <a:pt x="8185907" y="1990764"/>
                  </a:lnTo>
                  <a:cubicBezTo>
                    <a:pt x="8185907" y="1973619"/>
                    <a:pt x="8196051" y="1963187"/>
                    <a:pt x="8216339" y="1959471"/>
                  </a:cubicBezTo>
                  <a:lnTo>
                    <a:pt x="8216339" y="1959091"/>
                  </a:lnTo>
                  <a:cubicBezTo>
                    <a:pt x="8196051" y="1955121"/>
                    <a:pt x="8185907" y="1944606"/>
                    <a:pt x="8185907" y="1927544"/>
                  </a:cubicBezTo>
                  <a:lnTo>
                    <a:pt x="8185907" y="1891817"/>
                  </a:lnTo>
                  <a:cubicBezTo>
                    <a:pt x="8185907" y="1876022"/>
                    <a:pt x="8177668" y="1867956"/>
                    <a:pt x="8161190" y="1867619"/>
                  </a:cubicBezTo>
                  <a:close/>
                  <a:moveTo>
                    <a:pt x="8139871" y="1847981"/>
                  </a:moveTo>
                  <a:lnTo>
                    <a:pt x="8139871" y="1867619"/>
                  </a:lnTo>
                  <a:cubicBezTo>
                    <a:pt x="8123497" y="1867956"/>
                    <a:pt x="8115310" y="1876022"/>
                    <a:pt x="8115310" y="1891817"/>
                  </a:cubicBezTo>
                  <a:lnTo>
                    <a:pt x="8115310" y="1927544"/>
                  </a:lnTo>
                  <a:cubicBezTo>
                    <a:pt x="8115310" y="1944606"/>
                    <a:pt x="8105062" y="1955121"/>
                    <a:pt x="8084568" y="1959091"/>
                  </a:cubicBezTo>
                  <a:lnTo>
                    <a:pt x="8084568" y="1959471"/>
                  </a:lnTo>
                  <a:cubicBezTo>
                    <a:pt x="8105062" y="1963187"/>
                    <a:pt x="8115310" y="1973619"/>
                    <a:pt x="8115310" y="1990764"/>
                  </a:cubicBezTo>
                  <a:lnTo>
                    <a:pt x="8115310" y="2026112"/>
                  </a:lnTo>
                  <a:cubicBezTo>
                    <a:pt x="8115310" y="2035149"/>
                    <a:pt x="8117137" y="2041589"/>
                    <a:pt x="8120793" y="2045433"/>
                  </a:cubicBezTo>
                  <a:cubicBezTo>
                    <a:pt x="8124449" y="2049275"/>
                    <a:pt x="8130809" y="2051282"/>
                    <a:pt x="8139871" y="2051450"/>
                  </a:cubicBezTo>
                  <a:lnTo>
                    <a:pt x="8139871" y="2070961"/>
                  </a:lnTo>
                  <a:cubicBezTo>
                    <a:pt x="8103208" y="2070623"/>
                    <a:pt x="8084877" y="2057785"/>
                    <a:pt x="8084877" y="2032446"/>
                  </a:cubicBezTo>
                  <a:lnTo>
                    <a:pt x="8084877" y="1995072"/>
                  </a:lnTo>
                  <a:cubicBezTo>
                    <a:pt x="8084877" y="1978348"/>
                    <a:pt x="8076844" y="1969564"/>
                    <a:pt x="8060778" y="1968719"/>
                  </a:cubicBezTo>
                  <a:lnTo>
                    <a:pt x="8060778" y="1950223"/>
                  </a:lnTo>
                  <a:cubicBezTo>
                    <a:pt x="8076844" y="1949378"/>
                    <a:pt x="8084877" y="1940425"/>
                    <a:pt x="8084877" y="1923363"/>
                  </a:cubicBezTo>
                  <a:lnTo>
                    <a:pt x="8084877" y="1887002"/>
                  </a:lnTo>
                  <a:cubicBezTo>
                    <a:pt x="8084877" y="1861326"/>
                    <a:pt x="8103208" y="1848319"/>
                    <a:pt x="8139871" y="1847981"/>
                  </a:cubicBezTo>
                  <a:close/>
                  <a:moveTo>
                    <a:pt x="5151280" y="1847981"/>
                  </a:moveTo>
                  <a:cubicBezTo>
                    <a:pt x="5187738" y="1848319"/>
                    <a:pt x="5205966" y="1861326"/>
                    <a:pt x="5205966" y="1887002"/>
                  </a:cubicBezTo>
                  <a:lnTo>
                    <a:pt x="5205966" y="1923363"/>
                  </a:lnTo>
                  <a:cubicBezTo>
                    <a:pt x="5205966" y="1940425"/>
                    <a:pt x="5213948" y="1949378"/>
                    <a:pt x="5229911" y="1950223"/>
                  </a:cubicBezTo>
                  <a:lnTo>
                    <a:pt x="5229911" y="1968719"/>
                  </a:lnTo>
                  <a:cubicBezTo>
                    <a:pt x="5213948" y="1969564"/>
                    <a:pt x="5205966" y="1978348"/>
                    <a:pt x="5205966" y="1995072"/>
                  </a:cubicBezTo>
                  <a:lnTo>
                    <a:pt x="5205966" y="2032446"/>
                  </a:lnTo>
                  <a:cubicBezTo>
                    <a:pt x="5205966" y="2057785"/>
                    <a:pt x="5187738" y="2070623"/>
                    <a:pt x="5151280" y="2070961"/>
                  </a:cubicBezTo>
                  <a:lnTo>
                    <a:pt x="5151280" y="2051450"/>
                  </a:lnTo>
                  <a:cubicBezTo>
                    <a:pt x="5160241" y="2051282"/>
                    <a:pt x="5166599" y="2049254"/>
                    <a:pt x="5170358" y="2045369"/>
                  </a:cubicBezTo>
                  <a:cubicBezTo>
                    <a:pt x="5174118" y="2041485"/>
                    <a:pt x="5175999" y="2035065"/>
                    <a:pt x="5175999" y="2026112"/>
                  </a:cubicBezTo>
                  <a:lnTo>
                    <a:pt x="5175999" y="1990764"/>
                  </a:lnTo>
                  <a:cubicBezTo>
                    <a:pt x="5175999" y="1973619"/>
                    <a:pt x="5186142" y="1963187"/>
                    <a:pt x="5206429" y="1959471"/>
                  </a:cubicBezTo>
                  <a:lnTo>
                    <a:pt x="5206429" y="1959091"/>
                  </a:lnTo>
                  <a:cubicBezTo>
                    <a:pt x="5186142" y="1955121"/>
                    <a:pt x="5175999" y="1944606"/>
                    <a:pt x="5175999" y="1927544"/>
                  </a:cubicBezTo>
                  <a:lnTo>
                    <a:pt x="5175999" y="1891817"/>
                  </a:lnTo>
                  <a:cubicBezTo>
                    <a:pt x="5175999" y="1876022"/>
                    <a:pt x="5167759" y="1867956"/>
                    <a:pt x="5151280" y="1867619"/>
                  </a:cubicBezTo>
                  <a:close/>
                  <a:moveTo>
                    <a:pt x="5129963" y="1847981"/>
                  </a:moveTo>
                  <a:lnTo>
                    <a:pt x="5129963" y="1867619"/>
                  </a:lnTo>
                  <a:cubicBezTo>
                    <a:pt x="5113588" y="1867956"/>
                    <a:pt x="5105400" y="1876022"/>
                    <a:pt x="5105400" y="1891817"/>
                  </a:cubicBezTo>
                  <a:lnTo>
                    <a:pt x="5105400" y="1927544"/>
                  </a:lnTo>
                  <a:cubicBezTo>
                    <a:pt x="5105400" y="1944606"/>
                    <a:pt x="5095152" y="1955121"/>
                    <a:pt x="5074658" y="1959091"/>
                  </a:cubicBezTo>
                  <a:lnTo>
                    <a:pt x="5074658" y="1959471"/>
                  </a:lnTo>
                  <a:cubicBezTo>
                    <a:pt x="5095152" y="1963187"/>
                    <a:pt x="5105400" y="1973619"/>
                    <a:pt x="5105400" y="1990764"/>
                  </a:cubicBezTo>
                  <a:lnTo>
                    <a:pt x="5105400" y="2026112"/>
                  </a:lnTo>
                  <a:cubicBezTo>
                    <a:pt x="5105400" y="2035149"/>
                    <a:pt x="5107227" y="2041589"/>
                    <a:pt x="5110885" y="2045433"/>
                  </a:cubicBezTo>
                  <a:cubicBezTo>
                    <a:pt x="5114540" y="2049275"/>
                    <a:pt x="5120899" y="2051282"/>
                    <a:pt x="5129963" y="2051450"/>
                  </a:cubicBezTo>
                  <a:lnTo>
                    <a:pt x="5129963" y="2070961"/>
                  </a:lnTo>
                  <a:cubicBezTo>
                    <a:pt x="5093299" y="2070623"/>
                    <a:pt x="5074967" y="2057785"/>
                    <a:pt x="5074967" y="2032446"/>
                  </a:cubicBezTo>
                  <a:lnTo>
                    <a:pt x="5074967" y="1995072"/>
                  </a:lnTo>
                  <a:cubicBezTo>
                    <a:pt x="5074967" y="1978348"/>
                    <a:pt x="5066935" y="1969564"/>
                    <a:pt x="5050869" y="1968719"/>
                  </a:cubicBezTo>
                  <a:lnTo>
                    <a:pt x="5050869" y="1950223"/>
                  </a:lnTo>
                  <a:cubicBezTo>
                    <a:pt x="5066935" y="1949378"/>
                    <a:pt x="5074967" y="1940425"/>
                    <a:pt x="5074967" y="1923363"/>
                  </a:cubicBezTo>
                  <a:lnTo>
                    <a:pt x="5074967" y="1887002"/>
                  </a:lnTo>
                  <a:cubicBezTo>
                    <a:pt x="5074967" y="1861326"/>
                    <a:pt x="5093299" y="1848319"/>
                    <a:pt x="5129963" y="1847981"/>
                  </a:cubicBezTo>
                  <a:close/>
                  <a:moveTo>
                    <a:pt x="2097668" y="1847981"/>
                  </a:moveTo>
                  <a:cubicBezTo>
                    <a:pt x="2134123" y="1848319"/>
                    <a:pt x="2152352" y="1861326"/>
                    <a:pt x="2152352" y="1887002"/>
                  </a:cubicBezTo>
                  <a:lnTo>
                    <a:pt x="2152352" y="1923363"/>
                  </a:lnTo>
                  <a:cubicBezTo>
                    <a:pt x="2152352" y="1940425"/>
                    <a:pt x="2160334" y="1949378"/>
                    <a:pt x="2176297" y="1950223"/>
                  </a:cubicBezTo>
                  <a:lnTo>
                    <a:pt x="2176297" y="1968719"/>
                  </a:lnTo>
                  <a:cubicBezTo>
                    <a:pt x="2160334" y="1969564"/>
                    <a:pt x="2152352" y="1978348"/>
                    <a:pt x="2152352" y="1995072"/>
                  </a:cubicBezTo>
                  <a:lnTo>
                    <a:pt x="2152352" y="2032446"/>
                  </a:lnTo>
                  <a:cubicBezTo>
                    <a:pt x="2152352" y="2057785"/>
                    <a:pt x="2134123" y="2070623"/>
                    <a:pt x="2097668" y="2070961"/>
                  </a:cubicBezTo>
                  <a:lnTo>
                    <a:pt x="2097668" y="2051450"/>
                  </a:lnTo>
                  <a:cubicBezTo>
                    <a:pt x="2106627" y="2051282"/>
                    <a:pt x="2112985" y="2049254"/>
                    <a:pt x="2116745" y="2045369"/>
                  </a:cubicBezTo>
                  <a:cubicBezTo>
                    <a:pt x="2120503" y="2041485"/>
                    <a:pt x="2122383" y="2035065"/>
                    <a:pt x="2122383" y="2026112"/>
                  </a:cubicBezTo>
                  <a:lnTo>
                    <a:pt x="2122383" y="1990764"/>
                  </a:lnTo>
                  <a:cubicBezTo>
                    <a:pt x="2122383" y="1973619"/>
                    <a:pt x="2132527" y="1963187"/>
                    <a:pt x="2152815" y="1959471"/>
                  </a:cubicBezTo>
                  <a:lnTo>
                    <a:pt x="2152815" y="1959091"/>
                  </a:lnTo>
                  <a:cubicBezTo>
                    <a:pt x="2132527" y="1955121"/>
                    <a:pt x="2122383" y="1944606"/>
                    <a:pt x="2122383" y="1927544"/>
                  </a:cubicBezTo>
                  <a:lnTo>
                    <a:pt x="2122383" y="1891817"/>
                  </a:lnTo>
                  <a:cubicBezTo>
                    <a:pt x="2122383" y="1876022"/>
                    <a:pt x="2114144" y="1867956"/>
                    <a:pt x="2097668" y="1867619"/>
                  </a:cubicBezTo>
                  <a:close/>
                  <a:moveTo>
                    <a:pt x="2076347" y="1847981"/>
                  </a:moveTo>
                  <a:lnTo>
                    <a:pt x="2076347" y="1867619"/>
                  </a:lnTo>
                  <a:cubicBezTo>
                    <a:pt x="2059973" y="1867956"/>
                    <a:pt x="2051785" y="1876022"/>
                    <a:pt x="2051785" y="1891817"/>
                  </a:cubicBezTo>
                  <a:lnTo>
                    <a:pt x="2051785" y="1927544"/>
                  </a:lnTo>
                  <a:cubicBezTo>
                    <a:pt x="2051785" y="1944606"/>
                    <a:pt x="2041538" y="1955121"/>
                    <a:pt x="2021044" y="1959091"/>
                  </a:cubicBezTo>
                  <a:lnTo>
                    <a:pt x="2021044" y="1959471"/>
                  </a:lnTo>
                  <a:cubicBezTo>
                    <a:pt x="2041538" y="1963187"/>
                    <a:pt x="2051785" y="1973619"/>
                    <a:pt x="2051785" y="1990764"/>
                  </a:cubicBezTo>
                  <a:lnTo>
                    <a:pt x="2051785" y="2026112"/>
                  </a:lnTo>
                  <a:cubicBezTo>
                    <a:pt x="2051785" y="2035149"/>
                    <a:pt x="2053614" y="2041589"/>
                    <a:pt x="2057270" y="2045433"/>
                  </a:cubicBezTo>
                  <a:cubicBezTo>
                    <a:pt x="2060926" y="2049275"/>
                    <a:pt x="2067285" y="2051282"/>
                    <a:pt x="2076347" y="2051450"/>
                  </a:cubicBezTo>
                  <a:lnTo>
                    <a:pt x="2076347" y="2070961"/>
                  </a:lnTo>
                  <a:cubicBezTo>
                    <a:pt x="2039685" y="2070623"/>
                    <a:pt x="2021353" y="2057785"/>
                    <a:pt x="2021353" y="2032446"/>
                  </a:cubicBezTo>
                  <a:lnTo>
                    <a:pt x="2021353" y="1995072"/>
                  </a:lnTo>
                  <a:cubicBezTo>
                    <a:pt x="2021353" y="1978348"/>
                    <a:pt x="2013320" y="1969564"/>
                    <a:pt x="1997254" y="1968719"/>
                  </a:cubicBezTo>
                  <a:lnTo>
                    <a:pt x="1997254" y="1950223"/>
                  </a:lnTo>
                  <a:cubicBezTo>
                    <a:pt x="2013320" y="1949378"/>
                    <a:pt x="2021353" y="1940425"/>
                    <a:pt x="2021353" y="1923363"/>
                  </a:cubicBezTo>
                  <a:lnTo>
                    <a:pt x="2021353" y="1887002"/>
                  </a:lnTo>
                  <a:cubicBezTo>
                    <a:pt x="2021353" y="1861326"/>
                    <a:pt x="2039685" y="1848319"/>
                    <a:pt x="2076347" y="1847981"/>
                  </a:cubicBezTo>
                  <a:close/>
                  <a:moveTo>
                    <a:pt x="11415781" y="1842347"/>
                  </a:moveTo>
                  <a:lnTo>
                    <a:pt x="11443856" y="1842347"/>
                  </a:lnTo>
                  <a:lnTo>
                    <a:pt x="11430080" y="1909484"/>
                  </a:lnTo>
                  <a:lnTo>
                    <a:pt x="11472280" y="1909484"/>
                  </a:lnTo>
                  <a:lnTo>
                    <a:pt x="11486579" y="1842347"/>
                  </a:lnTo>
                  <a:lnTo>
                    <a:pt x="11514132" y="1842347"/>
                  </a:lnTo>
                  <a:lnTo>
                    <a:pt x="11500181" y="1909484"/>
                  </a:lnTo>
                  <a:lnTo>
                    <a:pt x="11539940" y="1909484"/>
                  </a:lnTo>
                  <a:lnTo>
                    <a:pt x="11534534" y="1933898"/>
                  </a:lnTo>
                  <a:lnTo>
                    <a:pt x="11494950" y="1933898"/>
                  </a:lnTo>
                  <a:lnTo>
                    <a:pt x="11484836" y="1982027"/>
                  </a:lnTo>
                  <a:lnTo>
                    <a:pt x="11528082" y="1982027"/>
                  </a:lnTo>
                  <a:lnTo>
                    <a:pt x="11521978" y="2006440"/>
                  </a:lnTo>
                  <a:lnTo>
                    <a:pt x="11479779" y="2006440"/>
                  </a:lnTo>
                  <a:lnTo>
                    <a:pt x="11465479" y="2070961"/>
                  </a:lnTo>
                  <a:lnTo>
                    <a:pt x="11437752" y="2070961"/>
                  </a:lnTo>
                  <a:lnTo>
                    <a:pt x="11451703" y="2006440"/>
                  </a:lnTo>
                  <a:lnTo>
                    <a:pt x="11409503" y="2006440"/>
                  </a:lnTo>
                  <a:lnTo>
                    <a:pt x="11395901" y="2070961"/>
                  </a:lnTo>
                  <a:lnTo>
                    <a:pt x="11368175" y="2070961"/>
                  </a:lnTo>
                  <a:lnTo>
                    <a:pt x="11381776" y="2006440"/>
                  </a:lnTo>
                  <a:lnTo>
                    <a:pt x="11341843" y="2006440"/>
                  </a:lnTo>
                  <a:lnTo>
                    <a:pt x="11346725" y="1982027"/>
                  </a:lnTo>
                  <a:lnTo>
                    <a:pt x="11387182" y="1982027"/>
                  </a:lnTo>
                  <a:lnTo>
                    <a:pt x="11396773" y="1933898"/>
                  </a:lnTo>
                  <a:lnTo>
                    <a:pt x="11354224" y="1933898"/>
                  </a:lnTo>
                  <a:lnTo>
                    <a:pt x="11359281" y="1909484"/>
                  </a:lnTo>
                  <a:lnTo>
                    <a:pt x="11401830" y="1909484"/>
                  </a:lnTo>
                  <a:close/>
                  <a:moveTo>
                    <a:pt x="5351443" y="1842347"/>
                  </a:moveTo>
                  <a:lnTo>
                    <a:pt x="5379518" y="1842347"/>
                  </a:lnTo>
                  <a:lnTo>
                    <a:pt x="5365742" y="1909484"/>
                  </a:lnTo>
                  <a:lnTo>
                    <a:pt x="5407943" y="1909484"/>
                  </a:lnTo>
                  <a:lnTo>
                    <a:pt x="5422241" y="1842347"/>
                  </a:lnTo>
                  <a:lnTo>
                    <a:pt x="5449794" y="1842347"/>
                  </a:lnTo>
                  <a:lnTo>
                    <a:pt x="5435844" y="1909484"/>
                  </a:lnTo>
                  <a:lnTo>
                    <a:pt x="5475602" y="1909484"/>
                  </a:lnTo>
                  <a:lnTo>
                    <a:pt x="5470197" y="1933898"/>
                  </a:lnTo>
                  <a:lnTo>
                    <a:pt x="5430612" y="1933898"/>
                  </a:lnTo>
                  <a:lnTo>
                    <a:pt x="5420499" y="1982027"/>
                  </a:lnTo>
                  <a:lnTo>
                    <a:pt x="5463745" y="1982027"/>
                  </a:lnTo>
                  <a:lnTo>
                    <a:pt x="5457641" y="2006440"/>
                  </a:lnTo>
                  <a:lnTo>
                    <a:pt x="5415441" y="2006440"/>
                  </a:lnTo>
                  <a:lnTo>
                    <a:pt x="5401143" y="2070961"/>
                  </a:lnTo>
                  <a:lnTo>
                    <a:pt x="5373415" y="2070961"/>
                  </a:lnTo>
                  <a:lnTo>
                    <a:pt x="5387365" y="2006440"/>
                  </a:lnTo>
                  <a:lnTo>
                    <a:pt x="5345166" y="2006440"/>
                  </a:lnTo>
                  <a:lnTo>
                    <a:pt x="5331563" y="2070961"/>
                  </a:lnTo>
                  <a:lnTo>
                    <a:pt x="5303838" y="2070961"/>
                  </a:lnTo>
                  <a:lnTo>
                    <a:pt x="5317438" y="2006440"/>
                  </a:lnTo>
                  <a:lnTo>
                    <a:pt x="5277506" y="2006440"/>
                  </a:lnTo>
                  <a:lnTo>
                    <a:pt x="5282388" y="1982027"/>
                  </a:lnTo>
                  <a:lnTo>
                    <a:pt x="5322844" y="1982027"/>
                  </a:lnTo>
                  <a:lnTo>
                    <a:pt x="5332435" y="1933898"/>
                  </a:lnTo>
                  <a:lnTo>
                    <a:pt x="5289887" y="1933898"/>
                  </a:lnTo>
                  <a:lnTo>
                    <a:pt x="5294944" y="1909484"/>
                  </a:lnTo>
                  <a:lnTo>
                    <a:pt x="5337492" y="1909484"/>
                  </a:lnTo>
                  <a:close/>
                  <a:moveTo>
                    <a:pt x="6225654" y="1697074"/>
                  </a:moveTo>
                  <a:cubicBezTo>
                    <a:pt x="6221135" y="1714973"/>
                    <a:pt x="6215991" y="1726272"/>
                    <a:pt x="6202463" y="1736321"/>
                  </a:cubicBezTo>
                  <a:cubicBezTo>
                    <a:pt x="6201095" y="1743665"/>
                    <a:pt x="6213404" y="1739740"/>
                    <a:pt x="6218875" y="1739711"/>
                  </a:cubicBezTo>
                  <a:cubicBezTo>
                    <a:pt x="6224346" y="1739681"/>
                    <a:pt x="6233831" y="1741153"/>
                    <a:pt x="6235287" y="1736143"/>
                  </a:cubicBezTo>
                  <a:cubicBezTo>
                    <a:pt x="6236269" y="1732694"/>
                    <a:pt x="6233860" y="1730048"/>
                    <a:pt x="6232344" y="1726688"/>
                  </a:cubicBezTo>
                  <a:cubicBezTo>
                    <a:pt x="6231571" y="1723001"/>
                    <a:pt x="6234440" y="1718422"/>
                    <a:pt x="6233325" y="1713487"/>
                  </a:cubicBezTo>
                  <a:cubicBezTo>
                    <a:pt x="6232210" y="1708551"/>
                    <a:pt x="6228925" y="1700761"/>
                    <a:pt x="6225654" y="1697074"/>
                  </a:cubicBezTo>
                  <a:close/>
                  <a:moveTo>
                    <a:pt x="179757" y="1697074"/>
                  </a:moveTo>
                  <a:cubicBezTo>
                    <a:pt x="175238" y="1714973"/>
                    <a:pt x="170094" y="1726272"/>
                    <a:pt x="156566" y="1736321"/>
                  </a:cubicBezTo>
                  <a:cubicBezTo>
                    <a:pt x="155198" y="1743665"/>
                    <a:pt x="167507" y="1739740"/>
                    <a:pt x="172978" y="1739711"/>
                  </a:cubicBezTo>
                  <a:cubicBezTo>
                    <a:pt x="178449" y="1739681"/>
                    <a:pt x="187934" y="1741153"/>
                    <a:pt x="189390" y="1736143"/>
                  </a:cubicBezTo>
                  <a:cubicBezTo>
                    <a:pt x="190372" y="1732694"/>
                    <a:pt x="187963" y="1730048"/>
                    <a:pt x="186447" y="1726688"/>
                  </a:cubicBezTo>
                  <a:cubicBezTo>
                    <a:pt x="185674" y="1723001"/>
                    <a:pt x="188543" y="1718422"/>
                    <a:pt x="187428" y="1713487"/>
                  </a:cubicBezTo>
                  <a:cubicBezTo>
                    <a:pt x="186313" y="1708551"/>
                    <a:pt x="183027" y="1700761"/>
                    <a:pt x="179757" y="1697074"/>
                  </a:cubicBezTo>
                  <a:close/>
                  <a:moveTo>
                    <a:pt x="6065633" y="1680662"/>
                  </a:moveTo>
                  <a:cubicBezTo>
                    <a:pt x="6060816" y="1686162"/>
                    <a:pt x="6051986" y="1696658"/>
                    <a:pt x="6051986" y="1700910"/>
                  </a:cubicBezTo>
                  <a:cubicBezTo>
                    <a:pt x="6052253" y="1706202"/>
                    <a:pt x="6066436" y="1721842"/>
                    <a:pt x="6073482" y="1722496"/>
                  </a:cubicBezTo>
                  <a:cubicBezTo>
                    <a:pt x="6079310" y="1722644"/>
                    <a:pt x="6079875" y="1719582"/>
                    <a:pt x="6082402" y="1715271"/>
                  </a:cubicBezTo>
                  <a:cubicBezTo>
                    <a:pt x="6074315" y="1703824"/>
                    <a:pt x="6070955" y="1697996"/>
                    <a:pt x="6065633" y="1680662"/>
                  </a:cubicBezTo>
                  <a:close/>
                  <a:moveTo>
                    <a:pt x="19736" y="1680662"/>
                  </a:moveTo>
                  <a:cubicBezTo>
                    <a:pt x="14919" y="1686162"/>
                    <a:pt x="6089" y="1696658"/>
                    <a:pt x="6089" y="1700910"/>
                  </a:cubicBezTo>
                  <a:cubicBezTo>
                    <a:pt x="6356" y="1706202"/>
                    <a:pt x="20539" y="1721842"/>
                    <a:pt x="27585" y="1722496"/>
                  </a:cubicBezTo>
                  <a:cubicBezTo>
                    <a:pt x="33413" y="1722644"/>
                    <a:pt x="33978" y="1719582"/>
                    <a:pt x="36505" y="1715271"/>
                  </a:cubicBezTo>
                  <a:cubicBezTo>
                    <a:pt x="28418" y="1703824"/>
                    <a:pt x="25058" y="1697996"/>
                    <a:pt x="19736" y="1680662"/>
                  </a:cubicBezTo>
                  <a:close/>
                  <a:moveTo>
                    <a:pt x="6049245" y="1612371"/>
                  </a:moveTo>
                  <a:lnTo>
                    <a:pt x="6049044" y="1613888"/>
                  </a:lnTo>
                  <a:lnTo>
                    <a:pt x="6048978" y="1612628"/>
                  </a:lnTo>
                  <a:close/>
                  <a:moveTo>
                    <a:pt x="3348" y="1612371"/>
                  </a:moveTo>
                  <a:lnTo>
                    <a:pt x="3147" y="1613888"/>
                  </a:lnTo>
                  <a:lnTo>
                    <a:pt x="3081" y="1612628"/>
                  </a:lnTo>
                  <a:close/>
                  <a:moveTo>
                    <a:pt x="6251165" y="1585177"/>
                  </a:moveTo>
                  <a:cubicBezTo>
                    <a:pt x="6251127" y="1585348"/>
                    <a:pt x="6248269" y="1586410"/>
                    <a:pt x="6247173" y="1588031"/>
                  </a:cubicBezTo>
                  <a:cubicBezTo>
                    <a:pt x="6251710" y="1589543"/>
                    <a:pt x="6253304" y="1590966"/>
                    <a:pt x="6254095" y="1596401"/>
                  </a:cubicBezTo>
                  <a:cubicBezTo>
                    <a:pt x="6254309" y="1596360"/>
                    <a:pt x="6255803" y="1595155"/>
                    <a:pt x="6260976" y="1594675"/>
                  </a:cubicBezTo>
                  <a:cubicBezTo>
                    <a:pt x="6249232" y="1599373"/>
                    <a:pt x="6243285" y="1604428"/>
                    <a:pt x="6234752" y="1613853"/>
                  </a:cubicBezTo>
                  <a:cubicBezTo>
                    <a:pt x="6237451" y="1608546"/>
                    <a:pt x="6239750" y="1606296"/>
                    <a:pt x="6239769" y="1606230"/>
                  </a:cubicBezTo>
                  <a:cubicBezTo>
                    <a:pt x="6235302" y="1604713"/>
                    <a:pt x="6234046" y="1604355"/>
                    <a:pt x="6231987" y="1599269"/>
                  </a:cubicBezTo>
                  <a:cubicBezTo>
                    <a:pt x="6231716" y="1599418"/>
                    <a:pt x="6231266" y="1599187"/>
                    <a:pt x="6227170" y="1603328"/>
                  </a:cubicBezTo>
                  <a:cubicBezTo>
                    <a:pt x="6234366" y="1589175"/>
                    <a:pt x="6241115" y="1588268"/>
                    <a:pt x="6251165" y="1585177"/>
                  </a:cubicBezTo>
                  <a:close/>
                  <a:moveTo>
                    <a:pt x="205268" y="1585177"/>
                  </a:moveTo>
                  <a:cubicBezTo>
                    <a:pt x="205230" y="1585348"/>
                    <a:pt x="202372" y="1586410"/>
                    <a:pt x="201276" y="1588031"/>
                  </a:cubicBezTo>
                  <a:cubicBezTo>
                    <a:pt x="205813" y="1589543"/>
                    <a:pt x="207407" y="1590966"/>
                    <a:pt x="208198" y="1596401"/>
                  </a:cubicBezTo>
                  <a:cubicBezTo>
                    <a:pt x="208412" y="1596360"/>
                    <a:pt x="209906" y="1595155"/>
                    <a:pt x="215079" y="1594675"/>
                  </a:cubicBezTo>
                  <a:cubicBezTo>
                    <a:pt x="203335" y="1599373"/>
                    <a:pt x="197388" y="1604428"/>
                    <a:pt x="188855" y="1613853"/>
                  </a:cubicBezTo>
                  <a:cubicBezTo>
                    <a:pt x="191553" y="1608546"/>
                    <a:pt x="193853" y="1606296"/>
                    <a:pt x="193872" y="1606230"/>
                  </a:cubicBezTo>
                  <a:cubicBezTo>
                    <a:pt x="189405" y="1604713"/>
                    <a:pt x="188149" y="1604355"/>
                    <a:pt x="186090" y="1599269"/>
                  </a:cubicBezTo>
                  <a:cubicBezTo>
                    <a:pt x="185819" y="1599418"/>
                    <a:pt x="185369" y="1599187"/>
                    <a:pt x="181273" y="1603328"/>
                  </a:cubicBezTo>
                  <a:cubicBezTo>
                    <a:pt x="188469" y="1589175"/>
                    <a:pt x="195218" y="1588268"/>
                    <a:pt x="205268" y="1585177"/>
                  </a:cubicBezTo>
                  <a:close/>
                  <a:moveTo>
                    <a:pt x="6224596" y="1568764"/>
                  </a:moveTo>
                  <a:cubicBezTo>
                    <a:pt x="6225296" y="1568709"/>
                    <a:pt x="6226055" y="1568729"/>
                    <a:pt x="6226880" y="1568802"/>
                  </a:cubicBezTo>
                  <a:cubicBezTo>
                    <a:pt x="6229081" y="1568994"/>
                    <a:pt x="6231749" y="1569559"/>
                    <a:pt x="6235020" y="1570057"/>
                  </a:cubicBezTo>
                  <a:cubicBezTo>
                    <a:pt x="6223900" y="1571811"/>
                    <a:pt x="6220808" y="1578025"/>
                    <a:pt x="6216110" y="1588967"/>
                  </a:cubicBezTo>
                  <a:cubicBezTo>
                    <a:pt x="6217671" y="1573240"/>
                    <a:pt x="6219693" y="1569153"/>
                    <a:pt x="6224596" y="1568764"/>
                  </a:cubicBezTo>
                  <a:close/>
                  <a:moveTo>
                    <a:pt x="178699" y="1568764"/>
                  </a:moveTo>
                  <a:cubicBezTo>
                    <a:pt x="179399" y="1568709"/>
                    <a:pt x="180158" y="1568729"/>
                    <a:pt x="180983" y="1568802"/>
                  </a:cubicBezTo>
                  <a:cubicBezTo>
                    <a:pt x="183184" y="1568994"/>
                    <a:pt x="185852" y="1569559"/>
                    <a:pt x="189123" y="1570057"/>
                  </a:cubicBezTo>
                  <a:cubicBezTo>
                    <a:pt x="178003" y="1571811"/>
                    <a:pt x="174911" y="1578025"/>
                    <a:pt x="170213" y="1588967"/>
                  </a:cubicBezTo>
                  <a:cubicBezTo>
                    <a:pt x="171774" y="1573240"/>
                    <a:pt x="173796" y="1569153"/>
                    <a:pt x="178699" y="1568764"/>
                  </a:cubicBezTo>
                  <a:close/>
                  <a:moveTo>
                    <a:pt x="6327199" y="1546688"/>
                  </a:moveTo>
                  <a:cubicBezTo>
                    <a:pt x="6328797" y="1548743"/>
                    <a:pt x="6323936" y="1556484"/>
                    <a:pt x="6319002" y="1560609"/>
                  </a:cubicBezTo>
                  <a:cubicBezTo>
                    <a:pt x="6314067" y="1564731"/>
                    <a:pt x="6306797" y="1564309"/>
                    <a:pt x="6306826" y="1562599"/>
                  </a:cubicBezTo>
                  <a:cubicBezTo>
                    <a:pt x="6306854" y="1560891"/>
                    <a:pt x="6314571" y="1558622"/>
                    <a:pt x="6317967" y="1555970"/>
                  </a:cubicBezTo>
                  <a:cubicBezTo>
                    <a:pt x="6321362" y="1553318"/>
                    <a:pt x="6326070" y="1545701"/>
                    <a:pt x="6327199" y="1546688"/>
                  </a:cubicBezTo>
                  <a:close/>
                  <a:moveTo>
                    <a:pt x="281302" y="1546688"/>
                  </a:moveTo>
                  <a:cubicBezTo>
                    <a:pt x="282899" y="1548743"/>
                    <a:pt x="278039" y="1556484"/>
                    <a:pt x="273104" y="1560609"/>
                  </a:cubicBezTo>
                  <a:cubicBezTo>
                    <a:pt x="268170" y="1564731"/>
                    <a:pt x="260900" y="1564309"/>
                    <a:pt x="260929" y="1562599"/>
                  </a:cubicBezTo>
                  <a:cubicBezTo>
                    <a:pt x="260957" y="1560891"/>
                    <a:pt x="268674" y="1558622"/>
                    <a:pt x="272070" y="1555970"/>
                  </a:cubicBezTo>
                  <a:cubicBezTo>
                    <a:pt x="275465" y="1553318"/>
                    <a:pt x="280173" y="1545701"/>
                    <a:pt x="281302" y="1546688"/>
                  </a:cubicBezTo>
                  <a:close/>
                  <a:moveTo>
                    <a:pt x="6223262" y="1527682"/>
                  </a:moveTo>
                  <a:cubicBezTo>
                    <a:pt x="6225201" y="1527757"/>
                    <a:pt x="6227158" y="1527924"/>
                    <a:pt x="6229125" y="1528196"/>
                  </a:cubicBezTo>
                  <a:cubicBezTo>
                    <a:pt x="6244862" y="1530369"/>
                    <a:pt x="6265107" y="1546871"/>
                    <a:pt x="6272110" y="1557416"/>
                  </a:cubicBezTo>
                  <a:cubicBezTo>
                    <a:pt x="6281529" y="1559992"/>
                    <a:pt x="6287526" y="1573636"/>
                    <a:pt x="6289981" y="1578426"/>
                  </a:cubicBezTo>
                  <a:cubicBezTo>
                    <a:pt x="6292436" y="1583215"/>
                    <a:pt x="6289578" y="1585952"/>
                    <a:pt x="6286841" y="1586153"/>
                  </a:cubicBezTo>
                  <a:cubicBezTo>
                    <a:pt x="6286801" y="1586737"/>
                    <a:pt x="6295283" y="1593519"/>
                    <a:pt x="6299867" y="1596190"/>
                  </a:cubicBezTo>
                  <a:cubicBezTo>
                    <a:pt x="6303414" y="1580771"/>
                    <a:pt x="6298267" y="1570421"/>
                    <a:pt x="6298191" y="1559107"/>
                  </a:cubicBezTo>
                  <a:cubicBezTo>
                    <a:pt x="6303585" y="1549688"/>
                    <a:pt x="6308012" y="1553069"/>
                    <a:pt x="6313405" y="1549447"/>
                  </a:cubicBezTo>
                  <a:cubicBezTo>
                    <a:pt x="6316625" y="1545744"/>
                    <a:pt x="6319604" y="1537936"/>
                    <a:pt x="6325238" y="1538338"/>
                  </a:cubicBezTo>
                  <a:cubicBezTo>
                    <a:pt x="6335059" y="1538741"/>
                    <a:pt x="6347536" y="1557015"/>
                    <a:pt x="6347938" y="1600401"/>
                  </a:cubicBezTo>
                  <a:cubicBezTo>
                    <a:pt x="6348180" y="1634854"/>
                    <a:pt x="6334415" y="1657956"/>
                    <a:pt x="6310507" y="1668260"/>
                  </a:cubicBezTo>
                  <a:cubicBezTo>
                    <a:pt x="6298282" y="1671520"/>
                    <a:pt x="6287788" y="1671316"/>
                    <a:pt x="6278696" y="1668973"/>
                  </a:cubicBezTo>
                  <a:lnTo>
                    <a:pt x="6274716" y="1667587"/>
                  </a:lnTo>
                  <a:lnTo>
                    <a:pt x="6274239" y="1669848"/>
                  </a:lnTo>
                  <a:cubicBezTo>
                    <a:pt x="6269387" y="1688462"/>
                    <a:pt x="6255744" y="1689893"/>
                    <a:pt x="6249652" y="1689752"/>
                  </a:cubicBezTo>
                  <a:cubicBezTo>
                    <a:pt x="6242689" y="1689591"/>
                    <a:pt x="6232385" y="1683151"/>
                    <a:pt x="6228159" y="1680092"/>
                  </a:cubicBezTo>
                  <a:cubicBezTo>
                    <a:pt x="6228038" y="1684761"/>
                    <a:pt x="6229125" y="1686411"/>
                    <a:pt x="6227193" y="1692650"/>
                  </a:cubicBezTo>
                  <a:cubicBezTo>
                    <a:pt x="6232264" y="1695990"/>
                    <a:pt x="6235323" y="1707904"/>
                    <a:pt x="6236853" y="1713176"/>
                  </a:cubicBezTo>
                  <a:cubicBezTo>
                    <a:pt x="6238382" y="1718449"/>
                    <a:pt x="6236491" y="1719656"/>
                    <a:pt x="6236370" y="1724285"/>
                  </a:cubicBezTo>
                  <a:cubicBezTo>
                    <a:pt x="6236249" y="1728913"/>
                    <a:pt x="6241079" y="1732616"/>
                    <a:pt x="6238543" y="1738050"/>
                  </a:cubicBezTo>
                  <a:cubicBezTo>
                    <a:pt x="6236008" y="1743483"/>
                    <a:pt x="6229407" y="1743765"/>
                    <a:pt x="6222605" y="1743846"/>
                  </a:cubicBezTo>
                  <a:cubicBezTo>
                    <a:pt x="6215803" y="1743926"/>
                    <a:pt x="6200589" y="1748595"/>
                    <a:pt x="6197731" y="1738533"/>
                  </a:cubicBezTo>
                  <a:cubicBezTo>
                    <a:pt x="6197374" y="1737275"/>
                    <a:pt x="6197124" y="1735776"/>
                    <a:pt x="6196972" y="1734079"/>
                  </a:cubicBezTo>
                  <a:cubicBezTo>
                    <a:pt x="6196959" y="1733630"/>
                    <a:pt x="6196946" y="1733182"/>
                    <a:pt x="6196932" y="1732734"/>
                  </a:cubicBezTo>
                  <a:lnTo>
                    <a:pt x="6193193" y="1736278"/>
                  </a:lnTo>
                  <a:cubicBezTo>
                    <a:pt x="6184645" y="1744325"/>
                    <a:pt x="6176938" y="1750909"/>
                    <a:pt x="6169719" y="1750607"/>
                  </a:cubicBezTo>
                  <a:cubicBezTo>
                    <a:pt x="6157684" y="1748192"/>
                    <a:pt x="6148387" y="1729034"/>
                    <a:pt x="6146294" y="1722353"/>
                  </a:cubicBezTo>
                  <a:cubicBezTo>
                    <a:pt x="6144201" y="1715672"/>
                    <a:pt x="6151003" y="1714424"/>
                    <a:pt x="6157161" y="1710520"/>
                  </a:cubicBezTo>
                  <a:cubicBezTo>
                    <a:pt x="6151003" y="1714102"/>
                    <a:pt x="6134340" y="1711164"/>
                    <a:pt x="6132288" y="1708105"/>
                  </a:cubicBezTo>
                  <a:cubicBezTo>
                    <a:pt x="6132891" y="1714464"/>
                    <a:pt x="6132529" y="1715390"/>
                    <a:pt x="6131322" y="1718972"/>
                  </a:cubicBezTo>
                  <a:cubicBezTo>
                    <a:pt x="6130114" y="1722554"/>
                    <a:pt x="6126935" y="1724647"/>
                    <a:pt x="6125043" y="1729598"/>
                  </a:cubicBezTo>
                  <a:cubicBezTo>
                    <a:pt x="6123151" y="1734548"/>
                    <a:pt x="6127498" y="1746904"/>
                    <a:pt x="6119972" y="1748675"/>
                  </a:cubicBezTo>
                  <a:cubicBezTo>
                    <a:pt x="6112445" y="1750446"/>
                    <a:pt x="6089061" y="1749762"/>
                    <a:pt x="6079884" y="1740223"/>
                  </a:cubicBezTo>
                  <a:cubicBezTo>
                    <a:pt x="6076021" y="1735514"/>
                    <a:pt x="6082299" y="1728229"/>
                    <a:pt x="6080850" y="1726217"/>
                  </a:cubicBezTo>
                  <a:cubicBezTo>
                    <a:pt x="6079402" y="1724204"/>
                    <a:pt x="6076987" y="1732133"/>
                    <a:pt x="6071191" y="1728149"/>
                  </a:cubicBezTo>
                  <a:cubicBezTo>
                    <a:pt x="6065395" y="1724164"/>
                    <a:pt x="6047726" y="1711043"/>
                    <a:pt x="6046076" y="1702309"/>
                  </a:cubicBezTo>
                  <a:cubicBezTo>
                    <a:pt x="6044426" y="1693575"/>
                    <a:pt x="6054488" y="1684399"/>
                    <a:pt x="6061290" y="1675746"/>
                  </a:cubicBezTo>
                  <a:cubicBezTo>
                    <a:pt x="6059640" y="1666368"/>
                    <a:pt x="6058955" y="1660089"/>
                    <a:pt x="6062739" y="1649182"/>
                  </a:cubicBezTo>
                  <a:cubicBezTo>
                    <a:pt x="6057667" y="1646083"/>
                    <a:pt x="6046639" y="1641696"/>
                    <a:pt x="6047283" y="1627206"/>
                  </a:cubicBezTo>
                  <a:lnTo>
                    <a:pt x="6049044" y="1613888"/>
                  </a:lnTo>
                  <a:lnTo>
                    <a:pt x="6049503" y="1622608"/>
                  </a:lnTo>
                  <a:lnTo>
                    <a:pt x="6050326" y="1623003"/>
                  </a:lnTo>
                  <a:lnTo>
                    <a:pt x="6050449" y="1624178"/>
                  </a:lnTo>
                  <a:cubicBezTo>
                    <a:pt x="6051473" y="1632556"/>
                    <a:pt x="6054216" y="1641839"/>
                    <a:pt x="6070004" y="1638025"/>
                  </a:cubicBezTo>
                  <a:cubicBezTo>
                    <a:pt x="6063214" y="1674057"/>
                    <a:pt x="6078550" y="1691924"/>
                    <a:pt x="6088227" y="1708655"/>
                  </a:cubicBezTo>
                  <a:lnTo>
                    <a:pt x="6089189" y="1710504"/>
                  </a:lnTo>
                  <a:lnTo>
                    <a:pt x="6089155" y="1711372"/>
                  </a:lnTo>
                  <a:cubicBezTo>
                    <a:pt x="6088864" y="1716480"/>
                    <a:pt x="6088133" y="1720020"/>
                    <a:pt x="6087754" y="1724815"/>
                  </a:cubicBezTo>
                  <a:cubicBezTo>
                    <a:pt x="6086654" y="1728591"/>
                    <a:pt x="6083948" y="1728174"/>
                    <a:pt x="6084454" y="1736143"/>
                  </a:cubicBezTo>
                  <a:cubicBezTo>
                    <a:pt x="6084781" y="1741108"/>
                    <a:pt x="6113919" y="1749106"/>
                    <a:pt x="6118617" y="1742743"/>
                  </a:cubicBezTo>
                  <a:cubicBezTo>
                    <a:pt x="6119984" y="1740543"/>
                    <a:pt x="6119390" y="1735489"/>
                    <a:pt x="6119776" y="1731861"/>
                  </a:cubicBezTo>
                  <a:cubicBezTo>
                    <a:pt x="6120371" y="1727818"/>
                    <a:pt x="6125604" y="1723417"/>
                    <a:pt x="6126377" y="1717679"/>
                  </a:cubicBezTo>
                  <a:cubicBezTo>
                    <a:pt x="6126882" y="1713115"/>
                    <a:pt x="6126830" y="1707949"/>
                    <a:pt x="6126656" y="1702571"/>
                  </a:cubicBezTo>
                  <a:lnTo>
                    <a:pt x="6126448" y="1696892"/>
                  </a:lnTo>
                  <a:lnTo>
                    <a:pt x="6128036" y="1698741"/>
                  </a:lnTo>
                  <a:cubicBezTo>
                    <a:pt x="6138309" y="1709219"/>
                    <a:pt x="6160097" y="1712747"/>
                    <a:pt x="6167408" y="1696539"/>
                  </a:cubicBezTo>
                  <a:cubicBezTo>
                    <a:pt x="6167497" y="1701742"/>
                    <a:pt x="6169192" y="1703734"/>
                    <a:pt x="6168300" y="1710276"/>
                  </a:cubicBezTo>
                  <a:cubicBezTo>
                    <a:pt x="6165743" y="1714408"/>
                    <a:pt x="6154355" y="1715330"/>
                    <a:pt x="6151263" y="1722942"/>
                  </a:cubicBezTo>
                  <a:cubicBezTo>
                    <a:pt x="6150341" y="1726123"/>
                    <a:pt x="6162443" y="1745182"/>
                    <a:pt x="6170173" y="1745865"/>
                  </a:cubicBezTo>
                  <a:cubicBezTo>
                    <a:pt x="6175792" y="1746519"/>
                    <a:pt x="6186229" y="1735489"/>
                    <a:pt x="6205228" y="1718125"/>
                  </a:cubicBezTo>
                  <a:cubicBezTo>
                    <a:pt x="6208169" y="1715437"/>
                    <a:pt x="6219291" y="1694339"/>
                    <a:pt x="6224316" y="1676291"/>
                  </a:cubicBezTo>
                  <a:cubicBezTo>
                    <a:pt x="6219194" y="1673719"/>
                    <a:pt x="6211772" y="1667591"/>
                    <a:pt x="6207453" y="1658029"/>
                  </a:cubicBezTo>
                  <a:lnTo>
                    <a:pt x="6207259" y="1657520"/>
                  </a:lnTo>
                  <a:lnTo>
                    <a:pt x="6209877" y="1659168"/>
                  </a:lnTo>
                  <a:cubicBezTo>
                    <a:pt x="6216467" y="1663558"/>
                    <a:pt x="6223157" y="1668375"/>
                    <a:pt x="6229044" y="1669780"/>
                  </a:cubicBezTo>
                  <a:cubicBezTo>
                    <a:pt x="6233385" y="1674775"/>
                    <a:pt x="6238439" y="1682713"/>
                    <a:pt x="6250362" y="1684230"/>
                  </a:cubicBezTo>
                  <a:cubicBezTo>
                    <a:pt x="6260530" y="1685954"/>
                    <a:pt x="6267755" y="1676351"/>
                    <a:pt x="6271323" y="1665855"/>
                  </a:cubicBezTo>
                  <a:lnTo>
                    <a:pt x="6268023" y="1665588"/>
                  </a:lnTo>
                  <a:cubicBezTo>
                    <a:pt x="6252859" y="1691009"/>
                    <a:pt x="6236833" y="1667824"/>
                    <a:pt x="6240230" y="1643440"/>
                  </a:cubicBezTo>
                  <a:lnTo>
                    <a:pt x="6241155" y="1638664"/>
                  </a:lnTo>
                  <a:lnTo>
                    <a:pt x="6242907" y="1640573"/>
                  </a:lnTo>
                  <a:cubicBezTo>
                    <a:pt x="6273179" y="1671425"/>
                    <a:pt x="6299649" y="1666914"/>
                    <a:pt x="6314674" y="1658720"/>
                  </a:cubicBezTo>
                  <a:cubicBezTo>
                    <a:pt x="6355823" y="1633357"/>
                    <a:pt x="6343767" y="1545829"/>
                    <a:pt x="6326537" y="1541603"/>
                  </a:cubicBezTo>
                  <a:cubicBezTo>
                    <a:pt x="6322597" y="1540636"/>
                    <a:pt x="6319847" y="1550790"/>
                    <a:pt x="6317260" y="1552307"/>
                  </a:cubicBezTo>
                  <a:cubicBezTo>
                    <a:pt x="6309322" y="1556499"/>
                    <a:pt x="6305843" y="1555874"/>
                    <a:pt x="6303702" y="1559175"/>
                  </a:cubicBezTo>
                  <a:cubicBezTo>
                    <a:pt x="6299465" y="1565363"/>
                    <a:pt x="6315063" y="1601185"/>
                    <a:pt x="6295225" y="1619971"/>
                  </a:cubicBezTo>
                  <a:lnTo>
                    <a:pt x="6293745" y="1621138"/>
                  </a:lnTo>
                  <a:lnTo>
                    <a:pt x="6294056" y="1620537"/>
                  </a:lnTo>
                  <a:cubicBezTo>
                    <a:pt x="6297815" y="1613273"/>
                    <a:pt x="6301762" y="1604955"/>
                    <a:pt x="6297280" y="1601454"/>
                  </a:cubicBezTo>
                  <a:cubicBezTo>
                    <a:pt x="6292017" y="1597262"/>
                    <a:pt x="6288717" y="1600473"/>
                    <a:pt x="6284703" y="1603863"/>
                  </a:cubicBezTo>
                  <a:cubicBezTo>
                    <a:pt x="6287290" y="1600919"/>
                    <a:pt x="6290412" y="1600384"/>
                    <a:pt x="6286041" y="1593427"/>
                  </a:cubicBezTo>
                  <a:cubicBezTo>
                    <a:pt x="6282562" y="1591078"/>
                    <a:pt x="6280689" y="1591672"/>
                    <a:pt x="6274267" y="1593337"/>
                  </a:cubicBezTo>
                  <a:cubicBezTo>
                    <a:pt x="6278340" y="1590305"/>
                    <a:pt x="6279648" y="1591464"/>
                    <a:pt x="6277656" y="1585577"/>
                  </a:cubicBezTo>
                  <a:cubicBezTo>
                    <a:pt x="6274936" y="1581920"/>
                    <a:pt x="6273570" y="1582227"/>
                    <a:pt x="6270849" y="1582433"/>
                  </a:cubicBezTo>
                  <a:lnTo>
                    <a:pt x="6268963" y="1582446"/>
                  </a:lnTo>
                  <a:lnTo>
                    <a:pt x="6270514" y="1581889"/>
                  </a:lnTo>
                  <a:cubicBezTo>
                    <a:pt x="6271384" y="1581596"/>
                    <a:pt x="6272171" y="1581359"/>
                    <a:pt x="6272840" y="1581207"/>
                  </a:cubicBezTo>
                  <a:cubicBezTo>
                    <a:pt x="6278192" y="1579988"/>
                    <a:pt x="6284049" y="1581667"/>
                    <a:pt x="6284079" y="1578620"/>
                  </a:cubicBezTo>
                  <a:cubicBezTo>
                    <a:pt x="6284733" y="1575290"/>
                    <a:pt x="6276378" y="1564913"/>
                    <a:pt x="6272661" y="1564081"/>
                  </a:cubicBezTo>
                  <a:cubicBezTo>
                    <a:pt x="6270677" y="1563456"/>
                    <a:pt x="6265481" y="1562933"/>
                    <a:pt x="6260762" y="1562621"/>
                  </a:cubicBezTo>
                  <a:lnTo>
                    <a:pt x="6259663" y="1562563"/>
                  </a:lnTo>
                  <a:lnTo>
                    <a:pt x="6259672" y="1562539"/>
                  </a:lnTo>
                  <a:cubicBezTo>
                    <a:pt x="6260792" y="1560992"/>
                    <a:pt x="6264522" y="1560424"/>
                    <a:pt x="6267399" y="1560156"/>
                  </a:cubicBezTo>
                  <a:cubicBezTo>
                    <a:pt x="6255327" y="1544219"/>
                    <a:pt x="6239063" y="1533991"/>
                    <a:pt x="6225030" y="1534200"/>
                  </a:cubicBezTo>
                  <a:cubicBezTo>
                    <a:pt x="6208112" y="1534705"/>
                    <a:pt x="6186912" y="1539046"/>
                    <a:pt x="6174900" y="1557658"/>
                  </a:cubicBezTo>
                  <a:cubicBezTo>
                    <a:pt x="6181040" y="1557592"/>
                    <a:pt x="6185608" y="1557619"/>
                    <a:pt x="6189037" y="1557983"/>
                  </a:cubicBezTo>
                  <a:lnTo>
                    <a:pt x="6189610" y="1558067"/>
                  </a:lnTo>
                  <a:lnTo>
                    <a:pt x="6187216" y="1558718"/>
                  </a:lnTo>
                  <a:cubicBezTo>
                    <a:pt x="6174496" y="1561777"/>
                    <a:pt x="6165635" y="1561320"/>
                    <a:pt x="6162783" y="1563799"/>
                  </a:cubicBezTo>
                  <a:cubicBezTo>
                    <a:pt x="6156821" y="1567971"/>
                    <a:pt x="6118212" y="1603540"/>
                    <a:pt x="6116620" y="1623678"/>
                  </a:cubicBezTo>
                  <a:cubicBezTo>
                    <a:pt x="6120709" y="1634368"/>
                    <a:pt x="6121478" y="1626814"/>
                    <a:pt x="6130507" y="1645641"/>
                  </a:cubicBezTo>
                  <a:lnTo>
                    <a:pt x="6144916" y="1629215"/>
                  </a:lnTo>
                  <a:lnTo>
                    <a:pt x="6128058" y="1664085"/>
                  </a:lnTo>
                  <a:cubicBezTo>
                    <a:pt x="6132262" y="1670223"/>
                    <a:pt x="6135127" y="1673508"/>
                    <a:pt x="6143880" y="1673403"/>
                  </a:cubicBezTo>
                  <a:cubicBezTo>
                    <a:pt x="6153228" y="1672163"/>
                    <a:pt x="6161862" y="1664501"/>
                    <a:pt x="6170852" y="1660051"/>
                  </a:cubicBezTo>
                  <a:cubicBezTo>
                    <a:pt x="6179738" y="1656352"/>
                    <a:pt x="6182379" y="1658898"/>
                    <a:pt x="6188143" y="1658321"/>
                  </a:cubicBezTo>
                  <a:cubicBezTo>
                    <a:pt x="6200288" y="1625380"/>
                    <a:pt x="6181213" y="1625531"/>
                    <a:pt x="6194339" y="1589735"/>
                  </a:cubicBezTo>
                  <a:cubicBezTo>
                    <a:pt x="6189673" y="1618649"/>
                    <a:pt x="6208199" y="1618663"/>
                    <a:pt x="6195059" y="1667111"/>
                  </a:cubicBezTo>
                  <a:lnTo>
                    <a:pt x="6192966" y="1666768"/>
                  </a:lnTo>
                  <a:lnTo>
                    <a:pt x="6190315" y="1666090"/>
                  </a:lnTo>
                  <a:lnTo>
                    <a:pt x="6187599" y="1665666"/>
                  </a:lnTo>
                  <a:lnTo>
                    <a:pt x="6186838" y="1665490"/>
                  </a:lnTo>
                  <a:cubicBezTo>
                    <a:pt x="6184783" y="1665084"/>
                    <a:pt x="6182621" y="1664867"/>
                    <a:pt x="6180113" y="1665262"/>
                  </a:cubicBezTo>
                  <a:lnTo>
                    <a:pt x="6179134" y="1665490"/>
                  </a:lnTo>
                  <a:lnTo>
                    <a:pt x="6178542" y="1665541"/>
                  </a:lnTo>
                  <a:cubicBezTo>
                    <a:pt x="6165429" y="1667583"/>
                    <a:pt x="6160606" y="1679146"/>
                    <a:pt x="6139578" y="1681375"/>
                  </a:cubicBezTo>
                  <a:cubicBezTo>
                    <a:pt x="6133308" y="1680153"/>
                    <a:pt x="6123282" y="1670940"/>
                    <a:pt x="6117388" y="1663777"/>
                  </a:cubicBezTo>
                  <a:lnTo>
                    <a:pt x="6116933" y="1663187"/>
                  </a:lnTo>
                  <a:lnTo>
                    <a:pt x="6118644" y="1660328"/>
                  </a:lnTo>
                  <a:cubicBezTo>
                    <a:pt x="6120471" y="1657482"/>
                    <a:pt x="6122471" y="1654573"/>
                    <a:pt x="6124682" y="1651583"/>
                  </a:cubicBezTo>
                  <a:cubicBezTo>
                    <a:pt x="6120817" y="1641207"/>
                    <a:pt x="6110618" y="1637609"/>
                    <a:pt x="6107734" y="1624735"/>
                  </a:cubicBezTo>
                  <a:cubicBezTo>
                    <a:pt x="6112402" y="1611415"/>
                    <a:pt x="6114305" y="1602734"/>
                    <a:pt x="6137794" y="1578887"/>
                  </a:cubicBezTo>
                  <a:cubicBezTo>
                    <a:pt x="6075356" y="1587837"/>
                    <a:pt x="6075541" y="1638103"/>
                    <a:pt x="6058278" y="1625950"/>
                  </a:cubicBezTo>
                  <a:lnTo>
                    <a:pt x="6054677" y="1622709"/>
                  </a:lnTo>
                  <a:lnTo>
                    <a:pt x="6055730" y="1622118"/>
                  </a:lnTo>
                  <a:cubicBezTo>
                    <a:pt x="6062093" y="1617832"/>
                    <a:pt x="6054558" y="1611660"/>
                    <a:pt x="6059657" y="1602346"/>
                  </a:cubicBezTo>
                  <a:lnTo>
                    <a:pt x="6049245" y="1612371"/>
                  </a:lnTo>
                  <a:lnTo>
                    <a:pt x="6050151" y="1605518"/>
                  </a:lnTo>
                  <a:cubicBezTo>
                    <a:pt x="6055212" y="1600482"/>
                    <a:pt x="6062055" y="1597644"/>
                    <a:pt x="6063705" y="1597020"/>
                  </a:cubicBezTo>
                  <a:cubicBezTo>
                    <a:pt x="6060605" y="1606479"/>
                    <a:pt x="6067367" y="1613080"/>
                    <a:pt x="6063705" y="1620686"/>
                  </a:cubicBezTo>
                  <a:cubicBezTo>
                    <a:pt x="6098922" y="1575890"/>
                    <a:pt x="6123232" y="1573032"/>
                    <a:pt x="6139532" y="1572630"/>
                  </a:cubicBezTo>
                  <a:cubicBezTo>
                    <a:pt x="6152211" y="1561361"/>
                    <a:pt x="6153297" y="1558422"/>
                    <a:pt x="6161991" y="1556208"/>
                  </a:cubicBezTo>
                  <a:lnTo>
                    <a:pt x="6167986" y="1555580"/>
                  </a:lnTo>
                  <a:lnTo>
                    <a:pt x="6168681" y="1554093"/>
                  </a:lnTo>
                  <a:cubicBezTo>
                    <a:pt x="6174017" y="1543496"/>
                    <a:pt x="6178674" y="1540190"/>
                    <a:pt x="6187831" y="1535682"/>
                  </a:cubicBezTo>
                  <a:cubicBezTo>
                    <a:pt x="6196987" y="1531174"/>
                    <a:pt x="6209687" y="1527159"/>
                    <a:pt x="6223262" y="1527682"/>
                  </a:cubicBezTo>
                  <a:close/>
                  <a:moveTo>
                    <a:pt x="177365" y="1527682"/>
                  </a:moveTo>
                  <a:cubicBezTo>
                    <a:pt x="179304" y="1527757"/>
                    <a:pt x="181261" y="1527924"/>
                    <a:pt x="183228" y="1528196"/>
                  </a:cubicBezTo>
                  <a:cubicBezTo>
                    <a:pt x="198965" y="1530369"/>
                    <a:pt x="219210" y="1546871"/>
                    <a:pt x="226214" y="1557416"/>
                  </a:cubicBezTo>
                  <a:cubicBezTo>
                    <a:pt x="235632" y="1559992"/>
                    <a:pt x="241629" y="1573636"/>
                    <a:pt x="244084" y="1578426"/>
                  </a:cubicBezTo>
                  <a:cubicBezTo>
                    <a:pt x="246539" y="1583215"/>
                    <a:pt x="243681" y="1585952"/>
                    <a:pt x="240944" y="1586153"/>
                  </a:cubicBezTo>
                  <a:cubicBezTo>
                    <a:pt x="240904" y="1586737"/>
                    <a:pt x="249386" y="1593519"/>
                    <a:pt x="253970" y="1596190"/>
                  </a:cubicBezTo>
                  <a:cubicBezTo>
                    <a:pt x="257517" y="1580771"/>
                    <a:pt x="252370" y="1570421"/>
                    <a:pt x="252294" y="1559107"/>
                  </a:cubicBezTo>
                  <a:cubicBezTo>
                    <a:pt x="257688" y="1549688"/>
                    <a:pt x="262115" y="1553069"/>
                    <a:pt x="267508" y="1549447"/>
                  </a:cubicBezTo>
                  <a:cubicBezTo>
                    <a:pt x="270728" y="1545744"/>
                    <a:pt x="273707" y="1537936"/>
                    <a:pt x="279341" y="1538338"/>
                  </a:cubicBezTo>
                  <a:cubicBezTo>
                    <a:pt x="289162" y="1538741"/>
                    <a:pt x="301639" y="1557015"/>
                    <a:pt x="302041" y="1600401"/>
                  </a:cubicBezTo>
                  <a:cubicBezTo>
                    <a:pt x="302283" y="1634854"/>
                    <a:pt x="288518" y="1657956"/>
                    <a:pt x="264610" y="1668260"/>
                  </a:cubicBezTo>
                  <a:cubicBezTo>
                    <a:pt x="252385" y="1671520"/>
                    <a:pt x="241891" y="1671316"/>
                    <a:pt x="232799" y="1668973"/>
                  </a:cubicBezTo>
                  <a:lnTo>
                    <a:pt x="228819" y="1667587"/>
                  </a:lnTo>
                  <a:lnTo>
                    <a:pt x="228342" y="1669848"/>
                  </a:lnTo>
                  <a:cubicBezTo>
                    <a:pt x="223490" y="1688462"/>
                    <a:pt x="209847" y="1689893"/>
                    <a:pt x="203755" y="1689752"/>
                  </a:cubicBezTo>
                  <a:cubicBezTo>
                    <a:pt x="196792" y="1689591"/>
                    <a:pt x="186488" y="1683151"/>
                    <a:pt x="182262" y="1680092"/>
                  </a:cubicBezTo>
                  <a:cubicBezTo>
                    <a:pt x="182141" y="1684761"/>
                    <a:pt x="183228" y="1686411"/>
                    <a:pt x="181296" y="1692650"/>
                  </a:cubicBezTo>
                  <a:cubicBezTo>
                    <a:pt x="186368" y="1695990"/>
                    <a:pt x="189426" y="1707904"/>
                    <a:pt x="190956" y="1713176"/>
                  </a:cubicBezTo>
                  <a:cubicBezTo>
                    <a:pt x="192485" y="1718449"/>
                    <a:pt x="190594" y="1719656"/>
                    <a:pt x="190473" y="1724285"/>
                  </a:cubicBezTo>
                  <a:cubicBezTo>
                    <a:pt x="190352" y="1728913"/>
                    <a:pt x="195182" y="1732616"/>
                    <a:pt x="192646" y="1738050"/>
                  </a:cubicBezTo>
                  <a:cubicBezTo>
                    <a:pt x="190110" y="1743483"/>
                    <a:pt x="183510" y="1743765"/>
                    <a:pt x="176708" y="1743846"/>
                  </a:cubicBezTo>
                  <a:cubicBezTo>
                    <a:pt x="169906" y="1743926"/>
                    <a:pt x="154692" y="1748595"/>
                    <a:pt x="151834" y="1738533"/>
                  </a:cubicBezTo>
                  <a:cubicBezTo>
                    <a:pt x="151477" y="1737275"/>
                    <a:pt x="151227" y="1735776"/>
                    <a:pt x="151075" y="1734079"/>
                  </a:cubicBezTo>
                  <a:cubicBezTo>
                    <a:pt x="151062" y="1733630"/>
                    <a:pt x="151049" y="1733182"/>
                    <a:pt x="151035" y="1732734"/>
                  </a:cubicBezTo>
                  <a:lnTo>
                    <a:pt x="147296" y="1736278"/>
                  </a:lnTo>
                  <a:cubicBezTo>
                    <a:pt x="138748" y="1744325"/>
                    <a:pt x="131041" y="1750909"/>
                    <a:pt x="123822" y="1750607"/>
                  </a:cubicBezTo>
                  <a:cubicBezTo>
                    <a:pt x="111787" y="1748192"/>
                    <a:pt x="102490" y="1729034"/>
                    <a:pt x="100397" y="1722353"/>
                  </a:cubicBezTo>
                  <a:cubicBezTo>
                    <a:pt x="98304" y="1715672"/>
                    <a:pt x="105106" y="1714424"/>
                    <a:pt x="111264" y="1710520"/>
                  </a:cubicBezTo>
                  <a:cubicBezTo>
                    <a:pt x="105106" y="1714102"/>
                    <a:pt x="88444" y="1711164"/>
                    <a:pt x="86391" y="1708105"/>
                  </a:cubicBezTo>
                  <a:cubicBezTo>
                    <a:pt x="86994" y="1714464"/>
                    <a:pt x="86632" y="1715390"/>
                    <a:pt x="85425" y="1718972"/>
                  </a:cubicBezTo>
                  <a:cubicBezTo>
                    <a:pt x="84217" y="1722554"/>
                    <a:pt x="81038" y="1724647"/>
                    <a:pt x="79146" y="1729598"/>
                  </a:cubicBezTo>
                  <a:cubicBezTo>
                    <a:pt x="77254" y="1734548"/>
                    <a:pt x="81601" y="1746904"/>
                    <a:pt x="74075" y="1748675"/>
                  </a:cubicBezTo>
                  <a:cubicBezTo>
                    <a:pt x="66548" y="1750446"/>
                    <a:pt x="43164" y="1749762"/>
                    <a:pt x="33987" y="1740223"/>
                  </a:cubicBezTo>
                  <a:cubicBezTo>
                    <a:pt x="30124" y="1735514"/>
                    <a:pt x="36402" y="1728229"/>
                    <a:pt x="34953" y="1726217"/>
                  </a:cubicBezTo>
                  <a:cubicBezTo>
                    <a:pt x="33505" y="1724204"/>
                    <a:pt x="31090" y="1732133"/>
                    <a:pt x="25294" y="1728149"/>
                  </a:cubicBezTo>
                  <a:cubicBezTo>
                    <a:pt x="19498" y="1724164"/>
                    <a:pt x="1829" y="1711043"/>
                    <a:pt x="179" y="1702309"/>
                  </a:cubicBezTo>
                  <a:cubicBezTo>
                    <a:pt x="-1471" y="1693575"/>
                    <a:pt x="8591" y="1684399"/>
                    <a:pt x="15393" y="1675746"/>
                  </a:cubicBezTo>
                  <a:cubicBezTo>
                    <a:pt x="13743" y="1666368"/>
                    <a:pt x="13058" y="1660089"/>
                    <a:pt x="16842" y="1649182"/>
                  </a:cubicBezTo>
                  <a:cubicBezTo>
                    <a:pt x="11770" y="1646083"/>
                    <a:pt x="742" y="1641696"/>
                    <a:pt x="1386" y="1627206"/>
                  </a:cubicBezTo>
                  <a:lnTo>
                    <a:pt x="3147" y="1613888"/>
                  </a:lnTo>
                  <a:lnTo>
                    <a:pt x="3606" y="1622608"/>
                  </a:lnTo>
                  <a:lnTo>
                    <a:pt x="4429" y="1623003"/>
                  </a:lnTo>
                  <a:lnTo>
                    <a:pt x="4552" y="1624178"/>
                  </a:lnTo>
                  <a:cubicBezTo>
                    <a:pt x="5576" y="1632556"/>
                    <a:pt x="8319" y="1641839"/>
                    <a:pt x="24107" y="1638025"/>
                  </a:cubicBezTo>
                  <a:cubicBezTo>
                    <a:pt x="17316" y="1674057"/>
                    <a:pt x="32653" y="1691924"/>
                    <a:pt x="42330" y="1708655"/>
                  </a:cubicBezTo>
                  <a:lnTo>
                    <a:pt x="43292" y="1710504"/>
                  </a:lnTo>
                  <a:lnTo>
                    <a:pt x="43258" y="1711372"/>
                  </a:lnTo>
                  <a:cubicBezTo>
                    <a:pt x="42967" y="1716480"/>
                    <a:pt x="42236" y="1720020"/>
                    <a:pt x="41857" y="1724815"/>
                  </a:cubicBezTo>
                  <a:cubicBezTo>
                    <a:pt x="40757" y="1728591"/>
                    <a:pt x="38051" y="1728174"/>
                    <a:pt x="38557" y="1736143"/>
                  </a:cubicBezTo>
                  <a:cubicBezTo>
                    <a:pt x="38884" y="1741108"/>
                    <a:pt x="68022" y="1749106"/>
                    <a:pt x="72720" y="1742743"/>
                  </a:cubicBezTo>
                  <a:cubicBezTo>
                    <a:pt x="74087" y="1740543"/>
                    <a:pt x="73493" y="1735489"/>
                    <a:pt x="73879" y="1731861"/>
                  </a:cubicBezTo>
                  <a:cubicBezTo>
                    <a:pt x="74474" y="1727818"/>
                    <a:pt x="79707" y="1723417"/>
                    <a:pt x="80480" y="1717679"/>
                  </a:cubicBezTo>
                  <a:cubicBezTo>
                    <a:pt x="80985" y="1713115"/>
                    <a:pt x="80933" y="1707949"/>
                    <a:pt x="80759" y="1702571"/>
                  </a:cubicBezTo>
                  <a:lnTo>
                    <a:pt x="80551" y="1696892"/>
                  </a:lnTo>
                  <a:lnTo>
                    <a:pt x="82139" y="1698741"/>
                  </a:lnTo>
                  <a:cubicBezTo>
                    <a:pt x="92412" y="1709219"/>
                    <a:pt x="114200" y="1712747"/>
                    <a:pt x="121511" y="1696539"/>
                  </a:cubicBezTo>
                  <a:cubicBezTo>
                    <a:pt x="121600" y="1701742"/>
                    <a:pt x="123295" y="1703734"/>
                    <a:pt x="122403" y="1710276"/>
                  </a:cubicBezTo>
                  <a:cubicBezTo>
                    <a:pt x="119846" y="1714408"/>
                    <a:pt x="108458" y="1715330"/>
                    <a:pt x="105366" y="1722942"/>
                  </a:cubicBezTo>
                  <a:cubicBezTo>
                    <a:pt x="104444" y="1726123"/>
                    <a:pt x="116546" y="1745182"/>
                    <a:pt x="124276" y="1745865"/>
                  </a:cubicBezTo>
                  <a:cubicBezTo>
                    <a:pt x="129895" y="1746519"/>
                    <a:pt x="140332" y="1735489"/>
                    <a:pt x="159331" y="1718125"/>
                  </a:cubicBezTo>
                  <a:cubicBezTo>
                    <a:pt x="162272" y="1715437"/>
                    <a:pt x="173394" y="1694339"/>
                    <a:pt x="178419" y="1676291"/>
                  </a:cubicBezTo>
                  <a:cubicBezTo>
                    <a:pt x="173297" y="1673719"/>
                    <a:pt x="165875" y="1667591"/>
                    <a:pt x="161556" y="1658029"/>
                  </a:cubicBezTo>
                  <a:lnTo>
                    <a:pt x="161362" y="1657520"/>
                  </a:lnTo>
                  <a:lnTo>
                    <a:pt x="163980" y="1659168"/>
                  </a:lnTo>
                  <a:cubicBezTo>
                    <a:pt x="170570" y="1663558"/>
                    <a:pt x="177260" y="1668375"/>
                    <a:pt x="183147" y="1669780"/>
                  </a:cubicBezTo>
                  <a:cubicBezTo>
                    <a:pt x="187488" y="1674775"/>
                    <a:pt x="192542" y="1682713"/>
                    <a:pt x="204465" y="1684230"/>
                  </a:cubicBezTo>
                  <a:cubicBezTo>
                    <a:pt x="214633" y="1685954"/>
                    <a:pt x="221858" y="1676351"/>
                    <a:pt x="225426" y="1665855"/>
                  </a:cubicBezTo>
                  <a:lnTo>
                    <a:pt x="222126" y="1665588"/>
                  </a:lnTo>
                  <a:cubicBezTo>
                    <a:pt x="206962" y="1691009"/>
                    <a:pt x="190936" y="1667824"/>
                    <a:pt x="194333" y="1643440"/>
                  </a:cubicBezTo>
                  <a:lnTo>
                    <a:pt x="195257" y="1638664"/>
                  </a:lnTo>
                  <a:lnTo>
                    <a:pt x="197010" y="1640573"/>
                  </a:lnTo>
                  <a:cubicBezTo>
                    <a:pt x="227282" y="1671425"/>
                    <a:pt x="253752" y="1666914"/>
                    <a:pt x="268777" y="1658720"/>
                  </a:cubicBezTo>
                  <a:cubicBezTo>
                    <a:pt x="309926" y="1633357"/>
                    <a:pt x="297870" y="1545829"/>
                    <a:pt x="280640" y="1541603"/>
                  </a:cubicBezTo>
                  <a:cubicBezTo>
                    <a:pt x="276700" y="1540636"/>
                    <a:pt x="273950" y="1550790"/>
                    <a:pt x="271363" y="1552307"/>
                  </a:cubicBezTo>
                  <a:cubicBezTo>
                    <a:pt x="263425" y="1556499"/>
                    <a:pt x="259946" y="1555874"/>
                    <a:pt x="257805" y="1559175"/>
                  </a:cubicBezTo>
                  <a:cubicBezTo>
                    <a:pt x="253568" y="1565363"/>
                    <a:pt x="269166" y="1601185"/>
                    <a:pt x="249328" y="1619971"/>
                  </a:cubicBezTo>
                  <a:lnTo>
                    <a:pt x="247848" y="1621138"/>
                  </a:lnTo>
                  <a:lnTo>
                    <a:pt x="248159" y="1620537"/>
                  </a:lnTo>
                  <a:cubicBezTo>
                    <a:pt x="251918" y="1613273"/>
                    <a:pt x="255865" y="1604955"/>
                    <a:pt x="251383" y="1601454"/>
                  </a:cubicBezTo>
                  <a:cubicBezTo>
                    <a:pt x="246120" y="1597262"/>
                    <a:pt x="242820" y="1600473"/>
                    <a:pt x="238806" y="1603863"/>
                  </a:cubicBezTo>
                  <a:cubicBezTo>
                    <a:pt x="241393" y="1600919"/>
                    <a:pt x="244515" y="1600384"/>
                    <a:pt x="240144" y="1593427"/>
                  </a:cubicBezTo>
                  <a:cubicBezTo>
                    <a:pt x="236665" y="1591078"/>
                    <a:pt x="234792" y="1591672"/>
                    <a:pt x="228370" y="1593337"/>
                  </a:cubicBezTo>
                  <a:cubicBezTo>
                    <a:pt x="232443" y="1590305"/>
                    <a:pt x="233751" y="1591464"/>
                    <a:pt x="231759" y="1585577"/>
                  </a:cubicBezTo>
                  <a:cubicBezTo>
                    <a:pt x="229039" y="1581920"/>
                    <a:pt x="227673" y="1582227"/>
                    <a:pt x="224953" y="1582433"/>
                  </a:cubicBezTo>
                  <a:lnTo>
                    <a:pt x="223066" y="1582446"/>
                  </a:lnTo>
                  <a:lnTo>
                    <a:pt x="224617" y="1581889"/>
                  </a:lnTo>
                  <a:cubicBezTo>
                    <a:pt x="225487" y="1581596"/>
                    <a:pt x="226274" y="1581359"/>
                    <a:pt x="226943" y="1581207"/>
                  </a:cubicBezTo>
                  <a:cubicBezTo>
                    <a:pt x="232295" y="1579988"/>
                    <a:pt x="238152" y="1581667"/>
                    <a:pt x="238182" y="1578620"/>
                  </a:cubicBezTo>
                  <a:cubicBezTo>
                    <a:pt x="238836" y="1575290"/>
                    <a:pt x="230481" y="1564913"/>
                    <a:pt x="226764" y="1564081"/>
                  </a:cubicBezTo>
                  <a:cubicBezTo>
                    <a:pt x="224780" y="1563456"/>
                    <a:pt x="219584" y="1562933"/>
                    <a:pt x="214865" y="1562621"/>
                  </a:cubicBezTo>
                  <a:lnTo>
                    <a:pt x="213766" y="1562563"/>
                  </a:lnTo>
                  <a:lnTo>
                    <a:pt x="213775" y="1562539"/>
                  </a:lnTo>
                  <a:cubicBezTo>
                    <a:pt x="214895" y="1560992"/>
                    <a:pt x="218625" y="1560424"/>
                    <a:pt x="221502" y="1560156"/>
                  </a:cubicBezTo>
                  <a:cubicBezTo>
                    <a:pt x="209430" y="1544219"/>
                    <a:pt x="193166" y="1533991"/>
                    <a:pt x="179133" y="1534200"/>
                  </a:cubicBezTo>
                  <a:cubicBezTo>
                    <a:pt x="162215" y="1534705"/>
                    <a:pt x="141015" y="1539046"/>
                    <a:pt x="129003" y="1557658"/>
                  </a:cubicBezTo>
                  <a:cubicBezTo>
                    <a:pt x="135143" y="1557592"/>
                    <a:pt x="139711" y="1557619"/>
                    <a:pt x="143140" y="1557983"/>
                  </a:cubicBezTo>
                  <a:lnTo>
                    <a:pt x="143713" y="1558067"/>
                  </a:lnTo>
                  <a:lnTo>
                    <a:pt x="141319" y="1558718"/>
                  </a:lnTo>
                  <a:cubicBezTo>
                    <a:pt x="128599" y="1561777"/>
                    <a:pt x="119738" y="1561320"/>
                    <a:pt x="116886" y="1563799"/>
                  </a:cubicBezTo>
                  <a:cubicBezTo>
                    <a:pt x="110924" y="1567971"/>
                    <a:pt x="72315" y="1603540"/>
                    <a:pt x="70723" y="1623678"/>
                  </a:cubicBezTo>
                  <a:cubicBezTo>
                    <a:pt x="74812" y="1634368"/>
                    <a:pt x="75581" y="1626814"/>
                    <a:pt x="84610" y="1645641"/>
                  </a:cubicBezTo>
                  <a:lnTo>
                    <a:pt x="99019" y="1629215"/>
                  </a:lnTo>
                  <a:lnTo>
                    <a:pt x="82161" y="1664085"/>
                  </a:lnTo>
                  <a:cubicBezTo>
                    <a:pt x="86365" y="1670223"/>
                    <a:pt x="89230" y="1673508"/>
                    <a:pt x="97983" y="1673403"/>
                  </a:cubicBezTo>
                  <a:cubicBezTo>
                    <a:pt x="107331" y="1672163"/>
                    <a:pt x="115965" y="1664501"/>
                    <a:pt x="124955" y="1660051"/>
                  </a:cubicBezTo>
                  <a:cubicBezTo>
                    <a:pt x="133841" y="1656352"/>
                    <a:pt x="136482" y="1658898"/>
                    <a:pt x="142246" y="1658321"/>
                  </a:cubicBezTo>
                  <a:cubicBezTo>
                    <a:pt x="154391" y="1625380"/>
                    <a:pt x="135316" y="1625531"/>
                    <a:pt x="148442" y="1589735"/>
                  </a:cubicBezTo>
                  <a:cubicBezTo>
                    <a:pt x="143776" y="1618649"/>
                    <a:pt x="162302" y="1618663"/>
                    <a:pt x="149162" y="1667111"/>
                  </a:cubicBezTo>
                  <a:lnTo>
                    <a:pt x="147069" y="1666768"/>
                  </a:lnTo>
                  <a:lnTo>
                    <a:pt x="144418" y="1666090"/>
                  </a:lnTo>
                  <a:lnTo>
                    <a:pt x="141702" y="1665666"/>
                  </a:lnTo>
                  <a:lnTo>
                    <a:pt x="140941" y="1665490"/>
                  </a:lnTo>
                  <a:cubicBezTo>
                    <a:pt x="138886" y="1665084"/>
                    <a:pt x="136724" y="1664867"/>
                    <a:pt x="134216" y="1665262"/>
                  </a:cubicBezTo>
                  <a:lnTo>
                    <a:pt x="133237" y="1665490"/>
                  </a:lnTo>
                  <a:lnTo>
                    <a:pt x="132645" y="1665541"/>
                  </a:lnTo>
                  <a:cubicBezTo>
                    <a:pt x="119532" y="1667583"/>
                    <a:pt x="114709" y="1679146"/>
                    <a:pt x="93681" y="1681375"/>
                  </a:cubicBezTo>
                  <a:cubicBezTo>
                    <a:pt x="87411" y="1680153"/>
                    <a:pt x="77385" y="1670940"/>
                    <a:pt x="71491" y="1663777"/>
                  </a:cubicBezTo>
                  <a:lnTo>
                    <a:pt x="71036" y="1663187"/>
                  </a:lnTo>
                  <a:lnTo>
                    <a:pt x="72747" y="1660328"/>
                  </a:lnTo>
                  <a:cubicBezTo>
                    <a:pt x="74574" y="1657482"/>
                    <a:pt x="76574" y="1654573"/>
                    <a:pt x="78785" y="1651583"/>
                  </a:cubicBezTo>
                  <a:cubicBezTo>
                    <a:pt x="74920" y="1641207"/>
                    <a:pt x="64721" y="1637609"/>
                    <a:pt x="61837" y="1624735"/>
                  </a:cubicBezTo>
                  <a:cubicBezTo>
                    <a:pt x="66505" y="1611415"/>
                    <a:pt x="68408" y="1602734"/>
                    <a:pt x="91897" y="1578887"/>
                  </a:cubicBezTo>
                  <a:cubicBezTo>
                    <a:pt x="29459" y="1587837"/>
                    <a:pt x="29644" y="1638103"/>
                    <a:pt x="12381" y="1625950"/>
                  </a:cubicBezTo>
                  <a:lnTo>
                    <a:pt x="8780" y="1622709"/>
                  </a:lnTo>
                  <a:lnTo>
                    <a:pt x="9833" y="1622118"/>
                  </a:lnTo>
                  <a:cubicBezTo>
                    <a:pt x="16196" y="1617832"/>
                    <a:pt x="8661" y="1611660"/>
                    <a:pt x="13760" y="1602346"/>
                  </a:cubicBezTo>
                  <a:lnTo>
                    <a:pt x="3348" y="1612371"/>
                  </a:lnTo>
                  <a:lnTo>
                    <a:pt x="4254" y="1605518"/>
                  </a:lnTo>
                  <a:cubicBezTo>
                    <a:pt x="9315" y="1600482"/>
                    <a:pt x="16157" y="1597644"/>
                    <a:pt x="17808" y="1597020"/>
                  </a:cubicBezTo>
                  <a:cubicBezTo>
                    <a:pt x="14708" y="1606479"/>
                    <a:pt x="21470" y="1613080"/>
                    <a:pt x="17808" y="1620686"/>
                  </a:cubicBezTo>
                  <a:cubicBezTo>
                    <a:pt x="53025" y="1575890"/>
                    <a:pt x="77335" y="1573032"/>
                    <a:pt x="93636" y="1572630"/>
                  </a:cubicBezTo>
                  <a:cubicBezTo>
                    <a:pt x="106314" y="1561361"/>
                    <a:pt x="107400" y="1558422"/>
                    <a:pt x="116094" y="1556208"/>
                  </a:cubicBezTo>
                  <a:lnTo>
                    <a:pt x="122089" y="1555580"/>
                  </a:lnTo>
                  <a:lnTo>
                    <a:pt x="122784" y="1554093"/>
                  </a:lnTo>
                  <a:cubicBezTo>
                    <a:pt x="128120" y="1543496"/>
                    <a:pt x="132777" y="1540190"/>
                    <a:pt x="141934" y="1535682"/>
                  </a:cubicBezTo>
                  <a:cubicBezTo>
                    <a:pt x="151090" y="1531174"/>
                    <a:pt x="163790" y="1527159"/>
                    <a:pt x="177365" y="1527682"/>
                  </a:cubicBezTo>
                  <a:close/>
                  <a:moveTo>
                    <a:pt x="7307218" y="1527636"/>
                  </a:moveTo>
                  <a:cubicBezTo>
                    <a:pt x="7337118" y="1527974"/>
                    <a:pt x="7352068" y="1540981"/>
                    <a:pt x="7352068" y="1566659"/>
                  </a:cubicBezTo>
                  <a:lnTo>
                    <a:pt x="7352068" y="1603018"/>
                  </a:lnTo>
                  <a:cubicBezTo>
                    <a:pt x="7352068" y="1620080"/>
                    <a:pt x="7358614" y="1629033"/>
                    <a:pt x="7371705" y="1629878"/>
                  </a:cubicBezTo>
                  <a:lnTo>
                    <a:pt x="7371705" y="1648374"/>
                  </a:lnTo>
                  <a:cubicBezTo>
                    <a:pt x="7358614" y="1649219"/>
                    <a:pt x="7352068" y="1658003"/>
                    <a:pt x="7352068" y="1674727"/>
                  </a:cubicBezTo>
                  <a:lnTo>
                    <a:pt x="7352068" y="1712102"/>
                  </a:lnTo>
                  <a:cubicBezTo>
                    <a:pt x="7352068" y="1737440"/>
                    <a:pt x="7337118" y="1750278"/>
                    <a:pt x="7307218" y="1750616"/>
                  </a:cubicBezTo>
                  <a:lnTo>
                    <a:pt x="7307218" y="1731105"/>
                  </a:lnTo>
                  <a:cubicBezTo>
                    <a:pt x="7314567" y="1730936"/>
                    <a:pt x="7319782" y="1728909"/>
                    <a:pt x="7322865" y="1725024"/>
                  </a:cubicBezTo>
                  <a:cubicBezTo>
                    <a:pt x="7325948" y="1721139"/>
                    <a:pt x="7327489" y="1714720"/>
                    <a:pt x="7327489" y="1705767"/>
                  </a:cubicBezTo>
                  <a:lnTo>
                    <a:pt x="7327489" y="1670419"/>
                  </a:lnTo>
                  <a:cubicBezTo>
                    <a:pt x="7327489" y="1653274"/>
                    <a:pt x="7335809" y="1642843"/>
                    <a:pt x="7352448" y="1639126"/>
                  </a:cubicBezTo>
                  <a:lnTo>
                    <a:pt x="7352448" y="1638746"/>
                  </a:lnTo>
                  <a:cubicBezTo>
                    <a:pt x="7335809" y="1634776"/>
                    <a:pt x="7327489" y="1624261"/>
                    <a:pt x="7327489" y="1607199"/>
                  </a:cubicBezTo>
                  <a:lnTo>
                    <a:pt x="7327489" y="1571472"/>
                  </a:lnTo>
                  <a:cubicBezTo>
                    <a:pt x="7327489" y="1555677"/>
                    <a:pt x="7320732" y="1547611"/>
                    <a:pt x="7307218" y="1547274"/>
                  </a:cubicBezTo>
                  <a:close/>
                  <a:moveTo>
                    <a:pt x="7289734" y="1527636"/>
                  </a:moveTo>
                  <a:lnTo>
                    <a:pt x="7289734" y="1547274"/>
                  </a:lnTo>
                  <a:cubicBezTo>
                    <a:pt x="7276305" y="1547611"/>
                    <a:pt x="7269590" y="1555677"/>
                    <a:pt x="7269590" y="1571472"/>
                  </a:cubicBezTo>
                  <a:lnTo>
                    <a:pt x="7269590" y="1607199"/>
                  </a:lnTo>
                  <a:cubicBezTo>
                    <a:pt x="7269590" y="1624261"/>
                    <a:pt x="7261186" y="1634776"/>
                    <a:pt x="7244378" y="1638746"/>
                  </a:cubicBezTo>
                  <a:lnTo>
                    <a:pt x="7244378" y="1639126"/>
                  </a:lnTo>
                  <a:cubicBezTo>
                    <a:pt x="7261186" y="1642843"/>
                    <a:pt x="7269590" y="1653274"/>
                    <a:pt x="7269590" y="1670419"/>
                  </a:cubicBezTo>
                  <a:lnTo>
                    <a:pt x="7269590" y="1705767"/>
                  </a:lnTo>
                  <a:cubicBezTo>
                    <a:pt x="7269590" y="1714804"/>
                    <a:pt x="7271089" y="1721244"/>
                    <a:pt x="7274088" y="1725087"/>
                  </a:cubicBezTo>
                  <a:cubicBezTo>
                    <a:pt x="7277086" y="1728930"/>
                    <a:pt x="7282302" y="1730936"/>
                    <a:pt x="7289734" y="1731105"/>
                  </a:cubicBezTo>
                  <a:lnTo>
                    <a:pt x="7289734" y="1750616"/>
                  </a:lnTo>
                  <a:cubicBezTo>
                    <a:pt x="7259666" y="1750278"/>
                    <a:pt x="7244632" y="1737440"/>
                    <a:pt x="7244632" y="1712102"/>
                  </a:cubicBezTo>
                  <a:lnTo>
                    <a:pt x="7244632" y="1674727"/>
                  </a:lnTo>
                  <a:cubicBezTo>
                    <a:pt x="7244632" y="1658003"/>
                    <a:pt x="7238043" y="1649219"/>
                    <a:pt x="7224867" y="1648374"/>
                  </a:cubicBezTo>
                  <a:lnTo>
                    <a:pt x="7224867" y="1629878"/>
                  </a:lnTo>
                  <a:cubicBezTo>
                    <a:pt x="7238043" y="1629033"/>
                    <a:pt x="7244632" y="1620080"/>
                    <a:pt x="7244632" y="1603018"/>
                  </a:cubicBezTo>
                  <a:lnTo>
                    <a:pt x="7244632" y="1566659"/>
                  </a:lnTo>
                  <a:cubicBezTo>
                    <a:pt x="7244632" y="1540981"/>
                    <a:pt x="7259666" y="1527974"/>
                    <a:pt x="7289734" y="1527636"/>
                  </a:cubicBezTo>
                  <a:close/>
                  <a:moveTo>
                    <a:pt x="1251166" y="1527636"/>
                  </a:moveTo>
                  <a:cubicBezTo>
                    <a:pt x="1281066" y="1527974"/>
                    <a:pt x="1296016" y="1540981"/>
                    <a:pt x="1296016" y="1566659"/>
                  </a:cubicBezTo>
                  <a:lnTo>
                    <a:pt x="1296016" y="1603018"/>
                  </a:lnTo>
                  <a:cubicBezTo>
                    <a:pt x="1296016" y="1620080"/>
                    <a:pt x="1302562" y="1629033"/>
                    <a:pt x="1315653" y="1629878"/>
                  </a:cubicBezTo>
                  <a:lnTo>
                    <a:pt x="1315653" y="1648374"/>
                  </a:lnTo>
                  <a:cubicBezTo>
                    <a:pt x="1302562" y="1649219"/>
                    <a:pt x="1296016" y="1658003"/>
                    <a:pt x="1296016" y="1674727"/>
                  </a:cubicBezTo>
                  <a:lnTo>
                    <a:pt x="1296016" y="1712102"/>
                  </a:lnTo>
                  <a:cubicBezTo>
                    <a:pt x="1296016" y="1737440"/>
                    <a:pt x="1281066" y="1750278"/>
                    <a:pt x="1251166" y="1750616"/>
                  </a:cubicBezTo>
                  <a:lnTo>
                    <a:pt x="1251166" y="1731105"/>
                  </a:lnTo>
                  <a:cubicBezTo>
                    <a:pt x="1258515" y="1730936"/>
                    <a:pt x="1263730" y="1728909"/>
                    <a:pt x="1266813" y="1725024"/>
                  </a:cubicBezTo>
                  <a:cubicBezTo>
                    <a:pt x="1269896" y="1721139"/>
                    <a:pt x="1271437" y="1714720"/>
                    <a:pt x="1271437" y="1705767"/>
                  </a:cubicBezTo>
                  <a:lnTo>
                    <a:pt x="1271437" y="1670419"/>
                  </a:lnTo>
                  <a:cubicBezTo>
                    <a:pt x="1271437" y="1653274"/>
                    <a:pt x="1279757" y="1642843"/>
                    <a:pt x="1296396" y="1639126"/>
                  </a:cubicBezTo>
                  <a:lnTo>
                    <a:pt x="1296396" y="1638746"/>
                  </a:lnTo>
                  <a:cubicBezTo>
                    <a:pt x="1279757" y="1634776"/>
                    <a:pt x="1271437" y="1624261"/>
                    <a:pt x="1271437" y="1607199"/>
                  </a:cubicBezTo>
                  <a:lnTo>
                    <a:pt x="1271437" y="1571472"/>
                  </a:lnTo>
                  <a:cubicBezTo>
                    <a:pt x="1271437" y="1555677"/>
                    <a:pt x="1264680" y="1547611"/>
                    <a:pt x="1251166" y="1547274"/>
                  </a:cubicBezTo>
                  <a:close/>
                  <a:moveTo>
                    <a:pt x="1233682" y="1527636"/>
                  </a:moveTo>
                  <a:lnTo>
                    <a:pt x="1233682" y="1547274"/>
                  </a:lnTo>
                  <a:cubicBezTo>
                    <a:pt x="1220253" y="1547611"/>
                    <a:pt x="1213538" y="1555677"/>
                    <a:pt x="1213538" y="1571472"/>
                  </a:cubicBezTo>
                  <a:lnTo>
                    <a:pt x="1213538" y="1607199"/>
                  </a:lnTo>
                  <a:cubicBezTo>
                    <a:pt x="1213538" y="1624261"/>
                    <a:pt x="1205134" y="1634776"/>
                    <a:pt x="1188326" y="1638746"/>
                  </a:cubicBezTo>
                  <a:lnTo>
                    <a:pt x="1188326" y="1639126"/>
                  </a:lnTo>
                  <a:cubicBezTo>
                    <a:pt x="1205134" y="1642843"/>
                    <a:pt x="1213538" y="1653274"/>
                    <a:pt x="1213538" y="1670419"/>
                  </a:cubicBezTo>
                  <a:lnTo>
                    <a:pt x="1213538" y="1705767"/>
                  </a:lnTo>
                  <a:cubicBezTo>
                    <a:pt x="1213538" y="1714804"/>
                    <a:pt x="1215037" y="1721244"/>
                    <a:pt x="1218036" y="1725087"/>
                  </a:cubicBezTo>
                  <a:cubicBezTo>
                    <a:pt x="1221034" y="1728930"/>
                    <a:pt x="1226250" y="1730936"/>
                    <a:pt x="1233682" y="1731105"/>
                  </a:cubicBezTo>
                  <a:lnTo>
                    <a:pt x="1233682" y="1750616"/>
                  </a:lnTo>
                  <a:cubicBezTo>
                    <a:pt x="1203614" y="1750278"/>
                    <a:pt x="1188580" y="1737440"/>
                    <a:pt x="1188580" y="1712102"/>
                  </a:cubicBezTo>
                  <a:lnTo>
                    <a:pt x="1188580" y="1674727"/>
                  </a:lnTo>
                  <a:cubicBezTo>
                    <a:pt x="1188580" y="1658003"/>
                    <a:pt x="1181991" y="1649219"/>
                    <a:pt x="1168815" y="1648374"/>
                  </a:cubicBezTo>
                  <a:lnTo>
                    <a:pt x="1168815" y="1629878"/>
                  </a:lnTo>
                  <a:cubicBezTo>
                    <a:pt x="1181991" y="1629033"/>
                    <a:pt x="1188580" y="1620080"/>
                    <a:pt x="1188580" y="1603018"/>
                  </a:cubicBezTo>
                  <a:lnTo>
                    <a:pt x="1188580" y="1566659"/>
                  </a:lnTo>
                  <a:cubicBezTo>
                    <a:pt x="1188580" y="1540981"/>
                    <a:pt x="1203614" y="1527974"/>
                    <a:pt x="1233682" y="1527636"/>
                  </a:cubicBezTo>
                  <a:close/>
                  <a:moveTo>
                    <a:pt x="11615831" y="1214333"/>
                  </a:moveTo>
                  <a:cubicBezTo>
                    <a:pt x="11645731" y="1214672"/>
                    <a:pt x="11660680" y="1227678"/>
                    <a:pt x="11660680" y="1253354"/>
                  </a:cubicBezTo>
                  <a:lnTo>
                    <a:pt x="11660680" y="1289715"/>
                  </a:lnTo>
                  <a:cubicBezTo>
                    <a:pt x="11660680" y="1306777"/>
                    <a:pt x="11667226" y="1315730"/>
                    <a:pt x="11680318" y="1316575"/>
                  </a:cubicBezTo>
                  <a:lnTo>
                    <a:pt x="11680318" y="1335071"/>
                  </a:lnTo>
                  <a:cubicBezTo>
                    <a:pt x="11667226" y="1335916"/>
                    <a:pt x="11660680" y="1344700"/>
                    <a:pt x="11660680" y="1361425"/>
                  </a:cubicBezTo>
                  <a:lnTo>
                    <a:pt x="11660680" y="1398799"/>
                  </a:lnTo>
                  <a:cubicBezTo>
                    <a:pt x="11660680" y="1424137"/>
                    <a:pt x="11645731" y="1436975"/>
                    <a:pt x="11615831" y="1437313"/>
                  </a:cubicBezTo>
                  <a:lnTo>
                    <a:pt x="11615831" y="1417802"/>
                  </a:lnTo>
                  <a:cubicBezTo>
                    <a:pt x="11623179" y="1417633"/>
                    <a:pt x="11628395" y="1415607"/>
                    <a:pt x="11631478" y="1411722"/>
                  </a:cubicBezTo>
                  <a:cubicBezTo>
                    <a:pt x="11634560" y="1407836"/>
                    <a:pt x="11636102" y="1401417"/>
                    <a:pt x="11636102" y="1392464"/>
                  </a:cubicBezTo>
                  <a:lnTo>
                    <a:pt x="11636102" y="1357116"/>
                  </a:lnTo>
                  <a:cubicBezTo>
                    <a:pt x="11636102" y="1339971"/>
                    <a:pt x="11644422" y="1329539"/>
                    <a:pt x="11661061" y="1325823"/>
                  </a:cubicBezTo>
                  <a:lnTo>
                    <a:pt x="11661061" y="1325443"/>
                  </a:lnTo>
                  <a:cubicBezTo>
                    <a:pt x="11644422" y="1321474"/>
                    <a:pt x="11636102" y="1310959"/>
                    <a:pt x="11636102" y="1293896"/>
                  </a:cubicBezTo>
                  <a:lnTo>
                    <a:pt x="11636102" y="1258169"/>
                  </a:lnTo>
                  <a:cubicBezTo>
                    <a:pt x="11636102" y="1242374"/>
                    <a:pt x="11629345" y="1234308"/>
                    <a:pt x="11615831" y="1233971"/>
                  </a:cubicBezTo>
                  <a:close/>
                  <a:moveTo>
                    <a:pt x="11598347" y="1214333"/>
                  </a:moveTo>
                  <a:lnTo>
                    <a:pt x="11598347" y="1233971"/>
                  </a:lnTo>
                  <a:cubicBezTo>
                    <a:pt x="11584918" y="1234308"/>
                    <a:pt x="11578203" y="1242374"/>
                    <a:pt x="11578203" y="1258169"/>
                  </a:cubicBezTo>
                  <a:lnTo>
                    <a:pt x="11578203" y="1293896"/>
                  </a:lnTo>
                  <a:cubicBezTo>
                    <a:pt x="11578203" y="1310959"/>
                    <a:pt x="11569799" y="1321474"/>
                    <a:pt x="11552991" y="1325443"/>
                  </a:cubicBezTo>
                  <a:lnTo>
                    <a:pt x="11552991" y="1325823"/>
                  </a:lnTo>
                  <a:cubicBezTo>
                    <a:pt x="11569799" y="1329539"/>
                    <a:pt x="11578203" y="1339971"/>
                    <a:pt x="11578203" y="1357116"/>
                  </a:cubicBezTo>
                  <a:lnTo>
                    <a:pt x="11578203" y="1392464"/>
                  </a:lnTo>
                  <a:cubicBezTo>
                    <a:pt x="11578203" y="1401501"/>
                    <a:pt x="11579702" y="1407941"/>
                    <a:pt x="11582701" y="1411784"/>
                  </a:cubicBezTo>
                  <a:cubicBezTo>
                    <a:pt x="11585699" y="1415627"/>
                    <a:pt x="11590914" y="1417633"/>
                    <a:pt x="11598347" y="1417802"/>
                  </a:cubicBezTo>
                  <a:lnTo>
                    <a:pt x="11598347" y="1437313"/>
                  </a:lnTo>
                  <a:cubicBezTo>
                    <a:pt x="11568278" y="1436975"/>
                    <a:pt x="11553244" y="1424137"/>
                    <a:pt x="11553244" y="1398799"/>
                  </a:cubicBezTo>
                  <a:lnTo>
                    <a:pt x="11553244" y="1361425"/>
                  </a:lnTo>
                  <a:cubicBezTo>
                    <a:pt x="11553244" y="1344700"/>
                    <a:pt x="11546656" y="1335916"/>
                    <a:pt x="11533480" y="1335071"/>
                  </a:cubicBezTo>
                  <a:lnTo>
                    <a:pt x="11533480" y="1316575"/>
                  </a:lnTo>
                  <a:cubicBezTo>
                    <a:pt x="11546656" y="1315730"/>
                    <a:pt x="11553244" y="1306777"/>
                    <a:pt x="11553244" y="1289715"/>
                  </a:cubicBezTo>
                  <a:lnTo>
                    <a:pt x="11553244" y="1253354"/>
                  </a:lnTo>
                  <a:cubicBezTo>
                    <a:pt x="11553244" y="1227678"/>
                    <a:pt x="11568278" y="1214672"/>
                    <a:pt x="11598347" y="1214333"/>
                  </a:cubicBezTo>
                  <a:close/>
                  <a:moveTo>
                    <a:pt x="10941808" y="1214333"/>
                  </a:moveTo>
                  <a:cubicBezTo>
                    <a:pt x="10971708" y="1214672"/>
                    <a:pt x="10986657" y="1227678"/>
                    <a:pt x="10986657" y="1253354"/>
                  </a:cubicBezTo>
                  <a:lnTo>
                    <a:pt x="10986657" y="1289715"/>
                  </a:lnTo>
                  <a:cubicBezTo>
                    <a:pt x="10986657" y="1306777"/>
                    <a:pt x="10993203" y="1315730"/>
                    <a:pt x="11006295" y="1316575"/>
                  </a:cubicBezTo>
                  <a:lnTo>
                    <a:pt x="11006295" y="1335071"/>
                  </a:lnTo>
                  <a:cubicBezTo>
                    <a:pt x="10993203" y="1335916"/>
                    <a:pt x="10986657" y="1344700"/>
                    <a:pt x="10986657" y="1361425"/>
                  </a:cubicBezTo>
                  <a:lnTo>
                    <a:pt x="10986657" y="1398799"/>
                  </a:lnTo>
                  <a:cubicBezTo>
                    <a:pt x="10986657" y="1424137"/>
                    <a:pt x="10971708" y="1436975"/>
                    <a:pt x="10941808" y="1437313"/>
                  </a:cubicBezTo>
                  <a:lnTo>
                    <a:pt x="10941808" y="1417802"/>
                  </a:lnTo>
                  <a:cubicBezTo>
                    <a:pt x="10949156" y="1417633"/>
                    <a:pt x="10954372" y="1415607"/>
                    <a:pt x="10957455" y="1411722"/>
                  </a:cubicBezTo>
                  <a:cubicBezTo>
                    <a:pt x="10960537" y="1407836"/>
                    <a:pt x="10962079" y="1401417"/>
                    <a:pt x="10962079" y="1392464"/>
                  </a:cubicBezTo>
                  <a:lnTo>
                    <a:pt x="10962079" y="1357116"/>
                  </a:lnTo>
                  <a:cubicBezTo>
                    <a:pt x="10962079" y="1339971"/>
                    <a:pt x="10970399" y="1329539"/>
                    <a:pt x="10987038" y="1325823"/>
                  </a:cubicBezTo>
                  <a:lnTo>
                    <a:pt x="10987038" y="1325443"/>
                  </a:lnTo>
                  <a:cubicBezTo>
                    <a:pt x="10970399" y="1321474"/>
                    <a:pt x="10962079" y="1310959"/>
                    <a:pt x="10962079" y="1293896"/>
                  </a:cubicBezTo>
                  <a:lnTo>
                    <a:pt x="10962079" y="1258169"/>
                  </a:lnTo>
                  <a:cubicBezTo>
                    <a:pt x="10962079" y="1242374"/>
                    <a:pt x="10955322" y="1234308"/>
                    <a:pt x="10941808" y="1233971"/>
                  </a:cubicBezTo>
                  <a:close/>
                  <a:moveTo>
                    <a:pt x="10924324" y="1214333"/>
                  </a:moveTo>
                  <a:lnTo>
                    <a:pt x="10924324" y="1233971"/>
                  </a:lnTo>
                  <a:cubicBezTo>
                    <a:pt x="10910895" y="1234308"/>
                    <a:pt x="10904180" y="1242374"/>
                    <a:pt x="10904180" y="1258169"/>
                  </a:cubicBezTo>
                  <a:lnTo>
                    <a:pt x="10904180" y="1293896"/>
                  </a:lnTo>
                  <a:cubicBezTo>
                    <a:pt x="10904180" y="1310959"/>
                    <a:pt x="10895776" y="1321474"/>
                    <a:pt x="10878968" y="1325443"/>
                  </a:cubicBezTo>
                  <a:lnTo>
                    <a:pt x="10878968" y="1325823"/>
                  </a:lnTo>
                  <a:cubicBezTo>
                    <a:pt x="10895776" y="1329539"/>
                    <a:pt x="10904180" y="1339971"/>
                    <a:pt x="10904180" y="1357116"/>
                  </a:cubicBezTo>
                  <a:lnTo>
                    <a:pt x="10904180" y="1392464"/>
                  </a:lnTo>
                  <a:cubicBezTo>
                    <a:pt x="10904180" y="1401501"/>
                    <a:pt x="10905679" y="1407941"/>
                    <a:pt x="10908678" y="1411784"/>
                  </a:cubicBezTo>
                  <a:cubicBezTo>
                    <a:pt x="10911676" y="1415627"/>
                    <a:pt x="10916891" y="1417633"/>
                    <a:pt x="10924324" y="1417802"/>
                  </a:cubicBezTo>
                  <a:lnTo>
                    <a:pt x="10924324" y="1437313"/>
                  </a:lnTo>
                  <a:cubicBezTo>
                    <a:pt x="10894255" y="1436975"/>
                    <a:pt x="10879221" y="1424137"/>
                    <a:pt x="10879221" y="1398799"/>
                  </a:cubicBezTo>
                  <a:lnTo>
                    <a:pt x="10879221" y="1361425"/>
                  </a:lnTo>
                  <a:cubicBezTo>
                    <a:pt x="10879221" y="1344700"/>
                    <a:pt x="10872633" y="1335916"/>
                    <a:pt x="10859457" y="1335071"/>
                  </a:cubicBezTo>
                  <a:lnTo>
                    <a:pt x="10859457" y="1316575"/>
                  </a:lnTo>
                  <a:cubicBezTo>
                    <a:pt x="10872633" y="1315730"/>
                    <a:pt x="10879221" y="1306777"/>
                    <a:pt x="10879221" y="1289715"/>
                  </a:cubicBezTo>
                  <a:lnTo>
                    <a:pt x="10879221" y="1253354"/>
                  </a:lnTo>
                  <a:cubicBezTo>
                    <a:pt x="10879221" y="1227678"/>
                    <a:pt x="10894255" y="1214672"/>
                    <a:pt x="10924324" y="1214333"/>
                  </a:cubicBezTo>
                  <a:close/>
                  <a:moveTo>
                    <a:pt x="9743358" y="1214333"/>
                  </a:moveTo>
                  <a:cubicBezTo>
                    <a:pt x="9773258" y="1214672"/>
                    <a:pt x="9788207" y="1227678"/>
                    <a:pt x="9788207" y="1253354"/>
                  </a:cubicBezTo>
                  <a:lnTo>
                    <a:pt x="9788207" y="1289715"/>
                  </a:lnTo>
                  <a:cubicBezTo>
                    <a:pt x="9788207" y="1306777"/>
                    <a:pt x="9794753" y="1315730"/>
                    <a:pt x="9807845" y="1316575"/>
                  </a:cubicBezTo>
                  <a:lnTo>
                    <a:pt x="9807845" y="1335071"/>
                  </a:lnTo>
                  <a:cubicBezTo>
                    <a:pt x="9794753" y="1335916"/>
                    <a:pt x="9788207" y="1344700"/>
                    <a:pt x="9788207" y="1361425"/>
                  </a:cubicBezTo>
                  <a:lnTo>
                    <a:pt x="9788207" y="1398799"/>
                  </a:lnTo>
                  <a:cubicBezTo>
                    <a:pt x="9788207" y="1424137"/>
                    <a:pt x="9773258" y="1436975"/>
                    <a:pt x="9743358" y="1437313"/>
                  </a:cubicBezTo>
                  <a:lnTo>
                    <a:pt x="9743358" y="1417802"/>
                  </a:lnTo>
                  <a:cubicBezTo>
                    <a:pt x="9750706" y="1417633"/>
                    <a:pt x="9755922" y="1415607"/>
                    <a:pt x="9759005" y="1411722"/>
                  </a:cubicBezTo>
                  <a:cubicBezTo>
                    <a:pt x="9762087" y="1407836"/>
                    <a:pt x="9763629" y="1401417"/>
                    <a:pt x="9763629" y="1392464"/>
                  </a:cubicBezTo>
                  <a:lnTo>
                    <a:pt x="9763629" y="1357116"/>
                  </a:lnTo>
                  <a:cubicBezTo>
                    <a:pt x="9763629" y="1339971"/>
                    <a:pt x="9771949" y="1329539"/>
                    <a:pt x="9788588" y="1325823"/>
                  </a:cubicBezTo>
                  <a:lnTo>
                    <a:pt x="9788588" y="1325443"/>
                  </a:lnTo>
                  <a:cubicBezTo>
                    <a:pt x="9771949" y="1321474"/>
                    <a:pt x="9763629" y="1310959"/>
                    <a:pt x="9763629" y="1293896"/>
                  </a:cubicBezTo>
                  <a:lnTo>
                    <a:pt x="9763629" y="1258169"/>
                  </a:lnTo>
                  <a:cubicBezTo>
                    <a:pt x="9763629" y="1242374"/>
                    <a:pt x="9756872" y="1234308"/>
                    <a:pt x="9743358" y="1233971"/>
                  </a:cubicBezTo>
                  <a:close/>
                  <a:moveTo>
                    <a:pt x="9725874" y="1214333"/>
                  </a:moveTo>
                  <a:lnTo>
                    <a:pt x="9725874" y="1233971"/>
                  </a:lnTo>
                  <a:cubicBezTo>
                    <a:pt x="9712445" y="1234308"/>
                    <a:pt x="9705730" y="1242374"/>
                    <a:pt x="9705730" y="1258169"/>
                  </a:cubicBezTo>
                  <a:lnTo>
                    <a:pt x="9705730" y="1293896"/>
                  </a:lnTo>
                  <a:cubicBezTo>
                    <a:pt x="9705730" y="1310959"/>
                    <a:pt x="9697326" y="1321474"/>
                    <a:pt x="9680518" y="1325443"/>
                  </a:cubicBezTo>
                  <a:lnTo>
                    <a:pt x="9680518" y="1325823"/>
                  </a:lnTo>
                  <a:cubicBezTo>
                    <a:pt x="9697326" y="1329539"/>
                    <a:pt x="9705730" y="1339971"/>
                    <a:pt x="9705730" y="1357116"/>
                  </a:cubicBezTo>
                  <a:lnTo>
                    <a:pt x="9705730" y="1392464"/>
                  </a:lnTo>
                  <a:cubicBezTo>
                    <a:pt x="9705730" y="1401501"/>
                    <a:pt x="9707229" y="1407941"/>
                    <a:pt x="9710228" y="1411784"/>
                  </a:cubicBezTo>
                  <a:cubicBezTo>
                    <a:pt x="9713226" y="1415627"/>
                    <a:pt x="9718441" y="1417633"/>
                    <a:pt x="9725874" y="1417802"/>
                  </a:cubicBezTo>
                  <a:lnTo>
                    <a:pt x="9725874" y="1437313"/>
                  </a:lnTo>
                  <a:cubicBezTo>
                    <a:pt x="9695805" y="1436975"/>
                    <a:pt x="9680771" y="1424137"/>
                    <a:pt x="9680771" y="1398799"/>
                  </a:cubicBezTo>
                  <a:lnTo>
                    <a:pt x="9680771" y="1361425"/>
                  </a:lnTo>
                  <a:cubicBezTo>
                    <a:pt x="9680771" y="1344700"/>
                    <a:pt x="9674183" y="1335916"/>
                    <a:pt x="9661007" y="1335071"/>
                  </a:cubicBezTo>
                  <a:lnTo>
                    <a:pt x="9661007" y="1316575"/>
                  </a:lnTo>
                  <a:cubicBezTo>
                    <a:pt x="9674183" y="1315730"/>
                    <a:pt x="9680771" y="1306777"/>
                    <a:pt x="9680771" y="1289715"/>
                  </a:cubicBezTo>
                  <a:lnTo>
                    <a:pt x="9680771" y="1253354"/>
                  </a:lnTo>
                  <a:cubicBezTo>
                    <a:pt x="9680771" y="1227678"/>
                    <a:pt x="9695805" y="1214672"/>
                    <a:pt x="9725874" y="1214333"/>
                  </a:cubicBezTo>
                  <a:close/>
                  <a:moveTo>
                    <a:pt x="8119156" y="1214333"/>
                  </a:moveTo>
                  <a:cubicBezTo>
                    <a:pt x="8149056" y="1214672"/>
                    <a:pt x="8164005" y="1227678"/>
                    <a:pt x="8164005" y="1253354"/>
                  </a:cubicBezTo>
                  <a:lnTo>
                    <a:pt x="8164005" y="1289715"/>
                  </a:lnTo>
                  <a:cubicBezTo>
                    <a:pt x="8164005" y="1306777"/>
                    <a:pt x="8170551" y="1315730"/>
                    <a:pt x="8183643" y="1316575"/>
                  </a:cubicBezTo>
                  <a:lnTo>
                    <a:pt x="8183643" y="1335071"/>
                  </a:lnTo>
                  <a:cubicBezTo>
                    <a:pt x="8170551" y="1335916"/>
                    <a:pt x="8164005" y="1344700"/>
                    <a:pt x="8164005" y="1361425"/>
                  </a:cubicBezTo>
                  <a:lnTo>
                    <a:pt x="8164005" y="1398799"/>
                  </a:lnTo>
                  <a:cubicBezTo>
                    <a:pt x="8164005" y="1424137"/>
                    <a:pt x="8149056" y="1436975"/>
                    <a:pt x="8119156" y="1437313"/>
                  </a:cubicBezTo>
                  <a:lnTo>
                    <a:pt x="8119156" y="1417802"/>
                  </a:lnTo>
                  <a:cubicBezTo>
                    <a:pt x="8126504" y="1417633"/>
                    <a:pt x="8131720" y="1415607"/>
                    <a:pt x="8134803" y="1411722"/>
                  </a:cubicBezTo>
                  <a:cubicBezTo>
                    <a:pt x="8137885" y="1407836"/>
                    <a:pt x="8139427" y="1401417"/>
                    <a:pt x="8139427" y="1392464"/>
                  </a:cubicBezTo>
                  <a:lnTo>
                    <a:pt x="8139427" y="1357116"/>
                  </a:lnTo>
                  <a:cubicBezTo>
                    <a:pt x="8139427" y="1339971"/>
                    <a:pt x="8147747" y="1329539"/>
                    <a:pt x="8164386" y="1325823"/>
                  </a:cubicBezTo>
                  <a:lnTo>
                    <a:pt x="8164386" y="1325443"/>
                  </a:lnTo>
                  <a:cubicBezTo>
                    <a:pt x="8147747" y="1321474"/>
                    <a:pt x="8139427" y="1310959"/>
                    <a:pt x="8139427" y="1293896"/>
                  </a:cubicBezTo>
                  <a:lnTo>
                    <a:pt x="8139427" y="1258169"/>
                  </a:lnTo>
                  <a:cubicBezTo>
                    <a:pt x="8139427" y="1242374"/>
                    <a:pt x="8132670" y="1234308"/>
                    <a:pt x="8119156" y="1233971"/>
                  </a:cubicBezTo>
                  <a:close/>
                  <a:moveTo>
                    <a:pt x="8101672" y="1214333"/>
                  </a:moveTo>
                  <a:lnTo>
                    <a:pt x="8101672" y="1233971"/>
                  </a:lnTo>
                  <a:cubicBezTo>
                    <a:pt x="8088243" y="1234308"/>
                    <a:pt x="8081528" y="1242374"/>
                    <a:pt x="8081528" y="1258169"/>
                  </a:cubicBezTo>
                  <a:lnTo>
                    <a:pt x="8081528" y="1293896"/>
                  </a:lnTo>
                  <a:cubicBezTo>
                    <a:pt x="8081528" y="1310959"/>
                    <a:pt x="8073124" y="1321474"/>
                    <a:pt x="8056316" y="1325443"/>
                  </a:cubicBezTo>
                  <a:lnTo>
                    <a:pt x="8056316" y="1325823"/>
                  </a:lnTo>
                  <a:cubicBezTo>
                    <a:pt x="8073124" y="1329539"/>
                    <a:pt x="8081528" y="1339971"/>
                    <a:pt x="8081528" y="1357116"/>
                  </a:cubicBezTo>
                  <a:lnTo>
                    <a:pt x="8081528" y="1392464"/>
                  </a:lnTo>
                  <a:cubicBezTo>
                    <a:pt x="8081528" y="1401501"/>
                    <a:pt x="8083027" y="1407941"/>
                    <a:pt x="8086026" y="1411784"/>
                  </a:cubicBezTo>
                  <a:cubicBezTo>
                    <a:pt x="8089024" y="1415627"/>
                    <a:pt x="8094240" y="1417633"/>
                    <a:pt x="8101672" y="1417802"/>
                  </a:cubicBezTo>
                  <a:lnTo>
                    <a:pt x="8101672" y="1437313"/>
                  </a:lnTo>
                  <a:cubicBezTo>
                    <a:pt x="8071604" y="1436975"/>
                    <a:pt x="8056570" y="1424137"/>
                    <a:pt x="8056570" y="1398799"/>
                  </a:cubicBezTo>
                  <a:lnTo>
                    <a:pt x="8056570" y="1361425"/>
                  </a:lnTo>
                  <a:cubicBezTo>
                    <a:pt x="8056570" y="1344700"/>
                    <a:pt x="8049981" y="1335916"/>
                    <a:pt x="8036805" y="1335071"/>
                  </a:cubicBezTo>
                  <a:lnTo>
                    <a:pt x="8036805" y="1316575"/>
                  </a:lnTo>
                  <a:cubicBezTo>
                    <a:pt x="8049981" y="1315730"/>
                    <a:pt x="8056570" y="1306777"/>
                    <a:pt x="8056570" y="1289715"/>
                  </a:cubicBezTo>
                  <a:lnTo>
                    <a:pt x="8056570" y="1253354"/>
                  </a:lnTo>
                  <a:cubicBezTo>
                    <a:pt x="8056570" y="1227678"/>
                    <a:pt x="8071604" y="1214672"/>
                    <a:pt x="8101672" y="1214333"/>
                  </a:cubicBezTo>
                  <a:close/>
                  <a:moveTo>
                    <a:pt x="5543447" y="1214333"/>
                  </a:moveTo>
                  <a:cubicBezTo>
                    <a:pt x="5573347" y="1214672"/>
                    <a:pt x="5588296" y="1227678"/>
                    <a:pt x="5588296" y="1253354"/>
                  </a:cubicBezTo>
                  <a:lnTo>
                    <a:pt x="5588296" y="1289715"/>
                  </a:lnTo>
                  <a:cubicBezTo>
                    <a:pt x="5588296" y="1306777"/>
                    <a:pt x="5594843" y="1315730"/>
                    <a:pt x="5607934" y="1316575"/>
                  </a:cubicBezTo>
                  <a:lnTo>
                    <a:pt x="5607934" y="1335071"/>
                  </a:lnTo>
                  <a:cubicBezTo>
                    <a:pt x="5594843" y="1335916"/>
                    <a:pt x="5588296" y="1344700"/>
                    <a:pt x="5588296" y="1361425"/>
                  </a:cubicBezTo>
                  <a:lnTo>
                    <a:pt x="5588296" y="1398799"/>
                  </a:lnTo>
                  <a:cubicBezTo>
                    <a:pt x="5588296" y="1424137"/>
                    <a:pt x="5573347" y="1436975"/>
                    <a:pt x="5543447" y="1437313"/>
                  </a:cubicBezTo>
                  <a:lnTo>
                    <a:pt x="5543447" y="1417802"/>
                  </a:lnTo>
                  <a:cubicBezTo>
                    <a:pt x="5550795" y="1417633"/>
                    <a:pt x="5556010" y="1415607"/>
                    <a:pt x="5559093" y="1411722"/>
                  </a:cubicBezTo>
                  <a:cubicBezTo>
                    <a:pt x="5562177" y="1407836"/>
                    <a:pt x="5563718" y="1401417"/>
                    <a:pt x="5563718" y="1392464"/>
                  </a:cubicBezTo>
                  <a:lnTo>
                    <a:pt x="5563718" y="1357116"/>
                  </a:lnTo>
                  <a:cubicBezTo>
                    <a:pt x="5563718" y="1339971"/>
                    <a:pt x="5572037" y="1329539"/>
                    <a:pt x="5588677" y="1325823"/>
                  </a:cubicBezTo>
                  <a:lnTo>
                    <a:pt x="5588677" y="1325443"/>
                  </a:lnTo>
                  <a:cubicBezTo>
                    <a:pt x="5572037" y="1321474"/>
                    <a:pt x="5563718" y="1310959"/>
                    <a:pt x="5563718" y="1293896"/>
                  </a:cubicBezTo>
                  <a:lnTo>
                    <a:pt x="5563718" y="1258169"/>
                  </a:lnTo>
                  <a:cubicBezTo>
                    <a:pt x="5563718" y="1242374"/>
                    <a:pt x="5556961" y="1234308"/>
                    <a:pt x="5543447" y="1233971"/>
                  </a:cubicBezTo>
                  <a:close/>
                  <a:moveTo>
                    <a:pt x="5525964" y="1214333"/>
                  </a:moveTo>
                  <a:lnTo>
                    <a:pt x="5525964" y="1233971"/>
                  </a:lnTo>
                  <a:cubicBezTo>
                    <a:pt x="5512533" y="1234308"/>
                    <a:pt x="5505819" y="1242374"/>
                    <a:pt x="5505819" y="1258169"/>
                  </a:cubicBezTo>
                  <a:lnTo>
                    <a:pt x="5505819" y="1293896"/>
                  </a:lnTo>
                  <a:cubicBezTo>
                    <a:pt x="5505819" y="1310959"/>
                    <a:pt x="5497414" y="1321474"/>
                    <a:pt x="5480606" y="1325443"/>
                  </a:cubicBezTo>
                  <a:lnTo>
                    <a:pt x="5480606" y="1325823"/>
                  </a:lnTo>
                  <a:cubicBezTo>
                    <a:pt x="5497414" y="1329539"/>
                    <a:pt x="5505819" y="1339971"/>
                    <a:pt x="5505819" y="1357116"/>
                  </a:cubicBezTo>
                  <a:lnTo>
                    <a:pt x="5505819" y="1392464"/>
                  </a:lnTo>
                  <a:cubicBezTo>
                    <a:pt x="5505819" y="1401501"/>
                    <a:pt x="5507318" y="1407941"/>
                    <a:pt x="5510316" y="1411784"/>
                  </a:cubicBezTo>
                  <a:cubicBezTo>
                    <a:pt x="5513314" y="1415627"/>
                    <a:pt x="5518530" y="1417633"/>
                    <a:pt x="5525964" y="1417802"/>
                  </a:cubicBezTo>
                  <a:lnTo>
                    <a:pt x="5525964" y="1437313"/>
                  </a:lnTo>
                  <a:cubicBezTo>
                    <a:pt x="5495894" y="1436975"/>
                    <a:pt x="5480860" y="1424137"/>
                    <a:pt x="5480860" y="1398799"/>
                  </a:cubicBezTo>
                  <a:lnTo>
                    <a:pt x="5480860" y="1361425"/>
                  </a:lnTo>
                  <a:cubicBezTo>
                    <a:pt x="5480860" y="1344700"/>
                    <a:pt x="5474272" y="1335916"/>
                    <a:pt x="5461096" y="1335071"/>
                  </a:cubicBezTo>
                  <a:lnTo>
                    <a:pt x="5461096" y="1316575"/>
                  </a:lnTo>
                  <a:cubicBezTo>
                    <a:pt x="5474272" y="1315730"/>
                    <a:pt x="5480860" y="1306777"/>
                    <a:pt x="5480860" y="1289715"/>
                  </a:cubicBezTo>
                  <a:lnTo>
                    <a:pt x="5480860" y="1253354"/>
                  </a:lnTo>
                  <a:cubicBezTo>
                    <a:pt x="5480860" y="1227678"/>
                    <a:pt x="5495894" y="1214672"/>
                    <a:pt x="5525964" y="1214333"/>
                  </a:cubicBezTo>
                  <a:close/>
                  <a:moveTo>
                    <a:pt x="4877346" y="1214333"/>
                  </a:moveTo>
                  <a:cubicBezTo>
                    <a:pt x="4907245" y="1214672"/>
                    <a:pt x="4922195" y="1227678"/>
                    <a:pt x="4922195" y="1253354"/>
                  </a:cubicBezTo>
                  <a:lnTo>
                    <a:pt x="4922195" y="1289715"/>
                  </a:lnTo>
                  <a:cubicBezTo>
                    <a:pt x="4922195" y="1306777"/>
                    <a:pt x="4928740" y="1315730"/>
                    <a:pt x="4941832" y="1316575"/>
                  </a:cubicBezTo>
                  <a:lnTo>
                    <a:pt x="4941832" y="1335071"/>
                  </a:lnTo>
                  <a:cubicBezTo>
                    <a:pt x="4928740" y="1335916"/>
                    <a:pt x="4922195" y="1344700"/>
                    <a:pt x="4922195" y="1361425"/>
                  </a:cubicBezTo>
                  <a:lnTo>
                    <a:pt x="4922195" y="1398799"/>
                  </a:lnTo>
                  <a:cubicBezTo>
                    <a:pt x="4922195" y="1424137"/>
                    <a:pt x="4907245" y="1436975"/>
                    <a:pt x="4877346" y="1437313"/>
                  </a:cubicBezTo>
                  <a:lnTo>
                    <a:pt x="4877346" y="1417802"/>
                  </a:lnTo>
                  <a:cubicBezTo>
                    <a:pt x="4884693" y="1417633"/>
                    <a:pt x="4889908" y="1415607"/>
                    <a:pt x="4892991" y="1411722"/>
                  </a:cubicBezTo>
                  <a:cubicBezTo>
                    <a:pt x="4896075" y="1407836"/>
                    <a:pt x="4897617" y="1401417"/>
                    <a:pt x="4897617" y="1392464"/>
                  </a:cubicBezTo>
                  <a:lnTo>
                    <a:pt x="4897617" y="1357116"/>
                  </a:lnTo>
                  <a:cubicBezTo>
                    <a:pt x="4897617" y="1339971"/>
                    <a:pt x="4905936" y="1329539"/>
                    <a:pt x="4922575" y="1325823"/>
                  </a:cubicBezTo>
                  <a:lnTo>
                    <a:pt x="4922575" y="1325443"/>
                  </a:lnTo>
                  <a:cubicBezTo>
                    <a:pt x="4905936" y="1321474"/>
                    <a:pt x="4897617" y="1310959"/>
                    <a:pt x="4897617" y="1293896"/>
                  </a:cubicBezTo>
                  <a:lnTo>
                    <a:pt x="4897617" y="1258169"/>
                  </a:lnTo>
                  <a:cubicBezTo>
                    <a:pt x="4897617" y="1242374"/>
                    <a:pt x="4890859" y="1234308"/>
                    <a:pt x="4877346" y="1233971"/>
                  </a:cubicBezTo>
                  <a:close/>
                  <a:moveTo>
                    <a:pt x="4859861" y="1214333"/>
                  </a:moveTo>
                  <a:lnTo>
                    <a:pt x="4859861" y="1233971"/>
                  </a:lnTo>
                  <a:cubicBezTo>
                    <a:pt x="4846432" y="1234308"/>
                    <a:pt x="4839717" y="1242374"/>
                    <a:pt x="4839717" y="1258169"/>
                  </a:cubicBezTo>
                  <a:lnTo>
                    <a:pt x="4839717" y="1293896"/>
                  </a:lnTo>
                  <a:cubicBezTo>
                    <a:pt x="4839717" y="1310959"/>
                    <a:pt x="4831313" y="1321474"/>
                    <a:pt x="4814505" y="1325443"/>
                  </a:cubicBezTo>
                  <a:lnTo>
                    <a:pt x="4814505" y="1325823"/>
                  </a:lnTo>
                  <a:cubicBezTo>
                    <a:pt x="4831313" y="1329539"/>
                    <a:pt x="4839717" y="1339971"/>
                    <a:pt x="4839717" y="1357116"/>
                  </a:cubicBezTo>
                  <a:lnTo>
                    <a:pt x="4839717" y="1392464"/>
                  </a:lnTo>
                  <a:cubicBezTo>
                    <a:pt x="4839717" y="1401501"/>
                    <a:pt x="4841217" y="1407941"/>
                    <a:pt x="4844214" y="1411784"/>
                  </a:cubicBezTo>
                  <a:cubicBezTo>
                    <a:pt x="4847212" y="1415627"/>
                    <a:pt x="4852428" y="1417633"/>
                    <a:pt x="4859861" y="1417802"/>
                  </a:cubicBezTo>
                  <a:lnTo>
                    <a:pt x="4859861" y="1437313"/>
                  </a:lnTo>
                  <a:cubicBezTo>
                    <a:pt x="4829792" y="1436975"/>
                    <a:pt x="4814758" y="1424137"/>
                    <a:pt x="4814758" y="1398799"/>
                  </a:cubicBezTo>
                  <a:lnTo>
                    <a:pt x="4814758" y="1361425"/>
                  </a:lnTo>
                  <a:cubicBezTo>
                    <a:pt x="4814758" y="1344700"/>
                    <a:pt x="4808170" y="1335916"/>
                    <a:pt x="4794994" y="1335071"/>
                  </a:cubicBezTo>
                  <a:lnTo>
                    <a:pt x="4794994" y="1316575"/>
                  </a:lnTo>
                  <a:cubicBezTo>
                    <a:pt x="4808170" y="1315730"/>
                    <a:pt x="4814758" y="1306777"/>
                    <a:pt x="4814758" y="1289715"/>
                  </a:cubicBezTo>
                  <a:lnTo>
                    <a:pt x="4814758" y="1253354"/>
                  </a:lnTo>
                  <a:cubicBezTo>
                    <a:pt x="4814758" y="1227678"/>
                    <a:pt x="4829792" y="1214672"/>
                    <a:pt x="4859861" y="1214333"/>
                  </a:cubicBezTo>
                  <a:close/>
                  <a:moveTo>
                    <a:pt x="2052800" y="1214333"/>
                  </a:moveTo>
                  <a:cubicBezTo>
                    <a:pt x="2082700" y="1214672"/>
                    <a:pt x="2097651" y="1227678"/>
                    <a:pt x="2097651" y="1253354"/>
                  </a:cubicBezTo>
                  <a:lnTo>
                    <a:pt x="2097651" y="1289715"/>
                  </a:lnTo>
                  <a:cubicBezTo>
                    <a:pt x="2097651" y="1306777"/>
                    <a:pt x="2104196" y="1315730"/>
                    <a:pt x="2117288" y="1316575"/>
                  </a:cubicBezTo>
                  <a:lnTo>
                    <a:pt x="2117288" y="1335071"/>
                  </a:lnTo>
                  <a:cubicBezTo>
                    <a:pt x="2104196" y="1335916"/>
                    <a:pt x="2097651" y="1344700"/>
                    <a:pt x="2097651" y="1361425"/>
                  </a:cubicBezTo>
                  <a:lnTo>
                    <a:pt x="2097651" y="1398799"/>
                  </a:lnTo>
                  <a:cubicBezTo>
                    <a:pt x="2097651" y="1424137"/>
                    <a:pt x="2082700" y="1436975"/>
                    <a:pt x="2052800" y="1437313"/>
                  </a:cubicBezTo>
                  <a:lnTo>
                    <a:pt x="2052800" y="1417802"/>
                  </a:lnTo>
                  <a:cubicBezTo>
                    <a:pt x="2060149" y="1417633"/>
                    <a:pt x="2065365" y="1415607"/>
                    <a:pt x="2068447" y="1411722"/>
                  </a:cubicBezTo>
                  <a:cubicBezTo>
                    <a:pt x="2071531" y="1407836"/>
                    <a:pt x="2073072" y="1401417"/>
                    <a:pt x="2073072" y="1392464"/>
                  </a:cubicBezTo>
                  <a:lnTo>
                    <a:pt x="2073072" y="1357116"/>
                  </a:lnTo>
                  <a:cubicBezTo>
                    <a:pt x="2073072" y="1339971"/>
                    <a:pt x="2081392" y="1329539"/>
                    <a:pt x="2098031" y="1325823"/>
                  </a:cubicBezTo>
                  <a:lnTo>
                    <a:pt x="2098031" y="1325443"/>
                  </a:lnTo>
                  <a:cubicBezTo>
                    <a:pt x="2081392" y="1321474"/>
                    <a:pt x="2073072" y="1310959"/>
                    <a:pt x="2073072" y="1293896"/>
                  </a:cubicBezTo>
                  <a:lnTo>
                    <a:pt x="2073072" y="1258169"/>
                  </a:lnTo>
                  <a:cubicBezTo>
                    <a:pt x="2073072" y="1242374"/>
                    <a:pt x="2066315" y="1234308"/>
                    <a:pt x="2052800" y="1233971"/>
                  </a:cubicBezTo>
                  <a:close/>
                  <a:moveTo>
                    <a:pt x="2035316" y="1214333"/>
                  </a:moveTo>
                  <a:lnTo>
                    <a:pt x="2035316" y="1233971"/>
                  </a:lnTo>
                  <a:cubicBezTo>
                    <a:pt x="2021887" y="1234308"/>
                    <a:pt x="2015173" y="1242374"/>
                    <a:pt x="2015173" y="1258169"/>
                  </a:cubicBezTo>
                  <a:lnTo>
                    <a:pt x="2015173" y="1293896"/>
                  </a:lnTo>
                  <a:cubicBezTo>
                    <a:pt x="2015173" y="1310959"/>
                    <a:pt x="2006768" y="1321474"/>
                    <a:pt x="1989960" y="1325443"/>
                  </a:cubicBezTo>
                  <a:lnTo>
                    <a:pt x="1989960" y="1325823"/>
                  </a:lnTo>
                  <a:cubicBezTo>
                    <a:pt x="2006768" y="1329539"/>
                    <a:pt x="2015173" y="1339971"/>
                    <a:pt x="2015173" y="1357116"/>
                  </a:cubicBezTo>
                  <a:lnTo>
                    <a:pt x="2015173" y="1392464"/>
                  </a:lnTo>
                  <a:cubicBezTo>
                    <a:pt x="2015173" y="1401501"/>
                    <a:pt x="2016672" y="1407941"/>
                    <a:pt x="2019670" y="1411784"/>
                  </a:cubicBezTo>
                  <a:cubicBezTo>
                    <a:pt x="2022669" y="1415627"/>
                    <a:pt x="2027883" y="1417633"/>
                    <a:pt x="2035316" y="1417802"/>
                  </a:cubicBezTo>
                  <a:lnTo>
                    <a:pt x="2035316" y="1437313"/>
                  </a:lnTo>
                  <a:cubicBezTo>
                    <a:pt x="2005247" y="1436975"/>
                    <a:pt x="1990214" y="1424137"/>
                    <a:pt x="1990214" y="1398799"/>
                  </a:cubicBezTo>
                  <a:lnTo>
                    <a:pt x="1990214" y="1361425"/>
                  </a:lnTo>
                  <a:cubicBezTo>
                    <a:pt x="1990214" y="1344700"/>
                    <a:pt x="1983625" y="1335916"/>
                    <a:pt x="1970449" y="1335071"/>
                  </a:cubicBezTo>
                  <a:lnTo>
                    <a:pt x="1970449" y="1316575"/>
                  </a:lnTo>
                  <a:cubicBezTo>
                    <a:pt x="1983625" y="1315730"/>
                    <a:pt x="1990214" y="1306777"/>
                    <a:pt x="1990214" y="1289715"/>
                  </a:cubicBezTo>
                  <a:lnTo>
                    <a:pt x="1990214" y="1253354"/>
                  </a:lnTo>
                  <a:cubicBezTo>
                    <a:pt x="1990214" y="1227678"/>
                    <a:pt x="2005247" y="1214672"/>
                    <a:pt x="2035316" y="1214333"/>
                  </a:cubicBezTo>
                  <a:close/>
                  <a:moveTo>
                    <a:pt x="8998507" y="1084932"/>
                  </a:moveTo>
                  <a:cubicBezTo>
                    <a:pt x="8993957" y="1102952"/>
                    <a:pt x="8988778" y="1114327"/>
                    <a:pt x="8975158" y="1124444"/>
                  </a:cubicBezTo>
                  <a:cubicBezTo>
                    <a:pt x="8973781" y="1131838"/>
                    <a:pt x="8986174" y="1127887"/>
                    <a:pt x="8991682" y="1127857"/>
                  </a:cubicBezTo>
                  <a:cubicBezTo>
                    <a:pt x="8997190" y="1127827"/>
                    <a:pt x="9006739" y="1129309"/>
                    <a:pt x="9008205" y="1124265"/>
                  </a:cubicBezTo>
                  <a:cubicBezTo>
                    <a:pt x="9009193" y="1120792"/>
                    <a:pt x="9006768" y="1118128"/>
                    <a:pt x="9005242" y="1114746"/>
                  </a:cubicBezTo>
                  <a:cubicBezTo>
                    <a:pt x="9004464" y="1111034"/>
                    <a:pt x="9007352" y="1106424"/>
                    <a:pt x="9006230" y="1101455"/>
                  </a:cubicBezTo>
                  <a:cubicBezTo>
                    <a:pt x="9005107" y="1096486"/>
                    <a:pt x="9001799" y="1088643"/>
                    <a:pt x="8998507" y="1084932"/>
                  </a:cubicBezTo>
                  <a:close/>
                  <a:moveTo>
                    <a:pt x="2937770" y="1084932"/>
                  </a:moveTo>
                  <a:cubicBezTo>
                    <a:pt x="2933221" y="1102952"/>
                    <a:pt x="2928041" y="1114327"/>
                    <a:pt x="2914421" y="1124444"/>
                  </a:cubicBezTo>
                  <a:cubicBezTo>
                    <a:pt x="2913045" y="1131838"/>
                    <a:pt x="2925438" y="1127887"/>
                    <a:pt x="2930946" y="1127857"/>
                  </a:cubicBezTo>
                  <a:cubicBezTo>
                    <a:pt x="2936453" y="1127827"/>
                    <a:pt x="2946002" y="1129309"/>
                    <a:pt x="2947468" y="1124265"/>
                  </a:cubicBezTo>
                  <a:cubicBezTo>
                    <a:pt x="2948456" y="1120792"/>
                    <a:pt x="2946032" y="1118128"/>
                    <a:pt x="2944505" y="1114746"/>
                  </a:cubicBezTo>
                  <a:cubicBezTo>
                    <a:pt x="2943727" y="1111034"/>
                    <a:pt x="2946616" y="1106424"/>
                    <a:pt x="2945494" y="1101455"/>
                  </a:cubicBezTo>
                  <a:cubicBezTo>
                    <a:pt x="2944370" y="1096486"/>
                    <a:pt x="2941063" y="1088643"/>
                    <a:pt x="2937770" y="1084932"/>
                  </a:cubicBezTo>
                  <a:close/>
                  <a:moveTo>
                    <a:pt x="8837402" y="1068408"/>
                  </a:moveTo>
                  <a:cubicBezTo>
                    <a:pt x="8832553" y="1073946"/>
                    <a:pt x="8823663" y="1084513"/>
                    <a:pt x="8823663" y="1088793"/>
                  </a:cubicBezTo>
                  <a:cubicBezTo>
                    <a:pt x="8823932" y="1094121"/>
                    <a:pt x="8838210" y="1109867"/>
                    <a:pt x="8845305" y="1110525"/>
                  </a:cubicBezTo>
                  <a:cubicBezTo>
                    <a:pt x="8851172" y="1110675"/>
                    <a:pt x="8851741" y="1107592"/>
                    <a:pt x="8854285" y="1103251"/>
                  </a:cubicBezTo>
                  <a:cubicBezTo>
                    <a:pt x="8846143" y="1091727"/>
                    <a:pt x="8842760" y="1085860"/>
                    <a:pt x="8837402" y="1068408"/>
                  </a:cubicBezTo>
                  <a:close/>
                  <a:moveTo>
                    <a:pt x="2776666" y="1068408"/>
                  </a:moveTo>
                  <a:cubicBezTo>
                    <a:pt x="2771816" y="1073946"/>
                    <a:pt x="2762926" y="1084513"/>
                    <a:pt x="2762926" y="1088793"/>
                  </a:cubicBezTo>
                  <a:cubicBezTo>
                    <a:pt x="2763195" y="1094121"/>
                    <a:pt x="2777474" y="1109867"/>
                    <a:pt x="2784568" y="1110525"/>
                  </a:cubicBezTo>
                  <a:cubicBezTo>
                    <a:pt x="2790435" y="1110675"/>
                    <a:pt x="2791004" y="1107592"/>
                    <a:pt x="2793548" y="1103251"/>
                  </a:cubicBezTo>
                  <a:cubicBezTo>
                    <a:pt x="2785406" y="1091727"/>
                    <a:pt x="2782024" y="1085860"/>
                    <a:pt x="2776666" y="1068408"/>
                  </a:cubicBezTo>
                  <a:close/>
                  <a:moveTo>
                    <a:pt x="8820903" y="999655"/>
                  </a:moveTo>
                  <a:lnTo>
                    <a:pt x="8820701" y="1001181"/>
                  </a:lnTo>
                  <a:lnTo>
                    <a:pt x="8820634" y="999913"/>
                  </a:lnTo>
                  <a:close/>
                  <a:moveTo>
                    <a:pt x="2760166" y="999654"/>
                  </a:moveTo>
                  <a:lnTo>
                    <a:pt x="2759965" y="1001182"/>
                  </a:lnTo>
                  <a:lnTo>
                    <a:pt x="2759898" y="999913"/>
                  </a:lnTo>
                  <a:close/>
                  <a:moveTo>
                    <a:pt x="9024190" y="972275"/>
                  </a:moveTo>
                  <a:cubicBezTo>
                    <a:pt x="9024153" y="972448"/>
                    <a:pt x="9021275" y="973518"/>
                    <a:pt x="9020171" y="975149"/>
                  </a:cubicBezTo>
                  <a:cubicBezTo>
                    <a:pt x="9024740" y="976671"/>
                    <a:pt x="9026344" y="978104"/>
                    <a:pt x="9027141" y="983577"/>
                  </a:cubicBezTo>
                  <a:cubicBezTo>
                    <a:pt x="9027356" y="983536"/>
                    <a:pt x="9028860" y="982322"/>
                    <a:pt x="9034068" y="981839"/>
                  </a:cubicBezTo>
                  <a:cubicBezTo>
                    <a:pt x="9022244" y="986569"/>
                    <a:pt x="9016258" y="991658"/>
                    <a:pt x="9007667" y="1001147"/>
                  </a:cubicBezTo>
                  <a:cubicBezTo>
                    <a:pt x="9010383" y="995803"/>
                    <a:pt x="9012698" y="993539"/>
                    <a:pt x="9012717" y="993472"/>
                  </a:cubicBezTo>
                  <a:cubicBezTo>
                    <a:pt x="9008220" y="991944"/>
                    <a:pt x="9006955" y="991584"/>
                    <a:pt x="9004883" y="986464"/>
                  </a:cubicBezTo>
                  <a:cubicBezTo>
                    <a:pt x="9004610" y="986614"/>
                    <a:pt x="9004157" y="986382"/>
                    <a:pt x="9000033" y="990550"/>
                  </a:cubicBezTo>
                  <a:cubicBezTo>
                    <a:pt x="9007277" y="976302"/>
                    <a:pt x="9014072" y="975389"/>
                    <a:pt x="9024190" y="972275"/>
                  </a:cubicBezTo>
                  <a:close/>
                  <a:moveTo>
                    <a:pt x="2963453" y="972275"/>
                  </a:moveTo>
                  <a:cubicBezTo>
                    <a:pt x="2963416" y="972448"/>
                    <a:pt x="2960539" y="973518"/>
                    <a:pt x="2959436" y="975149"/>
                  </a:cubicBezTo>
                  <a:cubicBezTo>
                    <a:pt x="2964003" y="976671"/>
                    <a:pt x="2965608" y="978104"/>
                    <a:pt x="2966404" y="983577"/>
                  </a:cubicBezTo>
                  <a:cubicBezTo>
                    <a:pt x="2966619" y="983536"/>
                    <a:pt x="2968123" y="982322"/>
                    <a:pt x="2973332" y="981839"/>
                  </a:cubicBezTo>
                  <a:cubicBezTo>
                    <a:pt x="2961509" y="986569"/>
                    <a:pt x="2955521" y="991658"/>
                    <a:pt x="2946930" y="1001147"/>
                  </a:cubicBezTo>
                  <a:cubicBezTo>
                    <a:pt x="2949646" y="995803"/>
                    <a:pt x="2951962" y="993539"/>
                    <a:pt x="2951980" y="993472"/>
                  </a:cubicBezTo>
                  <a:cubicBezTo>
                    <a:pt x="2947484" y="991944"/>
                    <a:pt x="2946218" y="991584"/>
                    <a:pt x="2944146" y="986464"/>
                  </a:cubicBezTo>
                  <a:cubicBezTo>
                    <a:pt x="2943873" y="986614"/>
                    <a:pt x="2943420" y="986382"/>
                    <a:pt x="2939297" y="990550"/>
                  </a:cubicBezTo>
                  <a:cubicBezTo>
                    <a:pt x="2946540" y="976302"/>
                    <a:pt x="2953336" y="975389"/>
                    <a:pt x="2963453" y="972275"/>
                  </a:cubicBezTo>
                  <a:close/>
                  <a:moveTo>
                    <a:pt x="8997441" y="955753"/>
                  </a:moveTo>
                  <a:cubicBezTo>
                    <a:pt x="8998146" y="955697"/>
                    <a:pt x="8998911" y="955717"/>
                    <a:pt x="8999742" y="955790"/>
                  </a:cubicBezTo>
                  <a:cubicBezTo>
                    <a:pt x="9001957" y="955984"/>
                    <a:pt x="9004643" y="956553"/>
                    <a:pt x="9007936" y="957054"/>
                  </a:cubicBezTo>
                  <a:cubicBezTo>
                    <a:pt x="8996741" y="958820"/>
                    <a:pt x="8993628" y="965076"/>
                    <a:pt x="8988898" y="976092"/>
                  </a:cubicBezTo>
                  <a:cubicBezTo>
                    <a:pt x="8990470" y="960259"/>
                    <a:pt x="8992505" y="956144"/>
                    <a:pt x="8997441" y="955753"/>
                  </a:cubicBezTo>
                  <a:close/>
                  <a:moveTo>
                    <a:pt x="2936704" y="955753"/>
                  </a:moveTo>
                  <a:cubicBezTo>
                    <a:pt x="2937410" y="955697"/>
                    <a:pt x="2938175" y="955717"/>
                    <a:pt x="2939005" y="955790"/>
                  </a:cubicBezTo>
                  <a:cubicBezTo>
                    <a:pt x="2941220" y="955984"/>
                    <a:pt x="2943906" y="956553"/>
                    <a:pt x="2947199" y="957054"/>
                  </a:cubicBezTo>
                  <a:cubicBezTo>
                    <a:pt x="2936004" y="958820"/>
                    <a:pt x="2932891" y="965076"/>
                    <a:pt x="2928161" y="976092"/>
                  </a:cubicBezTo>
                  <a:cubicBezTo>
                    <a:pt x="2929733" y="960259"/>
                    <a:pt x="2931769" y="956144"/>
                    <a:pt x="2936704" y="955753"/>
                  </a:cubicBezTo>
                  <a:close/>
                  <a:moveTo>
                    <a:pt x="9100739" y="933525"/>
                  </a:moveTo>
                  <a:cubicBezTo>
                    <a:pt x="9102348" y="935596"/>
                    <a:pt x="9097454" y="943389"/>
                    <a:pt x="9092486" y="947541"/>
                  </a:cubicBezTo>
                  <a:cubicBezTo>
                    <a:pt x="9087519" y="951693"/>
                    <a:pt x="9080200" y="951267"/>
                    <a:pt x="9080228" y="949546"/>
                  </a:cubicBezTo>
                  <a:cubicBezTo>
                    <a:pt x="9080256" y="947825"/>
                    <a:pt x="9088026" y="945542"/>
                    <a:pt x="9091445" y="942872"/>
                  </a:cubicBezTo>
                  <a:cubicBezTo>
                    <a:pt x="9094863" y="940202"/>
                    <a:pt x="9099603" y="932533"/>
                    <a:pt x="9100739" y="933525"/>
                  </a:cubicBezTo>
                  <a:close/>
                  <a:moveTo>
                    <a:pt x="3040003" y="933525"/>
                  </a:moveTo>
                  <a:cubicBezTo>
                    <a:pt x="3041611" y="935596"/>
                    <a:pt x="3036717" y="943389"/>
                    <a:pt x="3031749" y="947541"/>
                  </a:cubicBezTo>
                  <a:cubicBezTo>
                    <a:pt x="3026782" y="951693"/>
                    <a:pt x="3019463" y="951267"/>
                    <a:pt x="3019491" y="949546"/>
                  </a:cubicBezTo>
                  <a:cubicBezTo>
                    <a:pt x="3019519" y="947825"/>
                    <a:pt x="3027290" y="945542"/>
                    <a:pt x="3030708" y="942872"/>
                  </a:cubicBezTo>
                  <a:cubicBezTo>
                    <a:pt x="3034127" y="940202"/>
                    <a:pt x="3038867" y="932533"/>
                    <a:pt x="3040003" y="933525"/>
                  </a:cubicBezTo>
                  <a:close/>
                  <a:moveTo>
                    <a:pt x="10081433" y="916889"/>
                  </a:moveTo>
                  <a:cubicBezTo>
                    <a:pt x="10117890" y="917227"/>
                    <a:pt x="10136119" y="930234"/>
                    <a:pt x="10136119" y="955910"/>
                  </a:cubicBezTo>
                  <a:lnTo>
                    <a:pt x="10136119" y="992271"/>
                  </a:lnTo>
                  <a:cubicBezTo>
                    <a:pt x="10136119" y="1009333"/>
                    <a:pt x="10144100" y="1018286"/>
                    <a:pt x="10160063" y="1019131"/>
                  </a:cubicBezTo>
                  <a:lnTo>
                    <a:pt x="10160063" y="1037627"/>
                  </a:lnTo>
                  <a:cubicBezTo>
                    <a:pt x="10144100" y="1038472"/>
                    <a:pt x="10136119" y="1047256"/>
                    <a:pt x="10136119" y="1063980"/>
                  </a:cubicBezTo>
                  <a:lnTo>
                    <a:pt x="10136119" y="1101355"/>
                  </a:lnTo>
                  <a:cubicBezTo>
                    <a:pt x="10136119" y="1126693"/>
                    <a:pt x="10117890" y="1139531"/>
                    <a:pt x="10081433" y="1139869"/>
                  </a:cubicBezTo>
                  <a:lnTo>
                    <a:pt x="10081433" y="1120358"/>
                  </a:lnTo>
                  <a:cubicBezTo>
                    <a:pt x="10090393" y="1120189"/>
                    <a:pt x="10096752" y="1118162"/>
                    <a:pt x="10100511" y="1114277"/>
                  </a:cubicBezTo>
                  <a:cubicBezTo>
                    <a:pt x="10104270" y="1110392"/>
                    <a:pt x="10106150" y="1103973"/>
                    <a:pt x="10106150" y="1095020"/>
                  </a:cubicBezTo>
                  <a:lnTo>
                    <a:pt x="10106150" y="1059672"/>
                  </a:lnTo>
                  <a:cubicBezTo>
                    <a:pt x="10106150" y="1042527"/>
                    <a:pt x="10116294" y="1032095"/>
                    <a:pt x="10136582" y="1028379"/>
                  </a:cubicBezTo>
                  <a:lnTo>
                    <a:pt x="10136582" y="1027999"/>
                  </a:lnTo>
                  <a:cubicBezTo>
                    <a:pt x="10116294" y="1024029"/>
                    <a:pt x="10106150" y="1013514"/>
                    <a:pt x="10106150" y="996452"/>
                  </a:cubicBezTo>
                  <a:lnTo>
                    <a:pt x="10106150" y="960725"/>
                  </a:lnTo>
                  <a:cubicBezTo>
                    <a:pt x="10106150" y="944930"/>
                    <a:pt x="10097911" y="936864"/>
                    <a:pt x="10081433" y="936527"/>
                  </a:cubicBezTo>
                  <a:close/>
                  <a:moveTo>
                    <a:pt x="10060114" y="916889"/>
                  </a:moveTo>
                  <a:lnTo>
                    <a:pt x="10060114" y="936527"/>
                  </a:lnTo>
                  <a:cubicBezTo>
                    <a:pt x="10043740" y="936864"/>
                    <a:pt x="10035552" y="944930"/>
                    <a:pt x="10035552" y="960725"/>
                  </a:cubicBezTo>
                  <a:lnTo>
                    <a:pt x="10035552" y="996452"/>
                  </a:lnTo>
                  <a:cubicBezTo>
                    <a:pt x="10035552" y="1013514"/>
                    <a:pt x="10025305" y="1024029"/>
                    <a:pt x="10004811" y="1027999"/>
                  </a:cubicBezTo>
                  <a:lnTo>
                    <a:pt x="10004811" y="1028379"/>
                  </a:lnTo>
                  <a:cubicBezTo>
                    <a:pt x="10025305" y="1032095"/>
                    <a:pt x="10035552" y="1042527"/>
                    <a:pt x="10035552" y="1059672"/>
                  </a:cubicBezTo>
                  <a:lnTo>
                    <a:pt x="10035552" y="1095020"/>
                  </a:lnTo>
                  <a:cubicBezTo>
                    <a:pt x="10035552" y="1104057"/>
                    <a:pt x="10037380" y="1110497"/>
                    <a:pt x="10041036" y="1114340"/>
                  </a:cubicBezTo>
                  <a:cubicBezTo>
                    <a:pt x="10044692" y="1118183"/>
                    <a:pt x="10051052" y="1120189"/>
                    <a:pt x="10060114" y="1120358"/>
                  </a:cubicBezTo>
                  <a:lnTo>
                    <a:pt x="10060114" y="1139869"/>
                  </a:lnTo>
                  <a:cubicBezTo>
                    <a:pt x="10023451" y="1139531"/>
                    <a:pt x="10005120" y="1126693"/>
                    <a:pt x="10005120" y="1101355"/>
                  </a:cubicBezTo>
                  <a:lnTo>
                    <a:pt x="10005120" y="1063980"/>
                  </a:lnTo>
                  <a:cubicBezTo>
                    <a:pt x="10005120" y="1047256"/>
                    <a:pt x="9997087" y="1038472"/>
                    <a:pt x="9981021" y="1037627"/>
                  </a:cubicBezTo>
                  <a:lnTo>
                    <a:pt x="9981021" y="1019131"/>
                  </a:lnTo>
                  <a:cubicBezTo>
                    <a:pt x="9997087" y="1018286"/>
                    <a:pt x="10005120" y="1009333"/>
                    <a:pt x="10005120" y="992271"/>
                  </a:cubicBezTo>
                  <a:lnTo>
                    <a:pt x="10005120" y="955910"/>
                  </a:lnTo>
                  <a:cubicBezTo>
                    <a:pt x="10005120" y="930234"/>
                    <a:pt x="10023451" y="917227"/>
                    <a:pt x="10060114" y="916889"/>
                  </a:cubicBezTo>
                  <a:close/>
                  <a:moveTo>
                    <a:pt x="4018207" y="916889"/>
                  </a:moveTo>
                  <a:cubicBezTo>
                    <a:pt x="4054665" y="917227"/>
                    <a:pt x="4072893" y="930234"/>
                    <a:pt x="4072893" y="955910"/>
                  </a:cubicBezTo>
                  <a:lnTo>
                    <a:pt x="4072893" y="992271"/>
                  </a:lnTo>
                  <a:cubicBezTo>
                    <a:pt x="4072893" y="1009333"/>
                    <a:pt x="4080874" y="1018286"/>
                    <a:pt x="4096837" y="1019131"/>
                  </a:cubicBezTo>
                  <a:lnTo>
                    <a:pt x="4096837" y="1037627"/>
                  </a:lnTo>
                  <a:cubicBezTo>
                    <a:pt x="4080874" y="1038472"/>
                    <a:pt x="4072893" y="1047256"/>
                    <a:pt x="4072893" y="1063980"/>
                  </a:cubicBezTo>
                  <a:lnTo>
                    <a:pt x="4072893" y="1101355"/>
                  </a:lnTo>
                  <a:cubicBezTo>
                    <a:pt x="4072893" y="1126693"/>
                    <a:pt x="4054665" y="1139531"/>
                    <a:pt x="4018207" y="1139869"/>
                  </a:cubicBezTo>
                  <a:lnTo>
                    <a:pt x="4018207" y="1120358"/>
                  </a:lnTo>
                  <a:cubicBezTo>
                    <a:pt x="4027167" y="1120189"/>
                    <a:pt x="4033526" y="1118162"/>
                    <a:pt x="4037285" y="1114277"/>
                  </a:cubicBezTo>
                  <a:cubicBezTo>
                    <a:pt x="4041044" y="1110392"/>
                    <a:pt x="4042924" y="1103973"/>
                    <a:pt x="4042924" y="1095020"/>
                  </a:cubicBezTo>
                  <a:lnTo>
                    <a:pt x="4042924" y="1059672"/>
                  </a:lnTo>
                  <a:cubicBezTo>
                    <a:pt x="4042924" y="1042527"/>
                    <a:pt x="4053068" y="1032095"/>
                    <a:pt x="4073356" y="1028379"/>
                  </a:cubicBezTo>
                  <a:lnTo>
                    <a:pt x="4073356" y="1027999"/>
                  </a:lnTo>
                  <a:cubicBezTo>
                    <a:pt x="4053068" y="1024029"/>
                    <a:pt x="4042924" y="1013514"/>
                    <a:pt x="4042924" y="996452"/>
                  </a:cubicBezTo>
                  <a:lnTo>
                    <a:pt x="4042924" y="960725"/>
                  </a:lnTo>
                  <a:cubicBezTo>
                    <a:pt x="4042924" y="944930"/>
                    <a:pt x="4034686" y="936864"/>
                    <a:pt x="4018207" y="936527"/>
                  </a:cubicBezTo>
                  <a:close/>
                  <a:moveTo>
                    <a:pt x="3996889" y="916889"/>
                  </a:moveTo>
                  <a:lnTo>
                    <a:pt x="3996889" y="936527"/>
                  </a:lnTo>
                  <a:cubicBezTo>
                    <a:pt x="3980514" y="936864"/>
                    <a:pt x="3972327" y="944930"/>
                    <a:pt x="3972327" y="960725"/>
                  </a:cubicBezTo>
                  <a:lnTo>
                    <a:pt x="3972327" y="996452"/>
                  </a:lnTo>
                  <a:cubicBezTo>
                    <a:pt x="3972327" y="1013514"/>
                    <a:pt x="3962079" y="1024029"/>
                    <a:pt x="3941585" y="1027999"/>
                  </a:cubicBezTo>
                  <a:lnTo>
                    <a:pt x="3941585" y="1028379"/>
                  </a:lnTo>
                  <a:cubicBezTo>
                    <a:pt x="3962079" y="1032095"/>
                    <a:pt x="3972327" y="1042527"/>
                    <a:pt x="3972327" y="1059672"/>
                  </a:cubicBezTo>
                  <a:lnTo>
                    <a:pt x="3972327" y="1095020"/>
                  </a:lnTo>
                  <a:cubicBezTo>
                    <a:pt x="3972327" y="1104057"/>
                    <a:pt x="3974154" y="1110497"/>
                    <a:pt x="3977811" y="1114340"/>
                  </a:cubicBezTo>
                  <a:cubicBezTo>
                    <a:pt x="3981466" y="1118183"/>
                    <a:pt x="3987826" y="1120189"/>
                    <a:pt x="3996889" y="1120358"/>
                  </a:cubicBezTo>
                  <a:lnTo>
                    <a:pt x="3996889" y="1139869"/>
                  </a:lnTo>
                  <a:cubicBezTo>
                    <a:pt x="3960225" y="1139531"/>
                    <a:pt x="3941894" y="1126693"/>
                    <a:pt x="3941894" y="1101355"/>
                  </a:cubicBezTo>
                  <a:lnTo>
                    <a:pt x="3941894" y="1063980"/>
                  </a:lnTo>
                  <a:cubicBezTo>
                    <a:pt x="3941894" y="1047256"/>
                    <a:pt x="3933861" y="1038472"/>
                    <a:pt x="3917795" y="1037627"/>
                  </a:cubicBezTo>
                  <a:lnTo>
                    <a:pt x="3917795" y="1019131"/>
                  </a:lnTo>
                  <a:cubicBezTo>
                    <a:pt x="3933861" y="1018286"/>
                    <a:pt x="3941894" y="1009333"/>
                    <a:pt x="3941894" y="992271"/>
                  </a:cubicBezTo>
                  <a:lnTo>
                    <a:pt x="3941894" y="955910"/>
                  </a:lnTo>
                  <a:cubicBezTo>
                    <a:pt x="3941894" y="930234"/>
                    <a:pt x="3960225" y="917227"/>
                    <a:pt x="3996889" y="916889"/>
                  </a:cubicBezTo>
                  <a:close/>
                  <a:moveTo>
                    <a:pt x="8996098" y="914392"/>
                  </a:moveTo>
                  <a:cubicBezTo>
                    <a:pt x="8998051" y="914467"/>
                    <a:pt x="9000021" y="914636"/>
                    <a:pt x="9002002" y="914909"/>
                  </a:cubicBezTo>
                  <a:cubicBezTo>
                    <a:pt x="9017845" y="917097"/>
                    <a:pt x="9038227" y="933711"/>
                    <a:pt x="9045278" y="944327"/>
                  </a:cubicBezTo>
                  <a:cubicBezTo>
                    <a:pt x="9054760" y="946921"/>
                    <a:pt x="9060797" y="960657"/>
                    <a:pt x="9063269" y="965479"/>
                  </a:cubicBezTo>
                  <a:cubicBezTo>
                    <a:pt x="9065741" y="970301"/>
                    <a:pt x="9062864" y="973057"/>
                    <a:pt x="9060108" y="973259"/>
                  </a:cubicBezTo>
                  <a:cubicBezTo>
                    <a:pt x="9060068" y="973847"/>
                    <a:pt x="9068608" y="980675"/>
                    <a:pt x="9073222" y="983364"/>
                  </a:cubicBezTo>
                  <a:cubicBezTo>
                    <a:pt x="9076793" y="967840"/>
                    <a:pt x="9071611" y="957421"/>
                    <a:pt x="9071535" y="946030"/>
                  </a:cubicBezTo>
                  <a:cubicBezTo>
                    <a:pt x="9076965" y="936548"/>
                    <a:pt x="9081422" y="939951"/>
                    <a:pt x="9086852" y="936305"/>
                  </a:cubicBezTo>
                  <a:cubicBezTo>
                    <a:pt x="9090094" y="932577"/>
                    <a:pt x="9093092" y="924716"/>
                    <a:pt x="9098765" y="925121"/>
                  </a:cubicBezTo>
                  <a:cubicBezTo>
                    <a:pt x="9108652" y="925526"/>
                    <a:pt x="9121214" y="943923"/>
                    <a:pt x="9121619" y="987604"/>
                  </a:cubicBezTo>
                  <a:cubicBezTo>
                    <a:pt x="9121862" y="1022289"/>
                    <a:pt x="9108004" y="1045548"/>
                    <a:pt x="9083935" y="1055922"/>
                  </a:cubicBezTo>
                  <a:cubicBezTo>
                    <a:pt x="9071626" y="1059204"/>
                    <a:pt x="9061062" y="1058999"/>
                    <a:pt x="9051908" y="1056640"/>
                  </a:cubicBezTo>
                  <a:lnTo>
                    <a:pt x="9047901" y="1055245"/>
                  </a:lnTo>
                  <a:lnTo>
                    <a:pt x="9047421" y="1057521"/>
                  </a:lnTo>
                  <a:cubicBezTo>
                    <a:pt x="9042536" y="1076261"/>
                    <a:pt x="9028801" y="1077702"/>
                    <a:pt x="9022667" y="1077560"/>
                  </a:cubicBezTo>
                  <a:cubicBezTo>
                    <a:pt x="9015657" y="1077398"/>
                    <a:pt x="9005284" y="1070914"/>
                    <a:pt x="9001029" y="1067835"/>
                  </a:cubicBezTo>
                  <a:cubicBezTo>
                    <a:pt x="9000907" y="1072535"/>
                    <a:pt x="9002001" y="1074197"/>
                    <a:pt x="9000056" y="1080477"/>
                  </a:cubicBezTo>
                  <a:cubicBezTo>
                    <a:pt x="9005162" y="1083841"/>
                    <a:pt x="9008241" y="1095835"/>
                    <a:pt x="9009781" y="1101143"/>
                  </a:cubicBezTo>
                  <a:cubicBezTo>
                    <a:pt x="9011321" y="1106451"/>
                    <a:pt x="9009417" y="1107667"/>
                    <a:pt x="9009295" y="1112327"/>
                  </a:cubicBezTo>
                  <a:cubicBezTo>
                    <a:pt x="9009174" y="1116986"/>
                    <a:pt x="9014036" y="1120714"/>
                    <a:pt x="9011483" y="1126185"/>
                  </a:cubicBezTo>
                  <a:cubicBezTo>
                    <a:pt x="9008930" y="1131655"/>
                    <a:pt x="9002285" y="1131939"/>
                    <a:pt x="8995437" y="1132020"/>
                  </a:cubicBezTo>
                  <a:cubicBezTo>
                    <a:pt x="8988589" y="1132101"/>
                    <a:pt x="8973272" y="1136801"/>
                    <a:pt x="8970395" y="1126671"/>
                  </a:cubicBezTo>
                  <a:cubicBezTo>
                    <a:pt x="8970035" y="1125405"/>
                    <a:pt x="8969783" y="1123896"/>
                    <a:pt x="8969631" y="1122187"/>
                  </a:cubicBezTo>
                  <a:cubicBezTo>
                    <a:pt x="8969617" y="1121735"/>
                    <a:pt x="8969604" y="1121284"/>
                    <a:pt x="8969591" y="1120833"/>
                  </a:cubicBezTo>
                  <a:lnTo>
                    <a:pt x="8965826" y="1124401"/>
                  </a:lnTo>
                  <a:cubicBezTo>
                    <a:pt x="8957220" y="1132502"/>
                    <a:pt x="8949461" y="1139131"/>
                    <a:pt x="8942193" y="1138827"/>
                  </a:cubicBezTo>
                  <a:cubicBezTo>
                    <a:pt x="8930077" y="1136396"/>
                    <a:pt x="8920717" y="1117108"/>
                    <a:pt x="8918610" y="1110382"/>
                  </a:cubicBezTo>
                  <a:cubicBezTo>
                    <a:pt x="8916502" y="1103655"/>
                    <a:pt x="8923350" y="1102399"/>
                    <a:pt x="8929550" y="1098468"/>
                  </a:cubicBezTo>
                  <a:cubicBezTo>
                    <a:pt x="8923350" y="1102075"/>
                    <a:pt x="8906575" y="1099117"/>
                    <a:pt x="8904508" y="1096037"/>
                  </a:cubicBezTo>
                  <a:cubicBezTo>
                    <a:pt x="8905116" y="1102439"/>
                    <a:pt x="8904751" y="1103371"/>
                    <a:pt x="8903536" y="1106978"/>
                  </a:cubicBezTo>
                  <a:cubicBezTo>
                    <a:pt x="8902320" y="1110584"/>
                    <a:pt x="8899119" y="1112691"/>
                    <a:pt x="8897214" y="1117675"/>
                  </a:cubicBezTo>
                  <a:cubicBezTo>
                    <a:pt x="8895310" y="1122659"/>
                    <a:pt x="8899686" y="1135099"/>
                    <a:pt x="8892109" y="1136882"/>
                  </a:cubicBezTo>
                  <a:cubicBezTo>
                    <a:pt x="8884531" y="1138665"/>
                    <a:pt x="8860989" y="1137976"/>
                    <a:pt x="8851750" y="1128373"/>
                  </a:cubicBezTo>
                  <a:cubicBezTo>
                    <a:pt x="8847860" y="1123632"/>
                    <a:pt x="8854181" y="1116298"/>
                    <a:pt x="8852723" y="1114272"/>
                  </a:cubicBezTo>
                  <a:cubicBezTo>
                    <a:pt x="8851264" y="1112245"/>
                    <a:pt x="8848833" y="1120228"/>
                    <a:pt x="8842998" y="1116217"/>
                  </a:cubicBezTo>
                  <a:cubicBezTo>
                    <a:pt x="8837163" y="1112205"/>
                    <a:pt x="8819374" y="1098995"/>
                    <a:pt x="8817713" y="1090202"/>
                  </a:cubicBezTo>
                  <a:cubicBezTo>
                    <a:pt x="8816051" y="1081409"/>
                    <a:pt x="8826182" y="1072170"/>
                    <a:pt x="8833030" y="1063458"/>
                  </a:cubicBezTo>
                  <a:cubicBezTo>
                    <a:pt x="8831368" y="1054017"/>
                    <a:pt x="8830679" y="1047696"/>
                    <a:pt x="8834488" y="1036715"/>
                  </a:cubicBezTo>
                  <a:cubicBezTo>
                    <a:pt x="8829383" y="1033595"/>
                    <a:pt x="8818280" y="1029178"/>
                    <a:pt x="8818928" y="1014591"/>
                  </a:cubicBezTo>
                  <a:lnTo>
                    <a:pt x="8820701" y="1001181"/>
                  </a:lnTo>
                  <a:lnTo>
                    <a:pt x="8821163" y="1009961"/>
                  </a:lnTo>
                  <a:lnTo>
                    <a:pt x="8821992" y="1010359"/>
                  </a:lnTo>
                  <a:lnTo>
                    <a:pt x="8822115" y="1011541"/>
                  </a:lnTo>
                  <a:cubicBezTo>
                    <a:pt x="8823146" y="1019977"/>
                    <a:pt x="8825908" y="1029322"/>
                    <a:pt x="8841803" y="1025483"/>
                  </a:cubicBezTo>
                  <a:cubicBezTo>
                    <a:pt x="8834966" y="1061759"/>
                    <a:pt x="8850407" y="1079746"/>
                    <a:pt x="8860149" y="1096591"/>
                  </a:cubicBezTo>
                  <a:lnTo>
                    <a:pt x="8861117" y="1098453"/>
                  </a:lnTo>
                  <a:lnTo>
                    <a:pt x="8861083" y="1099327"/>
                  </a:lnTo>
                  <a:cubicBezTo>
                    <a:pt x="8860790" y="1104469"/>
                    <a:pt x="8860055" y="1108033"/>
                    <a:pt x="8859673" y="1112860"/>
                  </a:cubicBezTo>
                  <a:cubicBezTo>
                    <a:pt x="8858566" y="1116662"/>
                    <a:pt x="8855842" y="1116242"/>
                    <a:pt x="8856351" y="1124265"/>
                  </a:cubicBezTo>
                  <a:cubicBezTo>
                    <a:pt x="8856680" y="1129264"/>
                    <a:pt x="8886015" y="1137316"/>
                    <a:pt x="8890745" y="1130910"/>
                  </a:cubicBezTo>
                  <a:cubicBezTo>
                    <a:pt x="8892122" y="1128695"/>
                    <a:pt x="8891523" y="1123606"/>
                    <a:pt x="8891912" y="1119954"/>
                  </a:cubicBezTo>
                  <a:cubicBezTo>
                    <a:pt x="8892511" y="1115883"/>
                    <a:pt x="8897779" y="1111453"/>
                    <a:pt x="8898557" y="1105676"/>
                  </a:cubicBezTo>
                  <a:cubicBezTo>
                    <a:pt x="8899066" y="1101081"/>
                    <a:pt x="8899014" y="1095880"/>
                    <a:pt x="8898838" y="1090466"/>
                  </a:cubicBezTo>
                  <a:lnTo>
                    <a:pt x="8898628" y="1084748"/>
                  </a:lnTo>
                  <a:lnTo>
                    <a:pt x="8900228" y="1086610"/>
                  </a:lnTo>
                  <a:cubicBezTo>
                    <a:pt x="8910570" y="1097158"/>
                    <a:pt x="8932506" y="1100711"/>
                    <a:pt x="8939866" y="1084393"/>
                  </a:cubicBezTo>
                  <a:cubicBezTo>
                    <a:pt x="8939956" y="1089631"/>
                    <a:pt x="8941662" y="1091637"/>
                    <a:pt x="8940764" y="1098222"/>
                  </a:cubicBezTo>
                  <a:cubicBezTo>
                    <a:pt x="8938190" y="1102383"/>
                    <a:pt x="8926725" y="1103311"/>
                    <a:pt x="8923612" y="1110974"/>
                  </a:cubicBezTo>
                  <a:cubicBezTo>
                    <a:pt x="8922684" y="1114177"/>
                    <a:pt x="8934867" y="1133365"/>
                    <a:pt x="8942650" y="1134053"/>
                  </a:cubicBezTo>
                  <a:cubicBezTo>
                    <a:pt x="8948308" y="1134712"/>
                    <a:pt x="8958814" y="1123606"/>
                    <a:pt x="8977942" y="1106125"/>
                  </a:cubicBezTo>
                  <a:cubicBezTo>
                    <a:pt x="8980903" y="1103419"/>
                    <a:pt x="8992101" y="1082178"/>
                    <a:pt x="8997160" y="1064008"/>
                  </a:cubicBezTo>
                  <a:cubicBezTo>
                    <a:pt x="8992003" y="1061418"/>
                    <a:pt x="8984530" y="1055249"/>
                    <a:pt x="8980182" y="1045621"/>
                  </a:cubicBezTo>
                  <a:lnTo>
                    <a:pt x="8979987" y="1045109"/>
                  </a:lnTo>
                  <a:lnTo>
                    <a:pt x="8982623" y="1046769"/>
                  </a:lnTo>
                  <a:cubicBezTo>
                    <a:pt x="8989257" y="1051189"/>
                    <a:pt x="8995992" y="1056038"/>
                    <a:pt x="9001919" y="1057452"/>
                  </a:cubicBezTo>
                  <a:cubicBezTo>
                    <a:pt x="9006290" y="1062481"/>
                    <a:pt x="9011378" y="1070474"/>
                    <a:pt x="9023382" y="1072000"/>
                  </a:cubicBezTo>
                  <a:cubicBezTo>
                    <a:pt x="9033619" y="1073736"/>
                    <a:pt x="9040893" y="1064068"/>
                    <a:pt x="9044485" y="1053501"/>
                  </a:cubicBezTo>
                  <a:lnTo>
                    <a:pt x="9041163" y="1053232"/>
                  </a:lnTo>
                  <a:cubicBezTo>
                    <a:pt x="9025896" y="1078825"/>
                    <a:pt x="9009762" y="1055484"/>
                    <a:pt x="9013182" y="1030934"/>
                  </a:cubicBezTo>
                  <a:lnTo>
                    <a:pt x="9014112" y="1026126"/>
                  </a:lnTo>
                  <a:lnTo>
                    <a:pt x="9015876" y="1028048"/>
                  </a:lnTo>
                  <a:cubicBezTo>
                    <a:pt x="9046354" y="1059108"/>
                    <a:pt x="9073003" y="1054567"/>
                    <a:pt x="9088129" y="1046317"/>
                  </a:cubicBezTo>
                  <a:cubicBezTo>
                    <a:pt x="9129558" y="1020783"/>
                    <a:pt x="9117419" y="932662"/>
                    <a:pt x="9100073" y="928407"/>
                  </a:cubicBezTo>
                  <a:cubicBezTo>
                    <a:pt x="9096106" y="927434"/>
                    <a:pt x="9093338" y="937657"/>
                    <a:pt x="9090733" y="939184"/>
                  </a:cubicBezTo>
                  <a:cubicBezTo>
                    <a:pt x="9082741" y="943404"/>
                    <a:pt x="9079239" y="942776"/>
                    <a:pt x="9077083" y="946098"/>
                  </a:cubicBezTo>
                  <a:cubicBezTo>
                    <a:pt x="9072818" y="952328"/>
                    <a:pt x="9088521" y="988393"/>
                    <a:pt x="9068549" y="1007305"/>
                  </a:cubicBezTo>
                  <a:lnTo>
                    <a:pt x="9067058" y="1008481"/>
                  </a:lnTo>
                  <a:lnTo>
                    <a:pt x="9067372" y="1007876"/>
                  </a:lnTo>
                  <a:cubicBezTo>
                    <a:pt x="9071156" y="1000563"/>
                    <a:pt x="9075130" y="992189"/>
                    <a:pt x="9070618" y="988664"/>
                  </a:cubicBezTo>
                  <a:cubicBezTo>
                    <a:pt x="9065319" y="984444"/>
                    <a:pt x="9061997" y="987676"/>
                    <a:pt x="9057956" y="991089"/>
                  </a:cubicBezTo>
                  <a:cubicBezTo>
                    <a:pt x="9060560" y="988125"/>
                    <a:pt x="9063703" y="987587"/>
                    <a:pt x="9059303" y="980582"/>
                  </a:cubicBezTo>
                  <a:cubicBezTo>
                    <a:pt x="9055800" y="978217"/>
                    <a:pt x="9053914" y="978816"/>
                    <a:pt x="9047449" y="980492"/>
                  </a:cubicBezTo>
                  <a:cubicBezTo>
                    <a:pt x="9051550" y="977439"/>
                    <a:pt x="9052867" y="978606"/>
                    <a:pt x="9050861" y="972680"/>
                  </a:cubicBezTo>
                  <a:cubicBezTo>
                    <a:pt x="9048122" y="968998"/>
                    <a:pt x="9046747" y="969306"/>
                    <a:pt x="9044008" y="969514"/>
                  </a:cubicBezTo>
                  <a:lnTo>
                    <a:pt x="9042109" y="969527"/>
                  </a:lnTo>
                  <a:lnTo>
                    <a:pt x="9043671" y="968966"/>
                  </a:lnTo>
                  <a:cubicBezTo>
                    <a:pt x="9044546" y="968672"/>
                    <a:pt x="9045338" y="968433"/>
                    <a:pt x="9046012" y="968279"/>
                  </a:cubicBezTo>
                  <a:cubicBezTo>
                    <a:pt x="9051400" y="967052"/>
                    <a:pt x="9057297" y="968743"/>
                    <a:pt x="9057327" y="965675"/>
                  </a:cubicBezTo>
                  <a:cubicBezTo>
                    <a:pt x="9057986" y="962322"/>
                    <a:pt x="9049574" y="951875"/>
                    <a:pt x="9045832" y="951037"/>
                  </a:cubicBezTo>
                  <a:cubicBezTo>
                    <a:pt x="9043834" y="950409"/>
                    <a:pt x="9038603" y="949881"/>
                    <a:pt x="9033852" y="949568"/>
                  </a:cubicBezTo>
                  <a:lnTo>
                    <a:pt x="9032746" y="949509"/>
                  </a:lnTo>
                  <a:lnTo>
                    <a:pt x="9032755" y="949486"/>
                  </a:lnTo>
                  <a:cubicBezTo>
                    <a:pt x="9033883" y="947928"/>
                    <a:pt x="9037638" y="947356"/>
                    <a:pt x="9040534" y="947086"/>
                  </a:cubicBezTo>
                  <a:cubicBezTo>
                    <a:pt x="9028381" y="931042"/>
                    <a:pt x="9012007" y="920744"/>
                    <a:pt x="8997878" y="920954"/>
                  </a:cubicBezTo>
                  <a:cubicBezTo>
                    <a:pt x="8980846" y="921463"/>
                    <a:pt x="8959503" y="925833"/>
                    <a:pt x="8947410" y="944572"/>
                  </a:cubicBezTo>
                  <a:cubicBezTo>
                    <a:pt x="8953591" y="944504"/>
                    <a:pt x="8958189" y="944532"/>
                    <a:pt x="8961642" y="944899"/>
                  </a:cubicBezTo>
                  <a:lnTo>
                    <a:pt x="8962219" y="944982"/>
                  </a:lnTo>
                  <a:lnTo>
                    <a:pt x="8959809" y="945637"/>
                  </a:lnTo>
                  <a:cubicBezTo>
                    <a:pt x="8947003" y="948718"/>
                    <a:pt x="8938081" y="948258"/>
                    <a:pt x="8935210" y="950754"/>
                  </a:cubicBezTo>
                  <a:cubicBezTo>
                    <a:pt x="8929207" y="954954"/>
                    <a:pt x="8890337" y="990764"/>
                    <a:pt x="8888734" y="1011039"/>
                  </a:cubicBezTo>
                  <a:cubicBezTo>
                    <a:pt x="8892851" y="1021801"/>
                    <a:pt x="8893625" y="1014196"/>
                    <a:pt x="8902716" y="1033151"/>
                  </a:cubicBezTo>
                  <a:lnTo>
                    <a:pt x="8917222" y="1016613"/>
                  </a:lnTo>
                  <a:lnTo>
                    <a:pt x="8900250" y="1051719"/>
                  </a:lnTo>
                  <a:cubicBezTo>
                    <a:pt x="8904482" y="1057899"/>
                    <a:pt x="8907367" y="1061206"/>
                    <a:pt x="8916179" y="1061100"/>
                  </a:cubicBezTo>
                  <a:cubicBezTo>
                    <a:pt x="8925590" y="1059852"/>
                    <a:pt x="8934282" y="1052138"/>
                    <a:pt x="8943334" y="1047657"/>
                  </a:cubicBezTo>
                  <a:cubicBezTo>
                    <a:pt x="8952280" y="1043934"/>
                    <a:pt x="8954939" y="1046496"/>
                    <a:pt x="8960742" y="1045916"/>
                  </a:cubicBezTo>
                  <a:cubicBezTo>
                    <a:pt x="8972969" y="1012752"/>
                    <a:pt x="8953765" y="1012904"/>
                    <a:pt x="8966979" y="976866"/>
                  </a:cubicBezTo>
                  <a:cubicBezTo>
                    <a:pt x="8962282" y="1005975"/>
                    <a:pt x="8980933" y="1005989"/>
                    <a:pt x="8967705" y="1054765"/>
                  </a:cubicBezTo>
                  <a:lnTo>
                    <a:pt x="8965597" y="1054420"/>
                  </a:lnTo>
                  <a:lnTo>
                    <a:pt x="8962928" y="1053737"/>
                  </a:lnTo>
                  <a:lnTo>
                    <a:pt x="8960194" y="1053311"/>
                  </a:lnTo>
                  <a:lnTo>
                    <a:pt x="8959428" y="1053133"/>
                  </a:lnTo>
                  <a:cubicBezTo>
                    <a:pt x="8957359" y="1052725"/>
                    <a:pt x="8955183" y="1052507"/>
                    <a:pt x="8952657" y="1052904"/>
                  </a:cubicBezTo>
                  <a:lnTo>
                    <a:pt x="8951671" y="1053134"/>
                  </a:lnTo>
                  <a:lnTo>
                    <a:pt x="8951076" y="1053185"/>
                  </a:lnTo>
                  <a:cubicBezTo>
                    <a:pt x="8937874" y="1055241"/>
                    <a:pt x="8933019" y="1066881"/>
                    <a:pt x="8911848" y="1069127"/>
                  </a:cubicBezTo>
                  <a:cubicBezTo>
                    <a:pt x="8905536" y="1067896"/>
                    <a:pt x="8895442" y="1058620"/>
                    <a:pt x="8889508" y="1051408"/>
                  </a:cubicBezTo>
                  <a:lnTo>
                    <a:pt x="8889050" y="1050814"/>
                  </a:lnTo>
                  <a:lnTo>
                    <a:pt x="8890772" y="1047937"/>
                  </a:lnTo>
                  <a:cubicBezTo>
                    <a:pt x="8892612" y="1045071"/>
                    <a:pt x="8894625" y="1042141"/>
                    <a:pt x="8896851" y="1039133"/>
                  </a:cubicBezTo>
                  <a:cubicBezTo>
                    <a:pt x="8892960" y="1028686"/>
                    <a:pt x="8882692" y="1025064"/>
                    <a:pt x="8879789" y="1012102"/>
                  </a:cubicBezTo>
                  <a:cubicBezTo>
                    <a:pt x="8884488" y="998692"/>
                    <a:pt x="8886404" y="989951"/>
                    <a:pt x="8910052" y="965944"/>
                  </a:cubicBezTo>
                  <a:cubicBezTo>
                    <a:pt x="8847191" y="974954"/>
                    <a:pt x="8847377" y="1025561"/>
                    <a:pt x="8829997" y="1013326"/>
                  </a:cubicBezTo>
                  <a:lnTo>
                    <a:pt x="8826372" y="1010063"/>
                  </a:lnTo>
                  <a:lnTo>
                    <a:pt x="8827432" y="1009468"/>
                  </a:lnTo>
                  <a:cubicBezTo>
                    <a:pt x="8833838" y="1005153"/>
                    <a:pt x="8826252" y="998939"/>
                    <a:pt x="8831386" y="989562"/>
                  </a:cubicBezTo>
                  <a:lnTo>
                    <a:pt x="8820903" y="999655"/>
                  </a:lnTo>
                  <a:lnTo>
                    <a:pt x="8821815" y="992755"/>
                  </a:lnTo>
                  <a:cubicBezTo>
                    <a:pt x="8826911" y="987685"/>
                    <a:pt x="8833799" y="984828"/>
                    <a:pt x="8835461" y="984200"/>
                  </a:cubicBezTo>
                  <a:cubicBezTo>
                    <a:pt x="8832340" y="993722"/>
                    <a:pt x="8839148" y="1000368"/>
                    <a:pt x="8835461" y="1008026"/>
                  </a:cubicBezTo>
                  <a:cubicBezTo>
                    <a:pt x="8870917" y="962927"/>
                    <a:pt x="8895391" y="960050"/>
                    <a:pt x="8911802" y="959644"/>
                  </a:cubicBezTo>
                  <a:cubicBezTo>
                    <a:pt x="8924566" y="948299"/>
                    <a:pt x="8925660" y="945340"/>
                    <a:pt x="8934413" y="943112"/>
                  </a:cubicBezTo>
                  <a:lnTo>
                    <a:pt x="8940449" y="942479"/>
                  </a:lnTo>
                  <a:lnTo>
                    <a:pt x="8941148" y="940982"/>
                  </a:lnTo>
                  <a:cubicBezTo>
                    <a:pt x="8946520" y="930313"/>
                    <a:pt x="8951209" y="926985"/>
                    <a:pt x="8960427" y="922446"/>
                  </a:cubicBezTo>
                  <a:cubicBezTo>
                    <a:pt x="8969646" y="917908"/>
                    <a:pt x="8982432" y="913866"/>
                    <a:pt x="8996098" y="914392"/>
                  </a:cubicBezTo>
                  <a:close/>
                  <a:moveTo>
                    <a:pt x="2935363" y="914392"/>
                  </a:moveTo>
                  <a:cubicBezTo>
                    <a:pt x="2937314" y="914467"/>
                    <a:pt x="2939284" y="914636"/>
                    <a:pt x="2941265" y="914909"/>
                  </a:cubicBezTo>
                  <a:cubicBezTo>
                    <a:pt x="2957109" y="917097"/>
                    <a:pt x="2977491" y="933711"/>
                    <a:pt x="2984542" y="944327"/>
                  </a:cubicBezTo>
                  <a:cubicBezTo>
                    <a:pt x="2994024" y="946921"/>
                    <a:pt x="3000060" y="960657"/>
                    <a:pt x="3002532" y="965479"/>
                  </a:cubicBezTo>
                  <a:cubicBezTo>
                    <a:pt x="3005004" y="970301"/>
                    <a:pt x="3002128" y="973057"/>
                    <a:pt x="2999373" y="973259"/>
                  </a:cubicBezTo>
                  <a:cubicBezTo>
                    <a:pt x="2999331" y="973847"/>
                    <a:pt x="3007872" y="980675"/>
                    <a:pt x="3012485" y="983364"/>
                  </a:cubicBezTo>
                  <a:cubicBezTo>
                    <a:pt x="3016056" y="967840"/>
                    <a:pt x="3010874" y="957421"/>
                    <a:pt x="3010799" y="946030"/>
                  </a:cubicBezTo>
                  <a:cubicBezTo>
                    <a:pt x="3016229" y="936548"/>
                    <a:pt x="3020687" y="939951"/>
                    <a:pt x="3026115" y="936305"/>
                  </a:cubicBezTo>
                  <a:cubicBezTo>
                    <a:pt x="3029357" y="932577"/>
                    <a:pt x="3032356" y="924716"/>
                    <a:pt x="3038029" y="925121"/>
                  </a:cubicBezTo>
                  <a:cubicBezTo>
                    <a:pt x="3047915" y="925526"/>
                    <a:pt x="3060477" y="943923"/>
                    <a:pt x="3060882" y="987604"/>
                  </a:cubicBezTo>
                  <a:cubicBezTo>
                    <a:pt x="3061126" y="1022289"/>
                    <a:pt x="3047267" y="1045548"/>
                    <a:pt x="3023198" y="1055922"/>
                  </a:cubicBezTo>
                  <a:cubicBezTo>
                    <a:pt x="3010890" y="1059204"/>
                    <a:pt x="3000326" y="1058999"/>
                    <a:pt x="2991171" y="1056640"/>
                  </a:cubicBezTo>
                  <a:lnTo>
                    <a:pt x="2987165" y="1055245"/>
                  </a:lnTo>
                  <a:lnTo>
                    <a:pt x="2986685" y="1057521"/>
                  </a:lnTo>
                  <a:cubicBezTo>
                    <a:pt x="2981800" y="1076261"/>
                    <a:pt x="2968064" y="1077702"/>
                    <a:pt x="2961930" y="1077560"/>
                  </a:cubicBezTo>
                  <a:cubicBezTo>
                    <a:pt x="2954920" y="1077398"/>
                    <a:pt x="2944547" y="1070914"/>
                    <a:pt x="2940292" y="1067835"/>
                  </a:cubicBezTo>
                  <a:cubicBezTo>
                    <a:pt x="2940170" y="1072535"/>
                    <a:pt x="2941265" y="1074197"/>
                    <a:pt x="2939319" y="1080477"/>
                  </a:cubicBezTo>
                  <a:cubicBezTo>
                    <a:pt x="2944425" y="1083841"/>
                    <a:pt x="2947505" y="1095835"/>
                    <a:pt x="2949045" y="1101143"/>
                  </a:cubicBezTo>
                  <a:cubicBezTo>
                    <a:pt x="2950584" y="1106451"/>
                    <a:pt x="2948681" y="1107667"/>
                    <a:pt x="2948558" y="1112327"/>
                  </a:cubicBezTo>
                  <a:cubicBezTo>
                    <a:pt x="2948437" y="1116986"/>
                    <a:pt x="2953299" y="1120714"/>
                    <a:pt x="2950746" y="1126185"/>
                  </a:cubicBezTo>
                  <a:cubicBezTo>
                    <a:pt x="2948193" y="1131655"/>
                    <a:pt x="2941548" y="1131939"/>
                    <a:pt x="2934701" y="1132020"/>
                  </a:cubicBezTo>
                  <a:cubicBezTo>
                    <a:pt x="2927853" y="1132101"/>
                    <a:pt x="2912536" y="1136801"/>
                    <a:pt x="2909658" y="1126671"/>
                  </a:cubicBezTo>
                  <a:cubicBezTo>
                    <a:pt x="2909299" y="1125405"/>
                    <a:pt x="2909047" y="1123896"/>
                    <a:pt x="2908894" y="1122187"/>
                  </a:cubicBezTo>
                  <a:cubicBezTo>
                    <a:pt x="2908881" y="1121735"/>
                    <a:pt x="2908868" y="1121284"/>
                    <a:pt x="2908854" y="1120833"/>
                  </a:cubicBezTo>
                  <a:lnTo>
                    <a:pt x="2905089" y="1124401"/>
                  </a:lnTo>
                  <a:cubicBezTo>
                    <a:pt x="2896483" y="1132502"/>
                    <a:pt x="2888724" y="1139131"/>
                    <a:pt x="2881456" y="1138827"/>
                  </a:cubicBezTo>
                  <a:cubicBezTo>
                    <a:pt x="2869340" y="1136396"/>
                    <a:pt x="2859980" y="1117108"/>
                    <a:pt x="2857873" y="1110382"/>
                  </a:cubicBezTo>
                  <a:cubicBezTo>
                    <a:pt x="2855766" y="1103655"/>
                    <a:pt x="2862614" y="1102399"/>
                    <a:pt x="2868814" y="1098468"/>
                  </a:cubicBezTo>
                  <a:cubicBezTo>
                    <a:pt x="2862614" y="1102075"/>
                    <a:pt x="2845839" y="1099117"/>
                    <a:pt x="2843771" y="1096037"/>
                  </a:cubicBezTo>
                  <a:cubicBezTo>
                    <a:pt x="2844379" y="1102439"/>
                    <a:pt x="2844016" y="1103371"/>
                    <a:pt x="2842800" y="1106978"/>
                  </a:cubicBezTo>
                  <a:cubicBezTo>
                    <a:pt x="2841583" y="1110584"/>
                    <a:pt x="2838382" y="1112691"/>
                    <a:pt x="2836479" y="1117675"/>
                  </a:cubicBezTo>
                  <a:cubicBezTo>
                    <a:pt x="2834574" y="1122659"/>
                    <a:pt x="2838950" y="1135099"/>
                    <a:pt x="2831372" y="1136882"/>
                  </a:cubicBezTo>
                  <a:cubicBezTo>
                    <a:pt x="2823796" y="1138665"/>
                    <a:pt x="2800252" y="1137976"/>
                    <a:pt x="2791015" y="1128373"/>
                  </a:cubicBezTo>
                  <a:cubicBezTo>
                    <a:pt x="2787123" y="1123632"/>
                    <a:pt x="2793446" y="1116298"/>
                    <a:pt x="2791986" y="1114272"/>
                  </a:cubicBezTo>
                  <a:cubicBezTo>
                    <a:pt x="2790527" y="1112245"/>
                    <a:pt x="2788097" y="1120228"/>
                    <a:pt x="2782262" y="1116217"/>
                  </a:cubicBezTo>
                  <a:cubicBezTo>
                    <a:pt x="2776427" y="1112205"/>
                    <a:pt x="2758637" y="1098995"/>
                    <a:pt x="2756976" y="1090202"/>
                  </a:cubicBezTo>
                  <a:cubicBezTo>
                    <a:pt x="2755314" y="1081409"/>
                    <a:pt x="2765445" y="1072170"/>
                    <a:pt x="2772294" y="1063458"/>
                  </a:cubicBezTo>
                  <a:cubicBezTo>
                    <a:pt x="2770633" y="1054017"/>
                    <a:pt x="2769942" y="1047696"/>
                    <a:pt x="2773751" y="1036715"/>
                  </a:cubicBezTo>
                  <a:cubicBezTo>
                    <a:pt x="2768647" y="1033595"/>
                    <a:pt x="2757543" y="1029178"/>
                    <a:pt x="2758192" y="1014591"/>
                  </a:cubicBezTo>
                  <a:lnTo>
                    <a:pt x="2759965" y="1001182"/>
                  </a:lnTo>
                  <a:lnTo>
                    <a:pt x="2760426" y="1009961"/>
                  </a:lnTo>
                  <a:lnTo>
                    <a:pt x="2761256" y="1010359"/>
                  </a:lnTo>
                  <a:lnTo>
                    <a:pt x="2761379" y="1011541"/>
                  </a:lnTo>
                  <a:cubicBezTo>
                    <a:pt x="2762409" y="1019977"/>
                    <a:pt x="2765172" y="1029322"/>
                    <a:pt x="2781066" y="1025483"/>
                  </a:cubicBezTo>
                  <a:cubicBezTo>
                    <a:pt x="2774231" y="1061759"/>
                    <a:pt x="2789671" y="1079746"/>
                    <a:pt x="2799412" y="1096591"/>
                  </a:cubicBezTo>
                  <a:lnTo>
                    <a:pt x="2800381" y="1098453"/>
                  </a:lnTo>
                  <a:lnTo>
                    <a:pt x="2800347" y="1099327"/>
                  </a:lnTo>
                  <a:cubicBezTo>
                    <a:pt x="2800053" y="1104469"/>
                    <a:pt x="2799318" y="1108033"/>
                    <a:pt x="2798937" y="1112860"/>
                  </a:cubicBezTo>
                  <a:cubicBezTo>
                    <a:pt x="2797830" y="1116662"/>
                    <a:pt x="2795105" y="1116242"/>
                    <a:pt x="2795614" y="1124265"/>
                  </a:cubicBezTo>
                  <a:cubicBezTo>
                    <a:pt x="2795943" y="1129264"/>
                    <a:pt x="2825278" y="1137316"/>
                    <a:pt x="2830008" y="1130910"/>
                  </a:cubicBezTo>
                  <a:cubicBezTo>
                    <a:pt x="2831385" y="1128695"/>
                    <a:pt x="2830787" y="1123606"/>
                    <a:pt x="2831175" y="1119954"/>
                  </a:cubicBezTo>
                  <a:cubicBezTo>
                    <a:pt x="2831775" y="1115883"/>
                    <a:pt x="2837042" y="1111453"/>
                    <a:pt x="2837821" y="1105676"/>
                  </a:cubicBezTo>
                  <a:cubicBezTo>
                    <a:pt x="2838329" y="1101081"/>
                    <a:pt x="2838277" y="1095880"/>
                    <a:pt x="2838101" y="1090466"/>
                  </a:cubicBezTo>
                  <a:lnTo>
                    <a:pt x="2837893" y="1084748"/>
                  </a:lnTo>
                  <a:lnTo>
                    <a:pt x="2839491" y="1086610"/>
                  </a:lnTo>
                  <a:cubicBezTo>
                    <a:pt x="2849834" y="1097158"/>
                    <a:pt x="2871770" y="1100711"/>
                    <a:pt x="2879129" y="1084393"/>
                  </a:cubicBezTo>
                  <a:cubicBezTo>
                    <a:pt x="2879219" y="1089631"/>
                    <a:pt x="2880926" y="1091637"/>
                    <a:pt x="2880027" y="1098222"/>
                  </a:cubicBezTo>
                  <a:cubicBezTo>
                    <a:pt x="2877453" y="1102383"/>
                    <a:pt x="2865990" y="1103311"/>
                    <a:pt x="2862875" y="1110974"/>
                  </a:cubicBezTo>
                  <a:cubicBezTo>
                    <a:pt x="2861948" y="1114177"/>
                    <a:pt x="2874131" y="1133365"/>
                    <a:pt x="2881915" y="1134053"/>
                  </a:cubicBezTo>
                  <a:cubicBezTo>
                    <a:pt x="2887571" y="1134712"/>
                    <a:pt x="2898078" y="1123606"/>
                    <a:pt x="2917206" y="1106125"/>
                  </a:cubicBezTo>
                  <a:cubicBezTo>
                    <a:pt x="2920166" y="1103419"/>
                    <a:pt x="2931364" y="1082178"/>
                    <a:pt x="2936424" y="1064008"/>
                  </a:cubicBezTo>
                  <a:cubicBezTo>
                    <a:pt x="2931268" y="1061418"/>
                    <a:pt x="2923794" y="1055249"/>
                    <a:pt x="2919445" y="1045621"/>
                  </a:cubicBezTo>
                  <a:lnTo>
                    <a:pt x="2919250" y="1045109"/>
                  </a:lnTo>
                  <a:lnTo>
                    <a:pt x="2921887" y="1046769"/>
                  </a:lnTo>
                  <a:cubicBezTo>
                    <a:pt x="2928521" y="1051189"/>
                    <a:pt x="2935256" y="1056038"/>
                    <a:pt x="2941183" y="1057452"/>
                  </a:cubicBezTo>
                  <a:cubicBezTo>
                    <a:pt x="2945553" y="1062481"/>
                    <a:pt x="2950642" y="1070474"/>
                    <a:pt x="2962645" y="1072000"/>
                  </a:cubicBezTo>
                  <a:cubicBezTo>
                    <a:pt x="2972882" y="1073736"/>
                    <a:pt x="2980157" y="1064068"/>
                    <a:pt x="2983749" y="1053501"/>
                  </a:cubicBezTo>
                  <a:lnTo>
                    <a:pt x="2980427" y="1053232"/>
                  </a:lnTo>
                  <a:cubicBezTo>
                    <a:pt x="2965161" y="1078825"/>
                    <a:pt x="2949025" y="1055484"/>
                    <a:pt x="2952445" y="1030934"/>
                  </a:cubicBezTo>
                  <a:lnTo>
                    <a:pt x="2953376" y="1026126"/>
                  </a:lnTo>
                  <a:lnTo>
                    <a:pt x="2955141" y="1028048"/>
                  </a:lnTo>
                  <a:cubicBezTo>
                    <a:pt x="2985617" y="1059108"/>
                    <a:pt x="3012266" y="1054567"/>
                    <a:pt x="3027392" y="1046317"/>
                  </a:cubicBezTo>
                  <a:cubicBezTo>
                    <a:pt x="3068822" y="1020783"/>
                    <a:pt x="3056682" y="932662"/>
                    <a:pt x="3039336" y="928407"/>
                  </a:cubicBezTo>
                  <a:cubicBezTo>
                    <a:pt x="3035370" y="927434"/>
                    <a:pt x="3032601" y="937657"/>
                    <a:pt x="3029997" y="939184"/>
                  </a:cubicBezTo>
                  <a:cubicBezTo>
                    <a:pt x="3022004" y="943404"/>
                    <a:pt x="3018503" y="942776"/>
                    <a:pt x="3016347" y="946098"/>
                  </a:cubicBezTo>
                  <a:cubicBezTo>
                    <a:pt x="3012082" y="952328"/>
                    <a:pt x="3027784" y="988393"/>
                    <a:pt x="3007812" y="1007305"/>
                  </a:cubicBezTo>
                  <a:lnTo>
                    <a:pt x="3006322" y="1008481"/>
                  </a:lnTo>
                  <a:lnTo>
                    <a:pt x="3006635" y="1007876"/>
                  </a:lnTo>
                  <a:cubicBezTo>
                    <a:pt x="3010420" y="1000563"/>
                    <a:pt x="3014393" y="992189"/>
                    <a:pt x="3009881" y="988664"/>
                  </a:cubicBezTo>
                  <a:cubicBezTo>
                    <a:pt x="3004582" y="984444"/>
                    <a:pt x="3001260" y="987676"/>
                    <a:pt x="2997219" y="991089"/>
                  </a:cubicBezTo>
                  <a:cubicBezTo>
                    <a:pt x="2999824" y="988125"/>
                    <a:pt x="3002966" y="987587"/>
                    <a:pt x="2998567" y="980582"/>
                  </a:cubicBezTo>
                  <a:cubicBezTo>
                    <a:pt x="2995063" y="978217"/>
                    <a:pt x="2993178" y="978816"/>
                    <a:pt x="2986712" y="980492"/>
                  </a:cubicBezTo>
                  <a:cubicBezTo>
                    <a:pt x="2990813" y="977439"/>
                    <a:pt x="2992130" y="978606"/>
                    <a:pt x="2990126" y="972680"/>
                  </a:cubicBezTo>
                  <a:cubicBezTo>
                    <a:pt x="2987386" y="968998"/>
                    <a:pt x="2986010" y="969306"/>
                    <a:pt x="2983272" y="969514"/>
                  </a:cubicBezTo>
                  <a:lnTo>
                    <a:pt x="2981373" y="969527"/>
                  </a:lnTo>
                  <a:lnTo>
                    <a:pt x="2982934" y="968966"/>
                  </a:lnTo>
                  <a:cubicBezTo>
                    <a:pt x="2983810" y="968672"/>
                    <a:pt x="2984602" y="968433"/>
                    <a:pt x="2985276" y="968279"/>
                  </a:cubicBezTo>
                  <a:cubicBezTo>
                    <a:pt x="2990663" y="967052"/>
                    <a:pt x="2996560" y="968743"/>
                    <a:pt x="2996590" y="965675"/>
                  </a:cubicBezTo>
                  <a:cubicBezTo>
                    <a:pt x="2997249" y="962322"/>
                    <a:pt x="2988837" y="951875"/>
                    <a:pt x="2985096" y="951037"/>
                  </a:cubicBezTo>
                  <a:cubicBezTo>
                    <a:pt x="2983097" y="950409"/>
                    <a:pt x="2977868" y="949881"/>
                    <a:pt x="2973115" y="949568"/>
                  </a:cubicBezTo>
                  <a:lnTo>
                    <a:pt x="2972009" y="949509"/>
                  </a:lnTo>
                  <a:lnTo>
                    <a:pt x="2972018" y="949486"/>
                  </a:lnTo>
                  <a:cubicBezTo>
                    <a:pt x="2973146" y="947928"/>
                    <a:pt x="2976902" y="947356"/>
                    <a:pt x="2979799" y="947086"/>
                  </a:cubicBezTo>
                  <a:cubicBezTo>
                    <a:pt x="2967645" y="931042"/>
                    <a:pt x="2951270" y="920744"/>
                    <a:pt x="2937141" y="920954"/>
                  </a:cubicBezTo>
                  <a:cubicBezTo>
                    <a:pt x="2920109" y="921463"/>
                    <a:pt x="2898766" y="925833"/>
                    <a:pt x="2886673" y="944572"/>
                  </a:cubicBezTo>
                  <a:cubicBezTo>
                    <a:pt x="2892854" y="944504"/>
                    <a:pt x="2897453" y="944532"/>
                    <a:pt x="2900905" y="944899"/>
                  </a:cubicBezTo>
                  <a:lnTo>
                    <a:pt x="2901482" y="944982"/>
                  </a:lnTo>
                  <a:lnTo>
                    <a:pt x="2899072" y="945637"/>
                  </a:lnTo>
                  <a:cubicBezTo>
                    <a:pt x="2886267" y="948718"/>
                    <a:pt x="2877345" y="948258"/>
                    <a:pt x="2874475" y="950754"/>
                  </a:cubicBezTo>
                  <a:cubicBezTo>
                    <a:pt x="2868471" y="954954"/>
                    <a:pt x="2829600" y="990764"/>
                    <a:pt x="2827999" y="1011039"/>
                  </a:cubicBezTo>
                  <a:cubicBezTo>
                    <a:pt x="2832115" y="1021801"/>
                    <a:pt x="2832889" y="1014196"/>
                    <a:pt x="2841979" y="1033151"/>
                  </a:cubicBezTo>
                  <a:lnTo>
                    <a:pt x="2856485" y="1016613"/>
                  </a:lnTo>
                  <a:lnTo>
                    <a:pt x="2839513" y="1051719"/>
                  </a:lnTo>
                  <a:cubicBezTo>
                    <a:pt x="2843746" y="1057899"/>
                    <a:pt x="2846631" y="1061206"/>
                    <a:pt x="2855442" y="1061100"/>
                  </a:cubicBezTo>
                  <a:cubicBezTo>
                    <a:pt x="2864853" y="1059852"/>
                    <a:pt x="2873546" y="1052138"/>
                    <a:pt x="2882598" y="1047657"/>
                  </a:cubicBezTo>
                  <a:cubicBezTo>
                    <a:pt x="2891543" y="1043934"/>
                    <a:pt x="2894202" y="1046496"/>
                    <a:pt x="2900005" y="1045916"/>
                  </a:cubicBezTo>
                  <a:cubicBezTo>
                    <a:pt x="2912232" y="1012752"/>
                    <a:pt x="2893028" y="1012904"/>
                    <a:pt x="2906243" y="976866"/>
                  </a:cubicBezTo>
                  <a:cubicBezTo>
                    <a:pt x="2901546" y="1005975"/>
                    <a:pt x="2920196" y="1005989"/>
                    <a:pt x="2906969" y="1054765"/>
                  </a:cubicBezTo>
                  <a:lnTo>
                    <a:pt x="2904860" y="1054420"/>
                  </a:lnTo>
                  <a:lnTo>
                    <a:pt x="2902192" y="1053737"/>
                  </a:lnTo>
                  <a:lnTo>
                    <a:pt x="2899458" y="1053311"/>
                  </a:lnTo>
                  <a:lnTo>
                    <a:pt x="2898691" y="1053133"/>
                  </a:lnTo>
                  <a:cubicBezTo>
                    <a:pt x="2896623" y="1052725"/>
                    <a:pt x="2894446" y="1052507"/>
                    <a:pt x="2891922" y="1052904"/>
                  </a:cubicBezTo>
                  <a:lnTo>
                    <a:pt x="2890936" y="1053134"/>
                  </a:lnTo>
                  <a:lnTo>
                    <a:pt x="2890339" y="1053185"/>
                  </a:lnTo>
                  <a:cubicBezTo>
                    <a:pt x="2877138" y="1055241"/>
                    <a:pt x="2872282" y="1066881"/>
                    <a:pt x="2851111" y="1069127"/>
                  </a:cubicBezTo>
                  <a:cubicBezTo>
                    <a:pt x="2844800" y="1067896"/>
                    <a:pt x="2834705" y="1058620"/>
                    <a:pt x="2828772" y="1051408"/>
                  </a:cubicBezTo>
                  <a:lnTo>
                    <a:pt x="2828313" y="1050814"/>
                  </a:lnTo>
                  <a:lnTo>
                    <a:pt x="2830035" y="1047937"/>
                  </a:lnTo>
                  <a:cubicBezTo>
                    <a:pt x="2831875" y="1045071"/>
                    <a:pt x="2833889" y="1042141"/>
                    <a:pt x="2836114" y="1039133"/>
                  </a:cubicBezTo>
                  <a:cubicBezTo>
                    <a:pt x="2832224" y="1028686"/>
                    <a:pt x="2821956" y="1025064"/>
                    <a:pt x="2819053" y="1012102"/>
                  </a:cubicBezTo>
                  <a:cubicBezTo>
                    <a:pt x="2823752" y="998692"/>
                    <a:pt x="2825667" y="989951"/>
                    <a:pt x="2849315" y="965944"/>
                  </a:cubicBezTo>
                  <a:cubicBezTo>
                    <a:pt x="2786454" y="974954"/>
                    <a:pt x="2786641" y="1025561"/>
                    <a:pt x="2769260" y="1013326"/>
                  </a:cubicBezTo>
                  <a:lnTo>
                    <a:pt x="2765636" y="1010063"/>
                  </a:lnTo>
                  <a:lnTo>
                    <a:pt x="2766697" y="1009468"/>
                  </a:lnTo>
                  <a:cubicBezTo>
                    <a:pt x="2773102" y="1005153"/>
                    <a:pt x="2765516" y="998939"/>
                    <a:pt x="2770650" y="989562"/>
                  </a:cubicBezTo>
                  <a:lnTo>
                    <a:pt x="2760166" y="999654"/>
                  </a:lnTo>
                  <a:lnTo>
                    <a:pt x="2761079" y="992755"/>
                  </a:lnTo>
                  <a:cubicBezTo>
                    <a:pt x="2766175" y="987685"/>
                    <a:pt x="2773064" y="984828"/>
                    <a:pt x="2774724" y="984200"/>
                  </a:cubicBezTo>
                  <a:cubicBezTo>
                    <a:pt x="2771604" y="993722"/>
                    <a:pt x="2778412" y="1000368"/>
                    <a:pt x="2774724" y="1008026"/>
                  </a:cubicBezTo>
                  <a:cubicBezTo>
                    <a:pt x="2810180" y="962927"/>
                    <a:pt x="2834655" y="960050"/>
                    <a:pt x="2851066" y="959644"/>
                  </a:cubicBezTo>
                  <a:cubicBezTo>
                    <a:pt x="2863829" y="948299"/>
                    <a:pt x="2864924" y="945340"/>
                    <a:pt x="2873676" y="943112"/>
                  </a:cubicBezTo>
                  <a:lnTo>
                    <a:pt x="2879712" y="942479"/>
                  </a:lnTo>
                  <a:lnTo>
                    <a:pt x="2880412" y="940982"/>
                  </a:lnTo>
                  <a:cubicBezTo>
                    <a:pt x="2885783" y="930313"/>
                    <a:pt x="2890472" y="926985"/>
                    <a:pt x="2899691" y="922446"/>
                  </a:cubicBezTo>
                  <a:cubicBezTo>
                    <a:pt x="2908909" y="917908"/>
                    <a:pt x="2921696" y="913866"/>
                    <a:pt x="2935363" y="914392"/>
                  </a:cubicBezTo>
                  <a:close/>
                  <a:moveTo>
                    <a:pt x="11621423" y="638389"/>
                  </a:moveTo>
                  <a:cubicBezTo>
                    <a:pt x="11651323" y="638727"/>
                    <a:pt x="11666272" y="651734"/>
                    <a:pt x="11666272" y="677411"/>
                  </a:cubicBezTo>
                  <a:lnTo>
                    <a:pt x="11666272" y="713771"/>
                  </a:lnTo>
                  <a:cubicBezTo>
                    <a:pt x="11666272" y="730833"/>
                    <a:pt x="11672818" y="739786"/>
                    <a:pt x="11685910" y="740631"/>
                  </a:cubicBezTo>
                  <a:lnTo>
                    <a:pt x="11685910" y="759127"/>
                  </a:lnTo>
                  <a:cubicBezTo>
                    <a:pt x="11672818" y="759972"/>
                    <a:pt x="11666272" y="768757"/>
                    <a:pt x="11666272" y="785480"/>
                  </a:cubicBezTo>
                  <a:lnTo>
                    <a:pt x="11666272" y="822855"/>
                  </a:lnTo>
                  <a:cubicBezTo>
                    <a:pt x="11666272" y="848193"/>
                    <a:pt x="11651323" y="861031"/>
                    <a:pt x="11621423" y="861369"/>
                  </a:cubicBezTo>
                  <a:lnTo>
                    <a:pt x="11621423" y="841858"/>
                  </a:lnTo>
                  <a:cubicBezTo>
                    <a:pt x="11628771" y="841689"/>
                    <a:pt x="11633987" y="839662"/>
                    <a:pt x="11637070" y="835777"/>
                  </a:cubicBezTo>
                  <a:cubicBezTo>
                    <a:pt x="11640152" y="831892"/>
                    <a:pt x="11641694" y="825473"/>
                    <a:pt x="11641694" y="816520"/>
                  </a:cubicBezTo>
                  <a:lnTo>
                    <a:pt x="11641694" y="781173"/>
                  </a:lnTo>
                  <a:cubicBezTo>
                    <a:pt x="11641694" y="764027"/>
                    <a:pt x="11650014" y="753596"/>
                    <a:pt x="11666653" y="749879"/>
                  </a:cubicBezTo>
                  <a:lnTo>
                    <a:pt x="11666653" y="749500"/>
                  </a:lnTo>
                  <a:cubicBezTo>
                    <a:pt x="11650014" y="745529"/>
                    <a:pt x="11641694" y="735014"/>
                    <a:pt x="11641694" y="717952"/>
                  </a:cubicBezTo>
                  <a:lnTo>
                    <a:pt x="11641694" y="682226"/>
                  </a:lnTo>
                  <a:cubicBezTo>
                    <a:pt x="11641694" y="666431"/>
                    <a:pt x="11634937" y="658365"/>
                    <a:pt x="11621423" y="658027"/>
                  </a:cubicBezTo>
                  <a:close/>
                  <a:moveTo>
                    <a:pt x="11603939" y="638389"/>
                  </a:moveTo>
                  <a:lnTo>
                    <a:pt x="11603939" y="658027"/>
                  </a:lnTo>
                  <a:cubicBezTo>
                    <a:pt x="11590510" y="658365"/>
                    <a:pt x="11583795" y="666431"/>
                    <a:pt x="11583795" y="682226"/>
                  </a:cubicBezTo>
                  <a:lnTo>
                    <a:pt x="11583795" y="717952"/>
                  </a:lnTo>
                  <a:cubicBezTo>
                    <a:pt x="11583795" y="735014"/>
                    <a:pt x="11575391" y="745529"/>
                    <a:pt x="11558583" y="749500"/>
                  </a:cubicBezTo>
                  <a:lnTo>
                    <a:pt x="11558583" y="749879"/>
                  </a:lnTo>
                  <a:cubicBezTo>
                    <a:pt x="11575391" y="753596"/>
                    <a:pt x="11583795" y="764027"/>
                    <a:pt x="11583795" y="781173"/>
                  </a:cubicBezTo>
                  <a:lnTo>
                    <a:pt x="11583795" y="816520"/>
                  </a:lnTo>
                  <a:cubicBezTo>
                    <a:pt x="11583795" y="825557"/>
                    <a:pt x="11585294" y="831997"/>
                    <a:pt x="11588293" y="835840"/>
                  </a:cubicBezTo>
                  <a:cubicBezTo>
                    <a:pt x="11591291" y="839683"/>
                    <a:pt x="11596506" y="841689"/>
                    <a:pt x="11603939" y="841858"/>
                  </a:cubicBezTo>
                  <a:lnTo>
                    <a:pt x="11603939" y="861369"/>
                  </a:lnTo>
                  <a:cubicBezTo>
                    <a:pt x="11573870" y="861031"/>
                    <a:pt x="11558836" y="848193"/>
                    <a:pt x="11558836" y="822855"/>
                  </a:cubicBezTo>
                  <a:lnTo>
                    <a:pt x="11558836" y="785480"/>
                  </a:lnTo>
                  <a:cubicBezTo>
                    <a:pt x="11558836" y="768757"/>
                    <a:pt x="11552248" y="759972"/>
                    <a:pt x="11539072" y="759127"/>
                  </a:cubicBezTo>
                  <a:lnTo>
                    <a:pt x="11539072" y="740631"/>
                  </a:lnTo>
                  <a:cubicBezTo>
                    <a:pt x="11552248" y="739786"/>
                    <a:pt x="11558836" y="730833"/>
                    <a:pt x="11558836" y="713771"/>
                  </a:cubicBezTo>
                  <a:lnTo>
                    <a:pt x="11558836" y="677411"/>
                  </a:lnTo>
                  <a:cubicBezTo>
                    <a:pt x="11558836" y="651734"/>
                    <a:pt x="11573870" y="638727"/>
                    <a:pt x="11603939" y="638389"/>
                  </a:cubicBezTo>
                  <a:close/>
                  <a:moveTo>
                    <a:pt x="10947400" y="638389"/>
                  </a:moveTo>
                  <a:cubicBezTo>
                    <a:pt x="10977300" y="638727"/>
                    <a:pt x="10992249" y="651734"/>
                    <a:pt x="10992249" y="677411"/>
                  </a:cubicBezTo>
                  <a:lnTo>
                    <a:pt x="10992249" y="713771"/>
                  </a:lnTo>
                  <a:cubicBezTo>
                    <a:pt x="10992249" y="730833"/>
                    <a:pt x="10998795" y="739786"/>
                    <a:pt x="11011887" y="740631"/>
                  </a:cubicBezTo>
                  <a:lnTo>
                    <a:pt x="11011887" y="759127"/>
                  </a:lnTo>
                  <a:cubicBezTo>
                    <a:pt x="10998795" y="759972"/>
                    <a:pt x="10992249" y="768757"/>
                    <a:pt x="10992249" y="785480"/>
                  </a:cubicBezTo>
                  <a:lnTo>
                    <a:pt x="10992249" y="822855"/>
                  </a:lnTo>
                  <a:cubicBezTo>
                    <a:pt x="10992249" y="848193"/>
                    <a:pt x="10977300" y="861031"/>
                    <a:pt x="10947400" y="861369"/>
                  </a:cubicBezTo>
                  <a:lnTo>
                    <a:pt x="10947400" y="841858"/>
                  </a:lnTo>
                  <a:cubicBezTo>
                    <a:pt x="10954748" y="841689"/>
                    <a:pt x="10959964" y="839662"/>
                    <a:pt x="10963047" y="835777"/>
                  </a:cubicBezTo>
                  <a:cubicBezTo>
                    <a:pt x="10966129" y="831892"/>
                    <a:pt x="10967671" y="825473"/>
                    <a:pt x="10967671" y="816520"/>
                  </a:cubicBezTo>
                  <a:lnTo>
                    <a:pt x="10967671" y="781173"/>
                  </a:lnTo>
                  <a:cubicBezTo>
                    <a:pt x="10967671" y="764027"/>
                    <a:pt x="10975991" y="753596"/>
                    <a:pt x="10992630" y="749879"/>
                  </a:cubicBezTo>
                  <a:lnTo>
                    <a:pt x="10992630" y="749500"/>
                  </a:lnTo>
                  <a:cubicBezTo>
                    <a:pt x="10975991" y="745529"/>
                    <a:pt x="10967671" y="735014"/>
                    <a:pt x="10967671" y="717952"/>
                  </a:cubicBezTo>
                  <a:lnTo>
                    <a:pt x="10967671" y="682226"/>
                  </a:lnTo>
                  <a:cubicBezTo>
                    <a:pt x="10967671" y="666431"/>
                    <a:pt x="10960914" y="658365"/>
                    <a:pt x="10947400" y="658027"/>
                  </a:cubicBezTo>
                  <a:close/>
                  <a:moveTo>
                    <a:pt x="10929916" y="638389"/>
                  </a:moveTo>
                  <a:lnTo>
                    <a:pt x="10929916" y="658027"/>
                  </a:lnTo>
                  <a:cubicBezTo>
                    <a:pt x="10916487" y="658365"/>
                    <a:pt x="10909772" y="666431"/>
                    <a:pt x="10909772" y="682226"/>
                  </a:cubicBezTo>
                  <a:lnTo>
                    <a:pt x="10909772" y="717952"/>
                  </a:lnTo>
                  <a:cubicBezTo>
                    <a:pt x="10909772" y="735014"/>
                    <a:pt x="10901368" y="745529"/>
                    <a:pt x="10884560" y="749500"/>
                  </a:cubicBezTo>
                  <a:lnTo>
                    <a:pt x="10884560" y="749879"/>
                  </a:lnTo>
                  <a:cubicBezTo>
                    <a:pt x="10901368" y="753596"/>
                    <a:pt x="10909772" y="764027"/>
                    <a:pt x="10909772" y="781173"/>
                  </a:cubicBezTo>
                  <a:lnTo>
                    <a:pt x="10909772" y="816520"/>
                  </a:lnTo>
                  <a:cubicBezTo>
                    <a:pt x="10909772" y="825557"/>
                    <a:pt x="10911271" y="831997"/>
                    <a:pt x="10914270" y="835840"/>
                  </a:cubicBezTo>
                  <a:cubicBezTo>
                    <a:pt x="10917268" y="839683"/>
                    <a:pt x="10922483" y="841689"/>
                    <a:pt x="10929916" y="841858"/>
                  </a:cubicBezTo>
                  <a:lnTo>
                    <a:pt x="10929916" y="861369"/>
                  </a:lnTo>
                  <a:cubicBezTo>
                    <a:pt x="10899847" y="861031"/>
                    <a:pt x="10884813" y="848193"/>
                    <a:pt x="10884813" y="822855"/>
                  </a:cubicBezTo>
                  <a:lnTo>
                    <a:pt x="10884813" y="785480"/>
                  </a:lnTo>
                  <a:cubicBezTo>
                    <a:pt x="10884813" y="768757"/>
                    <a:pt x="10878225" y="759972"/>
                    <a:pt x="10865049" y="759127"/>
                  </a:cubicBezTo>
                  <a:lnTo>
                    <a:pt x="10865049" y="740631"/>
                  </a:lnTo>
                  <a:cubicBezTo>
                    <a:pt x="10878225" y="739786"/>
                    <a:pt x="10884813" y="730833"/>
                    <a:pt x="10884813" y="713771"/>
                  </a:cubicBezTo>
                  <a:lnTo>
                    <a:pt x="10884813" y="677411"/>
                  </a:lnTo>
                  <a:cubicBezTo>
                    <a:pt x="10884813" y="651734"/>
                    <a:pt x="10899847" y="638727"/>
                    <a:pt x="10929916" y="638389"/>
                  </a:cubicBezTo>
                  <a:close/>
                  <a:moveTo>
                    <a:pt x="9748950" y="638389"/>
                  </a:moveTo>
                  <a:cubicBezTo>
                    <a:pt x="9778850" y="638727"/>
                    <a:pt x="9793799" y="651734"/>
                    <a:pt x="9793799" y="677411"/>
                  </a:cubicBezTo>
                  <a:lnTo>
                    <a:pt x="9793799" y="713771"/>
                  </a:lnTo>
                  <a:cubicBezTo>
                    <a:pt x="9793799" y="730833"/>
                    <a:pt x="9800345" y="739786"/>
                    <a:pt x="9813437" y="740631"/>
                  </a:cubicBezTo>
                  <a:lnTo>
                    <a:pt x="9813437" y="759127"/>
                  </a:lnTo>
                  <a:cubicBezTo>
                    <a:pt x="9800345" y="759972"/>
                    <a:pt x="9793799" y="768757"/>
                    <a:pt x="9793799" y="785480"/>
                  </a:cubicBezTo>
                  <a:lnTo>
                    <a:pt x="9793799" y="822855"/>
                  </a:lnTo>
                  <a:cubicBezTo>
                    <a:pt x="9793799" y="848193"/>
                    <a:pt x="9778850" y="861031"/>
                    <a:pt x="9748950" y="861369"/>
                  </a:cubicBezTo>
                  <a:lnTo>
                    <a:pt x="9748950" y="841858"/>
                  </a:lnTo>
                  <a:cubicBezTo>
                    <a:pt x="9756298" y="841689"/>
                    <a:pt x="9761514" y="839662"/>
                    <a:pt x="9764597" y="835777"/>
                  </a:cubicBezTo>
                  <a:cubicBezTo>
                    <a:pt x="9767679" y="831892"/>
                    <a:pt x="9769221" y="825473"/>
                    <a:pt x="9769221" y="816520"/>
                  </a:cubicBezTo>
                  <a:lnTo>
                    <a:pt x="9769221" y="781173"/>
                  </a:lnTo>
                  <a:cubicBezTo>
                    <a:pt x="9769221" y="764027"/>
                    <a:pt x="9777541" y="753596"/>
                    <a:pt x="9794180" y="749879"/>
                  </a:cubicBezTo>
                  <a:lnTo>
                    <a:pt x="9794180" y="749500"/>
                  </a:lnTo>
                  <a:cubicBezTo>
                    <a:pt x="9777541" y="745529"/>
                    <a:pt x="9769221" y="735014"/>
                    <a:pt x="9769221" y="717952"/>
                  </a:cubicBezTo>
                  <a:lnTo>
                    <a:pt x="9769221" y="682226"/>
                  </a:lnTo>
                  <a:cubicBezTo>
                    <a:pt x="9769221" y="666431"/>
                    <a:pt x="9762464" y="658365"/>
                    <a:pt x="9748950" y="658027"/>
                  </a:cubicBezTo>
                  <a:close/>
                  <a:moveTo>
                    <a:pt x="9731466" y="638389"/>
                  </a:moveTo>
                  <a:lnTo>
                    <a:pt x="9731466" y="658027"/>
                  </a:lnTo>
                  <a:cubicBezTo>
                    <a:pt x="9718037" y="658365"/>
                    <a:pt x="9711322" y="666431"/>
                    <a:pt x="9711322" y="682226"/>
                  </a:cubicBezTo>
                  <a:lnTo>
                    <a:pt x="9711322" y="717952"/>
                  </a:lnTo>
                  <a:cubicBezTo>
                    <a:pt x="9711322" y="735014"/>
                    <a:pt x="9702918" y="745529"/>
                    <a:pt x="9686110" y="749500"/>
                  </a:cubicBezTo>
                  <a:lnTo>
                    <a:pt x="9686110" y="749879"/>
                  </a:lnTo>
                  <a:cubicBezTo>
                    <a:pt x="9702918" y="753596"/>
                    <a:pt x="9711322" y="764027"/>
                    <a:pt x="9711322" y="781173"/>
                  </a:cubicBezTo>
                  <a:lnTo>
                    <a:pt x="9711322" y="816520"/>
                  </a:lnTo>
                  <a:cubicBezTo>
                    <a:pt x="9711322" y="825557"/>
                    <a:pt x="9712821" y="831997"/>
                    <a:pt x="9715820" y="835840"/>
                  </a:cubicBezTo>
                  <a:cubicBezTo>
                    <a:pt x="9718818" y="839683"/>
                    <a:pt x="9724033" y="841689"/>
                    <a:pt x="9731466" y="841858"/>
                  </a:cubicBezTo>
                  <a:lnTo>
                    <a:pt x="9731466" y="861369"/>
                  </a:lnTo>
                  <a:cubicBezTo>
                    <a:pt x="9701397" y="861031"/>
                    <a:pt x="9686363" y="848193"/>
                    <a:pt x="9686363" y="822855"/>
                  </a:cubicBezTo>
                  <a:lnTo>
                    <a:pt x="9686363" y="785480"/>
                  </a:lnTo>
                  <a:cubicBezTo>
                    <a:pt x="9686363" y="768757"/>
                    <a:pt x="9679775" y="759972"/>
                    <a:pt x="9666599" y="759127"/>
                  </a:cubicBezTo>
                  <a:lnTo>
                    <a:pt x="9666599" y="740631"/>
                  </a:lnTo>
                  <a:cubicBezTo>
                    <a:pt x="9679775" y="739786"/>
                    <a:pt x="9686363" y="730833"/>
                    <a:pt x="9686363" y="713771"/>
                  </a:cubicBezTo>
                  <a:lnTo>
                    <a:pt x="9686363" y="677411"/>
                  </a:lnTo>
                  <a:cubicBezTo>
                    <a:pt x="9686363" y="651734"/>
                    <a:pt x="9701397" y="638727"/>
                    <a:pt x="9731466" y="638389"/>
                  </a:cubicBezTo>
                  <a:close/>
                  <a:moveTo>
                    <a:pt x="8124748" y="638389"/>
                  </a:moveTo>
                  <a:cubicBezTo>
                    <a:pt x="8154648" y="638727"/>
                    <a:pt x="8169597" y="651734"/>
                    <a:pt x="8169597" y="677411"/>
                  </a:cubicBezTo>
                  <a:lnTo>
                    <a:pt x="8169597" y="713771"/>
                  </a:lnTo>
                  <a:cubicBezTo>
                    <a:pt x="8169597" y="730833"/>
                    <a:pt x="8176143" y="739786"/>
                    <a:pt x="8189235" y="740631"/>
                  </a:cubicBezTo>
                  <a:lnTo>
                    <a:pt x="8189235" y="759127"/>
                  </a:lnTo>
                  <a:cubicBezTo>
                    <a:pt x="8176143" y="759972"/>
                    <a:pt x="8169597" y="768757"/>
                    <a:pt x="8169597" y="785480"/>
                  </a:cubicBezTo>
                  <a:lnTo>
                    <a:pt x="8169597" y="822855"/>
                  </a:lnTo>
                  <a:cubicBezTo>
                    <a:pt x="8169597" y="848193"/>
                    <a:pt x="8154648" y="861031"/>
                    <a:pt x="8124748" y="861369"/>
                  </a:cubicBezTo>
                  <a:lnTo>
                    <a:pt x="8124748" y="841858"/>
                  </a:lnTo>
                  <a:cubicBezTo>
                    <a:pt x="8132096" y="841689"/>
                    <a:pt x="8137312" y="839662"/>
                    <a:pt x="8140395" y="835777"/>
                  </a:cubicBezTo>
                  <a:cubicBezTo>
                    <a:pt x="8143477" y="831892"/>
                    <a:pt x="8145019" y="825473"/>
                    <a:pt x="8145019" y="816520"/>
                  </a:cubicBezTo>
                  <a:lnTo>
                    <a:pt x="8145019" y="781173"/>
                  </a:lnTo>
                  <a:cubicBezTo>
                    <a:pt x="8145019" y="764027"/>
                    <a:pt x="8153339" y="753596"/>
                    <a:pt x="8169978" y="749879"/>
                  </a:cubicBezTo>
                  <a:lnTo>
                    <a:pt x="8169978" y="749500"/>
                  </a:lnTo>
                  <a:cubicBezTo>
                    <a:pt x="8153339" y="745529"/>
                    <a:pt x="8145019" y="735014"/>
                    <a:pt x="8145019" y="717952"/>
                  </a:cubicBezTo>
                  <a:lnTo>
                    <a:pt x="8145019" y="682226"/>
                  </a:lnTo>
                  <a:cubicBezTo>
                    <a:pt x="8145019" y="666431"/>
                    <a:pt x="8138262" y="658365"/>
                    <a:pt x="8124748" y="658027"/>
                  </a:cubicBezTo>
                  <a:close/>
                  <a:moveTo>
                    <a:pt x="8107264" y="638389"/>
                  </a:moveTo>
                  <a:lnTo>
                    <a:pt x="8107264" y="658027"/>
                  </a:lnTo>
                  <a:cubicBezTo>
                    <a:pt x="8093835" y="658365"/>
                    <a:pt x="8087120" y="666431"/>
                    <a:pt x="8087120" y="682226"/>
                  </a:cubicBezTo>
                  <a:lnTo>
                    <a:pt x="8087120" y="717952"/>
                  </a:lnTo>
                  <a:cubicBezTo>
                    <a:pt x="8087120" y="735014"/>
                    <a:pt x="8078716" y="745529"/>
                    <a:pt x="8061908" y="749500"/>
                  </a:cubicBezTo>
                  <a:lnTo>
                    <a:pt x="8061908" y="749879"/>
                  </a:lnTo>
                  <a:cubicBezTo>
                    <a:pt x="8078716" y="753596"/>
                    <a:pt x="8087120" y="764027"/>
                    <a:pt x="8087120" y="781173"/>
                  </a:cubicBezTo>
                  <a:lnTo>
                    <a:pt x="8087120" y="816520"/>
                  </a:lnTo>
                  <a:cubicBezTo>
                    <a:pt x="8087120" y="825557"/>
                    <a:pt x="8088619" y="831997"/>
                    <a:pt x="8091618" y="835840"/>
                  </a:cubicBezTo>
                  <a:cubicBezTo>
                    <a:pt x="8094616" y="839683"/>
                    <a:pt x="8099832" y="841689"/>
                    <a:pt x="8107264" y="841858"/>
                  </a:cubicBezTo>
                  <a:lnTo>
                    <a:pt x="8107264" y="861369"/>
                  </a:lnTo>
                  <a:cubicBezTo>
                    <a:pt x="8077196" y="861031"/>
                    <a:pt x="8062162" y="848193"/>
                    <a:pt x="8062162" y="822855"/>
                  </a:cubicBezTo>
                  <a:lnTo>
                    <a:pt x="8062162" y="785480"/>
                  </a:lnTo>
                  <a:cubicBezTo>
                    <a:pt x="8062162" y="768757"/>
                    <a:pt x="8055573" y="759972"/>
                    <a:pt x="8042397" y="759127"/>
                  </a:cubicBezTo>
                  <a:lnTo>
                    <a:pt x="8042397" y="740631"/>
                  </a:lnTo>
                  <a:cubicBezTo>
                    <a:pt x="8055573" y="739786"/>
                    <a:pt x="8062162" y="730833"/>
                    <a:pt x="8062162" y="713771"/>
                  </a:cubicBezTo>
                  <a:lnTo>
                    <a:pt x="8062162" y="677411"/>
                  </a:lnTo>
                  <a:cubicBezTo>
                    <a:pt x="8062162" y="651734"/>
                    <a:pt x="8077196" y="638727"/>
                    <a:pt x="8107264" y="638389"/>
                  </a:cubicBezTo>
                  <a:close/>
                  <a:moveTo>
                    <a:pt x="5549040" y="638389"/>
                  </a:moveTo>
                  <a:cubicBezTo>
                    <a:pt x="5578939" y="638727"/>
                    <a:pt x="5593889" y="651734"/>
                    <a:pt x="5593889" y="677411"/>
                  </a:cubicBezTo>
                  <a:lnTo>
                    <a:pt x="5593889" y="713771"/>
                  </a:lnTo>
                  <a:cubicBezTo>
                    <a:pt x="5593889" y="730833"/>
                    <a:pt x="5600434" y="739786"/>
                    <a:pt x="5613526" y="740631"/>
                  </a:cubicBezTo>
                  <a:lnTo>
                    <a:pt x="5613526" y="759127"/>
                  </a:lnTo>
                  <a:cubicBezTo>
                    <a:pt x="5600434" y="759972"/>
                    <a:pt x="5593889" y="768757"/>
                    <a:pt x="5593889" y="785480"/>
                  </a:cubicBezTo>
                  <a:lnTo>
                    <a:pt x="5593889" y="822855"/>
                  </a:lnTo>
                  <a:cubicBezTo>
                    <a:pt x="5593889" y="848193"/>
                    <a:pt x="5578939" y="861031"/>
                    <a:pt x="5549040" y="861369"/>
                  </a:cubicBezTo>
                  <a:lnTo>
                    <a:pt x="5549040" y="841858"/>
                  </a:lnTo>
                  <a:cubicBezTo>
                    <a:pt x="5556387" y="841689"/>
                    <a:pt x="5561602" y="839662"/>
                    <a:pt x="5564686" y="835777"/>
                  </a:cubicBezTo>
                  <a:cubicBezTo>
                    <a:pt x="5567768" y="831892"/>
                    <a:pt x="5569311" y="825473"/>
                    <a:pt x="5569311" y="816520"/>
                  </a:cubicBezTo>
                  <a:lnTo>
                    <a:pt x="5569311" y="781173"/>
                  </a:lnTo>
                  <a:cubicBezTo>
                    <a:pt x="5569311" y="764027"/>
                    <a:pt x="5577629" y="753596"/>
                    <a:pt x="5594268" y="749879"/>
                  </a:cubicBezTo>
                  <a:lnTo>
                    <a:pt x="5594268" y="749500"/>
                  </a:lnTo>
                  <a:cubicBezTo>
                    <a:pt x="5577629" y="745529"/>
                    <a:pt x="5569311" y="735014"/>
                    <a:pt x="5569311" y="717952"/>
                  </a:cubicBezTo>
                  <a:lnTo>
                    <a:pt x="5569311" y="682226"/>
                  </a:lnTo>
                  <a:cubicBezTo>
                    <a:pt x="5569311" y="666431"/>
                    <a:pt x="5562554" y="658365"/>
                    <a:pt x="5549040" y="658027"/>
                  </a:cubicBezTo>
                  <a:close/>
                  <a:moveTo>
                    <a:pt x="5531555" y="638389"/>
                  </a:moveTo>
                  <a:lnTo>
                    <a:pt x="5531555" y="658027"/>
                  </a:lnTo>
                  <a:cubicBezTo>
                    <a:pt x="5518126" y="658365"/>
                    <a:pt x="5511412" y="666431"/>
                    <a:pt x="5511412" y="682226"/>
                  </a:cubicBezTo>
                  <a:lnTo>
                    <a:pt x="5511412" y="717952"/>
                  </a:lnTo>
                  <a:cubicBezTo>
                    <a:pt x="5511412" y="735014"/>
                    <a:pt x="5503007" y="745529"/>
                    <a:pt x="5486199" y="749500"/>
                  </a:cubicBezTo>
                  <a:lnTo>
                    <a:pt x="5486199" y="749879"/>
                  </a:lnTo>
                  <a:cubicBezTo>
                    <a:pt x="5503007" y="753596"/>
                    <a:pt x="5511412" y="764027"/>
                    <a:pt x="5511412" y="781173"/>
                  </a:cubicBezTo>
                  <a:lnTo>
                    <a:pt x="5511412" y="816520"/>
                  </a:lnTo>
                  <a:cubicBezTo>
                    <a:pt x="5511412" y="825557"/>
                    <a:pt x="5512910" y="831997"/>
                    <a:pt x="5515909" y="835840"/>
                  </a:cubicBezTo>
                  <a:cubicBezTo>
                    <a:pt x="5518906" y="839683"/>
                    <a:pt x="5524122" y="841689"/>
                    <a:pt x="5531555" y="841858"/>
                  </a:cubicBezTo>
                  <a:lnTo>
                    <a:pt x="5531555" y="861369"/>
                  </a:lnTo>
                  <a:cubicBezTo>
                    <a:pt x="5501487" y="861031"/>
                    <a:pt x="5486453" y="848193"/>
                    <a:pt x="5486453" y="822855"/>
                  </a:cubicBezTo>
                  <a:lnTo>
                    <a:pt x="5486453" y="785480"/>
                  </a:lnTo>
                  <a:cubicBezTo>
                    <a:pt x="5486453" y="768757"/>
                    <a:pt x="5479865" y="759972"/>
                    <a:pt x="5466689" y="759127"/>
                  </a:cubicBezTo>
                  <a:lnTo>
                    <a:pt x="5466689" y="740631"/>
                  </a:lnTo>
                  <a:cubicBezTo>
                    <a:pt x="5479865" y="739786"/>
                    <a:pt x="5486453" y="730833"/>
                    <a:pt x="5486453" y="713771"/>
                  </a:cubicBezTo>
                  <a:lnTo>
                    <a:pt x="5486453" y="677411"/>
                  </a:lnTo>
                  <a:cubicBezTo>
                    <a:pt x="5486453" y="651734"/>
                    <a:pt x="5501487" y="638727"/>
                    <a:pt x="5531555" y="638389"/>
                  </a:cubicBezTo>
                  <a:close/>
                  <a:moveTo>
                    <a:pt x="4882938" y="638389"/>
                  </a:moveTo>
                  <a:cubicBezTo>
                    <a:pt x="4912839" y="638727"/>
                    <a:pt x="4927787" y="651734"/>
                    <a:pt x="4927787" y="677411"/>
                  </a:cubicBezTo>
                  <a:lnTo>
                    <a:pt x="4927787" y="713771"/>
                  </a:lnTo>
                  <a:cubicBezTo>
                    <a:pt x="4927787" y="730833"/>
                    <a:pt x="4934333" y="739786"/>
                    <a:pt x="4947424" y="740631"/>
                  </a:cubicBezTo>
                  <a:lnTo>
                    <a:pt x="4947424" y="759127"/>
                  </a:lnTo>
                  <a:cubicBezTo>
                    <a:pt x="4934333" y="759972"/>
                    <a:pt x="4927787" y="768757"/>
                    <a:pt x="4927787" y="785480"/>
                  </a:cubicBezTo>
                  <a:lnTo>
                    <a:pt x="4927787" y="822855"/>
                  </a:lnTo>
                  <a:cubicBezTo>
                    <a:pt x="4927787" y="848193"/>
                    <a:pt x="4912839" y="861031"/>
                    <a:pt x="4882938" y="861369"/>
                  </a:cubicBezTo>
                  <a:lnTo>
                    <a:pt x="4882938" y="841858"/>
                  </a:lnTo>
                  <a:cubicBezTo>
                    <a:pt x="4890285" y="841689"/>
                    <a:pt x="4895501" y="839662"/>
                    <a:pt x="4898583" y="835777"/>
                  </a:cubicBezTo>
                  <a:cubicBezTo>
                    <a:pt x="4901667" y="831892"/>
                    <a:pt x="4903208" y="825473"/>
                    <a:pt x="4903208" y="816520"/>
                  </a:cubicBezTo>
                  <a:lnTo>
                    <a:pt x="4903208" y="781173"/>
                  </a:lnTo>
                  <a:cubicBezTo>
                    <a:pt x="4903208" y="764027"/>
                    <a:pt x="4911527" y="753596"/>
                    <a:pt x="4928167" y="749879"/>
                  </a:cubicBezTo>
                  <a:lnTo>
                    <a:pt x="4928167" y="749500"/>
                  </a:lnTo>
                  <a:cubicBezTo>
                    <a:pt x="4911527" y="745529"/>
                    <a:pt x="4903208" y="735014"/>
                    <a:pt x="4903208" y="717952"/>
                  </a:cubicBezTo>
                  <a:lnTo>
                    <a:pt x="4903208" y="682226"/>
                  </a:lnTo>
                  <a:cubicBezTo>
                    <a:pt x="4903208" y="666431"/>
                    <a:pt x="4896452" y="658365"/>
                    <a:pt x="4882938" y="658027"/>
                  </a:cubicBezTo>
                  <a:close/>
                  <a:moveTo>
                    <a:pt x="4865453" y="638389"/>
                  </a:moveTo>
                  <a:lnTo>
                    <a:pt x="4865453" y="658027"/>
                  </a:lnTo>
                  <a:cubicBezTo>
                    <a:pt x="4852023" y="658365"/>
                    <a:pt x="4845309" y="666431"/>
                    <a:pt x="4845309" y="682226"/>
                  </a:cubicBezTo>
                  <a:lnTo>
                    <a:pt x="4845309" y="717952"/>
                  </a:lnTo>
                  <a:cubicBezTo>
                    <a:pt x="4845309" y="735014"/>
                    <a:pt x="4836904" y="745529"/>
                    <a:pt x="4820097" y="749500"/>
                  </a:cubicBezTo>
                  <a:lnTo>
                    <a:pt x="4820097" y="749879"/>
                  </a:lnTo>
                  <a:cubicBezTo>
                    <a:pt x="4836904" y="753596"/>
                    <a:pt x="4845309" y="764027"/>
                    <a:pt x="4845309" y="781173"/>
                  </a:cubicBezTo>
                  <a:lnTo>
                    <a:pt x="4845309" y="816520"/>
                  </a:lnTo>
                  <a:cubicBezTo>
                    <a:pt x="4845309" y="825557"/>
                    <a:pt x="4846809" y="831997"/>
                    <a:pt x="4849806" y="835840"/>
                  </a:cubicBezTo>
                  <a:cubicBezTo>
                    <a:pt x="4852805" y="839683"/>
                    <a:pt x="4858021" y="841689"/>
                    <a:pt x="4865453" y="841858"/>
                  </a:cubicBezTo>
                  <a:lnTo>
                    <a:pt x="4865453" y="861369"/>
                  </a:lnTo>
                  <a:cubicBezTo>
                    <a:pt x="4835384" y="861031"/>
                    <a:pt x="4820350" y="848193"/>
                    <a:pt x="4820350" y="822855"/>
                  </a:cubicBezTo>
                  <a:lnTo>
                    <a:pt x="4820350" y="785480"/>
                  </a:lnTo>
                  <a:cubicBezTo>
                    <a:pt x="4820350" y="768757"/>
                    <a:pt x="4813762" y="759972"/>
                    <a:pt x="4800586" y="759127"/>
                  </a:cubicBezTo>
                  <a:lnTo>
                    <a:pt x="4800586" y="740631"/>
                  </a:lnTo>
                  <a:cubicBezTo>
                    <a:pt x="4813762" y="739786"/>
                    <a:pt x="4820350" y="730833"/>
                    <a:pt x="4820350" y="713771"/>
                  </a:cubicBezTo>
                  <a:lnTo>
                    <a:pt x="4820350" y="677411"/>
                  </a:lnTo>
                  <a:cubicBezTo>
                    <a:pt x="4820350" y="651734"/>
                    <a:pt x="4835384" y="638727"/>
                    <a:pt x="4865453" y="638389"/>
                  </a:cubicBezTo>
                  <a:close/>
                  <a:moveTo>
                    <a:pt x="2058393" y="638389"/>
                  </a:moveTo>
                  <a:cubicBezTo>
                    <a:pt x="2088293" y="638727"/>
                    <a:pt x="2103243" y="651734"/>
                    <a:pt x="2103243" y="677411"/>
                  </a:cubicBezTo>
                  <a:lnTo>
                    <a:pt x="2103243" y="713771"/>
                  </a:lnTo>
                  <a:cubicBezTo>
                    <a:pt x="2103243" y="730833"/>
                    <a:pt x="2109787" y="739786"/>
                    <a:pt x="2122880" y="740631"/>
                  </a:cubicBezTo>
                  <a:lnTo>
                    <a:pt x="2122880" y="759127"/>
                  </a:lnTo>
                  <a:cubicBezTo>
                    <a:pt x="2109787" y="759972"/>
                    <a:pt x="2103243" y="768757"/>
                    <a:pt x="2103243" y="785480"/>
                  </a:cubicBezTo>
                  <a:lnTo>
                    <a:pt x="2103243" y="822855"/>
                  </a:lnTo>
                  <a:cubicBezTo>
                    <a:pt x="2103243" y="848193"/>
                    <a:pt x="2088293" y="861031"/>
                    <a:pt x="2058393" y="861369"/>
                  </a:cubicBezTo>
                  <a:lnTo>
                    <a:pt x="2058393" y="841858"/>
                  </a:lnTo>
                  <a:cubicBezTo>
                    <a:pt x="2065740" y="841689"/>
                    <a:pt x="2070956" y="839662"/>
                    <a:pt x="2074040" y="835777"/>
                  </a:cubicBezTo>
                  <a:cubicBezTo>
                    <a:pt x="2077123" y="831892"/>
                    <a:pt x="2078664" y="825473"/>
                    <a:pt x="2078664" y="816520"/>
                  </a:cubicBezTo>
                  <a:lnTo>
                    <a:pt x="2078664" y="781173"/>
                  </a:lnTo>
                  <a:cubicBezTo>
                    <a:pt x="2078664" y="764027"/>
                    <a:pt x="2086984" y="753596"/>
                    <a:pt x="2103623" y="749879"/>
                  </a:cubicBezTo>
                  <a:lnTo>
                    <a:pt x="2103623" y="749500"/>
                  </a:lnTo>
                  <a:cubicBezTo>
                    <a:pt x="2086984" y="745529"/>
                    <a:pt x="2078664" y="735014"/>
                    <a:pt x="2078664" y="717952"/>
                  </a:cubicBezTo>
                  <a:lnTo>
                    <a:pt x="2078664" y="682226"/>
                  </a:lnTo>
                  <a:cubicBezTo>
                    <a:pt x="2078664" y="666431"/>
                    <a:pt x="2071907" y="658365"/>
                    <a:pt x="2058393" y="658027"/>
                  </a:cubicBezTo>
                  <a:close/>
                  <a:moveTo>
                    <a:pt x="2040908" y="638389"/>
                  </a:moveTo>
                  <a:lnTo>
                    <a:pt x="2040908" y="658027"/>
                  </a:lnTo>
                  <a:cubicBezTo>
                    <a:pt x="2027479" y="658365"/>
                    <a:pt x="2020765" y="666431"/>
                    <a:pt x="2020765" y="682226"/>
                  </a:cubicBezTo>
                  <a:lnTo>
                    <a:pt x="2020765" y="717952"/>
                  </a:lnTo>
                  <a:cubicBezTo>
                    <a:pt x="2020765" y="735014"/>
                    <a:pt x="2012361" y="745529"/>
                    <a:pt x="1995553" y="749500"/>
                  </a:cubicBezTo>
                  <a:lnTo>
                    <a:pt x="1995553" y="749879"/>
                  </a:lnTo>
                  <a:cubicBezTo>
                    <a:pt x="2012361" y="753596"/>
                    <a:pt x="2020765" y="764027"/>
                    <a:pt x="2020765" y="781173"/>
                  </a:cubicBezTo>
                  <a:lnTo>
                    <a:pt x="2020765" y="816520"/>
                  </a:lnTo>
                  <a:cubicBezTo>
                    <a:pt x="2020765" y="825557"/>
                    <a:pt x="2022263" y="831997"/>
                    <a:pt x="2025262" y="835840"/>
                  </a:cubicBezTo>
                  <a:cubicBezTo>
                    <a:pt x="2028260" y="839683"/>
                    <a:pt x="2033476" y="841689"/>
                    <a:pt x="2040908" y="841858"/>
                  </a:cubicBezTo>
                  <a:lnTo>
                    <a:pt x="2040908" y="861369"/>
                  </a:lnTo>
                  <a:cubicBezTo>
                    <a:pt x="2010839" y="861031"/>
                    <a:pt x="1995806" y="848193"/>
                    <a:pt x="1995806" y="822855"/>
                  </a:cubicBezTo>
                  <a:lnTo>
                    <a:pt x="1995806" y="785480"/>
                  </a:lnTo>
                  <a:cubicBezTo>
                    <a:pt x="1995806" y="768757"/>
                    <a:pt x="1989217" y="759972"/>
                    <a:pt x="1976041" y="759127"/>
                  </a:cubicBezTo>
                  <a:lnTo>
                    <a:pt x="1976041" y="740631"/>
                  </a:lnTo>
                  <a:cubicBezTo>
                    <a:pt x="1989217" y="739786"/>
                    <a:pt x="1995806" y="730833"/>
                    <a:pt x="1995806" y="713771"/>
                  </a:cubicBezTo>
                  <a:lnTo>
                    <a:pt x="1995806" y="677411"/>
                  </a:lnTo>
                  <a:cubicBezTo>
                    <a:pt x="1995806" y="651734"/>
                    <a:pt x="2010839" y="638727"/>
                    <a:pt x="2040908" y="638389"/>
                  </a:cubicBezTo>
                  <a:close/>
                  <a:moveTo>
                    <a:pt x="9005765" y="498119"/>
                  </a:moveTo>
                  <a:cubicBezTo>
                    <a:pt x="9001215" y="516139"/>
                    <a:pt x="8996036" y="527514"/>
                    <a:pt x="8982416" y="537631"/>
                  </a:cubicBezTo>
                  <a:cubicBezTo>
                    <a:pt x="8981039" y="545025"/>
                    <a:pt x="8993432" y="541074"/>
                    <a:pt x="8998940" y="541044"/>
                  </a:cubicBezTo>
                  <a:cubicBezTo>
                    <a:pt x="9004448" y="541014"/>
                    <a:pt x="9013997" y="542496"/>
                    <a:pt x="9015463" y="537452"/>
                  </a:cubicBezTo>
                  <a:cubicBezTo>
                    <a:pt x="9016451" y="533979"/>
                    <a:pt x="9014026" y="531315"/>
                    <a:pt x="9012500" y="527933"/>
                  </a:cubicBezTo>
                  <a:cubicBezTo>
                    <a:pt x="9011722" y="524221"/>
                    <a:pt x="9014610" y="519611"/>
                    <a:pt x="9013488" y="514642"/>
                  </a:cubicBezTo>
                  <a:cubicBezTo>
                    <a:pt x="9012365" y="509673"/>
                    <a:pt x="9009057" y="501830"/>
                    <a:pt x="9005765" y="498119"/>
                  </a:cubicBezTo>
                  <a:close/>
                  <a:moveTo>
                    <a:pt x="2945029" y="498119"/>
                  </a:moveTo>
                  <a:cubicBezTo>
                    <a:pt x="2940478" y="516139"/>
                    <a:pt x="2935299" y="527514"/>
                    <a:pt x="2921680" y="537631"/>
                  </a:cubicBezTo>
                  <a:cubicBezTo>
                    <a:pt x="2920303" y="545025"/>
                    <a:pt x="2932695" y="541074"/>
                    <a:pt x="2938203" y="541044"/>
                  </a:cubicBezTo>
                  <a:cubicBezTo>
                    <a:pt x="2943711" y="541014"/>
                    <a:pt x="2953261" y="542496"/>
                    <a:pt x="2954726" y="537452"/>
                  </a:cubicBezTo>
                  <a:cubicBezTo>
                    <a:pt x="2955715" y="533979"/>
                    <a:pt x="2953290" y="531315"/>
                    <a:pt x="2951763" y="527933"/>
                  </a:cubicBezTo>
                  <a:cubicBezTo>
                    <a:pt x="2950986" y="524221"/>
                    <a:pt x="2953874" y="519611"/>
                    <a:pt x="2952751" y="514642"/>
                  </a:cubicBezTo>
                  <a:cubicBezTo>
                    <a:pt x="2951629" y="509673"/>
                    <a:pt x="2948321" y="501830"/>
                    <a:pt x="2945029" y="498119"/>
                  </a:cubicBezTo>
                  <a:close/>
                  <a:moveTo>
                    <a:pt x="8844660" y="481595"/>
                  </a:moveTo>
                  <a:cubicBezTo>
                    <a:pt x="8839811" y="487133"/>
                    <a:pt x="8830921" y="497700"/>
                    <a:pt x="8830921" y="501980"/>
                  </a:cubicBezTo>
                  <a:cubicBezTo>
                    <a:pt x="8831190" y="507308"/>
                    <a:pt x="8845468" y="523054"/>
                    <a:pt x="8852563" y="523712"/>
                  </a:cubicBezTo>
                  <a:cubicBezTo>
                    <a:pt x="8858430" y="523862"/>
                    <a:pt x="8858999" y="520779"/>
                    <a:pt x="8861543" y="516438"/>
                  </a:cubicBezTo>
                  <a:cubicBezTo>
                    <a:pt x="8853401" y="504914"/>
                    <a:pt x="8850018" y="499047"/>
                    <a:pt x="8844660" y="481595"/>
                  </a:cubicBezTo>
                  <a:close/>
                  <a:moveTo>
                    <a:pt x="2783925" y="481595"/>
                  </a:moveTo>
                  <a:cubicBezTo>
                    <a:pt x="2779075" y="487133"/>
                    <a:pt x="2770185" y="497700"/>
                    <a:pt x="2770185" y="501980"/>
                  </a:cubicBezTo>
                  <a:cubicBezTo>
                    <a:pt x="2770454" y="507308"/>
                    <a:pt x="2784733" y="523054"/>
                    <a:pt x="2791826" y="523712"/>
                  </a:cubicBezTo>
                  <a:cubicBezTo>
                    <a:pt x="2797693" y="523862"/>
                    <a:pt x="2798263" y="520779"/>
                    <a:pt x="2800806" y="516438"/>
                  </a:cubicBezTo>
                  <a:cubicBezTo>
                    <a:pt x="2792664" y="504914"/>
                    <a:pt x="2789282" y="499047"/>
                    <a:pt x="2783925" y="481595"/>
                  </a:cubicBezTo>
                  <a:close/>
                  <a:moveTo>
                    <a:pt x="8828161" y="412842"/>
                  </a:moveTo>
                  <a:lnTo>
                    <a:pt x="8827959" y="414368"/>
                  </a:lnTo>
                  <a:lnTo>
                    <a:pt x="8827892" y="413100"/>
                  </a:lnTo>
                  <a:close/>
                  <a:moveTo>
                    <a:pt x="2767424" y="412841"/>
                  </a:moveTo>
                  <a:lnTo>
                    <a:pt x="2767222" y="414369"/>
                  </a:lnTo>
                  <a:lnTo>
                    <a:pt x="2767156" y="413100"/>
                  </a:lnTo>
                  <a:close/>
                  <a:moveTo>
                    <a:pt x="9031448" y="385462"/>
                  </a:moveTo>
                  <a:cubicBezTo>
                    <a:pt x="9031411" y="385635"/>
                    <a:pt x="9028533" y="386705"/>
                    <a:pt x="9027429" y="388336"/>
                  </a:cubicBezTo>
                  <a:cubicBezTo>
                    <a:pt x="9031998" y="389858"/>
                    <a:pt x="9033602" y="391291"/>
                    <a:pt x="9034399" y="396764"/>
                  </a:cubicBezTo>
                  <a:cubicBezTo>
                    <a:pt x="9034614" y="396723"/>
                    <a:pt x="9036118" y="395509"/>
                    <a:pt x="9041326" y="395026"/>
                  </a:cubicBezTo>
                  <a:cubicBezTo>
                    <a:pt x="9029502" y="399756"/>
                    <a:pt x="9023516" y="404845"/>
                    <a:pt x="9014925" y="414334"/>
                  </a:cubicBezTo>
                  <a:cubicBezTo>
                    <a:pt x="9017641" y="408990"/>
                    <a:pt x="9019956" y="406726"/>
                    <a:pt x="9019975" y="406659"/>
                  </a:cubicBezTo>
                  <a:cubicBezTo>
                    <a:pt x="9015478" y="405131"/>
                    <a:pt x="9014213" y="404771"/>
                    <a:pt x="9012141" y="399651"/>
                  </a:cubicBezTo>
                  <a:cubicBezTo>
                    <a:pt x="9011868" y="399801"/>
                    <a:pt x="9011415" y="399569"/>
                    <a:pt x="9007291" y="403737"/>
                  </a:cubicBezTo>
                  <a:cubicBezTo>
                    <a:pt x="9014535" y="389489"/>
                    <a:pt x="9021330" y="388576"/>
                    <a:pt x="9031448" y="385462"/>
                  </a:cubicBezTo>
                  <a:close/>
                  <a:moveTo>
                    <a:pt x="2970711" y="385462"/>
                  </a:moveTo>
                  <a:cubicBezTo>
                    <a:pt x="2970674" y="385635"/>
                    <a:pt x="2967797" y="386705"/>
                    <a:pt x="2966693" y="388336"/>
                  </a:cubicBezTo>
                  <a:cubicBezTo>
                    <a:pt x="2971262" y="389858"/>
                    <a:pt x="2972865" y="391291"/>
                    <a:pt x="2973663" y="396764"/>
                  </a:cubicBezTo>
                  <a:cubicBezTo>
                    <a:pt x="2973878" y="396723"/>
                    <a:pt x="2975381" y="395509"/>
                    <a:pt x="2980590" y="395026"/>
                  </a:cubicBezTo>
                  <a:cubicBezTo>
                    <a:pt x="2968766" y="399756"/>
                    <a:pt x="2962780" y="404845"/>
                    <a:pt x="2954189" y="414334"/>
                  </a:cubicBezTo>
                  <a:cubicBezTo>
                    <a:pt x="2956904" y="408990"/>
                    <a:pt x="2959221" y="406726"/>
                    <a:pt x="2959239" y="406659"/>
                  </a:cubicBezTo>
                  <a:cubicBezTo>
                    <a:pt x="2954741" y="405131"/>
                    <a:pt x="2953477" y="404771"/>
                    <a:pt x="2951404" y="399651"/>
                  </a:cubicBezTo>
                  <a:cubicBezTo>
                    <a:pt x="2951131" y="399801"/>
                    <a:pt x="2950678" y="399569"/>
                    <a:pt x="2946555" y="403737"/>
                  </a:cubicBezTo>
                  <a:cubicBezTo>
                    <a:pt x="2953799" y="389489"/>
                    <a:pt x="2960595" y="388576"/>
                    <a:pt x="2970711" y="385462"/>
                  </a:cubicBezTo>
                  <a:close/>
                  <a:moveTo>
                    <a:pt x="9004699" y="368940"/>
                  </a:moveTo>
                  <a:cubicBezTo>
                    <a:pt x="9005404" y="368884"/>
                    <a:pt x="9006169" y="368904"/>
                    <a:pt x="9007000" y="368977"/>
                  </a:cubicBezTo>
                  <a:cubicBezTo>
                    <a:pt x="9009215" y="369171"/>
                    <a:pt x="9011901" y="369740"/>
                    <a:pt x="9015194" y="370241"/>
                  </a:cubicBezTo>
                  <a:cubicBezTo>
                    <a:pt x="9003999" y="372007"/>
                    <a:pt x="9000886" y="378263"/>
                    <a:pt x="8996156" y="389279"/>
                  </a:cubicBezTo>
                  <a:cubicBezTo>
                    <a:pt x="8997728" y="373446"/>
                    <a:pt x="8999763" y="369331"/>
                    <a:pt x="9004699" y="368940"/>
                  </a:cubicBezTo>
                  <a:close/>
                  <a:moveTo>
                    <a:pt x="2943962" y="368940"/>
                  </a:moveTo>
                  <a:cubicBezTo>
                    <a:pt x="2944669" y="368884"/>
                    <a:pt x="2945432" y="368904"/>
                    <a:pt x="2946264" y="368977"/>
                  </a:cubicBezTo>
                  <a:cubicBezTo>
                    <a:pt x="2948478" y="369171"/>
                    <a:pt x="2951165" y="369740"/>
                    <a:pt x="2954458" y="370241"/>
                  </a:cubicBezTo>
                  <a:cubicBezTo>
                    <a:pt x="2943262" y="372007"/>
                    <a:pt x="2940149" y="378263"/>
                    <a:pt x="2935420" y="389279"/>
                  </a:cubicBezTo>
                  <a:cubicBezTo>
                    <a:pt x="2936991" y="373446"/>
                    <a:pt x="2939026" y="369331"/>
                    <a:pt x="2943962" y="368940"/>
                  </a:cubicBezTo>
                  <a:close/>
                  <a:moveTo>
                    <a:pt x="9107997" y="346712"/>
                  </a:moveTo>
                  <a:cubicBezTo>
                    <a:pt x="9109606" y="348783"/>
                    <a:pt x="9104712" y="356576"/>
                    <a:pt x="9099744" y="360728"/>
                  </a:cubicBezTo>
                  <a:cubicBezTo>
                    <a:pt x="9094777" y="364880"/>
                    <a:pt x="9087458" y="364454"/>
                    <a:pt x="9087486" y="362733"/>
                  </a:cubicBezTo>
                  <a:cubicBezTo>
                    <a:pt x="9087514" y="361012"/>
                    <a:pt x="9095284" y="358729"/>
                    <a:pt x="9098703" y="356059"/>
                  </a:cubicBezTo>
                  <a:cubicBezTo>
                    <a:pt x="9102121" y="353389"/>
                    <a:pt x="9106861" y="345720"/>
                    <a:pt x="9107997" y="346712"/>
                  </a:cubicBezTo>
                  <a:close/>
                  <a:moveTo>
                    <a:pt x="3047262" y="346712"/>
                  </a:moveTo>
                  <a:cubicBezTo>
                    <a:pt x="3048870" y="348783"/>
                    <a:pt x="3043975" y="356576"/>
                    <a:pt x="3039007" y="360728"/>
                  </a:cubicBezTo>
                  <a:cubicBezTo>
                    <a:pt x="3034040" y="364880"/>
                    <a:pt x="3026721" y="364454"/>
                    <a:pt x="3026750" y="362733"/>
                  </a:cubicBezTo>
                  <a:cubicBezTo>
                    <a:pt x="3026777" y="361012"/>
                    <a:pt x="3034547" y="358729"/>
                    <a:pt x="3037966" y="356059"/>
                  </a:cubicBezTo>
                  <a:cubicBezTo>
                    <a:pt x="3041384" y="353389"/>
                    <a:pt x="3046124" y="345720"/>
                    <a:pt x="3047262" y="346712"/>
                  </a:cubicBezTo>
                  <a:close/>
                  <a:moveTo>
                    <a:pt x="10088691" y="330076"/>
                  </a:moveTo>
                  <a:cubicBezTo>
                    <a:pt x="10125148" y="330414"/>
                    <a:pt x="10143377" y="343421"/>
                    <a:pt x="10143377" y="369097"/>
                  </a:cubicBezTo>
                  <a:lnTo>
                    <a:pt x="10143377" y="405458"/>
                  </a:lnTo>
                  <a:cubicBezTo>
                    <a:pt x="10143377" y="422520"/>
                    <a:pt x="10151358" y="431473"/>
                    <a:pt x="10167321" y="432318"/>
                  </a:cubicBezTo>
                  <a:lnTo>
                    <a:pt x="10167321" y="450814"/>
                  </a:lnTo>
                  <a:cubicBezTo>
                    <a:pt x="10151358" y="451659"/>
                    <a:pt x="10143377" y="460443"/>
                    <a:pt x="10143377" y="477167"/>
                  </a:cubicBezTo>
                  <a:lnTo>
                    <a:pt x="10143377" y="514542"/>
                  </a:lnTo>
                  <a:cubicBezTo>
                    <a:pt x="10143377" y="539880"/>
                    <a:pt x="10125148" y="552718"/>
                    <a:pt x="10088691" y="553056"/>
                  </a:cubicBezTo>
                  <a:lnTo>
                    <a:pt x="10088691" y="533545"/>
                  </a:lnTo>
                  <a:cubicBezTo>
                    <a:pt x="10097651" y="533376"/>
                    <a:pt x="10104010" y="531349"/>
                    <a:pt x="10107769" y="527464"/>
                  </a:cubicBezTo>
                  <a:cubicBezTo>
                    <a:pt x="10111528" y="523579"/>
                    <a:pt x="10113408" y="517160"/>
                    <a:pt x="10113408" y="508207"/>
                  </a:cubicBezTo>
                  <a:lnTo>
                    <a:pt x="10113408" y="472859"/>
                  </a:lnTo>
                  <a:cubicBezTo>
                    <a:pt x="10113408" y="455714"/>
                    <a:pt x="10123552" y="445282"/>
                    <a:pt x="10143840" y="441566"/>
                  </a:cubicBezTo>
                  <a:lnTo>
                    <a:pt x="10143840" y="441186"/>
                  </a:lnTo>
                  <a:cubicBezTo>
                    <a:pt x="10123552" y="437216"/>
                    <a:pt x="10113408" y="426701"/>
                    <a:pt x="10113408" y="409639"/>
                  </a:cubicBezTo>
                  <a:lnTo>
                    <a:pt x="10113408" y="373912"/>
                  </a:lnTo>
                  <a:cubicBezTo>
                    <a:pt x="10113408" y="358117"/>
                    <a:pt x="10105169" y="350051"/>
                    <a:pt x="10088691" y="349714"/>
                  </a:cubicBezTo>
                  <a:close/>
                  <a:moveTo>
                    <a:pt x="10067372" y="330076"/>
                  </a:moveTo>
                  <a:lnTo>
                    <a:pt x="10067372" y="349714"/>
                  </a:lnTo>
                  <a:cubicBezTo>
                    <a:pt x="10050998" y="350051"/>
                    <a:pt x="10042810" y="358117"/>
                    <a:pt x="10042810" y="373912"/>
                  </a:cubicBezTo>
                  <a:lnTo>
                    <a:pt x="10042810" y="409639"/>
                  </a:lnTo>
                  <a:cubicBezTo>
                    <a:pt x="10042810" y="426701"/>
                    <a:pt x="10032563" y="437216"/>
                    <a:pt x="10012069" y="441186"/>
                  </a:cubicBezTo>
                  <a:lnTo>
                    <a:pt x="10012069" y="441566"/>
                  </a:lnTo>
                  <a:cubicBezTo>
                    <a:pt x="10032563" y="445282"/>
                    <a:pt x="10042810" y="455714"/>
                    <a:pt x="10042810" y="472859"/>
                  </a:cubicBezTo>
                  <a:lnTo>
                    <a:pt x="10042810" y="508207"/>
                  </a:lnTo>
                  <a:cubicBezTo>
                    <a:pt x="10042810" y="517244"/>
                    <a:pt x="10044638" y="523684"/>
                    <a:pt x="10048294" y="527527"/>
                  </a:cubicBezTo>
                  <a:cubicBezTo>
                    <a:pt x="10051950" y="531370"/>
                    <a:pt x="10058310" y="533376"/>
                    <a:pt x="10067372" y="533545"/>
                  </a:cubicBezTo>
                  <a:lnTo>
                    <a:pt x="10067372" y="553056"/>
                  </a:lnTo>
                  <a:cubicBezTo>
                    <a:pt x="10030709" y="552718"/>
                    <a:pt x="10012378" y="539880"/>
                    <a:pt x="10012378" y="514542"/>
                  </a:cubicBezTo>
                  <a:lnTo>
                    <a:pt x="10012378" y="477167"/>
                  </a:lnTo>
                  <a:cubicBezTo>
                    <a:pt x="10012378" y="460443"/>
                    <a:pt x="10004345" y="451659"/>
                    <a:pt x="9988279" y="450814"/>
                  </a:cubicBezTo>
                  <a:lnTo>
                    <a:pt x="9988279" y="432318"/>
                  </a:lnTo>
                  <a:cubicBezTo>
                    <a:pt x="10004345" y="431473"/>
                    <a:pt x="10012378" y="422520"/>
                    <a:pt x="10012378" y="405458"/>
                  </a:cubicBezTo>
                  <a:lnTo>
                    <a:pt x="10012378" y="369097"/>
                  </a:lnTo>
                  <a:cubicBezTo>
                    <a:pt x="10012378" y="343421"/>
                    <a:pt x="10030709" y="330414"/>
                    <a:pt x="10067372" y="330076"/>
                  </a:cubicBezTo>
                  <a:close/>
                  <a:moveTo>
                    <a:pt x="4025465" y="330076"/>
                  </a:moveTo>
                  <a:cubicBezTo>
                    <a:pt x="4061923" y="330414"/>
                    <a:pt x="4080151" y="343421"/>
                    <a:pt x="4080151" y="369097"/>
                  </a:cubicBezTo>
                  <a:lnTo>
                    <a:pt x="4080151" y="405458"/>
                  </a:lnTo>
                  <a:cubicBezTo>
                    <a:pt x="4080151" y="422520"/>
                    <a:pt x="4088132" y="431473"/>
                    <a:pt x="4104095" y="432318"/>
                  </a:cubicBezTo>
                  <a:lnTo>
                    <a:pt x="4104095" y="450814"/>
                  </a:lnTo>
                  <a:cubicBezTo>
                    <a:pt x="4088132" y="451659"/>
                    <a:pt x="4080151" y="460443"/>
                    <a:pt x="4080151" y="477167"/>
                  </a:cubicBezTo>
                  <a:lnTo>
                    <a:pt x="4080151" y="514542"/>
                  </a:lnTo>
                  <a:cubicBezTo>
                    <a:pt x="4080151" y="539880"/>
                    <a:pt x="4061923" y="552718"/>
                    <a:pt x="4025465" y="553056"/>
                  </a:cubicBezTo>
                  <a:lnTo>
                    <a:pt x="4025465" y="533545"/>
                  </a:lnTo>
                  <a:cubicBezTo>
                    <a:pt x="4034425" y="533376"/>
                    <a:pt x="4040784" y="531349"/>
                    <a:pt x="4044543" y="527464"/>
                  </a:cubicBezTo>
                  <a:cubicBezTo>
                    <a:pt x="4048302" y="523579"/>
                    <a:pt x="4050182" y="517160"/>
                    <a:pt x="4050182" y="508207"/>
                  </a:cubicBezTo>
                  <a:lnTo>
                    <a:pt x="4050182" y="472859"/>
                  </a:lnTo>
                  <a:cubicBezTo>
                    <a:pt x="4050182" y="455714"/>
                    <a:pt x="4060326" y="445282"/>
                    <a:pt x="4080614" y="441566"/>
                  </a:cubicBezTo>
                  <a:lnTo>
                    <a:pt x="4080614" y="441186"/>
                  </a:lnTo>
                  <a:cubicBezTo>
                    <a:pt x="4060326" y="437216"/>
                    <a:pt x="4050182" y="426701"/>
                    <a:pt x="4050182" y="409639"/>
                  </a:cubicBezTo>
                  <a:lnTo>
                    <a:pt x="4050182" y="373912"/>
                  </a:lnTo>
                  <a:cubicBezTo>
                    <a:pt x="4050182" y="358117"/>
                    <a:pt x="4041943" y="350051"/>
                    <a:pt x="4025465" y="349714"/>
                  </a:cubicBezTo>
                  <a:close/>
                  <a:moveTo>
                    <a:pt x="4004147" y="330076"/>
                  </a:moveTo>
                  <a:lnTo>
                    <a:pt x="4004147" y="349714"/>
                  </a:lnTo>
                  <a:cubicBezTo>
                    <a:pt x="3987772" y="350051"/>
                    <a:pt x="3979585" y="358117"/>
                    <a:pt x="3979585" y="373912"/>
                  </a:cubicBezTo>
                  <a:lnTo>
                    <a:pt x="3979585" y="409639"/>
                  </a:lnTo>
                  <a:cubicBezTo>
                    <a:pt x="3979585" y="426701"/>
                    <a:pt x="3969338" y="437216"/>
                    <a:pt x="3948843" y="441186"/>
                  </a:cubicBezTo>
                  <a:lnTo>
                    <a:pt x="3948843" y="441566"/>
                  </a:lnTo>
                  <a:cubicBezTo>
                    <a:pt x="3969338" y="445282"/>
                    <a:pt x="3979585" y="455714"/>
                    <a:pt x="3979585" y="472859"/>
                  </a:cubicBezTo>
                  <a:lnTo>
                    <a:pt x="3979585" y="508207"/>
                  </a:lnTo>
                  <a:cubicBezTo>
                    <a:pt x="3979585" y="517244"/>
                    <a:pt x="3981412" y="523684"/>
                    <a:pt x="3985069" y="527527"/>
                  </a:cubicBezTo>
                  <a:cubicBezTo>
                    <a:pt x="3988725" y="531370"/>
                    <a:pt x="3995084" y="533376"/>
                    <a:pt x="4004147" y="533545"/>
                  </a:cubicBezTo>
                  <a:lnTo>
                    <a:pt x="4004147" y="553056"/>
                  </a:lnTo>
                  <a:cubicBezTo>
                    <a:pt x="3967484" y="552718"/>
                    <a:pt x="3949152" y="539880"/>
                    <a:pt x="3949152" y="514542"/>
                  </a:cubicBezTo>
                  <a:lnTo>
                    <a:pt x="3949152" y="477167"/>
                  </a:lnTo>
                  <a:cubicBezTo>
                    <a:pt x="3949152" y="460443"/>
                    <a:pt x="3941119" y="451659"/>
                    <a:pt x="3925053" y="450814"/>
                  </a:cubicBezTo>
                  <a:lnTo>
                    <a:pt x="3925053" y="432318"/>
                  </a:lnTo>
                  <a:cubicBezTo>
                    <a:pt x="3941119" y="431473"/>
                    <a:pt x="3949152" y="422520"/>
                    <a:pt x="3949152" y="405458"/>
                  </a:cubicBezTo>
                  <a:lnTo>
                    <a:pt x="3949152" y="369097"/>
                  </a:lnTo>
                  <a:cubicBezTo>
                    <a:pt x="3949152" y="343421"/>
                    <a:pt x="3967484" y="330414"/>
                    <a:pt x="4004147" y="330076"/>
                  </a:cubicBezTo>
                  <a:close/>
                  <a:moveTo>
                    <a:pt x="9003356" y="327579"/>
                  </a:moveTo>
                  <a:cubicBezTo>
                    <a:pt x="9005309" y="327654"/>
                    <a:pt x="9007279" y="327823"/>
                    <a:pt x="9009260" y="328096"/>
                  </a:cubicBezTo>
                  <a:cubicBezTo>
                    <a:pt x="9025103" y="330284"/>
                    <a:pt x="9045485" y="346898"/>
                    <a:pt x="9052536" y="357514"/>
                  </a:cubicBezTo>
                  <a:cubicBezTo>
                    <a:pt x="9062018" y="360108"/>
                    <a:pt x="9068055" y="373844"/>
                    <a:pt x="9070527" y="378666"/>
                  </a:cubicBezTo>
                  <a:cubicBezTo>
                    <a:pt x="9072999" y="383488"/>
                    <a:pt x="9070122" y="386244"/>
                    <a:pt x="9067366" y="386446"/>
                  </a:cubicBezTo>
                  <a:cubicBezTo>
                    <a:pt x="9067326" y="387034"/>
                    <a:pt x="9075866" y="393862"/>
                    <a:pt x="9080480" y="396551"/>
                  </a:cubicBezTo>
                  <a:cubicBezTo>
                    <a:pt x="9084051" y="381027"/>
                    <a:pt x="9078869" y="370608"/>
                    <a:pt x="9078793" y="359217"/>
                  </a:cubicBezTo>
                  <a:cubicBezTo>
                    <a:pt x="9084223" y="349735"/>
                    <a:pt x="9088680" y="353138"/>
                    <a:pt x="9094110" y="349492"/>
                  </a:cubicBezTo>
                  <a:cubicBezTo>
                    <a:pt x="9097352" y="345764"/>
                    <a:pt x="9100350" y="337903"/>
                    <a:pt x="9106023" y="338308"/>
                  </a:cubicBezTo>
                  <a:cubicBezTo>
                    <a:pt x="9115910" y="338713"/>
                    <a:pt x="9128472" y="357110"/>
                    <a:pt x="9128877" y="400791"/>
                  </a:cubicBezTo>
                  <a:cubicBezTo>
                    <a:pt x="9129120" y="435476"/>
                    <a:pt x="9115262" y="458735"/>
                    <a:pt x="9091193" y="469109"/>
                  </a:cubicBezTo>
                  <a:cubicBezTo>
                    <a:pt x="9078884" y="472391"/>
                    <a:pt x="9068320" y="472186"/>
                    <a:pt x="9059166" y="469827"/>
                  </a:cubicBezTo>
                  <a:lnTo>
                    <a:pt x="9055159" y="468432"/>
                  </a:lnTo>
                  <a:lnTo>
                    <a:pt x="9054679" y="470708"/>
                  </a:lnTo>
                  <a:cubicBezTo>
                    <a:pt x="9049794" y="489448"/>
                    <a:pt x="9036059" y="490889"/>
                    <a:pt x="9029925" y="490747"/>
                  </a:cubicBezTo>
                  <a:cubicBezTo>
                    <a:pt x="9022915" y="490585"/>
                    <a:pt x="9012542" y="484101"/>
                    <a:pt x="9008287" y="481022"/>
                  </a:cubicBezTo>
                  <a:cubicBezTo>
                    <a:pt x="9008165" y="485722"/>
                    <a:pt x="9009259" y="487384"/>
                    <a:pt x="9007314" y="493664"/>
                  </a:cubicBezTo>
                  <a:cubicBezTo>
                    <a:pt x="9012420" y="497028"/>
                    <a:pt x="9015499" y="509022"/>
                    <a:pt x="9017039" y="514330"/>
                  </a:cubicBezTo>
                  <a:cubicBezTo>
                    <a:pt x="9018579" y="519638"/>
                    <a:pt x="9016675" y="520854"/>
                    <a:pt x="9016553" y="525514"/>
                  </a:cubicBezTo>
                  <a:cubicBezTo>
                    <a:pt x="9016432" y="530173"/>
                    <a:pt x="9021294" y="533901"/>
                    <a:pt x="9018741" y="539372"/>
                  </a:cubicBezTo>
                  <a:cubicBezTo>
                    <a:pt x="9016188" y="544842"/>
                    <a:pt x="9009543" y="545126"/>
                    <a:pt x="9002695" y="545207"/>
                  </a:cubicBezTo>
                  <a:cubicBezTo>
                    <a:pt x="8995847" y="545288"/>
                    <a:pt x="8980530" y="549988"/>
                    <a:pt x="8977653" y="539858"/>
                  </a:cubicBezTo>
                  <a:cubicBezTo>
                    <a:pt x="8977293" y="538592"/>
                    <a:pt x="8977041" y="537083"/>
                    <a:pt x="8976889" y="535374"/>
                  </a:cubicBezTo>
                  <a:cubicBezTo>
                    <a:pt x="8976875" y="534922"/>
                    <a:pt x="8976862" y="534471"/>
                    <a:pt x="8976849" y="534020"/>
                  </a:cubicBezTo>
                  <a:lnTo>
                    <a:pt x="8973084" y="537588"/>
                  </a:lnTo>
                  <a:cubicBezTo>
                    <a:pt x="8964478" y="545689"/>
                    <a:pt x="8956719" y="552318"/>
                    <a:pt x="8949451" y="552014"/>
                  </a:cubicBezTo>
                  <a:cubicBezTo>
                    <a:pt x="8937335" y="549583"/>
                    <a:pt x="8927975" y="530295"/>
                    <a:pt x="8925868" y="523569"/>
                  </a:cubicBezTo>
                  <a:cubicBezTo>
                    <a:pt x="8923760" y="516842"/>
                    <a:pt x="8930608" y="515586"/>
                    <a:pt x="8936808" y="511655"/>
                  </a:cubicBezTo>
                  <a:cubicBezTo>
                    <a:pt x="8930608" y="515262"/>
                    <a:pt x="8913833" y="512304"/>
                    <a:pt x="8911766" y="509224"/>
                  </a:cubicBezTo>
                  <a:cubicBezTo>
                    <a:pt x="8912374" y="515626"/>
                    <a:pt x="8912009" y="516558"/>
                    <a:pt x="8910794" y="520165"/>
                  </a:cubicBezTo>
                  <a:cubicBezTo>
                    <a:pt x="8909578" y="523771"/>
                    <a:pt x="8906377" y="525878"/>
                    <a:pt x="8904472" y="530862"/>
                  </a:cubicBezTo>
                  <a:cubicBezTo>
                    <a:pt x="8902568" y="535846"/>
                    <a:pt x="8906944" y="548286"/>
                    <a:pt x="8899367" y="550069"/>
                  </a:cubicBezTo>
                  <a:cubicBezTo>
                    <a:pt x="8891789" y="551852"/>
                    <a:pt x="8868247" y="551163"/>
                    <a:pt x="8859008" y="541560"/>
                  </a:cubicBezTo>
                  <a:cubicBezTo>
                    <a:pt x="8855118" y="536819"/>
                    <a:pt x="8861439" y="529485"/>
                    <a:pt x="8859981" y="527459"/>
                  </a:cubicBezTo>
                  <a:cubicBezTo>
                    <a:pt x="8858522" y="525432"/>
                    <a:pt x="8856091" y="533415"/>
                    <a:pt x="8850256" y="529404"/>
                  </a:cubicBezTo>
                  <a:cubicBezTo>
                    <a:pt x="8844421" y="525392"/>
                    <a:pt x="8826632" y="512182"/>
                    <a:pt x="8824971" y="503389"/>
                  </a:cubicBezTo>
                  <a:cubicBezTo>
                    <a:pt x="8823309" y="494596"/>
                    <a:pt x="8833440" y="485357"/>
                    <a:pt x="8840288" y="476645"/>
                  </a:cubicBezTo>
                  <a:cubicBezTo>
                    <a:pt x="8838626" y="467204"/>
                    <a:pt x="8837937" y="460883"/>
                    <a:pt x="8841746" y="449902"/>
                  </a:cubicBezTo>
                  <a:cubicBezTo>
                    <a:pt x="8836641" y="446782"/>
                    <a:pt x="8825538" y="442365"/>
                    <a:pt x="8826186" y="427778"/>
                  </a:cubicBezTo>
                  <a:lnTo>
                    <a:pt x="8827959" y="414368"/>
                  </a:lnTo>
                  <a:lnTo>
                    <a:pt x="8828421" y="423148"/>
                  </a:lnTo>
                  <a:lnTo>
                    <a:pt x="8829250" y="423546"/>
                  </a:lnTo>
                  <a:lnTo>
                    <a:pt x="8829373" y="424728"/>
                  </a:lnTo>
                  <a:cubicBezTo>
                    <a:pt x="8830404" y="433164"/>
                    <a:pt x="8833166" y="442509"/>
                    <a:pt x="8849061" y="438670"/>
                  </a:cubicBezTo>
                  <a:cubicBezTo>
                    <a:pt x="8842224" y="474946"/>
                    <a:pt x="8857665" y="492933"/>
                    <a:pt x="8867407" y="509778"/>
                  </a:cubicBezTo>
                  <a:lnTo>
                    <a:pt x="8868375" y="511640"/>
                  </a:lnTo>
                  <a:lnTo>
                    <a:pt x="8868341" y="512514"/>
                  </a:lnTo>
                  <a:cubicBezTo>
                    <a:pt x="8868048" y="517656"/>
                    <a:pt x="8867313" y="521220"/>
                    <a:pt x="8866931" y="526047"/>
                  </a:cubicBezTo>
                  <a:cubicBezTo>
                    <a:pt x="8865824" y="529849"/>
                    <a:pt x="8863100" y="529429"/>
                    <a:pt x="8863609" y="537452"/>
                  </a:cubicBezTo>
                  <a:cubicBezTo>
                    <a:pt x="8863938" y="542451"/>
                    <a:pt x="8893273" y="550503"/>
                    <a:pt x="8898003" y="544097"/>
                  </a:cubicBezTo>
                  <a:cubicBezTo>
                    <a:pt x="8899380" y="541882"/>
                    <a:pt x="8898781" y="536793"/>
                    <a:pt x="8899170" y="533141"/>
                  </a:cubicBezTo>
                  <a:cubicBezTo>
                    <a:pt x="8899769" y="529070"/>
                    <a:pt x="8905037" y="524640"/>
                    <a:pt x="8905815" y="518863"/>
                  </a:cubicBezTo>
                  <a:cubicBezTo>
                    <a:pt x="8906324" y="514268"/>
                    <a:pt x="8906272" y="509067"/>
                    <a:pt x="8906096" y="503653"/>
                  </a:cubicBezTo>
                  <a:lnTo>
                    <a:pt x="8905886" y="497935"/>
                  </a:lnTo>
                  <a:lnTo>
                    <a:pt x="8907486" y="499797"/>
                  </a:lnTo>
                  <a:cubicBezTo>
                    <a:pt x="8917828" y="510345"/>
                    <a:pt x="8939764" y="513898"/>
                    <a:pt x="8947124" y="497580"/>
                  </a:cubicBezTo>
                  <a:cubicBezTo>
                    <a:pt x="8947214" y="502818"/>
                    <a:pt x="8948920" y="504824"/>
                    <a:pt x="8948022" y="511409"/>
                  </a:cubicBezTo>
                  <a:cubicBezTo>
                    <a:pt x="8945448" y="515570"/>
                    <a:pt x="8933983" y="516498"/>
                    <a:pt x="8930870" y="524161"/>
                  </a:cubicBezTo>
                  <a:cubicBezTo>
                    <a:pt x="8929942" y="527364"/>
                    <a:pt x="8942125" y="546552"/>
                    <a:pt x="8949908" y="547240"/>
                  </a:cubicBezTo>
                  <a:cubicBezTo>
                    <a:pt x="8955566" y="547899"/>
                    <a:pt x="8966072" y="536793"/>
                    <a:pt x="8985200" y="519312"/>
                  </a:cubicBezTo>
                  <a:cubicBezTo>
                    <a:pt x="8988161" y="516606"/>
                    <a:pt x="8999359" y="495365"/>
                    <a:pt x="9004418" y="477195"/>
                  </a:cubicBezTo>
                  <a:cubicBezTo>
                    <a:pt x="8999261" y="474605"/>
                    <a:pt x="8991788" y="468436"/>
                    <a:pt x="8987440" y="458808"/>
                  </a:cubicBezTo>
                  <a:lnTo>
                    <a:pt x="8987245" y="458296"/>
                  </a:lnTo>
                  <a:lnTo>
                    <a:pt x="8989881" y="459956"/>
                  </a:lnTo>
                  <a:cubicBezTo>
                    <a:pt x="8996515" y="464376"/>
                    <a:pt x="9003250" y="469225"/>
                    <a:pt x="9009177" y="470639"/>
                  </a:cubicBezTo>
                  <a:cubicBezTo>
                    <a:pt x="9013548" y="475668"/>
                    <a:pt x="9018636" y="483661"/>
                    <a:pt x="9030640" y="485187"/>
                  </a:cubicBezTo>
                  <a:cubicBezTo>
                    <a:pt x="9040877" y="486923"/>
                    <a:pt x="9048151" y="477255"/>
                    <a:pt x="9051743" y="466688"/>
                  </a:cubicBezTo>
                  <a:lnTo>
                    <a:pt x="9048421" y="466419"/>
                  </a:lnTo>
                  <a:cubicBezTo>
                    <a:pt x="9033154" y="492012"/>
                    <a:pt x="9017020" y="468671"/>
                    <a:pt x="9020440" y="444121"/>
                  </a:cubicBezTo>
                  <a:lnTo>
                    <a:pt x="9021370" y="439313"/>
                  </a:lnTo>
                  <a:lnTo>
                    <a:pt x="9023134" y="441235"/>
                  </a:lnTo>
                  <a:cubicBezTo>
                    <a:pt x="9053612" y="472295"/>
                    <a:pt x="9080261" y="467754"/>
                    <a:pt x="9095387" y="459504"/>
                  </a:cubicBezTo>
                  <a:cubicBezTo>
                    <a:pt x="9136816" y="433970"/>
                    <a:pt x="9124677" y="345849"/>
                    <a:pt x="9107331" y="341594"/>
                  </a:cubicBezTo>
                  <a:cubicBezTo>
                    <a:pt x="9103364" y="340621"/>
                    <a:pt x="9100596" y="350844"/>
                    <a:pt x="9097991" y="352371"/>
                  </a:cubicBezTo>
                  <a:cubicBezTo>
                    <a:pt x="9089999" y="356591"/>
                    <a:pt x="9086497" y="355963"/>
                    <a:pt x="9084341" y="359285"/>
                  </a:cubicBezTo>
                  <a:cubicBezTo>
                    <a:pt x="9080076" y="365515"/>
                    <a:pt x="9095779" y="401580"/>
                    <a:pt x="9075807" y="420492"/>
                  </a:cubicBezTo>
                  <a:lnTo>
                    <a:pt x="9074316" y="421668"/>
                  </a:lnTo>
                  <a:lnTo>
                    <a:pt x="9074630" y="421063"/>
                  </a:lnTo>
                  <a:cubicBezTo>
                    <a:pt x="9078414" y="413750"/>
                    <a:pt x="9082388" y="405376"/>
                    <a:pt x="9077876" y="401851"/>
                  </a:cubicBezTo>
                  <a:cubicBezTo>
                    <a:pt x="9072577" y="397631"/>
                    <a:pt x="9069255" y="400863"/>
                    <a:pt x="9065214" y="404276"/>
                  </a:cubicBezTo>
                  <a:cubicBezTo>
                    <a:pt x="9067818" y="401312"/>
                    <a:pt x="9070961" y="400774"/>
                    <a:pt x="9066561" y="393769"/>
                  </a:cubicBezTo>
                  <a:cubicBezTo>
                    <a:pt x="9063058" y="391404"/>
                    <a:pt x="9061172" y="392003"/>
                    <a:pt x="9054707" y="393679"/>
                  </a:cubicBezTo>
                  <a:cubicBezTo>
                    <a:pt x="9058808" y="390626"/>
                    <a:pt x="9060125" y="391793"/>
                    <a:pt x="9058119" y="385867"/>
                  </a:cubicBezTo>
                  <a:cubicBezTo>
                    <a:pt x="9055380" y="382185"/>
                    <a:pt x="9054005" y="382493"/>
                    <a:pt x="9051266" y="382701"/>
                  </a:cubicBezTo>
                  <a:lnTo>
                    <a:pt x="9049367" y="382714"/>
                  </a:lnTo>
                  <a:lnTo>
                    <a:pt x="9050929" y="382153"/>
                  </a:lnTo>
                  <a:cubicBezTo>
                    <a:pt x="9051804" y="381859"/>
                    <a:pt x="9052596" y="381620"/>
                    <a:pt x="9053270" y="381466"/>
                  </a:cubicBezTo>
                  <a:cubicBezTo>
                    <a:pt x="9058658" y="380239"/>
                    <a:pt x="9064555" y="381930"/>
                    <a:pt x="9064585" y="378862"/>
                  </a:cubicBezTo>
                  <a:cubicBezTo>
                    <a:pt x="9065244" y="375509"/>
                    <a:pt x="9056832" y="365062"/>
                    <a:pt x="9053090" y="364224"/>
                  </a:cubicBezTo>
                  <a:cubicBezTo>
                    <a:pt x="9051092" y="363596"/>
                    <a:pt x="9045861" y="363068"/>
                    <a:pt x="9041110" y="362755"/>
                  </a:cubicBezTo>
                  <a:lnTo>
                    <a:pt x="9040004" y="362696"/>
                  </a:lnTo>
                  <a:lnTo>
                    <a:pt x="9040013" y="362673"/>
                  </a:lnTo>
                  <a:cubicBezTo>
                    <a:pt x="9041141" y="361115"/>
                    <a:pt x="9044896" y="360543"/>
                    <a:pt x="9047792" y="360273"/>
                  </a:cubicBezTo>
                  <a:cubicBezTo>
                    <a:pt x="9035639" y="344229"/>
                    <a:pt x="9019265" y="333931"/>
                    <a:pt x="9005136" y="334141"/>
                  </a:cubicBezTo>
                  <a:cubicBezTo>
                    <a:pt x="8988104" y="334650"/>
                    <a:pt x="8966761" y="339020"/>
                    <a:pt x="8954668" y="357759"/>
                  </a:cubicBezTo>
                  <a:cubicBezTo>
                    <a:pt x="8960849" y="357691"/>
                    <a:pt x="8965447" y="357719"/>
                    <a:pt x="8968900" y="358086"/>
                  </a:cubicBezTo>
                  <a:lnTo>
                    <a:pt x="8969477" y="358169"/>
                  </a:lnTo>
                  <a:lnTo>
                    <a:pt x="8967067" y="358824"/>
                  </a:lnTo>
                  <a:cubicBezTo>
                    <a:pt x="8954261" y="361905"/>
                    <a:pt x="8945339" y="361445"/>
                    <a:pt x="8942468" y="363941"/>
                  </a:cubicBezTo>
                  <a:cubicBezTo>
                    <a:pt x="8936465" y="368141"/>
                    <a:pt x="8897595" y="403951"/>
                    <a:pt x="8895992" y="424226"/>
                  </a:cubicBezTo>
                  <a:cubicBezTo>
                    <a:pt x="8900109" y="434988"/>
                    <a:pt x="8900883" y="427383"/>
                    <a:pt x="8909974" y="446338"/>
                  </a:cubicBezTo>
                  <a:lnTo>
                    <a:pt x="8924480" y="429800"/>
                  </a:lnTo>
                  <a:lnTo>
                    <a:pt x="8907508" y="464906"/>
                  </a:lnTo>
                  <a:cubicBezTo>
                    <a:pt x="8911740" y="471086"/>
                    <a:pt x="8914625" y="474393"/>
                    <a:pt x="8923437" y="474287"/>
                  </a:cubicBezTo>
                  <a:cubicBezTo>
                    <a:pt x="8932848" y="473039"/>
                    <a:pt x="8941540" y="465325"/>
                    <a:pt x="8950592" y="460844"/>
                  </a:cubicBezTo>
                  <a:cubicBezTo>
                    <a:pt x="8959538" y="457121"/>
                    <a:pt x="8962197" y="459683"/>
                    <a:pt x="8968000" y="459103"/>
                  </a:cubicBezTo>
                  <a:cubicBezTo>
                    <a:pt x="8980227" y="425939"/>
                    <a:pt x="8961023" y="426091"/>
                    <a:pt x="8974237" y="390053"/>
                  </a:cubicBezTo>
                  <a:cubicBezTo>
                    <a:pt x="8969540" y="419162"/>
                    <a:pt x="8988191" y="419176"/>
                    <a:pt x="8974963" y="467952"/>
                  </a:cubicBezTo>
                  <a:lnTo>
                    <a:pt x="8972855" y="467607"/>
                  </a:lnTo>
                  <a:lnTo>
                    <a:pt x="8970186" y="466924"/>
                  </a:lnTo>
                  <a:lnTo>
                    <a:pt x="8967452" y="466498"/>
                  </a:lnTo>
                  <a:lnTo>
                    <a:pt x="8966686" y="466320"/>
                  </a:lnTo>
                  <a:cubicBezTo>
                    <a:pt x="8964617" y="465912"/>
                    <a:pt x="8962441" y="465694"/>
                    <a:pt x="8959915" y="466091"/>
                  </a:cubicBezTo>
                  <a:lnTo>
                    <a:pt x="8958929" y="466321"/>
                  </a:lnTo>
                  <a:lnTo>
                    <a:pt x="8958334" y="466372"/>
                  </a:lnTo>
                  <a:cubicBezTo>
                    <a:pt x="8945132" y="468428"/>
                    <a:pt x="8940277" y="480068"/>
                    <a:pt x="8919106" y="482314"/>
                  </a:cubicBezTo>
                  <a:cubicBezTo>
                    <a:pt x="8912794" y="481083"/>
                    <a:pt x="8902700" y="471807"/>
                    <a:pt x="8896766" y="464595"/>
                  </a:cubicBezTo>
                  <a:lnTo>
                    <a:pt x="8896308" y="464001"/>
                  </a:lnTo>
                  <a:lnTo>
                    <a:pt x="8898030" y="461124"/>
                  </a:lnTo>
                  <a:cubicBezTo>
                    <a:pt x="8899870" y="458258"/>
                    <a:pt x="8901883" y="455328"/>
                    <a:pt x="8904109" y="452320"/>
                  </a:cubicBezTo>
                  <a:cubicBezTo>
                    <a:pt x="8900218" y="441873"/>
                    <a:pt x="8889950" y="438251"/>
                    <a:pt x="8887047" y="425289"/>
                  </a:cubicBezTo>
                  <a:cubicBezTo>
                    <a:pt x="8891746" y="411879"/>
                    <a:pt x="8893662" y="403138"/>
                    <a:pt x="8917310" y="379131"/>
                  </a:cubicBezTo>
                  <a:cubicBezTo>
                    <a:pt x="8854449" y="388141"/>
                    <a:pt x="8854635" y="438748"/>
                    <a:pt x="8837255" y="426513"/>
                  </a:cubicBezTo>
                  <a:lnTo>
                    <a:pt x="8833630" y="423250"/>
                  </a:lnTo>
                  <a:lnTo>
                    <a:pt x="8834690" y="422655"/>
                  </a:lnTo>
                  <a:cubicBezTo>
                    <a:pt x="8841096" y="418340"/>
                    <a:pt x="8833510" y="412126"/>
                    <a:pt x="8838644" y="402749"/>
                  </a:cubicBezTo>
                  <a:lnTo>
                    <a:pt x="8828161" y="412842"/>
                  </a:lnTo>
                  <a:lnTo>
                    <a:pt x="8829073" y="405942"/>
                  </a:lnTo>
                  <a:cubicBezTo>
                    <a:pt x="8834169" y="400872"/>
                    <a:pt x="8841057" y="398015"/>
                    <a:pt x="8842719" y="397387"/>
                  </a:cubicBezTo>
                  <a:cubicBezTo>
                    <a:pt x="8839598" y="406909"/>
                    <a:pt x="8846406" y="413555"/>
                    <a:pt x="8842719" y="421213"/>
                  </a:cubicBezTo>
                  <a:cubicBezTo>
                    <a:pt x="8878175" y="376114"/>
                    <a:pt x="8902649" y="373237"/>
                    <a:pt x="8919060" y="372831"/>
                  </a:cubicBezTo>
                  <a:cubicBezTo>
                    <a:pt x="8931824" y="361486"/>
                    <a:pt x="8932918" y="358527"/>
                    <a:pt x="8941671" y="356299"/>
                  </a:cubicBezTo>
                  <a:lnTo>
                    <a:pt x="8947707" y="355666"/>
                  </a:lnTo>
                  <a:lnTo>
                    <a:pt x="8948406" y="354169"/>
                  </a:lnTo>
                  <a:cubicBezTo>
                    <a:pt x="8953778" y="343500"/>
                    <a:pt x="8958467" y="340172"/>
                    <a:pt x="8967685" y="335633"/>
                  </a:cubicBezTo>
                  <a:cubicBezTo>
                    <a:pt x="8976904" y="331095"/>
                    <a:pt x="8989690" y="327053"/>
                    <a:pt x="9003356" y="327579"/>
                  </a:cubicBezTo>
                  <a:close/>
                  <a:moveTo>
                    <a:pt x="2942620" y="327579"/>
                  </a:moveTo>
                  <a:cubicBezTo>
                    <a:pt x="2944572" y="327654"/>
                    <a:pt x="2946542" y="327823"/>
                    <a:pt x="2948523" y="328096"/>
                  </a:cubicBezTo>
                  <a:cubicBezTo>
                    <a:pt x="2964366" y="330284"/>
                    <a:pt x="2984748" y="346898"/>
                    <a:pt x="2991799" y="357514"/>
                  </a:cubicBezTo>
                  <a:cubicBezTo>
                    <a:pt x="3001281" y="360108"/>
                    <a:pt x="3007318" y="373844"/>
                    <a:pt x="3009790" y="378666"/>
                  </a:cubicBezTo>
                  <a:cubicBezTo>
                    <a:pt x="3012262" y="383488"/>
                    <a:pt x="3009385" y="386244"/>
                    <a:pt x="3006630" y="386446"/>
                  </a:cubicBezTo>
                  <a:cubicBezTo>
                    <a:pt x="3006589" y="387034"/>
                    <a:pt x="3015129" y="393862"/>
                    <a:pt x="3019743" y="396551"/>
                  </a:cubicBezTo>
                  <a:cubicBezTo>
                    <a:pt x="3023315" y="381027"/>
                    <a:pt x="3018132" y="370608"/>
                    <a:pt x="3018057" y="359217"/>
                  </a:cubicBezTo>
                  <a:cubicBezTo>
                    <a:pt x="3023486" y="349735"/>
                    <a:pt x="3027944" y="353138"/>
                    <a:pt x="3033374" y="349492"/>
                  </a:cubicBezTo>
                  <a:cubicBezTo>
                    <a:pt x="3036615" y="345764"/>
                    <a:pt x="3039614" y="337903"/>
                    <a:pt x="3045288" y="338308"/>
                  </a:cubicBezTo>
                  <a:cubicBezTo>
                    <a:pt x="3055173" y="338713"/>
                    <a:pt x="3067735" y="357110"/>
                    <a:pt x="3068141" y="400791"/>
                  </a:cubicBezTo>
                  <a:cubicBezTo>
                    <a:pt x="3068383" y="435476"/>
                    <a:pt x="3054526" y="458735"/>
                    <a:pt x="3030456" y="469109"/>
                  </a:cubicBezTo>
                  <a:cubicBezTo>
                    <a:pt x="3018148" y="472391"/>
                    <a:pt x="3007583" y="472186"/>
                    <a:pt x="2998429" y="469827"/>
                  </a:cubicBezTo>
                  <a:lnTo>
                    <a:pt x="2994423" y="468432"/>
                  </a:lnTo>
                  <a:lnTo>
                    <a:pt x="2993942" y="470708"/>
                  </a:lnTo>
                  <a:cubicBezTo>
                    <a:pt x="2989057" y="489448"/>
                    <a:pt x="2975322" y="490889"/>
                    <a:pt x="2969189" y="490747"/>
                  </a:cubicBezTo>
                  <a:cubicBezTo>
                    <a:pt x="2962178" y="490585"/>
                    <a:pt x="2951805" y="484101"/>
                    <a:pt x="2947551" y="481022"/>
                  </a:cubicBezTo>
                  <a:cubicBezTo>
                    <a:pt x="2947429" y="485722"/>
                    <a:pt x="2948523" y="487384"/>
                    <a:pt x="2946577" y="493664"/>
                  </a:cubicBezTo>
                  <a:cubicBezTo>
                    <a:pt x="2951683" y="497028"/>
                    <a:pt x="2954764" y="509022"/>
                    <a:pt x="2956304" y="514330"/>
                  </a:cubicBezTo>
                  <a:cubicBezTo>
                    <a:pt x="2957843" y="519638"/>
                    <a:pt x="2955938" y="520854"/>
                    <a:pt x="2955817" y="525514"/>
                  </a:cubicBezTo>
                  <a:cubicBezTo>
                    <a:pt x="2955696" y="530173"/>
                    <a:pt x="2960557" y="533901"/>
                    <a:pt x="2958005" y="539372"/>
                  </a:cubicBezTo>
                  <a:cubicBezTo>
                    <a:pt x="2955451" y="544842"/>
                    <a:pt x="2948807" y="545126"/>
                    <a:pt x="2941958" y="545207"/>
                  </a:cubicBezTo>
                  <a:cubicBezTo>
                    <a:pt x="2935110" y="545288"/>
                    <a:pt x="2919793" y="549988"/>
                    <a:pt x="2916916" y="539858"/>
                  </a:cubicBezTo>
                  <a:cubicBezTo>
                    <a:pt x="2916558" y="538592"/>
                    <a:pt x="2916306" y="537083"/>
                    <a:pt x="2916152" y="535374"/>
                  </a:cubicBezTo>
                  <a:cubicBezTo>
                    <a:pt x="2916138" y="534922"/>
                    <a:pt x="2916125" y="534471"/>
                    <a:pt x="2916113" y="534020"/>
                  </a:cubicBezTo>
                  <a:lnTo>
                    <a:pt x="2912347" y="537588"/>
                  </a:lnTo>
                  <a:cubicBezTo>
                    <a:pt x="2903741" y="545689"/>
                    <a:pt x="2895982" y="552318"/>
                    <a:pt x="2888714" y="552014"/>
                  </a:cubicBezTo>
                  <a:cubicBezTo>
                    <a:pt x="2876599" y="549583"/>
                    <a:pt x="2867238" y="530295"/>
                    <a:pt x="2865132" y="523569"/>
                  </a:cubicBezTo>
                  <a:cubicBezTo>
                    <a:pt x="2863024" y="516842"/>
                    <a:pt x="2869873" y="515586"/>
                    <a:pt x="2876071" y="511655"/>
                  </a:cubicBezTo>
                  <a:cubicBezTo>
                    <a:pt x="2869873" y="515262"/>
                    <a:pt x="2853096" y="512304"/>
                    <a:pt x="2851030" y="509224"/>
                  </a:cubicBezTo>
                  <a:cubicBezTo>
                    <a:pt x="2851638" y="515626"/>
                    <a:pt x="2851273" y="516558"/>
                    <a:pt x="2850057" y="520165"/>
                  </a:cubicBezTo>
                  <a:cubicBezTo>
                    <a:pt x="2848841" y="523771"/>
                    <a:pt x="2845641" y="525878"/>
                    <a:pt x="2843736" y="530862"/>
                  </a:cubicBezTo>
                  <a:cubicBezTo>
                    <a:pt x="2841832" y="535846"/>
                    <a:pt x="2846207" y="548286"/>
                    <a:pt x="2838631" y="550069"/>
                  </a:cubicBezTo>
                  <a:cubicBezTo>
                    <a:pt x="2831053" y="551852"/>
                    <a:pt x="2807511" y="551163"/>
                    <a:pt x="2798272" y="541560"/>
                  </a:cubicBezTo>
                  <a:cubicBezTo>
                    <a:pt x="2794381" y="536819"/>
                    <a:pt x="2800703" y="529485"/>
                    <a:pt x="2799245" y="527459"/>
                  </a:cubicBezTo>
                  <a:cubicBezTo>
                    <a:pt x="2797785" y="525432"/>
                    <a:pt x="2795354" y="533415"/>
                    <a:pt x="2789519" y="529404"/>
                  </a:cubicBezTo>
                  <a:cubicBezTo>
                    <a:pt x="2783684" y="525392"/>
                    <a:pt x="2765895" y="512182"/>
                    <a:pt x="2764234" y="503389"/>
                  </a:cubicBezTo>
                  <a:cubicBezTo>
                    <a:pt x="2762572" y="494596"/>
                    <a:pt x="2772704" y="485357"/>
                    <a:pt x="2779551" y="476645"/>
                  </a:cubicBezTo>
                  <a:cubicBezTo>
                    <a:pt x="2777890" y="467204"/>
                    <a:pt x="2777201" y="460883"/>
                    <a:pt x="2781010" y="449902"/>
                  </a:cubicBezTo>
                  <a:cubicBezTo>
                    <a:pt x="2775904" y="446782"/>
                    <a:pt x="2764801" y="442365"/>
                    <a:pt x="2765449" y="427778"/>
                  </a:cubicBezTo>
                  <a:lnTo>
                    <a:pt x="2767222" y="414369"/>
                  </a:lnTo>
                  <a:lnTo>
                    <a:pt x="2767684" y="423148"/>
                  </a:lnTo>
                  <a:lnTo>
                    <a:pt x="2768513" y="423546"/>
                  </a:lnTo>
                  <a:lnTo>
                    <a:pt x="2768636" y="424728"/>
                  </a:lnTo>
                  <a:cubicBezTo>
                    <a:pt x="2769668" y="433164"/>
                    <a:pt x="2772429" y="442509"/>
                    <a:pt x="2788324" y="438670"/>
                  </a:cubicBezTo>
                  <a:cubicBezTo>
                    <a:pt x="2781488" y="474946"/>
                    <a:pt x="2796928" y="492933"/>
                    <a:pt x="2806671" y="509778"/>
                  </a:cubicBezTo>
                  <a:lnTo>
                    <a:pt x="2807639" y="511640"/>
                  </a:lnTo>
                  <a:lnTo>
                    <a:pt x="2807605" y="512514"/>
                  </a:lnTo>
                  <a:cubicBezTo>
                    <a:pt x="2807312" y="517656"/>
                    <a:pt x="2806576" y="521220"/>
                    <a:pt x="2806194" y="526047"/>
                  </a:cubicBezTo>
                  <a:cubicBezTo>
                    <a:pt x="2805087" y="529849"/>
                    <a:pt x="2802363" y="529429"/>
                    <a:pt x="2802872" y="537452"/>
                  </a:cubicBezTo>
                  <a:cubicBezTo>
                    <a:pt x="2803201" y="542451"/>
                    <a:pt x="2832536" y="550503"/>
                    <a:pt x="2837267" y="544097"/>
                  </a:cubicBezTo>
                  <a:cubicBezTo>
                    <a:pt x="2838643" y="541882"/>
                    <a:pt x="2838045" y="536793"/>
                    <a:pt x="2838434" y="533141"/>
                  </a:cubicBezTo>
                  <a:cubicBezTo>
                    <a:pt x="2839032" y="529070"/>
                    <a:pt x="2844300" y="524640"/>
                    <a:pt x="2845079" y="518863"/>
                  </a:cubicBezTo>
                  <a:cubicBezTo>
                    <a:pt x="2845588" y="514268"/>
                    <a:pt x="2845536" y="509067"/>
                    <a:pt x="2845360" y="503653"/>
                  </a:cubicBezTo>
                  <a:lnTo>
                    <a:pt x="2845150" y="497935"/>
                  </a:lnTo>
                  <a:lnTo>
                    <a:pt x="2846749" y="499797"/>
                  </a:lnTo>
                  <a:cubicBezTo>
                    <a:pt x="2857091" y="510345"/>
                    <a:pt x="2879027" y="513898"/>
                    <a:pt x="2886388" y="497580"/>
                  </a:cubicBezTo>
                  <a:cubicBezTo>
                    <a:pt x="2886478" y="502818"/>
                    <a:pt x="2888184" y="504824"/>
                    <a:pt x="2887286" y="511409"/>
                  </a:cubicBezTo>
                  <a:cubicBezTo>
                    <a:pt x="2884711" y="515570"/>
                    <a:pt x="2873247" y="516498"/>
                    <a:pt x="2870133" y="524161"/>
                  </a:cubicBezTo>
                  <a:cubicBezTo>
                    <a:pt x="2869205" y="527364"/>
                    <a:pt x="2881389" y="546552"/>
                    <a:pt x="2889172" y="547240"/>
                  </a:cubicBezTo>
                  <a:cubicBezTo>
                    <a:pt x="2894829" y="547899"/>
                    <a:pt x="2905337" y="536793"/>
                    <a:pt x="2924463" y="519312"/>
                  </a:cubicBezTo>
                  <a:cubicBezTo>
                    <a:pt x="2927424" y="516606"/>
                    <a:pt x="2938623" y="495365"/>
                    <a:pt x="2943681" y="477195"/>
                  </a:cubicBezTo>
                  <a:cubicBezTo>
                    <a:pt x="2938525" y="474605"/>
                    <a:pt x="2931052" y="468436"/>
                    <a:pt x="2926703" y="458808"/>
                  </a:cubicBezTo>
                  <a:lnTo>
                    <a:pt x="2926509" y="458296"/>
                  </a:lnTo>
                  <a:lnTo>
                    <a:pt x="2929145" y="459956"/>
                  </a:lnTo>
                  <a:cubicBezTo>
                    <a:pt x="2935780" y="464376"/>
                    <a:pt x="2942513" y="469225"/>
                    <a:pt x="2948440" y="470639"/>
                  </a:cubicBezTo>
                  <a:cubicBezTo>
                    <a:pt x="2952812" y="475668"/>
                    <a:pt x="2957900" y="483661"/>
                    <a:pt x="2969904" y="485187"/>
                  </a:cubicBezTo>
                  <a:cubicBezTo>
                    <a:pt x="2980141" y="486923"/>
                    <a:pt x="2987414" y="477255"/>
                    <a:pt x="2991007" y="466688"/>
                  </a:cubicBezTo>
                  <a:lnTo>
                    <a:pt x="2987684" y="466419"/>
                  </a:lnTo>
                  <a:cubicBezTo>
                    <a:pt x="2972418" y="492012"/>
                    <a:pt x="2956284" y="468671"/>
                    <a:pt x="2959704" y="444121"/>
                  </a:cubicBezTo>
                  <a:lnTo>
                    <a:pt x="2960634" y="439313"/>
                  </a:lnTo>
                  <a:lnTo>
                    <a:pt x="2962398" y="441235"/>
                  </a:lnTo>
                  <a:cubicBezTo>
                    <a:pt x="2992875" y="472295"/>
                    <a:pt x="3019525" y="467754"/>
                    <a:pt x="3034650" y="459504"/>
                  </a:cubicBezTo>
                  <a:cubicBezTo>
                    <a:pt x="3076079" y="433970"/>
                    <a:pt x="3063940" y="345849"/>
                    <a:pt x="3046595" y="341594"/>
                  </a:cubicBezTo>
                  <a:cubicBezTo>
                    <a:pt x="3042628" y="340621"/>
                    <a:pt x="3039859" y="350844"/>
                    <a:pt x="3037256" y="352371"/>
                  </a:cubicBezTo>
                  <a:cubicBezTo>
                    <a:pt x="3029262" y="356591"/>
                    <a:pt x="3025760" y="355963"/>
                    <a:pt x="3023606" y="359285"/>
                  </a:cubicBezTo>
                  <a:cubicBezTo>
                    <a:pt x="3019339" y="365515"/>
                    <a:pt x="3035042" y="401580"/>
                    <a:pt x="3015070" y="420492"/>
                  </a:cubicBezTo>
                  <a:lnTo>
                    <a:pt x="3013581" y="421668"/>
                  </a:lnTo>
                  <a:lnTo>
                    <a:pt x="3013893" y="421063"/>
                  </a:lnTo>
                  <a:cubicBezTo>
                    <a:pt x="3017679" y="413750"/>
                    <a:pt x="3021652" y="405376"/>
                    <a:pt x="3017139" y="401851"/>
                  </a:cubicBezTo>
                  <a:cubicBezTo>
                    <a:pt x="3011840" y="397631"/>
                    <a:pt x="3008519" y="400863"/>
                    <a:pt x="3004477" y="404276"/>
                  </a:cubicBezTo>
                  <a:cubicBezTo>
                    <a:pt x="3007081" y="401312"/>
                    <a:pt x="3010224" y="400774"/>
                    <a:pt x="3005824" y="393769"/>
                  </a:cubicBezTo>
                  <a:cubicBezTo>
                    <a:pt x="3002321" y="391404"/>
                    <a:pt x="3000436" y="392003"/>
                    <a:pt x="2993971" y="393679"/>
                  </a:cubicBezTo>
                  <a:cubicBezTo>
                    <a:pt x="2998071" y="390626"/>
                    <a:pt x="2999389" y="391793"/>
                    <a:pt x="2997383" y="385867"/>
                  </a:cubicBezTo>
                  <a:cubicBezTo>
                    <a:pt x="2994643" y="382185"/>
                    <a:pt x="2993268" y="382493"/>
                    <a:pt x="2990530" y="382701"/>
                  </a:cubicBezTo>
                  <a:lnTo>
                    <a:pt x="2988630" y="382714"/>
                  </a:lnTo>
                  <a:lnTo>
                    <a:pt x="2990193" y="382153"/>
                  </a:lnTo>
                  <a:cubicBezTo>
                    <a:pt x="2991069" y="381859"/>
                    <a:pt x="2991860" y="381620"/>
                    <a:pt x="2992533" y="381466"/>
                  </a:cubicBezTo>
                  <a:cubicBezTo>
                    <a:pt x="2997922" y="380239"/>
                    <a:pt x="3003818" y="381930"/>
                    <a:pt x="3003849" y="378862"/>
                  </a:cubicBezTo>
                  <a:cubicBezTo>
                    <a:pt x="3004508" y="375509"/>
                    <a:pt x="2996095" y="365062"/>
                    <a:pt x="2992353" y="364224"/>
                  </a:cubicBezTo>
                  <a:cubicBezTo>
                    <a:pt x="2990356" y="363596"/>
                    <a:pt x="2985125" y="363068"/>
                    <a:pt x="2980373" y="362755"/>
                  </a:cubicBezTo>
                  <a:lnTo>
                    <a:pt x="2979267" y="362696"/>
                  </a:lnTo>
                  <a:lnTo>
                    <a:pt x="2979277" y="362673"/>
                  </a:lnTo>
                  <a:cubicBezTo>
                    <a:pt x="2980405" y="361115"/>
                    <a:pt x="2984159" y="360543"/>
                    <a:pt x="2987056" y="360273"/>
                  </a:cubicBezTo>
                  <a:cubicBezTo>
                    <a:pt x="2974902" y="344229"/>
                    <a:pt x="2958528" y="333931"/>
                    <a:pt x="2944399" y="334141"/>
                  </a:cubicBezTo>
                  <a:cubicBezTo>
                    <a:pt x="2927368" y="334650"/>
                    <a:pt x="2906024" y="339020"/>
                    <a:pt x="2893931" y="357759"/>
                  </a:cubicBezTo>
                  <a:cubicBezTo>
                    <a:pt x="2900113" y="357691"/>
                    <a:pt x="2904712" y="357719"/>
                    <a:pt x="2908163" y="358086"/>
                  </a:cubicBezTo>
                  <a:lnTo>
                    <a:pt x="2908741" y="358169"/>
                  </a:lnTo>
                  <a:lnTo>
                    <a:pt x="2906330" y="358824"/>
                  </a:lnTo>
                  <a:cubicBezTo>
                    <a:pt x="2893524" y="361905"/>
                    <a:pt x="2884603" y="361445"/>
                    <a:pt x="2881732" y="363941"/>
                  </a:cubicBezTo>
                  <a:cubicBezTo>
                    <a:pt x="2875729" y="368141"/>
                    <a:pt x="2836859" y="403951"/>
                    <a:pt x="2835256" y="424226"/>
                  </a:cubicBezTo>
                  <a:cubicBezTo>
                    <a:pt x="2839373" y="434988"/>
                    <a:pt x="2840148" y="427383"/>
                    <a:pt x="2849238" y="446338"/>
                  </a:cubicBezTo>
                  <a:lnTo>
                    <a:pt x="2863743" y="429800"/>
                  </a:lnTo>
                  <a:lnTo>
                    <a:pt x="2846772" y="464906"/>
                  </a:lnTo>
                  <a:cubicBezTo>
                    <a:pt x="2851003" y="471086"/>
                    <a:pt x="2853889" y="474393"/>
                    <a:pt x="2862700" y="474287"/>
                  </a:cubicBezTo>
                  <a:cubicBezTo>
                    <a:pt x="2872112" y="473039"/>
                    <a:pt x="2880804" y="465325"/>
                    <a:pt x="2889855" y="460844"/>
                  </a:cubicBezTo>
                  <a:cubicBezTo>
                    <a:pt x="2898801" y="457121"/>
                    <a:pt x="2901460" y="459683"/>
                    <a:pt x="2907263" y="459103"/>
                  </a:cubicBezTo>
                  <a:cubicBezTo>
                    <a:pt x="2919491" y="425939"/>
                    <a:pt x="2900286" y="426091"/>
                    <a:pt x="2913502" y="390053"/>
                  </a:cubicBezTo>
                  <a:cubicBezTo>
                    <a:pt x="2908803" y="419162"/>
                    <a:pt x="2927455" y="419176"/>
                    <a:pt x="2914226" y="467952"/>
                  </a:cubicBezTo>
                  <a:lnTo>
                    <a:pt x="2912119" y="467607"/>
                  </a:lnTo>
                  <a:lnTo>
                    <a:pt x="2909449" y="466924"/>
                  </a:lnTo>
                  <a:lnTo>
                    <a:pt x="2906717" y="466498"/>
                  </a:lnTo>
                  <a:lnTo>
                    <a:pt x="2905950" y="466320"/>
                  </a:lnTo>
                  <a:cubicBezTo>
                    <a:pt x="2903881" y="465912"/>
                    <a:pt x="2901705" y="465694"/>
                    <a:pt x="2899179" y="466091"/>
                  </a:cubicBezTo>
                  <a:lnTo>
                    <a:pt x="2898193" y="466321"/>
                  </a:lnTo>
                  <a:lnTo>
                    <a:pt x="2897597" y="466372"/>
                  </a:lnTo>
                  <a:cubicBezTo>
                    <a:pt x="2884395" y="468428"/>
                    <a:pt x="2879540" y="480068"/>
                    <a:pt x="2858370" y="482314"/>
                  </a:cubicBezTo>
                  <a:cubicBezTo>
                    <a:pt x="2852057" y="481083"/>
                    <a:pt x="2841963" y="471807"/>
                    <a:pt x="2836029" y="464595"/>
                  </a:cubicBezTo>
                  <a:lnTo>
                    <a:pt x="2835572" y="464001"/>
                  </a:lnTo>
                  <a:lnTo>
                    <a:pt x="2837293" y="461124"/>
                  </a:lnTo>
                  <a:cubicBezTo>
                    <a:pt x="2839133" y="458258"/>
                    <a:pt x="2841146" y="455328"/>
                    <a:pt x="2843373" y="452320"/>
                  </a:cubicBezTo>
                  <a:cubicBezTo>
                    <a:pt x="2839481" y="441873"/>
                    <a:pt x="2829215" y="438251"/>
                    <a:pt x="2826310" y="425289"/>
                  </a:cubicBezTo>
                  <a:cubicBezTo>
                    <a:pt x="2831010" y="411879"/>
                    <a:pt x="2832925" y="403138"/>
                    <a:pt x="2856573" y="379131"/>
                  </a:cubicBezTo>
                  <a:cubicBezTo>
                    <a:pt x="2793713" y="388141"/>
                    <a:pt x="2793899" y="438748"/>
                    <a:pt x="2776519" y="426513"/>
                  </a:cubicBezTo>
                  <a:lnTo>
                    <a:pt x="2772894" y="423250"/>
                  </a:lnTo>
                  <a:lnTo>
                    <a:pt x="2773954" y="422655"/>
                  </a:lnTo>
                  <a:cubicBezTo>
                    <a:pt x="2780359" y="418340"/>
                    <a:pt x="2772773" y="412126"/>
                    <a:pt x="2777907" y="402749"/>
                  </a:cubicBezTo>
                  <a:lnTo>
                    <a:pt x="2767424" y="412841"/>
                  </a:lnTo>
                  <a:lnTo>
                    <a:pt x="2768337" y="405942"/>
                  </a:lnTo>
                  <a:cubicBezTo>
                    <a:pt x="2773432" y="400872"/>
                    <a:pt x="2780321" y="398015"/>
                    <a:pt x="2781982" y="397387"/>
                  </a:cubicBezTo>
                  <a:cubicBezTo>
                    <a:pt x="2778863" y="406909"/>
                    <a:pt x="2785670" y="413555"/>
                    <a:pt x="2781982" y="421213"/>
                  </a:cubicBezTo>
                  <a:cubicBezTo>
                    <a:pt x="2817438" y="376114"/>
                    <a:pt x="2841912" y="373237"/>
                    <a:pt x="2858323" y="372831"/>
                  </a:cubicBezTo>
                  <a:cubicBezTo>
                    <a:pt x="2871087" y="361486"/>
                    <a:pt x="2872183" y="358527"/>
                    <a:pt x="2880935" y="356299"/>
                  </a:cubicBezTo>
                  <a:lnTo>
                    <a:pt x="2886970" y="355666"/>
                  </a:lnTo>
                  <a:lnTo>
                    <a:pt x="2887669" y="354169"/>
                  </a:lnTo>
                  <a:cubicBezTo>
                    <a:pt x="2893041" y="343500"/>
                    <a:pt x="2897730" y="340172"/>
                    <a:pt x="2906950" y="335633"/>
                  </a:cubicBezTo>
                  <a:cubicBezTo>
                    <a:pt x="2916168" y="331095"/>
                    <a:pt x="2928953" y="327053"/>
                    <a:pt x="2942620" y="327579"/>
                  </a:cubicBezTo>
                  <a:close/>
                  <a:moveTo>
                    <a:pt x="11439364" y="91551"/>
                  </a:moveTo>
                  <a:lnTo>
                    <a:pt x="11428902" y="139681"/>
                  </a:lnTo>
                  <a:lnTo>
                    <a:pt x="11471625" y="139681"/>
                  </a:lnTo>
                  <a:lnTo>
                    <a:pt x="11481913" y="91551"/>
                  </a:lnTo>
                  <a:close/>
                  <a:moveTo>
                    <a:pt x="5375028" y="91551"/>
                  </a:moveTo>
                  <a:lnTo>
                    <a:pt x="5364565" y="139681"/>
                  </a:lnTo>
                  <a:lnTo>
                    <a:pt x="5407288" y="139681"/>
                  </a:lnTo>
                  <a:lnTo>
                    <a:pt x="5417576" y="91551"/>
                  </a:lnTo>
                  <a:close/>
                  <a:moveTo>
                    <a:pt x="11226456" y="5634"/>
                  </a:moveTo>
                  <a:cubicBezTo>
                    <a:pt x="11262913" y="5972"/>
                    <a:pt x="11281142" y="18980"/>
                    <a:pt x="11281142" y="44655"/>
                  </a:cubicBezTo>
                  <a:lnTo>
                    <a:pt x="11281142" y="81016"/>
                  </a:lnTo>
                  <a:cubicBezTo>
                    <a:pt x="11281142" y="98078"/>
                    <a:pt x="11289123" y="107031"/>
                    <a:pt x="11305086" y="107876"/>
                  </a:cubicBezTo>
                  <a:lnTo>
                    <a:pt x="11305086" y="126372"/>
                  </a:lnTo>
                  <a:cubicBezTo>
                    <a:pt x="11289123" y="127218"/>
                    <a:pt x="11281142" y="136001"/>
                    <a:pt x="11281142" y="152725"/>
                  </a:cubicBezTo>
                  <a:lnTo>
                    <a:pt x="11281142" y="190100"/>
                  </a:lnTo>
                  <a:cubicBezTo>
                    <a:pt x="11281142" y="215438"/>
                    <a:pt x="11262913" y="228276"/>
                    <a:pt x="11226456" y="228614"/>
                  </a:cubicBezTo>
                  <a:lnTo>
                    <a:pt x="11226456" y="209103"/>
                  </a:lnTo>
                  <a:cubicBezTo>
                    <a:pt x="11235416" y="208935"/>
                    <a:pt x="11241775" y="206908"/>
                    <a:pt x="11245534" y="203022"/>
                  </a:cubicBezTo>
                  <a:cubicBezTo>
                    <a:pt x="11249293" y="199137"/>
                    <a:pt x="11251173" y="192718"/>
                    <a:pt x="11251173" y="183765"/>
                  </a:cubicBezTo>
                  <a:lnTo>
                    <a:pt x="11251173" y="148417"/>
                  </a:lnTo>
                  <a:cubicBezTo>
                    <a:pt x="11251173" y="131272"/>
                    <a:pt x="11261317" y="120840"/>
                    <a:pt x="11281605" y="117125"/>
                  </a:cubicBezTo>
                  <a:lnTo>
                    <a:pt x="11281605" y="116744"/>
                  </a:lnTo>
                  <a:cubicBezTo>
                    <a:pt x="11261317" y="112775"/>
                    <a:pt x="11251173" y="102259"/>
                    <a:pt x="11251173" y="85197"/>
                  </a:cubicBezTo>
                  <a:lnTo>
                    <a:pt x="11251173" y="49470"/>
                  </a:lnTo>
                  <a:cubicBezTo>
                    <a:pt x="11251173" y="33675"/>
                    <a:pt x="11242934" y="25609"/>
                    <a:pt x="11226456" y="25273"/>
                  </a:cubicBezTo>
                  <a:close/>
                  <a:moveTo>
                    <a:pt x="11205137" y="5634"/>
                  </a:moveTo>
                  <a:lnTo>
                    <a:pt x="11205137" y="25273"/>
                  </a:lnTo>
                  <a:cubicBezTo>
                    <a:pt x="11188763" y="25609"/>
                    <a:pt x="11180575" y="33675"/>
                    <a:pt x="11180575" y="49470"/>
                  </a:cubicBezTo>
                  <a:lnTo>
                    <a:pt x="11180575" y="85197"/>
                  </a:lnTo>
                  <a:cubicBezTo>
                    <a:pt x="11180575" y="102259"/>
                    <a:pt x="11170328" y="112775"/>
                    <a:pt x="11149834" y="116744"/>
                  </a:cubicBezTo>
                  <a:lnTo>
                    <a:pt x="11149834" y="117125"/>
                  </a:lnTo>
                  <a:cubicBezTo>
                    <a:pt x="11170328" y="120840"/>
                    <a:pt x="11180575" y="131272"/>
                    <a:pt x="11180575" y="148417"/>
                  </a:cubicBezTo>
                  <a:lnTo>
                    <a:pt x="11180575" y="183765"/>
                  </a:lnTo>
                  <a:cubicBezTo>
                    <a:pt x="11180575" y="192802"/>
                    <a:pt x="11182403" y="199242"/>
                    <a:pt x="11186059" y="203086"/>
                  </a:cubicBezTo>
                  <a:cubicBezTo>
                    <a:pt x="11189715" y="206928"/>
                    <a:pt x="11196075" y="208935"/>
                    <a:pt x="11205137" y="209103"/>
                  </a:cubicBezTo>
                  <a:lnTo>
                    <a:pt x="11205137" y="228614"/>
                  </a:lnTo>
                  <a:cubicBezTo>
                    <a:pt x="11168474" y="228276"/>
                    <a:pt x="11150143" y="215438"/>
                    <a:pt x="11150143" y="190100"/>
                  </a:cubicBezTo>
                  <a:lnTo>
                    <a:pt x="11150143" y="152725"/>
                  </a:lnTo>
                  <a:cubicBezTo>
                    <a:pt x="11150143" y="136001"/>
                    <a:pt x="11142110" y="127218"/>
                    <a:pt x="11126044" y="126372"/>
                  </a:cubicBezTo>
                  <a:lnTo>
                    <a:pt x="11126044" y="107876"/>
                  </a:lnTo>
                  <a:cubicBezTo>
                    <a:pt x="11142110" y="107031"/>
                    <a:pt x="11150143" y="98078"/>
                    <a:pt x="11150143" y="81016"/>
                  </a:cubicBezTo>
                  <a:lnTo>
                    <a:pt x="11150143" y="44655"/>
                  </a:lnTo>
                  <a:cubicBezTo>
                    <a:pt x="11150143" y="18980"/>
                    <a:pt x="11168474" y="5972"/>
                    <a:pt x="11205137" y="5634"/>
                  </a:cubicBezTo>
                  <a:close/>
                  <a:moveTo>
                    <a:pt x="8175706" y="5634"/>
                  </a:moveTo>
                  <a:cubicBezTo>
                    <a:pt x="8212163" y="5972"/>
                    <a:pt x="8230392" y="18980"/>
                    <a:pt x="8230392" y="44655"/>
                  </a:cubicBezTo>
                  <a:lnTo>
                    <a:pt x="8230392" y="81016"/>
                  </a:lnTo>
                  <a:cubicBezTo>
                    <a:pt x="8230392" y="98078"/>
                    <a:pt x="8238373" y="107031"/>
                    <a:pt x="8254336" y="107876"/>
                  </a:cubicBezTo>
                  <a:lnTo>
                    <a:pt x="8254336" y="126372"/>
                  </a:lnTo>
                  <a:cubicBezTo>
                    <a:pt x="8238373" y="127218"/>
                    <a:pt x="8230392" y="136001"/>
                    <a:pt x="8230392" y="152725"/>
                  </a:cubicBezTo>
                  <a:lnTo>
                    <a:pt x="8230392" y="190100"/>
                  </a:lnTo>
                  <a:cubicBezTo>
                    <a:pt x="8230392" y="215438"/>
                    <a:pt x="8212163" y="228276"/>
                    <a:pt x="8175706" y="228614"/>
                  </a:cubicBezTo>
                  <a:lnTo>
                    <a:pt x="8175706" y="209103"/>
                  </a:lnTo>
                  <a:cubicBezTo>
                    <a:pt x="8184666" y="208935"/>
                    <a:pt x="8191025" y="206908"/>
                    <a:pt x="8194784" y="203022"/>
                  </a:cubicBezTo>
                  <a:cubicBezTo>
                    <a:pt x="8198543" y="199137"/>
                    <a:pt x="8200423" y="192718"/>
                    <a:pt x="8200423" y="183765"/>
                  </a:cubicBezTo>
                  <a:lnTo>
                    <a:pt x="8200423" y="148417"/>
                  </a:lnTo>
                  <a:cubicBezTo>
                    <a:pt x="8200423" y="131272"/>
                    <a:pt x="8210567" y="120840"/>
                    <a:pt x="8230855" y="117125"/>
                  </a:cubicBezTo>
                  <a:lnTo>
                    <a:pt x="8230855" y="116744"/>
                  </a:lnTo>
                  <a:cubicBezTo>
                    <a:pt x="8210567" y="112775"/>
                    <a:pt x="8200423" y="102259"/>
                    <a:pt x="8200423" y="85197"/>
                  </a:cubicBezTo>
                  <a:lnTo>
                    <a:pt x="8200423" y="49470"/>
                  </a:lnTo>
                  <a:cubicBezTo>
                    <a:pt x="8200423" y="33675"/>
                    <a:pt x="8192184" y="25609"/>
                    <a:pt x="8175706" y="25273"/>
                  </a:cubicBezTo>
                  <a:close/>
                  <a:moveTo>
                    <a:pt x="8154387" y="5634"/>
                  </a:moveTo>
                  <a:lnTo>
                    <a:pt x="8154387" y="25273"/>
                  </a:lnTo>
                  <a:cubicBezTo>
                    <a:pt x="8138013" y="25609"/>
                    <a:pt x="8129826" y="33675"/>
                    <a:pt x="8129826" y="49470"/>
                  </a:cubicBezTo>
                  <a:lnTo>
                    <a:pt x="8129826" y="85197"/>
                  </a:lnTo>
                  <a:cubicBezTo>
                    <a:pt x="8129826" y="102259"/>
                    <a:pt x="8119578" y="112775"/>
                    <a:pt x="8099084" y="116744"/>
                  </a:cubicBezTo>
                  <a:lnTo>
                    <a:pt x="8099084" y="117125"/>
                  </a:lnTo>
                  <a:cubicBezTo>
                    <a:pt x="8119578" y="120840"/>
                    <a:pt x="8129826" y="131272"/>
                    <a:pt x="8129826" y="148417"/>
                  </a:cubicBezTo>
                  <a:lnTo>
                    <a:pt x="8129826" y="183765"/>
                  </a:lnTo>
                  <a:cubicBezTo>
                    <a:pt x="8129826" y="192802"/>
                    <a:pt x="8131653" y="199242"/>
                    <a:pt x="8135309" y="203086"/>
                  </a:cubicBezTo>
                  <a:cubicBezTo>
                    <a:pt x="8138965" y="206928"/>
                    <a:pt x="8145325" y="208935"/>
                    <a:pt x="8154387" y="209103"/>
                  </a:cubicBezTo>
                  <a:lnTo>
                    <a:pt x="8154387" y="228614"/>
                  </a:lnTo>
                  <a:cubicBezTo>
                    <a:pt x="8117724" y="228276"/>
                    <a:pt x="8099393" y="215438"/>
                    <a:pt x="8099393" y="190100"/>
                  </a:cubicBezTo>
                  <a:lnTo>
                    <a:pt x="8099393" y="152725"/>
                  </a:lnTo>
                  <a:cubicBezTo>
                    <a:pt x="8099393" y="136001"/>
                    <a:pt x="8091360" y="127218"/>
                    <a:pt x="8075294" y="126372"/>
                  </a:cubicBezTo>
                  <a:lnTo>
                    <a:pt x="8075294" y="107876"/>
                  </a:lnTo>
                  <a:cubicBezTo>
                    <a:pt x="8091360" y="107031"/>
                    <a:pt x="8099393" y="98078"/>
                    <a:pt x="8099393" y="81016"/>
                  </a:cubicBezTo>
                  <a:lnTo>
                    <a:pt x="8099393" y="44655"/>
                  </a:lnTo>
                  <a:cubicBezTo>
                    <a:pt x="8099393" y="18980"/>
                    <a:pt x="8117724" y="5972"/>
                    <a:pt x="8154387" y="5634"/>
                  </a:cubicBezTo>
                  <a:close/>
                  <a:moveTo>
                    <a:pt x="5165797" y="5634"/>
                  </a:moveTo>
                  <a:cubicBezTo>
                    <a:pt x="5202254" y="5972"/>
                    <a:pt x="5220483" y="18980"/>
                    <a:pt x="5220483" y="44655"/>
                  </a:cubicBezTo>
                  <a:lnTo>
                    <a:pt x="5220483" y="81016"/>
                  </a:lnTo>
                  <a:cubicBezTo>
                    <a:pt x="5220483" y="98078"/>
                    <a:pt x="5228463" y="107031"/>
                    <a:pt x="5244426" y="107876"/>
                  </a:cubicBezTo>
                  <a:lnTo>
                    <a:pt x="5244426" y="126372"/>
                  </a:lnTo>
                  <a:cubicBezTo>
                    <a:pt x="5228463" y="127218"/>
                    <a:pt x="5220483" y="136001"/>
                    <a:pt x="5220483" y="152725"/>
                  </a:cubicBezTo>
                  <a:lnTo>
                    <a:pt x="5220483" y="190100"/>
                  </a:lnTo>
                  <a:cubicBezTo>
                    <a:pt x="5220483" y="215438"/>
                    <a:pt x="5202254" y="228276"/>
                    <a:pt x="5165797" y="228614"/>
                  </a:cubicBezTo>
                  <a:lnTo>
                    <a:pt x="5165797" y="209103"/>
                  </a:lnTo>
                  <a:cubicBezTo>
                    <a:pt x="5174756" y="208935"/>
                    <a:pt x="5181116" y="206908"/>
                    <a:pt x="5184875" y="203022"/>
                  </a:cubicBezTo>
                  <a:cubicBezTo>
                    <a:pt x="5188633" y="199137"/>
                    <a:pt x="5190513" y="192718"/>
                    <a:pt x="5190513" y="183765"/>
                  </a:cubicBezTo>
                  <a:lnTo>
                    <a:pt x="5190513" y="148417"/>
                  </a:lnTo>
                  <a:cubicBezTo>
                    <a:pt x="5190513" y="131272"/>
                    <a:pt x="5200657" y="120840"/>
                    <a:pt x="5220946" y="117125"/>
                  </a:cubicBezTo>
                  <a:lnTo>
                    <a:pt x="5220946" y="116744"/>
                  </a:lnTo>
                  <a:cubicBezTo>
                    <a:pt x="5200657" y="112775"/>
                    <a:pt x="5190513" y="102259"/>
                    <a:pt x="5190513" y="85197"/>
                  </a:cubicBezTo>
                  <a:lnTo>
                    <a:pt x="5190513" y="49470"/>
                  </a:lnTo>
                  <a:cubicBezTo>
                    <a:pt x="5190513" y="33675"/>
                    <a:pt x="5182275" y="25609"/>
                    <a:pt x="5165797" y="25273"/>
                  </a:cubicBezTo>
                  <a:close/>
                  <a:moveTo>
                    <a:pt x="5144478" y="5634"/>
                  </a:moveTo>
                  <a:lnTo>
                    <a:pt x="5144478" y="25273"/>
                  </a:lnTo>
                  <a:cubicBezTo>
                    <a:pt x="5128103" y="25609"/>
                    <a:pt x="5119917" y="33675"/>
                    <a:pt x="5119917" y="49470"/>
                  </a:cubicBezTo>
                  <a:lnTo>
                    <a:pt x="5119917" y="85197"/>
                  </a:lnTo>
                  <a:cubicBezTo>
                    <a:pt x="5119917" y="102259"/>
                    <a:pt x="5109668" y="112775"/>
                    <a:pt x="5089175" y="116744"/>
                  </a:cubicBezTo>
                  <a:lnTo>
                    <a:pt x="5089175" y="117125"/>
                  </a:lnTo>
                  <a:cubicBezTo>
                    <a:pt x="5109668" y="120840"/>
                    <a:pt x="5119917" y="131272"/>
                    <a:pt x="5119917" y="148417"/>
                  </a:cubicBezTo>
                  <a:lnTo>
                    <a:pt x="5119917" y="183765"/>
                  </a:lnTo>
                  <a:cubicBezTo>
                    <a:pt x="5119917" y="192802"/>
                    <a:pt x="5121744" y="199242"/>
                    <a:pt x="5125400" y="203086"/>
                  </a:cubicBezTo>
                  <a:cubicBezTo>
                    <a:pt x="5129055" y="206928"/>
                    <a:pt x="5135416" y="208935"/>
                    <a:pt x="5144478" y="209103"/>
                  </a:cubicBezTo>
                  <a:lnTo>
                    <a:pt x="5144478" y="228614"/>
                  </a:lnTo>
                  <a:cubicBezTo>
                    <a:pt x="5107814" y="228276"/>
                    <a:pt x="5089484" y="215438"/>
                    <a:pt x="5089484" y="190100"/>
                  </a:cubicBezTo>
                  <a:lnTo>
                    <a:pt x="5089484" y="152725"/>
                  </a:lnTo>
                  <a:cubicBezTo>
                    <a:pt x="5089484" y="136001"/>
                    <a:pt x="5081450" y="127218"/>
                    <a:pt x="5065386" y="126372"/>
                  </a:cubicBezTo>
                  <a:lnTo>
                    <a:pt x="5065386" y="107876"/>
                  </a:lnTo>
                  <a:cubicBezTo>
                    <a:pt x="5081450" y="107031"/>
                    <a:pt x="5089484" y="98078"/>
                    <a:pt x="5089484" y="81016"/>
                  </a:cubicBezTo>
                  <a:lnTo>
                    <a:pt x="5089484" y="44655"/>
                  </a:lnTo>
                  <a:cubicBezTo>
                    <a:pt x="5089484" y="18980"/>
                    <a:pt x="5107814" y="5972"/>
                    <a:pt x="5144478" y="5634"/>
                  </a:cubicBezTo>
                  <a:close/>
                  <a:moveTo>
                    <a:pt x="2112183" y="5634"/>
                  </a:moveTo>
                  <a:cubicBezTo>
                    <a:pt x="2148640" y="5972"/>
                    <a:pt x="2166869" y="18980"/>
                    <a:pt x="2166869" y="44655"/>
                  </a:cubicBezTo>
                  <a:lnTo>
                    <a:pt x="2166869" y="81016"/>
                  </a:lnTo>
                  <a:cubicBezTo>
                    <a:pt x="2166869" y="98078"/>
                    <a:pt x="2174849" y="107031"/>
                    <a:pt x="2190814" y="107876"/>
                  </a:cubicBezTo>
                  <a:lnTo>
                    <a:pt x="2190814" y="126372"/>
                  </a:lnTo>
                  <a:cubicBezTo>
                    <a:pt x="2174849" y="127218"/>
                    <a:pt x="2166869" y="136001"/>
                    <a:pt x="2166869" y="152725"/>
                  </a:cubicBezTo>
                  <a:lnTo>
                    <a:pt x="2166869" y="190100"/>
                  </a:lnTo>
                  <a:cubicBezTo>
                    <a:pt x="2166869" y="215438"/>
                    <a:pt x="2148640" y="228276"/>
                    <a:pt x="2112183" y="228614"/>
                  </a:cubicBezTo>
                  <a:lnTo>
                    <a:pt x="2112183" y="209103"/>
                  </a:lnTo>
                  <a:cubicBezTo>
                    <a:pt x="2121142" y="208935"/>
                    <a:pt x="2127502" y="206908"/>
                    <a:pt x="2131261" y="203022"/>
                  </a:cubicBezTo>
                  <a:cubicBezTo>
                    <a:pt x="2135020" y="199137"/>
                    <a:pt x="2136900" y="192718"/>
                    <a:pt x="2136900" y="183765"/>
                  </a:cubicBezTo>
                  <a:lnTo>
                    <a:pt x="2136900" y="148417"/>
                  </a:lnTo>
                  <a:cubicBezTo>
                    <a:pt x="2136900" y="131272"/>
                    <a:pt x="2147043" y="120840"/>
                    <a:pt x="2167332" y="117125"/>
                  </a:cubicBezTo>
                  <a:lnTo>
                    <a:pt x="2167332" y="116744"/>
                  </a:lnTo>
                  <a:cubicBezTo>
                    <a:pt x="2147043" y="112775"/>
                    <a:pt x="2136900" y="102259"/>
                    <a:pt x="2136900" y="85197"/>
                  </a:cubicBezTo>
                  <a:lnTo>
                    <a:pt x="2136900" y="49470"/>
                  </a:lnTo>
                  <a:cubicBezTo>
                    <a:pt x="2136900" y="33675"/>
                    <a:pt x="2128661" y="25609"/>
                    <a:pt x="2112183" y="25273"/>
                  </a:cubicBezTo>
                  <a:close/>
                  <a:moveTo>
                    <a:pt x="2090864" y="5634"/>
                  </a:moveTo>
                  <a:lnTo>
                    <a:pt x="2090864" y="25273"/>
                  </a:lnTo>
                  <a:cubicBezTo>
                    <a:pt x="2074489" y="25609"/>
                    <a:pt x="2066302" y="33675"/>
                    <a:pt x="2066302" y="49470"/>
                  </a:cubicBezTo>
                  <a:lnTo>
                    <a:pt x="2066302" y="85197"/>
                  </a:lnTo>
                  <a:cubicBezTo>
                    <a:pt x="2066302" y="102259"/>
                    <a:pt x="2056055" y="112775"/>
                    <a:pt x="2035561" y="116744"/>
                  </a:cubicBezTo>
                  <a:lnTo>
                    <a:pt x="2035561" y="117125"/>
                  </a:lnTo>
                  <a:cubicBezTo>
                    <a:pt x="2056055" y="120840"/>
                    <a:pt x="2066302" y="131272"/>
                    <a:pt x="2066302" y="148417"/>
                  </a:cubicBezTo>
                  <a:lnTo>
                    <a:pt x="2066302" y="183765"/>
                  </a:lnTo>
                  <a:cubicBezTo>
                    <a:pt x="2066302" y="192802"/>
                    <a:pt x="2068130" y="199242"/>
                    <a:pt x="2071786" y="203086"/>
                  </a:cubicBezTo>
                  <a:cubicBezTo>
                    <a:pt x="2075442" y="206928"/>
                    <a:pt x="2081802" y="208935"/>
                    <a:pt x="2090864" y="209103"/>
                  </a:cubicBezTo>
                  <a:lnTo>
                    <a:pt x="2090864" y="228614"/>
                  </a:lnTo>
                  <a:cubicBezTo>
                    <a:pt x="2054202" y="228276"/>
                    <a:pt x="2035870" y="215438"/>
                    <a:pt x="2035870" y="190100"/>
                  </a:cubicBezTo>
                  <a:lnTo>
                    <a:pt x="2035870" y="152725"/>
                  </a:lnTo>
                  <a:cubicBezTo>
                    <a:pt x="2035870" y="136001"/>
                    <a:pt x="2027837" y="127218"/>
                    <a:pt x="2011770" y="126372"/>
                  </a:cubicBezTo>
                  <a:lnTo>
                    <a:pt x="2011770" y="107876"/>
                  </a:lnTo>
                  <a:cubicBezTo>
                    <a:pt x="2027837" y="107031"/>
                    <a:pt x="2035870" y="98078"/>
                    <a:pt x="2035870" y="81016"/>
                  </a:cubicBezTo>
                  <a:lnTo>
                    <a:pt x="2035870" y="44655"/>
                  </a:lnTo>
                  <a:cubicBezTo>
                    <a:pt x="2035870" y="18980"/>
                    <a:pt x="2054202" y="5972"/>
                    <a:pt x="2090864" y="5634"/>
                  </a:cubicBezTo>
                  <a:close/>
                  <a:moveTo>
                    <a:pt x="11430297" y="0"/>
                  </a:moveTo>
                  <a:lnTo>
                    <a:pt x="11458372" y="0"/>
                  </a:lnTo>
                  <a:lnTo>
                    <a:pt x="11444596" y="67137"/>
                  </a:lnTo>
                  <a:lnTo>
                    <a:pt x="11486796" y="67137"/>
                  </a:lnTo>
                  <a:lnTo>
                    <a:pt x="11501095" y="0"/>
                  </a:lnTo>
                  <a:lnTo>
                    <a:pt x="11528648" y="0"/>
                  </a:lnTo>
                  <a:lnTo>
                    <a:pt x="11514697" y="67137"/>
                  </a:lnTo>
                  <a:lnTo>
                    <a:pt x="11554456" y="67137"/>
                  </a:lnTo>
                  <a:lnTo>
                    <a:pt x="11549050" y="91551"/>
                  </a:lnTo>
                  <a:lnTo>
                    <a:pt x="11509466" y="91551"/>
                  </a:lnTo>
                  <a:lnTo>
                    <a:pt x="11499352" y="139681"/>
                  </a:lnTo>
                  <a:lnTo>
                    <a:pt x="11542598" y="139681"/>
                  </a:lnTo>
                  <a:lnTo>
                    <a:pt x="11536494" y="164093"/>
                  </a:lnTo>
                  <a:lnTo>
                    <a:pt x="11494295" y="164093"/>
                  </a:lnTo>
                  <a:lnTo>
                    <a:pt x="11479995" y="228614"/>
                  </a:lnTo>
                  <a:lnTo>
                    <a:pt x="11452268" y="228614"/>
                  </a:lnTo>
                  <a:lnTo>
                    <a:pt x="11466219" y="164093"/>
                  </a:lnTo>
                  <a:lnTo>
                    <a:pt x="11424019" y="164093"/>
                  </a:lnTo>
                  <a:lnTo>
                    <a:pt x="11410417" y="228614"/>
                  </a:lnTo>
                  <a:lnTo>
                    <a:pt x="11382691" y="228614"/>
                  </a:lnTo>
                  <a:lnTo>
                    <a:pt x="11396292" y="164093"/>
                  </a:lnTo>
                  <a:lnTo>
                    <a:pt x="11356359" y="164093"/>
                  </a:lnTo>
                  <a:lnTo>
                    <a:pt x="11361241" y="139681"/>
                  </a:lnTo>
                  <a:lnTo>
                    <a:pt x="11401698" y="139681"/>
                  </a:lnTo>
                  <a:lnTo>
                    <a:pt x="11411289" y="91551"/>
                  </a:lnTo>
                  <a:lnTo>
                    <a:pt x="11368740" y="91551"/>
                  </a:lnTo>
                  <a:lnTo>
                    <a:pt x="11373797" y="67137"/>
                  </a:lnTo>
                  <a:lnTo>
                    <a:pt x="11416346" y="67137"/>
                  </a:lnTo>
                  <a:close/>
                  <a:moveTo>
                    <a:pt x="5365960" y="0"/>
                  </a:moveTo>
                  <a:lnTo>
                    <a:pt x="5394034" y="0"/>
                  </a:lnTo>
                  <a:lnTo>
                    <a:pt x="5380258" y="67137"/>
                  </a:lnTo>
                  <a:lnTo>
                    <a:pt x="5422458" y="67137"/>
                  </a:lnTo>
                  <a:lnTo>
                    <a:pt x="5436757" y="0"/>
                  </a:lnTo>
                  <a:lnTo>
                    <a:pt x="5464310" y="0"/>
                  </a:lnTo>
                  <a:lnTo>
                    <a:pt x="5450359" y="67137"/>
                  </a:lnTo>
                  <a:lnTo>
                    <a:pt x="5490118" y="67137"/>
                  </a:lnTo>
                  <a:lnTo>
                    <a:pt x="5484714" y="91551"/>
                  </a:lnTo>
                  <a:lnTo>
                    <a:pt x="5445128" y="91551"/>
                  </a:lnTo>
                  <a:lnTo>
                    <a:pt x="5435014" y="139681"/>
                  </a:lnTo>
                  <a:lnTo>
                    <a:pt x="5478260" y="139681"/>
                  </a:lnTo>
                  <a:lnTo>
                    <a:pt x="5472158" y="164093"/>
                  </a:lnTo>
                  <a:lnTo>
                    <a:pt x="5429957" y="164093"/>
                  </a:lnTo>
                  <a:lnTo>
                    <a:pt x="5415658" y="228614"/>
                  </a:lnTo>
                  <a:lnTo>
                    <a:pt x="5387930" y="228614"/>
                  </a:lnTo>
                  <a:lnTo>
                    <a:pt x="5401881" y="164093"/>
                  </a:lnTo>
                  <a:lnTo>
                    <a:pt x="5359681" y="164093"/>
                  </a:lnTo>
                  <a:lnTo>
                    <a:pt x="5346079" y="228614"/>
                  </a:lnTo>
                  <a:lnTo>
                    <a:pt x="5318353" y="228614"/>
                  </a:lnTo>
                  <a:lnTo>
                    <a:pt x="5331955" y="164093"/>
                  </a:lnTo>
                  <a:lnTo>
                    <a:pt x="5292021" y="164093"/>
                  </a:lnTo>
                  <a:lnTo>
                    <a:pt x="5296904" y="139681"/>
                  </a:lnTo>
                  <a:lnTo>
                    <a:pt x="5337360" y="139681"/>
                  </a:lnTo>
                  <a:lnTo>
                    <a:pt x="5346952" y="91551"/>
                  </a:lnTo>
                  <a:lnTo>
                    <a:pt x="5304402" y="91551"/>
                  </a:lnTo>
                  <a:lnTo>
                    <a:pt x="5309459" y="67137"/>
                  </a:lnTo>
                  <a:lnTo>
                    <a:pt x="5352009" y="67137"/>
                  </a:lnTo>
                  <a:close/>
                </a:path>
              </a:pathLst>
            </a:cu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783" name="Freeform 1782"/>
            <p:cNvSpPr/>
            <p:nvPr/>
          </p:nvSpPr>
          <p:spPr>
            <a:xfrm>
              <a:off x="62042" y="73882"/>
              <a:ext cx="12050057" cy="6072782"/>
            </a:xfrm>
            <a:custGeom>
              <a:avLst/>
              <a:gdLst>
                <a:gd name="connsiteX0" fmla="*/ 3287783 w 12050057"/>
                <a:gd name="connsiteY0" fmla="*/ 5849802 h 6072782"/>
                <a:gd name="connsiteX1" fmla="*/ 3302689 w 12050057"/>
                <a:gd name="connsiteY1" fmla="*/ 5849802 h 6072782"/>
                <a:gd name="connsiteX2" fmla="*/ 3302689 w 12050057"/>
                <a:gd name="connsiteY2" fmla="*/ 6072782 h 6072782"/>
                <a:gd name="connsiteX3" fmla="*/ 3267400 w 12050057"/>
                <a:gd name="connsiteY3" fmla="*/ 6072782 h 6072782"/>
                <a:gd name="connsiteX4" fmla="*/ 3267400 w 12050057"/>
                <a:gd name="connsiteY4" fmla="*/ 5892999 h 6072782"/>
                <a:gd name="connsiteX5" fmla="*/ 3246791 w 12050057"/>
                <a:gd name="connsiteY5" fmla="*/ 5904635 h 6072782"/>
                <a:gd name="connsiteX6" fmla="*/ 3221618 w 12050057"/>
                <a:gd name="connsiteY6" fmla="*/ 5913076 h 6072782"/>
                <a:gd name="connsiteX7" fmla="*/ 3221618 w 12050057"/>
                <a:gd name="connsiteY7" fmla="*/ 5882960 h 6072782"/>
                <a:gd name="connsiteX8" fmla="*/ 3238653 w 12050057"/>
                <a:gd name="connsiteY8" fmla="*/ 5876876 h 6072782"/>
                <a:gd name="connsiteX9" fmla="*/ 3254853 w 12050057"/>
                <a:gd name="connsiteY9" fmla="*/ 5869727 h 6072782"/>
                <a:gd name="connsiteX10" fmla="*/ 3270976 w 12050057"/>
                <a:gd name="connsiteY10" fmla="*/ 5860906 h 6072782"/>
                <a:gd name="connsiteX11" fmla="*/ 3287783 w 12050057"/>
                <a:gd name="connsiteY11" fmla="*/ 5849802 h 6072782"/>
                <a:gd name="connsiteX12" fmla="*/ 3287783 w 12050057"/>
                <a:gd name="connsiteY12" fmla="*/ 5494671 h 6072782"/>
                <a:gd name="connsiteX13" fmla="*/ 3302689 w 12050057"/>
                <a:gd name="connsiteY13" fmla="*/ 5494671 h 6072782"/>
                <a:gd name="connsiteX14" fmla="*/ 3302689 w 12050057"/>
                <a:gd name="connsiteY14" fmla="*/ 5717651 h 6072782"/>
                <a:gd name="connsiteX15" fmla="*/ 3267400 w 12050057"/>
                <a:gd name="connsiteY15" fmla="*/ 5717651 h 6072782"/>
                <a:gd name="connsiteX16" fmla="*/ 3267400 w 12050057"/>
                <a:gd name="connsiteY16" fmla="*/ 5537867 h 6072782"/>
                <a:gd name="connsiteX17" fmla="*/ 3246791 w 12050057"/>
                <a:gd name="connsiteY17" fmla="*/ 5549503 h 6072782"/>
                <a:gd name="connsiteX18" fmla="*/ 3221618 w 12050057"/>
                <a:gd name="connsiteY18" fmla="*/ 5557945 h 6072782"/>
                <a:gd name="connsiteX19" fmla="*/ 3221618 w 12050057"/>
                <a:gd name="connsiteY19" fmla="*/ 5527829 h 6072782"/>
                <a:gd name="connsiteX20" fmla="*/ 3238653 w 12050057"/>
                <a:gd name="connsiteY20" fmla="*/ 5521745 h 6072782"/>
                <a:gd name="connsiteX21" fmla="*/ 3254853 w 12050057"/>
                <a:gd name="connsiteY21" fmla="*/ 5514596 h 6072782"/>
                <a:gd name="connsiteX22" fmla="*/ 3270976 w 12050057"/>
                <a:gd name="connsiteY22" fmla="*/ 5505774 h 6072782"/>
                <a:gd name="connsiteX23" fmla="*/ 3287783 w 12050057"/>
                <a:gd name="connsiteY23" fmla="*/ 5494671 h 6072782"/>
                <a:gd name="connsiteX24" fmla="*/ 1423455 w 12050057"/>
                <a:gd name="connsiteY24" fmla="*/ 5494671 h 6072782"/>
                <a:gd name="connsiteX25" fmla="*/ 1438362 w 12050057"/>
                <a:gd name="connsiteY25" fmla="*/ 5494671 h 6072782"/>
                <a:gd name="connsiteX26" fmla="*/ 1438362 w 12050057"/>
                <a:gd name="connsiteY26" fmla="*/ 5717651 h 6072782"/>
                <a:gd name="connsiteX27" fmla="*/ 1403074 w 12050057"/>
                <a:gd name="connsiteY27" fmla="*/ 5717651 h 6072782"/>
                <a:gd name="connsiteX28" fmla="*/ 1403074 w 12050057"/>
                <a:gd name="connsiteY28" fmla="*/ 5537868 h 6072782"/>
                <a:gd name="connsiteX29" fmla="*/ 1382465 w 12050057"/>
                <a:gd name="connsiteY29" fmla="*/ 5549504 h 6072782"/>
                <a:gd name="connsiteX30" fmla="*/ 1357292 w 12050057"/>
                <a:gd name="connsiteY30" fmla="*/ 5557945 h 6072782"/>
                <a:gd name="connsiteX31" fmla="*/ 1357292 w 12050057"/>
                <a:gd name="connsiteY31" fmla="*/ 5527829 h 6072782"/>
                <a:gd name="connsiteX32" fmla="*/ 1374327 w 12050057"/>
                <a:gd name="connsiteY32" fmla="*/ 5521745 h 6072782"/>
                <a:gd name="connsiteX33" fmla="*/ 1390525 w 12050057"/>
                <a:gd name="connsiteY33" fmla="*/ 5514596 h 6072782"/>
                <a:gd name="connsiteX34" fmla="*/ 1406649 w 12050057"/>
                <a:gd name="connsiteY34" fmla="*/ 5505775 h 6072782"/>
                <a:gd name="connsiteX35" fmla="*/ 1423455 w 12050057"/>
                <a:gd name="connsiteY35" fmla="*/ 5494671 h 6072782"/>
                <a:gd name="connsiteX36" fmla="*/ 9366501 w 12050057"/>
                <a:gd name="connsiteY36" fmla="*/ 5157041 h 6072782"/>
                <a:gd name="connsiteX37" fmla="*/ 9381407 w 12050057"/>
                <a:gd name="connsiteY37" fmla="*/ 5157041 h 6072782"/>
                <a:gd name="connsiteX38" fmla="*/ 9381407 w 12050057"/>
                <a:gd name="connsiteY38" fmla="*/ 5380021 h 6072782"/>
                <a:gd name="connsiteX39" fmla="*/ 9346119 w 12050057"/>
                <a:gd name="connsiteY39" fmla="*/ 5380021 h 6072782"/>
                <a:gd name="connsiteX40" fmla="*/ 9346119 w 12050057"/>
                <a:gd name="connsiteY40" fmla="*/ 5200238 h 6072782"/>
                <a:gd name="connsiteX41" fmla="*/ 9325510 w 12050057"/>
                <a:gd name="connsiteY41" fmla="*/ 5211874 h 6072782"/>
                <a:gd name="connsiteX42" fmla="*/ 9300337 w 12050057"/>
                <a:gd name="connsiteY42" fmla="*/ 5220315 h 6072782"/>
                <a:gd name="connsiteX43" fmla="*/ 9300337 w 12050057"/>
                <a:gd name="connsiteY43" fmla="*/ 5190199 h 6072782"/>
                <a:gd name="connsiteX44" fmla="*/ 9317372 w 12050057"/>
                <a:gd name="connsiteY44" fmla="*/ 5184115 h 6072782"/>
                <a:gd name="connsiteX45" fmla="*/ 9333571 w 12050057"/>
                <a:gd name="connsiteY45" fmla="*/ 5176966 h 6072782"/>
                <a:gd name="connsiteX46" fmla="*/ 9349694 w 12050057"/>
                <a:gd name="connsiteY46" fmla="*/ 5168145 h 6072782"/>
                <a:gd name="connsiteX47" fmla="*/ 9366501 w 12050057"/>
                <a:gd name="connsiteY47" fmla="*/ 5157041 h 6072782"/>
                <a:gd name="connsiteX48" fmla="*/ 7520355 w 12050057"/>
                <a:gd name="connsiteY48" fmla="*/ 5157041 h 6072782"/>
                <a:gd name="connsiteX49" fmla="*/ 7535261 w 12050057"/>
                <a:gd name="connsiteY49" fmla="*/ 5157041 h 6072782"/>
                <a:gd name="connsiteX50" fmla="*/ 7535261 w 12050057"/>
                <a:gd name="connsiteY50" fmla="*/ 5380021 h 6072782"/>
                <a:gd name="connsiteX51" fmla="*/ 7499973 w 12050057"/>
                <a:gd name="connsiteY51" fmla="*/ 5380021 h 6072782"/>
                <a:gd name="connsiteX52" fmla="*/ 7499973 w 12050057"/>
                <a:gd name="connsiteY52" fmla="*/ 5200238 h 6072782"/>
                <a:gd name="connsiteX53" fmla="*/ 7479364 w 12050057"/>
                <a:gd name="connsiteY53" fmla="*/ 5211874 h 6072782"/>
                <a:gd name="connsiteX54" fmla="*/ 7454191 w 12050057"/>
                <a:gd name="connsiteY54" fmla="*/ 5220315 h 6072782"/>
                <a:gd name="connsiteX55" fmla="*/ 7454191 w 12050057"/>
                <a:gd name="connsiteY55" fmla="*/ 5190199 h 6072782"/>
                <a:gd name="connsiteX56" fmla="*/ 7471226 w 12050057"/>
                <a:gd name="connsiteY56" fmla="*/ 5184115 h 6072782"/>
                <a:gd name="connsiteX57" fmla="*/ 7487425 w 12050057"/>
                <a:gd name="connsiteY57" fmla="*/ 5176966 h 6072782"/>
                <a:gd name="connsiteX58" fmla="*/ 7503548 w 12050057"/>
                <a:gd name="connsiteY58" fmla="*/ 5168145 h 6072782"/>
                <a:gd name="connsiteX59" fmla="*/ 7520355 w 12050057"/>
                <a:gd name="connsiteY59" fmla="*/ 5157041 h 6072782"/>
                <a:gd name="connsiteX60" fmla="*/ 3287783 w 12050057"/>
                <a:gd name="connsiteY60" fmla="*/ 5157041 h 6072782"/>
                <a:gd name="connsiteX61" fmla="*/ 3302689 w 12050057"/>
                <a:gd name="connsiteY61" fmla="*/ 5157041 h 6072782"/>
                <a:gd name="connsiteX62" fmla="*/ 3302689 w 12050057"/>
                <a:gd name="connsiteY62" fmla="*/ 5380021 h 6072782"/>
                <a:gd name="connsiteX63" fmla="*/ 3267400 w 12050057"/>
                <a:gd name="connsiteY63" fmla="*/ 5380021 h 6072782"/>
                <a:gd name="connsiteX64" fmla="*/ 3267400 w 12050057"/>
                <a:gd name="connsiteY64" fmla="*/ 5200237 h 6072782"/>
                <a:gd name="connsiteX65" fmla="*/ 3246791 w 12050057"/>
                <a:gd name="connsiteY65" fmla="*/ 5211873 h 6072782"/>
                <a:gd name="connsiteX66" fmla="*/ 3221618 w 12050057"/>
                <a:gd name="connsiteY66" fmla="*/ 5220315 h 6072782"/>
                <a:gd name="connsiteX67" fmla="*/ 3221618 w 12050057"/>
                <a:gd name="connsiteY67" fmla="*/ 5190199 h 6072782"/>
                <a:gd name="connsiteX68" fmla="*/ 3238653 w 12050057"/>
                <a:gd name="connsiteY68" fmla="*/ 5184115 h 6072782"/>
                <a:gd name="connsiteX69" fmla="*/ 3254853 w 12050057"/>
                <a:gd name="connsiteY69" fmla="*/ 5176966 h 6072782"/>
                <a:gd name="connsiteX70" fmla="*/ 3270976 w 12050057"/>
                <a:gd name="connsiteY70" fmla="*/ 5168144 h 6072782"/>
                <a:gd name="connsiteX71" fmla="*/ 3287783 w 12050057"/>
                <a:gd name="connsiteY71" fmla="*/ 5157041 h 6072782"/>
                <a:gd name="connsiteX72" fmla="*/ 1423455 w 12050057"/>
                <a:gd name="connsiteY72" fmla="*/ 5157041 h 6072782"/>
                <a:gd name="connsiteX73" fmla="*/ 1438362 w 12050057"/>
                <a:gd name="connsiteY73" fmla="*/ 5157041 h 6072782"/>
                <a:gd name="connsiteX74" fmla="*/ 1438362 w 12050057"/>
                <a:gd name="connsiteY74" fmla="*/ 5380021 h 6072782"/>
                <a:gd name="connsiteX75" fmla="*/ 1403074 w 12050057"/>
                <a:gd name="connsiteY75" fmla="*/ 5380021 h 6072782"/>
                <a:gd name="connsiteX76" fmla="*/ 1403074 w 12050057"/>
                <a:gd name="connsiteY76" fmla="*/ 5200238 h 6072782"/>
                <a:gd name="connsiteX77" fmla="*/ 1382465 w 12050057"/>
                <a:gd name="connsiteY77" fmla="*/ 5211874 h 6072782"/>
                <a:gd name="connsiteX78" fmla="*/ 1357292 w 12050057"/>
                <a:gd name="connsiteY78" fmla="*/ 5220315 h 6072782"/>
                <a:gd name="connsiteX79" fmla="*/ 1357292 w 12050057"/>
                <a:gd name="connsiteY79" fmla="*/ 5190199 h 6072782"/>
                <a:gd name="connsiteX80" fmla="*/ 1374327 w 12050057"/>
                <a:gd name="connsiteY80" fmla="*/ 5184115 h 6072782"/>
                <a:gd name="connsiteX81" fmla="*/ 1390525 w 12050057"/>
                <a:gd name="connsiteY81" fmla="*/ 5176966 h 6072782"/>
                <a:gd name="connsiteX82" fmla="*/ 1406649 w 12050057"/>
                <a:gd name="connsiteY82" fmla="*/ 5168145 h 6072782"/>
                <a:gd name="connsiteX83" fmla="*/ 1423455 w 12050057"/>
                <a:gd name="connsiteY83" fmla="*/ 5157041 h 6072782"/>
                <a:gd name="connsiteX84" fmla="*/ 9366501 w 12050057"/>
                <a:gd name="connsiteY84" fmla="*/ 4843971 h 6072782"/>
                <a:gd name="connsiteX85" fmla="*/ 9381407 w 12050057"/>
                <a:gd name="connsiteY85" fmla="*/ 4843971 h 6072782"/>
                <a:gd name="connsiteX86" fmla="*/ 9381407 w 12050057"/>
                <a:gd name="connsiteY86" fmla="*/ 5066951 h 6072782"/>
                <a:gd name="connsiteX87" fmla="*/ 9346119 w 12050057"/>
                <a:gd name="connsiteY87" fmla="*/ 5066951 h 6072782"/>
                <a:gd name="connsiteX88" fmla="*/ 9346119 w 12050057"/>
                <a:gd name="connsiteY88" fmla="*/ 4887167 h 6072782"/>
                <a:gd name="connsiteX89" fmla="*/ 9325510 w 12050057"/>
                <a:gd name="connsiteY89" fmla="*/ 4898803 h 6072782"/>
                <a:gd name="connsiteX90" fmla="*/ 9300337 w 12050057"/>
                <a:gd name="connsiteY90" fmla="*/ 4907245 h 6072782"/>
                <a:gd name="connsiteX91" fmla="*/ 9300337 w 12050057"/>
                <a:gd name="connsiteY91" fmla="*/ 4877129 h 6072782"/>
                <a:gd name="connsiteX92" fmla="*/ 9317372 w 12050057"/>
                <a:gd name="connsiteY92" fmla="*/ 4871045 h 6072782"/>
                <a:gd name="connsiteX93" fmla="*/ 9333571 w 12050057"/>
                <a:gd name="connsiteY93" fmla="*/ 4863896 h 6072782"/>
                <a:gd name="connsiteX94" fmla="*/ 9349694 w 12050057"/>
                <a:gd name="connsiteY94" fmla="*/ 4855074 h 6072782"/>
                <a:gd name="connsiteX95" fmla="*/ 9366501 w 12050057"/>
                <a:gd name="connsiteY95" fmla="*/ 4843971 h 6072782"/>
                <a:gd name="connsiteX96" fmla="*/ 7520355 w 12050057"/>
                <a:gd name="connsiteY96" fmla="*/ 4843971 h 6072782"/>
                <a:gd name="connsiteX97" fmla="*/ 7535261 w 12050057"/>
                <a:gd name="connsiteY97" fmla="*/ 4843971 h 6072782"/>
                <a:gd name="connsiteX98" fmla="*/ 7535261 w 12050057"/>
                <a:gd name="connsiteY98" fmla="*/ 5066951 h 6072782"/>
                <a:gd name="connsiteX99" fmla="*/ 7499973 w 12050057"/>
                <a:gd name="connsiteY99" fmla="*/ 5066951 h 6072782"/>
                <a:gd name="connsiteX100" fmla="*/ 7499973 w 12050057"/>
                <a:gd name="connsiteY100" fmla="*/ 4887167 h 6072782"/>
                <a:gd name="connsiteX101" fmla="*/ 7479364 w 12050057"/>
                <a:gd name="connsiteY101" fmla="*/ 4898803 h 6072782"/>
                <a:gd name="connsiteX102" fmla="*/ 7454191 w 12050057"/>
                <a:gd name="connsiteY102" fmla="*/ 4907245 h 6072782"/>
                <a:gd name="connsiteX103" fmla="*/ 7454191 w 12050057"/>
                <a:gd name="connsiteY103" fmla="*/ 4877129 h 6072782"/>
                <a:gd name="connsiteX104" fmla="*/ 7471226 w 12050057"/>
                <a:gd name="connsiteY104" fmla="*/ 4871045 h 6072782"/>
                <a:gd name="connsiteX105" fmla="*/ 7487425 w 12050057"/>
                <a:gd name="connsiteY105" fmla="*/ 4863896 h 6072782"/>
                <a:gd name="connsiteX106" fmla="*/ 7503548 w 12050057"/>
                <a:gd name="connsiteY106" fmla="*/ 4855074 h 6072782"/>
                <a:gd name="connsiteX107" fmla="*/ 7520355 w 12050057"/>
                <a:gd name="connsiteY107" fmla="*/ 4843971 h 6072782"/>
                <a:gd name="connsiteX108" fmla="*/ 3287783 w 12050057"/>
                <a:gd name="connsiteY108" fmla="*/ 4843971 h 6072782"/>
                <a:gd name="connsiteX109" fmla="*/ 3302689 w 12050057"/>
                <a:gd name="connsiteY109" fmla="*/ 4843971 h 6072782"/>
                <a:gd name="connsiteX110" fmla="*/ 3302689 w 12050057"/>
                <a:gd name="connsiteY110" fmla="*/ 5066951 h 6072782"/>
                <a:gd name="connsiteX111" fmla="*/ 3267400 w 12050057"/>
                <a:gd name="connsiteY111" fmla="*/ 5066951 h 6072782"/>
                <a:gd name="connsiteX112" fmla="*/ 3267400 w 12050057"/>
                <a:gd name="connsiteY112" fmla="*/ 4887167 h 6072782"/>
                <a:gd name="connsiteX113" fmla="*/ 3246791 w 12050057"/>
                <a:gd name="connsiteY113" fmla="*/ 4898803 h 6072782"/>
                <a:gd name="connsiteX114" fmla="*/ 3221618 w 12050057"/>
                <a:gd name="connsiteY114" fmla="*/ 4907245 h 6072782"/>
                <a:gd name="connsiteX115" fmla="*/ 3221618 w 12050057"/>
                <a:gd name="connsiteY115" fmla="*/ 4877129 h 6072782"/>
                <a:gd name="connsiteX116" fmla="*/ 3238653 w 12050057"/>
                <a:gd name="connsiteY116" fmla="*/ 4871045 h 6072782"/>
                <a:gd name="connsiteX117" fmla="*/ 3254853 w 12050057"/>
                <a:gd name="connsiteY117" fmla="*/ 4863896 h 6072782"/>
                <a:gd name="connsiteX118" fmla="*/ 3270976 w 12050057"/>
                <a:gd name="connsiteY118" fmla="*/ 4855074 h 6072782"/>
                <a:gd name="connsiteX119" fmla="*/ 3287783 w 12050057"/>
                <a:gd name="connsiteY119" fmla="*/ 4843971 h 6072782"/>
                <a:gd name="connsiteX120" fmla="*/ 1423455 w 12050057"/>
                <a:gd name="connsiteY120" fmla="*/ 4843971 h 6072782"/>
                <a:gd name="connsiteX121" fmla="*/ 1438362 w 12050057"/>
                <a:gd name="connsiteY121" fmla="*/ 4843971 h 6072782"/>
                <a:gd name="connsiteX122" fmla="*/ 1438362 w 12050057"/>
                <a:gd name="connsiteY122" fmla="*/ 5066951 h 6072782"/>
                <a:gd name="connsiteX123" fmla="*/ 1403074 w 12050057"/>
                <a:gd name="connsiteY123" fmla="*/ 5066951 h 6072782"/>
                <a:gd name="connsiteX124" fmla="*/ 1403074 w 12050057"/>
                <a:gd name="connsiteY124" fmla="*/ 4887167 h 6072782"/>
                <a:gd name="connsiteX125" fmla="*/ 1382465 w 12050057"/>
                <a:gd name="connsiteY125" fmla="*/ 4898803 h 6072782"/>
                <a:gd name="connsiteX126" fmla="*/ 1357292 w 12050057"/>
                <a:gd name="connsiteY126" fmla="*/ 4907245 h 6072782"/>
                <a:gd name="connsiteX127" fmla="*/ 1357292 w 12050057"/>
                <a:gd name="connsiteY127" fmla="*/ 4877129 h 6072782"/>
                <a:gd name="connsiteX128" fmla="*/ 1374327 w 12050057"/>
                <a:gd name="connsiteY128" fmla="*/ 4871045 h 6072782"/>
                <a:gd name="connsiteX129" fmla="*/ 1390525 w 12050057"/>
                <a:gd name="connsiteY129" fmla="*/ 4863896 h 6072782"/>
                <a:gd name="connsiteX130" fmla="*/ 1406649 w 12050057"/>
                <a:gd name="connsiteY130" fmla="*/ 4855074 h 6072782"/>
                <a:gd name="connsiteX131" fmla="*/ 1423455 w 12050057"/>
                <a:gd name="connsiteY131" fmla="*/ 4843971 h 6072782"/>
                <a:gd name="connsiteX132" fmla="*/ 9366501 w 12050057"/>
                <a:gd name="connsiteY132" fmla="*/ 4506341 h 6072782"/>
                <a:gd name="connsiteX133" fmla="*/ 9381407 w 12050057"/>
                <a:gd name="connsiteY133" fmla="*/ 4506341 h 6072782"/>
                <a:gd name="connsiteX134" fmla="*/ 9381407 w 12050057"/>
                <a:gd name="connsiteY134" fmla="*/ 4729321 h 6072782"/>
                <a:gd name="connsiteX135" fmla="*/ 9346119 w 12050057"/>
                <a:gd name="connsiteY135" fmla="*/ 4729321 h 6072782"/>
                <a:gd name="connsiteX136" fmla="*/ 9346119 w 12050057"/>
                <a:gd name="connsiteY136" fmla="*/ 4549537 h 6072782"/>
                <a:gd name="connsiteX137" fmla="*/ 9325510 w 12050057"/>
                <a:gd name="connsiteY137" fmla="*/ 4561173 h 6072782"/>
                <a:gd name="connsiteX138" fmla="*/ 9300337 w 12050057"/>
                <a:gd name="connsiteY138" fmla="*/ 4569615 h 6072782"/>
                <a:gd name="connsiteX139" fmla="*/ 9300337 w 12050057"/>
                <a:gd name="connsiteY139" fmla="*/ 4539499 h 6072782"/>
                <a:gd name="connsiteX140" fmla="*/ 9317372 w 12050057"/>
                <a:gd name="connsiteY140" fmla="*/ 4533415 h 6072782"/>
                <a:gd name="connsiteX141" fmla="*/ 9333571 w 12050057"/>
                <a:gd name="connsiteY141" fmla="*/ 4526266 h 6072782"/>
                <a:gd name="connsiteX142" fmla="*/ 9349694 w 12050057"/>
                <a:gd name="connsiteY142" fmla="*/ 4517444 h 6072782"/>
                <a:gd name="connsiteX143" fmla="*/ 9366501 w 12050057"/>
                <a:gd name="connsiteY143" fmla="*/ 4506341 h 6072782"/>
                <a:gd name="connsiteX144" fmla="*/ 7520355 w 12050057"/>
                <a:gd name="connsiteY144" fmla="*/ 4506341 h 6072782"/>
                <a:gd name="connsiteX145" fmla="*/ 7535261 w 12050057"/>
                <a:gd name="connsiteY145" fmla="*/ 4506341 h 6072782"/>
                <a:gd name="connsiteX146" fmla="*/ 7535261 w 12050057"/>
                <a:gd name="connsiteY146" fmla="*/ 4729321 h 6072782"/>
                <a:gd name="connsiteX147" fmla="*/ 7499973 w 12050057"/>
                <a:gd name="connsiteY147" fmla="*/ 4729321 h 6072782"/>
                <a:gd name="connsiteX148" fmla="*/ 7499973 w 12050057"/>
                <a:gd name="connsiteY148" fmla="*/ 4549537 h 6072782"/>
                <a:gd name="connsiteX149" fmla="*/ 7479364 w 12050057"/>
                <a:gd name="connsiteY149" fmla="*/ 4561173 h 6072782"/>
                <a:gd name="connsiteX150" fmla="*/ 7454191 w 12050057"/>
                <a:gd name="connsiteY150" fmla="*/ 4569615 h 6072782"/>
                <a:gd name="connsiteX151" fmla="*/ 7454191 w 12050057"/>
                <a:gd name="connsiteY151" fmla="*/ 4539499 h 6072782"/>
                <a:gd name="connsiteX152" fmla="*/ 7471226 w 12050057"/>
                <a:gd name="connsiteY152" fmla="*/ 4533415 h 6072782"/>
                <a:gd name="connsiteX153" fmla="*/ 7487425 w 12050057"/>
                <a:gd name="connsiteY153" fmla="*/ 4526266 h 6072782"/>
                <a:gd name="connsiteX154" fmla="*/ 7503548 w 12050057"/>
                <a:gd name="connsiteY154" fmla="*/ 4517444 h 6072782"/>
                <a:gd name="connsiteX155" fmla="*/ 7520355 w 12050057"/>
                <a:gd name="connsiteY155" fmla="*/ 4506341 h 6072782"/>
                <a:gd name="connsiteX156" fmla="*/ 3287783 w 12050057"/>
                <a:gd name="connsiteY156" fmla="*/ 4506341 h 6072782"/>
                <a:gd name="connsiteX157" fmla="*/ 3302689 w 12050057"/>
                <a:gd name="connsiteY157" fmla="*/ 4506341 h 6072782"/>
                <a:gd name="connsiteX158" fmla="*/ 3302689 w 12050057"/>
                <a:gd name="connsiteY158" fmla="*/ 4729321 h 6072782"/>
                <a:gd name="connsiteX159" fmla="*/ 3267400 w 12050057"/>
                <a:gd name="connsiteY159" fmla="*/ 4729321 h 6072782"/>
                <a:gd name="connsiteX160" fmla="*/ 3267400 w 12050057"/>
                <a:gd name="connsiteY160" fmla="*/ 4549537 h 6072782"/>
                <a:gd name="connsiteX161" fmla="*/ 3246791 w 12050057"/>
                <a:gd name="connsiteY161" fmla="*/ 4561173 h 6072782"/>
                <a:gd name="connsiteX162" fmla="*/ 3221618 w 12050057"/>
                <a:gd name="connsiteY162" fmla="*/ 4569615 h 6072782"/>
                <a:gd name="connsiteX163" fmla="*/ 3221618 w 12050057"/>
                <a:gd name="connsiteY163" fmla="*/ 4539499 h 6072782"/>
                <a:gd name="connsiteX164" fmla="*/ 3238653 w 12050057"/>
                <a:gd name="connsiteY164" fmla="*/ 4533415 h 6072782"/>
                <a:gd name="connsiteX165" fmla="*/ 3254853 w 12050057"/>
                <a:gd name="connsiteY165" fmla="*/ 4526266 h 6072782"/>
                <a:gd name="connsiteX166" fmla="*/ 3270976 w 12050057"/>
                <a:gd name="connsiteY166" fmla="*/ 4517444 h 6072782"/>
                <a:gd name="connsiteX167" fmla="*/ 3287783 w 12050057"/>
                <a:gd name="connsiteY167" fmla="*/ 4506341 h 6072782"/>
                <a:gd name="connsiteX168" fmla="*/ 1423455 w 12050057"/>
                <a:gd name="connsiteY168" fmla="*/ 4506341 h 6072782"/>
                <a:gd name="connsiteX169" fmla="*/ 1438362 w 12050057"/>
                <a:gd name="connsiteY169" fmla="*/ 4506341 h 6072782"/>
                <a:gd name="connsiteX170" fmla="*/ 1438362 w 12050057"/>
                <a:gd name="connsiteY170" fmla="*/ 4729321 h 6072782"/>
                <a:gd name="connsiteX171" fmla="*/ 1403074 w 12050057"/>
                <a:gd name="connsiteY171" fmla="*/ 4729321 h 6072782"/>
                <a:gd name="connsiteX172" fmla="*/ 1403074 w 12050057"/>
                <a:gd name="connsiteY172" fmla="*/ 4549537 h 6072782"/>
                <a:gd name="connsiteX173" fmla="*/ 1382465 w 12050057"/>
                <a:gd name="connsiteY173" fmla="*/ 4561173 h 6072782"/>
                <a:gd name="connsiteX174" fmla="*/ 1357292 w 12050057"/>
                <a:gd name="connsiteY174" fmla="*/ 4569615 h 6072782"/>
                <a:gd name="connsiteX175" fmla="*/ 1357292 w 12050057"/>
                <a:gd name="connsiteY175" fmla="*/ 4539499 h 6072782"/>
                <a:gd name="connsiteX176" fmla="*/ 1374327 w 12050057"/>
                <a:gd name="connsiteY176" fmla="*/ 4533415 h 6072782"/>
                <a:gd name="connsiteX177" fmla="*/ 1390525 w 12050057"/>
                <a:gd name="connsiteY177" fmla="*/ 4526266 h 6072782"/>
                <a:gd name="connsiteX178" fmla="*/ 1406649 w 12050057"/>
                <a:gd name="connsiteY178" fmla="*/ 4517444 h 6072782"/>
                <a:gd name="connsiteX179" fmla="*/ 1423455 w 12050057"/>
                <a:gd name="connsiteY179" fmla="*/ 4506341 h 6072782"/>
                <a:gd name="connsiteX180" fmla="*/ 10276410 w 12050057"/>
                <a:gd name="connsiteY180" fmla="*/ 4158870 h 6072782"/>
                <a:gd name="connsiteX181" fmla="*/ 10291316 w 12050057"/>
                <a:gd name="connsiteY181" fmla="*/ 4158870 h 6072782"/>
                <a:gd name="connsiteX182" fmla="*/ 10291316 w 12050057"/>
                <a:gd name="connsiteY182" fmla="*/ 4381850 h 6072782"/>
                <a:gd name="connsiteX183" fmla="*/ 10256028 w 12050057"/>
                <a:gd name="connsiteY183" fmla="*/ 4381850 h 6072782"/>
                <a:gd name="connsiteX184" fmla="*/ 10256028 w 12050057"/>
                <a:gd name="connsiteY184" fmla="*/ 4202067 h 6072782"/>
                <a:gd name="connsiteX185" fmla="*/ 10235419 w 12050057"/>
                <a:gd name="connsiteY185" fmla="*/ 4213703 h 6072782"/>
                <a:gd name="connsiteX186" fmla="*/ 10210246 w 12050057"/>
                <a:gd name="connsiteY186" fmla="*/ 4222144 h 6072782"/>
                <a:gd name="connsiteX187" fmla="*/ 10210246 w 12050057"/>
                <a:gd name="connsiteY187" fmla="*/ 4192028 h 6072782"/>
                <a:gd name="connsiteX188" fmla="*/ 10227281 w 12050057"/>
                <a:gd name="connsiteY188" fmla="*/ 4185944 h 6072782"/>
                <a:gd name="connsiteX189" fmla="*/ 10243480 w 12050057"/>
                <a:gd name="connsiteY189" fmla="*/ 4178795 h 6072782"/>
                <a:gd name="connsiteX190" fmla="*/ 10259603 w 12050057"/>
                <a:gd name="connsiteY190" fmla="*/ 4169974 h 6072782"/>
                <a:gd name="connsiteX191" fmla="*/ 10276410 w 12050057"/>
                <a:gd name="connsiteY191" fmla="*/ 4158870 h 6072782"/>
                <a:gd name="connsiteX192" fmla="*/ 9366501 w 12050057"/>
                <a:gd name="connsiteY192" fmla="*/ 4158870 h 6072782"/>
                <a:gd name="connsiteX193" fmla="*/ 9381407 w 12050057"/>
                <a:gd name="connsiteY193" fmla="*/ 4158870 h 6072782"/>
                <a:gd name="connsiteX194" fmla="*/ 9381407 w 12050057"/>
                <a:gd name="connsiteY194" fmla="*/ 4381850 h 6072782"/>
                <a:gd name="connsiteX195" fmla="*/ 9346119 w 12050057"/>
                <a:gd name="connsiteY195" fmla="*/ 4381850 h 6072782"/>
                <a:gd name="connsiteX196" fmla="*/ 9346119 w 12050057"/>
                <a:gd name="connsiteY196" fmla="*/ 4202066 h 6072782"/>
                <a:gd name="connsiteX197" fmla="*/ 9325510 w 12050057"/>
                <a:gd name="connsiteY197" fmla="*/ 4213702 h 6072782"/>
                <a:gd name="connsiteX198" fmla="*/ 9300337 w 12050057"/>
                <a:gd name="connsiteY198" fmla="*/ 4222144 h 6072782"/>
                <a:gd name="connsiteX199" fmla="*/ 9300337 w 12050057"/>
                <a:gd name="connsiteY199" fmla="*/ 4192028 h 6072782"/>
                <a:gd name="connsiteX200" fmla="*/ 9317372 w 12050057"/>
                <a:gd name="connsiteY200" fmla="*/ 4185944 h 6072782"/>
                <a:gd name="connsiteX201" fmla="*/ 9333571 w 12050057"/>
                <a:gd name="connsiteY201" fmla="*/ 4178795 h 6072782"/>
                <a:gd name="connsiteX202" fmla="*/ 9349694 w 12050057"/>
                <a:gd name="connsiteY202" fmla="*/ 4169973 h 6072782"/>
                <a:gd name="connsiteX203" fmla="*/ 9366501 w 12050057"/>
                <a:gd name="connsiteY203" fmla="*/ 4158870 h 6072782"/>
                <a:gd name="connsiteX204" fmla="*/ 7520355 w 12050057"/>
                <a:gd name="connsiteY204" fmla="*/ 4158870 h 6072782"/>
                <a:gd name="connsiteX205" fmla="*/ 7535261 w 12050057"/>
                <a:gd name="connsiteY205" fmla="*/ 4158870 h 6072782"/>
                <a:gd name="connsiteX206" fmla="*/ 7535261 w 12050057"/>
                <a:gd name="connsiteY206" fmla="*/ 4381850 h 6072782"/>
                <a:gd name="connsiteX207" fmla="*/ 7499973 w 12050057"/>
                <a:gd name="connsiteY207" fmla="*/ 4381850 h 6072782"/>
                <a:gd name="connsiteX208" fmla="*/ 7499973 w 12050057"/>
                <a:gd name="connsiteY208" fmla="*/ 4202066 h 6072782"/>
                <a:gd name="connsiteX209" fmla="*/ 7479364 w 12050057"/>
                <a:gd name="connsiteY209" fmla="*/ 4213702 h 6072782"/>
                <a:gd name="connsiteX210" fmla="*/ 7454191 w 12050057"/>
                <a:gd name="connsiteY210" fmla="*/ 4222144 h 6072782"/>
                <a:gd name="connsiteX211" fmla="*/ 7454191 w 12050057"/>
                <a:gd name="connsiteY211" fmla="*/ 4192028 h 6072782"/>
                <a:gd name="connsiteX212" fmla="*/ 7471226 w 12050057"/>
                <a:gd name="connsiteY212" fmla="*/ 4185944 h 6072782"/>
                <a:gd name="connsiteX213" fmla="*/ 7487425 w 12050057"/>
                <a:gd name="connsiteY213" fmla="*/ 4178795 h 6072782"/>
                <a:gd name="connsiteX214" fmla="*/ 7503548 w 12050057"/>
                <a:gd name="connsiteY214" fmla="*/ 4169973 h 6072782"/>
                <a:gd name="connsiteX215" fmla="*/ 7520355 w 12050057"/>
                <a:gd name="connsiteY215" fmla="*/ 4158870 h 6072782"/>
                <a:gd name="connsiteX216" fmla="*/ 4159688 w 12050057"/>
                <a:gd name="connsiteY216" fmla="*/ 4158870 h 6072782"/>
                <a:gd name="connsiteX217" fmla="*/ 4174594 w 12050057"/>
                <a:gd name="connsiteY217" fmla="*/ 4158870 h 6072782"/>
                <a:gd name="connsiteX218" fmla="*/ 4174594 w 12050057"/>
                <a:gd name="connsiteY218" fmla="*/ 4381850 h 6072782"/>
                <a:gd name="connsiteX219" fmla="*/ 4139306 w 12050057"/>
                <a:gd name="connsiteY219" fmla="*/ 4381850 h 6072782"/>
                <a:gd name="connsiteX220" fmla="*/ 4139306 w 12050057"/>
                <a:gd name="connsiteY220" fmla="*/ 4202067 h 6072782"/>
                <a:gd name="connsiteX221" fmla="*/ 4118697 w 12050057"/>
                <a:gd name="connsiteY221" fmla="*/ 4213703 h 6072782"/>
                <a:gd name="connsiteX222" fmla="*/ 4093525 w 12050057"/>
                <a:gd name="connsiteY222" fmla="*/ 4222144 h 6072782"/>
                <a:gd name="connsiteX223" fmla="*/ 4093525 w 12050057"/>
                <a:gd name="connsiteY223" fmla="*/ 4192028 h 6072782"/>
                <a:gd name="connsiteX224" fmla="*/ 4110559 w 12050057"/>
                <a:gd name="connsiteY224" fmla="*/ 4185944 h 6072782"/>
                <a:gd name="connsiteX225" fmla="*/ 4126758 w 12050057"/>
                <a:gd name="connsiteY225" fmla="*/ 4178795 h 6072782"/>
                <a:gd name="connsiteX226" fmla="*/ 4142881 w 12050057"/>
                <a:gd name="connsiteY226" fmla="*/ 4169974 h 6072782"/>
                <a:gd name="connsiteX227" fmla="*/ 4159688 w 12050057"/>
                <a:gd name="connsiteY227" fmla="*/ 4158870 h 6072782"/>
                <a:gd name="connsiteX228" fmla="*/ 3287783 w 12050057"/>
                <a:gd name="connsiteY228" fmla="*/ 4158870 h 6072782"/>
                <a:gd name="connsiteX229" fmla="*/ 3302689 w 12050057"/>
                <a:gd name="connsiteY229" fmla="*/ 4158870 h 6072782"/>
                <a:gd name="connsiteX230" fmla="*/ 3302689 w 12050057"/>
                <a:gd name="connsiteY230" fmla="*/ 4381850 h 6072782"/>
                <a:gd name="connsiteX231" fmla="*/ 3267400 w 12050057"/>
                <a:gd name="connsiteY231" fmla="*/ 4381850 h 6072782"/>
                <a:gd name="connsiteX232" fmla="*/ 3267400 w 12050057"/>
                <a:gd name="connsiteY232" fmla="*/ 4202066 h 6072782"/>
                <a:gd name="connsiteX233" fmla="*/ 3246791 w 12050057"/>
                <a:gd name="connsiteY233" fmla="*/ 4213702 h 6072782"/>
                <a:gd name="connsiteX234" fmla="*/ 3221618 w 12050057"/>
                <a:gd name="connsiteY234" fmla="*/ 4222144 h 6072782"/>
                <a:gd name="connsiteX235" fmla="*/ 3221618 w 12050057"/>
                <a:gd name="connsiteY235" fmla="*/ 4192028 h 6072782"/>
                <a:gd name="connsiteX236" fmla="*/ 3238653 w 12050057"/>
                <a:gd name="connsiteY236" fmla="*/ 4185944 h 6072782"/>
                <a:gd name="connsiteX237" fmla="*/ 3254853 w 12050057"/>
                <a:gd name="connsiteY237" fmla="*/ 4178795 h 6072782"/>
                <a:gd name="connsiteX238" fmla="*/ 3270976 w 12050057"/>
                <a:gd name="connsiteY238" fmla="*/ 4169973 h 6072782"/>
                <a:gd name="connsiteX239" fmla="*/ 3287783 w 12050057"/>
                <a:gd name="connsiteY239" fmla="*/ 4158870 h 6072782"/>
                <a:gd name="connsiteX240" fmla="*/ 1423455 w 12050057"/>
                <a:gd name="connsiteY240" fmla="*/ 4158870 h 6072782"/>
                <a:gd name="connsiteX241" fmla="*/ 1438362 w 12050057"/>
                <a:gd name="connsiteY241" fmla="*/ 4158870 h 6072782"/>
                <a:gd name="connsiteX242" fmla="*/ 1438362 w 12050057"/>
                <a:gd name="connsiteY242" fmla="*/ 4381850 h 6072782"/>
                <a:gd name="connsiteX243" fmla="*/ 1403074 w 12050057"/>
                <a:gd name="connsiteY243" fmla="*/ 4381850 h 6072782"/>
                <a:gd name="connsiteX244" fmla="*/ 1403074 w 12050057"/>
                <a:gd name="connsiteY244" fmla="*/ 4202066 h 6072782"/>
                <a:gd name="connsiteX245" fmla="*/ 1382465 w 12050057"/>
                <a:gd name="connsiteY245" fmla="*/ 4213702 h 6072782"/>
                <a:gd name="connsiteX246" fmla="*/ 1357292 w 12050057"/>
                <a:gd name="connsiteY246" fmla="*/ 4222144 h 6072782"/>
                <a:gd name="connsiteX247" fmla="*/ 1357292 w 12050057"/>
                <a:gd name="connsiteY247" fmla="*/ 4192028 h 6072782"/>
                <a:gd name="connsiteX248" fmla="*/ 1374327 w 12050057"/>
                <a:gd name="connsiteY248" fmla="*/ 4185944 h 6072782"/>
                <a:gd name="connsiteX249" fmla="*/ 1390525 w 12050057"/>
                <a:gd name="connsiteY249" fmla="*/ 4178795 h 6072782"/>
                <a:gd name="connsiteX250" fmla="*/ 1406649 w 12050057"/>
                <a:gd name="connsiteY250" fmla="*/ 4169973 h 6072782"/>
                <a:gd name="connsiteX251" fmla="*/ 1423455 w 12050057"/>
                <a:gd name="connsiteY251" fmla="*/ 4158870 h 6072782"/>
                <a:gd name="connsiteX252" fmla="*/ 66164 w 12050057"/>
                <a:gd name="connsiteY252" fmla="*/ 4158870 h 6072782"/>
                <a:gd name="connsiteX253" fmla="*/ 81070 w 12050057"/>
                <a:gd name="connsiteY253" fmla="*/ 4158870 h 6072782"/>
                <a:gd name="connsiteX254" fmla="*/ 81070 w 12050057"/>
                <a:gd name="connsiteY254" fmla="*/ 4381850 h 6072782"/>
                <a:gd name="connsiteX255" fmla="*/ 45782 w 12050057"/>
                <a:gd name="connsiteY255" fmla="*/ 4381850 h 6072782"/>
                <a:gd name="connsiteX256" fmla="*/ 45782 w 12050057"/>
                <a:gd name="connsiteY256" fmla="*/ 4202067 h 6072782"/>
                <a:gd name="connsiteX257" fmla="*/ 25173 w 12050057"/>
                <a:gd name="connsiteY257" fmla="*/ 4213703 h 6072782"/>
                <a:gd name="connsiteX258" fmla="*/ 0 w 12050057"/>
                <a:gd name="connsiteY258" fmla="*/ 4222144 h 6072782"/>
                <a:gd name="connsiteX259" fmla="*/ 0 w 12050057"/>
                <a:gd name="connsiteY259" fmla="*/ 4192028 h 6072782"/>
                <a:gd name="connsiteX260" fmla="*/ 17035 w 12050057"/>
                <a:gd name="connsiteY260" fmla="*/ 4185944 h 6072782"/>
                <a:gd name="connsiteX261" fmla="*/ 33234 w 12050057"/>
                <a:gd name="connsiteY261" fmla="*/ 4178795 h 6072782"/>
                <a:gd name="connsiteX262" fmla="*/ 49357 w 12050057"/>
                <a:gd name="connsiteY262" fmla="*/ 4169974 h 6072782"/>
                <a:gd name="connsiteX263" fmla="*/ 66164 w 12050057"/>
                <a:gd name="connsiteY263" fmla="*/ 4158870 h 6072782"/>
                <a:gd name="connsiteX264" fmla="*/ 10276410 w 12050057"/>
                <a:gd name="connsiteY264" fmla="*/ 3811399 h 6072782"/>
                <a:gd name="connsiteX265" fmla="*/ 10291316 w 12050057"/>
                <a:gd name="connsiteY265" fmla="*/ 3811399 h 6072782"/>
                <a:gd name="connsiteX266" fmla="*/ 10291316 w 12050057"/>
                <a:gd name="connsiteY266" fmla="*/ 4034379 h 6072782"/>
                <a:gd name="connsiteX267" fmla="*/ 10256028 w 12050057"/>
                <a:gd name="connsiteY267" fmla="*/ 4034379 h 6072782"/>
                <a:gd name="connsiteX268" fmla="*/ 10256028 w 12050057"/>
                <a:gd name="connsiteY268" fmla="*/ 3854595 h 6072782"/>
                <a:gd name="connsiteX269" fmla="*/ 10235419 w 12050057"/>
                <a:gd name="connsiteY269" fmla="*/ 3866231 h 6072782"/>
                <a:gd name="connsiteX270" fmla="*/ 10210246 w 12050057"/>
                <a:gd name="connsiteY270" fmla="*/ 3874673 h 6072782"/>
                <a:gd name="connsiteX271" fmla="*/ 10210246 w 12050057"/>
                <a:gd name="connsiteY271" fmla="*/ 3844557 h 6072782"/>
                <a:gd name="connsiteX272" fmla="*/ 10227281 w 12050057"/>
                <a:gd name="connsiteY272" fmla="*/ 3838473 h 6072782"/>
                <a:gd name="connsiteX273" fmla="*/ 10243480 w 12050057"/>
                <a:gd name="connsiteY273" fmla="*/ 3831324 h 6072782"/>
                <a:gd name="connsiteX274" fmla="*/ 10259603 w 12050057"/>
                <a:gd name="connsiteY274" fmla="*/ 3822502 h 6072782"/>
                <a:gd name="connsiteX275" fmla="*/ 10276410 w 12050057"/>
                <a:gd name="connsiteY275" fmla="*/ 3811399 h 6072782"/>
                <a:gd name="connsiteX276" fmla="*/ 9366501 w 12050057"/>
                <a:gd name="connsiteY276" fmla="*/ 3811399 h 6072782"/>
                <a:gd name="connsiteX277" fmla="*/ 9381407 w 12050057"/>
                <a:gd name="connsiteY277" fmla="*/ 3811399 h 6072782"/>
                <a:gd name="connsiteX278" fmla="*/ 9381407 w 12050057"/>
                <a:gd name="connsiteY278" fmla="*/ 4034379 h 6072782"/>
                <a:gd name="connsiteX279" fmla="*/ 9346119 w 12050057"/>
                <a:gd name="connsiteY279" fmla="*/ 4034379 h 6072782"/>
                <a:gd name="connsiteX280" fmla="*/ 9346119 w 12050057"/>
                <a:gd name="connsiteY280" fmla="*/ 3854595 h 6072782"/>
                <a:gd name="connsiteX281" fmla="*/ 9325510 w 12050057"/>
                <a:gd name="connsiteY281" fmla="*/ 3866231 h 6072782"/>
                <a:gd name="connsiteX282" fmla="*/ 9300337 w 12050057"/>
                <a:gd name="connsiteY282" fmla="*/ 3874673 h 6072782"/>
                <a:gd name="connsiteX283" fmla="*/ 9300337 w 12050057"/>
                <a:gd name="connsiteY283" fmla="*/ 3844557 h 6072782"/>
                <a:gd name="connsiteX284" fmla="*/ 9317372 w 12050057"/>
                <a:gd name="connsiteY284" fmla="*/ 3838473 h 6072782"/>
                <a:gd name="connsiteX285" fmla="*/ 9333571 w 12050057"/>
                <a:gd name="connsiteY285" fmla="*/ 3831324 h 6072782"/>
                <a:gd name="connsiteX286" fmla="*/ 9349694 w 12050057"/>
                <a:gd name="connsiteY286" fmla="*/ 3822502 h 6072782"/>
                <a:gd name="connsiteX287" fmla="*/ 9366501 w 12050057"/>
                <a:gd name="connsiteY287" fmla="*/ 3811399 h 6072782"/>
                <a:gd name="connsiteX288" fmla="*/ 7520355 w 12050057"/>
                <a:gd name="connsiteY288" fmla="*/ 3811399 h 6072782"/>
                <a:gd name="connsiteX289" fmla="*/ 7535261 w 12050057"/>
                <a:gd name="connsiteY289" fmla="*/ 3811399 h 6072782"/>
                <a:gd name="connsiteX290" fmla="*/ 7535261 w 12050057"/>
                <a:gd name="connsiteY290" fmla="*/ 4034379 h 6072782"/>
                <a:gd name="connsiteX291" fmla="*/ 7499973 w 12050057"/>
                <a:gd name="connsiteY291" fmla="*/ 4034379 h 6072782"/>
                <a:gd name="connsiteX292" fmla="*/ 7499973 w 12050057"/>
                <a:gd name="connsiteY292" fmla="*/ 3854595 h 6072782"/>
                <a:gd name="connsiteX293" fmla="*/ 7479364 w 12050057"/>
                <a:gd name="connsiteY293" fmla="*/ 3866231 h 6072782"/>
                <a:gd name="connsiteX294" fmla="*/ 7454191 w 12050057"/>
                <a:gd name="connsiteY294" fmla="*/ 3874673 h 6072782"/>
                <a:gd name="connsiteX295" fmla="*/ 7454191 w 12050057"/>
                <a:gd name="connsiteY295" fmla="*/ 3844557 h 6072782"/>
                <a:gd name="connsiteX296" fmla="*/ 7471226 w 12050057"/>
                <a:gd name="connsiteY296" fmla="*/ 3838473 h 6072782"/>
                <a:gd name="connsiteX297" fmla="*/ 7487425 w 12050057"/>
                <a:gd name="connsiteY297" fmla="*/ 3831324 h 6072782"/>
                <a:gd name="connsiteX298" fmla="*/ 7503548 w 12050057"/>
                <a:gd name="connsiteY298" fmla="*/ 3822502 h 6072782"/>
                <a:gd name="connsiteX299" fmla="*/ 7520355 w 12050057"/>
                <a:gd name="connsiteY299" fmla="*/ 3811399 h 6072782"/>
                <a:gd name="connsiteX300" fmla="*/ 4159688 w 12050057"/>
                <a:gd name="connsiteY300" fmla="*/ 3811399 h 6072782"/>
                <a:gd name="connsiteX301" fmla="*/ 4174594 w 12050057"/>
                <a:gd name="connsiteY301" fmla="*/ 3811399 h 6072782"/>
                <a:gd name="connsiteX302" fmla="*/ 4174594 w 12050057"/>
                <a:gd name="connsiteY302" fmla="*/ 4034379 h 6072782"/>
                <a:gd name="connsiteX303" fmla="*/ 4139306 w 12050057"/>
                <a:gd name="connsiteY303" fmla="*/ 4034379 h 6072782"/>
                <a:gd name="connsiteX304" fmla="*/ 4139306 w 12050057"/>
                <a:gd name="connsiteY304" fmla="*/ 3854595 h 6072782"/>
                <a:gd name="connsiteX305" fmla="*/ 4118697 w 12050057"/>
                <a:gd name="connsiteY305" fmla="*/ 3866231 h 6072782"/>
                <a:gd name="connsiteX306" fmla="*/ 4093525 w 12050057"/>
                <a:gd name="connsiteY306" fmla="*/ 3874673 h 6072782"/>
                <a:gd name="connsiteX307" fmla="*/ 4093525 w 12050057"/>
                <a:gd name="connsiteY307" fmla="*/ 3844557 h 6072782"/>
                <a:gd name="connsiteX308" fmla="*/ 4110559 w 12050057"/>
                <a:gd name="connsiteY308" fmla="*/ 3838473 h 6072782"/>
                <a:gd name="connsiteX309" fmla="*/ 4126758 w 12050057"/>
                <a:gd name="connsiteY309" fmla="*/ 3831324 h 6072782"/>
                <a:gd name="connsiteX310" fmla="*/ 4142881 w 12050057"/>
                <a:gd name="connsiteY310" fmla="*/ 3822502 h 6072782"/>
                <a:gd name="connsiteX311" fmla="*/ 4159688 w 12050057"/>
                <a:gd name="connsiteY311" fmla="*/ 3811399 h 6072782"/>
                <a:gd name="connsiteX312" fmla="*/ 3287783 w 12050057"/>
                <a:gd name="connsiteY312" fmla="*/ 3811399 h 6072782"/>
                <a:gd name="connsiteX313" fmla="*/ 3302689 w 12050057"/>
                <a:gd name="connsiteY313" fmla="*/ 3811399 h 6072782"/>
                <a:gd name="connsiteX314" fmla="*/ 3302689 w 12050057"/>
                <a:gd name="connsiteY314" fmla="*/ 4034379 h 6072782"/>
                <a:gd name="connsiteX315" fmla="*/ 3267400 w 12050057"/>
                <a:gd name="connsiteY315" fmla="*/ 4034379 h 6072782"/>
                <a:gd name="connsiteX316" fmla="*/ 3267400 w 12050057"/>
                <a:gd name="connsiteY316" fmla="*/ 3854595 h 6072782"/>
                <a:gd name="connsiteX317" fmla="*/ 3246791 w 12050057"/>
                <a:gd name="connsiteY317" fmla="*/ 3866231 h 6072782"/>
                <a:gd name="connsiteX318" fmla="*/ 3221618 w 12050057"/>
                <a:gd name="connsiteY318" fmla="*/ 3874673 h 6072782"/>
                <a:gd name="connsiteX319" fmla="*/ 3221618 w 12050057"/>
                <a:gd name="connsiteY319" fmla="*/ 3844557 h 6072782"/>
                <a:gd name="connsiteX320" fmla="*/ 3238653 w 12050057"/>
                <a:gd name="connsiteY320" fmla="*/ 3838473 h 6072782"/>
                <a:gd name="connsiteX321" fmla="*/ 3254853 w 12050057"/>
                <a:gd name="connsiteY321" fmla="*/ 3831324 h 6072782"/>
                <a:gd name="connsiteX322" fmla="*/ 3270976 w 12050057"/>
                <a:gd name="connsiteY322" fmla="*/ 3822502 h 6072782"/>
                <a:gd name="connsiteX323" fmla="*/ 3287783 w 12050057"/>
                <a:gd name="connsiteY323" fmla="*/ 3811399 h 6072782"/>
                <a:gd name="connsiteX324" fmla="*/ 1423455 w 12050057"/>
                <a:gd name="connsiteY324" fmla="*/ 3811399 h 6072782"/>
                <a:gd name="connsiteX325" fmla="*/ 1438362 w 12050057"/>
                <a:gd name="connsiteY325" fmla="*/ 3811399 h 6072782"/>
                <a:gd name="connsiteX326" fmla="*/ 1438362 w 12050057"/>
                <a:gd name="connsiteY326" fmla="*/ 4034379 h 6072782"/>
                <a:gd name="connsiteX327" fmla="*/ 1403074 w 12050057"/>
                <a:gd name="connsiteY327" fmla="*/ 4034379 h 6072782"/>
                <a:gd name="connsiteX328" fmla="*/ 1403074 w 12050057"/>
                <a:gd name="connsiteY328" fmla="*/ 3854595 h 6072782"/>
                <a:gd name="connsiteX329" fmla="*/ 1382465 w 12050057"/>
                <a:gd name="connsiteY329" fmla="*/ 3866231 h 6072782"/>
                <a:gd name="connsiteX330" fmla="*/ 1357292 w 12050057"/>
                <a:gd name="connsiteY330" fmla="*/ 3874673 h 6072782"/>
                <a:gd name="connsiteX331" fmla="*/ 1357292 w 12050057"/>
                <a:gd name="connsiteY331" fmla="*/ 3844557 h 6072782"/>
                <a:gd name="connsiteX332" fmla="*/ 1374327 w 12050057"/>
                <a:gd name="connsiteY332" fmla="*/ 3838473 h 6072782"/>
                <a:gd name="connsiteX333" fmla="*/ 1390525 w 12050057"/>
                <a:gd name="connsiteY333" fmla="*/ 3831324 h 6072782"/>
                <a:gd name="connsiteX334" fmla="*/ 1406649 w 12050057"/>
                <a:gd name="connsiteY334" fmla="*/ 3822502 h 6072782"/>
                <a:gd name="connsiteX335" fmla="*/ 1423455 w 12050057"/>
                <a:gd name="connsiteY335" fmla="*/ 3811399 h 6072782"/>
                <a:gd name="connsiteX336" fmla="*/ 66164 w 12050057"/>
                <a:gd name="connsiteY336" fmla="*/ 3811399 h 6072782"/>
                <a:gd name="connsiteX337" fmla="*/ 81070 w 12050057"/>
                <a:gd name="connsiteY337" fmla="*/ 3811399 h 6072782"/>
                <a:gd name="connsiteX338" fmla="*/ 81070 w 12050057"/>
                <a:gd name="connsiteY338" fmla="*/ 4034379 h 6072782"/>
                <a:gd name="connsiteX339" fmla="*/ 45782 w 12050057"/>
                <a:gd name="connsiteY339" fmla="*/ 4034379 h 6072782"/>
                <a:gd name="connsiteX340" fmla="*/ 45782 w 12050057"/>
                <a:gd name="connsiteY340" fmla="*/ 3854596 h 6072782"/>
                <a:gd name="connsiteX341" fmla="*/ 25173 w 12050057"/>
                <a:gd name="connsiteY341" fmla="*/ 3866231 h 6072782"/>
                <a:gd name="connsiteX342" fmla="*/ 0 w 12050057"/>
                <a:gd name="connsiteY342" fmla="*/ 3874673 h 6072782"/>
                <a:gd name="connsiteX343" fmla="*/ 0 w 12050057"/>
                <a:gd name="connsiteY343" fmla="*/ 3844557 h 6072782"/>
                <a:gd name="connsiteX344" fmla="*/ 17035 w 12050057"/>
                <a:gd name="connsiteY344" fmla="*/ 3838473 h 6072782"/>
                <a:gd name="connsiteX345" fmla="*/ 33234 w 12050057"/>
                <a:gd name="connsiteY345" fmla="*/ 3831324 h 6072782"/>
                <a:gd name="connsiteX346" fmla="*/ 49357 w 12050057"/>
                <a:gd name="connsiteY346" fmla="*/ 3822503 h 6072782"/>
                <a:gd name="connsiteX347" fmla="*/ 66164 w 12050057"/>
                <a:gd name="connsiteY347" fmla="*/ 3811399 h 6072782"/>
                <a:gd name="connsiteX348" fmla="*/ 10276410 w 12050057"/>
                <a:gd name="connsiteY348" fmla="*/ 3487025 h 6072782"/>
                <a:gd name="connsiteX349" fmla="*/ 10291316 w 12050057"/>
                <a:gd name="connsiteY349" fmla="*/ 3487025 h 6072782"/>
                <a:gd name="connsiteX350" fmla="*/ 10291316 w 12050057"/>
                <a:gd name="connsiteY350" fmla="*/ 3710005 h 6072782"/>
                <a:gd name="connsiteX351" fmla="*/ 10256028 w 12050057"/>
                <a:gd name="connsiteY351" fmla="*/ 3710005 h 6072782"/>
                <a:gd name="connsiteX352" fmla="*/ 10256028 w 12050057"/>
                <a:gd name="connsiteY352" fmla="*/ 3530221 h 6072782"/>
                <a:gd name="connsiteX353" fmla="*/ 10235419 w 12050057"/>
                <a:gd name="connsiteY353" fmla="*/ 3541857 h 6072782"/>
                <a:gd name="connsiteX354" fmla="*/ 10210246 w 12050057"/>
                <a:gd name="connsiteY354" fmla="*/ 3550299 h 6072782"/>
                <a:gd name="connsiteX355" fmla="*/ 10210246 w 12050057"/>
                <a:gd name="connsiteY355" fmla="*/ 3520183 h 6072782"/>
                <a:gd name="connsiteX356" fmla="*/ 10227281 w 12050057"/>
                <a:gd name="connsiteY356" fmla="*/ 3514099 h 6072782"/>
                <a:gd name="connsiteX357" fmla="*/ 10243480 w 12050057"/>
                <a:gd name="connsiteY357" fmla="*/ 3506950 h 6072782"/>
                <a:gd name="connsiteX358" fmla="*/ 10259603 w 12050057"/>
                <a:gd name="connsiteY358" fmla="*/ 3498128 h 6072782"/>
                <a:gd name="connsiteX359" fmla="*/ 10276410 w 12050057"/>
                <a:gd name="connsiteY359" fmla="*/ 3487025 h 6072782"/>
                <a:gd name="connsiteX360" fmla="*/ 9366501 w 12050057"/>
                <a:gd name="connsiteY360" fmla="*/ 3487025 h 6072782"/>
                <a:gd name="connsiteX361" fmla="*/ 9381407 w 12050057"/>
                <a:gd name="connsiteY361" fmla="*/ 3487025 h 6072782"/>
                <a:gd name="connsiteX362" fmla="*/ 9381407 w 12050057"/>
                <a:gd name="connsiteY362" fmla="*/ 3710005 h 6072782"/>
                <a:gd name="connsiteX363" fmla="*/ 9346119 w 12050057"/>
                <a:gd name="connsiteY363" fmla="*/ 3710005 h 6072782"/>
                <a:gd name="connsiteX364" fmla="*/ 9346119 w 12050057"/>
                <a:gd name="connsiteY364" fmla="*/ 3530221 h 6072782"/>
                <a:gd name="connsiteX365" fmla="*/ 9325510 w 12050057"/>
                <a:gd name="connsiteY365" fmla="*/ 3541857 h 6072782"/>
                <a:gd name="connsiteX366" fmla="*/ 9300337 w 12050057"/>
                <a:gd name="connsiteY366" fmla="*/ 3550299 h 6072782"/>
                <a:gd name="connsiteX367" fmla="*/ 9300337 w 12050057"/>
                <a:gd name="connsiteY367" fmla="*/ 3520183 h 6072782"/>
                <a:gd name="connsiteX368" fmla="*/ 9317372 w 12050057"/>
                <a:gd name="connsiteY368" fmla="*/ 3514099 h 6072782"/>
                <a:gd name="connsiteX369" fmla="*/ 9333571 w 12050057"/>
                <a:gd name="connsiteY369" fmla="*/ 3506950 h 6072782"/>
                <a:gd name="connsiteX370" fmla="*/ 9349694 w 12050057"/>
                <a:gd name="connsiteY370" fmla="*/ 3498128 h 6072782"/>
                <a:gd name="connsiteX371" fmla="*/ 9366501 w 12050057"/>
                <a:gd name="connsiteY371" fmla="*/ 3487025 h 6072782"/>
                <a:gd name="connsiteX372" fmla="*/ 7520355 w 12050057"/>
                <a:gd name="connsiteY372" fmla="*/ 3487025 h 6072782"/>
                <a:gd name="connsiteX373" fmla="*/ 7535261 w 12050057"/>
                <a:gd name="connsiteY373" fmla="*/ 3487025 h 6072782"/>
                <a:gd name="connsiteX374" fmla="*/ 7535261 w 12050057"/>
                <a:gd name="connsiteY374" fmla="*/ 3710005 h 6072782"/>
                <a:gd name="connsiteX375" fmla="*/ 7499973 w 12050057"/>
                <a:gd name="connsiteY375" fmla="*/ 3710005 h 6072782"/>
                <a:gd name="connsiteX376" fmla="*/ 7499973 w 12050057"/>
                <a:gd name="connsiteY376" fmla="*/ 3530221 h 6072782"/>
                <a:gd name="connsiteX377" fmla="*/ 7479364 w 12050057"/>
                <a:gd name="connsiteY377" fmla="*/ 3541857 h 6072782"/>
                <a:gd name="connsiteX378" fmla="*/ 7454191 w 12050057"/>
                <a:gd name="connsiteY378" fmla="*/ 3550299 h 6072782"/>
                <a:gd name="connsiteX379" fmla="*/ 7454191 w 12050057"/>
                <a:gd name="connsiteY379" fmla="*/ 3520183 h 6072782"/>
                <a:gd name="connsiteX380" fmla="*/ 7471226 w 12050057"/>
                <a:gd name="connsiteY380" fmla="*/ 3514099 h 6072782"/>
                <a:gd name="connsiteX381" fmla="*/ 7487425 w 12050057"/>
                <a:gd name="connsiteY381" fmla="*/ 3506950 h 6072782"/>
                <a:gd name="connsiteX382" fmla="*/ 7503548 w 12050057"/>
                <a:gd name="connsiteY382" fmla="*/ 3498128 h 6072782"/>
                <a:gd name="connsiteX383" fmla="*/ 7520355 w 12050057"/>
                <a:gd name="connsiteY383" fmla="*/ 3487025 h 6072782"/>
                <a:gd name="connsiteX384" fmla="*/ 4159688 w 12050057"/>
                <a:gd name="connsiteY384" fmla="*/ 3487025 h 6072782"/>
                <a:gd name="connsiteX385" fmla="*/ 4174594 w 12050057"/>
                <a:gd name="connsiteY385" fmla="*/ 3487025 h 6072782"/>
                <a:gd name="connsiteX386" fmla="*/ 4174594 w 12050057"/>
                <a:gd name="connsiteY386" fmla="*/ 3710005 h 6072782"/>
                <a:gd name="connsiteX387" fmla="*/ 4139306 w 12050057"/>
                <a:gd name="connsiteY387" fmla="*/ 3710005 h 6072782"/>
                <a:gd name="connsiteX388" fmla="*/ 4139306 w 12050057"/>
                <a:gd name="connsiteY388" fmla="*/ 3530221 h 6072782"/>
                <a:gd name="connsiteX389" fmla="*/ 4118697 w 12050057"/>
                <a:gd name="connsiteY389" fmla="*/ 3541857 h 6072782"/>
                <a:gd name="connsiteX390" fmla="*/ 4093525 w 12050057"/>
                <a:gd name="connsiteY390" fmla="*/ 3550299 h 6072782"/>
                <a:gd name="connsiteX391" fmla="*/ 4093525 w 12050057"/>
                <a:gd name="connsiteY391" fmla="*/ 3520183 h 6072782"/>
                <a:gd name="connsiteX392" fmla="*/ 4110559 w 12050057"/>
                <a:gd name="connsiteY392" fmla="*/ 3514099 h 6072782"/>
                <a:gd name="connsiteX393" fmla="*/ 4126758 w 12050057"/>
                <a:gd name="connsiteY393" fmla="*/ 3506950 h 6072782"/>
                <a:gd name="connsiteX394" fmla="*/ 4142881 w 12050057"/>
                <a:gd name="connsiteY394" fmla="*/ 3498128 h 6072782"/>
                <a:gd name="connsiteX395" fmla="*/ 4159688 w 12050057"/>
                <a:gd name="connsiteY395" fmla="*/ 3487025 h 6072782"/>
                <a:gd name="connsiteX396" fmla="*/ 3287783 w 12050057"/>
                <a:gd name="connsiteY396" fmla="*/ 3487025 h 6072782"/>
                <a:gd name="connsiteX397" fmla="*/ 3302689 w 12050057"/>
                <a:gd name="connsiteY397" fmla="*/ 3487025 h 6072782"/>
                <a:gd name="connsiteX398" fmla="*/ 3302689 w 12050057"/>
                <a:gd name="connsiteY398" fmla="*/ 3710005 h 6072782"/>
                <a:gd name="connsiteX399" fmla="*/ 3267400 w 12050057"/>
                <a:gd name="connsiteY399" fmla="*/ 3710005 h 6072782"/>
                <a:gd name="connsiteX400" fmla="*/ 3267400 w 12050057"/>
                <a:gd name="connsiteY400" fmla="*/ 3530221 h 6072782"/>
                <a:gd name="connsiteX401" fmla="*/ 3246791 w 12050057"/>
                <a:gd name="connsiteY401" fmla="*/ 3541857 h 6072782"/>
                <a:gd name="connsiteX402" fmla="*/ 3221618 w 12050057"/>
                <a:gd name="connsiteY402" fmla="*/ 3550299 h 6072782"/>
                <a:gd name="connsiteX403" fmla="*/ 3221618 w 12050057"/>
                <a:gd name="connsiteY403" fmla="*/ 3520183 h 6072782"/>
                <a:gd name="connsiteX404" fmla="*/ 3238653 w 12050057"/>
                <a:gd name="connsiteY404" fmla="*/ 3514099 h 6072782"/>
                <a:gd name="connsiteX405" fmla="*/ 3254853 w 12050057"/>
                <a:gd name="connsiteY405" fmla="*/ 3506950 h 6072782"/>
                <a:gd name="connsiteX406" fmla="*/ 3270976 w 12050057"/>
                <a:gd name="connsiteY406" fmla="*/ 3498128 h 6072782"/>
                <a:gd name="connsiteX407" fmla="*/ 3287783 w 12050057"/>
                <a:gd name="connsiteY407" fmla="*/ 3487025 h 6072782"/>
                <a:gd name="connsiteX408" fmla="*/ 1423455 w 12050057"/>
                <a:gd name="connsiteY408" fmla="*/ 3487025 h 6072782"/>
                <a:gd name="connsiteX409" fmla="*/ 1438362 w 12050057"/>
                <a:gd name="connsiteY409" fmla="*/ 3487025 h 6072782"/>
                <a:gd name="connsiteX410" fmla="*/ 1438362 w 12050057"/>
                <a:gd name="connsiteY410" fmla="*/ 3710005 h 6072782"/>
                <a:gd name="connsiteX411" fmla="*/ 1403074 w 12050057"/>
                <a:gd name="connsiteY411" fmla="*/ 3710005 h 6072782"/>
                <a:gd name="connsiteX412" fmla="*/ 1403074 w 12050057"/>
                <a:gd name="connsiteY412" fmla="*/ 3530221 h 6072782"/>
                <a:gd name="connsiteX413" fmla="*/ 1382465 w 12050057"/>
                <a:gd name="connsiteY413" fmla="*/ 3541857 h 6072782"/>
                <a:gd name="connsiteX414" fmla="*/ 1357292 w 12050057"/>
                <a:gd name="connsiteY414" fmla="*/ 3550299 h 6072782"/>
                <a:gd name="connsiteX415" fmla="*/ 1357292 w 12050057"/>
                <a:gd name="connsiteY415" fmla="*/ 3520183 h 6072782"/>
                <a:gd name="connsiteX416" fmla="*/ 1374327 w 12050057"/>
                <a:gd name="connsiteY416" fmla="*/ 3514099 h 6072782"/>
                <a:gd name="connsiteX417" fmla="*/ 1390525 w 12050057"/>
                <a:gd name="connsiteY417" fmla="*/ 3506950 h 6072782"/>
                <a:gd name="connsiteX418" fmla="*/ 1406649 w 12050057"/>
                <a:gd name="connsiteY418" fmla="*/ 3498128 h 6072782"/>
                <a:gd name="connsiteX419" fmla="*/ 1423455 w 12050057"/>
                <a:gd name="connsiteY419" fmla="*/ 3487025 h 6072782"/>
                <a:gd name="connsiteX420" fmla="*/ 66164 w 12050057"/>
                <a:gd name="connsiteY420" fmla="*/ 3487025 h 6072782"/>
                <a:gd name="connsiteX421" fmla="*/ 81070 w 12050057"/>
                <a:gd name="connsiteY421" fmla="*/ 3487025 h 6072782"/>
                <a:gd name="connsiteX422" fmla="*/ 81070 w 12050057"/>
                <a:gd name="connsiteY422" fmla="*/ 3710005 h 6072782"/>
                <a:gd name="connsiteX423" fmla="*/ 45783 w 12050057"/>
                <a:gd name="connsiteY423" fmla="*/ 3710005 h 6072782"/>
                <a:gd name="connsiteX424" fmla="*/ 45783 w 12050057"/>
                <a:gd name="connsiteY424" fmla="*/ 3530222 h 6072782"/>
                <a:gd name="connsiteX425" fmla="*/ 25173 w 12050057"/>
                <a:gd name="connsiteY425" fmla="*/ 3541857 h 6072782"/>
                <a:gd name="connsiteX426" fmla="*/ 0 w 12050057"/>
                <a:gd name="connsiteY426" fmla="*/ 3550299 h 6072782"/>
                <a:gd name="connsiteX427" fmla="*/ 0 w 12050057"/>
                <a:gd name="connsiteY427" fmla="*/ 3520183 h 6072782"/>
                <a:gd name="connsiteX428" fmla="*/ 17035 w 12050057"/>
                <a:gd name="connsiteY428" fmla="*/ 3514099 h 6072782"/>
                <a:gd name="connsiteX429" fmla="*/ 33235 w 12050057"/>
                <a:gd name="connsiteY429" fmla="*/ 3506950 h 6072782"/>
                <a:gd name="connsiteX430" fmla="*/ 49357 w 12050057"/>
                <a:gd name="connsiteY430" fmla="*/ 3498129 h 6072782"/>
                <a:gd name="connsiteX431" fmla="*/ 66164 w 12050057"/>
                <a:gd name="connsiteY431" fmla="*/ 3487025 h 6072782"/>
                <a:gd name="connsiteX432" fmla="*/ 10253447 w 12050057"/>
                <a:gd name="connsiteY432" fmla="*/ 3110161 h 6072782"/>
                <a:gd name="connsiteX433" fmla="*/ 10268353 w 12050057"/>
                <a:gd name="connsiteY433" fmla="*/ 3110161 h 6072782"/>
                <a:gd name="connsiteX434" fmla="*/ 10268353 w 12050057"/>
                <a:gd name="connsiteY434" fmla="*/ 3333141 h 6072782"/>
                <a:gd name="connsiteX435" fmla="*/ 10233065 w 12050057"/>
                <a:gd name="connsiteY435" fmla="*/ 3333141 h 6072782"/>
                <a:gd name="connsiteX436" fmla="*/ 10233065 w 12050057"/>
                <a:gd name="connsiteY436" fmla="*/ 3153358 h 6072782"/>
                <a:gd name="connsiteX437" fmla="*/ 10212456 w 12050057"/>
                <a:gd name="connsiteY437" fmla="*/ 3164993 h 6072782"/>
                <a:gd name="connsiteX438" fmla="*/ 10187283 w 12050057"/>
                <a:gd name="connsiteY438" fmla="*/ 3173435 h 6072782"/>
                <a:gd name="connsiteX439" fmla="*/ 10187283 w 12050057"/>
                <a:gd name="connsiteY439" fmla="*/ 3143319 h 6072782"/>
                <a:gd name="connsiteX440" fmla="*/ 10204318 w 12050057"/>
                <a:gd name="connsiteY440" fmla="*/ 3137235 h 6072782"/>
                <a:gd name="connsiteX441" fmla="*/ 10220517 w 12050057"/>
                <a:gd name="connsiteY441" fmla="*/ 3130086 h 6072782"/>
                <a:gd name="connsiteX442" fmla="*/ 10236640 w 12050057"/>
                <a:gd name="connsiteY442" fmla="*/ 3121265 h 6072782"/>
                <a:gd name="connsiteX443" fmla="*/ 10253447 w 12050057"/>
                <a:gd name="connsiteY443" fmla="*/ 3110161 h 6072782"/>
                <a:gd name="connsiteX444" fmla="*/ 9361419 w 12050057"/>
                <a:gd name="connsiteY444" fmla="*/ 3110161 h 6072782"/>
                <a:gd name="connsiteX445" fmla="*/ 9376325 w 12050057"/>
                <a:gd name="connsiteY445" fmla="*/ 3110161 h 6072782"/>
                <a:gd name="connsiteX446" fmla="*/ 9376325 w 12050057"/>
                <a:gd name="connsiteY446" fmla="*/ 3333141 h 6072782"/>
                <a:gd name="connsiteX447" fmla="*/ 9341037 w 12050057"/>
                <a:gd name="connsiteY447" fmla="*/ 3333141 h 6072782"/>
                <a:gd name="connsiteX448" fmla="*/ 9341037 w 12050057"/>
                <a:gd name="connsiteY448" fmla="*/ 3153358 h 6072782"/>
                <a:gd name="connsiteX449" fmla="*/ 9320428 w 12050057"/>
                <a:gd name="connsiteY449" fmla="*/ 3164993 h 6072782"/>
                <a:gd name="connsiteX450" fmla="*/ 9295255 w 12050057"/>
                <a:gd name="connsiteY450" fmla="*/ 3173435 h 6072782"/>
                <a:gd name="connsiteX451" fmla="*/ 9295255 w 12050057"/>
                <a:gd name="connsiteY451" fmla="*/ 3143319 h 6072782"/>
                <a:gd name="connsiteX452" fmla="*/ 9312290 w 12050057"/>
                <a:gd name="connsiteY452" fmla="*/ 3137235 h 6072782"/>
                <a:gd name="connsiteX453" fmla="*/ 9328489 w 12050057"/>
                <a:gd name="connsiteY453" fmla="*/ 3130086 h 6072782"/>
                <a:gd name="connsiteX454" fmla="*/ 9344612 w 12050057"/>
                <a:gd name="connsiteY454" fmla="*/ 3121265 h 6072782"/>
                <a:gd name="connsiteX455" fmla="*/ 9361419 w 12050057"/>
                <a:gd name="connsiteY455" fmla="*/ 3110161 h 6072782"/>
                <a:gd name="connsiteX456" fmla="*/ 7495249 w 12050057"/>
                <a:gd name="connsiteY456" fmla="*/ 3110161 h 6072782"/>
                <a:gd name="connsiteX457" fmla="*/ 7510155 w 12050057"/>
                <a:gd name="connsiteY457" fmla="*/ 3110161 h 6072782"/>
                <a:gd name="connsiteX458" fmla="*/ 7510155 w 12050057"/>
                <a:gd name="connsiteY458" fmla="*/ 3333141 h 6072782"/>
                <a:gd name="connsiteX459" fmla="*/ 7474867 w 12050057"/>
                <a:gd name="connsiteY459" fmla="*/ 3333141 h 6072782"/>
                <a:gd name="connsiteX460" fmla="*/ 7474867 w 12050057"/>
                <a:gd name="connsiteY460" fmla="*/ 3153358 h 6072782"/>
                <a:gd name="connsiteX461" fmla="*/ 7454258 w 12050057"/>
                <a:gd name="connsiteY461" fmla="*/ 3164993 h 6072782"/>
                <a:gd name="connsiteX462" fmla="*/ 7429085 w 12050057"/>
                <a:gd name="connsiteY462" fmla="*/ 3173435 h 6072782"/>
                <a:gd name="connsiteX463" fmla="*/ 7429085 w 12050057"/>
                <a:gd name="connsiteY463" fmla="*/ 3143319 h 6072782"/>
                <a:gd name="connsiteX464" fmla="*/ 7446120 w 12050057"/>
                <a:gd name="connsiteY464" fmla="*/ 3137235 h 6072782"/>
                <a:gd name="connsiteX465" fmla="*/ 7462319 w 12050057"/>
                <a:gd name="connsiteY465" fmla="*/ 3130086 h 6072782"/>
                <a:gd name="connsiteX466" fmla="*/ 7478442 w 12050057"/>
                <a:gd name="connsiteY466" fmla="*/ 3121265 h 6072782"/>
                <a:gd name="connsiteX467" fmla="*/ 7495249 w 12050057"/>
                <a:gd name="connsiteY467" fmla="*/ 3110161 h 6072782"/>
                <a:gd name="connsiteX468" fmla="*/ 4199831 w 12050057"/>
                <a:gd name="connsiteY468" fmla="*/ 3110161 h 6072782"/>
                <a:gd name="connsiteX469" fmla="*/ 4214738 w 12050057"/>
                <a:gd name="connsiteY469" fmla="*/ 3110161 h 6072782"/>
                <a:gd name="connsiteX470" fmla="*/ 4214738 w 12050057"/>
                <a:gd name="connsiteY470" fmla="*/ 3333141 h 6072782"/>
                <a:gd name="connsiteX471" fmla="*/ 4179450 w 12050057"/>
                <a:gd name="connsiteY471" fmla="*/ 3333141 h 6072782"/>
                <a:gd name="connsiteX472" fmla="*/ 4179450 w 12050057"/>
                <a:gd name="connsiteY472" fmla="*/ 3153358 h 6072782"/>
                <a:gd name="connsiteX473" fmla="*/ 4158840 w 12050057"/>
                <a:gd name="connsiteY473" fmla="*/ 3164993 h 6072782"/>
                <a:gd name="connsiteX474" fmla="*/ 4133668 w 12050057"/>
                <a:gd name="connsiteY474" fmla="*/ 3173435 h 6072782"/>
                <a:gd name="connsiteX475" fmla="*/ 4133668 w 12050057"/>
                <a:gd name="connsiteY475" fmla="*/ 3143319 h 6072782"/>
                <a:gd name="connsiteX476" fmla="*/ 4150703 w 12050057"/>
                <a:gd name="connsiteY476" fmla="*/ 3137235 h 6072782"/>
                <a:gd name="connsiteX477" fmla="*/ 4166902 w 12050057"/>
                <a:gd name="connsiteY477" fmla="*/ 3130086 h 6072782"/>
                <a:gd name="connsiteX478" fmla="*/ 4183024 w 12050057"/>
                <a:gd name="connsiteY478" fmla="*/ 3121265 h 6072782"/>
                <a:gd name="connsiteX479" fmla="*/ 4199831 w 12050057"/>
                <a:gd name="connsiteY479" fmla="*/ 3110161 h 6072782"/>
                <a:gd name="connsiteX480" fmla="*/ 3304505 w 12050057"/>
                <a:gd name="connsiteY480" fmla="*/ 3110161 h 6072782"/>
                <a:gd name="connsiteX481" fmla="*/ 3319411 w 12050057"/>
                <a:gd name="connsiteY481" fmla="*/ 3110161 h 6072782"/>
                <a:gd name="connsiteX482" fmla="*/ 3319411 w 12050057"/>
                <a:gd name="connsiteY482" fmla="*/ 3333141 h 6072782"/>
                <a:gd name="connsiteX483" fmla="*/ 3284123 w 12050057"/>
                <a:gd name="connsiteY483" fmla="*/ 3333141 h 6072782"/>
                <a:gd name="connsiteX484" fmla="*/ 3284123 w 12050057"/>
                <a:gd name="connsiteY484" fmla="*/ 3153358 h 6072782"/>
                <a:gd name="connsiteX485" fmla="*/ 3263514 w 12050057"/>
                <a:gd name="connsiteY485" fmla="*/ 3164993 h 6072782"/>
                <a:gd name="connsiteX486" fmla="*/ 3238342 w 12050057"/>
                <a:gd name="connsiteY486" fmla="*/ 3173435 h 6072782"/>
                <a:gd name="connsiteX487" fmla="*/ 3238342 w 12050057"/>
                <a:gd name="connsiteY487" fmla="*/ 3143319 h 6072782"/>
                <a:gd name="connsiteX488" fmla="*/ 3255376 w 12050057"/>
                <a:gd name="connsiteY488" fmla="*/ 3137235 h 6072782"/>
                <a:gd name="connsiteX489" fmla="*/ 3271575 w 12050057"/>
                <a:gd name="connsiteY489" fmla="*/ 3130086 h 6072782"/>
                <a:gd name="connsiteX490" fmla="*/ 3287699 w 12050057"/>
                <a:gd name="connsiteY490" fmla="*/ 3121265 h 6072782"/>
                <a:gd name="connsiteX491" fmla="*/ 3304505 w 12050057"/>
                <a:gd name="connsiteY491" fmla="*/ 3110161 h 6072782"/>
                <a:gd name="connsiteX492" fmla="*/ 1423456 w 12050057"/>
                <a:gd name="connsiteY492" fmla="*/ 3110161 h 6072782"/>
                <a:gd name="connsiteX493" fmla="*/ 1438361 w 12050057"/>
                <a:gd name="connsiteY493" fmla="*/ 3110161 h 6072782"/>
                <a:gd name="connsiteX494" fmla="*/ 1438361 w 12050057"/>
                <a:gd name="connsiteY494" fmla="*/ 3333141 h 6072782"/>
                <a:gd name="connsiteX495" fmla="*/ 1403074 w 12050057"/>
                <a:gd name="connsiteY495" fmla="*/ 3333141 h 6072782"/>
                <a:gd name="connsiteX496" fmla="*/ 1403074 w 12050057"/>
                <a:gd name="connsiteY496" fmla="*/ 3153358 h 6072782"/>
                <a:gd name="connsiteX497" fmla="*/ 1382464 w 12050057"/>
                <a:gd name="connsiteY497" fmla="*/ 3164993 h 6072782"/>
                <a:gd name="connsiteX498" fmla="*/ 1357291 w 12050057"/>
                <a:gd name="connsiteY498" fmla="*/ 3173435 h 6072782"/>
                <a:gd name="connsiteX499" fmla="*/ 1357291 w 12050057"/>
                <a:gd name="connsiteY499" fmla="*/ 3143319 h 6072782"/>
                <a:gd name="connsiteX500" fmla="*/ 1374326 w 12050057"/>
                <a:gd name="connsiteY500" fmla="*/ 3137235 h 6072782"/>
                <a:gd name="connsiteX501" fmla="*/ 1390526 w 12050057"/>
                <a:gd name="connsiteY501" fmla="*/ 3130086 h 6072782"/>
                <a:gd name="connsiteX502" fmla="*/ 1406648 w 12050057"/>
                <a:gd name="connsiteY502" fmla="*/ 3121265 h 6072782"/>
                <a:gd name="connsiteX503" fmla="*/ 1423456 w 12050057"/>
                <a:gd name="connsiteY503" fmla="*/ 3110161 h 6072782"/>
                <a:gd name="connsiteX504" fmla="*/ 12035151 w 12050057"/>
                <a:gd name="connsiteY504" fmla="*/ 2809130 h 6072782"/>
                <a:gd name="connsiteX505" fmla="*/ 12050057 w 12050057"/>
                <a:gd name="connsiteY505" fmla="*/ 2809130 h 6072782"/>
                <a:gd name="connsiteX506" fmla="*/ 12050057 w 12050057"/>
                <a:gd name="connsiteY506" fmla="*/ 3032110 h 6072782"/>
                <a:gd name="connsiteX507" fmla="*/ 12014769 w 12050057"/>
                <a:gd name="connsiteY507" fmla="*/ 3032110 h 6072782"/>
                <a:gd name="connsiteX508" fmla="*/ 12014769 w 12050057"/>
                <a:gd name="connsiteY508" fmla="*/ 2852327 h 6072782"/>
                <a:gd name="connsiteX509" fmla="*/ 11994160 w 12050057"/>
                <a:gd name="connsiteY509" fmla="*/ 2863962 h 6072782"/>
                <a:gd name="connsiteX510" fmla="*/ 11968987 w 12050057"/>
                <a:gd name="connsiteY510" fmla="*/ 2872404 h 6072782"/>
                <a:gd name="connsiteX511" fmla="*/ 11968987 w 12050057"/>
                <a:gd name="connsiteY511" fmla="*/ 2842288 h 6072782"/>
                <a:gd name="connsiteX512" fmla="*/ 11986022 w 12050057"/>
                <a:gd name="connsiteY512" fmla="*/ 2836204 h 6072782"/>
                <a:gd name="connsiteX513" fmla="*/ 12002221 w 12050057"/>
                <a:gd name="connsiteY513" fmla="*/ 2829055 h 6072782"/>
                <a:gd name="connsiteX514" fmla="*/ 12018344 w 12050057"/>
                <a:gd name="connsiteY514" fmla="*/ 2820234 h 6072782"/>
                <a:gd name="connsiteX515" fmla="*/ 12035151 w 12050057"/>
                <a:gd name="connsiteY515" fmla="*/ 2809130 h 6072782"/>
                <a:gd name="connsiteX516" fmla="*/ 10410370 w 12050057"/>
                <a:gd name="connsiteY516" fmla="*/ 2809130 h 6072782"/>
                <a:gd name="connsiteX517" fmla="*/ 10425276 w 12050057"/>
                <a:gd name="connsiteY517" fmla="*/ 2809130 h 6072782"/>
                <a:gd name="connsiteX518" fmla="*/ 10425276 w 12050057"/>
                <a:gd name="connsiteY518" fmla="*/ 3032110 h 6072782"/>
                <a:gd name="connsiteX519" fmla="*/ 10389988 w 12050057"/>
                <a:gd name="connsiteY519" fmla="*/ 3032110 h 6072782"/>
                <a:gd name="connsiteX520" fmla="*/ 10389988 w 12050057"/>
                <a:gd name="connsiteY520" fmla="*/ 2852327 h 6072782"/>
                <a:gd name="connsiteX521" fmla="*/ 10369379 w 12050057"/>
                <a:gd name="connsiteY521" fmla="*/ 2863962 h 6072782"/>
                <a:gd name="connsiteX522" fmla="*/ 10344206 w 12050057"/>
                <a:gd name="connsiteY522" fmla="*/ 2872404 h 6072782"/>
                <a:gd name="connsiteX523" fmla="*/ 10344206 w 12050057"/>
                <a:gd name="connsiteY523" fmla="*/ 2842288 h 6072782"/>
                <a:gd name="connsiteX524" fmla="*/ 10361241 w 12050057"/>
                <a:gd name="connsiteY524" fmla="*/ 2836204 h 6072782"/>
                <a:gd name="connsiteX525" fmla="*/ 10377440 w 12050057"/>
                <a:gd name="connsiteY525" fmla="*/ 2829055 h 6072782"/>
                <a:gd name="connsiteX526" fmla="*/ 10393563 w 12050057"/>
                <a:gd name="connsiteY526" fmla="*/ 2820234 h 6072782"/>
                <a:gd name="connsiteX527" fmla="*/ 10410370 w 12050057"/>
                <a:gd name="connsiteY527" fmla="*/ 2809130 h 6072782"/>
                <a:gd name="connsiteX528" fmla="*/ 9532663 w 12050057"/>
                <a:gd name="connsiteY528" fmla="*/ 2809130 h 6072782"/>
                <a:gd name="connsiteX529" fmla="*/ 9547569 w 12050057"/>
                <a:gd name="connsiteY529" fmla="*/ 2809130 h 6072782"/>
                <a:gd name="connsiteX530" fmla="*/ 9547569 w 12050057"/>
                <a:gd name="connsiteY530" fmla="*/ 3032110 h 6072782"/>
                <a:gd name="connsiteX531" fmla="*/ 9512281 w 12050057"/>
                <a:gd name="connsiteY531" fmla="*/ 3032110 h 6072782"/>
                <a:gd name="connsiteX532" fmla="*/ 9512281 w 12050057"/>
                <a:gd name="connsiteY532" fmla="*/ 2852327 h 6072782"/>
                <a:gd name="connsiteX533" fmla="*/ 9491672 w 12050057"/>
                <a:gd name="connsiteY533" fmla="*/ 2863962 h 6072782"/>
                <a:gd name="connsiteX534" fmla="*/ 9466499 w 12050057"/>
                <a:gd name="connsiteY534" fmla="*/ 2872404 h 6072782"/>
                <a:gd name="connsiteX535" fmla="*/ 9466499 w 12050057"/>
                <a:gd name="connsiteY535" fmla="*/ 2842288 h 6072782"/>
                <a:gd name="connsiteX536" fmla="*/ 9483534 w 12050057"/>
                <a:gd name="connsiteY536" fmla="*/ 2836204 h 6072782"/>
                <a:gd name="connsiteX537" fmla="*/ 9499733 w 12050057"/>
                <a:gd name="connsiteY537" fmla="*/ 2829055 h 6072782"/>
                <a:gd name="connsiteX538" fmla="*/ 9515856 w 12050057"/>
                <a:gd name="connsiteY538" fmla="*/ 2820234 h 6072782"/>
                <a:gd name="connsiteX539" fmla="*/ 9532663 w 12050057"/>
                <a:gd name="connsiteY539" fmla="*/ 2809130 h 6072782"/>
                <a:gd name="connsiteX540" fmla="*/ 8660208 w 12050057"/>
                <a:gd name="connsiteY540" fmla="*/ 2809130 h 6072782"/>
                <a:gd name="connsiteX541" fmla="*/ 8675114 w 12050057"/>
                <a:gd name="connsiteY541" fmla="*/ 2809130 h 6072782"/>
                <a:gd name="connsiteX542" fmla="*/ 8675114 w 12050057"/>
                <a:gd name="connsiteY542" fmla="*/ 3032110 h 6072782"/>
                <a:gd name="connsiteX543" fmla="*/ 8639826 w 12050057"/>
                <a:gd name="connsiteY543" fmla="*/ 3032110 h 6072782"/>
                <a:gd name="connsiteX544" fmla="*/ 8639826 w 12050057"/>
                <a:gd name="connsiteY544" fmla="*/ 2852327 h 6072782"/>
                <a:gd name="connsiteX545" fmla="*/ 8619217 w 12050057"/>
                <a:gd name="connsiteY545" fmla="*/ 2863962 h 6072782"/>
                <a:gd name="connsiteX546" fmla="*/ 8594044 w 12050057"/>
                <a:gd name="connsiteY546" fmla="*/ 2872404 h 6072782"/>
                <a:gd name="connsiteX547" fmla="*/ 8594044 w 12050057"/>
                <a:gd name="connsiteY547" fmla="*/ 2842288 h 6072782"/>
                <a:gd name="connsiteX548" fmla="*/ 8611079 w 12050057"/>
                <a:gd name="connsiteY548" fmla="*/ 2836204 h 6072782"/>
                <a:gd name="connsiteX549" fmla="*/ 8627278 w 12050057"/>
                <a:gd name="connsiteY549" fmla="*/ 2829055 h 6072782"/>
                <a:gd name="connsiteX550" fmla="*/ 8643401 w 12050057"/>
                <a:gd name="connsiteY550" fmla="*/ 2820234 h 6072782"/>
                <a:gd name="connsiteX551" fmla="*/ 8660208 w 12050057"/>
                <a:gd name="connsiteY551" fmla="*/ 2809130 h 6072782"/>
                <a:gd name="connsiteX552" fmla="*/ 6671075 w 12050057"/>
                <a:gd name="connsiteY552" fmla="*/ 2809130 h 6072782"/>
                <a:gd name="connsiteX553" fmla="*/ 6685982 w 12050057"/>
                <a:gd name="connsiteY553" fmla="*/ 2809130 h 6072782"/>
                <a:gd name="connsiteX554" fmla="*/ 6685982 w 12050057"/>
                <a:gd name="connsiteY554" fmla="*/ 3032110 h 6072782"/>
                <a:gd name="connsiteX555" fmla="*/ 6650694 w 12050057"/>
                <a:gd name="connsiteY555" fmla="*/ 3032110 h 6072782"/>
                <a:gd name="connsiteX556" fmla="*/ 6650694 w 12050057"/>
                <a:gd name="connsiteY556" fmla="*/ 2852327 h 6072782"/>
                <a:gd name="connsiteX557" fmla="*/ 6630084 w 12050057"/>
                <a:gd name="connsiteY557" fmla="*/ 2863962 h 6072782"/>
                <a:gd name="connsiteX558" fmla="*/ 6604912 w 12050057"/>
                <a:gd name="connsiteY558" fmla="*/ 2872404 h 6072782"/>
                <a:gd name="connsiteX559" fmla="*/ 6604912 w 12050057"/>
                <a:gd name="connsiteY559" fmla="*/ 2842288 h 6072782"/>
                <a:gd name="connsiteX560" fmla="*/ 6621947 w 12050057"/>
                <a:gd name="connsiteY560" fmla="*/ 2836204 h 6072782"/>
                <a:gd name="connsiteX561" fmla="*/ 6638146 w 12050057"/>
                <a:gd name="connsiteY561" fmla="*/ 2829055 h 6072782"/>
                <a:gd name="connsiteX562" fmla="*/ 6654268 w 12050057"/>
                <a:gd name="connsiteY562" fmla="*/ 2820234 h 6072782"/>
                <a:gd name="connsiteX563" fmla="*/ 6671075 w 12050057"/>
                <a:gd name="connsiteY563" fmla="*/ 2809130 h 6072782"/>
                <a:gd name="connsiteX564" fmla="*/ 5979097 w 12050057"/>
                <a:gd name="connsiteY564" fmla="*/ 2809130 h 6072782"/>
                <a:gd name="connsiteX565" fmla="*/ 5994004 w 12050057"/>
                <a:gd name="connsiteY565" fmla="*/ 2809130 h 6072782"/>
                <a:gd name="connsiteX566" fmla="*/ 5994004 w 12050057"/>
                <a:gd name="connsiteY566" fmla="*/ 3032110 h 6072782"/>
                <a:gd name="connsiteX567" fmla="*/ 5958717 w 12050057"/>
                <a:gd name="connsiteY567" fmla="*/ 3032110 h 6072782"/>
                <a:gd name="connsiteX568" fmla="*/ 5958717 w 12050057"/>
                <a:gd name="connsiteY568" fmla="*/ 2852327 h 6072782"/>
                <a:gd name="connsiteX569" fmla="*/ 5938106 w 12050057"/>
                <a:gd name="connsiteY569" fmla="*/ 2863962 h 6072782"/>
                <a:gd name="connsiteX570" fmla="*/ 5912934 w 12050057"/>
                <a:gd name="connsiteY570" fmla="*/ 2872404 h 6072782"/>
                <a:gd name="connsiteX571" fmla="*/ 5912934 w 12050057"/>
                <a:gd name="connsiteY571" fmla="*/ 2842288 h 6072782"/>
                <a:gd name="connsiteX572" fmla="*/ 5929969 w 12050057"/>
                <a:gd name="connsiteY572" fmla="*/ 2836204 h 6072782"/>
                <a:gd name="connsiteX573" fmla="*/ 5946169 w 12050057"/>
                <a:gd name="connsiteY573" fmla="*/ 2829055 h 6072782"/>
                <a:gd name="connsiteX574" fmla="*/ 5962291 w 12050057"/>
                <a:gd name="connsiteY574" fmla="*/ 2820234 h 6072782"/>
                <a:gd name="connsiteX575" fmla="*/ 5979097 w 12050057"/>
                <a:gd name="connsiteY575" fmla="*/ 2809130 h 6072782"/>
                <a:gd name="connsiteX576" fmla="*/ 4354317 w 12050057"/>
                <a:gd name="connsiteY576" fmla="*/ 2809130 h 6072782"/>
                <a:gd name="connsiteX577" fmla="*/ 4369224 w 12050057"/>
                <a:gd name="connsiteY577" fmla="*/ 2809130 h 6072782"/>
                <a:gd name="connsiteX578" fmla="*/ 4369224 w 12050057"/>
                <a:gd name="connsiteY578" fmla="*/ 3032110 h 6072782"/>
                <a:gd name="connsiteX579" fmla="*/ 4333935 w 12050057"/>
                <a:gd name="connsiteY579" fmla="*/ 3032110 h 6072782"/>
                <a:gd name="connsiteX580" fmla="*/ 4333935 w 12050057"/>
                <a:gd name="connsiteY580" fmla="*/ 2852327 h 6072782"/>
                <a:gd name="connsiteX581" fmla="*/ 4313325 w 12050057"/>
                <a:gd name="connsiteY581" fmla="*/ 2863962 h 6072782"/>
                <a:gd name="connsiteX582" fmla="*/ 4288153 w 12050057"/>
                <a:gd name="connsiteY582" fmla="*/ 2872404 h 6072782"/>
                <a:gd name="connsiteX583" fmla="*/ 4288153 w 12050057"/>
                <a:gd name="connsiteY583" fmla="*/ 2842288 h 6072782"/>
                <a:gd name="connsiteX584" fmla="*/ 4305189 w 12050057"/>
                <a:gd name="connsiteY584" fmla="*/ 2836204 h 6072782"/>
                <a:gd name="connsiteX585" fmla="*/ 4321387 w 12050057"/>
                <a:gd name="connsiteY585" fmla="*/ 2829055 h 6072782"/>
                <a:gd name="connsiteX586" fmla="*/ 4337509 w 12050057"/>
                <a:gd name="connsiteY586" fmla="*/ 2820234 h 6072782"/>
                <a:gd name="connsiteX587" fmla="*/ 4354317 w 12050057"/>
                <a:gd name="connsiteY587" fmla="*/ 2809130 h 6072782"/>
                <a:gd name="connsiteX588" fmla="*/ 3476611 w 12050057"/>
                <a:gd name="connsiteY588" fmla="*/ 2809130 h 6072782"/>
                <a:gd name="connsiteX589" fmla="*/ 3491518 w 12050057"/>
                <a:gd name="connsiteY589" fmla="*/ 2809130 h 6072782"/>
                <a:gd name="connsiteX590" fmla="*/ 3491518 w 12050057"/>
                <a:gd name="connsiteY590" fmla="*/ 3032110 h 6072782"/>
                <a:gd name="connsiteX591" fmla="*/ 3456230 w 12050057"/>
                <a:gd name="connsiteY591" fmla="*/ 3032110 h 6072782"/>
                <a:gd name="connsiteX592" fmla="*/ 3456230 w 12050057"/>
                <a:gd name="connsiteY592" fmla="*/ 2852327 h 6072782"/>
                <a:gd name="connsiteX593" fmla="*/ 3435620 w 12050057"/>
                <a:gd name="connsiteY593" fmla="*/ 2863962 h 6072782"/>
                <a:gd name="connsiteX594" fmla="*/ 3410447 w 12050057"/>
                <a:gd name="connsiteY594" fmla="*/ 2872404 h 6072782"/>
                <a:gd name="connsiteX595" fmla="*/ 3410447 w 12050057"/>
                <a:gd name="connsiteY595" fmla="*/ 2842288 h 6072782"/>
                <a:gd name="connsiteX596" fmla="*/ 3427483 w 12050057"/>
                <a:gd name="connsiteY596" fmla="*/ 2836204 h 6072782"/>
                <a:gd name="connsiteX597" fmla="*/ 3443682 w 12050057"/>
                <a:gd name="connsiteY597" fmla="*/ 2829055 h 6072782"/>
                <a:gd name="connsiteX598" fmla="*/ 3459804 w 12050057"/>
                <a:gd name="connsiteY598" fmla="*/ 2820234 h 6072782"/>
                <a:gd name="connsiteX599" fmla="*/ 3476611 w 12050057"/>
                <a:gd name="connsiteY599" fmla="*/ 2809130 h 6072782"/>
                <a:gd name="connsiteX600" fmla="*/ 2604156 w 12050057"/>
                <a:gd name="connsiteY600" fmla="*/ 2809130 h 6072782"/>
                <a:gd name="connsiteX601" fmla="*/ 2619062 w 12050057"/>
                <a:gd name="connsiteY601" fmla="*/ 2809130 h 6072782"/>
                <a:gd name="connsiteX602" fmla="*/ 2619062 w 12050057"/>
                <a:gd name="connsiteY602" fmla="*/ 3032110 h 6072782"/>
                <a:gd name="connsiteX603" fmla="*/ 2583774 w 12050057"/>
                <a:gd name="connsiteY603" fmla="*/ 3032110 h 6072782"/>
                <a:gd name="connsiteX604" fmla="*/ 2583774 w 12050057"/>
                <a:gd name="connsiteY604" fmla="*/ 2852327 h 6072782"/>
                <a:gd name="connsiteX605" fmla="*/ 2563165 w 12050057"/>
                <a:gd name="connsiteY605" fmla="*/ 2863962 h 6072782"/>
                <a:gd name="connsiteX606" fmla="*/ 2537992 w 12050057"/>
                <a:gd name="connsiteY606" fmla="*/ 2872404 h 6072782"/>
                <a:gd name="connsiteX607" fmla="*/ 2537992 w 12050057"/>
                <a:gd name="connsiteY607" fmla="*/ 2842288 h 6072782"/>
                <a:gd name="connsiteX608" fmla="*/ 2555027 w 12050057"/>
                <a:gd name="connsiteY608" fmla="*/ 2836204 h 6072782"/>
                <a:gd name="connsiteX609" fmla="*/ 2571226 w 12050057"/>
                <a:gd name="connsiteY609" fmla="*/ 2829055 h 6072782"/>
                <a:gd name="connsiteX610" fmla="*/ 2587349 w 12050057"/>
                <a:gd name="connsiteY610" fmla="*/ 2820234 h 6072782"/>
                <a:gd name="connsiteX611" fmla="*/ 2604156 w 12050057"/>
                <a:gd name="connsiteY611" fmla="*/ 2809130 h 6072782"/>
                <a:gd name="connsiteX612" fmla="*/ 619557 w 12050057"/>
                <a:gd name="connsiteY612" fmla="*/ 2809130 h 6072782"/>
                <a:gd name="connsiteX613" fmla="*/ 634463 w 12050057"/>
                <a:gd name="connsiteY613" fmla="*/ 2809130 h 6072782"/>
                <a:gd name="connsiteX614" fmla="*/ 634463 w 12050057"/>
                <a:gd name="connsiteY614" fmla="*/ 3032110 h 6072782"/>
                <a:gd name="connsiteX615" fmla="*/ 599174 w 12050057"/>
                <a:gd name="connsiteY615" fmla="*/ 3032110 h 6072782"/>
                <a:gd name="connsiteX616" fmla="*/ 599174 w 12050057"/>
                <a:gd name="connsiteY616" fmla="*/ 2852327 h 6072782"/>
                <a:gd name="connsiteX617" fmla="*/ 578566 w 12050057"/>
                <a:gd name="connsiteY617" fmla="*/ 2863962 h 6072782"/>
                <a:gd name="connsiteX618" fmla="*/ 553393 w 12050057"/>
                <a:gd name="connsiteY618" fmla="*/ 2872404 h 6072782"/>
                <a:gd name="connsiteX619" fmla="*/ 553393 w 12050057"/>
                <a:gd name="connsiteY619" fmla="*/ 2842288 h 6072782"/>
                <a:gd name="connsiteX620" fmla="*/ 570428 w 12050057"/>
                <a:gd name="connsiteY620" fmla="*/ 2836204 h 6072782"/>
                <a:gd name="connsiteX621" fmla="*/ 586626 w 12050057"/>
                <a:gd name="connsiteY621" fmla="*/ 2829055 h 6072782"/>
                <a:gd name="connsiteX622" fmla="*/ 602749 w 12050057"/>
                <a:gd name="connsiteY622" fmla="*/ 2820234 h 6072782"/>
                <a:gd name="connsiteX623" fmla="*/ 619557 w 12050057"/>
                <a:gd name="connsiteY623" fmla="*/ 2809130 h 6072782"/>
                <a:gd name="connsiteX624" fmla="*/ 10291704 w 12050057"/>
                <a:gd name="connsiteY624" fmla="*/ 2480736 h 6072782"/>
                <a:gd name="connsiteX625" fmla="*/ 10306610 w 12050057"/>
                <a:gd name="connsiteY625" fmla="*/ 2480736 h 6072782"/>
                <a:gd name="connsiteX626" fmla="*/ 10306610 w 12050057"/>
                <a:gd name="connsiteY626" fmla="*/ 2703716 h 6072782"/>
                <a:gd name="connsiteX627" fmla="*/ 10271322 w 12050057"/>
                <a:gd name="connsiteY627" fmla="*/ 2703716 h 6072782"/>
                <a:gd name="connsiteX628" fmla="*/ 10271322 w 12050057"/>
                <a:gd name="connsiteY628" fmla="*/ 2523933 h 6072782"/>
                <a:gd name="connsiteX629" fmla="*/ 10250713 w 12050057"/>
                <a:gd name="connsiteY629" fmla="*/ 2535568 h 6072782"/>
                <a:gd name="connsiteX630" fmla="*/ 10225540 w 12050057"/>
                <a:gd name="connsiteY630" fmla="*/ 2544010 h 6072782"/>
                <a:gd name="connsiteX631" fmla="*/ 10225540 w 12050057"/>
                <a:gd name="connsiteY631" fmla="*/ 2513894 h 6072782"/>
                <a:gd name="connsiteX632" fmla="*/ 10242575 w 12050057"/>
                <a:gd name="connsiteY632" fmla="*/ 2507810 h 6072782"/>
                <a:gd name="connsiteX633" fmla="*/ 10258774 w 12050057"/>
                <a:gd name="connsiteY633" fmla="*/ 2500661 h 6072782"/>
                <a:gd name="connsiteX634" fmla="*/ 10274897 w 12050057"/>
                <a:gd name="connsiteY634" fmla="*/ 2491839 h 6072782"/>
                <a:gd name="connsiteX635" fmla="*/ 10291704 w 12050057"/>
                <a:gd name="connsiteY635" fmla="*/ 2480736 h 6072782"/>
                <a:gd name="connsiteX636" fmla="*/ 7171000 w 12050057"/>
                <a:gd name="connsiteY636" fmla="*/ 2480736 h 6072782"/>
                <a:gd name="connsiteX637" fmla="*/ 7185906 w 12050057"/>
                <a:gd name="connsiteY637" fmla="*/ 2480736 h 6072782"/>
                <a:gd name="connsiteX638" fmla="*/ 7185906 w 12050057"/>
                <a:gd name="connsiteY638" fmla="*/ 2703716 h 6072782"/>
                <a:gd name="connsiteX639" fmla="*/ 7150618 w 12050057"/>
                <a:gd name="connsiteY639" fmla="*/ 2703716 h 6072782"/>
                <a:gd name="connsiteX640" fmla="*/ 7150618 w 12050057"/>
                <a:gd name="connsiteY640" fmla="*/ 2523933 h 6072782"/>
                <a:gd name="connsiteX641" fmla="*/ 7130009 w 12050057"/>
                <a:gd name="connsiteY641" fmla="*/ 2535568 h 6072782"/>
                <a:gd name="connsiteX642" fmla="*/ 7104836 w 12050057"/>
                <a:gd name="connsiteY642" fmla="*/ 2544010 h 6072782"/>
                <a:gd name="connsiteX643" fmla="*/ 7104836 w 12050057"/>
                <a:gd name="connsiteY643" fmla="*/ 2513894 h 6072782"/>
                <a:gd name="connsiteX644" fmla="*/ 7121871 w 12050057"/>
                <a:gd name="connsiteY644" fmla="*/ 2507810 h 6072782"/>
                <a:gd name="connsiteX645" fmla="*/ 7138070 w 12050057"/>
                <a:gd name="connsiteY645" fmla="*/ 2500661 h 6072782"/>
                <a:gd name="connsiteX646" fmla="*/ 7154193 w 12050057"/>
                <a:gd name="connsiteY646" fmla="*/ 2491839 h 6072782"/>
                <a:gd name="connsiteX647" fmla="*/ 7171000 w 12050057"/>
                <a:gd name="connsiteY647" fmla="*/ 2480736 h 6072782"/>
                <a:gd name="connsiteX648" fmla="*/ 6278970 w 12050057"/>
                <a:gd name="connsiteY648" fmla="*/ 2480736 h 6072782"/>
                <a:gd name="connsiteX649" fmla="*/ 6293876 w 12050057"/>
                <a:gd name="connsiteY649" fmla="*/ 2480736 h 6072782"/>
                <a:gd name="connsiteX650" fmla="*/ 6293876 w 12050057"/>
                <a:gd name="connsiteY650" fmla="*/ 2703716 h 6072782"/>
                <a:gd name="connsiteX651" fmla="*/ 6258588 w 12050057"/>
                <a:gd name="connsiteY651" fmla="*/ 2703716 h 6072782"/>
                <a:gd name="connsiteX652" fmla="*/ 6258588 w 12050057"/>
                <a:gd name="connsiteY652" fmla="*/ 2523933 h 6072782"/>
                <a:gd name="connsiteX653" fmla="*/ 6237979 w 12050057"/>
                <a:gd name="connsiteY653" fmla="*/ 2535568 h 6072782"/>
                <a:gd name="connsiteX654" fmla="*/ 6212806 w 12050057"/>
                <a:gd name="connsiteY654" fmla="*/ 2544010 h 6072782"/>
                <a:gd name="connsiteX655" fmla="*/ 6212806 w 12050057"/>
                <a:gd name="connsiteY655" fmla="*/ 2513894 h 6072782"/>
                <a:gd name="connsiteX656" fmla="*/ 6229841 w 12050057"/>
                <a:gd name="connsiteY656" fmla="*/ 2507810 h 6072782"/>
                <a:gd name="connsiteX657" fmla="*/ 6246040 w 12050057"/>
                <a:gd name="connsiteY657" fmla="*/ 2500661 h 6072782"/>
                <a:gd name="connsiteX658" fmla="*/ 6262163 w 12050057"/>
                <a:gd name="connsiteY658" fmla="*/ 2491839 h 6072782"/>
                <a:gd name="connsiteX659" fmla="*/ 6278970 w 12050057"/>
                <a:gd name="connsiteY659" fmla="*/ 2480736 h 6072782"/>
                <a:gd name="connsiteX660" fmla="*/ 4229236 w 12050057"/>
                <a:gd name="connsiteY660" fmla="*/ 2480736 h 6072782"/>
                <a:gd name="connsiteX661" fmla="*/ 4244142 w 12050057"/>
                <a:gd name="connsiteY661" fmla="*/ 2480736 h 6072782"/>
                <a:gd name="connsiteX662" fmla="*/ 4244142 w 12050057"/>
                <a:gd name="connsiteY662" fmla="*/ 2703716 h 6072782"/>
                <a:gd name="connsiteX663" fmla="*/ 4208855 w 12050057"/>
                <a:gd name="connsiteY663" fmla="*/ 2703716 h 6072782"/>
                <a:gd name="connsiteX664" fmla="*/ 4208855 w 12050057"/>
                <a:gd name="connsiteY664" fmla="*/ 2523933 h 6072782"/>
                <a:gd name="connsiteX665" fmla="*/ 4188245 w 12050057"/>
                <a:gd name="connsiteY665" fmla="*/ 2535568 h 6072782"/>
                <a:gd name="connsiteX666" fmla="*/ 4163072 w 12050057"/>
                <a:gd name="connsiteY666" fmla="*/ 2544010 h 6072782"/>
                <a:gd name="connsiteX667" fmla="*/ 4163072 w 12050057"/>
                <a:gd name="connsiteY667" fmla="*/ 2513894 h 6072782"/>
                <a:gd name="connsiteX668" fmla="*/ 4180107 w 12050057"/>
                <a:gd name="connsiteY668" fmla="*/ 2507810 h 6072782"/>
                <a:gd name="connsiteX669" fmla="*/ 4196307 w 12050057"/>
                <a:gd name="connsiteY669" fmla="*/ 2500661 h 6072782"/>
                <a:gd name="connsiteX670" fmla="*/ 4212429 w 12050057"/>
                <a:gd name="connsiteY670" fmla="*/ 2491839 h 6072782"/>
                <a:gd name="connsiteX671" fmla="*/ 4229236 w 12050057"/>
                <a:gd name="connsiteY671" fmla="*/ 2480736 h 6072782"/>
                <a:gd name="connsiteX672" fmla="*/ 1107649 w 12050057"/>
                <a:gd name="connsiteY672" fmla="*/ 2480736 h 6072782"/>
                <a:gd name="connsiteX673" fmla="*/ 1122555 w 12050057"/>
                <a:gd name="connsiteY673" fmla="*/ 2480736 h 6072782"/>
                <a:gd name="connsiteX674" fmla="*/ 1122555 w 12050057"/>
                <a:gd name="connsiteY674" fmla="*/ 2703716 h 6072782"/>
                <a:gd name="connsiteX675" fmla="*/ 1087267 w 12050057"/>
                <a:gd name="connsiteY675" fmla="*/ 2703716 h 6072782"/>
                <a:gd name="connsiteX676" fmla="*/ 1087267 w 12050057"/>
                <a:gd name="connsiteY676" fmla="*/ 2523933 h 6072782"/>
                <a:gd name="connsiteX677" fmla="*/ 1066658 w 12050057"/>
                <a:gd name="connsiteY677" fmla="*/ 2535568 h 6072782"/>
                <a:gd name="connsiteX678" fmla="*/ 1041486 w 12050057"/>
                <a:gd name="connsiteY678" fmla="*/ 2544010 h 6072782"/>
                <a:gd name="connsiteX679" fmla="*/ 1041486 w 12050057"/>
                <a:gd name="connsiteY679" fmla="*/ 2513894 h 6072782"/>
                <a:gd name="connsiteX680" fmla="*/ 1058521 w 12050057"/>
                <a:gd name="connsiteY680" fmla="*/ 2507810 h 6072782"/>
                <a:gd name="connsiteX681" fmla="*/ 1074719 w 12050057"/>
                <a:gd name="connsiteY681" fmla="*/ 2500661 h 6072782"/>
                <a:gd name="connsiteX682" fmla="*/ 1090842 w 12050057"/>
                <a:gd name="connsiteY682" fmla="*/ 2491839 h 6072782"/>
                <a:gd name="connsiteX683" fmla="*/ 1107649 w 12050057"/>
                <a:gd name="connsiteY683" fmla="*/ 2480736 h 6072782"/>
                <a:gd name="connsiteX684" fmla="*/ 213707 w 12050057"/>
                <a:gd name="connsiteY684" fmla="*/ 2480736 h 6072782"/>
                <a:gd name="connsiteX685" fmla="*/ 228613 w 12050057"/>
                <a:gd name="connsiteY685" fmla="*/ 2480736 h 6072782"/>
                <a:gd name="connsiteX686" fmla="*/ 228613 w 12050057"/>
                <a:gd name="connsiteY686" fmla="*/ 2703716 h 6072782"/>
                <a:gd name="connsiteX687" fmla="*/ 193325 w 12050057"/>
                <a:gd name="connsiteY687" fmla="*/ 2703716 h 6072782"/>
                <a:gd name="connsiteX688" fmla="*/ 193325 w 12050057"/>
                <a:gd name="connsiteY688" fmla="*/ 2523933 h 6072782"/>
                <a:gd name="connsiteX689" fmla="*/ 172716 w 12050057"/>
                <a:gd name="connsiteY689" fmla="*/ 2535568 h 6072782"/>
                <a:gd name="connsiteX690" fmla="*/ 147543 w 12050057"/>
                <a:gd name="connsiteY690" fmla="*/ 2544010 h 6072782"/>
                <a:gd name="connsiteX691" fmla="*/ 147543 w 12050057"/>
                <a:gd name="connsiteY691" fmla="*/ 2513894 h 6072782"/>
                <a:gd name="connsiteX692" fmla="*/ 164578 w 12050057"/>
                <a:gd name="connsiteY692" fmla="*/ 2507810 h 6072782"/>
                <a:gd name="connsiteX693" fmla="*/ 180778 w 12050057"/>
                <a:gd name="connsiteY693" fmla="*/ 2500661 h 6072782"/>
                <a:gd name="connsiteX694" fmla="*/ 196900 w 12050057"/>
                <a:gd name="connsiteY694" fmla="*/ 2491839 h 6072782"/>
                <a:gd name="connsiteX695" fmla="*/ 213707 w 12050057"/>
                <a:gd name="connsiteY695" fmla="*/ 2480736 h 6072782"/>
                <a:gd name="connsiteX696" fmla="*/ 11444638 w 12050057"/>
                <a:gd name="connsiteY696" fmla="*/ 2176765 h 6072782"/>
                <a:gd name="connsiteX697" fmla="*/ 11459544 w 12050057"/>
                <a:gd name="connsiteY697" fmla="*/ 2176765 h 6072782"/>
                <a:gd name="connsiteX698" fmla="*/ 11459544 w 12050057"/>
                <a:gd name="connsiteY698" fmla="*/ 2399745 h 6072782"/>
                <a:gd name="connsiteX699" fmla="*/ 11424256 w 12050057"/>
                <a:gd name="connsiteY699" fmla="*/ 2399745 h 6072782"/>
                <a:gd name="connsiteX700" fmla="*/ 11424256 w 12050057"/>
                <a:gd name="connsiteY700" fmla="*/ 2219962 h 6072782"/>
                <a:gd name="connsiteX701" fmla="*/ 11403647 w 12050057"/>
                <a:gd name="connsiteY701" fmla="*/ 2231597 h 6072782"/>
                <a:gd name="connsiteX702" fmla="*/ 11378474 w 12050057"/>
                <a:gd name="connsiteY702" fmla="*/ 2240039 h 6072782"/>
                <a:gd name="connsiteX703" fmla="*/ 11378474 w 12050057"/>
                <a:gd name="connsiteY703" fmla="*/ 2209923 h 6072782"/>
                <a:gd name="connsiteX704" fmla="*/ 11395509 w 12050057"/>
                <a:gd name="connsiteY704" fmla="*/ 2203839 h 6072782"/>
                <a:gd name="connsiteX705" fmla="*/ 11411708 w 12050057"/>
                <a:gd name="connsiteY705" fmla="*/ 2196690 h 6072782"/>
                <a:gd name="connsiteX706" fmla="*/ 11427831 w 12050057"/>
                <a:gd name="connsiteY706" fmla="*/ 2187868 h 6072782"/>
                <a:gd name="connsiteX707" fmla="*/ 11444638 w 12050057"/>
                <a:gd name="connsiteY707" fmla="*/ 2176765 h 6072782"/>
                <a:gd name="connsiteX708" fmla="*/ 9437758 w 12050057"/>
                <a:gd name="connsiteY708" fmla="*/ 2176765 h 6072782"/>
                <a:gd name="connsiteX709" fmla="*/ 9452664 w 12050057"/>
                <a:gd name="connsiteY709" fmla="*/ 2176765 h 6072782"/>
                <a:gd name="connsiteX710" fmla="*/ 9452664 w 12050057"/>
                <a:gd name="connsiteY710" fmla="*/ 2399745 h 6072782"/>
                <a:gd name="connsiteX711" fmla="*/ 9417376 w 12050057"/>
                <a:gd name="connsiteY711" fmla="*/ 2399745 h 6072782"/>
                <a:gd name="connsiteX712" fmla="*/ 9417376 w 12050057"/>
                <a:gd name="connsiteY712" fmla="*/ 2219962 h 6072782"/>
                <a:gd name="connsiteX713" fmla="*/ 9396767 w 12050057"/>
                <a:gd name="connsiteY713" fmla="*/ 2231597 h 6072782"/>
                <a:gd name="connsiteX714" fmla="*/ 9371594 w 12050057"/>
                <a:gd name="connsiteY714" fmla="*/ 2240039 h 6072782"/>
                <a:gd name="connsiteX715" fmla="*/ 9371594 w 12050057"/>
                <a:gd name="connsiteY715" fmla="*/ 2209923 h 6072782"/>
                <a:gd name="connsiteX716" fmla="*/ 9388629 w 12050057"/>
                <a:gd name="connsiteY716" fmla="*/ 2203839 h 6072782"/>
                <a:gd name="connsiteX717" fmla="*/ 9404828 w 12050057"/>
                <a:gd name="connsiteY717" fmla="*/ 2196690 h 6072782"/>
                <a:gd name="connsiteX718" fmla="*/ 9420951 w 12050057"/>
                <a:gd name="connsiteY718" fmla="*/ 2187868 h 6072782"/>
                <a:gd name="connsiteX719" fmla="*/ 9437758 w 12050057"/>
                <a:gd name="connsiteY719" fmla="*/ 2176765 h 6072782"/>
                <a:gd name="connsiteX720" fmla="*/ 8937428 w 12050057"/>
                <a:gd name="connsiteY720" fmla="*/ 2176765 h 6072782"/>
                <a:gd name="connsiteX721" fmla="*/ 8952334 w 12050057"/>
                <a:gd name="connsiteY721" fmla="*/ 2176765 h 6072782"/>
                <a:gd name="connsiteX722" fmla="*/ 8952334 w 12050057"/>
                <a:gd name="connsiteY722" fmla="*/ 2399745 h 6072782"/>
                <a:gd name="connsiteX723" fmla="*/ 8917046 w 12050057"/>
                <a:gd name="connsiteY723" fmla="*/ 2399745 h 6072782"/>
                <a:gd name="connsiteX724" fmla="*/ 8917046 w 12050057"/>
                <a:gd name="connsiteY724" fmla="*/ 2219962 h 6072782"/>
                <a:gd name="connsiteX725" fmla="*/ 8896437 w 12050057"/>
                <a:gd name="connsiteY725" fmla="*/ 2231597 h 6072782"/>
                <a:gd name="connsiteX726" fmla="*/ 8871264 w 12050057"/>
                <a:gd name="connsiteY726" fmla="*/ 2240039 h 6072782"/>
                <a:gd name="connsiteX727" fmla="*/ 8871264 w 12050057"/>
                <a:gd name="connsiteY727" fmla="*/ 2209923 h 6072782"/>
                <a:gd name="connsiteX728" fmla="*/ 8888299 w 12050057"/>
                <a:gd name="connsiteY728" fmla="*/ 2203839 h 6072782"/>
                <a:gd name="connsiteX729" fmla="*/ 8904498 w 12050057"/>
                <a:gd name="connsiteY729" fmla="*/ 2196690 h 6072782"/>
                <a:gd name="connsiteX730" fmla="*/ 8920621 w 12050057"/>
                <a:gd name="connsiteY730" fmla="*/ 2187868 h 6072782"/>
                <a:gd name="connsiteX731" fmla="*/ 8937428 w 12050057"/>
                <a:gd name="connsiteY731" fmla="*/ 2176765 h 6072782"/>
                <a:gd name="connsiteX732" fmla="*/ 7308531 w 12050057"/>
                <a:gd name="connsiteY732" fmla="*/ 2176765 h 6072782"/>
                <a:gd name="connsiteX733" fmla="*/ 7323437 w 12050057"/>
                <a:gd name="connsiteY733" fmla="*/ 2176765 h 6072782"/>
                <a:gd name="connsiteX734" fmla="*/ 7323437 w 12050057"/>
                <a:gd name="connsiteY734" fmla="*/ 2399745 h 6072782"/>
                <a:gd name="connsiteX735" fmla="*/ 7288149 w 12050057"/>
                <a:gd name="connsiteY735" fmla="*/ 2399745 h 6072782"/>
                <a:gd name="connsiteX736" fmla="*/ 7288149 w 12050057"/>
                <a:gd name="connsiteY736" fmla="*/ 2219962 h 6072782"/>
                <a:gd name="connsiteX737" fmla="*/ 7267540 w 12050057"/>
                <a:gd name="connsiteY737" fmla="*/ 2231597 h 6072782"/>
                <a:gd name="connsiteX738" fmla="*/ 7242367 w 12050057"/>
                <a:gd name="connsiteY738" fmla="*/ 2240039 h 6072782"/>
                <a:gd name="connsiteX739" fmla="*/ 7242367 w 12050057"/>
                <a:gd name="connsiteY739" fmla="*/ 2209923 h 6072782"/>
                <a:gd name="connsiteX740" fmla="*/ 7259402 w 12050057"/>
                <a:gd name="connsiteY740" fmla="*/ 2203839 h 6072782"/>
                <a:gd name="connsiteX741" fmla="*/ 7275601 w 12050057"/>
                <a:gd name="connsiteY741" fmla="*/ 2196690 h 6072782"/>
                <a:gd name="connsiteX742" fmla="*/ 7291724 w 12050057"/>
                <a:gd name="connsiteY742" fmla="*/ 2187868 h 6072782"/>
                <a:gd name="connsiteX743" fmla="*/ 7308531 w 12050057"/>
                <a:gd name="connsiteY743" fmla="*/ 2176765 h 6072782"/>
                <a:gd name="connsiteX744" fmla="*/ 6438588 w 12050057"/>
                <a:gd name="connsiteY744" fmla="*/ 2176765 h 6072782"/>
                <a:gd name="connsiteX745" fmla="*/ 6453494 w 12050057"/>
                <a:gd name="connsiteY745" fmla="*/ 2176765 h 6072782"/>
                <a:gd name="connsiteX746" fmla="*/ 6453494 w 12050057"/>
                <a:gd name="connsiteY746" fmla="*/ 2399745 h 6072782"/>
                <a:gd name="connsiteX747" fmla="*/ 6418206 w 12050057"/>
                <a:gd name="connsiteY747" fmla="*/ 2399745 h 6072782"/>
                <a:gd name="connsiteX748" fmla="*/ 6418206 w 12050057"/>
                <a:gd name="connsiteY748" fmla="*/ 2219962 h 6072782"/>
                <a:gd name="connsiteX749" fmla="*/ 6397597 w 12050057"/>
                <a:gd name="connsiteY749" fmla="*/ 2231597 h 6072782"/>
                <a:gd name="connsiteX750" fmla="*/ 6372424 w 12050057"/>
                <a:gd name="connsiteY750" fmla="*/ 2240039 h 6072782"/>
                <a:gd name="connsiteX751" fmla="*/ 6372424 w 12050057"/>
                <a:gd name="connsiteY751" fmla="*/ 2209923 h 6072782"/>
                <a:gd name="connsiteX752" fmla="*/ 6389459 w 12050057"/>
                <a:gd name="connsiteY752" fmla="*/ 2203839 h 6072782"/>
                <a:gd name="connsiteX753" fmla="*/ 6405658 w 12050057"/>
                <a:gd name="connsiteY753" fmla="*/ 2196690 h 6072782"/>
                <a:gd name="connsiteX754" fmla="*/ 6421781 w 12050057"/>
                <a:gd name="connsiteY754" fmla="*/ 2187868 h 6072782"/>
                <a:gd name="connsiteX755" fmla="*/ 6438588 w 12050057"/>
                <a:gd name="connsiteY755" fmla="*/ 2176765 h 6072782"/>
                <a:gd name="connsiteX756" fmla="*/ 5369222 w 12050057"/>
                <a:gd name="connsiteY756" fmla="*/ 2176765 h 6072782"/>
                <a:gd name="connsiteX757" fmla="*/ 5384128 w 12050057"/>
                <a:gd name="connsiteY757" fmla="*/ 2176765 h 6072782"/>
                <a:gd name="connsiteX758" fmla="*/ 5384128 w 12050057"/>
                <a:gd name="connsiteY758" fmla="*/ 2399745 h 6072782"/>
                <a:gd name="connsiteX759" fmla="*/ 5348840 w 12050057"/>
                <a:gd name="connsiteY759" fmla="*/ 2399745 h 6072782"/>
                <a:gd name="connsiteX760" fmla="*/ 5348840 w 12050057"/>
                <a:gd name="connsiteY760" fmla="*/ 2219962 h 6072782"/>
                <a:gd name="connsiteX761" fmla="*/ 5328231 w 12050057"/>
                <a:gd name="connsiteY761" fmla="*/ 2231597 h 6072782"/>
                <a:gd name="connsiteX762" fmla="*/ 5303059 w 12050057"/>
                <a:gd name="connsiteY762" fmla="*/ 2240039 h 6072782"/>
                <a:gd name="connsiteX763" fmla="*/ 5303059 w 12050057"/>
                <a:gd name="connsiteY763" fmla="*/ 2209923 h 6072782"/>
                <a:gd name="connsiteX764" fmla="*/ 5320094 w 12050057"/>
                <a:gd name="connsiteY764" fmla="*/ 2203839 h 6072782"/>
                <a:gd name="connsiteX765" fmla="*/ 5336292 w 12050057"/>
                <a:gd name="connsiteY765" fmla="*/ 2196690 h 6072782"/>
                <a:gd name="connsiteX766" fmla="*/ 5352415 w 12050057"/>
                <a:gd name="connsiteY766" fmla="*/ 2187868 h 6072782"/>
                <a:gd name="connsiteX767" fmla="*/ 5369222 w 12050057"/>
                <a:gd name="connsiteY767" fmla="*/ 2176765 h 6072782"/>
                <a:gd name="connsiteX768" fmla="*/ 3376912 w 12050057"/>
                <a:gd name="connsiteY768" fmla="*/ 2176765 h 6072782"/>
                <a:gd name="connsiteX769" fmla="*/ 3391818 w 12050057"/>
                <a:gd name="connsiteY769" fmla="*/ 2176765 h 6072782"/>
                <a:gd name="connsiteX770" fmla="*/ 3391818 w 12050057"/>
                <a:gd name="connsiteY770" fmla="*/ 2399745 h 6072782"/>
                <a:gd name="connsiteX771" fmla="*/ 3356530 w 12050057"/>
                <a:gd name="connsiteY771" fmla="*/ 2399745 h 6072782"/>
                <a:gd name="connsiteX772" fmla="*/ 3356530 w 12050057"/>
                <a:gd name="connsiteY772" fmla="*/ 2219962 h 6072782"/>
                <a:gd name="connsiteX773" fmla="*/ 3335922 w 12050057"/>
                <a:gd name="connsiteY773" fmla="*/ 2231597 h 6072782"/>
                <a:gd name="connsiteX774" fmla="*/ 3310748 w 12050057"/>
                <a:gd name="connsiteY774" fmla="*/ 2240039 h 6072782"/>
                <a:gd name="connsiteX775" fmla="*/ 3310748 w 12050057"/>
                <a:gd name="connsiteY775" fmla="*/ 2209923 h 6072782"/>
                <a:gd name="connsiteX776" fmla="*/ 3327783 w 12050057"/>
                <a:gd name="connsiteY776" fmla="*/ 2203839 h 6072782"/>
                <a:gd name="connsiteX777" fmla="*/ 3343983 w 12050057"/>
                <a:gd name="connsiteY777" fmla="*/ 2196690 h 6072782"/>
                <a:gd name="connsiteX778" fmla="*/ 3360105 w 12050057"/>
                <a:gd name="connsiteY778" fmla="*/ 2187868 h 6072782"/>
                <a:gd name="connsiteX779" fmla="*/ 3376912 w 12050057"/>
                <a:gd name="connsiteY779" fmla="*/ 2176765 h 6072782"/>
                <a:gd name="connsiteX780" fmla="*/ 2864708 w 12050057"/>
                <a:gd name="connsiteY780" fmla="*/ 2176765 h 6072782"/>
                <a:gd name="connsiteX781" fmla="*/ 2879614 w 12050057"/>
                <a:gd name="connsiteY781" fmla="*/ 2176765 h 6072782"/>
                <a:gd name="connsiteX782" fmla="*/ 2879614 w 12050057"/>
                <a:gd name="connsiteY782" fmla="*/ 2399745 h 6072782"/>
                <a:gd name="connsiteX783" fmla="*/ 2844327 w 12050057"/>
                <a:gd name="connsiteY783" fmla="*/ 2399745 h 6072782"/>
                <a:gd name="connsiteX784" fmla="*/ 2844327 w 12050057"/>
                <a:gd name="connsiteY784" fmla="*/ 2219962 h 6072782"/>
                <a:gd name="connsiteX785" fmla="*/ 2823717 w 12050057"/>
                <a:gd name="connsiteY785" fmla="*/ 2231597 h 6072782"/>
                <a:gd name="connsiteX786" fmla="*/ 2798544 w 12050057"/>
                <a:gd name="connsiteY786" fmla="*/ 2240039 h 6072782"/>
                <a:gd name="connsiteX787" fmla="*/ 2798544 w 12050057"/>
                <a:gd name="connsiteY787" fmla="*/ 2209923 h 6072782"/>
                <a:gd name="connsiteX788" fmla="*/ 2815579 w 12050057"/>
                <a:gd name="connsiteY788" fmla="*/ 2203839 h 6072782"/>
                <a:gd name="connsiteX789" fmla="*/ 2831779 w 12050057"/>
                <a:gd name="connsiteY789" fmla="*/ 2196690 h 6072782"/>
                <a:gd name="connsiteX790" fmla="*/ 2847901 w 12050057"/>
                <a:gd name="connsiteY790" fmla="*/ 2187868 h 6072782"/>
                <a:gd name="connsiteX791" fmla="*/ 2864708 w 12050057"/>
                <a:gd name="connsiteY791" fmla="*/ 2176765 h 6072782"/>
                <a:gd name="connsiteX792" fmla="*/ 1257354 w 12050057"/>
                <a:gd name="connsiteY792" fmla="*/ 2176765 h 6072782"/>
                <a:gd name="connsiteX793" fmla="*/ 1272260 w 12050057"/>
                <a:gd name="connsiteY793" fmla="*/ 2176765 h 6072782"/>
                <a:gd name="connsiteX794" fmla="*/ 1272260 w 12050057"/>
                <a:gd name="connsiteY794" fmla="*/ 2399745 h 6072782"/>
                <a:gd name="connsiteX795" fmla="*/ 1236972 w 12050057"/>
                <a:gd name="connsiteY795" fmla="*/ 2399745 h 6072782"/>
                <a:gd name="connsiteX796" fmla="*/ 1236972 w 12050057"/>
                <a:gd name="connsiteY796" fmla="*/ 2219962 h 6072782"/>
                <a:gd name="connsiteX797" fmla="*/ 1216363 w 12050057"/>
                <a:gd name="connsiteY797" fmla="*/ 2231597 h 6072782"/>
                <a:gd name="connsiteX798" fmla="*/ 1191190 w 12050057"/>
                <a:gd name="connsiteY798" fmla="*/ 2240039 h 6072782"/>
                <a:gd name="connsiteX799" fmla="*/ 1191190 w 12050057"/>
                <a:gd name="connsiteY799" fmla="*/ 2209923 h 6072782"/>
                <a:gd name="connsiteX800" fmla="*/ 1208225 w 12050057"/>
                <a:gd name="connsiteY800" fmla="*/ 2203839 h 6072782"/>
                <a:gd name="connsiteX801" fmla="*/ 1224424 w 12050057"/>
                <a:gd name="connsiteY801" fmla="*/ 2196690 h 6072782"/>
                <a:gd name="connsiteX802" fmla="*/ 1240547 w 12050057"/>
                <a:gd name="connsiteY802" fmla="*/ 2187868 h 6072782"/>
                <a:gd name="connsiteX803" fmla="*/ 1257354 w 12050057"/>
                <a:gd name="connsiteY803" fmla="*/ 2176765 h 6072782"/>
                <a:gd name="connsiteX804" fmla="*/ 384113 w 12050057"/>
                <a:gd name="connsiteY804" fmla="*/ 2176765 h 6072782"/>
                <a:gd name="connsiteX805" fmla="*/ 399019 w 12050057"/>
                <a:gd name="connsiteY805" fmla="*/ 2176765 h 6072782"/>
                <a:gd name="connsiteX806" fmla="*/ 399019 w 12050057"/>
                <a:gd name="connsiteY806" fmla="*/ 2399745 h 6072782"/>
                <a:gd name="connsiteX807" fmla="*/ 363731 w 12050057"/>
                <a:gd name="connsiteY807" fmla="*/ 2399745 h 6072782"/>
                <a:gd name="connsiteX808" fmla="*/ 363731 w 12050057"/>
                <a:gd name="connsiteY808" fmla="*/ 2219962 h 6072782"/>
                <a:gd name="connsiteX809" fmla="*/ 343122 w 12050057"/>
                <a:gd name="connsiteY809" fmla="*/ 2231597 h 6072782"/>
                <a:gd name="connsiteX810" fmla="*/ 317949 w 12050057"/>
                <a:gd name="connsiteY810" fmla="*/ 2240039 h 6072782"/>
                <a:gd name="connsiteX811" fmla="*/ 317949 w 12050057"/>
                <a:gd name="connsiteY811" fmla="*/ 2209923 h 6072782"/>
                <a:gd name="connsiteX812" fmla="*/ 334984 w 12050057"/>
                <a:gd name="connsiteY812" fmla="*/ 2203839 h 6072782"/>
                <a:gd name="connsiteX813" fmla="*/ 351183 w 12050057"/>
                <a:gd name="connsiteY813" fmla="*/ 2196690 h 6072782"/>
                <a:gd name="connsiteX814" fmla="*/ 367306 w 12050057"/>
                <a:gd name="connsiteY814" fmla="*/ 2187868 h 6072782"/>
                <a:gd name="connsiteX815" fmla="*/ 384113 w 12050057"/>
                <a:gd name="connsiteY815" fmla="*/ 2176765 h 6072782"/>
                <a:gd name="connsiteX816" fmla="*/ 10273078 w 12050057"/>
                <a:gd name="connsiteY816" fmla="*/ 1842347 h 6072782"/>
                <a:gd name="connsiteX817" fmla="*/ 10287984 w 12050057"/>
                <a:gd name="connsiteY817" fmla="*/ 1842347 h 6072782"/>
                <a:gd name="connsiteX818" fmla="*/ 10287984 w 12050057"/>
                <a:gd name="connsiteY818" fmla="*/ 2065327 h 6072782"/>
                <a:gd name="connsiteX819" fmla="*/ 10252696 w 12050057"/>
                <a:gd name="connsiteY819" fmla="*/ 2065327 h 6072782"/>
                <a:gd name="connsiteX820" fmla="*/ 10252696 w 12050057"/>
                <a:gd name="connsiteY820" fmla="*/ 1885543 h 6072782"/>
                <a:gd name="connsiteX821" fmla="*/ 10232087 w 12050057"/>
                <a:gd name="connsiteY821" fmla="*/ 1897179 h 6072782"/>
                <a:gd name="connsiteX822" fmla="*/ 10206914 w 12050057"/>
                <a:gd name="connsiteY822" fmla="*/ 1905621 h 6072782"/>
                <a:gd name="connsiteX823" fmla="*/ 10206914 w 12050057"/>
                <a:gd name="connsiteY823" fmla="*/ 1875505 h 6072782"/>
                <a:gd name="connsiteX824" fmla="*/ 10223949 w 12050057"/>
                <a:gd name="connsiteY824" fmla="*/ 1869421 h 6072782"/>
                <a:gd name="connsiteX825" fmla="*/ 10240148 w 12050057"/>
                <a:gd name="connsiteY825" fmla="*/ 1862272 h 6072782"/>
                <a:gd name="connsiteX826" fmla="*/ 10256271 w 12050057"/>
                <a:gd name="connsiteY826" fmla="*/ 1853450 h 6072782"/>
                <a:gd name="connsiteX827" fmla="*/ 10273078 w 12050057"/>
                <a:gd name="connsiteY827" fmla="*/ 1842347 h 6072782"/>
                <a:gd name="connsiteX828" fmla="*/ 9385054 w 12050057"/>
                <a:gd name="connsiteY828" fmla="*/ 1842347 h 6072782"/>
                <a:gd name="connsiteX829" fmla="*/ 9399960 w 12050057"/>
                <a:gd name="connsiteY829" fmla="*/ 1842347 h 6072782"/>
                <a:gd name="connsiteX830" fmla="*/ 9399960 w 12050057"/>
                <a:gd name="connsiteY830" fmla="*/ 2065327 h 6072782"/>
                <a:gd name="connsiteX831" fmla="*/ 9364672 w 12050057"/>
                <a:gd name="connsiteY831" fmla="*/ 2065327 h 6072782"/>
                <a:gd name="connsiteX832" fmla="*/ 9364672 w 12050057"/>
                <a:gd name="connsiteY832" fmla="*/ 1885543 h 6072782"/>
                <a:gd name="connsiteX833" fmla="*/ 9344063 w 12050057"/>
                <a:gd name="connsiteY833" fmla="*/ 1897179 h 6072782"/>
                <a:gd name="connsiteX834" fmla="*/ 9318890 w 12050057"/>
                <a:gd name="connsiteY834" fmla="*/ 1905621 h 6072782"/>
                <a:gd name="connsiteX835" fmla="*/ 9318890 w 12050057"/>
                <a:gd name="connsiteY835" fmla="*/ 1875505 h 6072782"/>
                <a:gd name="connsiteX836" fmla="*/ 9335925 w 12050057"/>
                <a:gd name="connsiteY836" fmla="*/ 1869421 h 6072782"/>
                <a:gd name="connsiteX837" fmla="*/ 9352124 w 12050057"/>
                <a:gd name="connsiteY837" fmla="*/ 1862272 h 6072782"/>
                <a:gd name="connsiteX838" fmla="*/ 9368247 w 12050057"/>
                <a:gd name="connsiteY838" fmla="*/ 1853450 h 6072782"/>
                <a:gd name="connsiteX839" fmla="*/ 9385054 w 12050057"/>
                <a:gd name="connsiteY839" fmla="*/ 1842347 h 6072782"/>
                <a:gd name="connsiteX840" fmla="*/ 7515223 w 12050057"/>
                <a:gd name="connsiteY840" fmla="*/ 1842347 h 6072782"/>
                <a:gd name="connsiteX841" fmla="*/ 7530129 w 12050057"/>
                <a:gd name="connsiteY841" fmla="*/ 1842347 h 6072782"/>
                <a:gd name="connsiteX842" fmla="*/ 7530129 w 12050057"/>
                <a:gd name="connsiteY842" fmla="*/ 2065327 h 6072782"/>
                <a:gd name="connsiteX843" fmla="*/ 7494841 w 12050057"/>
                <a:gd name="connsiteY843" fmla="*/ 2065327 h 6072782"/>
                <a:gd name="connsiteX844" fmla="*/ 7494841 w 12050057"/>
                <a:gd name="connsiteY844" fmla="*/ 1885543 h 6072782"/>
                <a:gd name="connsiteX845" fmla="*/ 7474232 w 12050057"/>
                <a:gd name="connsiteY845" fmla="*/ 1897179 h 6072782"/>
                <a:gd name="connsiteX846" fmla="*/ 7449059 w 12050057"/>
                <a:gd name="connsiteY846" fmla="*/ 1905621 h 6072782"/>
                <a:gd name="connsiteX847" fmla="*/ 7449059 w 12050057"/>
                <a:gd name="connsiteY847" fmla="*/ 1875505 h 6072782"/>
                <a:gd name="connsiteX848" fmla="*/ 7466094 w 12050057"/>
                <a:gd name="connsiteY848" fmla="*/ 1869421 h 6072782"/>
                <a:gd name="connsiteX849" fmla="*/ 7482293 w 12050057"/>
                <a:gd name="connsiteY849" fmla="*/ 1862272 h 6072782"/>
                <a:gd name="connsiteX850" fmla="*/ 7498416 w 12050057"/>
                <a:gd name="connsiteY850" fmla="*/ 1853450 h 6072782"/>
                <a:gd name="connsiteX851" fmla="*/ 7515223 w 12050057"/>
                <a:gd name="connsiteY851" fmla="*/ 1842347 h 6072782"/>
                <a:gd name="connsiteX852" fmla="*/ 6143623 w 12050057"/>
                <a:gd name="connsiteY852" fmla="*/ 1842347 h 6072782"/>
                <a:gd name="connsiteX853" fmla="*/ 6158529 w 12050057"/>
                <a:gd name="connsiteY853" fmla="*/ 1842347 h 6072782"/>
                <a:gd name="connsiteX854" fmla="*/ 6158529 w 12050057"/>
                <a:gd name="connsiteY854" fmla="*/ 2065327 h 6072782"/>
                <a:gd name="connsiteX855" fmla="*/ 6123241 w 12050057"/>
                <a:gd name="connsiteY855" fmla="*/ 2065327 h 6072782"/>
                <a:gd name="connsiteX856" fmla="*/ 6123241 w 12050057"/>
                <a:gd name="connsiteY856" fmla="*/ 1885543 h 6072782"/>
                <a:gd name="connsiteX857" fmla="*/ 6102632 w 12050057"/>
                <a:gd name="connsiteY857" fmla="*/ 1897179 h 6072782"/>
                <a:gd name="connsiteX858" fmla="*/ 6077459 w 12050057"/>
                <a:gd name="connsiteY858" fmla="*/ 1905621 h 6072782"/>
                <a:gd name="connsiteX859" fmla="*/ 6077459 w 12050057"/>
                <a:gd name="connsiteY859" fmla="*/ 1875505 h 6072782"/>
                <a:gd name="connsiteX860" fmla="*/ 6094494 w 12050057"/>
                <a:gd name="connsiteY860" fmla="*/ 1869421 h 6072782"/>
                <a:gd name="connsiteX861" fmla="*/ 6110693 w 12050057"/>
                <a:gd name="connsiteY861" fmla="*/ 1862272 h 6072782"/>
                <a:gd name="connsiteX862" fmla="*/ 6126816 w 12050057"/>
                <a:gd name="connsiteY862" fmla="*/ 1853450 h 6072782"/>
                <a:gd name="connsiteX863" fmla="*/ 6143623 w 12050057"/>
                <a:gd name="connsiteY863" fmla="*/ 1842347 h 6072782"/>
                <a:gd name="connsiteX864" fmla="*/ 4222720 w 12050057"/>
                <a:gd name="connsiteY864" fmla="*/ 1842347 h 6072782"/>
                <a:gd name="connsiteX865" fmla="*/ 4237627 w 12050057"/>
                <a:gd name="connsiteY865" fmla="*/ 1842347 h 6072782"/>
                <a:gd name="connsiteX866" fmla="*/ 4237627 w 12050057"/>
                <a:gd name="connsiteY866" fmla="*/ 2065327 h 6072782"/>
                <a:gd name="connsiteX867" fmla="*/ 4202339 w 12050057"/>
                <a:gd name="connsiteY867" fmla="*/ 2065327 h 6072782"/>
                <a:gd name="connsiteX868" fmla="*/ 4202339 w 12050057"/>
                <a:gd name="connsiteY868" fmla="*/ 1885543 h 6072782"/>
                <a:gd name="connsiteX869" fmla="*/ 4181729 w 12050057"/>
                <a:gd name="connsiteY869" fmla="*/ 1897179 h 6072782"/>
                <a:gd name="connsiteX870" fmla="*/ 4156556 w 12050057"/>
                <a:gd name="connsiteY870" fmla="*/ 1905621 h 6072782"/>
                <a:gd name="connsiteX871" fmla="*/ 4156556 w 12050057"/>
                <a:gd name="connsiteY871" fmla="*/ 1875505 h 6072782"/>
                <a:gd name="connsiteX872" fmla="*/ 4173591 w 12050057"/>
                <a:gd name="connsiteY872" fmla="*/ 1869421 h 6072782"/>
                <a:gd name="connsiteX873" fmla="*/ 4189791 w 12050057"/>
                <a:gd name="connsiteY873" fmla="*/ 1862272 h 6072782"/>
                <a:gd name="connsiteX874" fmla="*/ 4205915 w 12050057"/>
                <a:gd name="connsiteY874" fmla="*/ 1853450 h 6072782"/>
                <a:gd name="connsiteX875" fmla="*/ 4222720 w 12050057"/>
                <a:gd name="connsiteY875" fmla="*/ 1842347 h 6072782"/>
                <a:gd name="connsiteX876" fmla="*/ 3333016 w 12050057"/>
                <a:gd name="connsiteY876" fmla="*/ 1842347 h 6072782"/>
                <a:gd name="connsiteX877" fmla="*/ 3347923 w 12050057"/>
                <a:gd name="connsiteY877" fmla="*/ 1842347 h 6072782"/>
                <a:gd name="connsiteX878" fmla="*/ 3347923 w 12050057"/>
                <a:gd name="connsiteY878" fmla="*/ 2065327 h 6072782"/>
                <a:gd name="connsiteX879" fmla="*/ 3312636 w 12050057"/>
                <a:gd name="connsiteY879" fmla="*/ 2065327 h 6072782"/>
                <a:gd name="connsiteX880" fmla="*/ 3312636 w 12050057"/>
                <a:gd name="connsiteY880" fmla="*/ 1885543 h 6072782"/>
                <a:gd name="connsiteX881" fmla="*/ 3292025 w 12050057"/>
                <a:gd name="connsiteY881" fmla="*/ 1897179 h 6072782"/>
                <a:gd name="connsiteX882" fmla="*/ 3266852 w 12050057"/>
                <a:gd name="connsiteY882" fmla="*/ 1905621 h 6072782"/>
                <a:gd name="connsiteX883" fmla="*/ 3266852 w 12050057"/>
                <a:gd name="connsiteY883" fmla="*/ 1875505 h 6072782"/>
                <a:gd name="connsiteX884" fmla="*/ 3283887 w 12050057"/>
                <a:gd name="connsiteY884" fmla="*/ 1869421 h 6072782"/>
                <a:gd name="connsiteX885" fmla="*/ 3300088 w 12050057"/>
                <a:gd name="connsiteY885" fmla="*/ 1862272 h 6072782"/>
                <a:gd name="connsiteX886" fmla="*/ 3316209 w 12050057"/>
                <a:gd name="connsiteY886" fmla="*/ 1853450 h 6072782"/>
                <a:gd name="connsiteX887" fmla="*/ 3333016 w 12050057"/>
                <a:gd name="connsiteY887" fmla="*/ 1842347 h 6072782"/>
                <a:gd name="connsiteX888" fmla="*/ 1449476 w 12050057"/>
                <a:gd name="connsiteY888" fmla="*/ 1842347 h 6072782"/>
                <a:gd name="connsiteX889" fmla="*/ 1464382 w 12050057"/>
                <a:gd name="connsiteY889" fmla="*/ 1842347 h 6072782"/>
                <a:gd name="connsiteX890" fmla="*/ 1464382 w 12050057"/>
                <a:gd name="connsiteY890" fmla="*/ 2065327 h 6072782"/>
                <a:gd name="connsiteX891" fmla="*/ 1429094 w 12050057"/>
                <a:gd name="connsiteY891" fmla="*/ 2065327 h 6072782"/>
                <a:gd name="connsiteX892" fmla="*/ 1429094 w 12050057"/>
                <a:gd name="connsiteY892" fmla="*/ 1885543 h 6072782"/>
                <a:gd name="connsiteX893" fmla="*/ 1408485 w 12050057"/>
                <a:gd name="connsiteY893" fmla="*/ 1897179 h 6072782"/>
                <a:gd name="connsiteX894" fmla="*/ 1383312 w 12050057"/>
                <a:gd name="connsiteY894" fmla="*/ 1905621 h 6072782"/>
                <a:gd name="connsiteX895" fmla="*/ 1383312 w 12050057"/>
                <a:gd name="connsiteY895" fmla="*/ 1875505 h 6072782"/>
                <a:gd name="connsiteX896" fmla="*/ 1400347 w 12050057"/>
                <a:gd name="connsiteY896" fmla="*/ 1869421 h 6072782"/>
                <a:gd name="connsiteX897" fmla="*/ 1416546 w 12050057"/>
                <a:gd name="connsiteY897" fmla="*/ 1862272 h 6072782"/>
                <a:gd name="connsiteX898" fmla="*/ 1432669 w 12050057"/>
                <a:gd name="connsiteY898" fmla="*/ 1853450 h 6072782"/>
                <a:gd name="connsiteX899" fmla="*/ 1449476 w 12050057"/>
                <a:gd name="connsiteY899" fmla="*/ 1842347 h 6072782"/>
                <a:gd name="connsiteX900" fmla="*/ 77530 w 12050057"/>
                <a:gd name="connsiteY900" fmla="*/ 1842347 h 6072782"/>
                <a:gd name="connsiteX901" fmla="*/ 92436 w 12050057"/>
                <a:gd name="connsiteY901" fmla="*/ 1842347 h 6072782"/>
                <a:gd name="connsiteX902" fmla="*/ 92436 w 12050057"/>
                <a:gd name="connsiteY902" fmla="*/ 2065327 h 6072782"/>
                <a:gd name="connsiteX903" fmla="*/ 57148 w 12050057"/>
                <a:gd name="connsiteY903" fmla="*/ 2065327 h 6072782"/>
                <a:gd name="connsiteX904" fmla="*/ 57148 w 12050057"/>
                <a:gd name="connsiteY904" fmla="*/ 1885543 h 6072782"/>
                <a:gd name="connsiteX905" fmla="*/ 36539 w 12050057"/>
                <a:gd name="connsiteY905" fmla="*/ 1897179 h 6072782"/>
                <a:gd name="connsiteX906" fmla="*/ 11366 w 12050057"/>
                <a:gd name="connsiteY906" fmla="*/ 1905621 h 6072782"/>
                <a:gd name="connsiteX907" fmla="*/ 11366 w 12050057"/>
                <a:gd name="connsiteY907" fmla="*/ 1875505 h 6072782"/>
                <a:gd name="connsiteX908" fmla="*/ 28401 w 12050057"/>
                <a:gd name="connsiteY908" fmla="*/ 1869421 h 6072782"/>
                <a:gd name="connsiteX909" fmla="*/ 44600 w 12050057"/>
                <a:gd name="connsiteY909" fmla="*/ 1862272 h 6072782"/>
                <a:gd name="connsiteX910" fmla="*/ 60723 w 12050057"/>
                <a:gd name="connsiteY910" fmla="*/ 1853450 h 6072782"/>
                <a:gd name="connsiteX911" fmla="*/ 77530 w 12050057"/>
                <a:gd name="connsiteY911" fmla="*/ 1842347 h 6072782"/>
                <a:gd name="connsiteX912" fmla="*/ 12035151 w 12050057"/>
                <a:gd name="connsiteY912" fmla="*/ 1522003 h 6072782"/>
                <a:gd name="connsiteX913" fmla="*/ 12050057 w 12050057"/>
                <a:gd name="connsiteY913" fmla="*/ 1522003 h 6072782"/>
                <a:gd name="connsiteX914" fmla="*/ 12050057 w 12050057"/>
                <a:gd name="connsiteY914" fmla="*/ 1744983 h 6072782"/>
                <a:gd name="connsiteX915" fmla="*/ 12014769 w 12050057"/>
                <a:gd name="connsiteY915" fmla="*/ 1744983 h 6072782"/>
                <a:gd name="connsiteX916" fmla="*/ 12014769 w 12050057"/>
                <a:gd name="connsiteY916" fmla="*/ 1565200 h 6072782"/>
                <a:gd name="connsiteX917" fmla="*/ 11994160 w 12050057"/>
                <a:gd name="connsiteY917" fmla="*/ 1576835 h 6072782"/>
                <a:gd name="connsiteX918" fmla="*/ 11968987 w 12050057"/>
                <a:gd name="connsiteY918" fmla="*/ 1585277 h 6072782"/>
                <a:gd name="connsiteX919" fmla="*/ 11968987 w 12050057"/>
                <a:gd name="connsiteY919" fmla="*/ 1555161 h 6072782"/>
                <a:gd name="connsiteX920" fmla="*/ 11986022 w 12050057"/>
                <a:gd name="connsiteY920" fmla="*/ 1549077 h 6072782"/>
                <a:gd name="connsiteX921" fmla="*/ 12002221 w 12050057"/>
                <a:gd name="connsiteY921" fmla="*/ 1541928 h 6072782"/>
                <a:gd name="connsiteX922" fmla="*/ 12018344 w 12050057"/>
                <a:gd name="connsiteY922" fmla="*/ 1533106 h 6072782"/>
                <a:gd name="connsiteX923" fmla="*/ 12035151 w 12050057"/>
                <a:gd name="connsiteY923" fmla="*/ 1522003 h 6072782"/>
                <a:gd name="connsiteX924" fmla="*/ 10410370 w 12050057"/>
                <a:gd name="connsiteY924" fmla="*/ 1522003 h 6072782"/>
                <a:gd name="connsiteX925" fmla="*/ 10425276 w 12050057"/>
                <a:gd name="connsiteY925" fmla="*/ 1522003 h 6072782"/>
                <a:gd name="connsiteX926" fmla="*/ 10425276 w 12050057"/>
                <a:gd name="connsiteY926" fmla="*/ 1744983 h 6072782"/>
                <a:gd name="connsiteX927" fmla="*/ 10389988 w 12050057"/>
                <a:gd name="connsiteY927" fmla="*/ 1744983 h 6072782"/>
                <a:gd name="connsiteX928" fmla="*/ 10389988 w 12050057"/>
                <a:gd name="connsiteY928" fmla="*/ 1565200 h 6072782"/>
                <a:gd name="connsiteX929" fmla="*/ 10369379 w 12050057"/>
                <a:gd name="connsiteY929" fmla="*/ 1576835 h 6072782"/>
                <a:gd name="connsiteX930" fmla="*/ 10344206 w 12050057"/>
                <a:gd name="connsiteY930" fmla="*/ 1585277 h 6072782"/>
                <a:gd name="connsiteX931" fmla="*/ 10344206 w 12050057"/>
                <a:gd name="connsiteY931" fmla="*/ 1555161 h 6072782"/>
                <a:gd name="connsiteX932" fmla="*/ 10361241 w 12050057"/>
                <a:gd name="connsiteY932" fmla="*/ 1549077 h 6072782"/>
                <a:gd name="connsiteX933" fmla="*/ 10377440 w 12050057"/>
                <a:gd name="connsiteY933" fmla="*/ 1541928 h 6072782"/>
                <a:gd name="connsiteX934" fmla="*/ 10393563 w 12050057"/>
                <a:gd name="connsiteY934" fmla="*/ 1533106 h 6072782"/>
                <a:gd name="connsiteX935" fmla="*/ 10410370 w 12050057"/>
                <a:gd name="connsiteY935" fmla="*/ 1522003 h 6072782"/>
                <a:gd name="connsiteX936" fmla="*/ 9532663 w 12050057"/>
                <a:gd name="connsiteY936" fmla="*/ 1522003 h 6072782"/>
                <a:gd name="connsiteX937" fmla="*/ 9547569 w 12050057"/>
                <a:gd name="connsiteY937" fmla="*/ 1522003 h 6072782"/>
                <a:gd name="connsiteX938" fmla="*/ 9547569 w 12050057"/>
                <a:gd name="connsiteY938" fmla="*/ 1744983 h 6072782"/>
                <a:gd name="connsiteX939" fmla="*/ 9512281 w 12050057"/>
                <a:gd name="connsiteY939" fmla="*/ 1744983 h 6072782"/>
                <a:gd name="connsiteX940" fmla="*/ 9512281 w 12050057"/>
                <a:gd name="connsiteY940" fmla="*/ 1565200 h 6072782"/>
                <a:gd name="connsiteX941" fmla="*/ 9491672 w 12050057"/>
                <a:gd name="connsiteY941" fmla="*/ 1576835 h 6072782"/>
                <a:gd name="connsiteX942" fmla="*/ 9466499 w 12050057"/>
                <a:gd name="connsiteY942" fmla="*/ 1585277 h 6072782"/>
                <a:gd name="connsiteX943" fmla="*/ 9466499 w 12050057"/>
                <a:gd name="connsiteY943" fmla="*/ 1555161 h 6072782"/>
                <a:gd name="connsiteX944" fmla="*/ 9483534 w 12050057"/>
                <a:gd name="connsiteY944" fmla="*/ 1549077 h 6072782"/>
                <a:gd name="connsiteX945" fmla="*/ 9499733 w 12050057"/>
                <a:gd name="connsiteY945" fmla="*/ 1541928 h 6072782"/>
                <a:gd name="connsiteX946" fmla="*/ 9515856 w 12050057"/>
                <a:gd name="connsiteY946" fmla="*/ 1533106 h 6072782"/>
                <a:gd name="connsiteX947" fmla="*/ 9532663 w 12050057"/>
                <a:gd name="connsiteY947" fmla="*/ 1522003 h 6072782"/>
                <a:gd name="connsiteX948" fmla="*/ 8660208 w 12050057"/>
                <a:gd name="connsiteY948" fmla="*/ 1522003 h 6072782"/>
                <a:gd name="connsiteX949" fmla="*/ 8675114 w 12050057"/>
                <a:gd name="connsiteY949" fmla="*/ 1522003 h 6072782"/>
                <a:gd name="connsiteX950" fmla="*/ 8675114 w 12050057"/>
                <a:gd name="connsiteY950" fmla="*/ 1744983 h 6072782"/>
                <a:gd name="connsiteX951" fmla="*/ 8639826 w 12050057"/>
                <a:gd name="connsiteY951" fmla="*/ 1744983 h 6072782"/>
                <a:gd name="connsiteX952" fmla="*/ 8639826 w 12050057"/>
                <a:gd name="connsiteY952" fmla="*/ 1565200 h 6072782"/>
                <a:gd name="connsiteX953" fmla="*/ 8619217 w 12050057"/>
                <a:gd name="connsiteY953" fmla="*/ 1576835 h 6072782"/>
                <a:gd name="connsiteX954" fmla="*/ 8594044 w 12050057"/>
                <a:gd name="connsiteY954" fmla="*/ 1585277 h 6072782"/>
                <a:gd name="connsiteX955" fmla="*/ 8594044 w 12050057"/>
                <a:gd name="connsiteY955" fmla="*/ 1555161 h 6072782"/>
                <a:gd name="connsiteX956" fmla="*/ 8611079 w 12050057"/>
                <a:gd name="connsiteY956" fmla="*/ 1549077 h 6072782"/>
                <a:gd name="connsiteX957" fmla="*/ 8627278 w 12050057"/>
                <a:gd name="connsiteY957" fmla="*/ 1541928 h 6072782"/>
                <a:gd name="connsiteX958" fmla="*/ 8643401 w 12050057"/>
                <a:gd name="connsiteY958" fmla="*/ 1533106 h 6072782"/>
                <a:gd name="connsiteX959" fmla="*/ 8660208 w 12050057"/>
                <a:gd name="connsiteY959" fmla="*/ 1522003 h 6072782"/>
                <a:gd name="connsiteX960" fmla="*/ 6671076 w 12050057"/>
                <a:gd name="connsiteY960" fmla="*/ 1522003 h 6072782"/>
                <a:gd name="connsiteX961" fmla="*/ 6685982 w 12050057"/>
                <a:gd name="connsiteY961" fmla="*/ 1522003 h 6072782"/>
                <a:gd name="connsiteX962" fmla="*/ 6685982 w 12050057"/>
                <a:gd name="connsiteY962" fmla="*/ 1744983 h 6072782"/>
                <a:gd name="connsiteX963" fmla="*/ 6650694 w 12050057"/>
                <a:gd name="connsiteY963" fmla="*/ 1744983 h 6072782"/>
                <a:gd name="connsiteX964" fmla="*/ 6650694 w 12050057"/>
                <a:gd name="connsiteY964" fmla="*/ 1565200 h 6072782"/>
                <a:gd name="connsiteX965" fmla="*/ 6630085 w 12050057"/>
                <a:gd name="connsiteY965" fmla="*/ 1576835 h 6072782"/>
                <a:gd name="connsiteX966" fmla="*/ 6604912 w 12050057"/>
                <a:gd name="connsiteY966" fmla="*/ 1585277 h 6072782"/>
                <a:gd name="connsiteX967" fmla="*/ 6604912 w 12050057"/>
                <a:gd name="connsiteY967" fmla="*/ 1555161 h 6072782"/>
                <a:gd name="connsiteX968" fmla="*/ 6621947 w 12050057"/>
                <a:gd name="connsiteY968" fmla="*/ 1549077 h 6072782"/>
                <a:gd name="connsiteX969" fmla="*/ 6638146 w 12050057"/>
                <a:gd name="connsiteY969" fmla="*/ 1541928 h 6072782"/>
                <a:gd name="connsiteX970" fmla="*/ 6654269 w 12050057"/>
                <a:gd name="connsiteY970" fmla="*/ 1533106 h 6072782"/>
                <a:gd name="connsiteX971" fmla="*/ 6671076 w 12050057"/>
                <a:gd name="connsiteY971" fmla="*/ 1522003 h 6072782"/>
                <a:gd name="connsiteX972" fmla="*/ 5979098 w 12050057"/>
                <a:gd name="connsiteY972" fmla="*/ 1522003 h 6072782"/>
                <a:gd name="connsiteX973" fmla="*/ 5994004 w 12050057"/>
                <a:gd name="connsiteY973" fmla="*/ 1522003 h 6072782"/>
                <a:gd name="connsiteX974" fmla="*/ 5994004 w 12050057"/>
                <a:gd name="connsiteY974" fmla="*/ 1744983 h 6072782"/>
                <a:gd name="connsiteX975" fmla="*/ 5958716 w 12050057"/>
                <a:gd name="connsiteY975" fmla="*/ 1744983 h 6072782"/>
                <a:gd name="connsiteX976" fmla="*/ 5958716 w 12050057"/>
                <a:gd name="connsiteY976" fmla="*/ 1565200 h 6072782"/>
                <a:gd name="connsiteX977" fmla="*/ 5938107 w 12050057"/>
                <a:gd name="connsiteY977" fmla="*/ 1576835 h 6072782"/>
                <a:gd name="connsiteX978" fmla="*/ 5912934 w 12050057"/>
                <a:gd name="connsiteY978" fmla="*/ 1585277 h 6072782"/>
                <a:gd name="connsiteX979" fmla="*/ 5912934 w 12050057"/>
                <a:gd name="connsiteY979" fmla="*/ 1555161 h 6072782"/>
                <a:gd name="connsiteX980" fmla="*/ 5929969 w 12050057"/>
                <a:gd name="connsiteY980" fmla="*/ 1549077 h 6072782"/>
                <a:gd name="connsiteX981" fmla="*/ 5946168 w 12050057"/>
                <a:gd name="connsiteY981" fmla="*/ 1541928 h 6072782"/>
                <a:gd name="connsiteX982" fmla="*/ 5962291 w 12050057"/>
                <a:gd name="connsiteY982" fmla="*/ 1533106 h 6072782"/>
                <a:gd name="connsiteX983" fmla="*/ 5979098 w 12050057"/>
                <a:gd name="connsiteY983" fmla="*/ 1522003 h 6072782"/>
                <a:gd name="connsiteX984" fmla="*/ 4354317 w 12050057"/>
                <a:gd name="connsiteY984" fmla="*/ 1522003 h 6072782"/>
                <a:gd name="connsiteX985" fmla="*/ 4369223 w 12050057"/>
                <a:gd name="connsiteY985" fmla="*/ 1522003 h 6072782"/>
                <a:gd name="connsiteX986" fmla="*/ 4369223 w 12050057"/>
                <a:gd name="connsiteY986" fmla="*/ 1744983 h 6072782"/>
                <a:gd name="connsiteX987" fmla="*/ 4333935 w 12050057"/>
                <a:gd name="connsiteY987" fmla="*/ 1744983 h 6072782"/>
                <a:gd name="connsiteX988" fmla="*/ 4333935 w 12050057"/>
                <a:gd name="connsiteY988" fmla="*/ 1565200 h 6072782"/>
                <a:gd name="connsiteX989" fmla="*/ 4313326 w 12050057"/>
                <a:gd name="connsiteY989" fmla="*/ 1576835 h 6072782"/>
                <a:gd name="connsiteX990" fmla="*/ 4288153 w 12050057"/>
                <a:gd name="connsiteY990" fmla="*/ 1585277 h 6072782"/>
                <a:gd name="connsiteX991" fmla="*/ 4288153 w 12050057"/>
                <a:gd name="connsiteY991" fmla="*/ 1555161 h 6072782"/>
                <a:gd name="connsiteX992" fmla="*/ 4305188 w 12050057"/>
                <a:gd name="connsiteY992" fmla="*/ 1549077 h 6072782"/>
                <a:gd name="connsiteX993" fmla="*/ 4321387 w 12050057"/>
                <a:gd name="connsiteY993" fmla="*/ 1541928 h 6072782"/>
                <a:gd name="connsiteX994" fmla="*/ 4337511 w 12050057"/>
                <a:gd name="connsiteY994" fmla="*/ 1533106 h 6072782"/>
                <a:gd name="connsiteX995" fmla="*/ 4354317 w 12050057"/>
                <a:gd name="connsiteY995" fmla="*/ 1522003 h 6072782"/>
                <a:gd name="connsiteX996" fmla="*/ 3476610 w 12050057"/>
                <a:gd name="connsiteY996" fmla="*/ 1522003 h 6072782"/>
                <a:gd name="connsiteX997" fmla="*/ 3491517 w 12050057"/>
                <a:gd name="connsiteY997" fmla="*/ 1522003 h 6072782"/>
                <a:gd name="connsiteX998" fmla="*/ 3491517 w 12050057"/>
                <a:gd name="connsiteY998" fmla="*/ 1744983 h 6072782"/>
                <a:gd name="connsiteX999" fmla="*/ 3456229 w 12050057"/>
                <a:gd name="connsiteY999" fmla="*/ 1744983 h 6072782"/>
                <a:gd name="connsiteX1000" fmla="*/ 3456229 w 12050057"/>
                <a:gd name="connsiteY1000" fmla="*/ 1565200 h 6072782"/>
                <a:gd name="connsiteX1001" fmla="*/ 3435619 w 12050057"/>
                <a:gd name="connsiteY1001" fmla="*/ 1576835 h 6072782"/>
                <a:gd name="connsiteX1002" fmla="*/ 3410446 w 12050057"/>
                <a:gd name="connsiteY1002" fmla="*/ 1585277 h 6072782"/>
                <a:gd name="connsiteX1003" fmla="*/ 3410446 w 12050057"/>
                <a:gd name="connsiteY1003" fmla="*/ 1555161 h 6072782"/>
                <a:gd name="connsiteX1004" fmla="*/ 3427481 w 12050057"/>
                <a:gd name="connsiteY1004" fmla="*/ 1549077 h 6072782"/>
                <a:gd name="connsiteX1005" fmla="*/ 3443681 w 12050057"/>
                <a:gd name="connsiteY1005" fmla="*/ 1541928 h 6072782"/>
                <a:gd name="connsiteX1006" fmla="*/ 3459803 w 12050057"/>
                <a:gd name="connsiteY1006" fmla="*/ 1533106 h 6072782"/>
                <a:gd name="connsiteX1007" fmla="*/ 3476610 w 12050057"/>
                <a:gd name="connsiteY1007" fmla="*/ 1522003 h 6072782"/>
                <a:gd name="connsiteX1008" fmla="*/ 2604155 w 12050057"/>
                <a:gd name="connsiteY1008" fmla="*/ 1522003 h 6072782"/>
                <a:gd name="connsiteX1009" fmla="*/ 2619062 w 12050057"/>
                <a:gd name="connsiteY1009" fmla="*/ 1522003 h 6072782"/>
                <a:gd name="connsiteX1010" fmla="*/ 2619062 w 12050057"/>
                <a:gd name="connsiteY1010" fmla="*/ 1744983 h 6072782"/>
                <a:gd name="connsiteX1011" fmla="*/ 2583774 w 12050057"/>
                <a:gd name="connsiteY1011" fmla="*/ 1744983 h 6072782"/>
                <a:gd name="connsiteX1012" fmla="*/ 2583774 w 12050057"/>
                <a:gd name="connsiteY1012" fmla="*/ 1565200 h 6072782"/>
                <a:gd name="connsiteX1013" fmla="*/ 2563164 w 12050057"/>
                <a:gd name="connsiteY1013" fmla="*/ 1576835 h 6072782"/>
                <a:gd name="connsiteX1014" fmla="*/ 2537992 w 12050057"/>
                <a:gd name="connsiteY1014" fmla="*/ 1585277 h 6072782"/>
                <a:gd name="connsiteX1015" fmla="*/ 2537992 w 12050057"/>
                <a:gd name="connsiteY1015" fmla="*/ 1555161 h 6072782"/>
                <a:gd name="connsiteX1016" fmla="*/ 2555027 w 12050057"/>
                <a:gd name="connsiteY1016" fmla="*/ 1549077 h 6072782"/>
                <a:gd name="connsiteX1017" fmla="*/ 2571226 w 12050057"/>
                <a:gd name="connsiteY1017" fmla="*/ 1541928 h 6072782"/>
                <a:gd name="connsiteX1018" fmla="*/ 2587348 w 12050057"/>
                <a:gd name="connsiteY1018" fmla="*/ 1533106 h 6072782"/>
                <a:gd name="connsiteX1019" fmla="*/ 2604155 w 12050057"/>
                <a:gd name="connsiteY1019" fmla="*/ 1522003 h 6072782"/>
                <a:gd name="connsiteX1020" fmla="*/ 619557 w 12050057"/>
                <a:gd name="connsiteY1020" fmla="*/ 1522003 h 6072782"/>
                <a:gd name="connsiteX1021" fmla="*/ 634463 w 12050057"/>
                <a:gd name="connsiteY1021" fmla="*/ 1522003 h 6072782"/>
                <a:gd name="connsiteX1022" fmla="*/ 634463 w 12050057"/>
                <a:gd name="connsiteY1022" fmla="*/ 1744983 h 6072782"/>
                <a:gd name="connsiteX1023" fmla="*/ 599175 w 12050057"/>
                <a:gd name="connsiteY1023" fmla="*/ 1744983 h 6072782"/>
                <a:gd name="connsiteX1024" fmla="*/ 599175 w 12050057"/>
                <a:gd name="connsiteY1024" fmla="*/ 1565200 h 6072782"/>
                <a:gd name="connsiteX1025" fmla="*/ 578566 w 12050057"/>
                <a:gd name="connsiteY1025" fmla="*/ 1576835 h 6072782"/>
                <a:gd name="connsiteX1026" fmla="*/ 553393 w 12050057"/>
                <a:gd name="connsiteY1026" fmla="*/ 1585277 h 6072782"/>
                <a:gd name="connsiteX1027" fmla="*/ 553393 w 12050057"/>
                <a:gd name="connsiteY1027" fmla="*/ 1555161 h 6072782"/>
                <a:gd name="connsiteX1028" fmla="*/ 570428 w 12050057"/>
                <a:gd name="connsiteY1028" fmla="*/ 1549077 h 6072782"/>
                <a:gd name="connsiteX1029" fmla="*/ 586627 w 12050057"/>
                <a:gd name="connsiteY1029" fmla="*/ 1541928 h 6072782"/>
                <a:gd name="connsiteX1030" fmla="*/ 602750 w 12050057"/>
                <a:gd name="connsiteY1030" fmla="*/ 1533107 h 6072782"/>
                <a:gd name="connsiteX1031" fmla="*/ 619557 w 12050057"/>
                <a:gd name="connsiteY1031" fmla="*/ 1522003 h 6072782"/>
                <a:gd name="connsiteX1032" fmla="*/ 10298213 w 12050057"/>
                <a:gd name="connsiteY1032" fmla="*/ 1208699 h 6072782"/>
                <a:gd name="connsiteX1033" fmla="*/ 10313119 w 12050057"/>
                <a:gd name="connsiteY1033" fmla="*/ 1208699 h 6072782"/>
                <a:gd name="connsiteX1034" fmla="*/ 10313119 w 12050057"/>
                <a:gd name="connsiteY1034" fmla="*/ 1431679 h 6072782"/>
                <a:gd name="connsiteX1035" fmla="*/ 10277831 w 12050057"/>
                <a:gd name="connsiteY1035" fmla="*/ 1431679 h 6072782"/>
                <a:gd name="connsiteX1036" fmla="*/ 10277831 w 12050057"/>
                <a:gd name="connsiteY1036" fmla="*/ 1251896 h 6072782"/>
                <a:gd name="connsiteX1037" fmla="*/ 10257222 w 12050057"/>
                <a:gd name="connsiteY1037" fmla="*/ 1263531 h 6072782"/>
                <a:gd name="connsiteX1038" fmla="*/ 10232049 w 12050057"/>
                <a:gd name="connsiteY1038" fmla="*/ 1271973 h 6072782"/>
                <a:gd name="connsiteX1039" fmla="*/ 10232049 w 12050057"/>
                <a:gd name="connsiteY1039" fmla="*/ 1241857 h 6072782"/>
                <a:gd name="connsiteX1040" fmla="*/ 10249084 w 12050057"/>
                <a:gd name="connsiteY1040" fmla="*/ 1235773 h 6072782"/>
                <a:gd name="connsiteX1041" fmla="*/ 10265283 w 12050057"/>
                <a:gd name="connsiteY1041" fmla="*/ 1228624 h 6072782"/>
                <a:gd name="connsiteX1042" fmla="*/ 10281406 w 12050057"/>
                <a:gd name="connsiteY1042" fmla="*/ 1219802 h 6072782"/>
                <a:gd name="connsiteX1043" fmla="*/ 10298213 w 12050057"/>
                <a:gd name="connsiteY1043" fmla="*/ 1208699 h 6072782"/>
                <a:gd name="connsiteX1044" fmla="*/ 7177509 w 12050057"/>
                <a:gd name="connsiteY1044" fmla="*/ 1208699 h 6072782"/>
                <a:gd name="connsiteX1045" fmla="*/ 7192415 w 12050057"/>
                <a:gd name="connsiteY1045" fmla="*/ 1208699 h 6072782"/>
                <a:gd name="connsiteX1046" fmla="*/ 7192415 w 12050057"/>
                <a:gd name="connsiteY1046" fmla="*/ 1431679 h 6072782"/>
                <a:gd name="connsiteX1047" fmla="*/ 7157127 w 12050057"/>
                <a:gd name="connsiteY1047" fmla="*/ 1431679 h 6072782"/>
                <a:gd name="connsiteX1048" fmla="*/ 7157127 w 12050057"/>
                <a:gd name="connsiteY1048" fmla="*/ 1251896 h 6072782"/>
                <a:gd name="connsiteX1049" fmla="*/ 7136518 w 12050057"/>
                <a:gd name="connsiteY1049" fmla="*/ 1263531 h 6072782"/>
                <a:gd name="connsiteX1050" fmla="*/ 7111345 w 12050057"/>
                <a:gd name="connsiteY1050" fmla="*/ 1271973 h 6072782"/>
                <a:gd name="connsiteX1051" fmla="*/ 7111345 w 12050057"/>
                <a:gd name="connsiteY1051" fmla="*/ 1241857 h 6072782"/>
                <a:gd name="connsiteX1052" fmla="*/ 7128380 w 12050057"/>
                <a:gd name="connsiteY1052" fmla="*/ 1235773 h 6072782"/>
                <a:gd name="connsiteX1053" fmla="*/ 7144579 w 12050057"/>
                <a:gd name="connsiteY1053" fmla="*/ 1228624 h 6072782"/>
                <a:gd name="connsiteX1054" fmla="*/ 7160702 w 12050057"/>
                <a:gd name="connsiteY1054" fmla="*/ 1219802 h 6072782"/>
                <a:gd name="connsiteX1055" fmla="*/ 7177509 w 12050057"/>
                <a:gd name="connsiteY1055" fmla="*/ 1208699 h 6072782"/>
                <a:gd name="connsiteX1056" fmla="*/ 6285479 w 12050057"/>
                <a:gd name="connsiteY1056" fmla="*/ 1208699 h 6072782"/>
                <a:gd name="connsiteX1057" fmla="*/ 6300385 w 12050057"/>
                <a:gd name="connsiteY1057" fmla="*/ 1208699 h 6072782"/>
                <a:gd name="connsiteX1058" fmla="*/ 6300385 w 12050057"/>
                <a:gd name="connsiteY1058" fmla="*/ 1431679 h 6072782"/>
                <a:gd name="connsiteX1059" fmla="*/ 6265097 w 12050057"/>
                <a:gd name="connsiteY1059" fmla="*/ 1431679 h 6072782"/>
                <a:gd name="connsiteX1060" fmla="*/ 6265097 w 12050057"/>
                <a:gd name="connsiteY1060" fmla="*/ 1251896 h 6072782"/>
                <a:gd name="connsiteX1061" fmla="*/ 6244488 w 12050057"/>
                <a:gd name="connsiteY1061" fmla="*/ 1263531 h 6072782"/>
                <a:gd name="connsiteX1062" fmla="*/ 6219315 w 12050057"/>
                <a:gd name="connsiteY1062" fmla="*/ 1271973 h 6072782"/>
                <a:gd name="connsiteX1063" fmla="*/ 6219315 w 12050057"/>
                <a:gd name="connsiteY1063" fmla="*/ 1241857 h 6072782"/>
                <a:gd name="connsiteX1064" fmla="*/ 6236350 w 12050057"/>
                <a:gd name="connsiteY1064" fmla="*/ 1235773 h 6072782"/>
                <a:gd name="connsiteX1065" fmla="*/ 6252549 w 12050057"/>
                <a:gd name="connsiteY1065" fmla="*/ 1228624 h 6072782"/>
                <a:gd name="connsiteX1066" fmla="*/ 6268672 w 12050057"/>
                <a:gd name="connsiteY1066" fmla="*/ 1219802 h 6072782"/>
                <a:gd name="connsiteX1067" fmla="*/ 6285479 w 12050057"/>
                <a:gd name="connsiteY1067" fmla="*/ 1208699 h 6072782"/>
                <a:gd name="connsiteX1068" fmla="*/ 4235746 w 12050057"/>
                <a:gd name="connsiteY1068" fmla="*/ 1208699 h 6072782"/>
                <a:gd name="connsiteX1069" fmla="*/ 4250651 w 12050057"/>
                <a:gd name="connsiteY1069" fmla="*/ 1208699 h 6072782"/>
                <a:gd name="connsiteX1070" fmla="*/ 4250651 w 12050057"/>
                <a:gd name="connsiteY1070" fmla="*/ 1431679 h 6072782"/>
                <a:gd name="connsiteX1071" fmla="*/ 4215364 w 12050057"/>
                <a:gd name="connsiteY1071" fmla="*/ 1431679 h 6072782"/>
                <a:gd name="connsiteX1072" fmla="*/ 4215364 w 12050057"/>
                <a:gd name="connsiteY1072" fmla="*/ 1251896 h 6072782"/>
                <a:gd name="connsiteX1073" fmla="*/ 4194755 w 12050057"/>
                <a:gd name="connsiteY1073" fmla="*/ 1263531 h 6072782"/>
                <a:gd name="connsiteX1074" fmla="*/ 4169582 w 12050057"/>
                <a:gd name="connsiteY1074" fmla="*/ 1271973 h 6072782"/>
                <a:gd name="connsiteX1075" fmla="*/ 4169582 w 12050057"/>
                <a:gd name="connsiteY1075" fmla="*/ 1241857 h 6072782"/>
                <a:gd name="connsiteX1076" fmla="*/ 4186616 w 12050057"/>
                <a:gd name="connsiteY1076" fmla="*/ 1235773 h 6072782"/>
                <a:gd name="connsiteX1077" fmla="*/ 4202816 w 12050057"/>
                <a:gd name="connsiteY1077" fmla="*/ 1228624 h 6072782"/>
                <a:gd name="connsiteX1078" fmla="*/ 4218938 w 12050057"/>
                <a:gd name="connsiteY1078" fmla="*/ 1219802 h 6072782"/>
                <a:gd name="connsiteX1079" fmla="*/ 4235746 w 12050057"/>
                <a:gd name="connsiteY1079" fmla="*/ 1208699 h 6072782"/>
                <a:gd name="connsiteX1080" fmla="*/ 1114158 w 12050057"/>
                <a:gd name="connsiteY1080" fmla="*/ 1208699 h 6072782"/>
                <a:gd name="connsiteX1081" fmla="*/ 1129064 w 12050057"/>
                <a:gd name="connsiteY1081" fmla="*/ 1208699 h 6072782"/>
                <a:gd name="connsiteX1082" fmla="*/ 1129064 w 12050057"/>
                <a:gd name="connsiteY1082" fmla="*/ 1431679 h 6072782"/>
                <a:gd name="connsiteX1083" fmla="*/ 1093776 w 12050057"/>
                <a:gd name="connsiteY1083" fmla="*/ 1431679 h 6072782"/>
                <a:gd name="connsiteX1084" fmla="*/ 1093776 w 12050057"/>
                <a:gd name="connsiteY1084" fmla="*/ 1251896 h 6072782"/>
                <a:gd name="connsiteX1085" fmla="*/ 1073167 w 12050057"/>
                <a:gd name="connsiteY1085" fmla="*/ 1263531 h 6072782"/>
                <a:gd name="connsiteX1086" fmla="*/ 1047995 w 12050057"/>
                <a:gd name="connsiteY1086" fmla="*/ 1271973 h 6072782"/>
                <a:gd name="connsiteX1087" fmla="*/ 1047995 w 12050057"/>
                <a:gd name="connsiteY1087" fmla="*/ 1241857 h 6072782"/>
                <a:gd name="connsiteX1088" fmla="*/ 1065030 w 12050057"/>
                <a:gd name="connsiteY1088" fmla="*/ 1235773 h 6072782"/>
                <a:gd name="connsiteX1089" fmla="*/ 1081228 w 12050057"/>
                <a:gd name="connsiteY1089" fmla="*/ 1228624 h 6072782"/>
                <a:gd name="connsiteX1090" fmla="*/ 1097351 w 12050057"/>
                <a:gd name="connsiteY1090" fmla="*/ 1219802 h 6072782"/>
                <a:gd name="connsiteX1091" fmla="*/ 1114158 w 12050057"/>
                <a:gd name="connsiteY1091" fmla="*/ 1208699 h 6072782"/>
                <a:gd name="connsiteX1092" fmla="*/ 220216 w 12050057"/>
                <a:gd name="connsiteY1092" fmla="*/ 1208699 h 6072782"/>
                <a:gd name="connsiteX1093" fmla="*/ 235122 w 12050057"/>
                <a:gd name="connsiteY1093" fmla="*/ 1208699 h 6072782"/>
                <a:gd name="connsiteX1094" fmla="*/ 235122 w 12050057"/>
                <a:gd name="connsiteY1094" fmla="*/ 1431679 h 6072782"/>
                <a:gd name="connsiteX1095" fmla="*/ 199834 w 12050057"/>
                <a:gd name="connsiteY1095" fmla="*/ 1431679 h 6072782"/>
                <a:gd name="connsiteX1096" fmla="*/ 199834 w 12050057"/>
                <a:gd name="connsiteY1096" fmla="*/ 1251896 h 6072782"/>
                <a:gd name="connsiteX1097" fmla="*/ 179225 w 12050057"/>
                <a:gd name="connsiteY1097" fmla="*/ 1263531 h 6072782"/>
                <a:gd name="connsiteX1098" fmla="*/ 154052 w 12050057"/>
                <a:gd name="connsiteY1098" fmla="*/ 1271973 h 6072782"/>
                <a:gd name="connsiteX1099" fmla="*/ 154052 w 12050057"/>
                <a:gd name="connsiteY1099" fmla="*/ 1241857 h 6072782"/>
                <a:gd name="connsiteX1100" fmla="*/ 171087 w 12050057"/>
                <a:gd name="connsiteY1100" fmla="*/ 1235773 h 6072782"/>
                <a:gd name="connsiteX1101" fmla="*/ 187287 w 12050057"/>
                <a:gd name="connsiteY1101" fmla="*/ 1228624 h 6072782"/>
                <a:gd name="connsiteX1102" fmla="*/ 203409 w 12050057"/>
                <a:gd name="connsiteY1102" fmla="*/ 1219802 h 6072782"/>
                <a:gd name="connsiteX1103" fmla="*/ 220216 w 12050057"/>
                <a:gd name="connsiteY1103" fmla="*/ 1208699 h 6072782"/>
                <a:gd name="connsiteX1104" fmla="*/ 11447193 w 12050057"/>
                <a:gd name="connsiteY1104" fmla="*/ 915060 h 6072782"/>
                <a:gd name="connsiteX1105" fmla="*/ 11462099 w 12050057"/>
                <a:gd name="connsiteY1105" fmla="*/ 915060 h 6072782"/>
                <a:gd name="connsiteX1106" fmla="*/ 11462099 w 12050057"/>
                <a:gd name="connsiteY1106" fmla="*/ 1138040 h 6072782"/>
                <a:gd name="connsiteX1107" fmla="*/ 11426811 w 12050057"/>
                <a:gd name="connsiteY1107" fmla="*/ 1138040 h 6072782"/>
                <a:gd name="connsiteX1108" fmla="*/ 11426811 w 12050057"/>
                <a:gd name="connsiteY1108" fmla="*/ 958257 h 6072782"/>
                <a:gd name="connsiteX1109" fmla="*/ 11406202 w 12050057"/>
                <a:gd name="connsiteY1109" fmla="*/ 969892 h 6072782"/>
                <a:gd name="connsiteX1110" fmla="*/ 11381029 w 12050057"/>
                <a:gd name="connsiteY1110" fmla="*/ 978334 h 6072782"/>
                <a:gd name="connsiteX1111" fmla="*/ 11381029 w 12050057"/>
                <a:gd name="connsiteY1111" fmla="*/ 948218 h 6072782"/>
                <a:gd name="connsiteX1112" fmla="*/ 11398064 w 12050057"/>
                <a:gd name="connsiteY1112" fmla="*/ 942134 h 6072782"/>
                <a:gd name="connsiteX1113" fmla="*/ 11414263 w 12050057"/>
                <a:gd name="connsiteY1113" fmla="*/ 934985 h 6072782"/>
                <a:gd name="connsiteX1114" fmla="*/ 11430386 w 12050057"/>
                <a:gd name="connsiteY1114" fmla="*/ 926163 h 6072782"/>
                <a:gd name="connsiteX1115" fmla="*/ 11447193 w 12050057"/>
                <a:gd name="connsiteY1115" fmla="*/ 915060 h 6072782"/>
                <a:gd name="connsiteX1116" fmla="*/ 9440313 w 12050057"/>
                <a:gd name="connsiteY1116" fmla="*/ 915060 h 6072782"/>
                <a:gd name="connsiteX1117" fmla="*/ 9455219 w 12050057"/>
                <a:gd name="connsiteY1117" fmla="*/ 915060 h 6072782"/>
                <a:gd name="connsiteX1118" fmla="*/ 9455219 w 12050057"/>
                <a:gd name="connsiteY1118" fmla="*/ 1138040 h 6072782"/>
                <a:gd name="connsiteX1119" fmla="*/ 9419931 w 12050057"/>
                <a:gd name="connsiteY1119" fmla="*/ 1138040 h 6072782"/>
                <a:gd name="connsiteX1120" fmla="*/ 9419931 w 12050057"/>
                <a:gd name="connsiteY1120" fmla="*/ 958257 h 6072782"/>
                <a:gd name="connsiteX1121" fmla="*/ 9399322 w 12050057"/>
                <a:gd name="connsiteY1121" fmla="*/ 969892 h 6072782"/>
                <a:gd name="connsiteX1122" fmla="*/ 9374149 w 12050057"/>
                <a:gd name="connsiteY1122" fmla="*/ 978334 h 6072782"/>
                <a:gd name="connsiteX1123" fmla="*/ 9374149 w 12050057"/>
                <a:gd name="connsiteY1123" fmla="*/ 948218 h 6072782"/>
                <a:gd name="connsiteX1124" fmla="*/ 9391184 w 12050057"/>
                <a:gd name="connsiteY1124" fmla="*/ 942134 h 6072782"/>
                <a:gd name="connsiteX1125" fmla="*/ 9407383 w 12050057"/>
                <a:gd name="connsiteY1125" fmla="*/ 934985 h 6072782"/>
                <a:gd name="connsiteX1126" fmla="*/ 9423506 w 12050057"/>
                <a:gd name="connsiteY1126" fmla="*/ 926163 h 6072782"/>
                <a:gd name="connsiteX1127" fmla="*/ 9440313 w 12050057"/>
                <a:gd name="connsiteY1127" fmla="*/ 915060 h 6072782"/>
                <a:gd name="connsiteX1128" fmla="*/ 8939983 w 12050057"/>
                <a:gd name="connsiteY1128" fmla="*/ 915060 h 6072782"/>
                <a:gd name="connsiteX1129" fmla="*/ 8954889 w 12050057"/>
                <a:gd name="connsiteY1129" fmla="*/ 915060 h 6072782"/>
                <a:gd name="connsiteX1130" fmla="*/ 8954889 w 12050057"/>
                <a:gd name="connsiteY1130" fmla="*/ 1138040 h 6072782"/>
                <a:gd name="connsiteX1131" fmla="*/ 8919601 w 12050057"/>
                <a:gd name="connsiteY1131" fmla="*/ 1138040 h 6072782"/>
                <a:gd name="connsiteX1132" fmla="*/ 8919601 w 12050057"/>
                <a:gd name="connsiteY1132" fmla="*/ 958257 h 6072782"/>
                <a:gd name="connsiteX1133" fmla="*/ 8898992 w 12050057"/>
                <a:gd name="connsiteY1133" fmla="*/ 969892 h 6072782"/>
                <a:gd name="connsiteX1134" fmla="*/ 8873819 w 12050057"/>
                <a:gd name="connsiteY1134" fmla="*/ 978334 h 6072782"/>
                <a:gd name="connsiteX1135" fmla="*/ 8873819 w 12050057"/>
                <a:gd name="connsiteY1135" fmla="*/ 948218 h 6072782"/>
                <a:gd name="connsiteX1136" fmla="*/ 8890854 w 12050057"/>
                <a:gd name="connsiteY1136" fmla="*/ 942134 h 6072782"/>
                <a:gd name="connsiteX1137" fmla="*/ 8907053 w 12050057"/>
                <a:gd name="connsiteY1137" fmla="*/ 934985 h 6072782"/>
                <a:gd name="connsiteX1138" fmla="*/ 8923176 w 12050057"/>
                <a:gd name="connsiteY1138" fmla="*/ 926163 h 6072782"/>
                <a:gd name="connsiteX1139" fmla="*/ 8939983 w 12050057"/>
                <a:gd name="connsiteY1139" fmla="*/ 915060 h 6072782"/>
                <a:gd name="connsiteX1140" fmla="*/ 7311086 w 12050057"/>
                <a:gd name="connsiteY1140" fmla="*/ 915060 h 6072782"/>
                <a:gd name="connsiteX1141" fmla="*/ 7325992 w 12050057"/>
                <a:gd name="connsiteY1141" fmla="*/ 915060 h 6072782"/>
                <a:gd name="connsiteX1142" fmla="*/ 7325992 w 12050057"/>
                <a:gd name="connsiteY1142" fmla="*/ 1138040 h 6072782"/>
                <a:gd name="connsiteX1143" fmla="*/ 7290704 w 12050057"/>
                <a:gd name="connsiteY1143" fmla="*/ 1138040 h 6072782"/>
                <a:gd name="connsiteX1144" fmla="*/ 7290704 w 12050057"/>
                <a:gd name="connsiteY1144" fmla="*/ 958257 h 6072782"/>
                <a:gd name="connsiteX1145" fmla="*/ 7270095 w 12050057"/>
                <a:gd name="connsiteY1145" fmla="*/ 969892 h 6072782"/>
                <a:gd name="connsiteX1146" fmla="*/ 7244922 w 12050057"/>
                <a:gd name="connsiteY1146" fmla="*/ 978334 h 6072782"/>
                <a:gd name="connsiteX1147" fmla="*/ 7244922 w 12050057"/>
                <a:gd name="connsiteY1147" fmla="*/ 948218 h 6072782"/>
                <a:gd name="connsiteX1148" fmla="*/ 7261957 w 12050057"/>
                <a:gd name="connsiteY1148" fmla="*/ 942134 h 6072782"/>
                <a:gd name="connsiteX1149" fmla="*/ 7278156 w 12050057"/>
                <a:gd name="connsiteY1149" fmla="*/ 934985 h 6072782"/>
                <a:gd name="connsiteX1150" fmla="*/ 7294279 w 12050057"/>
                <a:gd name="connsiteY1150" fmla="*/ 926163 h 6072782"/>
                <a:gd name="connsiteX1151" fmla="*/ 7311086 w 12050057"/>
                <a:gd name="connsiteY1151" fmla="*/ 915060 h 6072782"/>
                <a:gd name="connsiteX1152" fmla="*/ 6441143 w 12050057"/>
                <a:gd name="connsiteY1152" fmla="*/ 915060 h 6072782"/>
                <a:gd name="connsiteX1153" fmla="*/ 6456049 w 12050057"/>
                <a:gd name="connsiteY1153" fmla="*/ 915060 h 6072782"/>
                <a:gd name="connsiteX1154" fmla="*/ 6456049 w 12050057"/>
                <a:gd name="connsiteY1154" fmla="*/ 1138040 h 6072782"/>
                <a:gd name="connsiteX1155" fmla="*/ 6420761 w 12050057"/>
                <a:gd name="connsiteY1155" fmla="*/ 1138040 h 6072782"/>
                <a:gd name="connsiteX1156" fmla="*/ 6420761 w 12050057"/>
                <a:gd name="connsiteY1156" fmla="*/ 958257 h 6072782"/>
                <a:gd name="connsiteX1157" fmla="*/ 6400152 w 12050057"/>
                <a:gd name="connsiteY1157" fmla="*/ 969892 h 6072782"/>
                <a:gd name="connsiteX1158" fmla="*/ 6374979 w 12050057"/>
                <a:gd name="connsiteY1158" fmla="*/ 978334 h 6072782"/>
                <a:gd name="connsiteX1159" fmla="*/ 6374979 w 12050057"/>
                <a:gd name="connsiteY1159" fmla="*/ 948218 h 6072782"/>
                <a:gd name="connsiteX1160" fmla="*/ 6392014 w 12050057"/>
                <a:gd name="connsiteY1160" fmla="*/ 942134 h 6072782"/>
                <a:gd name="connsiteX1161" fmla="*/ 6408213 w 12050057"/>
                <a:gd name="connsiteY1161" fmla="*/ 934985 h 6072782"/>
                <a:gd name="connsiteX1162" fmla="*/ 6424336 w 12050057"/>
                <a:gd name="connsiteY1162" fmla="*/ 926163 h 6072782"/>
                <a:gd name="connsiteX1163" fmla="*/ 6441143 w 12050057"/>
                <a:gd name="connsiteY1163" fmla="*/ 915060 h 6072782"/>
                <a:gd name="connsiteX1164" fmla="*/ 5371778 w 12050057"/>
                <a:gd name="connsiteY1164" fmla="*/ 915060 h 6072782"/>
                <a:gd name="connsiteX1165" fmla="*/ 5386684 w 12050057"/>
                <a:gd name="connsiteY1165" fmla="*/ 915060 h 6072782"/>
                <a:gd name="connsiteX1166" fmla="*/ 5386684 w 12050057"/>
                <a:gd name="connsiteY1166" fmla="*/ 1138040 h 6072782"/>
                <a:gd name="connsiteX1167" fmla="*/ 5351396 w 12050057"/>
                <a:gd name="connsiteY1167" fmla="*/ 1138040 h 6072782"/>
                <a:gd name="connsiteX1168" fmla="*/ 5351396 w 12050057"/>
                <a:gd name="connsiteY1168" fmla="*/ 958257 h 6072782"/>
                <a:gd name="connsiteX1169" fmla="*/ 5330786 w 12050057"/>
                <a:gd name="connsiteY1169" fmla="*/ 969892 h 6072782"/>
                <a:gd name="connsiteX1170" fmla="*/ 5305614 w 12050057"/>
                <a:gd name="connsiteY1170" fmla="*/ 978334 h 6072782"/>
                <a:gd name="connsiteX1171" fmla="*/ 5305614 w 12050057"/>
                <a:gd name="connsiteY1171" fmla="*/ 948218 h 6072782"/>
                <a:gd name="connsiteX1172" fmla="*/ 5322648 w 12050057"/>
                <a:gd name="connsiteY1172" fmla="*/ 942134 h 6072782"/>
                <a:gd name="connsiteX1173" fmla="*/ 5338848 w 12050057"/>
                <a:gd name="connsiteY1173" fmla="*/ 934985 h 6072782"/>
                <a:gd name="connsiteX1174" fmla="*/ 5354970 w 12050057"/>
                <a:gd name="connsiteY1174" fmla="*/ 926163 h 6072782"/>
                <a:gd name="connsiteX1175" fmla="*/ 5371778 w 12050057"/>
                <a:gd name="connsiteY1175" fmla="*/ 915060 h 6072782"/>
                <a:gd name="connsiteX1176" fmla="*/ 3379468 w 12050057"/>
                <a:gd name="connsiteY1176" fmla="*/ 915060 h 6072782"/>
                <a:gd name="connsiteX1177" fmla="*/ 3394374 w 12050057"/>
                <a:gd name="connsiteY1177" fmla="*/ 915060 h 6072782"/>
                <a:gd name="connsiteX1178" fmla="*/ 3394374 w 12050057"/>
                <a:gd name="connsiteY1178" fmla="*/ 1138040 h 6072782"/>
                <a:gd name="connsiteX1179" fmla="*/ 3359086 w 12050057"/>
                <a:gd name="connsiteY1179" fmla="*/ 1138040 h 6072782"/>
                <a:gd name="connsiteX1180" fmla="*/ 3359086 w 12050057"/>
                <a:gd name="connsiteY1180" fmla="*/ 958257 h 6072782"/>
                <a:gd name="connsiteX1181" fmla="*/ 3338478 w 12050057"/>
                <a:gd name="connsiteY1181" fmla="*/ 969892 h 6072782"/>
                <a:gd name="connsiteX1182" fmla="*/ 3313304 w 12050057"/>
                <a:gd name="connsiteY1182" fmla="*/ 978334 h 6072782"/>
                <a:gd name="connsiteX1183" fmla="*/ 3313304 w 12050057"/>
                <a:gd name="connsiteY1183" fmla="*/ 948218 h 6072782"/>
                <a:gd name="connsiteX1184" fmla="*/ 3330339 w 12050057"/>
                <a:gd name="connsiteY1184" fmla="*/ 942134 h 6072782"/>
                <a:gd name="connsiteX1185" fmla="*/ 3346539 w 12050057"/>
                <a:gd name="connsiteY1185" fmla="*/ 934985 h 6072782"/>
                <a:gd name="connsiteX1186" fmla="*/ 3362660 w 12050057"/>
                <a:gd name="connsiteY1186" fmla="*/ 926163 h 6072782"/>
                <a:gd name="connsiteX1187" fmla="*/ 3379468 w 12050057"/>
                <a:gd name="connsiteY1187" fmla="*/ 915060 h 6072782"/>
                <a:gd name="connsiteX1188" fmla="*/ 2867263 w 12050057"/>
                <a:gd name="connsiteY1188" fmla="*/ 915060 h 6072782"/>
                <a:gd name="connsiteX1189" fmla="*/ 2882170 w 12050057"/>
                <a:gd name="connsiteY1189" fmla="*/ 915060 h 6072782"/>
                <a:gd name="connsiteX1190" fmla="*/ 2882170 w 12050057"/>
                <a:gd name="connsiteY1190" fmla="*/ 1138040 h 6072782"/>
                <a:gd name="connsiteX1191" fmla="*/ 2846882 w 12050057"/>
                <a:gd name="connsiteY1191" fmla="*/ 1138040 h 6072782"/>
                <a:gd name="connsiteX1192" fmla="*/ 2846882 w 12050057"/>
                <a:gd name="connsiteY1192" fmla="*/ 958257 h 6072782"/>
                <a:gd name="connsiteX1193" fmla="*/ 2826273 w 12050057"/>
                <a:gd name="connsiteY1193" fmla="*/ 969892 h 6072782"/>
                <a:gd name="connsiteX1194" fmla="*/ 2801100 w 12050057"/>
                <a:gd name="connsiteY1194" fmla="*/ 978334 h 6072782"/>
                <a:gd name="connsiteX1195" fmla="*/ 2801100 w 12050057"/>
                <a:gd name="connsiteY1195" fmla="*/ 948218 h 6072782"/>
                <a:gd name="connsiteX1196" fmla="*/ 2818135 w 12050057"/>
                <a:gd name="connsiteY1196" fmla="*/ 942134 h 6072782"/>
                <a:gd name="connsiteX1197" fmla="*/ 2834335 w 12050057"/>
                <a:gd name="connsiteY1197" fmla="*/ 934985 h 6072782"/>
                <a:gd name="connsiteX1198" fmla="*/ 2850456 w 12050057"/>
                <a:gd name="connsiteY1198" fmla="*/ 926163 h 6072782"/>
                <a:gd name="connsiteX1199" fmla="*/ 2867263 w 12050057"/>
                <a:gd name="connsiteY1199" fmla="*/ 915060 h 6072782"/>
                <a:gd name="connsiteX1200" fmla="*/ 1259910 w 12050057"/>
                <a:gd name="connsiteY1200" fmla="*/ 915060 h 6072782"/>
                <a:gd name="connsiteX1201" fmla="*/ 1274816 w 12050057"/>
                <a:gd name="connsiteY1201" fmla="*/ 915060 h 6072782"/>
                <a:gd name="connsiteX1202" fmla="*/ 1274816 w 12050057"/>
                <a:gd name="connsiteY1202" fmla="*/ 1138040 h 6072782"/>
                <a:gd name="connsiteX1203" fmla="*/ 1239527 w 12050057"/>
                <a:gd name="connsiteY1203" fmla="*/ 1138040 h 6072782"/>
                <a:gd name="connsiteX1204" fmla="*/ 1239527 w 12050057"/>
                <a:gd name="connsiteY1204" fmla="*/ 958257 h 6072782"/>
                <a:gd name="connsiteX1205" fmla="*/ 1218918 w 12050057"/>
                <a:gd name="connsiteY1205" fmla="*/ 969892 h 6072782"/>
                <a:gd name="connsiteX1206" fmla="*/ 1193745 w 12050057"/>
                <a:gd name="connsiteY1206" fmla="*/ 978334 h 6072782"/>
                <a:gd name="connsiteX1207" fmla="*/ 1193745 w 12050057"/>
                <a:gd name="connsiteY1207" fmla="*/ 948218 h 6072782"/>
                <a:gd name="connsiteX1208" fmla="*/ 1210781 w 12050057"/>
                <a:gd name="connsiteY1208" fmla="*/ 942134 h 6072782"/>
                <a:gd name="connsiteX1209" fmla="*/ 1226979 w 12050057"/>
                <a:gd name="connsiteY1209" fmla="*/ 934985 h 6072782"/>
                <a:gd name="connsiteX1210" fmla="*/ 1243103 w 12050057"/>
                <a:gd name="connsiteY1210" fmla="*/ 926163 h 6072782"/>
                <a:gd name="connsiteX1211" fmla="*/ 1259910 w 12050057"/>
                <a:gd name="connsiteY1211" fmla="*/ 915060 h 6072782"/>
                <a:gd name="connsiteX1212" fmla="*/ 386669 w 12050057"/>
                <a:gd name="connsiteY1212" fmla="*/ 915060 h 6072782"/>
                <a:gd name="connsiteX1213" fmla="*/ 401575 w 12050057"/>
                <a:gd name="connsiteY1213" fmla="*/ 915060 h 6072782"/>
                <a:gd name="connsiteX1214" fmla="*/ 401575 w 12050057"/>
                <a:gd name="connsiteY1214" fmla="*/ 1138040 h 6072782"/>
                <a:gd name="connsiteX1215" fmla="*/ 366287 w 12050057"/>
                <a:gd name="connsiteY1215" fmla="*/ 1138040 h 6072782"/>
                <a:gd name="connsiteX1216" fmla="*/ 366287 w 12050057"/>
                <a:gd name="connsiteY1216" fmla="*/ 958257 h 6072782"/>
                <a:gd name="connsiteX1217" fmla="*/ 345678 w 12050057"/>
                <a:gd name="connsiteY1217" fmla="*/ 969892 h 6072782"/>
                <a:gd name="connsiteX1218" fmla="*/ 320505 w 12050057"/>
                <a:gd name="connsiteY1218" fmla="*/ 978334 h 6072782"/>
                <a:gd name="connsiteX1219" fmla="*/ 320505 w 12050057"/>
                <a:gd name="connsiteY1219" fmla="*/ 948218 h 6072782"/>
                <a:gd name="connsiteX1220" fmla="*/ 337540 w 12050057"/>
                <a:gd name="connsiteY1220" fmla="*/ 942134 h 6072782"/>
                <a:gd name="connsiteX1221" fmla="*/ 353739 w 12050057"/>
                <a:gd name="connsiteY1221" fmla="*/ 934985 h 6072782"/>
                <a:gd name="connsiteX1222" fmla="*/ 369861 w 12050057"/>
                <a:gd name="connsiteY1222" fmla="*/ 926163 h 6072782"/>
                <a:gd name="connsiteX1223" fmla="*/ 386669 w 12050057"/>
                <a:gd name="connsiteY1223" fmla="*/ 915060 h 6072782"/>
                <a:gd name="connsiteX1224" fmla="*/ 10303805 w 12050057"/>
                <a:gd name="connsiteY1224" fmla="*/ 632755 h 6072782"/>
                <a:gd name="connsiteX1225" fmla="*/ 10318711 w 12050057"/>
                <a:gd name="connsiteY1225" fmla="*/ 632755 h 6072782"/>
                <a:gd name="connsiteX1226" fmla="*/ 10318711 w 12050057"/>
                <a:gd name="connsiteY1226" fmla="*/ 855735 h 6072782"/>
                <a:gd name="connsiteX1227" fmla="*/ 10283423 w 12050057"/>
                <a:gd name="connsiteY1227" fmla="*/ 855735 h 6072782"/>
                <a:gd name="connsiteX1228" fmla="*/ 10283423 w 12050057"/>
                <a:gd name="connsiteY1228" fmla="*/ 675952 h 6072782"/>
                <a:gd name="connsiteX1229" fmla="*/ 10262814 w 12050057"/>
                <a:gd name="connsiteY1229" fmla="*/ 687587 h 6072782"/>
                <a:gd name="connsiteX1230" fmla="*/ 10237641 w 12050057"/>
                <a:gd name="connsiteY1230" fmla="*/ 696029 h 6072782"/>
                <a:gd name="connsiteX1231" fmla="*/ 10237641 w 12050057"/>
                <a:gd name="connsiteY1231" fmla="*/ 665913 h 6072782"/>
                <a:gd name="connsiteX1232" fmla="*/ 10254676 w 12050057"/>
                <a:gd name="connsiteY1232" fmla="*/ 659829 h 6072782"/>
                <a:gd name="connsiteX1233" fmla="*/ 10270875 w 12050057"/>
                <a:gd name="connsiteY1233" fmla="*/ 652680 h 6072782"/>
                <a:gd name="connsiteX1234" fmla="*/ 10286998 w 12050057"/>
                <a:gd name="connsiteY1234" fmla="*/ 643858 h 6072782"/>
                <a:gd name="connsiteX1235" fmla="*/ 10303805 w 12050057"/>
                <a:gd name="connsiteY1235" fmla="*/ 632755 h 6072782"/>
                <a:gd name="connsiteX1236" fmla="*/ 7183101 w 12050057"/>
                <a:gd name="connsiteY1236" fmla="*/ 632755 h 6072782"/>
                <a:gd name="connsiteX1237" fmla="*/ 7198007 w 12050057"/>
                <a:gd name="connsiteY1237" fmla="*/ 632755 h 6072782"/>
                <a:gd name="connsiteX1238" fmla="*/ 7198007 w 12050057"/>
                <a:gd name="connsiteY1238" fmla="*/ 855735 h 6072782"/>
                <a:gd name="connsiteX1239" fmla="*/ 7162719 w 12050057"/>
                <a:gd name="connsiteY1239" fmla="*/ 855735 h 6072782"/>
                <a:gd name="connsiteX1240" fmla="*/ 7162719 w 12050057"/>
                <a:gd name="connsiteY1240" fmla="*/ 675952 h 6072782"/>
                <a:gd name="connsiteX1241" fmla="*/ 7142110 w 12050057"/>
                <a:gd name="connsiteY1241" fmla="*/ 687587 h 6072782"/>
                <a:gd name="connsiteX1242" fmla="*/ 7116937 w 12050057"/>
                <a:gd name="connsiteY1242" fmla="*/ 696029 h 6072782"/>
                <a:gd name="connsiteX1243" fmla="*/ 7116937 w 12050057"/>
                <a:gd name="connsiteY1243" fmla="*/ 665913 h 6072782"/>
                <a:gd name="connsiteX1244" fmla="*/ 7133972 w 12050057"/>
                <a:gd name="connsiteY1244" fmla="*/ 659829 h 6072782"/>
                <a:gd name="connsiteX1245" fmla="*/ 7150171 w 12050057"/>
                <a:gd name="connsiteY1245" fmla="*/ 652680 h 6072782"/>
                <a:gd name="connsiteX1246" fmla="*/ 7166294 w 12050057"/>
                <a:gd name="connsiteY1246" fmla="*/ 643858 h 6072782"/>
                <a:gd name="connsiteX1247" fmla="*/ 7183101 w 12050057"/>
                <a:gd name="connsiteY1247" fmla="*/ 632755 h 6072782"/>
                <a:gd name="connsiteX1248" fmla="*/ 6291071 w 12050057"/>
                <a:gd name="connsiteY1248" fmla="*/ 632755 h 6072782"/>
                <a:gd name="connsiteX1249" fmla="*/ 6305977 w 12050057"/>
                <a:gd name="connsiteY1249" fmla="*/ 632755 h 6072782"/>
                <a:gd name="connsiteX1250" fmla="*/ 6305977 w 12050057"/>
                <a:gd name="connsiteY1250" fmla="*/ 855735 h 6072782"/>
                <a:gd name="connsiteX1251" fmla="*/ 6270689 w 12050057"/>
                <a:gd name="connsiteY1251" fmla="*/ 855735 h 6072782"/>
                <a:gd name="connsiteX1252" fmla="*/ 6270689 w 12050057"/>
                <a:gd name="connsiteY1252" fmla="*/ 675952 h 6072782"/>
                <a:gd name="connsiteX1253" fmla="*/ 6250080 w 12050057"/>
                <a:gd name="connsiteY1253" fmla="*/ 687587 h 6072782"/>
                <a:gd name="connsiteX1254" fmla="*/ 6224907 w 12050057"/>
                <a:gd name="connsiteY1254" fmla="*/ 696029 h 6072782"/>
                <a:gd name="connsiteX1255" fmla="*/ 6224907 w 12050057"/>
                <a:gd name="connsiteY1255" fmla="*/ 665913 h 6072782"/>
                <a:gd name="connsiteX1256" fmla="*/ 6241942 w 12050057"/>
                <a:gd name="connsiteY1256" fmla="*/ 659829 h 6072782"/>
                <a:gd name="connsiteX1257" fmla="*/ 6258141 w 12050057"/>
                <a:gd name="connsiteY1257" fmla="*/ 652680 h 6072782"/>
                <a:gd name="connsiteX1258" fmla="*/ 6274264 w 12050057"/>
                <a:gd name="connsiteY1258" fmla="*/ 643858 h 6072782"/>
                <a:gd name="connsiteX1259" fmla="*/ 6291071 w 12050057"/>
                <a:gd name="connsiteY1259" fmla="*/ 632755 h 6072782"/>
                <a:gd name="connsiteX1260" fmla="*/ 4241338 w 12050057"/>
                <a:gd name="connsiteY1260" fmla="*/ 632755 h 6072782"/>
                <a:gd name="connsiteX1261" fmla="*/ 4256243 w 12050057"/>
                <a:gd name="connsiteY1261" fmla="*/ 632755 h 6072782"/>
                <a:gd name="connsiteX1262" fmla="*/ 4256243 w 12050057"/>
                <a:gd name="connsiteY1262" fmla="*/ 855735 h 6072782"/>
                <a:gd name="connsiteX1263" fmla="*/ 4220955 w 12050057"/>
                <a:gd name="connsiteY1263" fmla="*/ 855735 h 6072782"/>
                <a:gd name="connsiteX1264" fmla="*/ 4220955 w 12050057"/>
                <a:gd name="connsiteY1264" fmla="*/ 675952 h 6072782"/>
                <a:gd name="connsiteX1265" fmla="*/ 4200346 w 12050057"/>
                <a:gd name="connsiteY1265" fmla="*/ 687587 h 6072782"/>
                <a:gd name="connsiteX1266" fmla="*/ 4175174 w 12050057"/>
                <a:gd name="connsiteY1266" fmla="*/ 696029 h 6072782"/>
                <a:gd name="connsiteX1267" fmla="*/ 4175174 w 12050057"/>
                <a:gd name="connsiteY1267" fmla="*/ 665913 h 6072782"/>
                <a:gd name="connsiteX1268" fmla="*/ 4192209 w 12050057"/>
                <a:gd name="connsiteY1268" fmla="*/ 659829 h 6072782"/>
                <a:gd name="connsiteX1269" fmla="*/ 4208407 w 12050057"/>
                <a:gd name="connsiteY1269" fmla="*/ 652680 h 6072782"/>
                <a:gd name="connsiteX1270" fmla="*/ 4224530 w 12050057"/>
                <a:gd name="connsiteY1270" fmla="*/ 643858 h 6072782"/>
                <a:gd name="connsiteX1271" fmla="*/ 4241338 w 12050057"/>
                <a:gd name="connsiteY1271" fmla="*/ 632755 h 6072782"/>
                <a:gd name="connsiteX1272" fmla="*/ 1119751 w 12050057"/>
                <a:gd name="connsiteY1272" fmla="*/ 632755 h 6072782"/>
                <a:gd name="connsiteX1273" fmla="*/ 1134657 w 12050057"/>
                <a:gd name="connsiteY1273" fmla="*/ 632755 h 6072782"/>
                <a:gd name="connsiteX1274" fmla="*/ 1134657 w 12050057"/>
                <a:gd name="connsiteY1274" fmla="*/ 855735 h 6072782"/>
                <a:gd name="connsiteX1275" fmla="*/ 1099369 w 12050057"/>
                <a:gd name="connsiteY1275" fmla="*/ 855735 h 6072782"/>
                <a:gd name="connsiteX1276" fmla="*/ 1099369 w 12050057"/>
                <a:gd name="connsiteY1276" fmla="*/ 675952 h 6072782"/>
                <a:gd name="connsiteX1277" fmla="*/ 1078760 w 12050057"/>
                <a:gd name="connsiteY1277" fmla="*/ 687587 h 6072782"/>
                <a:gd name="connsiteX1278" fmla="*/ 1053588 w 12050057"/>
                <a:gd name="connsiteY1278" fmla="*/ 696029 h 6072782"/>
                <a:gd name="connsiteX1279" fmla="*/ 1053588 w 12050057"/>
                <a:gd name="connsiteY1279" fmla="*/ 665913 h 6072782"/>
                <a:gd name="connsiteX1280" fmla="*/ 1070623 w 12050057"/>
                <a:gd name="connsiteY1280" fmla="*/ 659829 h 6072782"/>
                <a:gd name="connsiteX1281" fmla="*/ 1086821 w 12050057"/>
                <a:gd name="connsiteY1281" fmla="*/ 652680 h 6072782"/>
                <a:gd name="connsiteX1282" fmla="*/ 1102944 w 12050057"/>
                <a:gd name="connsiteY1282" fmla="*/ 643858 h 6072782"/>
                <a:gd name="connsiteX1283" fmla="*/ 1119751 w 12050057"/>
                <a:gd name="connsiteY1283" fmla="*/ 632755 h 6072782"/>
                <a:gd name="connsiteX1284" fmla="*/ 225809 w 12050057"/>
                <a:gd name="connsiteY1284" fmla="*/ 632755 h 6072782"/>
                <a:gd name="connsiteX1285" fmla="*/ 240715 w 12050057"/>
                <a:gd name="connsiteY1285" fmla="*/ 632755 h 6072782"/>
                <a:gd name="connsiteX1286" fmla="*/ 240715 w 12050057"/>
                <a:gd name="connsiteY1286" fmla="*/ 855735 h 6072782"/>
                <a:gd name="connsiteX1287" fmla="*/ 205427 w 12050057"/>
                <a:gd name="connsiteY1287" fmla="*/ 855735 h 6072782"/>
                <a:gd name="connsiteX1288" fmla="*/ 205427 w 12050057"/>
                <a:gd name="connsiteY1288" fmla="*/ 675952 h 6072782"/>
                <a:gd name="connsiteX1289" fmla="*/ 184818 w 12050057"/>
                <a:gd name="connsiteY1289" fmla="*/ 687587 h 6072782"/>
                <a:gd name="connsiteX1290" fmla="*/ 159645 w 12050057"/>
                <a:gd name="connsiteY1290" fmla="*/ 696029 h 6072782"/>
                <a:gd name="connsiteX1291" fmla="*/ 159645 w 12050057"/>
                <a:gd name="connsiteY1291" fmla="*/ 665913 h 6072782"/>
                <a:gd name="connsiteX1292" fmla="*/ 176680 w 12050057"/>
                <a:gd name="connsiteY1292" fmla="*/ 659829 h 6072782"/>
                <a:gd name="connsiteX1293" fmla="*/ 192880 w 12050057"/>
                <a:gd name="connsiteY1293" fmla="*/ 652680 h 6072782"/>
                <a:gd name="connsiteX1294" fmla="*/ 209002 w 12050057"/>
                <a:gd name="connsiteY1294" fmla="*/ 643858 h 6072782"/>
                <a:gd name="connsiteX1295" fmla="*/ 225809 w 12050057"/>
                <a:gd name="connsiteY1295" fmla="*/ 632755 h 6072782"/>
                <a:gd name="connsiteX1296" fmla="*/ 11454451 w 12050057"/>
                <a:gd name="connsiteY1296" fmla="*/ 328247 h 6072782"/>
                <a:gd name="connsiteX1297" fmla="*/ 11469357 w 12050057"/>
                <a:gd name="connsiteY1297" fmla="*/ 328247 h 6072782"/>
                <a:gd name="connsiteX1298" fmla="*/ 11469357 w 12050057"/>
                <a:gd name="connsiteY1298" fmla="*/ 551227 h 6072782"/>
                <a:gd name="connsiteX1299" fmla="*/ 11434069 w 12050057"/>
                <a:gd name="connsiteY1299" fmla="*/ 551227 h 6072782"/>
                <a:gd name="connsiteX1300" fmla="*/ 11434069 w 12050057"/>
                <a:gd name="connsiteY1300" fmla="*/ 371444 h 6072782"/>
                <a:gd name="connsiteX1301" fmla="*/ 11413460 w 12050057"/>
                <a:gd name="connsiteY1301" fmla="*/ 383079 h 6072782"/>
                <a:gd name="connsiteX1302" fmla="*/ 11388287 w 12050057"/>
                <a:gd name="connsiteY1302" fmla="*/ 391521 h 6072782"/>
                <a:gd name="connsiteX1303" fmla="*/ 11388287 w 12050057"/>
                <a:gd name="connsiteY1303" fmla="*/ 361405 h 6072782"/>
                <a:gd name="connsiteX1304" fmla="*/ 11405322 w 12050057"/>
                <a:gd name="connsiteY1304" fmla="*/ 355321 h 6072782"/>
                <a:gd name="connsiteX1305" fmla="*/ 11421521 w 12050057"/>
                <a:gd name="connsiteY1305" fmla="*/ 348172 h 6072782"/>
                <a:gd name="connsiteX1306" fmla="*/ 11437644 w 12050057"/>
                <a:gd name="connsiteY1306" fmla="*/ 339350 h 6072782"/>
                <a:gd name="connsiteX1307" fmla="*/ 11454451 w 12050057"/>
                <a:gd name="connsiteY1307" fmla="*/ 328247 h 6072782"/>
                <a:gd name="connsiteX1308" fmla="*/ 9447571 w 12050057"/>
                <a:gd name="connsiteY1308" fmla="*/ 328247 h 6072782"/>
                <a:gd name="connsiteX1309" fmla="*/ 9462477 w 12050057"/>
                <a:gd name="connsiteY1309" fmla="*/ 328247 h 6072782"/>
                <a:gd name="connsiteX1310" fmla="*/ 9462477 w 12050057"/>
                <a:gd name="connsiteY1310" fmla="*/ 551227 h 6072782"/>
                <a:gd name="connsiteX1311" fmla="*/ 9427189 w 12050057"/>
                <a:gd name="connsiteY1311" fmla="*/ 551227 h 6072782"/>
                <a:gd name="connsiteX1312" fmla="*/ 9427189 w 12050057"/>
                <a:gd name="connsiteY1312" fmla="*/ 371444 h 6072782"/>
                <a:gd name="connsiteX1313" fmla="*/ 9406580 w 12050057"/>
                <a:gd name="connsiteY1313" fmla="*/ 383079 h 6072782"/>
                <a:gd name="connsiteX1314" fmla="*/ 9381407 w 12050057"/>
                <a:gd name="connsiteY1314" fmla="*/ 391521 h 6072782"/>
                <a:gd name="connsiteX1315" fmla="*/ 9381407 w 12050057"/>
                <a:gd name="connsiteY1315" fmla="*/ 361405 h 6072782"/>
                <a:gd name="connsiteX1316" fmla="*/ 9398442 w 12050057"/>
                <a:gd name="connsiteY1316" fmla="*/ 355321 h 6072782"/>
                <a:gd name="connsiteX1317" fmla="*/ 9414641 w 12050057"/>
                <a:gd name="connsiteY1317" fmla="*/ 348172 h 6072782"/>
                <a:gd name="connsiteX1318" fmla="*/ 9430764 w 12050057"/>
                <a:gd name="connsiteY1318" fmla="*/ 339350 h 6072782"/>
                <a:gd name="connsiteX1319" fmla="*/ 9447571 w 12050057"/>
                <a:gd name="connsiteY1319" fmla="*/ 328247 h 6072782"/>
                <a:gd name="connsiteX1320" fmla="*/ 8947241 w 12050057"/>
                <a:gd name="connsiteY1320" fmla="*/ 328247 h 6072782"/>
                <a:gd name="connsiteX1321" fmla="*/ 8962147 w 12050057"/>
                <a:gd name="connsiteY1321" fmla="*/ 328247 h 6072782"/>
                <a:gd name="connsiteX1322" fmla="*/ 8962147 w 12050057"/>
                <a:gd name="connsiteY1322" fmla="*/ 551227 h 6072782"/>
                <a:gd name="connsiteX1323" fmla="*/ 8926859 w 12050057"/>
                <a:gd name="connsiteY1323" fmla="*/ 551227 h 6072782"/>
                <a:gd name="connsiteX1324" fmla="*/ 8926859 w 12050057"/>
                <a:gd name="connsiteY1324" fmla="*/ 371444 h 6072782"/>
                <a:gd name="connsiteX1325" fmla="*/ 8906250 w 12050057"/>
                <a:gd name="connsiteY1325" fmla="*/ 383079 h 6072782"/>
                <a:gd name="connsiteX1326" fmla="*/ 8881077 w 12050057"/>
                <a:gd name="connsiteY1326" fmla="*/ 391521 h 6072782"/>
                <a:gd name="connsiteX1327" fmla="*/ 8881077 w 12050057"/>
                <a:gd name="connsiteY1327" fmla="*/ 361405 h 6072782"/>
                <a:gd name="connsiteX1328" fmla="*/ 8898112 w 12050057"/>
                <a:gd name="connsiteY1328" fmla="*/ 355321 h 6072782"/>
                <a:gd name="connsiteX1329" fmla="*/ 8914311 w 12050057"/>
                <a:gd name="connsiteY1329" fmla="*/ 348172 h 6072782"/>
                <a:gd name="connsiteX1330" fmla="*/ 8930434 w 12050057"/>
                <a:gd name="connsiteY1330" fmla="*/ 339350 h 6072782"/>
                <a:gd name="connsiteX1331" fmla="*/ 8947241 w 12050057"/>
                <a:gd name="connsiteY1331" fmla="*/ 328247 h 6072782"/>
                <a:gd name="connsiteX1332" fmla="*/ 7318344 w 12050057"/>
                <a:gd name="connsiteY1332" fmla="*/ 328247 h 6072782"/>
                <a:gd name="connsiteX1333" fmla="*/ 7333250 w 12050057"/>
                <a:gd name="connsiteY1333" fmla="*/ 328247 h 6072782"/>
                <a:gd name="connsiteX1334" fmla="*/ 7333250 w 12050057"/>
                <a:gd name="connsiteY1334" fmla="*/ 551227 h 6072782"/>
                <a:gd name="connsiteX1335" fmla="*/ 7297962 w 12050057"/>
                <a:gd name="connsiteY1335" fmla="*/ 551227 h 6072782"/>
                <a:gd name="connsiteX1336" fmla="*/ 7297962 w 12050057"/>
                <a:gd name="connsiteY1336" fmla="*/ 371444 h 6072782"/>
                <a:gd name="connsiteX1337" fmla="*/ 7277353 w 12050057"/>
                <a:gd name="connsiteY1337" fmla="*/ 383079 h 6072782"/>
                <a:gd name="connsiteX1338" fmla="*/ 7252180 w 12050057"/>
                <a:gd name="connsiteY1338" fmla="*/ 391521 h 6072782"/>
                <a:gd name="connsiteX1339" fmla="*/ 7252180 w 12050057"/>
                <a:gd name="connsiteY1339" fmla="*/ 361405 h 6072782"/>
                <a:gd name="connsiteX1340" fmla="*/ 7269215 w 12050057"/>
                <a:gd name="connsiteY1340" fmla="*/ 355321 h 6072782"/>
                <a:gd name="connsiteX1341" fmla="*/ 7285414 w 12050057"/>
                <a:gd name="connsiteY1341" fmla="*/ 348172 h 6072782"/>
                <a:gd name="connsiteX1342" fmla="*/ 7301537 w 12050057"/>
                <a:gd name="connsiteY1342" fmla="*/ 339350 h 6072782"/>
                <a:gd name="connsiteX1343" fmla="*/ 7318344 w 12050057"/>
                <a:gd name="connsiteY1343" fmla="*/ 328247 h 6072782"/>
                <a:gd name="connsiteX1344" fmla="*/ 6448401 w 12050057"/>
                <a:gd name="connsiteY1344" fmla="*/ 328247 h 6072782"/>
                <a:gd name="connsiteX1345" fmla="*/ 6463307 w 12050057"/>
                <a:gd name="connsiteY1345" fmla="*/ 328247 h 6072782"/>
                <a:gd name="connsiteX1346" fmla="*/ 6463307 w 12050057"/>
                <a:gd name="connsiteY1346" fmla="*/ 551227 h 6072782"/>
                <a:gd name="connsiteX1347" fmla="*/ 6428019 w 12050057"/>
                <a:gd name="connsiteY1347" fmla="*/ 551227 h 6072782"/>
                <a:gd name="connsiteX1348" fmla="*/ 6428019 w 12050057"/>
                <a:gd name="connsiteY1348" fmla="*/ 371444 h 6072782"/>
                <a:gd name="connsiteX1349" fmla="*/ 6407410 w 12050057"/>
                <a:gd name="connsiteY1349" fmla="*/ 383079 h 6072782"/>
                <a:gd name="connsiteX1350" fmla="*/ 6382237 w 12050057"/>
                <a:gd name="connsiteY1350" fmla="*/ 391521 h 6072782"/>
                <a:gd name="connsiteX1351" fmla="*/ 6382237 w 12050057"/>
                <a:gd name="connsiteY1351" fmla="*/ 361405 h 6072782"/>
                <a:gd name="connsiteX1352" fmla="*/ 6399272 w 12050057"/>
                <a:gd name="connsiteY1352" fmla="*/ 355321 h 6072782"/>
                <a:gd name="connsiteX1353" fmla="*/ 6415471 w 12050057"/>
                <a:gd name="connsiteY1353" fmla="*/ 348172 h 6072782"/>
                <a:gd name="connsiteX1354" fmla="*/ 6431594 w 12050057"/>
                <a:gd name="connsiteY1354" fmla="*/ 339350 h 6072782"/>
                <a:gd name="connsiteX1355" fmla="*/ 6448401 w 12050057"/>
                <a:gd name="connsiteY1355" fmla="*/ 328247 h 6072782"/>
                <a:gd name="connsiteX1356" fmla="*/ 5379035 w 12050057"/>
                <a:gd name="connsiteY1356" fmla="*/ 328247 h 6072782"/>
                <a:gd name="connsiteX1357" fmla="*/ 5393942 w 12050057"/>
                <a:gd name="connsiteY1357" fmla="*/ 328247 h 6072782"/>
                <a:gd name="connsiteX1358" fmla="*/ 5393942 w 12050057"/>
                <a:gd name="connsiteY1358" fmla="*/ 551227 h 6072782"/>
                <a:gd name="connsiteX1359" fmla="*/ 5358654 w 12050057"/>
                <a:gd name="connsiteY1359" fmla="*/ 551227 h 6072782"/>
                <a:gd name="connsiteX1360" fmla="*/ 5358654 w 12050057"/>
                <a:gd name="connsiteY1360" fmla="*/ 371444 h 6072782"/>
                <a:gd name="connsiteX1361" fmla="*/ 5338044 w 12050057"/>
                <a:gd name="connsiteY1361" fmla="*/ 383079 h 6072782"/>
                <a:gd name="connsiteX1362" fmla="*/ 5312871 w 12050057"/>
                <a:gd name="connsiteY1362" fmla="*/ 391521 h 6072782"/>
                <a:gd name="connsiteX1363" fmla="*/ 5312871 w 12050057"/>
                <a:gd name="connsiteY1363" fmla="*/ 361405 h 6072782"/>
                <a:gd name="connsiteX1364" fmla="*/ 5329907 w 12050057"/>
                <a:gd name="connsiteY1364" fmla="*/ 355321 h 6072782"/>
                <a:gd name="connsiteX1365" fmla="*/ 5346106 w 12050057"/>
                <a:gd name="connsiteY1365" fmla="*/ 348172 h 6072782"/>
                <a:gd name="connsiteX1366" fmla="*/ 5362228 w 12050057"/>
                <a:gd name="connsiteY1366" fmla="*/ 339350 h 6072782"/>
                <a:gd name="connsiteX1367" fmla="*/ 5379035 w 12050057"/>
                <a:gd name="connsiteY1367" fmla="*/ 328247 h 6072782"/>
                <a:gd name="connsiteX1368" fmla="*/ 3386726 w 12050057"/>
                <a:gd name="connsiteY1368" fmla="*/ 328247 h 6072782"/>
                <a:gd name="connsiteX1369" fmla="*/ 3401632 w 12050057"/>
                <a:gd name="connsiteY1369" fmla="*/ 328247 h 6072782"/>
                <a:gd name="connsiteX1370" fmla="*/ 3401632 w 12050057"/>
                <a:gd name="connsiteY1370" fmla="*/ 551227 h 6072782"/>
                <a:gd name="connsiteX1371" fmla="*/ 3366344 w 12050057"/>
                <a:gd name="connsiteY1371" fmla="*/ 551227 h 6072782"/>
                <a:gd name="connsiteX1372" fmla="*/ 3366344 w 12050057"/>
                <a:gd name="connsiteY1372" fmla="*/ 371444 h 6072782"/>
                <a:gd name="connsiteX1373" fmla="*/ 3345736 w 12050057"/>
                <a:gd name="connsiteY1373" fmla="*/ 383079 h 6072782"/>
                <a:gd name="connsiteX1374" fmla="*/ 3320562 w 12050057"/>
                <a:gd name="connsiteY1374" fmla="*/ 391521 h 6072782"/>
                <a:gd name="connsiteX1375" fmla="*/ 3320562 w 12050057"/>
                <a:gd name="connsiteY1375" fmla="*/ 361405 h 6072782"/>
                <a:gd name="connsiteX1376" fmla="*/ 3337597 w 12050057"/>
                <a:gd name="connsiteY1376" fmla="*/ 355321 h 6072782"/>
                <a:gd name="connsiteX1377" fmla="*/ 3353797 w 12050057"/>
                <a:gd name="connsiteY1377" fmla="*/ 348172 h 6072782"/>
                <a:gd name="connsiteX1378" fmla="*/ 3369919 w 12050057"/>
                <a:gd name="connsiteY1378" fmla="*/ 339350 h 6072782"/>
                <a:gd name="connsiteX1379" fmla="*/ 3386726 w 12050057"/>
                <a:gd name="connsiteY1379" fmla="*/ 328247 h 6072782"/>
                <a:gd name="connsiteX1380" fmla="*/ 2874522 w 12050057"/>
                <a:gd name="connsiteY1380" fmla="*/ 328247 h 6072782"/>
                <a:gd name="connsiteX1381" fmla="*/ 2889428 w 12050057"/>
                <a:gd name="connsiteY1381" fmla="*/ 328247 h 6072782"/>
                <a:gd name="connsiteX1382" fmla="*/ 2889428 w 12050057"/>
                <a:gd name="connsiteY1382" fmla="*/ 551227 h 6072782"/>
                <a:gd name="connsiteX1383" fmla="*/ 2854142 w 12050057"/>
                <a:gd name="connsiteY1383" fmla="*/ 551227 h 6072782"/>
                <a:gd name="connsiteX1384" fmla="*/ 2854142 w 12050057"/>
                <a:gd name="connsiteY1384" fmla="*/ 371444 h 6072782"/>
                <a:gd name="connsiteX1385" fmla="*/ 2833531 w 12050057"/>
                <a:gd name="connsiteY1385" fmla="*/ 383079 h 6072782"/>
                <a:gd name="connsiteX1386" fmla="*/ 2808358 w 12050057"/>
                <a:gd name="connsiteY1386" fmla="*/ 391521 h 6072782"/>
                <a:gd name="connsiteX1387" fmla="*/ 2808358 w 12050057"/>
                <a:gd name="connsiteY1387" fmla="*/ 361405 h 6072782"/>
                <a:gd name="connsiteX1388" fmla="*/ 2825393 w 12050057"/>
                <a:gd name="connsiteY1388" fmla="*/ 355321 h 6072782"/>
                <a:gd name="connsiteX1389" fmla="*/ 2841593 w 12050057"/>
                <a:gd name="connsiteY1389" fmla="*/ 348172 h 6072782"/>
                <a:gd name="connsiteX1390" fmla="*/ 2857715 w 12050057"/>
                <a:gd name="connsiteY1390" fmla="*/ 339350 h 6072782"/>
                <a:gd name="connsiteX1391" fmla="*/ 2874522 w 12050057"/>
                <a:gd name="connsiteY1391" fmla="*/ 328247 h 6072782"/>
                <a:gd name="connsiteX1392" fmla="*/ 1267168 w 12050057"/>
                <a:gd name="connsiteY1392" fmla="*/ 328247 h 6072782"/>
                <a:gd name="connsiteX1393" fmla="*/ 1282074 w 12050057"/>
                <a:gd name="connsiteY1393" fmla="*/ 328247 h 6072782"/>
                <a:gd name="connsiteX1394" fmla="*/ 1282074 w 12050057"/>
                <a:gd name="connsiteY1394" fmla="*/ 551227 h 6072782"/>
                <a:gd name="connsiteX1395" fmla="*/ 1246786 w 12050057"/>
                <a:gd name="connsiteY1395" fmla="*/ 551227 h 6072782"/>
                <a:gd name="connsiteX1396" fmla="*/ 1246786 w 12050057"/>
                <a:gd name="connsiteY1396" fmla="*/ 371444 h 6072782"/>
                <a:gd name="connsiteX1397" fmla="*/ 1226177 w 12050057"/>
                <a:gd name="connsiteY1397" fmla="*/ 383079 h 6072782"/>
                <a:gd name="connsiteX1398" fmla="*/ 1201004 w 12050057"/>
                <a:gd name="connsiteY1398" fmla="*/ 391521 h 6072782"/>
                <a:gd name="connsiteX1399" fmla="*/ 1201004 w 12050057"/>
                <a:gd name="connsiteY1399" fmla="*/ 361405 h 6072782"/>
                <a:gd name="connsiteX1400" fmla="*/ 1218039 w 12050057"/>
                <a:gd name="connsiteY1400" fmla="*/ 355321 h 6072782"/>
                <a:gd name="connsiteX1401" fmla="*/ 1234238 w 12050057"/>
                <a:gd name="connsiteY1401" fmla="*/ 348172 h 6072782"/>
                <a:gd name="connsiteX1402" fmla="*/ 1250361 w 12050057"/>
                <a:gd name="connsiteY1402" fmla="*/ 339350 h 6072782"/>
                <a:gd name="connsiteX1403" fmla="*/ 1267168 w 12050057"/>
                <a:gd name="connsiteY1403" fmla="*/ 328247 h 6072782"/>
                <a:gd name="connsiteX1404" fmla="*/ 393927 w 12050057"/>
                <a:gd name="connsiteY1404" fmla="*/ 328247 h 6072782"/>
                <a:gd name="connsiteX1405" fmla="*/ 408833 w 12050057"/>
                <a:gd name="connsiteY1405" fmla="*/ 328247 h 6072782"/>
                <a:gd name="connsiteX1406" fmla="*/ 408833 w 12050057"/>
                <a:gd name="connsiteY1406" fmla="*/ 551227 h 6072782"/>
                <a:gd name="connsiteX1407" fmla="*/ 373545 w 12050057"/>
                <a:gd name="connsiteY1407" fmla="*/ 551227 h 6072782"/>
                <a:gd name="connsiteX1408" fmla="*/ 373545 w 12050057"/>
                <a:gd name="connsiteY1408" fmla="*/ 371444 h 6072782"/>
                <a:gd name="connsiteX1409" fmla="*/ 352936 w 12050057"/>
                <a:gd name="connsiteY1409" fmla="*/ 383079 h 6072782"/>
                <a:gd name="connsiteX1410" fmla="*/ 327763 w 12050057"/>
                <a:gd name="connsiteY1410" fmla="*/ 391521 h 6072782"/>
                <a:gd name="connsiteX1411" fmla="*/ 327763 w 12050057"/>
                <a:gd name="connsiteY1411" fmla="*/ 361405 h 6072782"/>
                <a:gd name="connsiteX1412" fmla="*/ 344798 w 12050057"/>
                <a:gd name="connsiteY1412" fmla="*/ 355321 h 6072782"/>
                <a:gd name="connsiteX1413" fmla="*/ 360997 w 12050057"/>
                <a:gd name="connsiteY1413" fmla="*/ 348172 h 6072782"/>
                <a:gd name="connsiteX1414" fmla="*/ 377120 w 12050057"/>
                <a:gd name="connsiteY1414" fmla="*/ 339350 h 6072782"/>
                <a:gd name="connsiteX1415" fmla="*/ 393927 w 12050057"/>
                <a:gd name="connsiteY1415" fmla="*/ 328247 h 6072782"/>
                <a:gd name="connsiteX1416" fmla="*/ 10287594 w 12050057"/>
                <a:gd name="connsiteY1416" fmla="*/ 0 h 6072782"/>
                <a:gd name="connsiteX1417" fmla="*/ 10302500 w 12050057"/>
                <a:gd name="connsiteY1417" fmla="*/ 0 h 6072782"/>
                <a:gd name="connsiteX1418" fmla="*/ 10302500 w 12050057"/>
                <a:gd name="connsiteY1418" fmla="*/ 222980 h 6072782"/>
                <a:gd name="connsiteX1419" fmla="*/ 10267212 w 12050057"/>
                <a:gd name="connsiteY1419" fmla="*/ 222980 h 6072782"/>
                <a:gd name="connsiteX1420" fmla="*/ 10267212 w 12050057"/>
                <a:gd name="connsiteY1420" fmla="*/ 43196 h 6072782"/>
                <a:gd name="connsiteX1421" fmla="*/ 10246603 w 12050057"/>
                <a:gd name="connsiteY1421" fmla="*/ 54832 h 6072782"/>
                <a:gd name="connsiteX1422" fmla="*/ 10221430 w 12050057"/>
                <a:gd name="connsiteY1422" fmla="*/ 63274 h 6072782"/>
                <a:gd name="connsiteX1423" fmla="*/ 10221430 w 12050057"/>
                <a:gd name="connsiteY1423" fmla="*/ 33158 h 6072782"/>
                <a:gd name="connsiteX1424" fmla="*/ 10238465 w 12050057"/>
                <a:gd name="connsiteY1424" fmla="*/ 27074 h 6072782"/>
                <a:gd name="connsiteX1425" fmla="*/ 10254664 w 12050057"/>
                <a:gd name="connsiteY1425" fmla="*/ 19925 h 6072782"/>
                <a:gd name="connsiteX1426" fmla="*/ 10270787 w 12050057"/>
                <a:gd name="connsiteY1426" fmla="*/ 11103 h 6072782"/>
                <a:gd name="connsiteX1427" fmla="*/ 10287594 w 12050057"/>
                <a:gd name="connsiteY1427" fmla="*/ 0 h 6072782"/>
                <a:gd name="connsiteX1428" fmla="*/ 9399570 w 12050057"/>
                <a:gd name="connsiteY1428" fmla="*/ 0 h 6072782"/>
                <a:gd name="connsiteX1429" fmla="*/ 9414476 w 12050057"/>
                <a:gd name="connsiteY1429" fmla="*/ 0 h 6072782"/>
                <a:gd name="connsiteX1430" fmla="*/ 9414476 w 12050057"/>
                <a:gd name="connsiteY1430" fmla="*/ 222980 h 6072782"/>
                <a:gd name="connsiteX1431" fmla="*/ 9379188 w 12050057"/>
                <a:gd name="connsiteY1431" fmla="*/ 222980 h 6072782"/>
                <a:gd name="connsiteX1432" fmla="*/ 9379188 w 12050057"/>
                <a:gd name="connsiteY1432" fmla="*/ 43196 h 6072782"/>
                <a:gd name="connsiteX1433" fmla="*/ 9358579 w 12050057"/>
                <a:gd name="connsiteY1433" fmla="*/ 54832 h 6072782"/>
                <a:gd name="connsiteX1434" fmla="*/ 9333406 w 12050057"/>
                <a:gd name="connsiteY1434" fmla="*/ 63274 h 6072782"/>
                <a:gd name="connsiteX1435" fmla="*/ 9333406 w 12050057"/>
                <a:gd name="connsiteY1435" fmla="*/ 33158 h 6072782"/>
                <a:gd name="connsiteX1436" fmla="*/ 9350441 w 12050057"/>
                <a:gd name="connsiteY1436" fmla="*/ 27074 h 6072782"/>
                <a:gd name="connsiteX1437" fmla="*/ 9366640 w 12050057"/>
                <a:gd name="connsiteY1437" fmla="*/ 19925 h 6072782"/>
                <a:gd name="connsiteX1438" fmla="*/ 9382763 w 12050057"/>
                <a:gd name="connsiteY1438" fmla="*/ 11103 h 6072782"/>
                <a:gd name="connsiteX1439" fmla="*/ 9399570 w 12050057"/>
                <a:gd name="connsiteY1439" fmla="*/ 0 h 6072782"/>
                <a:gd name="connsiteX1440" fmla="*/ 7529739 w 12050057"/>
                <a:gd name="connsiteY1440" fmla="*/ 0 h 6072782"/>
                <a:gd name="connsiteX1441" fmla="*/ 7544645 w 12050057"/>
                <a:gd name="connsiteY1441" fmla="*/ 0 h 6072782"/>
                <a:gd name="connsiteX1442" fmla="*/ 7544645 w 12050057"/>
                <a:gd name="connsiteY1442" fmla="*/ 222980 h 6072782"/>
                <a:gd name="connsiteX1443" fmla="*/ 7509357 w 12050057"/>
                <a:gd name="connsiteY1443" fmla="*/ 222980 h 6072782"/>
                <a:gd name="connsiteX1444" fmla="*/ 7509357 w 12050057"/>
                <a:gd name="connsiteY1444" fmla="*/ 43196 h 6072782"/>
                <a:gd name="connsiteX1445" fmla="*/ 7488748 w 12050057"/>
                <a:gd name="connsiteY1445" fmla="*/ 54832 h 6072782"/>
                <a:gd name="connsiteX1446" fmla="*/ 7463575 w 12050057"/>
                <a:gd name="connsiteY1446" fmla="*/ 63274 h 6072782"/>
                <a:gd name="connsiteX1447" fmla="*/ 7463575 w 12050057"/>
                <a:gd name="connsiteY1447" fmla="*/ 33158 h 6072782"/>
                <a:gd name="connsiteX1448" fmla="*/ 7480610 w 12050057"/>
                <a:gd name="connsiteY1448" fmla="*/ 27074 h 6072782"/>
                <a:gd name="connsiteX1449" fmla="*/ 7496809 w 12050057"/>
                <a:gd name="connsiteY1449" fmla="*/ 19925 h 6072782"/>
                <a:gd name="connsiteX1450" fmla="*/ 7512932 w 12050057"/>
                <a:gd name="connsiteY1450" fmla="*/ 11103 h 6072782"/>
                <a:gd name="connsiteX1451" fmla="*/ 7529739 w 12050057"/>
                <a:gd name="connsiteY1451" fmla="*/ 0 h 6072782"/>
                <a:gd name="connsiteX1452" fmla="*/ 6158139 w 12050057"/>
                <a:gd name="connsiteY1452" fmla="*/ 0 h 6072782"/>
                <a:gd name="connsiteX1453" fmla="*/ 6173045 w 12050057"/>
                <a:gd name="connsiteY1453" fmla="*/ 0 h 6072782"/>
                <a:gd name="connsiteX1454" fmla="*/ 6173045 w 12050057"/>
                <a:gd name="connsiteY1454" fmla="*/ 222980 h 6072782"/>
                <a:gd name="connsiteX1455" fmla="*/ 6137757 w 12050057"/>
                <a:gd name="connsiteY1455" fmla="*/ 222980 h 6072782"/>
                <a:gd name="connsiteX1456" fmla="*/ 6137757 w 12050057"/>
                <a:gd name="connsiteY1456" fmla="*/ 43196 h 6072782"/>
                <a:gd name="connsiteX1457" fmla="*/ 6117148 w 12050057"/>
                <a:gd name="connsiteY1457" fmla="*/ 54832 h 6072782"/>
                <a:gd name="connsiteX1458" fmla="*/ 6091975 w 12050057"/>
                <a:gd name="connsiteY1458" fmla="*/ 63274 h 6072782"/>
                <a:gd name="connsiteX1459" fmla="*/ 6091975 w 12050057"/>
                <a:gd name="connsiteY1459" fmla="*/ 33158 h 6072782"/>
                <a:gd name="connsiteX1460" fmla="*/ 6109010 w 12050057"/>
                <a:gd name="connsiteY1460" fmla="*/ 27074 h 6072782"/>
                <a:gd name="connsiteX1461" fmla="*/ 6125209 w 12050057"/>
                <a:gd name="connsiteY1461" fmla="*/ 19925 h 6072782"/>
                <a:gd name="connsiteX1462" fmla="*/ 6141332 w 12050057"/>
                <a:gd name="connsiteY1462" fmla="*/ 11103 h 6072782"/>
                <a:gd name="connsiteX1463" fmla="*/ 6158139 w 12050057"/>
                <a:gd name="connsiteY1463" fmla="*/ 0 h 6072782"/>
                <a:gd name="connsiteX1464" fmla="*/ 4237236 w 12050057"/>
                <a:gd name="connsiteY1464" fmla="*/ 0 h 6072782"/>
                <a:gd name="connsiteX1465" fmla="*/ 4252143 w 12050057"/>
                <a:gd name="connsiteY1465" fmla="*/ 0 h 6072782"/>
                <a:gd name="connsiteX1466" fmla="*/ 4252143 w 12050057"/>
                <a:gd name="connsiteY1466" fmla="*/ 222980 h 6072782"/>
                <a:gd name="connsiteX1467" fmla="*/ 4216854 w 12050057"/>
                <a:gd name="connsiteY1467" fmla="*/ 222980 h 6072782"/>
                <a:gd name="connsiteX1468" fmla="*/ 4216854 w 12050057"/>
                <a:gd name="connsiteY1468" fmla="*/ 43196 h 6072782"/>
                <a:gd name="connsiteX1469" fmla="*/ 4196246 w 12050057"/>
                <a:gd name="connsiteY1469" fmla="*/ 54832 h 6072782"/>
                <a:gd name="connsiteX1470" fmla="*/ 4171072 w 12050057"/>
                <a:gd name="connsiteY1470" fmla="*/ 63274 h 6072782"/>
                <a:gd name="connsiteX1471" fmla="*/ 4171072 w 12050057"/>
                <a:gd name="connsiteY1471" fmla="*/ 33158 h 6072782"/>
                <a:gd name="connsiteX1472" fmla="*/ 4188108 w 12050057"/>
                <a:gd name="connsiteY1472" fmla="*/ 27074 h 6072782"/>
                <a:gd name="connsiteX1473" fmla="*/ 4204308 w 12050057"/>
                <a:gd name="connsiteY1473" fmla="*/ 19925 h 6072782"/>
                <a:gd name="connsiteX1474" fmla="*/ 4220430 w 12050057"/>
                <a:gd name="connsiteY1474" fmla="*/ 11103 h 6072782"/>
                <a:gd name="connsiteX1475" fmla="*/ 4237236 w 12050057"/>
                <a:gd name="connsiteY1475" fmla="*/ 0 h 6072782"/>
                <a:gd name="connsiteX1476" fmla="*/ 3347533 w 12050057"/>
                <a:gd name="connsiteY1476" fmla="*/ 0 h 6072782"/>
                <a:gd name="connsiteX1477" fmla="*/ 3362439 w 12050057"/>
                <a:gd name="connsiteY1477" fmla="*/ 0 h 6072782"/>
                <a:gd name="connsiteX1478" fmla="*/ 3362439 w 12050057"/>
                <a:gd name="connsiteY1478" fmla="*/ 222980 h 6072782"/>
                <a:gd name="connsiteX1479" fmla="*/ 3327152 w 12050057"/>
                <a:gd name="connsiteY1479" fmla="*/ 222980 h 6072782"/>
                <a:gd name="connsiteX1480" fmla="*/ 3327152 w 12050057"/>
                <a:gd name="connsiteY1480" fmla="*/ 43196 h 6072782"/>
                <a:gd name="connsiteX1481" fmla="*/ 3306542 w 12050057"/>
                <a:gd name="connsiteY1481" fmla="*/ 54832 h 6072782"/>
                <a:gd name="connsiteX1482" fmla="*/ 3281369 w 12050057"/>
                <a:gd name="connsiteY1482" fmla="*/ 63274 h 6072782"/>
                <a:gd name="connsiteX1483" fmla="*/ 3281369 w 12050057"/>
                <a:gd name="connsiteY1483" fmla="*/ 33158 h 6072782"/>
                <a:gd name="connsiteX1484" fmla="*/ 3298404 w 12050057"/>
                <a:gd name="connsiteY1484" fmla="*/ 27074 h 6072782"/>
                <a:gd name="connsiteX1485" fmla="*/ 3314604 w 12050057"/>
                <a:gd name="connsiteY1485" fmla="*/ 19925 h 6072782"/>
                <a:gd name="connsiteX1486" fmla="*/ 3330727 w 12050057"/>
                <a:gd name="connsiteY1486" fmla="*/ 11103 h 6072782"/>
                <a:gd name="connsiteX1487" fmla="*/ 3347533 w 12050057"/>
                <a:gd name="connsiteY1487" fmla="*/ 0 h 6072782"/>
                <a:gd name="connsiteX1488" fmla="*/ 1463993 w 12050057"/>
                <a:gd name="connsiteY1488" fmla="*/ 0 h 6072782"/>
                <a:gd name="connsiteX1489" fmla="*/ 1478899 w 12050057"/>
                <a:gd name="connsiteY1489" fmla="*/ 0 h 6072782"/>
                <a:gd name="connsiteX1490" fmla="*/ 1478899 w 12050057"/>
                <a:gd name="connsiteY1490" fmla="*/ 222980 h 6072782"/>
                <a:gd name="connsiteX1491" fmla="*/ 1443611 w 12050057"/>
                <a:gd name="connsiteY1491" fmla="*/ 222980 h 6072782"/>
                <a:gd name="connsiteX1492" fmla="*/ 1443611 w 12050057"/>
                <a:gd name="connsiteY1492" fmla="*/ 43196 h 6072782"/>
                <a:gd name="connsiteX1493" fmla="*/ 1423002 w 12050057"/>
                <a:gd name="connsiteY1493" fmla="*/ 54832 h 6072782"/>
                <a:gd name="connsiteX1494" fmla="*/ 1397829 w 12050057"/>
                <a:gd name="connsiteY1494" fmla="*/ 63274 h 6072782"/>
                <a:gd name="connsiteX1495" fmla="*/ 1397829 w 12050057"/>
                <a:gd name="connsiteY1495" fmla="*/ 33158 h 6072782"/>
                <a:gd name="connsiteX1496" fmla="*/ 1414864 w 12050057"/>
                <a:gd name="connsiteY1496" fmla="*/ 27074 h 6072782"/>
                <a:gd name="connsiteX1497" fmla="*/ 1431063 w 12050057"/>
                <a:gd name="connsiteY1497" fmla="*/ 19925 h 6072782"/>
                <a:gd name="connsiteX1498" fmla="*/ 1447186 w 12050057"/>
                <a:gd name="connsiteY1498" fmla="*/ 11103 h 6072782"/>
                <a:gd name="connsiteX1499" fmla="*/ 1463993 w 12050057"/>
                <a:gd name="connsiteY1499" fmla="*/ 0 h 6072782"/>
                <a:gd name="connsiteX1500" fmla="*/ 92047 w 12050057"/>
                <a:gd name="connsiteY1500" fmla="*/ 0 h 6072782"/>
                <a:gd name="connsiteX1501" fmla="*/ 106953 w 12050057"/>
                <a:gd name="connsiteY1501" fmla="*/ 0 h 6072782"/>
                <a:gd name="connsiteX1502" fmla="*/ 106953 w 12050057"/>
                <a:gd name="connsiteY1502" fmla="*/ 222980 h 6072782"/>
                <a:gd name="connsiteX1503" fmla="*/ 71665 w 12050057"/>
                <a:gd name="connsiteY1503" fmla="*/ 222980 h 6072782"/>
                <a:gd name="connsiteX1504" fmla="*/ 71665 w 12050057"/>
                <a:gd name="connsiteY1504" fmla="*/ 43196 h 6072782"/>
                <a:gd name="connsiteX1505" fmla="*/ 51056 w 12050057"/>
                <a:gd name="connsiteY1505" fmla="*/ 54832 h 6072782"/>
                <a:gd name="connsiteX1506" fmla="*/ 25883 w 12050057"/>
                <a:gd name="connsiteY1506" fmla="*/ 63274 h 6072782"/>
                <a:gd name="connsiteX1507" fmla="*/ 25883 w 12050057"/>
                <a:gd name="connsiteY1507" fmla="*/ 33158 h 6072782"/>
                <a:gd name="connsiteX1508" fmla="*/ 42918 w 12050057"/>
                <a:gd name="connsiteY1508" fmla="*/ 27074 h 6072782"/>
                <a:gd name="connsiteX1509" fmla="*/ 59117 w 12050057"/>
                <a:gd name="connsiteY1509" fmla="*/ 19925 h 6072782"/>
                <a:gd name="connsiteX1510" fmla="*/ 75240 w 12050057"/>
                <a:gd name="connsiteY1510" fmla="*/ 11103 h 6072782"/>
                <a:gd name="connsiteX1511" fmla="*/ 92047 w 12050057"/>
                <a:gd name="connsiteY1511" fmla="*/ 0 h 607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Lst>
              <a:rect l="l" t="t" r="r" b="b"/>
              <a:pathLst>
                <a:path w="12050057" h="6072782">
                  <a:moveTo>
                    <a:pt x="3287783" y="5849802"/>
                  </a:moveTo>
                  <a:lnTo>
                    <a:pt x="3302689" y="5849802"/>
                  </a:lnTo>
                  <a:lnTo>
                    <a:pt x="3302689" y="6072782"/>
                  </a:lnTo>
                  <a:lnTo>
                    <a:pt x="3267400" y="6072782"/>
                  </a:lnTo>
                  <a:lnTo>
                    <a:pt x="3267400" y="5892999"/>
                  </a:lnTo>
                  <a:cubicBezTo>
                    <a:pt x="3261013" y="5897562"/>
                    <a:pt x="3254142" y="5901440"/>
                    <a:pt x="3246791" y="5904635"/>
                  </a:cubicBezTo>
                  <a:cubicBezTo>
                    <a:pt x="3239440" y="5907829"/>
                    <a:pt x="3231049" y="5910642"/>
                    <a:pt x="3221618" y="5913076"/>
                  </a:cubicBezTo>
                  <a:lnTo>
                    <a:pt x="3221618" y="5882960"/>
                  </a:lnTo>
                  <a:cubicBezTo>
                    <a:pt x="3227499" y="5881034"/>
                    <a:pt x="3233178" y="5879006"/>
                    <a:pt x="3238653" y="5876876"/>
                  </a:cubicBezTo>
                  <a:cubicBezTo>
                    <a:pt x="3244129" y="5874747"/>
                    <a:pt x="3249529" y="5872364"/>
                    <a:pt x="3254853" y="5869727"/>
                  </a:cubicBezTo>
                  <a:cubicBezTo>
                    <a:pt x="3260176" y="5867091"/>
                    <a:pt x="3265551" y="5864150"/>
                    <a:pt x="3270976" y="5860906"/>
                  </a:cubicBezTo>
                  <a:cubicBezTo>
                    <a:pt x="3276401" y="5857661"/>
                    <a:pt x="3282003" y="5853960"/>
                    <a:pt x="3287783" y="5849802"/>
                  </a:cubicBezTo>
                  <a:close/>
                  <a:moveTo>
                    <a:pt x="3287783" y="5494671"/>
                  </a:moveTo>
                  <a:lnTo>
                    <a:pt x="3302689" y="5494671"/>
                  </a:lnTo>
                  <a:lnTo>
                    <a:pt x="3302689" y="5717651"/>
                  </a:lnTo>
                  <a:lnTo>
                    <a:pt x="3267400" y="5717651"/>
                  </a:lnTo>
                  <a:lnTo>
                    <a:pt x="3267400" y="5537867"/>
                  </a:lnTo>
                  <a:cubicBezTo>
                    <a:pt x="3261013" y="5542430"/>
                    <a:pt x="3254142" y="5546309"/>
                    <a:pt x="3246791" y="5549503"/>
                  </a:cubicBezTo>
                  <a:cubicBezTo>
                    <a:pt x="3239440" y="5552697"/>
                    <a:pt x="3231049" y="5555511"/>
                    <a:pt x="3221618" y="5557945"/>
                  </a:cubicBezTo>
                  <a:lnTo>
                    <a:pt x="3221618" y="5527829"/>
                  </a:lnTo>
                  <a:cubicBezTo>
                    <a:pt x="3227499" y="5525902"/>
                    <a:pt x="3233178" y="5523874"/>
                    <a:pt x="3238653" y="5521745"/>
                  </a:cubicBezTo>
                  <a:cubicBezTo>
                    <a:pt x="3244129" y="5519616"/>
                    <a:pt x="3249529" y="5517232"/>
                    <a:pt x="3254853" y="5514596"/>
                  </a:cubicBezTo>
                  <a:cubicBezTo>
                    <a:pt x="3260176" y="5511960"/>
                    <a:pt x="3265551" y="5509019"/>
                    <a:pt x="3270976" y="5505774"/>
                  </a:cubicBezTo>
                  <a:cubicBezTo>
                    <a:pt x="3276401" y="5502529"/>
                    <a:pt x="3282003" y="5498828"/>
                    <a:pt x="3287783" y="5494671"/>
                  </a:cubicBezTo>
                  <a:close/>
                  <a:moveTo>
                    <a:pt x="1423455" y="5494671"/>
                  </a:moveTo>
                  <a:lnTo>
                    <a:pt x="1438362" y="5494671"/>
                  </a:lnTo>
                  <a:lnTo>
                    <a:pt x="1438362" y="5717651"/>
                  </a:lnTo>
                  <a:lnTo>
                    <a:pt x="1403074" y="5717651"/>
                  </a:lnTo>
                  <a:lnTo>
                    <a:pt x="1403074" y="5537868"/>
                  </a:lnTo>
                  <a:cubicBezTo>
                    <a:pt x="1396686" y="5542431"/>
                    <a:pt x="1389815" y="5546309"/>
                    <a:pt x="1382465" y="5549504"/>
                  </a:cubicBezTo>
                  <a:cubicBezTo>
                    <a:pt x="1375112" y="5552698"/>
                    <a:pt x="1366721" y="5555511"/>
                    <a:pt x="1357292" y="5557945"/>
                  </a:cubicBezTo>
                  <a:lnTo>
                    <a:pt x="1357292" y="5527829"/>
                  </a:lnTo>
                  <a:cubicBezTo>
                    <a:pt x="1363172" y="5525903"/>
                    <a:pt x="1368852" y="5523875"/>
                    <a:pt x="1374327" y="5521745"/>
                  </a:cubicBezTo>
                  <a:cubicBezTo>
                    <a:pt x="1379802" y="5519616"/>
                    <a:pt x="1385202" y="5517233"/>
                    <a:pt x="1390525" y="5514596"/>
                  </a:cubicBezTo>
                  <a:cubicBezTo>
                    <a:pt x="1395850" y="5511960"/>
                    <a:pt x="1401224" y="5509019"/>
                    <a:pt x="1406649" y="5505775"/>
                  </a:cubicBezTo>
                  <a:cubicBezTo>
                    <a:pt x="1412074" y="5502530"/>
                    <a:pt x="1417675" y="5498829"/>
                    <a:pt x="1423455" y="5494671"/>
                  </a:cubicBezTo>
                  <a:close/>
                  <a:moveTo>
                    <a:pt x="9366501" y="5157041"/>
                  </a:moveTo>
                  <a:lnTo>
                    <a:pt x="9381407" y="5157041"/>
                  </a:lnTo>
                  <a:lnTo>
                    <a:pt x="9381407" y="5380021"/>
                  </a:lnTo>
                  <a:lnTo>
                    <a:pt x="9346119" y="5380021"/>
                  </a:lnTo>
                  <a:lnTo>
                    <a:pt x="9346119" y="5200238"/>
                  </a:lnTo>
                  <a:cubicBezTo>
                    <a:pt x="9339731" y="5204801"/>
                    <a:pt x="9332861" y="5208679"/>
                    <a:pt x="9325510" y="5211874"/>
                  </a:cubicBezTo>
                  <a:cubicBezTo>
                    <a:pt x="9318158" y="5215068"/>
                    <a:pt x="9309767" y="5217881"/>
                    <a:pt x="9300337" y="5220315"/>
                  </a:cubicBezTo>
                  <a:lnTo>
                    <a:pt x="9300337" y="5190199"/>
                  </a:lnTo>
                  <a:cubicBezTo>
                    <a:pt x="9306218" y="5188273"/>
                    <a:pt x="9311897" y="5186245"/>
                    <a:pt x="9317372" y="5184115"/>
                  </a:cubicBezTo>
                  <a:cubicBezTo>
                    <a:pt x="9322848" y="5181986"/>
                    <a:pt x="9328248" y="5179603"/>
                    <a:pt x="9333571" y="5176966"/>
                  </a:cubicBezTo>
                  <a:cubicBezTo>
                    <a:pt x="9338895" y="5174330"/>
                    <a:pt x="9344269" y="5171389"/>
                    <a:pt x="9349694" y="5168145"/>
                  </a:cubicBezTo>
                  <a:cubicBezTo>
                    <a:pt x="9355119" y="5164900"/>
                    <a:pt x="9360721" y="5161199"/>
                    <a:pt x="9366501" y="5157041"/>
                  </a:cubicBezTo>
                  <a:close/>
                  <a:moveTo>
                    <a:pt x="7520355" y="5157041"/>
                  </a:moveTo>
                  <a:lnTo>
                    <a:pt x="7535261" y="5157041"/>
                  </a:lnTo>
                  <a:lnTo>
                    <a:pt x="7535261" y="5380021"/>
                  </a:lnTo>
                  <a:lnTo>
                    <a:pt x="7499973" y="5380021"/>
                  </a:lnTo>
                  <a:lnTo>
                    <a:pt x="7499973" y="5200238"/>
                  </a:lnTo>
                  <a:cubicBezTo>
                    <a:pt x="7493585" y="5204801"/>
                    <a:pt x="7486716" y="5208679"/>
                    <a:pt x="7479364" y="5211874"/>
                  </a:cubicBezTo>
                  <a:cubicBezTo>
                    <a:pt x="7472012" y="5215068"/>
                    <a:pt x="7463622" y="5217881"/>
                    <a:pt x="7454191" y="5220315"/>
                  </a:cubicBezTo>
                  <a:lnTo>
                    <a:pt x="7454191" y="5190199"/>
                  </a:lnTo>
                  <a:cubicBezTo>
                    <a:pt x="7460072" y="5188273"/>
                    <a:pt x="7465751" y="5186245"/>
                    <a:pt x="7471226" y="5184115"/>
                  </a:cubicBezTo>
                  <a:cubicBezTo>
                    <a:pt x="7476702" y="5181986"/>
                    <a:pt x="7482102" y="5179603"/>
                    <a:pt x="7487425" y="5176966"/>
                  </a:cubicBezTo>
                  <a:cubicBezTo>
                    <a:pt x="7492749" y="5174330"/>
                    <a:pt x="7498123" y="5171389"/>
                    <a:pt x="7503548" y="5168145"/>
                  </a:cubicBezTo>
                  <a:cubicBezTo>
                    <a:pt x="7508973" y="5164900"/>
                    <a:pt x="7514575" y="5161199"/>
                    <a:pt x="7520355" y="5157041"/>
                  </a:cubicBezTo>
                  <a:close/>
                  <a:moveTo>
                    <a:pt x="3287783" y="5157041"/>
                  </a:moveTo>
                  <a:lnTo>
                    <a:pt x="3302689" y="5157041"/>
                  </a:lnTo>
                  <a:lnTo>
                    <a:pt x="3302689" y="5380021"/>
                  </a:lnTo>
                  <a:lnTo>
                    <a:pt x="3267400" y="5380021"/>
                  </a:lnTo>
                  <a:lnTo>
                    <a:pt x="3267400" y="5200237"/>
                  </a:lnTo>
                  <a:cubicBezTo>
                    <a:pt x="3261013" y="5204800"/>
                    <a:pt x="3254142" y="5208679"/>
                    <a:pt x="3246791" y="5211873"/>
                  </a:cubicBezTo>
                  <a:cubicBezTo>
                    <a:pt x="3239440" y="5215067"/>
                    <a:pt x="3231049" y="5217881"/>
                    <a:pt x="3221618" y="5220315"/>
                  </a:cubicBezTo>
                  <a:lnTo>
                    <a:pt x="3221618" y="5190199"/>
                  </a:lnTo>
                  <a:cubicBezTo>
                    <a:pt x="3227499" y="5188272"/>
                    <a:pt x="3233178" y="5186244"/>
                    <a:pt x="3238653" y="5184115"/>
                  </a:cubicBezTo>
                  <a:cubicBezTo>
                    <a:pt x="3244129" y="5181986"/>
                    <a:pt x="3249529" y="5179602"/>
                    <a:pt x="3254853" y="5176966"/>
                  </a:cubicBezTo>
                  <a:cubicBezTo>
                    <a:pt x="3260176" y="5174330"/>
                    <a:pt x="3265551" y="5171389"/>
                    <a:pt x="3270976" y="5168144"/>
                  </a:cubicBezTo>
                  <a:cubicBezTo>
                    <a:pt x="3276401" y="5164899"/>
                    <a:pt x="3282003" y="5161198"/>
                    <a:pt x="3287783" y="5157041"/>
                  </a:cubicBezTo>
                  <a:close/>
                  <a:moveTo>
                    <a:pt x="1423455" y="5157041"/>
                  </a:moveTo>
                  <a:lnTo>
                    <a:pt x="1438362" y="5157041"/>
                  </a:lnTo>
                  <a:lnTo>
                    <a:pt x="1438362" y="5380021"/>
                  </a:lnTo>
                  <a:lnTo>
                    <a:pt x="1403074" y="5380021"/>
                  </a:lnTo>
                  <a:lnTo>
                    <a:pt x="1403074" y="5200238"/>
                  </a:lnTo>
                  <a:cubicBezTo>
                    <a:pt x="1396686" y="5204801"/>
                    <a:pt x="1389815" y="5208679"/>
                    <a:pt x="1382465" y="5211874"/>
                  </a:cubicBezTo>
                  <a:cubicBezTo>
                    <a:pt x="1375112" y="5215068"/>
                    <a:pt x="1366721" y="5217881"/>
                    <a:pt x="1357292" y="5220315"/>
                  </a:cubicBezTo>
                  <a:lnTo>
                    <a:pt x="1357292" y="5190199"/>
                  </a:lnTo>
                  <a:cubicBezTo>
                    <a:pt x="1363172" y="5188273"/>
                    <a:pt x="1368852" y="5186245"/>
                    <a:pt x="1374327" y="5184115"/>
                  </a:cubicBezTo>
                  <a:cubicBezTo>
                    <a:pt x="1379802" y="5181986"/>
                    <a:pt x="1385202" y="5179603"/>
                    <a:pt x="1390525" y="5176966"/>
                  </a:cubicBezTo>
                  <a:cubicBezTo>
                    <a:pt x="1395850" y="5174330"/>
                    <a:pt x="1401224" y="5171389"/>
                    <a:pt x="1406649" y="5168145"/>
                  </a:cubicBezTo>
                  <a:cubicBezTo>
                    <a:pt x="1412074" y="5164900"/>
                    <a:pt x="1417675" y="5161199"/>
                    <a:pt x="1423455" y="5157041"/>
                  </a:cubicBezTo>
                  <a:close/>
                  <a:moveTo>
                    <a:pt x="9366501" y="4843971"/>
                  </a:moveTo>
                  <a:lnTo>
                    <a:pt x="9381407" y="4843971"/>
                  </a:lnTo>
                  <a:lnTo>
                    <a:pt x="9381407" y="5066951"/>
                  </a:lnTo>
                  <a:lnTo>
                    <a:pt x="9346119" y="5066951"/>
                  </a:lnTo>
                  <a:lnTo>
                    <a:pt x="9346119" y="4887167"/>
                  </a:lnTo>
                  <a:cubicBezTo>
                    <a:pt x="9339731" y="4891730"/>
                    <a:pt x="9332861" y="4895609"/>
                    <a:pt x="9325510" y="4898803"/>
                  </a:cubicBezTo>
                  <a:cubicBezTo>
                    <a:pt x="9318158" y="4901997"/>
                    <a:pt x="9309767" y="4904811"/>
                    <a:pt x="9300337" y="4907245"/>
                  </a:cubicBezTo>
                  <a:lnTo>
                    <a:pt x="9300337" y="4877129"/>
                  </a:lnTo>
                  <a:cubicBezTo>
                    <a:pt x="9306218" y="4875202"/>
                    <a:pt x="9311897" y="4873174"/>
                    <a:pt x="9317372" y="4871045"/>
                  </a:cubicBezTo>
                  <a:cubicBezTo>
                    <a:pt x="9322848" y="4868916"/>
                    <a:pt x="9328248" y="4866532"/>
                    <a:pt x="9333571" y="4863896"/>
                  </a:cubicBezTo>
                  <a:cubicBezTo>
                    <a:pt x="9338895" y="4861260"/>
                    <a:pt x="9344269" y="4858319"/>
                    <a:pt x="9349694" y="4855074"/>
                  </a:cubicBezTo>
                  <a:cubicBezTo>
                    <a:pt x="9355119" y="4851829"/>
                    <a:pt x="9360721" y="4848128"/>
                    <a:pt x="9366501" y="4843971"/>
                  </a:cubicBezTo>
                  <a:close/>
                  <a:moveTo>
                    <a:pt x="7520355" y="4843971"/>
                  </a:moveTo>
                  <a:lnTo>
                    <a:pt x="7535261" y="4843971"/>
                  </a:lnTo>
                  <a:lnTo>
                    <a:pt x="7535261" y="5066951"/>
                  </a:lnTo>
                  <a:lnTo>
                    <a:pt x="7499973" y="5066951"/>
                  </a:lnTo>
                  <a:lnTo>
                    <a:pt x="7499973" y="4887167"/>
                  </a:lnTo>
                  <a:cubicBezTo>
                    <a:pt x="7493585" y="4891730"/>
                    <a:pt x="7486716" y="4895609"/>
                    <a:pt x="7479364" y="4898803"/>
                  </a:cubicBezTo>
                  <a:cubicBezTo>
                    <a:pt x="7472012" y="4901997"/>
                    <a:pt x="7463622" y="4904811"/>
                    <a:pt x="7454191" y="4907245"/>
                  </a:cubicBezTo>
                  <a:lnTo>
                    <a:pt x="7454191" y="4877129"/>
                  </a:lnTo>
                  <a:cubicBezTo>
                    <a:pt x="7460072" y="4875202"/>
                    <a:pt x="7465751" y="4873174"/>
                    <a:pt x="7471226" y="4871045"/>
                  </a:cubicBezTo>
                  <a:cubicBezTo>
                    <a:pt x="7476702" y="4868916"/>
                    <a:pt x="7482102" y="4866532"/>
                    <a:pt x="7487425" y="4863896"/>
                  </a:cubicBezTo>
                  <a:cubicBezTo>
                    <a:pt x="7492749" y="4861260"/>
                    <a:pt x="7498123" y="4858319"/>
                    <a:pt x="7503548" y="4855074"/>
                  </a:cubicBezTo>
                  <a:cubicBezTo>
                    <a:pt x="7508973" y="4851829"/>
                    <a:pt x="7514575" y="4848128"/>
                    <a:pt x="7520355" y="4843971"/>
                  </a:cubicBezTo>
                  <a:close/>
                  <a:moveTo>
                    <a:pt x="3287783" y="4843971"/>
                  </a:moveTo>
                  <a:lnTo>
                    <a:pt x="3302689" y="4843971"/>
                  </a:lnTo>
                  <a:lnTo>
                    <a:pt x="3302689" y="5066951"/>
                  </a:lnTo>
                  <a:lnTo>
                    <a:pt x="3267400" y="5066951"/>
                  </a:lnTo>
                  <a:lnTo>
                    <a:pt x="3267400" y="4887167"/>
                  </a:lnTo>
                  <a:cubicBezTo>
                    <a:pt x="3261013" y="4891730"/>
                    <a:pt x="3254142" y="4895609"/>
                    <a:pt x="3246791" y="4898803"/>
                  </a:cubicBezTo>
                  <a:cubicBezTo>
                    <a:pt x="3239440" y="4901997"/>
                    <a:pt x="3231049" y="4904811"/>
                    <a:pt x="3221618" y="4907245"/>
                  </a:cubicBezTo>
                  <a:lnTo>
                    <a:pt x="3221618" y="4877129"/>
                  </a:lnTo>
                  <a:cubicBezTo>
                    <a:pt x="3227499" y="4875202"/>
                    <a:pt x="3233178" y="4873174"/>
                    <a:pt x="3238653" y="4871045"/>
                  </a:cubicBezTo>
                  <a:cubicBezTo>
                    <a:pt x="3244129" y="4868916"/>
                    <a:pt x="3249529" y="4866532"/>
                    <a:pt x="3254853" y="4863896"/>
                  </a:cubicBezTo>
                  <a:cubicBezTo>
                    <a:pt x="3260176" y="4861260"/>
                    <a:pt x="3265551" y="4858319"/>
                    <a:pt x="3270976" y="4855074"/>
                  </a:cubicBezTo>
                  <a:cubicBezTo>
                    <a:pt x="3276401" y="4851829"/>
                    <a:pt x="3282003" y="4848128"/>
                    <a:pt x="3287783" y="4843971"/>
                  </a:cubicBezTo>
                  <a:close/>
                  <a:moveTo>
                    <a:pt x="1423455" y="4843971"/>
                  </a:moveTo>
                  <a:lnTo>
                    <a:pt x="1438362" y="4843971"/>
                  </a:lnTo>
                  <a:lnTo>
                    <a:pt x="1438362" y="5066951"/>
                  </a:lnTo>
                  <a:lnTo>
                    <a:pt x="1403074" y="5066951"/>
                  </a:lnTo>
                  <a:lnTo>
                    <a:pt x="1403074" y="4887167"/>
                  </a:lnTo>
                  <a:cubicBezTo>
                    <a:pt x="1396686" y="4891730"/>
                    <a:pt x="1389815" y="4895609"/>
                    <a:pt x="1382465" y="4898803"/>
                  </a:cubicBezTo>
                  <a:cubicBezTo>
                    <a:pt x="1375112" y="4901997"/>
                    <a:pt x="1366721" y="4904811"/>
                    <a:pt x="1357292" y="4907245"/>
                  </a:cubicBezTo>
                  <a:lnTo>
                    <a:pt x="1357292" y="4877129"/>
                  </a:lnTo>
                  <a:cubicBezTo>
                    <a:pt x="1363172" y="4875202"/>
                    <a:pt x="1368852" y="4873174"/>
                    <a:pt x="1374327" y="4871045"/>
                  </a:cubicBezTo>
                  <a:cubicBezTo>
                    <a:pt x="1379802" y="4868916"/>
                    <a:pt x="1385202" y="4866532"/>
                    <a:pt x="1390525" y="4863896"/>
                  </a:cubicBezTo>
                  <a:cubicBezTo>
                    <a:pt x="1395850" y="4861260"/>
                    <a:pt x="1401224" y="4858319"/>
                    <a:pt x="1406649" y="4855074"/>
                  </a:cubicBezTo>
                  <a:cubicBezTo>
                    <a:pt x="1412074" y="4851829"/>
                    <a:pt x="1417675" y="4848128"/>
                    <a:pt x="1423455" y="4843971"/>
                  </a:cubicBezTo>
                  <a:close/>
                  <a:moveTo>
                    <a:pt x="9366501" y="4506341"/>
                  </a:moveTo>
                  <a:lnTo>
                    <a:pt x="9381407" y="4506341"/>
                  </a:lnTo>
                  <a:lnTo>
                    <a:pt x="9381407" y="4729321"/>
                  </a:lnTo>
                  <a:lnTo>
                    <a:pt x="9346119" y="4729321"/>
                  </a:lnTo>
                  <a:lnTo>
                    <a:pt x="9346119" y="4549537"/>
                  </a:lnTo>
                  <a:cubicBezTo>
                    <a:pt x="9339731" y="4554100"/>
                    <a:pt x="9332861" y="4557979"/>
                    <a:pt x="9325510" y="4561173"/>
                  </a:cubicBezTo>
                  <a:cubicBezTo>
                    <a:pt x="9318158" y="4564367"/>
                    <a:pt x="9309767" y="4567181"/>
                    <a:pt x="9300337" y="4569615"/>
                  </a:cubicBezTo>
                  <a:lnTo>
                    <a:pt x="9300337" y="4539499"/>
                  </a:lnTo>
                  <a:cubicBezTo>
                    <a:pt x="9306218" y="4537572"/>
                    <a:pt x="9311897" y="4535544"/>
                    <a:pt x="9317372" y="4533415"/>
                  </a:cubicBezTo>
                  <a:cubicBezTo>
                    <a:pt x="9322848" y="4531286"/>
                    <a:pt x="9328248" y="4528902"/>
                    <a:pt x="9333571" y="4526266"/>
                  </a:cubicBezTo>
                  <a:cubicBezTo>
                    <a:pt x="9338895" y="4523630"/>
                    <a:pt x="9344269" y="4520689"/>
                    <a:pt x="9349694" y="4517444"/>
                  </a:cubicBezTo>
                  <a:cubicBezTo>
                    <a:pt x="9355119" y="4514199"/>
                    <a:pt x="9360721" y="4510498"/>
                    <a:pt x="9366501" y="4506341"/>
                  </a:cubicBezTo>
                  <a:close/>
                  <a:moveTo>
                    <a:pt x="7520355" y="4506341"/>
                  </a:moveTo>
                  <a:lnTo>
                    <a:pt x="7535261" y="4506341"/>
                  </a:lnTo>
                  <a:lnTo>
                    <a:pt x="7535261" y="4729321"/>
                  </a:lnTo>
                  <a:lnTo>
                    <a:pt x="7499973" y="4729321"/>
                  </a:lnTo>
                  <a:lnTo>
                    <a:pt x="7499973" y="4549537"/>
                  </a:lnTo>
                  <a:cubicBezTo>
                    <a:pt x="7493585" y="4554100"/>
                    <a:pt x="7486716" y="4557979"/>
                    <a:pt x="7479364" y="4561173"/>
                  </a:cubicBezTo>
                  <a:cubicBezTo>
                    <a:pt x="7472012" y="4564367"/>
                    <a:pt x="7463622" y="4567181"/>
                    <a:pt x="7454191" y="4569615"/>
                  </a:cubicBezTo>
                  <a:lnTo>
                    <a:pt x="7454191" y="4539499"/>
                  </a:lnTo>
                  <a:cubicBezTo>
                    <a:pt x="7460072" y="4537572"/>
                    <a:pt x="7465751" y="4535544"/>
                    <a:pt x="7471226" y="4533415"/>
                  </a:cubicBezTo>
                  <a:cubicBezTo>
                    <a:pt x="7476702" y="4531286"/>
                    <a:pt x="7482102" y="4528902"/>
                    <a:pt x="7487425" y="4526266"/>
                  </a:cubicBezTo>
                  <a:cubicBezTo>
                    <a:pt x="7492749" y="4523630"/>
                    <a:pt x="7498123" y="4520689"/>
                    <a:pt x="7503548" y="4517444"/>
                  </a:cubicBezTo>
                  <a:cubicBezTo>
                    <a:pt x="7508973" y="4514199"/>
                    <a:pt x="7514575" y="4510498"/>
                    <a:pt x="7520355" y="4506341"/>
                  </a:cubicBezTo>
                  <a:close/>
                  <a:moveTo>
                    <a:pt x="3287783" y="4506341"/>
                  </a:moveTo>
                  <a:lnTo>
                    <a:pt x="3302689" y="4506341"/>
                  </a:lnTo>
                  <a:lnTo>
                    <a:pt x="3302689" y="4729321"/>
                  </a:lnTo>
                  <a:lnTo>
                    <a:pt x="3267400" y="4729321"/>
                  </a:lnTo>
                  <a:lnTo>
                    <a:pt x="3267400" y="4549537"/>
                  </a:lnTo>
                  <a:cubicBezTo>
                    <a:pt x="3261013" y="4554100"/>
                    <a:pt x="3254142" y="4557979"/>
                    <a:pt x="3246791" y="4561173"/>
                  </a:cubicBezTo>
                  <a:cubicBezTo>
                    <a:pt x="3239440" y="4564367"/>
                    <a:pt x="3231049" y="4567181"/>
                    <a:pt x="3221618" y="4569615"/>
                  </a:cubicBezTo>
                  <a:lnTo>
                    <a:pt x="3221618" y="4539499"/>
                  </a:lnTo>
                  <a:cubicBezTo>
                    <a:pt x="3227499" y="4537572"/>
                    <a:pt x="3233178" y="4535544"/>
                    <a:pt x="3238653" y="4533415"/>
                  </a:cubicBezTo>
                  <a:cubicBezTo>
                    <a:pt x="3244129" y="4531286"/>
                    <a:pt x="3249529" y="4528902"/>
                    <a:pt x="3254853" y="4526266"/>
                  </a:cubicBezTo>
                  <a:cubicBezTo>
                    <a:pt x="3260176" y="4523630"/>
                    <a:pt x="3265551" y="4520689"/>
                    <a:pt x="3270976" y="4517444"/>
                  </a:cubicBezTo>
                  <a:cubicBezTo>
                    <a:pt x="3276401" y="4514199"/>
                    <a:pt x="3282003" y="4510498"/>
                    <a:pt x="3287783" y="4506341"/>
                  </a:cubicBezTo>
                  <a:close/>
                  <a:moveTo>
                    <a:pt x="1423455" y="4506341"/>
                  </a:moveTo>
                  <a:lnTo>
                    <a:pt x="1438362" y="4506341"/>
                  </a:lnTo>
                  <a:lnTo>
                    <a:pt x="1438362" y="4729321"/>
                  </a:lnTo>
                  <a:lnTo>
                    <a:pt x="1403074" y="4729321"/>
                  </a:lnTo>
                  <a:lnTo>
                    <a:pt x="1403074" y="4549537"/>
                  </a:lnTo>
                  <a:cubicBezTo>
                    <a:pt x="1396686" y="4554100"/>
                    <a:pt x="1389815" y="4557979"/>
                    <a:pt x="1382465" y="4561173"/>
                  </a:cubicBezTo>
                  <a:cubicBezTo>
                    <a:pt x="1375112" y="4564367"/>
                    <a:pt x="1366721" y="4567181"/>
                    <a:pt x="1357292" y="4569615"/>
                  </a:cubicBezTo>
                  <a:lnTo>
                    <a:pt x="1357292" y="4539499"/>
                  </a:lnTo>
                  <a:cubicBezTo>
                    <a:pt x="1363172" y="4537572"/>
                    <a:pt x="1368852" y="4535544"/>
                    <a:pt x="1374327" y="4533415"/>
                  </a:cubicBezTo>
                  <a:cubicBezTo>
                    <a:pt x="1379802" y="4531286"/>
                    <a:pt x="1385202" y="4528902"/>
                    <a:pt x="1390525" y="4526266"/>
                  </a:cubicBezTo>
                  <a:cubicBezTo>
                    <a:pt x="1395850" y="4523630"/>
                    <a:pt x="1401224" y="4520689"/>
                    <a:pt x="1406649" y="4517444"/>
                  </a:cubicBezTo>
                  <a:cubicBezTo>
                    <a:pt x="1412074" y="4514199"/>
                    <a:pt x="1417675" y="4510498"/>
                    <a:pt x="1423455" y="4506341"/>
                  </a:cubicBezTo>
                  <a:close/>
                  <a:moveTo>
                    <a:pt x="10276410" y="4158870"/>
                  </a:moveTo>
                  <a:lnTo>
                    <a:pt x="10291316" y="4158870"/>
                  </a:lnTo>
                  <a:lnTo>
                    <a:pt x="10291316" y="4381850"/>
                  </a:lnTo>
                  <a:lnTo>
                    <a:pt x="10256028" y="4381850"/>
                  </a:lnTo>
                  <a:lnTo>
                    <a:pt x="10256028" y="4202067"/>
                  </a:lnTo>
                  <a:cubicBezTo>
                    <a:pt x="10249640" y="4206630"/>
                    <a:pt x="10242770" y="4210508"/>
                    <a:pt x="10235419" y="4213703"/>
                  </a:cubicBezTo>
                  <a:cubicBezTo>
                    <a:pt x="10228067" y="4216897"/>
                    <a:pt x="10219676" y="4219710"/>
                    <a:pt x="10210246" y="4222144"/>
                  </a:cubicBezTo>
                  <a:lnTo>
                    <a:pt x="10210246" y="4192028"/>
                  </a:lnTo>
                  <a:cubicBezTo>
                    <a:pt x="10216127" y="4190102"/>
                    <a:pt x="10221806" y="4188074"/>
                    <a:pt x="10227281" y="4185944"/>
                  </a:cubicBezTo>
                  <a:cubicBezTo>
                    <a:pt x="10232757" y="4183815"/>
                    <a:pt x="10238157" y="4181432"/>
                    <a:pt x="10243480" y="4178795"/>
                  </a:cubicBezTo>
                  <a:cubicBezTo>
                    <a:pt x="10248804" y="4176159"/>
                    <a:pt x="10254178" y="4173218"/>
                    <a:pt x="10259603" y="4169974"/>
                  </a:cubicBezTo>
                  <a:cubicBezTo>
                    <a:pt x="10265028" y="4166729"/>
                    <a:pt x="10270630" y="4163028"/>
                    <a:pt x="10276410" y="4158870"/>
                  </a:cubicBezTo>
                  <a:close/>
                  <a:moveTo>
                    <a:pt x="9366501" y="4158870"/>
                  </a:moveTo>
                  <a:lnTo>
                    <a:pt x="9381407" y="4158870"/>
                  </a:lnTo>
                  <a:lnTo>
                    <a:pt x="9381407" y="4381850"/>
                  </a:lnTo>
                  <a:lnTo>
                    <a:pt x="9346119" y="4381850"/>
                  </a:lnTo>
                  <a:lnTo>
                    <a:pt x="9346119" y="4202066"/>
                  </a:lnTo>
                  <a:cubicBezTo>
                    <a:pt x="9339731" y="4206629"/>
                    <a:pt x="9332861" y="4210508"/>
                    <a:pt x="9325510" y="4213702"/>
                  </a:cubicBezTo>
                  <a:cubicBezTo>
                    <a:pt x="9318158" y="4216896"/>
                    <a:pt x="9309767" y="4219710"/>
                    <a:pt x="9300337" y="4222144"/>
                  </a:cubicBezTo>
                  <a:lnTo>
                    <a:pt x="9300337" y="4192028"/>
                  </a:lnTo>
                  <a:cubicBezTo>
                    <a:pt x="9306218" y="4190101"/>
                    <a:pt x="9311897" y="4188073"/>
                    <a:pt x="9317372" y="4185944"/>
                  </a:cubicBezTo>
                  <a:cubicBezTo>
                    <a:pt x="9322848" y="4183815"/>
                    <a:pt x="9328248" y="4181431"/>
                    <a:pt x="9333571" y="4178795"/>
                  </a:cubicBezTo>
                  <a:cubicBezTo>
                    <a:pt x="9338895" y="4176159"/>
                    <a:pt x="9344269" y="4173218"/>
                    <a:pt x="9349694" y="4169973"/>
                  </a:cubicBezTo>
                  <a:cubicBezTo>
                    <a:pt x="9355119" y="4166728"/>
                    <a:pt x="9360721" y="4163027"/>
                    <a:pt x="9366501" y="4158870"/>
                  </a:cubicBezTo>
                  <a:close/>
                  <a:moveTo>
                    <a:pt x="7520355" y="4158870"/>
                  </a:moveTo>
                  <a:lnTo>
                    <a:pt x="7535261" y="4158870"/>
                  </a:lnTo>
                  <a:lnTo>
                    <a:pt x="7535261" y="4381850"/>
                  </a:lnTo>
                  <a:lnTo>
                    <a:pt x="7499973" y="4381850"/>
                  </a:lnTo>
                  <a:lnTo>
                    <a:pt x="7499973" y="4202066"/>
                  </a:lnTo>
                  <a:cubicBezTo>
                    <a:pt x="7493585" y="4206629"/>
                    <a:pt x="7486716" y="4210508"/>
                    <a:pt x="7479364" y="4213702"/>
                  </a:cubicBezTo>
                  <a:cubicBezTo>
                    <a:pt x="7472012" y="4216896"/>
                    <a:pt x="7463622" y="4219710"/>
                    <a:pt x="7454191" y="4222144"/>
                  </a:cubicBezTo>
                  <a:lnTo>
                    <a:pt x="7454191" y="4192028"/>
                  </a:lnTo>
                  <a:cubicBezTo>
                    <a:pt x="7460072" y="4190101"/>
                    <a:pt x="7465751" y="4188073"/>
                    <a:pt x="7471226" y="4185944"/>
                  </a:cubicBezTo>
                  <a:cubicBezTo>
                    <a:pt x="7476702" y="4183815"/>
                    <a:pt x="7482102" y="4181431"/>
                    <a:pt x="7487425" y="4178795"/>
                  </a:cubicBezTo>
                  <a:cubicBezTo>
                    <a:pt x="7492749" y="4176159"/>
                    <a:pt x="7498123" y="4173218"/>
                    <a:pt x="7503548" y="4169973"/>
                  </a:cubicBezTo>
                  <a:cubicBezTo>
                    <a:pt x="7508973" y="4166728"/>
                    <a:pt x="7514575" y="4163027"/>
                    <a:pt x="7520355" y="4158870"/>
                  </a:cubicBezTo>
                  <a:close/>
                  <a:moveTo>
                    <a:pt x="4159688" y="4158870"/>
                  </a:moveTo>
                  <a:lnTo>
                    <a:pt x="4174594" y="4158870"/>
                  </a:lnTo>
                  <a:lnTo>
                    <a:pt x="4174594" y="4381850"/>
                  </a:lnTo>
                  <a:lnTo>
                    <a:pt x="4139306" y="4381850"/>
                  </a:lnTo>
                  <a:lnTo>
                    <a:pt x="4139306" y="4202067"/>
                  </a:lnTo>
                  <a:cubicBezTo>
                    <a:pt x="4132918" y="4206630"/>
                    <a:pt x="4126048" y="4210508"/>
                    <a:pt x="4118697" y="4213703"/>
                  </a:cubicBezTo>
                  <a:cubicBezTo>
                    <a:pt x="4111345" y="4216897"/>
                    <a:pt x="4102955" y="4219710"/>
                    <a:pt x="4093525" y="4222144"/>
                  </a:cubicBezTo>
                  <a:lnTo>
                    <a:pt x="4093525" y="4192028"/>
                  </a:lnTo>
                  <a:cubicBezTo>
                    <a:pt x="4099406" y="4190102"/>
                    <a:pt x="4105085" y="4188074"/>
                    <a:pt x="4110559" y="4185944"/>
                  </a:cubicBezTo>
                  <a:cubicBezTo>
                    <a:pt x="4116035" y="4183815"/>
                    <a:pt x="4121435" y="4181432"/>
                    <a:pt x="4126758" y="4178795"/>
                  </a:cubicBezTo>
                  <a:cubicBezTo>
                    <a:pt x="4132083" y="4176159"/>
                    <a:pt x="4137456" y="4173218"/>
                    <a:pt x="4142881" y="4169974"/>
                  </a:cubicBezTo>
                  <a:cubicBezTo>
                    <a:pt x="4148307" y="4166729"/>
                    <a:pt x="4153908" y="4163028"/>
                    <a:pt x="4159688" y="4158870"/>
                  </a:cubicBezTo>
                  <a:close/>
                  <a:moveTo>
                    <a:pt x="3287783" y="4158870"/>
                  </a:moveTo>
                  <a:lnTo>
                    <a:pt x="3302689" y="4158870"/>
                  </a:lnTo>
                  <a:lnTo>
                    <a:pt x="3302689" y="4381850"/>
                  </a:lnTo>
                  <a:lnTo>
                    <a:pt x="3267400" y="4381850"/>
                  </a:lnTo>
                  <a:lnTo>
                    <a:pt x="3267400" y="4202066"/>
                  </a:lnTo>
                  <a:cubicBezTo>
                    <a:pt x="3261013" y="4206629"/>
                    <a:pt x="3254142" y="4210508"/>
                    <a:pt x="3246791" y="4213702"/>
                  </a:cubicBezTo>
                  <a:cubicBezTo>
                    <a:pt x="3239440" y="4216896"/>
                    <a:pt x="3231049" y="4219710"/>
                    <a:pt x="3221618" y="4222144"/>
                  </a:cubicBezTo>
                  <a:lnTo>
                    <a:pt x="3221618" y="4192028"/>
                  </a:lnTo>
                  <a:cubicBezTo>
                    <a:pt x="3227499" y="4190101"/>
                    <a:pt x="3233178" y="4188073"/>
                    <a:pt x="3238653" y="4185944"/>
                  </a:cubicBezTo>
                  <a:cubicBezTo>
                    <a:pt x="3244129" y="4183815"/>
                    <a:pt x="3249529" y="4181431"/>
                    <a:pt x="3254853" y="4178795"/>
                  </a:cubicBezTo>
                  <a:cubicBezTo>
                    <a:pt x="3260176" y="4176159"/>
                    <a:pt x="3265551" y="4173218"/>
                    <a:pt x="3270976" y="4169973"/>
                  </a:cubicBezTo>
                  <a:cubicBezTo>
                    <a:pt x="3276401" y="4166728"/>
                    <a:pt x="3282003" y="4163027"/>
                    <a:pt x="3287783" y="4158870"/>
                  </a:cubicBezTo>
                  <a:close/>
                  <a:moveTo>
                    <a:pt x="1423455" y="4158870"/>
                  </a:moveTo>
                  <a:lnTo>
                    <a:pt x="1438362" y="4158870"/>
                  </a:lnTo>
                  <a:lnTo>
                    <a:pt x="1438362" y="4381850"/>
                  </a:lnTo>
                  <a:lnTo>
                    <a:pt x="1403074" y="4381850"/>
                  </a:lnTo>
                  <a:lnTo>
                    <a:pt x="1403074" y="4202066"/>
                  </a:lnTo>
                  <a:cubicBezTo>
                    <a:pt x="1396686" y="4206629"/>
                    <a:pt x="1389815" y="4210508"/>
                    <a:pt x="1382465" y="4213702"/>
                  </a:cubicBezTo>
                  <a:cubicBezTo>
                    <a:pt x="1375112" y="4216896"/>
                    <a:pt x="1366721" y="4219710"/>
                    <a:pt x="1357292" y="4222144"/>
                  </a:cubicBezTo>
                  <a:lnTo>
                    <a:pt x="1357292" y="4192028"/>
                  </a:lnTo>
                  <a:cubicBezTo>
                    <a:pt x="1363172" y="4190101"/>
                    <a:pt x="1368852" y="4188073"/>
                    <a:pt x="1374327" y="4185944"/>
                  </a:cubicBezTo>
                  <a:cubicBezTo>
                    <a:pt x="1379802" y="4183815"/>
                    <a:pt x="1385202" y="4181431"/>
                    <a:pt x="1390525" y="4178795"/>
                  </a:cubicBezTo>
                  <a:cubicBezTo>
                    <a:pt x="1395850" y="4176159"/>
                    <a:pt x="1401224" y="4173218"/>
                    <a:pt x="1406649" y="4169973"/>
                  </a:cubicBezTo>
                  <a:cubicBezTo>
                    <a:pt x="1412074" y="4166728"/>
                    <a:pt x="1417675" y="4163027"/>
                    <a:pt x="1423455" y="4158870"/>
                  </a:cubicBezTo>
                  <a:close/>
                  <a:moveTo>
                    <a:pt x="66164" y="4158870"/>
                  </a:moveTo>
                  <a:lnTo>
                    <a:pt x="81070" y="4158870"/>
                  </a:lnTo>
                  <a:lnTo>
                    <a:pt x="81070" y="4381850"/>
                  </a:lnTo>
                  <a:lnTo>
                    <a:pt x="45782" y="4381850"/>
                  </a:lnTo>
                  <a:lnTo>
                    <a:pt x="45782" y="4202067"/>
                  </a:lnTo>
                  <a:cubicBezTo>
                    <a:pt x="39394" y="4206630"/>
                    <a:pt x="32525" y="4210508"/>
                    <a:pt x="25173" y="4213703"/>
                  </a:cubicBezTo>
                  <a:cubicBezTo>
                    <a:pt x="17821" y="4216897"/>
                    <a:pt x="9431" y="4219710"/>
                    <a:pt x="0" y="4222144"/>
                  </a:cubicBezTo>
                  <a:lnTo>
                    <a:pt x="0" y="4192028"/>
                  </a:lnTo>
                  <a:cubicBezTo>
                    <a:pt x="5881" y="4190102"/>
                    <a:pt x="11560" y="4188074"/>
                    <a:pt x="17035" y="4185944"/>
                  </a:cubicBezTo>
                  <a:cubicBezTo>
                    <a:pt x="22511" y="4183815"/>
                    <a:pt x="27911" y="4181432"/>
                    <a:pt x="33234" y="4178795"/>
                  </a:cubicBezTo>
                  <a:cubicBezTo>
                    <a:pt x="38558" y="4176159"/>
                    <a:pt x="43932" y="4173218"/>
                    <a:pt x="49357" y="4169974"/>
                  </a:cubicBezTo>
                  <a:cubicBezTo>
                    <a:pt x="54782" y="4166729"/>
                    <a:pt x="60384" y="4163028"/>
                    <a:pt x="66164" y="4158870"/>
                  </a:cubicBezTo>
                  <a:close/>
                  <a:moveTo>
                    <a:pt x="10276410" y="3811399"/>
                  </a:moveTo>
                  <a:lnTo>
                    <a:pt x="10291316" y="3811399"/>
                  </a:lnTo>
                  <a:lnTo>
                    <a:pt x="10291316" y="4034379"/>
                  </a:lnTo>
                  <a:lnTo>
                    <a:pt x="10256028" y="4034379"/>
                  </a:lnTo>
                  <a:lnTo>
                    <a:pt x="10256028" y="3854595"/>
                  </a:lnTo>
                  <a:cubicBezTo>
                    <a:pt x="10249640" y="3859159"/>
                    <a:pt x="10242770" y="3863037"/>
                    <a:pt x="10235419" y="3866231"/>
                  </a:cubicBezTo>
                  <a:cubicBezTo>
                    <a:pt x="10228067" y="3869425"/>
                    <a:pt x="10219676" y="3872239"/>
                    <a:pt x="10210246" y="3874673"/>
                  </a:cubicBezTo>
                  <a:lnTo>
                    <a:pt x="10210246" y="3844557"/>
                  </a:lnTo>
                  <a:cubicBezTo>
                    <a:pt x="10216127" y="3842630"/>
                    <a:pt x="10221806" y="3840602"/>
                    <a:pt x="10227281" y="3838473"/>
                  </a:cubicBezTo>
                  <a:cubicBezTo>
                    <a:pt x="10232757" y="3836344"/>
                    <a:pt x="10238157" y="3833960"/>
                    <a:pt x="10243480" y="3831324"/>
                  </a:cubicBezTo>
                  <a:cubicBezTo>
                    <a:pt x="10248804" y="3828688"/>
                    <a:pt x="10254178" y="3825747"/>
                    <a:pt x="10259603" y="3822502"/>
                  </a:cubicBezTo>
                  <a:cubicBezTo>
                    <a:pt x="10265028" y="3819257"/>
                    <a:pt x="10270630" y="3815556"/>
                    <a:pt x="10276410" y="3811399"/>
                  </a:cubicBezTo>
                  <a:close/>
                  <a:moveTo>
                    <a:pt x="9366501" y="3811399"/>
                  </a:moveTo>
                  <a:lnTo>
                    <a:pt x="9381407" y="3811399"/>
                  </a:lnTo>
                  <a:lnTo>
                    <a:pt x="9381407" y="4034379"/>
                  </a:lnTo>
                  <a:lnTo>
                    <a:pt x="9346119" y="4034379"/>
                  </a:lnTo>
                  <a:lnTo>
                    <a:pt x="9346119" y="3854595"/>
                  </a:lnTo>
                  <a:cubicBezTo>
                    <a:pt x="9339731" y="3859159"/>
                    <a:pt x="9332861" y="3863037"/>
                    <a:pt x="9325510" y="3866231"/>
                  </a:cubicBezTo>
                  <a:cubicBezTo>
                    <a:pt x="9318158" y="3869425"/>
                    <a:pt x="9309767" y="3872239"/>
                    <a:pt x="9300337" y="3874673"/>
                  </a:cubicBezTo>
                  <a:lnTo>
                    <a:pt x="9300337" y="3844557"/>
                  </a:lnTo>
                  <a:cubicBezTo>
                    <a:pt x="9306218" y="3842630"/>
                    <a:pt x="9311897" y="3840602"/>
                    <a:pt x="9317372" y="3838473"/>
                  </a:cubicBezTo>
                  <a:cubicBezTo>
                    <a:pt x="9322848" y="3836344"/>
                    <a:pt x="9328248" y="3833960"/>
                    <a:pt x="9333571" y="3831324"/>
                  </a:cubicBezTo>
                  <a:cubicBezTo>
                    <a:pt x="9338895" y="3828688"/>
                    <a:pt x="9344269" y="3825747"/>
                    <a:pt x="9349694" y="3822502"/>
                  </a:cubicBezTo>
                  <a:cubicBezTo>
                    <a:pt x="9355119" y="3819257"/>
                    <a:pt x="9360721" y="3815556"/>
                    <a:pt x="9366501" y="3811399"/>
                  </a:cubicBezTo>
                  <a:close/>
                  <a:moveTo>
                    <a:pt x="7520355" y="3811399"/>
                  </a:moveTo>
                  <a:lnTo>
                    <a:pt x="7535261" y="3811399"/>
                  </a:lnTo>
                  <a:lnTo>
                    <a:pt x="7535261" y="4034379"/>
                  </a:lnTo>
                  <a:lnTo>
                    <a:pt x="7499973" y="4034379"/>
                  </a:lnTo>
                  <a:lnTo>
                    <a:pt x="7499973" y="3854595"/>
                  </a:lnTo>
                  <a:cubicBezTo>
                    <a:pt x="7493585" y="3859159"/>
                    <a:pt x="7486716" y="3863037"/>
                    <a:pt x="7479364" y="3866231"/>
                  </a:cubicBezTo>
                  <a:cubicBezTo>
                    <a:pt x="7472012" y="3869425"/>
                    <a:pt x="7463622" y="3872239"/>
                    <a:pt x="7454191" y="3874673"/>
                  </a:cubicBezTo>
                  <a:lnTo>
                    <a:pt x="7454191" y="3844557"/>
                  </a:lnTo>
                  <a:cubicBezTo>
                    <a:pt x="7460072" y="3842630"/>
                    <a:pt x="7465751" y="3840602"/>
                    <a:pt x="7471226" y="3838473"/>
                  </a:cubicBezTo>
                  <a:cubicBezTo>
                    <a:pt x="7476702" y="3836344"/>
                    <a:pt x="7482102" y="3833960"/>
                    <a:pt x="7487425" y="3831324"/>
                  </a:cubicBezTo>
                  <a:cubicBezTo>
                    <a:pt x="7492749" y="3828688"/>
                    <a:pt x="7498123" y="3825747"/>
                    <a:pt x="7503548" y="3822502"/>
                  </a:cubicBezTo>
                  <a:cubicBezTo>
                    <a:pt x="7508973" y="3819257"/>
                    <a:pt x="7514575" y="3815556"/>
                    <a:pt x="7520355" y="3811399"/>
                  </a:cubicBezTo>
                  <a:close/>
                  <a:moveTo>
                    <a:pt x="4159688" y="3811399"/>
                  </a:moveTo>
                  <a:lnTo>
                    <a:pt x="4174594" y="3811399"/>
                  </a:lnTo>
                  <a:lnTo>
                    <a:pt x="4174594" y="4034379"/>
                  </a:lnTo>
                  <a:lnTo>
                    <a:pt x="4139306" y="4034379"/>
                  </a:lnTo>
                  <a:lnTo>
                    <a:pt x="4139306" y="3854595"/>
                  </a:lnTo>
                  <a:cubicBezTo>
                    <a:pt x="4132918" y="3859159"/>
                    <a:pt x="4126048" y="3863037"/>
                    <a:pt x="4118697" y="3866231"/>
                  </a:cubicBezTo>
                  <a:cubicBezTo>
                    <a:pt x="4111345" y="3869425"/>
                    <a:pt x="4102955" y="3872239"/>
                    <a:pt x="4093525" y="3874673"/>
                  </a:cubicBezTo>
                  <a:lnTo>
                    <a:pt x="4093525" y="3844557"/>
                  </a:lnTo>
                  <a:cubicBezTo>
                    <a:pt x="4099406" y="3842630"/>
                    <a:pt x="4105085" y="3840602"/>
                    <a:pt x="4110559" y="3838473"/>
                  </a:cubicBezTo>
                  <a:cubicBezTo>
                    <a:pt x="4116035" y="3836344"/>
                    <a:pt x="4121435" y="3833960"/>
                    <a:pt x="4126758" y="3831324"/>
                  </a:cubicBezTo>
                  <a:cubicBezTo>
                    <a:pt x="4132083" y="3828688"/>
                    <a:pt x="4137456" y="3825747"/>
                    <a:pt x="4142881" y="3822502"/>
                  </a:cubicBezTo>
                  <a:cubicBezTo>
                    <a:pt x="4148307" y="3819257"/>
                    <a:pt x="4153908" y="3815556"/>
                    <a:pt x="4159688" y="3811399"/>
                  </a:cubicBezTo>
                  <a:close/>
                  <a:moveTo>
                    <a:pt x="3287783" y="3811399"/>
                  </a:moveTo>
                  <a:lnTo>
                    <a:pt x="3302689" y="3811399"/>
                  </a:lnTo>
                  <a:lnTo>
                    <a:pt x="3302689" y="4034379"/>
                  </a:lnTo>
                  <a:lnTo>
                    <a:pt x="3267400" y="4034379"/>
                  </a:lnTo>
                  <a:lnTo>
                    <a:pt x="3267400" y="3854595"/>
                  </a:lnTo>
                  <a:cubicBezTo>
                    <a:pt x="3261013" y="3859159"/>
                    <a:pt x="3254142" y="3863037"/>
                    <a:pt x="3246791" y="3866231"/>
                  </a:cubicBezTo>
                  <a:cubicBezTo>
                    <a:pt x="3239440" y="3869425"/>
                    <a:pt x="3231049" y="3872239"/>
                    <a:pt x="3221618" y="3874673"/>
                  </a:cubicBezTo>
                  <a:lnTo>
                    <a:pt x="3221618" y="3844557"/>
                  </a:lnTo>
                  <a:cubicBezTo>
                    <a:pt x="3227499" y="3842630"/>
                    <a:pt x="3233178" y="3840602"/>
                    <a:pt x="3238653" y="3838473"/>
                  </a:cubicBezTo>
                  <a:cubicBezTo>
                    <a:pt x="3244129" y="3836344"/>
                    <a:pt x="3249529" y="3833960"/>
                    <a:pt x="3254853" y="3831324"/>
                  </a:cubicBezTo>
                  <a:cubicBezTo>
                    <a:pt x="3260176" y="3828688"/>
                    <a:pt x="3265551" y="3825747"/>
                    <a:pt x="3270976" y="3822502"/>
                  </a:cubicBezTo>
                  <a:cubicBezTo>
                    <a:pt x="3276401" y="3819257"/>
                    <a:pt x="3282003" y="3815556"/>
                    <a:pt x="3287783" y="3811399"/>
                  </a:cubicBezTo>
                  <a:close/>
                  <a:moveTo>
                    <a:pt x="1423455" y="3811399"/>
                  </a:moveTo>
                  <a:lnTo>
                    <a:pt x="1438362" y="3811399"/>
                  </a:lnTo>
                  <a:lnTo>
                    <a:pt x="1438362" y="4034379"/>
                  </a:lnTo>
                  <a:lnTo>
                    <a:pt x="1403074" y="4034379"/>
                  </a:lnTo>
                  <a:lnTo>
                    <a:pt x="1403074" y="3854595"/>
                  </a:lnTo>
                  <a:cubicBezTo>
                    <a:pt x="1396686" y="3859159"/>
                    <a:pt x="1389815" y="3863037"/>
                    <a:pt x="1382465" y="3866231"/>
                  </a:cubicBezTo>
                  <a:cubicBezTo>
                    <a:pt x="1375112" y="3869425"/>
                    <a:pt x="1366721" y="3872239"/>
                    <a:pt x="1357292" y="3874673"/>
                  </a:cubicBezTo>
                  <a:lnTo>
                    <a:pt x="1357292" y="3844557"/>
                  </a:lnTo>
                  <a:cubicBezTo>
                    <a:pt x="1363172" y="3842630"/>
                    <a:pt x="1368852" y="3840602"/>
                    <a:pt x="1374327" y="3838473"/>
                  </a:cubicBezTo>
                  <a:cubicBezTo>
                    <a:pt x="1379802" y="3836344"/>
                    <a:pt x="1385202" y="3833960"/>
                    <a:pt x="1390525" y="3831324"/>
                  </a:cubicBezTo>
                  <a:cubicBezTo>
                    <a:pt x="1395850" y="3828688"/>
                    <a:pt x="1401224" y="3825747"/>
                    <a:pt x="1406649" y="3822502"/>
                  </a:cubicBezTo>
                  <a:cubicBezTo>
                    <a:pt x="1412074" y="3819257"/>
                    <a:pt x="1417675" y="3815556"/>
                    <a:pt x="1423455" y="3811399"/>
                  </a:cubicBezTo>
                  <a:close/>
                  <a:moveTo>
                    <a:pt x="66164" y="3811399"/>
                  </a:moveTo>
                  <a:lnTo>
                    <a:pt x="81070" y="3811399"/>
                  </a:lnTo>
                  <a:lnTo>
                    <a:pt x="81070" y="4034379"/>
                  </a:lnTo>
                  <a:lnTo>
                    <a:pt x="45782" y="4034379"/>
                  </a:lnTo>
                  <a:lnTo>
                    <a:pt x="45782" y="3854596"/>
                  </a:lnTo>
                  <a:cubicBezTo>
                    <a:pt x="39395" y="3859159"/>
                    <a:pt x="32525" y="3863037"/>
                    <a:pt x="25173" y="3866231"/>
                  </a:cubicBezTo>
                  <a:cubicBezTo>
                    <a:pt x="17821" y="3869426"/>
                    <a:pt x="9431" y="3872239"/>
                    <a:pt x="0" y="3874673"/>
                  </a:cubicBezTo>
                  <a:lnTo>
                    <a:pt x="0" y="3844557"/>
                  </a:lnTo>
                  <a:cubicBezTo>
                    <a:pt x="5881" y="3842631"/>
                    <a:pt x="11560" y="3840603"/>
                    <a:pt x="17035" y="3838473"/>
                  </a:cubicBezTo>
                  <a:cubicBezTo>
                    <a:pt x="22511" y="3836344"/>
                    <a:pt x="27911" y="3833961"/>
                    <a:pt x="33234" y="3831324"/>
                  </a:cubicBezTo>
                  <a:cubicBezTo>
                    <a:pt x="38558" y="3828688"/>
                    <a:pt x="43932" y="3825747"/>
                    <a:pt x="49357" y="3822503"/>
                  </a:cubicBezTo>
                  <a:cubicBezTo>
                    <a:pt x="54782" y="3819258"/>
                    <a:pt x="60384" y="3815557"/>
                    <a:pt x="66164" y="3811399"/>
                  </a:cubicBezTo>
                  <a:close/>
                  <a:moveTo>
                    <a:pt x="10276410" y="3487025"/>
                  </a:moveTo>
                  <a:lnTo>
                    <a:pt x="10291316" y="3487025"/>
                  </a:lnTo>
                  <a:lnTo>
                    <a:pt x="10291316" y="3710005"/>
                  </a:lnTo>
                  <a:lnTo>
                    <a:pt x="10256028" y="3710005"/>
                  </a:lnTo>
                  <a:lnTo>
                    <a:pt x="10256028" y="3530221"/>
                  </a:lnTo>
                  <a:cubicBezTo>
                    <a:pt x="10249640" y="3534785"/>
                    <a:pt x="10242770" y="3538663"/>
                    <a:pt x="10235419" y="3541857"/>
                  </a:cubicBezTo>
                  <a:cubicBezTo>
                    <a:pt x="10228067" y="3545051"/>
                    <a:pt x="10219676" y="3547865"/>
                    <a:pt x="10210246" y="3550299"/>
                  </a:cubicBezTo>
                  <a:lnTo>
                    <a:pt x="10210246" y="3520183"/>
                  </a:lnTo>
                  <a:cubicBezTo>
                    <a:pt x="10216127" y="3518256"/>
                    <a:pt x="10221806" y="3516228"/>
                    <a:pt x="10227281" y="3514099"/>
                  </a:cubicBezTo>
                  <a:cubicBezTo>
                    <a:pt x="10232757" y="3511970"/>
                    <a:pt x="10238157" y="3509586"/>
                    <a:pt x="10243480" y="3506950"/>
                  </a:cubicBezTo>
                  <a:cubicBezTo>
                    <a:pt x="10248804" y="3504314"/>
                    <a:pt x="10254178" y="3501373"/>
                    <a:pt x="10259603" y="3498128"/>
                  </a:cubicBezTo>
                  <a:cubicBezTo>
                    <a:pt x="10265028" y="3494883"/>
                    <a:pt x="10270630" y="3491182"/>
                    <a:pt x="10276410" y="3487025"/>
                  </a:cubicBezTo>
                  <a:close/>
                  <a:moveTo>
                    <a:pt x="9366501" y="3487025"/>
                  </a:moveTo>
                  <a:lnTo>
                    <a:pt x="9381407" y="3487025"/>
                  </a:lnTo>
                  <a:lnTo>
                    <a:pt x="9381407" y="3710005"/>
                  </a:lnTo>
                  <a:lnTo>
                    <a:pt x="9346119" y="3710005"/>
                  </a:lnTo>
                  <a:lnTo>
                    <a:pt x="9346119" y="3530221"/>
                  </a:lnTo>
                  <a:cubicBezTo>
                    <a:pt x="9339731" y="3534785"/>
                    <a:pt x="9332861" y="3538663"/>
                    <a:pt x="9325510" y="3541857"/>
                  </a:cubicBezTo>
                  <a:cubicBezTo>
                    <a:pt x="9318158" y="3545051"/>
                    <a:pt x="9309767" y="3547865"/>
                    <a:pt x="9300337" y="3550299"/>
                  </a:cubicBezTo>
                  <a:lnTo>
                    <a:pt x="9300337" y="3520183"/>
                  </a:lnTo>
                  <a:cubicBezTo>
                    <a:pt x="9306218" y="3518256"/>
                    <a:pt x="9311897" y="3516228"/>
                    <a:pt x="9317372" y="3514099"/>
                  </a:cubicBezTo>
                  <a:cubicBezTo>
                    <a:pt x="9322848" y="3511970"/>
                    <a:pt x="9328248" y="3509586"/>
                    <a:pt x="9333571" y="3506950"/>
                  </a:cubicBezTo>
                  <a:cubicBezTo>
                    <a:pt x="9338895" y="3504314"/>
                    <a:pt x="9344269" y="3501373"/>
                    <a:pt x="9349694" y="3498128"/>
                  </a:cubicBezTo>
                  <a:cubicBezTo>
                    <a:pt x="9355119" y="3494883"/>
                    <a:pt x="9360721" y="3491182"/>
                    <a:pt x="9366501" y="3487025"/>
                  </a:cubicBezTo>
                  <a:close/>
                  <a:moveTo>
                    <a:pt x="7520355" y="3487025"/>
                  </a:moveTo>
                  <a:lnTo>
                    <a:pt x="7535261" y="3487025"/>
                  </a:lnTo>
                  <a:lnTo>
                    <a:pt x="7535261" y="3710005"/>
                  </a:lnTo>
                  <a:lnTo>
                    <a:pt x="7499973" y="3710005"/>
                  </a:lnTo>
                  <a:lnTo>
                    <a:pt x="7499973" y="3530221"/>
                  </a:lnTo>
                  <a:cubicBezTo>
                    <a:pt x="7493585" y="3534785"/>
                    <a:pt x="7486716" y="3538663"/>
                    <a:pt x="7479364" y="3541857"/>
                  </a:cubicBezTo>
                  <a:cubicBezTo>
                    <a:pt x="7472012" y="3545051"/>
                    <a:pt x="7463622" y="3547865"/>
                    <a:pt x="7454191" y="3550299"/>
                  </a:cubicBezTo>
                  <a:lnTo>
                    <a:pt x="7454191" y="3520183"/>
                  </a:lnTo>
                  <a:cubicBezTo>
                    <a:pt x="7460072" y="3518256"/>
                    <a:pt x="7465751" y="3516228"/>
                    <a:pt x="7471226" y="3514099"/>
                  </a:cubicBezTo>
                  <a:cubicBezTo>
                    <a:pt x="7476702" y="3511970"/>
                    <a:pt x="7482102" y="3509586"/>
                    <a:pt x="7487425" y="3506950"/>
                  </a:cubicBezTo>
                  <a:cubicBezTo>
                    <a:pt x="7492749" y="3504314"/>
                    <a:pt x="7498123" y="3501373"/>
                    <a:pt x="7503548" y="3498128"/>
                  </a:cubicBezTo>
                  <a:cubicBezTo>
                    <a:pt x="7508973" y="3494883"/>
                    <a:pt x="7514575" y="3491182"/>
                    <a:pt x="7520355" y="3487025"/>
                  </a:cubicBezTo>
                  <a:close/>
                  <a:moveTo>
                    <a:pt x="4159688" y="3487025"/>
                  </a:moveTo>
                  <a:lnTo>
                    <a:pt x="4174594" y="3487025"/>
                  </a:lnTo>
                  <a:lnTo>
                    <a:pt x="4174594" y="3710005"/>
                  </a:lnTo>
                  <a:lnTo>
                    <a:pt x="4139306" y="3710005"/>
                  </a:lnTo>
                  <a:lnTo>
                    <a:pt x="4139306" y="3530221"/>
                  </a:lnTo>
                  <a:cubicBezTo>
                    <a:pt x="4132918" y="3534785"/>
                    <a:pt x="4126048" y="3538663"/>
                    <a:pt x="4118697" y="3541857"/>
                  </a:cubicBezTo>
                  <a:cubicBezTo>
                    <a:pt x="4111345" y="3545051"/>
                    <a:pt x="4102955" y="3547865"/>
                    <a:pt x="4093525" y="3550299"/>
                  </a:cubicBezTo>
                  <a:lnTo>
                    <a:pt x="4093525" y="3520183"/>
                  </a:lnTo>
                  <a:cubicBezTo>
                    <a:pt x="4099406" y="3518256"/>
                    <a:pt x="4105085" y="3516228"/>
                    <a:pt x="4110559" y="3514099"/>
                  </a:cubicBezTo>
                  <a:cubicBezTo>
                    <a:pt x="4116035" y="3511970"/>
                    <a:pt x="4121435" y="3509586"/>
                    <a:pt x="4126758" y="3506950"/>
                  </a:cubicBezTo>
                  <a:cubicBezTo>
                    <a:pt x="4132083" y="3504314"/>
                    <a:pt x="4137456" y="3501373"/>
                    <a:pt x="4142881" y="3498128"/>
                  </a:cubicBezTo>
                  <a:cubicBezTo>
                    <a:pt x="4148307" y="3494883"/>
                    <a:pt x="4153908" y="3491182"/>
                    <a:pt x="4159688" y="3487025"/>
                  </a:cubicBezTo>
                  <a:close/>
                  <a:moveTo>
                    <a:pt x="3287783" y="3487025"/>
                  </a:moveTo>
                  <a:lnTo>
                    <a:pt x="3302689" y="3487025"/>
                  </a:lnTo>
                  <a:lnTo>
                    <a:pt x="3302689" y="3710005"/>
                  </a:lnTo>
                  <a:lnTo>
                    <a:pt x="3267400" y="3710005"/>
                  </a:lnTo>
                  <a:lnTo>
                    <a:pt x="3267400" y="3530221"/>
                  </a:lnTo>
                  <a:cubicBezTo>
                    <a:pt x="3261013" y="3534785"/>
                    <a:pt x="3254142" y="3538663"/>
                    <a:pt x="3246791" y="3541857"/>
                  </a:cubicBezTo>
                  <a:cubicBezTo>
                    <a:pt x="3239440" y="3545051"/>
                    <a:pt x="3231049" y="3547865"/>
                    <a:pt x="3221618" y="3550299"/>
                  </a:cubicBezTo>
                  <a:lnTo>
                    <a:pt x="3221618" y="3520183"/>
                  </a:lnTo>
                  <a:cubicBezTo>
                    <a:pt x="3227499" y="3518256"/>
                    <a:pt x="3233178" y="3516228"/>
                    <a:pt x="3238653" y="3514099"/>
                  </a:cubicBezTo>
                  <a:cubicBezTo>
                    <a:pt x="3244129" y="3511970"/>
                    <a:pt x="3249529" y="3509586"/>
                    <a:pt x="3254853" y="3506950"/>
                  </a:cubicBezTo>
                  <a:cubicBezTo>
                    <a:pt x="3260176" y="3504314"/>
                    <a:pt x="3265551" y="3501373"/>
                    <a:pt x="3270976" y="3498128"/>
                  </a:cubicBezTo>
                  <a:cubicBezTo>
                    <a:pt x="3276401" y="3494883"/>
                    <a:pt x="3282003" y="3491182"/>
                    <a:pt x="3287783" y="3487025"/>
                  </a:cubicBezTo>
                  <a:close/>
                  <a:moveTo>
                    <a:pt x="1423455" y="3487025"/>
                  </a:moveTo>
                  <a:lnTo>
                    <a:pt x="1438362" y="3487025"/>
                  </a:lnTo>
                  <a:lnTo>
                    <a:pt x="1438362" y="3710005"/>
                  </a:lnTo>
                  <a:lnTo>
                    <a:pt x="1403074" y="3710005"/>
                  </a:lnTo>
                  <a:lnTo>
                    <a:pt x="1403074" y="3530221"/>
                  </a:lnTo>
                  <a:cubicBezTo>
                    <a:pt x="1396686" y="3534785"/>
                    <a:pt x="1389815" y="3538663"/>
                    <a:pt x="1382465" y="3541857"/>
                  </a:cubicBezTo>
                  <a:cubicBezTo>
                    <a:pt x="1375112" y="3545051"/>
                    <a:pt x="1366721" y="3547865"/>
                    <a:pt x="1357292" y="3550299"/>
                  </a:cubicBezTo>
                  <a:lnTo>
                    <a:pt x="1357292" y="3520183"/>
                  </a:lnTo>
                  <a:cubicBezTo>
                    <a:pt x="1363172" y="3518256"/>
                    <a:pt x="1368852" y="3516228"/>
                    <a:pt x="1374327" y="3514099"/>
                  </a:cubicBezTo>
                  <a:cubicBezTo>
                    <a:pt x="1379802" y="3511970"/>
                    <a:pt x="1385202" y="3509586"/>
                    <a:pt x="1390525" y="3506950"/>
                  </a:cubicBezTo>
                  <a:cubicBezTo>
                    <a:pt x="1395850" y="3504314"/>
                    <a:pt x="1401224" y="3501373"/>
                    <a:pt x="1406649" y="3498128"/>
                  </a:cubicBezTo>
                  <a:cubicBezTo>
                    <a:pt x="1412074" y="3494883"/>
                    <a:pt x="1417675" y="3491182"/>
                    <a:pt x="1423455" y="3487025"/>
                  </a:cubicBezTo>
                  <a:close/>
                  <a:moveTo>
                    <a:pt x="66164" y="3487025"/>
                  </a:moveTo>
                  <a:lnTo>
                    <a:pt x="81070" y="3487025"/>
                  </a:lnTo>
                  <a:lnTo>
                    <a:pt x="81070" y="3710005"/>
                  </a:lnTo>
                  <a:lnTo>
                    <a:pt x="45783" y="3710005"/>
                  </a:lnTo>
                  <a:lnTo>
                    <a:pt x="45783" y="3530222"/>
                  </a:lnTo>
                  <a:cubicBezTo>
                    <a:pt x="39395" y="3534785"/>
                    <a:pt x="32525" y="3538663"/>
                    <a:pt x="25173" y="3541857"/>
                  </a:cubicBezTo>
                  <a:cubicBezTo>
                    <a:pt x="17821" y="3545052"/>
                    <a:pt x="9431" y="3547865"/>
                    <a:pt x="0" y="3550299"/>
                  </a:cubicBezTo>
                  <a:lnTo>
                    <a:pt x="0" y="3520183"/>
                  </a:lnTo>
                  <a:cubicBezTo>
                    <a:pt x="5882" y="3518257"/>
                    <a:pt x="11560" y="3516229"/>
                    <a:pt x="17035" y="3514099"/>
                  </a:cubicBezTo>
                  <a:cubicBezTo>
                    <a:pt x="22511" y="3511970"/>
                    <a:pt x="27911" y="3509587"/>
                    <a:pt x="33235" y="3506950"/>
                  </a:cubicBezTo>
                  <a:cubicBezTo>
                    <a:pt x="38558" y="3504314"/>
                    <a:pt x="43932" y="3501373"/>
                    <a:pt x="49357" y="3498129"/>
                  </a:cubicBezTo>
                  <a:cubicBezTo>
                    <a:pt x="54782" y="3494884"/>
                    <a:pt x="60384" y="3491183"/>
                    <a:pt x="66164" y="3487025"/>
                  </a:cubicBezTo>
                  <a:close/>
                  <a:moveTo>
                    <a:pt x="10253447" y="3110161"/>
                  </a:moveTo>
                  <a:lnTo>
                    <a:pt x="10268353" y="3110161"/>
                  </a:lnTo>
                  <a:lnTo>
                    <a:pt x="10268353" y="3333141"/>
                  </a:lnTo>
                  <a:lnTo>
                    <a:pt x="10233065" y="3333141"/>
                  </a:lnTo>
                  <a:lnTo>
                    <a:pt x="10233065" y="3153358"/>
                  </a:lnTo>
                  <a:cubicBezTo>
                    <a:pt x="10226677" y="3157921"/>
                    <a:pt x="10219807" y="3161799"/>
                    <a:pt x="10212456" y="3164993"/>
                  </a:cubicBezTo>
                  <a:cubicBezTo>
                    <a:pt x="10205104" y="3168188"/>
                    <a:pt x="10196713" y="3171001"/>
                    <a:pt x="10187283" y="3173435"/>
                  </a:cubicBezTo>
                  <a:lnTo>
                    <a:pt x="10187283" y="3143319"/>
                  </a:lnTo>
                  <a:cubicBezTo>
                    <a:pt x="10193164" y="3141393"/>
                    <a:pt x="10198843" y="3139365"/>
                    <a:pt x="10204318" y="3137235"/>
                  </a:cubicBezTo>
                  <a:cubicBezTo>
                    <a:pt x="10209794" y="3135106"/>
                    <a:pt x="10215194" y="3132723"/>
                    <a:pt x="10220517" y="3130086"/>
                  </a:cubicBezTo>
                  <a:cubicBezTo>
                    <a:pt x="10225841" y="3127450"/>
                    <a:pt x="10231215" y="3124509"/>
                    <a:pt x="10236640" y="3121265"/>
                  </a:cubicBezTo>
                  <a:cubicBezTo>
                    <a:pt x="10242065" y="3118020"/>
                    <a:pt x="10247667" y="3114319"/>
                    <a:pt x="10253447" y="3110161"/>
                  </a:cubicBezTo>
                  <a:close/>
                  <a:moveTo>
                    <a:pt x="9361419" y="3110161"/>
                  </a:moveTo>
                  <a:lnTo>
                    <a:pt x="9376325" y="3110161"/>
                  </a:lnTo>
                  <a:lnTo>
                    <a:pt x="9376325" y="3333141"/>
                  </a:lnTo>
                  <a:lnTo>
                    <a:pt x="9341037" y="3333141"/>
                  </a:lnTo>
                  <a:lnTo>
                    <a:pt x="9341037" y="3153358"/>
                  </a:lnTo>
                  <a:cubicBezTo>
                    <a:pt x="9334649" y="3157921"/>
                    <a:pt x="9327779" y="3161799"/>
                    <a:pt x="9320428" y="3164993"/>
                  </a:cubicBezTo>
                  <a:cubicBezTo>
                    <a:pt x="9313076" y="3168188"/>
                    <a:pt x="9304685" y="3171001"/>
                    <a:pt x="9295255" y="3173435"/>
                  </a:cubicBezTo>
                  <a:lnTo>
                    <a:pt x="9295255" y="3143319"/>
                  </a:lnTo>
                  <a:cubicBezTo>
                    <a:pt x="9301136" y="3141393"/>
                    <a:pt x="9306815" y="3139365"/>
                    <a:pt x="9312290" y="3137235"/>
                  </a:cubicBezTo>
                  <a:cubicBezTo>
                    <a:pt x="9317766" y="3135106"/>
                    <a:pt x="9323166" y="3132723"/>
                    <a:pt x="9328489" y="3130086"/>
                  </a:cubicBezTo>
                  <a:cubicBezTo>
                    <a:pt x="9333813" y="3127450"/>
                    <a:pt x="9339187" y="3124509"/>
                    <a:pt x="9344612" y="3121265"/>
                  </a:cubicBezTo>
                  <a:cubicBezTo>
                    <a:pt x="9350037" y="3118020"/>
                    <a:pt x="9355639" y="3114319"/>
                    <a:pt x="9361419" y="3110161"/>
                  </a:cubicBezTo>
                  <a:close/>
                  <a:moveTo>
                    <a:pt x="7495249" y="3110161"/>
                  </a:moveTo>
                  <a:lnTo>
                    <a:pt x="7510155" y="3110161"/>
                  </a:lnTo>
                  <a:lnTo>
                    <a:pt x="7510155" y="3333141"/>
                  </a:lnTo>
                  <a:lnTo>
                    <a:pt x="7474867" y="3333141"/>
                  </a:lnTo>
                  <a:lnTo>
                    <a:pt x="7474867" y="3153358"/>
                  </a:lnTo>
                  <a:cubicBezTo>
                    <a:pt x="7468479" y="3157921"/>
                    <a:pt x="7461610" y="3161799"/>
                    <a:pt x="7454258" y="3164993"/>
                  </a:cubicBezTo>
                  <a:cubicBezTo>
                    <a:pt x="7446906" y="3168188"/>
                    <a:pt x="7438516" y="3171001"/>
                    <a:pt x="7429085" y="3173435"/>
                  </a:cubicBezTo>
                  <a:lnTo>
                    <a:pt x="7429085" y="3143319"/>
                  </a:lnTo>
                  <a:cubicBezTo>
                    <a:pt x="7434966" y="3141393"/>
                    <a:pt x="7440645" y="3139365"/>
                    <a:pt x="7446120" y="3137235"/>
                  </a:cubicBezTo>
                  <a:cubicBezTo>
                    <a:pt x="7451596" y="3135106"/>
                    <a:pt x="7456996" y="3132723"/>
                    <a:pt x="7462319" y="3130086"/>
                  </a:cubicBezTo>
                  <a:cubicBezTo>
                    <a:pt x="7467643" y="3127450"/>
                    <a:pt x="7473017" y="3124509"/>
                    <a:pt x="7478442" y="3121265"/>
                  </a:cubicBezTo>
                  <a:cubicBezTo>
                    <a:pt x="7483867" y="3118020"/>
                    <a:pt x="7489469" y="3114319"/>
                    <a:pt x="7495249" y="3110161"/>
                  </a:cubicBezTo>
                  <a:close/>
                  <a:moveTo>
                    <a:pt x="4199831" y="3110161"/>
                  </a:moveTo>
                  <a:lnTo>
                    <a:pt x="4214738" y="3110161"/>
                  </a:lnTo>
                  <a:lnTo>
                    <a:pt x="4214738" y="3333141"/>
                  </a:lnTo>
                  <a:lnTo>
                    <a:pt x="4179450" y="3333141"/>
                  </a:lnTo>
                  <a:lnTo>
                    <a:pt x="4179450" y="3153358"/>
                  </a:lnTo>
                  <a:cubicBezTo>
                    <a:pt x="4173062" y="3157921"/>
                    <a:pt x="4166192" y="3161799"/>
                    <a:pt x="4158840" y="3164993"/>
                  </a:cubicBezTo>
                  <a:cubicBezTo>
                    <a:pt x="4151489" y="3168188"/>
                    <a:pt x="4143098" y="3171001"/>
                    <a:pt x="4133668" y="3173435"/>
                  </a:cubicBezTo>
                  <a:lnTo>
                    <a:pt x="4133668" y="3143319"/>
                  </a:lnTo>
                  <a:cubicBezTo>
                    <a:pt x="4139550" y="3141393"/>
                    <a:pt x="4145227" y="3139365"/>
                    <a:pt x="4150703" y="3137235"/>
                  </a:cubicBezTo>
                  <a:cubicBezTo>
                    <a:pt x="4156179" y="3135106"/>
                    <a:pt x="4161578" y="3132723"/>
                    <a:pt x="4166902" y="3130086"/>
                  </a:cubicBezTo>
                  <a:cubicBezTo>
                    <a:pt x="4172225" y="3127450"/>
                    <a:pt x="4177600" y="3124509"/>
                    <a:pt x="4183024" y="3121265"/>
                  </a:cubicBezTo>
                  <a:cubicBezTo>
                    <a:pt x="4188450" y="3118020"/>
                    <a:pt x="4194052" y="3114319"/>
                    <a:pt x="4199831" y="3110161"/>
                  </a:cubicBezTo>
                  <a:close/>
                  <a:moveTo>
                    <a:pt x="3304505" y="3110161"/>
                  </a:moveTo>
                  <a:lnTo>
                    <a:pt x="3319411" y="3110161"/>
                  </a:lnTo>
                  <a:lnTo>
                    <a:pt x="3319411" y="3333141"/>
                  </a:lnTo>
                  <a:lnTo>
                    <a:pt x="3284123" y="3333141"/>
                  </a:lnTo>
                  <a:lnTo>
                    <a:pt x="3284123" y="3153358"/>
                  </a:lnTo>
                  <a:cubicBezTo>
                    <a:pt x="3277736" y="3157921"/>
                    <a:pt x="3270866" y="3161799"/>
                    <a:pt x="3263514" y="3164993"/>
                  </a:cubicBezTo>
                  <a:cubicBezTo>
                    <a:pt x="3256163" y="3168188"/>
                    <a:pt x="3247772" y="3171001"/>
                    <a:pt x="3238342" y="3173435"/>
                  </a:cubicBezTo>
                  <a:lnTo>
                    <a:pt x="3238342" y="3143319"/>
                  </a:lnTo>
                  <a:cubicBezTo>
                    <a:pt x="3244223" y="3141393"/>
                    <a:pt x="3249901" y="3139365"/>
                    <a:pt x="3255376" y="3137235"/>
                  </a:cubicBezTo>
                  <a:cubicBezTo>
                    <a:pt x="3260853" y="3135106"/>
                    <a:pt x="3266253" y="3132723"/>
                    <a:pt x="3271575" y="3130086"/>
                  </a:cubicBezTo>
                  <a:cubicBezTo>
                    <a:pt x="3276900" y="3127450"/>
                    <a:pt x="3282273" y="3124509"/>
                    <a:pt x="3287699" y="3121265"/>
                  </a:cubicBezTo>
                  <a:cubicBezTo>
                    <a:pt x="3293124" y="3118020"/>
                    <a:pt x="3298725" y="3114319"/>
                    <a:pt x="3304505" y="3110161"/>
                  </a:cubicBezTo>
                  <a:close/>
                  <a:moveTo>
                    <a:pt x="1423456" y="3110161"/>
                  </a:moveTo>
                  <a:lnTo>
                    <a:pt x="1438361" y="3110161"/>
                  </a:lnTo>
                  <a:lnTo>
                    <a:pt x="1438361" y="3333141"/>
                  </a:lnTo>
                  <a:lnTo>
                    <a:pt x="1403074" y="3333141"/>
                  </a:lnTo>
                  <a:lnTo>
                    <a:pt x="1403074" y="3153358"/>
                  </a:lnTo>
                  <a:cubicBezTo>
                    <a:pt x="1396685" y="3157921"/>
                    <a:pt x="1389816" y="3161799"/>
                    <a:pt x="1382464" y="3164993"/>
                  </a:cubicBezTo>
                  <a:cubicBezTo>
                    <a:pt x="1375112" y="3168188"/>
                    <a:pt x="1366721" y="3171001"/>
                    <a:pt x="1357291" y="3173435"/>
                  </a:cubicBezTo>
                  <a:lnTo>
                    <a:pt x="1357291" y="3143319"/>
                  </a:lnTo>
                  <a:cubicBezTo>
                    <a:pt x="1363172" y="3141393"/>
                    <a:pt x="1368851" y="3139365"/>
                    <a:pt x="1374326" y="3137235"/>
                  </a:cubicBezTo>
                  <a:cubicBezTo>
                    <a:pt x="1379802" y="3135106"/>
                    <a:pt x="1385202" y="3132723"/>
                    <a:pt x="1390526" y="3130086"/>
                  </a:cubicBezTo>
                  <a:cubicBezTo>
                    <a:pt x="1395849" y="3127450"/>
                    <a:pt x="1401223" y="3124509"/>
                    <a:pt x="1406648" y="3121265"/>
                  </a:cubicBezTo>
                  <a:cubicBezTo>
                    <a:pt x="1412073" y="3118020"/>
                    <a:pt x="1417676" y="3114319"/>
                    <a:pt x="1423456" y="3110161"/>
                  </a:cubicBezTo>
                  <a:close/>
                  <a:moveTo>
                    <a:pt x="12035151" y="2809130"/>
                  </a:moveTo>
                  <a:lnTo>
                    <a:pt x="12050057" y="2809130"/>
                  </a:lnTo>
                  <a:lnTo>
                    <a:pt x="12050057" y="3032110"/>
                  </a:lnTo>
                  <a:lnTo>
                    <a:pt x="12014769" y="3032110"/>
                  </a:lnTo>
                  <a:lnTo>
                    <a:pt x="12014769" y="2852327"/>
                  </a:lnTo>
                  <a:cubicBezTo>
                    <a:pt x="12008381" y="2856890"/>
                    <a:pt x="12001511" y="2860768"/>
                    <a:pt x="11994160" y="2863962"/>
                  </a:cubicBezTo>
                  <a:cubicBezTo>
                    <a:pt x="11986808" y="2867157"/>
                    <a:pt x="11978417" y="2869970"/>
                    <a:pt x="11968987" y="2872404"/>
                  </a:cubicBezTo>
                  <a:lnTo>
                    <a:pt x="11968987" y="2842288"/>
                  </a:lnTo>
                  <a:cubicBezTo>
                    <a:pt x="11974868" y="2840362"/>
                    <a:pt x="11980547" y="2838334"/>
                    <a:pt x="11986022" y="2836204"/>
                  </a:cubicBezTo>
                  <a:cubicBezTo>
                    <a:pt x="11991498" y="2834075"/>
                    <a:pt x="11996898" y="2831692"/>
                    <a:pt x="12002221" y="2829055"/>
                  </a:cubicBezTo>
                  <a:cubicBezTo>
                    <a:pt x="12007545" y="2826419"/>
                    <a:pt x="12012919" y="2823478"/>
                    <a:pt x="12018344" y="2820234"/>
                  </a:cubicBezTo>
                  <a:cubicBezTo>
                    <a:pt x="12023769" y="2816989"/>
                    <a:pt x="12029371" y="2813288"/>
                    <a:pt x="12035151" y="2809130"/>
                  </a:cubicBezTo>
                  <a:close/>
                  <a:moveTo>
                    <a:pt x="10410370" y="2809130"/>
                  </a:moveTo>
                  <a:lnTo>
                    <a:pt x="10425276" y="2809130"/>
                  </a:lnTo>
                  <a:lnTo>
                    <a:pt x="10425276" y="3032110"/>
                  </a:lnTo>
                  <a:lnTo>
                    <a:pt x="10389988" y="3032110"/>
                  </a:lnTo>
                  <a:lnTo>
                    <a:pt x="10389988" y="2852327"/>
                  </a:lnTo>
                  <a:cubicBezTo>
                    <a:pt x="10383600" y="2856890"/>
                    <a:pt x="10376730" y="2860768"/>
                    <a:pt x="10369379" y="2863962"/>
                  </a:cubicBezTo>
                  <a:cubicBezTo>
                    <a:pt x="10362027" y="2867157"/>
                    <a:pt x="10353636" y="2869970"/>
                    <a:pt x="10344206" y="2872404"/>
                  </a:cubicBezTo>
                  <a:lnTo>
                    <a:pt x="10344206" y="2842288"/>
                  </a:lnTo>
                  <a:cubicBezTo>
                    <a:pt x="10350087" y="2840362"/>
                    <a:pt x="10355766" y="2838334"/>
                    <a:pt x="10361241" y="2836204"/>
                  </a:cubicBezTo>
                  <a:cubicBezTo>
                    <a:pt x="10366717" y="2834075"/>
                    <a:pt x="10372117" y="2831692"/>
                    <a:pt x="10377440" y="2829055"/>
                  </a:cubicBezTo>
                  <a:cubicBezTo>
                    <a:pt x="10382764" y="2826419"/>
                    <a:pt x="10388138" y="2823478"/>
                    <a:pt x="10393563" y="2820234"/>
                  </a:cubicBezTo>
                  <a:cubicBezTo>
                    <a:pt x="10398988" y="2816989"/>
                    <a:pt x="10404590" y="2813288"/>
                    <a:pt x="10410370" y="2809130"/>
                  </a:cubicBezTo>
                  <a:close/>
                  <a:moveTo>
                    <a:pt x="9532663" y="2809130"/>
                  </a:moveTo>
                  <a:lnTo>
                    <a:pt x="9547569" y="2809130"/>
                  </a:lnTo>
                  <a:lnTo>
                    <a:pt x="9547569" y="3032110"/>
                  </a:lnTo>
                  <a:lnTo>
                    <a:pt x="9512281" y="3032110"/>
                  </a:lnTo>
                  <a:lnTo>
                    <a:pt x="9512281" y="2852327"/>
                  </a:lnTo>
                  <a:cubicBezTo>
                    <a:pt x="9505893" y="2856890"/>
                    <a:pt x="9499023" y="2860768"/>
                    <a:pt x="9491672" y="2863962"/>
                  </a:cubicBezTo>
                  <a:cubicBezTo>
                    <a:pt x="9484320" y="2867157"/>
                    <a:pt x="9475929" y="2869970"/>
                    <a:pt x="9466499" y="2872404"/>
                  </a:cubicBezTo>
                  <a:lnTo>
                    <a:pt x="9466499" y="2842288"/>
                  </a:lnTo>
                  <a:cubicBezTo>
                    <a:pt x="9472380" y="2840362"/>
                    <a:pt x="9478059" y="2838334"/>
                    <a:pt x="9483534" y="2836204"/>
                  </a:cubicBezTo>
                  <a:cubicBezTo>
                    <a:pt x="9489010" y="2834075"/>
                    <a:pt x="9494410" y="2831692"/>
                    <a:pt x="9499733" y="2829055"/>
                  </a:cubicBezTo>
                  <a:cubicBezTo>
                    <a:pt x="9505057" y="2826419"/>
                    <a:pt x="9510431" y="2823478"/>
                    <a:pt x="9515856" y="2820234"/>
                  </a:cubicBezTo>
                  <a:cubicBezTo>
                    <a:pt x="9521281" y="2816989"/>
                    <a:pt x="9526883" y="2813288"/>
                    <a:pt x="9532663" y="2809130"/>
                  </a:cubicBezTo>
                  <a:close/>
                  <a:moveTo>
                    <a:pt x="8660208" y="2809130"/>
                  </a:moveTo>
                  <a:lnTo>
                    <a:pt x="8675114" y="2809130"/>
                  </a:lnTo>
                  <a:lnTo>
                    <a:pt x="8675114" y="3032110"/>
                  </a:lnTo>
                  <a:lnTo>
                    <a:pt x="8639826" y="3032110"/>
                  </a:lnTo>
                  <a:lnTo>
                    <a:pt x="8639826" y="2852327"/>
                  </a:lnTo>
                  <a:cubicBezTo>
                    <a:pt x="8633438" y="2856890"/>
                    <a:pt x="8626568" y="2860768"/>
                    <a:pt x="8619217" y="2863962"/>
                  </a:cubicBezTo>
                  <a:cubicBezTo>
                    <a:pt x="8611865" y="2867157"/>
                    <a:pt x="8603474" y="2869970"/>
                    <a:pt x="8594044" y="2872404"/>
                  </a:cubicBezTo>
                  <a:lnTo>
                    <a:pt x="8594044" y="2842288"/>
                  </a:lnTo>
                  <a:cubicBezTo>
                    <a:pt x="8599925" y="2840362"/>
                    <a:pt x="8605604" y="2838334"/>
                    <a:pt x="8611079" y="2836204"/>
                  </a:cubicBezTo>
                  <a:cubicBezTo>
                    <a:pt x="8616555" y="2834075"/>
                    <a:pt x="8621955" y="2831692"/>
                    <a:pt x="8627278" y="2829055"/>
                  </a:cubicBezTo>
                  <a:cubicBezTo>
                    <a:pt x="8632602" y="2826419"/>
                    <a:pt x="8637976" y="2823478"/>
                    <a:pt x="8643401" y="2820234"/>
                  </a:cubicBezTo>
                  <a:cubicBezTo>
                    <a:pt x="8648826" y="2816989"/>
                    <a:pt x="8654428" y="2813288"/>
                    <a:pt x="8660208" y="2809130"/>
                  </a:cubicBezTo>
                  <a:close/>
                  <a:moveTo>
                    <a:pt x="6671075" y="2809130"/>
                  </a:moveTo>
                  <a:lnTo>
                    <a:pt x="6685982" y="2809130"/>
                  </a:lnTo>
                  <a:lnTo>
                    <a:pt x="6685982" y="3032110"/>
                  </a:lnTo>
                  <a:lnTo>
                    <a:pt x="6650694" y="3032110"/>
                  </a:lnTo>
                  <a:lnTo>
                    <a:pt x="6650694" y="2852327"/>
                  </a:lnTo>
                  <a:cubicBezTo>
                    <a:pt x="6644306" y="2856890"/>
                    <a:pt x="6637436" y="2860768"/>
                    <a:pt x="6630084" y="2863962"/>
                  </a:cubicBezTo>
                  <a:cubicBezTo>
                    <a:pt x="6622733" y="2867157"/>
                    <a:pt x="6614342" y="2869970"/>
                    <a:pt x="6604912" y="2872404"/>
                  </a:cubicBezTo>
                  <a:lnTo>
                    <a:pt x="6604912" y="2842288"/>
                  </a:lnTo>
                  <a:cubicBezTo>
                    <a:pt x="6610793" y="2840362"/>
                    <a:pt x="6616471" y="2838334"/>
                    <a:pt x="6621947" y="2836204"/>
                  </a:cubicBezTo>
                  <a:cubicBezTo>
                    <a:pt x="6627423" y="2834075"/>
                    <a:pt x="6632822" y="2831692"/>
                    <a:pt x="6638146" y="2829055"/>
                  </a:cubicBezTo>
                  <a:cubicBezTo>
                    <a:pt x="6643469" y="2826419"/>
                    <a:pt x="6648844" y="2823478"/>
                    <a:pt x="6654268" y="2820234"/>
                  </a:cubicBezTo>
                  <a:cubicBezTo>
                    <a:pt x="6659694" y="2816989"/>
                    <a:pt x="6665296" y="2813288"/>
                    <a:pt x="6671075" y="2809130"/>
                  </a:cubicBezTo>
                  <a:close/>
                  <a:moveTo>
                    <a:pt x="5979097" y="2809130"/>
                  </a:moveTo>
                  <a:lnTo>
                    <a:pt x="5994004" y="2809130"/>
                  </a:lnTo>
                  <a:lnTo>
                    <a:pt x="5994004" y="3032110"/>
                  </a:lnTo>
                  <a:lnTo>
                    <a:pt x="5958717" y="3032110"/>
                  </a:lnTo>
                  <a:lnTo>
                    <a:pt x="5958717" y="2852327"/>
                  </a:lnTo>
                  <a:cubicBezTo>
                    <a:pt x="5952328" y="2856890"/>
                    <a:pt x="5945458" y="2860768"/>
                    <a:pt x="5938106" y="2863962"/>
                  </a:cubicBezTo>
                  <a:cubicBezTo>
                    <a:pt x="5930755" y="2867157"/>
                    <a:pt x="5922364" y="2869970"/>
                    <a:pt x="5912934" y="2872404"/>
                  </a:cubicBezTo>
                  <a:lnTo>
                    <a:pt x="5912934" y="2842288"/>
                  </a:lnTo>
                  <a:cubicBezTo>
                    <a:pt x="5918816" y="2840362"/>
                    <a:pt x="5924493" y="2838334"/>
                    <a:pt x="5929969" y="2836204"/>
                  </a:cubicBezTo>
                  <a:cubicBezTo>
                    <a:pt x="5935446" y="2834075"/>
                    <a:pt x="5940845" y="2831692"/>
                    <a:pt x="5946169" y="2829055"/>
                  </a:cubicBezTo>
                  <a:cubicBezTo>
                    <a:pt x="5951492" y="2826419"/>
                    <a:pt x="5956866" y="2823478"/>
                    <a:pt x="5962291" y="2820234"/>
                  </a:cubicBezTo>
                  <a:cubicBezTo>
                    <a:pt x="5967716" y="2816989"/>
                    <a:pt x="5973318" y="2813288"/>
                    <a:pt x="5979097" y="2809130"/>
                  </a:cubicBezTo>
                  <a:close/>
                  <a:moveTo>
                    <a:pt x="4354317" y="2809130"/>
                  </a:moveTo>
                  <a:lnTo>
                    <a:pt x="4369224" y="2809130"/>
                  </a:lnTo>
                  <a:lnTo>
                    <a:pt x="4369224" y="3032110"/>
                  </a:lnTo>
                  <a:lnTo>
                    <a:pt x="4333935" y="3032110"/>
                  </a:lnTo>
                  <a:lnTo>
                    <a:pt x="4333935" y="2852327"/>
                  </a:lnTo>
                  <a:cubicBezTo>
                    <a:pt x="4327548" y="2856890"/>
                    <a:pt x="4320677" y="2860768"/>
                    <a:pt x="4313325" y="2863962"/>
                  </a:cubicBezTo>
                  <a:cubicBezTo>
                    <a:pt x="4305974" y="2867157"/>
                    <a:pt x="4297583" y="2869970"/>
                    <a:pt x="4288153" y="2872404"/>
                  </a:cubicBezTo>
                  <a:lnTo>
                    <a:pt x="4288153" y="2842288"/>
                  </a:lnTo>
                  <a:cubicBezTo>
                    <a:pt x="4294034" y="2840362"/>
                    <a:pt x="4299712" y="2838334"/>
                    <a:pt x="4305189" y="2836204"/>
                  </a:cubicBezTo>
                  <a:cubicBezTo>
                    <a:pt x="4310665" y="2834075"/>
                    <a:pt x="4316064" y="2831692"/>
                    <a:pt x="4321387" y="2829055"/>
                  </a:cubicBezTo>
                  <a:cubicBezTo>
                    <a:pt x="4326710" y="2826419"/>
                    <a:pt x="4332085" y="2823478"/>
                    <a:pt x="4337509" y="2820234"/>
                  </a:cubicBezTo>
                  <a:cubicBezTo>
                    <a:pt x="4342935" y="2816989"/>
                    <a:pt x="4348538" y="2813288"/>
                    <a:pt x="4354317" y="2809130"/>
                  </a:cubicBezTo>
                  <a:close/>
                  <a:moveTo>
                    <a:pt x="3476611" y="2809130"/>
                  </a:moveTo>
                  <a:lnTo>
                    <a:pt x="3491518" y="2809130"/>
                  </a:lnTo>
                  <a:lnTo>
                    <a:pt x="3491518" y="3032110"/>
                  </a:lnTo>
                  <a:lnTo>
                    <a:pt x="3456230" y="3032110"/>
                  </a:lnTo>
                  <a:lnTo>
                    <a:pt x="3456230" y="2852327"/>
                  </a:lnTo>
                  <a:cubicBezTo>
                    <a:pt x="3449841" y="2856890"/>
                    <a:pt x="3442972" y="2860768"/>
                    <a:pt x="3435620" y="2863962"/>
                  </a:cubicBezTo>
                  <a:cubicBezTo>
                    <a:pt x="3428268" y="2867157"/>
                    <a:pt x="3419878" y="2869970"/>
                    <a:pt x="3410447" y="2872404"/>
                  </a:cubicBezTo>
                  <a:lnTo>
                    <a:pt x="3410447" y="2842288"/>
                  </a:lnTo>
                  <a:cubicBezTo>
                    <a:pt x="3416328" y="2840362"/>
                    <a:pt x="3422007" y="2838334"/>
                    <a:pt x="3427483" y="2836204"/>
                  </a:cubicBezTo>
                  <a:cubicBezTo>
                    <a:pt x="3432958" y="2834075"/>
                    <a:pt x="3438357" y="2831692"/>
                    <a:pt x="3443682" y="2829055"/>
                  </a:cubicBezTo>
                  <a:cubicBezTo>
                    <a:pt x="3449005" y="2826419"/>
                    <a:pt x="3454379" y="2823478"/>
                    <a:pt x="3459804" y="2820234"/>
                  </a:cubicBezTo>
                  <a:cubicBezTo>
                    <a:pt x="3465229" y="2816989"/>
                    <a:pt x="3470831" y="2813288"/>
                    <a:pt x="3476611" y="2809130"/>
                  </a:cubicBezTo>
                  <a:close/>
                  <a:moveTo>
                    <a:pt x="2604156" y="2809130"/>
                  </a:moveTo>
                  <a:lnTo>
                    <a:pt x="2619062" y="2809130"/>
                  </a:lnTo>
                  <a:lnTo>
                    <a:pt x="2619062" y="3032110"/>
                  </a:lnTo>
                  <a:lnTo>
                    <a:pt x="2583774" y="3032110"/>
                  </a:lnTo>
                  <a:lnTo>
                    <a:pt x="2583774" y="2852327"/>
                  </a:lnTo>
                  <a:cubicBezTo>
                    <a:pt x="2577387" y="2856890"/>
                    <a:pt x="2570515" y="2860768"/>
                    <a:pt x="2563165" y="2863962"/>
                  </a:cubicBezTo>
                  <a:cubicBezTo>
                    <a:pt x="2555813" y="2867157"/>
                    <a:pt x="2547423" y="2869970"/>
                    <a:pt x="2537992" y="2872404"/>
                  </a:cubicBezTo>
                  <a:lnTo>
                    <a:pt x="2537992" y="2842288"/>
                  </a:lnTo>
                  <a:cubicBezTo>
                    <a:pt x="2543873" y="2840362"/>
                    <a:pt x="2549552" y="2838334"/>
                    <a:pt x="2555027" y="2836204"/>
                  </a:cubicBezTo>
                  <a:cubicBezTo>
                    <a:pt x="2560503" y="2834075"/>
                    <a:pt x="2565903" y="2831692"/>
                    <a:pt x="2571226" y="2829055"/>
                  </a:cubicBezTo>
                  <a:cubicBezTo>
                    <a:pt x="2576550" y="2826419"/>
                    <a:pt x="2581923" y="2823478"/>
                    <a:pt x="2587349" y="2820234"/>
                  </a:cubicBezTo>
                  <a:cubicBezTo>
                    <a:pt x="2592774" y="2816989"/>
                    <a:pt x="2598376" y="2813288"/>
                    <a:pt x="2604156" y="2809130"/>
                  </a:cubicBezTo>
                  <a:close/>
                  <a:moveTo>
                    <a:pt x="619557" y="2809130"/>
                  </a:moveTo>
                  <a:lnTo>
                    <a:pt x="634463" y="2809130"/>
                  </a:lnTo>
                  <a:lnTo>
                    <a:pt x="634463" y="3032110"/>
                  </a:lnTo>
                  <a:lnTo>
                    <a:pt x="599174" y="3032110"/>
                  </a:lnTo>
                  <a:lnTo>
                    <a:pt x="599174" y="2852327"/>
                  </a:lnTo>
                  <a:cubicBezTo>
                    <a:pt x="592787" y="2856890"/>
                    <a:pt x="585917" y="2860768"/>
                    <a:pt x="578566" y="2863962"/>
                  </a:cubicBezTo>
                  <a:cubicBezTo>
                    <a:pt x="571214" y="2867157"/>
                    <a:pt x="562824" y="2869970"/>
                    <a:pt x="553393" y="2872404"/>
                  </a:cubicBezTo>
                  <a:lnTo>
                    <a:pt x="553393" y="2842288"/>
                  </a:lnTo>
                  <a:cubicBezTo>
                    <a:pt x="559274" y="2840362"/>
                    <a:pt x="564952" y="2838334"/>
                    <a:pt x="570428" y="2836204"/>
                  </a:cubicBezTo>
                  <a:cubicBezTo>
                    <a:pt x="575904" y="2834075"/>
                    <a:pt x="581304" y="2831692"/>
                    <a:pt x="586626" y="2829055"/>
                  </a:cubicBezTo>
                  <a:cubicBezTo>
                    <a:pt x="591951" y="2826419"/>
                    <a:pt x="597325" y="2823478"/>
                    <a:pt x="602749" y="2820234"/>
                  </a:cubicBezTo>
                  <a:cubicBezTo>
                    <a:pt x="608174" y="2816989"/>
                    <a:pt x="613777" y="2813288"/>
                    <a:pt x="619557" y="2809130"/>
                  </a:cubicBezTo>
                  <a:close/>
                  <a:moveTo>
                    <a:pt x="10291704" y="2480736"/>
                  </a:moveTo>
                  <a:lnTo>
                    <a:pt x="10306610" y="2480736"/>
                  </a:lnTo>
                  <a:lnTo>
                    <a:pt x="10306610" y="2703716"/>
                  </a:lnTo>
                  <a:lnTo>
                    <a:pt x="10271322" y="2703716"/>
                  </a:lnTo>
                  <a:lnTo>
                    <a:pt x="10271322" y="2523933"/>
                  </a:lnTo>
                  <a:cubicBezTo>
                    <a:pt x="10264934" y="2528496"/>
                    <a:pt x="10258064" y="2532374"/>
                    <a:pt x="10250713" y="2535568"/>
                  </a:cubicBezTo>
                  <a:cubicBezTo>
                    <a:pt x="10243361" y="2538763"/>
                    <a:pt x="10234970" y="2541576"/>
                    <a:pt x="10225540" y="2544010"/>
                  </a:cubicBezTo>
                  <a:lnTo>
                    <a:pt x="10225540" y="2513894"/>
                  </a:lnTo>
                  <a:cubicBezTo>
                    <a:pt x="10231421" y="2511968"/>
                    <a:pt x="10237100" y="2509939"/>
                    <a:pt x="10242575" y="2507810"/>
                  </a:cubicBezTo>
                  <a:cubicBezTo>
                    <a:pt x="10248051" y="2505681"/>
                    <a:pt x="10253451" y="2503298"/>
                    <a:pt x="10258774" y="2500661"/>
                  </a:cubicBezTo>
                  <a:cubicBezTo>
                    <a:pt x="10264098" y="2498025"/>
                    <a:pt x="10269472" y="2495084"/>
                    <a:pt x="10274897" y="2491839"/>
                  </a:cubicBezTo>
                  <a:cubicBezTo>
                    <a:pt x="10280322" y="2488595"/>
                    <a:pt x="10285924" y="2484893"/>
                    <a:pt x="10291704" y="2480736"/>
                  </a:cubicBezTo>
                  <a:close/>
                  <a:moveTo>
                    <a:pt x="7171000" y="2480736"/>
                  </a:moveTo>
                  <a:lnTo>
                    <a:pt x="7185906" y="2480736"/>
                  </a:lnTo>
                  <a:lnTo>
                    <a:pt x="7185906" y="2703716"/>
                  </a:lnTo>
                  <a:lnTo>
                    <a:pt x="7150618" y="2703716"/>
                  </a:lnTo>
                  <a:lnTo>
                    <a:pt x="7150618" y="2523933"/>
                  </a:lnTo>
                  <a:cubicBezTo>
                    <a:pt x="7144230" y="2528496"/>
                    <a:pt x="7137361" y="2532374"/>
                    <a:pt x="7130009" y="2535568"/>
                  </a:cubicBezTo>
                  <a:cubicBezTo>
                    <a:pt x="7122657" y="2538763"/>
                    <a:pt x="7114267" y="2541576"/>
                    <a:pt x="7104836" y="2544010"/>
                  </a:cubicBezTo>
                  <a:lnTo>
                    <a:pt x="7104836" y="2513894"/>
                  </a:lnTo>
                  <a:cubicBezTo>
                    <a:pt x="7110717" y="2511968"/>
                    <a:pt x="7116396" y="2509939"/>
                    <a:pt x="7121871" y="2507810"/>
                  </a:cubicBezTo>
                  <a:cubicBezTo>
                    <a:pt x="7127347" y="2505681"/>
                    <a:pt x="7132747" y="2503298"/>
                    <a:pt x="7138070" y="2500661"/>
                  </a:cubicBezTo>
                  <a:cubicBezTo>
                    <a:pt x="7143394" y="2498025"/>
                    <a:pt x="7148768" y="2495084"/>
                    <a:pt x="7154193" y="2491839"/>
                  </a:cubicBezTo>
                  <a:cubicBezTo>
                    <a:pt x="7159618" y="2488595"/>
                    <a:pt x="7165220" y="2484893"/>
                    <a:pt x="7171000" y="2480736"/>
                  </a:cubicBezTo>
                  <a:close/>
                  <a:moveTo>
                    <a:pt x="6278970" y="2480736"/>
                  </a:moveTo>
                  <a:lnTo>
                    <a:pt x="6293876" y="2480736"/>
                  </a:lnTo>
                  <a:lnTo>
                    <a:pt x="6293876" y="2703716"/>
                  </a:lnTo>
                  <a:lnTo>
                    <a:pt x="6258588" y="2703716"/>
                  </a:lnTo>
                  <a:lnTo>
                    <a:pt x="6258588" y="2523933"/>
                  </a:lnTo>
                  <a:cubicBezTo>
                    <a:pt x="6252200" y="2528496"/>
                    <a:pt x="6245331" y="2532374"/>
                    <a:pt x="6237979" y="2535568"/>
                  </a:cubicBezTo>
                  <a:cubicBezTo>
                    <a:pt x="6230627" y="2538763"/>
                    <a:pt x="6222237" y="2541576"/>
                    <a:pt x="6212806" y="2544010"/>
                  </a:cubicBezTo>
                  <a:lnTo>
                    <a:pt x="6212806" y="2513894"/>
                  </a:lnTo>
                  <a:cubicBezTo>
                    <a:pt x="6218687" y="2511968"/>
                    <a:pt x="6224366" y="2509939"/>
                    <a:pt x="6229841" y="2507810"/>
                  </a:cubicBezTo>
                  <a:cubicBezTo>
                    <a:pt x="6235317" y="2505681"/>
                    <a:pt x="6240717" y="2503298"/>
                    <a:pt x="6246040" y="2500661"/>
                  </a:cubicBezTo>
                  <a:cubicBezTo>
                    <a:pt x="6251364" y="2498025"/>
                    <a:pt x="6256738" y="2495084"/>
                    <a:pt x="6262163" y="2491839"/>
                  </a:cubicBezTo>
                  <a:cubicBezTo>
                    <a:pt x="6267588" y="2488595"/>
                    <a:pt x="6273190" y="2484893"/>
                    <a:pt x="6278970" y="2480736"/>
                  </a:cubicBezTo>
                  <a:close/>
                  <a:moveTo>
                    <a:pt x="4229236" y="2480736"/>
                  </a:moveTo>
                  <a:lnTo>
                    <a:pt x="4244142" y="2480736"/>
                  </a:lnTo>
                  <a:lnTo>
                    <a:pt x="4244142" y="2703716"/>
                  </a:lnTo>
                  <a:lnTo>
                    <a:pt x="4208855" y="2703716"/>
                  </a:lnTo>
                  <a:lnTo>
                    <a:pt x="4208855" y="2523933"/>
                  </a:lnTo>
                  <a:cubicBezTo>
                    <a:pt x="4202466" y="2528496"/>
                    <a:pt x="4195597" y="2532374"/>
                    <a:pt x="4188245" y="2535568"/>
                  </a:cubicBezTo>
                  <a:cubicBezTo>
                    <a:pt x="4180894" y="2538763"/>
                    <a:pt x="4172503" y="2541576"/>
                    <a:pt x="4163072" y="2544010"/>
                  </a:cubicBezTo>
                  <a:lnTo>
                    <a:pt x="4163072" y="2513894"/>
                  </a:lnTo>
                  <a:cubicBezTo>
                    <a:pt x="4168953" y="2511968"/>
                    <a:pt x="4174632" y="2509939"/>
                    <a:pt x="4180107" y="2507810"/>
                  </a:cubicBezTo>
                  <a:cubicBezTo>
                    <a:pt x="4185583" y="2505681"/>
                    <a:pt x="4190984" y="2503298"/>
                    <a:pt x="4196307" y="2500661"/>
                  </a:cubicBezTo>
                  <a:cubicBezTo>
                    <a:pt x="4201631" y="2498025"/>
                    <a:pt x="4207006" y="2495084"/>
                    <a:pt x="4212429" y="2491839"/>
                  </a:cubicBezTo>
                  <a:cubicBezTo>
                    <a:pt x="4217854" y="2488595"/>
                    <a:pt x="4223456" y="2484893"/>
                    <a:pt x="4229236" y="2480736"/>
                  </a:cubicBezTo>
                  <a:close/>
                  <a:moveTo>
                    <a:pt x="1107649" y="2480736"/>
                  </a:moveTo>
                  <a:lnTo>
                    <a:pt x="1122555" y="2480736"/>
                  </a:lnTo>
                  <a:lnTo>
                    <a:pt x="1122555" y="2703716"/>
                  </a:lnTo>
                  <a:lnTo>
                    <a:pt x="1087267" y="2703716"/>
                  </a:lnTo>
                  <a:lnTo>
                    <a:pt x="1087267" y="2523933"/>
                  </a:lnTo>
                  <a:cubicBezTo>
                    <a:pt x="1080880" y="2528496"/>
                    <a:pt x="1074010" y="2532374"/>
                    <a:pt x="1066658" y="2535568"/>
                  </a:cubicBezTo>
                  <a:cubicBezTo>
                    <a:pt x="1059306" y="2538763"/>
                    <a:pt x="1050916" y="2541576"/>
                    <a:pt x="1041486" y="2544010"/>
                  </a:cubicBezTo>
                  <a:lnTo>
                    <a:pt x="1041486" y="2513894"/>
                  </a:lnTo>
                  <a:cubicBezTo>
                    <a:pt x="1047367" y="2511968"/>
                    <a:pt x="1053045" y="2509939"/>
                    <a:pt x="1058521" y="2507810"/>
                  </a:cubicBezTo>
                  <a:cubicBezTo>
                    <a:pt x="1063996" y="2505681"/>
                    <a:pt x="1069396" y="2503298"/>
                    <a:pt x="1074719" y="2500661"/>
                  </a:cubicBezTo>
                  <a:cubicBezTo>
                    <a:pt x="1080043" y="2498025"/>
                    <a:pt x="1085417" y="2495084"/>
                    <a:pt x="1090842" y="2491839"/>
                  </a:cubicBezTo>
                  <a:cubicBezTo>
                    <a:pt x="1096267" y="2488595"/>
                    <a:pt x="1101869" y="2484893"/>
                    <a:pt x="1107649" y="2480736"/>
                  </a:cubicBezTo>
                  <a:close/>
                  <a:moveTo>
                    <a:pt x="213707" y="2480736"/>
                  </a:moveTo>
                  <a:lnTo>
                    <a:pt x="228613" y="2480736"/>
                  </a:lnTo>
                  <a:lnTo>
                    <a:pt x="228613" y="2703716"/>
                  </a:lnTo>
                  <a:lnTo>
                    <a:pt x="193325" y="2703716"/>
                  </a:lnTo>
                  <a:lnTo>
                    <a:pt x="193325" y="2523933"/>
                  </a:lnTo>
                  <a:cubicBezTo>
                    <a:pt x="186938" y="2528496"/>
                    <a:pt x="180068" y="2532374"/>
                    <a:pt x="172716" y="2535568"/>
                  </a:cubicBezTo>
                  <a:cubicBezTo>
                    <a:pt x="165364" y="2538763"/>
                    <a:pt x="156974" y="2541576"/>
                    <a:pt x="147543" y="2544010"/>
                  </a:cubicBezTo>
                  <a:lnTo>
                    <a:pt x="147543" y="2513894"/>
                  </a:lnTo>
                  <a:cubicBezTo>
                    <a:pt x="153424" y="2511968"/>
                    <a:pt x="159103" y="2509939"/>
                    <a:pt x="164578" y="2507810"/>
                  </a:cubicBezTo>
                  <a:cubicBezTo>
                    <a:pt x="170054" y="2505681"/>
                    <a:pt x="175454" y="2503298"/>
                    <a:pt x="180778" y="2500661"/>
                  </a:cubicBezTo>
                  <a:cubicBezTo>
                    <a:pt x="186101" y="2498025"/>
                    <a:pt x="191475" y="2495084"/>
                    <a:pt x="196900" y="2491839"/>
                  </a:cubicBezTo>
                  <a:cubicBezTo>
                    <a:pt x="202325" y="2488595"/>
                    <a:pt x="207927" y="2484893"/>
                    <a:pt x="213707" y="2480736"/>
                  </a:cubicBezTo>
                  <a:close/>
                  <a:moveTo>
                    <a:pt x="11444638" y="2176765"/>
                  </a:moveTo>
                  <a:lnTo>
                    <a:pt x="11459544" y="2176765"/>
                  </a:lnTo>
                  <a:lnTo>
                    <a:pt x="11459544" y="2399745"/>
                  </a:lnTo>
                  <a:lnTo>
                    <a:pt x="11424256" y="2399745"/>
                  </a:lnTo>
                  <a:lnTo>
                    <a:pt x="11424256" y="2219962"/>
                  </a:lnTo>
                  <a:cubicBezTo>
                    <a:pt x="11417868" y="2224525"/>
                    <a:pt x="11410998" y="2228403"/>
                    <a:pt x="11403647" y="2231597"/>
                  </a:cubicBezTo>
                  <a:cubicBezTo>
                    <a:pt x="11396295" y="2234792"/>
                    <a:pt x="11387904" y="2237605"/>
                    <a:pt x="11378474" y="2240039"/>
                  </a:cubicBezTo>
                  <a:lnTo>
                    <a:pt x="11378474" y="2209923"/>
                  </a:lnTo>
                  <a:cubicBezTo>
                    <a:pt x="11384355" y="2207997"/>
                    <a:pt x="11390034" y="2205968"/>
                    <a:pt x="11395509" y="2203839"/>
                  </a:cubicBezTo>
                  <a:cubicBezTo>
                    <a:pt x="11400985" y="2201710"/>
                    <a:pt x="11406385" y="2199326"/>
                    <a:pt x="11411708" y="2196690"/>
                  </a:cubicBezTo>
                  <a:cubicBezTo>
                    <a:pt x="11417032" y="2194054"/>
                    <a:pt x="11422406" y="2191113"/>
                    <a:pt x="11427831" y="2187868"/>
                  </a:cubicBezTo>
                  <a:cubicBezTo>
                    <a:pt x="11433256" y="2184624"/>
                    <a:pt x="11438858" y="2180922"/>
                    <a:pt x="11444638" y="2176765"/>
                  </a:cubicBezTo>
                  <a:close/>
                  <a:moveTo>
                    <a:pt x="9437758" y="2176765"/>
                  </a:moveTo>
                  <a:lnTo>
                    <a:pt x="9452664" y="2176765"/>
                  </a:lnTo>
                  <a:lnTo>
                    <a:pt x="9452664" y="2399745"/>
                  </a:lnTo>
                  <a:lnTo>
                    <a:pt x="9417376" y="2399745"/>
                  </a:lnTo>
                  <a:lnTo>
                    <a:pt x="9417376" y="2219962"/>
                  </a:lnTo>
                  <a:cubicBezTo>
                    <a:pt x="9410988" y="2224525"/>
                    <a:pt x="9404118" y="2228403"/>
                    <a:pt x="9396767" y="2231597"/>
                  </a:cubicBezTo>
                  <a:cubicBezTo>
                    <a:pt x="9389415" y="2234792"/>
                    <a:pt x="9381024" y="2237605"/>
                    <a:pt x="9371594" y="2240039"/>
                  </a:cubicBezTo>
                  <a:lnTo>
                    <a:pt x="9371594" y="2209923"/>
                  </a:lnTo>
                  <a:cubicBezTo>
                    <a:pt x="9377475" y="2207997"/>
                    <a:pt x="9383154" y="2205968"/>
                    <a:pt x="9388629" y="2203839"/>
                  </a:cubicBezTo>
                  <a:cubicBezTo>
                    <a:pt x="9394105" y="2201710"/>
                    <a:pt x="9399505" y="2199326"/>
                    <a:pt x="9404828" y="2196690"/>
                  </a:cubicBezTo>
                  <a:cubicBezTo>
                    <a:pt x="9410152" y="2194054"/>
                    <a:pt x="9415526" y="2191113"/>
                    <a:pt x="9420951" y="2187868"/>
                  </a:cubicBezTo>
                  <a:cubicBezTo>
                    <a:pt x="9426376" y="2184624"/>
                    <a:pt x="9431978" y="2180922"/>
                    <a:pt x="9437758" y="2176765"/>
                  </a:cubicBezTo>
                  <a:close/>
                  <a:moveTo>
                    <a:pt x="8937428" y="2176765"/>
                  </a:moveTo>
                  <a:lnTo>
                    <a:pt x="8952334" y="2176765"/>
                  </a:lnTo>
                  <a:lnTo>
                    <a:pt x="8952334" y="2399745"/>
                  </a:lnTo>
                  <a:lnTo>
                    <a:pt x="8917046" y="2399745"/>
                  </a:lnTo>
                  <a:lnTo>
                    <a:pt x="8917046" y="2219962"/>
                  </a:lnTo>
                  <a:cubicBezTo>
                    <a:pt x="8910658" y="2224525"/>
                    <a:pt x="8903788" y="2228403"/>
                    <a:pt x="8896437" y="2231597"/>
                  </a:cubicBezTo>
                  <a:cubicBezTo>
                    <a:pt x="8889085" y="2234792"/>
                    <a:pt x="8880694" y="2237605"/>
                    <a:pt x="8871264" y="2240039"/>
                  </a:cubicBezTo>
                  <a:lnTo>
                    <a:pt x="8871264" y="2209923"/>
                  </a:lnTo>
                  <a:cubicBezTo>
                    <a:pt x="8877145" y="2207997"/>
                    <a:pt x="8882824" y="2205968"/>
                    <a:pt x="8888299" y="2203839"/>
                  </a:cubicBezTo>
                  <a:cubicBezTo>
                    <a:pt x="8893775" y="2201710"/>
                    <a:pt x="8899175" y="2199326"/>
                    <a:pt x="8904498" y="2196690"/>
                  </a:cubicBezTo>
                  <a:cubicBezTo>
                    <a:pt x="8909822" y="2194054"/>
                    <a:pt x="8915196" y="2191113"/>
                    <a:pt x="8920621" y="2187868"/>
                  </a:cubicBezTo>
                  <a:cubicBezTo>
                    <a:pt x="8926046" y="2184624"/>
                    <a:pt x="8931648" y="2180922"/>
                    <a:pt x="8937428" y="2176765"/>
                  </a:cubicBezTo>
                  <a:close/>
                  <a:moveTo>
                    <a:pt x="7308531" y="2176765"/>
                  </a:moveTo>
                  <a:lnTo>
                    <a:pt x="7323437" y="2176765"/>
                  </a:lnTo>
                  <a:lnTo>
                    <a:pt x="7323437" y="2399745"/>
                  </a:lnTo>
                  <a:lnTo>
                    <a:pt x="7288149" y="2399745"/>
                  </a:lnTo>
                  <a:lnTo>
                    <a:pt x="7288149" y="2219962"/>
                  </a:lnTo>
                  <a:cubicBezTo>
                    <a:pt x="7281761" y="2224525"/>
                    <a:pt x="7274892" y="2228403"/>
                    <a:pt x="7267540" y="2231597"/>
                  </a:cubicBezTo>
                  <a:cubicBezTo>
                    <a:pt x="7260188" y="2234792"/>
                    <a:pt x="7251798" y="2237605"/>
                    <a:pt x="7242367" y="2240039"/>
                  </a:cubicBezTo>
                  <a:lnTo>
                    <a:pt x="7242367" y="2209923"/>
                  </a:lnTo>
                  <a:cubicBezTo>
                    <a:pt x="7248248" y="2207997"/>
                    <a:pt x="7253927" y="2205968"/>
                    <a:pt x="7259402" y="2203839"/>
                  </a:cubicBezTo>
                  <a:cubicBezTo>
                    <a:pt x="7264878" y="2201710"/>
                    <a:pt x="7270278" y="2199326"/>
                    <a:pt x="7275601" y="2196690"/>
                  </a:cubicBezTo>
                  <a:cubicBezTo>
                    <a:pt x="7280925" y="2194054"/>
                    <a:pt x="7286299" y="2191113"/>
                    <a:pt x="7291724" y="2187868"/>
                  </a:cubicBezTo>
                  <a:cubicBezTo>
                    <a:pt x="7297149" y="2184624"/>
                    <a:pt x="7302751" y="2180922"/>
                    <a:pt x="7308531" y="2176765"/>
                  </a:cubicBezTo>
                  <a:close/>
                  <a:moveTo>
                    <a:pt x="6438588" y="2176765"/>
                  </a:moveTo>
                  <a:lnTo>
                    <a:pt x="6453494" y="2176765"/>
                  </a:lnTo>
                  <a:lnTo>
                    <a:pt x="6453494" y="2399745"/>
                  </a:lnTo>
                  <a:lnTo>
                    <a:pt x="6418206" y="2399745"/>
                  </a:lnTo>
                  <a:lnTo>
                    <a:pt x="6418206" y="2219962"/>
                  </a:lnTo>
                  <a:cubicBezTo>
                    <a:pt x="6411818" y="2224525"/>
                    <a:pt x="6404949" y="2228403"/>
                    <a:pt x="6397597" y="2231597"/>
                  </a:cubicBezTo>
                  <a:cubicBezTo>
                    <a:pt x="6390245" y="2234792"/>
                    <a:pt x="6381855" y="2237605"/>
                    <a:pt x="6372424" y="2240039"/>
                  </a:cubicBezTo>
                  <a:lnTo>
                    <a:pt x="6372424" y="2209923"/>
                  </a:lnTo>
                  <a:cubicBezTo>
                    <a:pt x="6378305" y="2207997"/>
                    <a:pt x="6383984" y="2205968"/>
                    <a:pt x="6389459" y="2203839"/>
                  </a:cubicBezTo>
                  <a:cubicBezTo>
                    <a:pt x="6394935" y="2201710"/>
                    <a:pt x="6400335" y="2199326"/>
                    <a:pt x="6405658" y="2196690"/>
                  </a:cubicBezTo>
                  <a:cubicBezTo>
                    <a:pt x="6410982" y="2194054"/>
                    <a:pt x="6416356" y="2191113"/>
                    <a:pt x="6421781" y="2187868"/>
                  </a:cubicBezTo>
                  <a:cubicBezTo>
                    <a:pt x="6427206" y="2184624"/>
                    <a:pt x="6432808" y="2180922"/>
                    <a:pt x="6438588" y="2176765"/>
                  </a:cubicBezTo>
                  <a:close/>
                  <a:moveTo>
                    <a:pt x="5369222" y="2176765"/>
                  </a:moveTo>
                  <a:lnTo>
                    <a:pt x="5384128" y="2176765"/>
                  </a:lnTo>
                  <a:lnTo>
                    <a:pt x="5384128" y="2399745"/>
                  </a:lnTo>
                  <a:lnTo>
                    <a:pt x="5348840" y="2399745"/>
                  </a:lnTo>
                  <a:lnTo>
                    <a:pt x="5348840" y="2219962"/>
                  </a:lnTo>
                  <a:cubicBezTo>
                    <a:pt x="5342452" y="2224525"/>
                    <a:pt x="5335584" y="2228403"/>
                    <a:pt x="5328231" y="2231597"/>
                  </a:cubicBezTo>
                  <a:cubicBezTo>
                    <a:pt x="5320879" y="2234792"/>
                    <a:pt x="5312490" y="2237605"/>
                    <a:pt x="5303059" y="2240039"/>
                  </a:cubicBezTo>
                  <a:lnTo>
                    <a:pt x="5303059" y="2209923"/>
                  </a:lnTo>
                  <a:cubicBezTo>
                    <a:pt x="5308939" y="2207997"/>
                    <a:pt x="5314620" y="2205968"/>
                    <a:pt x="5320094" y="2203839"/>
                  </a:cubicBezTo>
                  <a:cubicBezTo>
                    <a:pt x="5325569" y="2201710"/>
                    <a:pt x="5330970" y="2199326"/>
                    <a:pt x="5336292" y="2196690"/>
                  </a:cubicBezTo>
                  <a:cubicBezTo>
                    <a:pt x="5341617" y="2194054"/>
                    <a:pt x="5346990" y="2191113"/>
                    <a:pt x="5352415" y="2187868"/>
                  </a:cubicBezTo>
                  <a:cubicBezTo>
                    <a:pt x="5357840" y="2184624"/>
                    <a:pt x="5363442" y="2180922"/>
                    <a:pt x="5369222" y="2176765"/>
                  </a:cubicBezTo>
                  <a:close/>
                  <a:moveTo>
                    <a:pt x="3376912" y="2176765"/>
                  </a:moveTo>
                  <a:lnTo>
                    <a:pt x="3391818" y="2176765"/>
                  </a:lnTo>
                  <a:lnTo>
                    <a:pt x="3391818" y="2399745"/>
                  </a:lnTo>
                  <a:lnTo>
                    <a:pt x="3356530" y="2399745"/>
                  </a:lnTo>
                  <a:lnTo>
                    <a:pt x="3356530" y="2219962"/>
                  </a:lnTo>
                  <a:cubicBezTo>
                    <a:pt x="3350142" y="2224525"/>
                    <a:pt x="3343273" y="2228403"/>
                    <a:pt x="3335922" y="2231597"/>
                  </a:cubicBezTo>
                  <a:cubicBezTo>
                    <a:pt x="3328569" y="2234792"/>
                    <a:pt x="3320179" y="2237605"/>
                    <a:pt x="3310748" y="2240039"/>
                  </a:cubicBezTo>
                  <a:lnTo>
                    <a:pt x="3310748" y="2209923"/>
                  </a:lnTo>
                  <a:cubicBezTo>
                    <a:pt x="3316629" y="2207997"/>
                    <a:pt x="3322308" y="2205968"/>
                    <a:pt x="3327783" y="2203839"/>
                  </a:cubicBezTo>
                  <a:cubicBezTo>
                    <a:pt x="3333259" y="2201710"/>
                    <a:pt x="3338659" y="2199326"/>
                    <a:pt x="3343983" y="2196690"/>
                  </a:cubicBezTo>
                  <a:cubicBezTo>
                    <a:pt x="3349306" y="2194054"/>
                    <a:pt x="3354680" y="2191113"/>
                    <a:pt x="3360105" y="2187868"/>
                  </a:cubicBezTo>
                  <a:cubicBezTo>
                    <a:pt x="3365530" y="2184624"/>
                    <a:pt x="3371132" y="2180922"/>
                    <a:pt x="3376912" y="2176765"/>
                  </a:cubicBezTo>
                  <a:close/>
                  <a:moveTo>
                    <a:pt x="2864708" y="2176765"/>
                  </a:moveTo>
                  <a:lnTo>
                    <a:pt x="2879614" y="2176765"/>
                  </a:lnTo>
                  <a:lnTo>
                    <a:pt x="2879614" y="2399745"/>
                  </a:lnTo>
                  <a:lnTo>
                    <a:pt x="2844327" y="2399745"/>
                  </a:lnTo>
                  <a:lnTo>
                    <a:pt x="2844327" y="2219962"/>
                  </a:lnTo>
                  <a:cubicBezTo>
                    <a:pt x="2837938" y="2224525"/>
                    <a:pt x="2831069" y="2228403"/>
                    <a:pt x="2823717" y="2231597"/>
                  </a:cubicBezTo>
                  <a:cubicBezTo>
                    <a:pt x="2816365" y="2234792"/>
                    <a:pt x="2807975" y="2237605"/>
                    <a:pt x="2798544" y="2240039"/>
                  </a:cubicBezTo>
                  <a:lnTo>
                    <a:pt x="2798544" y="2209923"/>
                  </a:lnTo>
                  <a:cubicBezTo>
                    <a:pt x="2804425" y="2207997"/>
                    <a:pt x="2810104" y="2205968"/>
                    <a:pt x="2815579" y="2203839"/>
                  </a:cubicBezTo>
                  <a:cubicBezTo>
                    <a:pt x="2821055" y="2201710"/>
                    <a:pt x="2826455" y="2199326"/>
                    <a:pt x="2831779" y="2196690"/>
                  </a:cubicBezTo>
                  <a:cubicBezTo>
                    <a:pt x="2837102" y="2194054"/>
                    <a:pt x="2842476" y="2191113"/>
                    <a:pt x="2847901" y="2187868"/>
                  </a:cubicBezTo>
                  <a:cubicBezTo>
                    <a:pt x="2853326" y="2184624"/>
                    <a:pt x="2858928" y="2180922"/>
                    <a:pt x="2864708" y="2176765"/>
                  </a:cubicBezTo>
                  <a:close/>
                  <a:moveTo>
                    <a:pt x="1257354" y="2176765"/>
                  </a:moveTo>
                  <a:lnTo>
                    <a:pt x="1272260" y="2176765"/>
                  </a:lnTo>
                  <a:lnTo>
                    <a:pt x="1272260" y="2399745"/>
                  </a:lnTo>
                  <a:lnTo>
                    <a:pt x="1236972" y="2399745"/>
                  </a:lnTo>
                  <a:lnTo>
                    <a:pt x="1236972" y="2219962"/>
                  </a:lnTo>
                  <a:cubicBezTo>
                    <a:pt x="1230584" y="2224525"/>
                    <a:pt x="1223715" y="2228403"/>
                    <a:pt x="1216363" y="2231597"/>
                  </a:cubicBezTo>
                  <a:cubicBezTo>
                    <a:pt x="1209011" y="2234792"/>
                    <a:pt x="1200621" y="2237605"/>
                    <a:pt x="1191190" y="2240039"/>
                  </a:cubicBezTo>
                  <a:lnTo>
                    <a:pt x="1191190" y="2209923"/>
                  </a:lnTo>
                  <a:cubicBezTo>
                    <a:pt x="1197071" y="2207997"/>
                    <a:pt x="1202750" y="2205968"/>
                    <a:pt x="1208225" y="2203839"/>
                  </a:cubicBezTo>
                  <a:cubicBezTo>
                    <a:pt x="1213701" y="2201710"/>
                    <a:pt x="1219101" y="2199326"/>
                    <a:pt x="1224424" y="2196690"/>
                  </a:cubicBezTo>
                  <a:cubicBezTo>
                    <a:pt x="1229748" y="2194054"/>
                    <a:pt x="1235122" y="2191113"/>
                    <a:pt x="1240547" y="2187868"/>
                  </a:cubicBezTo>
                  <a:cubicBezTo>
                    <a:pt x="1245972" y="2184624"/>
                    <a:pt x="1251574" y="2180922"/>
                    <a:pt x="1257354" y="2176765"/>
                  </a:cubicBezTo>
                  <a:close/>
                  <a:moveTo>
                    <a:pt x="384113" y="2176765"/>
                  </a:moveTo>
                  <a:lnTo>
                    <a:pt x="399019" y="2176765"/>
                  </a:lnTo>
                  <a:lnTo>
                    <a:pt x="399019" y="2399745"/>
                  </a:lnTo>
                  <a:lnTo>
                    <a:pt x="363731" y="2399745"/>
                  </a:lnTo>
                  <a:lnTo>
                    <a:pt x="363731" y="2219962"/>
                  </a:lnTo>
                  <a:cubicBezTo>
                    <a:pt x="357343" y="2224525"/>
                    <a:pt x="350474" y="2228403"/>
                    <a:pt x="343122" y="2231597"/>
                  </a:cubicBezTo>
                  <a:cubicBezTo>
                    <a:pt x="335770" y="2234792"/>
                    <a:pt x="327380" y="2237605"/>
                    <a:pt x="317949" y="2240039"/>
                  </a:cubicBezTo>
                  <a:lnTo>
                    <a:pt x="317949" y="2209923"/>
                  </a:lnTo>
                  <a:cubicBezTo>
                    <a:pt x="323830" y="2207997"/>
                    <a:pt x="329509" y="2205968"/>
                    <a:pt x="334984" y="2203839"/>
                  </a:cubicBezTo>
                  <a:cubicBezTo>
                    <a:pt x="340460" y="2201710"/>
                    <a:pt x="345860" y="2199326"/>
                    <a:pt x="351183" y="2196690"/>
                  </a:cubicBezTo>
                  <a:cubicBezTo>
                    <a:pt x="356507" y="2194054"/>
                    <a:pt x="361881" y="2191113"/>
                    <a:pt x="367306" y="2187868"/>
                  </a:cubicBezTo>
                  <a:cubicBezTo>
                    <a:pt x="372731" y="2184624"/>
                    <a:pt x="378333" y="2180922"/>
                    <a:pt x="384113" y="2176765"/>
                  </a:cubicBezTo>
                  <a:close/>
                  <a:moveTo>
                    <a:pt x="10273078" y="1842347"/>
                  </a:moveTo>
                  <a:lnTo>
                    <a:pt x="10287984" y="1842347"/>
                  </a:lnTo>
                  <a:lnTo>
                    <a:pt x="10287984" y="2065327"/>
                  </a:lnTo>
                  <a:lnTo>
                    <a:pt x="10252696" y="2065327"/>
                  </a:lnTo>
                  <a:lnTo>
                    <a:pt x="10252696" y="1885543"/>
                  </a:lnTo>
                  <a:cubicBezTo>
                    <a:pt x="10246308" y="1890107"/>
                    <a:pt x="10239438" y="1893985"/>
                    <a:pt x="10232087" y="1897179"/>
                  </a:cubicBezTo>
                  <a:cubicBezTo>
                    <a:pt x="10224735" y="1900374"/>
                    <a:pt x="10216344" y="1903187"/>
                    <a:pt x="10206914" y="1905621"/>
                  </a:cubicBezTo>
                  <a:lnTo>
                    <a:pt x="10206914" y="1875505"/>
                  </a:lnTo>
                  <a:cubicBezTo>
                    <a:pt x="10212795" y="1873579"/>
                    <a:pt x="10218474" y="1871550"/>
                    <a:pt x="10223949" y="1869421"/>
                  </a:cubicBezTo>
                  <a:cubicBezTo>
                    <a:pt x="10229425" y="1867292"/>
                    <a:pt x="10234825" y="1864908"/>
                    <a:pt x="10240148" y="1862272"/>
                  </a:cubicBezTo>
                  <a:cubicBezTo>
                    <a:pt x="10245472" y="1859636"/>
                    <a:pt x="10250846" y="1856695"/>
                    <a:pt x="10256271" y="1853450"/>
                  </a:cubicBezTo>
                  <a:cubicBezTo>
                    <a:pt x="10261696" y="1850206"/>
                    <a:pt x="10267298" y="1846504"/>
                    <a:pt x="10273078" y="1842347"/>
                  </a:cubicBezTo>
                  <a:close/>
                  <a:moveTo>
                    <a:pt x="9385054" y="1842347"/>
                  </a:moveTo>
                  <a:lnTo>
                    <a:pt x="9399960" y="1842347"/>
                  </a:lnTo>
                  <a:lnTo>
                    <a:pt x="9399960" y="2065327"/>
                  </a:lnTo>
                  <a:lnTo>
                    <a:pt x="9364672" y="2065327"/>
                  </a:lnTo>
                  <a:lnTo>
                    <a:pt x="9364672" y="1885543"/>
                  </a:lnTo>
                  <a:cubicBezTo>
                    <a:pt x="9358284" y="1890107"/>
                    <a:pt x="9351414" y="1893985"/>
                    <a:pt x="9344063" y="1897179"/>
                  </a:cubicBezTo>
                  <a:cubicBezTo>
                    <a:pt x="9336711" y="1900374"/>
                    <a:pt x="9328320" y="1903187"/>
                    <a:pt x="9318890" y="1905621"/>
                  </a:cubicBezTo>
                  <a:lnTo>
                    <a:pt x="9318890" y="1875505"/>
                  </a:lnTo>
                  <a:cubicBezTo>
                    <a:pt x="9324771" y="1873579"/>
                    <a:pt x="9330450" y="1871550"/>
                    <a:pt x="9335925" y="1869421"/>
                  </a:cubicBezTo>
                  <a:cubicBezTo>
                    <a:pt x="9341401" y="1867292"/>
                    <a:pt x="9346801" y="1864908"/>
                    <a:pt x="9352124" y="1862272"/>
                  </a:cubicBezTo>
                  <a:cubicBezTo>
                    <a:pt x="9357448" y="1859636"/>
                    <a:pt x="9362822" y="1856695"/>
                    <a:pt x="9368247" y="1853450"/>
                  </a:cubicBezTo>
                  <a:cubicBezTo>
                    <a:pt x="9373672" y="1850206"/>
                    <a:pt x="9379274" y="1846504"/>
                    <a:pt x="9385054" y="1842347"/>
                  </a:cubicBezTo>
                  <a:close/>
                  <a:moveTo>
                    <a:pt x="7515223" y="1842347"/>
                  </a:moveTo>
                  <a:lnTo>
                    <a:pt x="7530129" y="1842347"/>
                  </a:lnTo>
                  <a:lnTo>
                    <a:pt x="7530129" y="2065327"/>
                  </a:lnTo>
                  <a:lnTo>
                    <a:pt x="7494841" y="2065327"/>
                  </a:lnTo>
                  <a:lnTo>
                    <a:pt x="7494841" y="1885543"/>
                  </a:lnTo>
                  <a:cubicBezTo>
                    <a:pt x="7488453" y="1890107"/>
                    <a:pt x="7481584" y="1893985"/>
                    <a:pt x="7474232" y="1897179"/>
                  </a:cubicBezTo>
                  <a:cubicBezTo>
                    <a:pt x="7466880" y="1900374"/>
                    <a:pt x="7458490" y="1903187"/>
                    <a:pt x="7449059" y="1905621"/>
                  </a:cubicBezTo>
                  <a:lnTo>
                    <a:pt x="7449059" y="1875505"/>
                  </a:lnTo>
                  <a:cubicBezTo>
                    <a:pt x="7454940" y="1873579"/>
                    <a:pt x="7460619" y="1871550"/>
                    <a:pt x="7466094" y="1869421"/>
                  </a:cubicBezTo>
                  <a:cubicBezTo>
                    <a:pt x="7471570" y="1867292"/>
                    <a:pt x="7476970" y="1864908"/>
                    <a:pt x="7482293" y="1862272"/>
                  </a:cubicBezTo>
                  <a:cubicBezTo>
                    <a:pt x="7487617" y="1859636"/>
                    <a:pt x="7492991" y="1856695"/>
                    <a:pt x="7498416" y="1853450"/>
                  </a:cubicBezTo>
                  <a:cubicBezTo>
                    <a:pt x="7503841" y="1850206"/>
                    <a:pt x="7509443" y="1846504"/>
                    <a:pt x="7515223" y="1842347"/>
                  </a:cubicBezTo>
                  <a:close/>
                  <a:moveTo>
                    <a:pt x="6143623" y="1842347"/>
                  </a:moveTo>
                  <a:lnTo>
                    <a:pt x="6158529" y="1842347"/>
                  </a:lnTo>
                  <a:lnTo>
                    <a:pt x="6158529" y="2065327"/>
                  </a:lnTo>
                  <a:lnTo>
                    <a:pt x="6123241" y="2065327"/>
                  </a:lnTo>
                  <a:lnTo>
                    <a:pt x="6123241" y="1885543"/>
                  </a:lnTo>
                  <a:cubicBezTo>
                    <a:pt x="6116853" y="1890107"/>
                    <a:pt x="6109984" y="1893985"/>
                    <a:pt x="6102632" y="1897179"/>
                  </a:cubicBezTo>
                  <a:cubicBezTo>
                    <a:pt x="6095280" y="1900374"/>
                    <a:pt x="6086890" y="1903187"/>
                    <a:pt x="6077459" y="1905621"/>
                  </a:cubicBezTo>
                  <a:lnTo>
                    <a:pt x="6077459" y="1875505"/>
                  </a:lnTo>
                  <a:cubicBezTo>
                    <a:pt x="6083340" y="1873579"/>
                    <a:pt x="6089019" y="1871550"/>
                    <a:pt x="6094494" y="1869421"/>
                  </a:cubicBezTo>
                  <a:cubicBezTo>
                    <a:pt x="6099970" y="1867292"/>
                    <a:pt x="6105370" y="1864908"/>
                    <a:pt x="6110693" y="1862272"/>
                  </a:cubicBezTo>
                  <a:cubicBezTo>
                    <a:pt x="6116017" y="1859636"/>
                    <a:pt x="6121391" y="1856695"/>
                    <a:pt x="6126816" y="1853450"/>
                  </a:cubicBezTo>
                  <a:cubicBezTo>
                    <a:pt x="6132241" y="1850206"/>
                    <a:pt x="6137843" y="1846504"/>
                    <a:pt x="6143623" y="1842347"/>
                  </a:cubicBezTo>
                  <a:close/>
                  <a:moveTo>
                    <a:pt x="4222720" y="1842347"/>
                  </a:moveTo>
                  <a:lnTo>
                    <a:pt x="4237627" y="1842347"/>
                  </a:lnTo>
                  <a:lnTo>
                    <a:pt x="4237627" y="2065327"/>
                  </a:lnTo>
                  <a:lnTo>
                    <a:pt x="4202339" y="2065327"/>
                  </a:lnTo>
                  <a:lnTo>
                    <a:pt x="4202339" y="1885543"/>
                  </a:lnTo>
                  <a:cubicBezTo>
                    <a:pt x="4195950" y="1890107"/>
                    <a:pt x="4189081" y="1893985"/>
                    <a:pt x="4181729" y="1897179"/>
                  </a:cubicBezTo>
                  <a:cubicBezTo>
                    <a:pt x="4174378" y="1900374"/>
                    <a:pt x="4165987" y="1903187"/>
                    <a:pt x="4156556" y="1905621"/>
                  </a:cubicBezTo>
                  <a:lnTo>
                    <a:pt x="4156556" y="1875505"/>
                  </a:lnTo>
                  <a:cubicBezTo>
                    <a:pt x="4162438" y="1873579"/>
                    <a:pt x="4168116" y="1871550"/>
                    <a:pt x="4173591" y="1869421"/>
                  </a:cubicBezTo>
                  <a:cubicBezTo>
                    <a:pt x="4179067" y="1867292"/>
                    <a:pt x="4184468" y="1864908"/>
                    <a:pt x="4189791" y="1862272"/>
                  </a:cubicBezTo>
                  <a:cubicBezTo>
                    <a:pt x="4195115" y="1859636"/>
                    <a:pt x="4200489" y="1856695"/>
                    <a:pt x="4205915" y="1853450"/>
                  </a:cubicBezTo>
                  <a:cubicBezTo>
                    <a:pt x="4211338" y="1850206"/>
                    <a:pt x="4216940" y="1846504"/>
                    <a:pt x="4222720" y="1842347"/>
                  </a:cubicBezTo>
                  <a:close/>
                  <a:moveTo>
                    <a:pt x="3333016" y="1842347"/>
                  </a:moveTo>
                  <a:lnTo>
                    <a:pt x="3347923" y="1842347"/>
                  </a:lnTo>
                  <a:lnTo>
                    <a:pt x="3347923" y="2065327"/>
                  </a:lnTo>
                  <a:lnTo>
                    <a:pt x="3312636" y="2065327"/>
                  </a:lnTo>
                  <a:lnTo>
                    <a:pt x="3312636" y="1885543"/>
                  </a:lnTo>
                  <a:cubicBezTo>
                    <a:pt x="3306247" y="1890107"/>
                    <a:pt x="3299377" y="1893985"/>
                    <a:pt x="3292025" y="1897179"/>
                  </a:cubicBezTo>
                  <a:cubicBezTo>
                    <a:pt x="3284674" y="1900374"/>
                    <a:pt x="3276283" y="1903187"/>
                    <a:pt x="3266852" y="1905621"/>
                  </a:cubicBezTo>
                  <a:lnTo>
                    <a:pt x="3266852" y="1875505"/>
                  </a:lnTo>
                  <a:cubicBezTo>
                    <a:pt x="3272734" y="1873579"/>
                    <a:pt x="3278412" y="1871550"/>
                    <a:pt x="3283887" y="1869421"/>
                  </a:cubicBezTo>
                  <a:cubicBezTo>
                    <a:pt x="3289365" y="1867292"/>
                    <a:pt x="3294763" y="1864908"/>
                    <a:pt x="3300088" y="1862272"/>
                  </a:cubicBezTo>
                  <a:cubicBezTo>
                    <a:pt x="3305410" y="1859636"/>
                    <a:pt x="3310784" y="1856695"/>
                    <a:pt x="3316209" y="1853450"/>
                  </a:cubicBezTo>
                  <a:cubicBezTo>
                    <a:pt x="3321634" y="1850206"/>
                    <a:pt x="3327236" y="1846504"/>
                    <a:pt x="3333016" y="1842347"/>
                  </a:cubicBezTo>
                  <a:close/>
                  <a:moveTo>
                    <a:pt x="1449476" y="1842347"/>
                  </a:moveTo>
                  <a:lnTo>
                    <a:pt x="1464382" y="1842347"/>
                  </a:lnTo>
                  <a:lnTo>
                    <a:pt x="1464382" y="2065327"/>
                  </a:lnTo>
                  <a:lnTo>
                    <a:pt x="1429094" y="2065327"/>
                  </a:lnTo>
                  <a:lnTo>
                    <a:pt x="1429094" y="1885543"/>
                  </a:lnTo>
                  <a:cubicBezTo>
                    <a:pt x="1422706" y="1890107"/>
                    <a:pt x="1415836" y="1893985"/>
                    <a:pt x="1408485" y="1897179"/>
                  </a:cubicBezTo>
                  <a:cubicBezTo>
                    <a:pt x="1401133" y="1900374"/>
                    <a:pt x="1392742" y="1903187"/>
                    <a:pt x="1383312" y="1905621"/>
                  </a:cubicBezTo>
                  <a:lnTo>
                    <a:pt x="1383312" y="1875505"/>
                  </a:lnTo>
                  <a:cubicBezTo>
                    <a:pt x="1389193" y="1873579"/>
                    <a:pt x="1394872" y="1871550"/>
                    <a:pt x="1400347" y="1869421"/>
                  </a:cubicBezTo>
                  <a:cubicBezTo>
                    <a:pt x="1405823" y="1867292"/>
                    <a:pt x="1411223" y="1864908"/>
                    <a:pt x="1416546" y="1862272"/>
                  </a:cubicBezTo>
                  <a:cubicBezTo>
                    <a:pt x="1421870" y="1859636"/>
                    <a:pt x="1427244" y="1856695"/>
                    <a:pt x="1432669" y="1853450"/>
                  </a:cubicBezTo>
                  <a:cubicBezTo>
                    <a:pt x="1438094" y="1850206"/>
                    <a:pt x="1443696" y="1846504"/>
                    <a:pt x="1449476" y="1842347"/>
                  </a:cubicBezTo>
                  <a:close/>
                  <a:moveTo>
                    <a:pt x="77530" y="1842347"/>
                  </a:moveTo>
                  <a:lnTo>
                    <a:pt x="92436" y="1842347"/>
                  </a:lnTo>
                  <a:lnTo>
                    <a:pt x="92436" y="2065327"/>
                  </a:lnTo>
                  <a:lnTo>
                    <a:pt x="57148" y="2065327"/>
                  </a:lnTo>
                  <a:lnTo>
                    <a:pt x="57148" y="1885543"/>
                  </a:lnTo>
                  <a:cubicBezTo>
                    <a:pt x="50760" y="1890107"/>
                    <a:pt x="43891" y="1893985"/>
                    <a:pt x="36539" y="1897179"/>
                  </a:cubicBezTo>
                  <a:cubicBezTo>
                    <a:pt x="29187" y="1900374"/>
                    <a:pt x="20797" y="1903187"/>
                    <a:pt x="11366" y="1905621"/>
                  </a:cubicBezTo>
                  <a:lnTo>
                    <a:pt x="11366" y="1875505"/>
                  </a:lnTo>
                  <a:cubicBezTo>
                    <a:pt x="17247" y="1873579"/>
                    <a:pt x="22926" y="1871550"/>
                    <a:pt x="28401" y="1869421"/>
                  </a:cubicBezTo>
                  <a:cubicBezTo>
                    <a:pt x="33877" y="1867292"/>
                    <a:pt x="39277" y="1864908"/>
                    <a:pt x="44600" y="1862272"/>
                  </a:cubicBezTo>
                  <a:cubicBezTo>
                    <a:pt x="49924" y="1859636"/>
                    <a:pt x="55298" y="1856695"/>
                    <a:pt x="60723" y="1853450"/>
                  </a:cubicBezTo>
                  <a:cubicBezTo>
                    <a:pt x="66148" y="1850206"/>
                    <a:pt x="71750" y="1846504"/>
                    <a:pt x="77530" y="1842347"/>
                  </a:cubicBezTo>
                  <a:close/>
                  <a:moveTo>
                    <a:pt x="12035151" y="1522003"/>
                  </a:moveTo>
                  <a:lnTo>
                    <a:pt x="12050057" y="1522003"/>
                  </a:lnTo>
                  <a:lnTo>
                    <a:pt x="12050057" y="1744983"/>
                  </a:lnTo>
                  <a:lnTo>
                    <a:pt x="12014769" y="1744983"/>
                  </a:lnTo>
                  <a:lnTo>
                    <a:pt x="12014769" y="1565200"/>
                  </a:lnTo>
                  <a:cubicBezTo>
                    <a:pt x="12008381" y="1569763"/>
                    <a:pt x="12001511" y="1573641"/>
                    <a:pt x="11994160" y="1576835"/>
                  </a:cubicBezTo>
                  <a:cubicBezTo>
                    <a:pt x="11986808" y="1580030"/>
                    <a:pt x="11978417" y="1582843"/>
                    <a:pt x="11968987" y="1585277"/>
                  </a:cubicBezTo>
                  <a:lnTo>
                    <a:pt x="11968987" y="1555161"/>
                  </a:lnTo>
                  <a:cubicBezTo>
                    <a:pt x="11974868" y="1553235"/>
                    <a:pt x="11980547" y="1551206"/>
                    <a:pt x="11986022" y="1549077"/>
                  </a:cubicBezTo>
                  <a:cubicBezTo>
                    <a:pt x="11991498" y="1546948"/>
                    <a:pt x="11996898" y="1544565"/>
                    <a:pt x="12002221" y="1541928"/>
                  </a:cubicBezTo>
                  <a:cubicBezTo>
                    <a:pt x="12007545" y="1539292"/>
                    <a:pt x="12012919" y="1536351"/>
                    <a:pt x="12018344" y="1533106"/>
                  </a:cubicBezTo>
                  <a:cubicBezTo>
                    <a:pt x="12023769" y="1529862"/>
                    <a:pt x="12029371" y="1526161"/>
                    <a:pt x="12035151" y="1522003"/>
                  </a:cubicBezTo>
                  <a:close/>
                  <a:moveTo>
                    <a:pt x="10410370" y="1522003"/>
                  </a:moveTo>
                  <a:lnTo>
                    <a:pt x="10425276" y="1522003"/>
                  </a:lnTo>
                  <a:lnTo>
                    <a:pt x="10425276" y="1744983"/>
                  </a:lnTo>
                  <a:lnTo>
                    <a:pt x="10389988" y="1744983"/>
                  </a:lnTo>
                  <a:lnTo>
                    <a:pt x="10389988" y="1565200"/>
                  </a:lnTo>
                  <a:cubicBezTo>
                    <a:pt x="10383600" y="1569763"/>
                    <a:pt x="10376730" y="1573641"/>
                    <a:pt x="10369379" y="1576835"/>
                  </a:cubicBezTo>
                  <a:cubicBezTo>
                    <a:pt x="10362027" y="1580030"/>
                    <a:pt x="10353636" y="1582843"/>
                    <a:pt x="10344206" y="1585277"/>
                  </a:cubicBezTo>
                  <a:lnTo>
                    <a:pt x="10344206" y="1555161"/>
                  </a:lnTo>
                  <a:cubicBezTo>
                    <a:pt x="10350087" y="1553235"/>
                    <a:pt x="10355766" y="1551206"/>
                    <a:pt x="10361241" y="1549077"/>
                  </a:cubicBezTo>
                  <a:cubicBezTo>
                    <a:pt x="10366717" y="1546948"/>
                    <a:pt x="10372117" y="1544565"/>
                    <a:pt x="10377440" y="1541928"/>
                  </a:cubicBezTo>
                  <a:cubicBezTo>
                    <a:pt x="10382764" y="1539292"/>
                    <a:pt x="10388138" y="1536351"/>
                    <a:pt x="10393563" y="1533106"/>
                  </a:cubicBezTo>
                  <a:cubicBezTo>
                    <a:pt x="10398988" y="1529862"/>
                    <a:pt x="10404590" y="1526161"/>
                    <a:pt x="10410370" y="1522003"/>
                  </a:cubicBezTo>
                  <a:close/>
                  <a:moveTo>
                    <a:pt x="9532663" y="1522003"/>
                  </a:moveTo>
                  <a:lnTo>
                    <a:pt x="9547569" y="1522003"/>
                  </a:lnTo>
                  <a:lnTo>
                    <a:pt x="9547569" y="1744983"/>
                  </a:lnTo>
                  <a:lnTo>
                    <a:pt x="9512281" y="1744983"/>
                  </a:lnTo>
                  <a:lnTo>
                    <a:pt x="9512281" y="1565200"/>
                  </a:lnTo>
                  <a:cubicBezTo>
                    <a:pt x="9505893" y="1569763"/>
                    <a:pt x="9499023" y="1573641"/>
                    <a:pt x="9491672" y="1576835"/>
                  </a:cubicBezTo>
                  <a:cubicBezTo>
                    <a:pt x="9484320" y="1580030"/>
                    <a:pt x="9475929" y="1582843"/>
                    <a:pt x="9466499" y="1585277"/>
                  </a:cubicBezTo>
                  <a:lnTo>
                    <a:pt x="9466499" y="1555161"/>
                  </a:lnTo>
                  <a:cubicBezTo>
                    <a:pt x="9472380" y="1553235"/>
                    <a:pt x="9478059" y="1551206"/>
                    <a:pt x="9483534" y="1549077"/>
                  </a:cubicBezTo>
                  <a:cubicBezTo>
                    <a:pt x="9489010" y="1546948"/>
                    <a:pt x="9494410" y="1544565"/>
                    <a:pt x="9499733" y="1541928"/>
                  </a:cubicBezTo>
                  <a:cubicBezTo>
                    <a:pt x="9505057" y="1539292"/>
                    <a:pt x="9510431" y="1536351"/>
                    <a:pt x="9515856" y="1533106"/>
                  </a:cubicBezTo>
                  <a:cubicBezTo>
                    <a:pt x="9521281" y="1529862"/>
                    <a:pt x="9526883" y="1526161"/>
                    <a:pt x="9532663" y="1522003"/>
                  </a:cubicBezTo>
                  <a:close/>
                  <a:moveTo>
                    <a:pt x="8660208" y="1522003"/>
                  </a:moveTo>
                  <a:lnTo>
                    <a:pt x="8675114" y="1522003"/>
                  </a:lnTo>
                  <a:lnTo>
                    <a:pt x="8675114" y="1744983"/>
                  </a:lnTo>
                  <a:lnTo>
                    <a:pt x="8639826" y="1744983"/>
                  </a:lnTo>
                  <a:lnTo>
                    <a:pt x="8639826" y="1565200"/>
                  </a:lnTo>
                  <a:cubicBezTo>
                    <a:pt x="8633438" y="1569763"/>
                    <a:pt x="8626568" y="1573641"/>
                    <a:pt x="8619217" y="1576835"/>
                  </a:cubicBezTo>
                  <a:cubicBezTo>
                    <a:pt x="8611865" y="1580030"/>
                    <a:pt x="8603474" y="1582843"/>
                    <a:pt x="8594044" y="1585277"/>
                  </a:cubicBezTo>
                  <a:lnTo>
                    <a:pt x="8594044" y="1555161"/>
                  </a:lnTo>
                  <a:cubicBezTo>
                    <a:pt x="8599925" y="1553235"/>
                    <a:pt x="8605604" y="1551206"/>
                    <a:pt x="8611079" y="1549077"/>
                  </a:cubicBezTo>
                  <a:cubicBezTo>
                    <a:pt x="8616555" y="1546948"/>
                    <a:pt x="8621955" y="1544565"/>
                    <a:pt x="8627278" y="1541928"/>
                  </a:cubicBezTo>
                  <a:cubicBezTo>
                    <a:pt x="8632602" y="1539292"/>
                    <a:pt x="8637976" y="1536351"/>
                    <a:pt x="8643401" y="1533106"/>
                  </a:cubicBezTo>
                  <a:cubicBezTo>
                    <a:pt x="8648826" y="1529862"/>
                    <a:pt x="8654428" y="1526161"/>
                    <a:pt x="8660208" y="1522003"/>
                  </a:cubicBezTo>
                  <a:close/>
                  <a:moveTo>
                    <a:pt x="6671076" y="1522003"/>
                  </a:moveTo>
                  <a:lnTo>
                    <a:pt x="6685982" y="1522003"/>
                  </a:lnTo>
                  <a:lnTo>
                    <a:pt x="6685982" y="1744983"/>
                  </a:lnTo>
                  <a:lnTo>
                    <a:pt x="6650694" y="1744983"/>
                  </a:lnTo>
                  <a:lnTo>
                    <a:pt x="6650694" y="1565200"/>
                  </a:lnTo>
                  <a:cubicBezTo>
                    <a:pt x="6644306" y="1569763"/>
                    <a:pt x="6637437" y="1573641"/>
                    <a:pt x="6630085" y="1576835"/>
                  </a:cubicBezTo>
                  <a:cubicBezTo>
                    <a:pt x="6622733" y="1580030"/>
                    <a:pt x="6614343" y="1582843"/>
                    <a:pt x="6604912" y="1585277"/>
                  </a:cubicBezTo>
                  <a:lnTo>
                    <a:pt x="6604912" y="1555161"/>
                  </a:lnTo>
                  <a:cubicBezTo>
                    <a:pt x="6610793" y="1553235"/>
                    <a:pt x="6616472" y="1551206"/>
                    <a:pt x="6621947" y="1549077"/>
                  </a:cubicBezTo>
                  <a:cubicBezTo>
                    <a:pt x="6627423" y="1546948"/>
                    <a:pt x="6632823" y="1544565"/>
                    <a:pt x="6638146" y="1541928"/>
                  </a:cubicBezTo>
                  <a:cubicBezTo>
                    <a:pt x="6643470" y="1539292"/>
                    <a:pt x="6648844" y="1536351"/>
                    <a:pt x="6654269" y="1533106"/>
                  </a:cubicBezTo>
                  <a:cubicBezTo>
                    <a:pt x="6659694" y="1529862"/>
                    <a:pt x="6665296" y="1526161"/>
                    <a:pt x="6671076" y="1522003"/>
                  </a:cubicBezTo>
                  <a:close/>
                  <a:moveTo>
                    <a:pt x="5979098" y="1522003"/>
                  </a:moveTo>
                  <a:lnTo>
                    <a:pt x="5994004" y="1522003"/>
                  </a:lnTo>
                  <a:lnTo>
                    <a:pt x="5994004" y="1744983"/>
                  </a:lnTo>
                  <a:lnTo>
                    <a:pt x="5958716" y="1744983"/>
                  </a:lnTo>
                  <a:lnTo>
                    <a:pt x="5958716" y="1565200"/>
                  </a:lnTo>
                  <a:cubicBezTo>
                    <a:pt x="5952328" y="1569763"/>
                    <a:pt x="5945459" y="1573641"/>
                    <a:pt x="5938107" y="1576835"/>
                  </a:cubicBezTo>
                  <a:cubicBezTo>
                    <a:pt x="5930755" y="1580030"/>
                    <a:pt x="5922365" y="1582843"/>
                    <a:pt x="5912934" y="1585277"/>
                  </a:cubicBezTo>
                  <a:lnTo>
                    <a:pt x="5912934" y="1555161"/>
                  </a:lnTo>
                  <a:cubicBezTo>
                    <a:pt x="5918815" y="1553235"/>
                    <a:pt x="5924495" y="1551206"/>
                    <a:pt x="5929969" y="1549077"/>
                  </a:cubicBezTo>
                  <a:cubicBezTo>
                    <a:pt x="5935446" y="1546948"/>
                    <a:pt x="5940845" y="1544565"/>
                    <a:pt x="5946168" y="1541928"/>
                  </a:cubicBezTo>
                  <a:cubicBezTo>
                    <a:pt x="5951492" y="1539292"/>
                    <a:pt x="5956866" y="1536351"/>
                    <a:pt x="5962291" y="1533106"/>
                  </a:cubicBezTo>
                  <a:cubicBezTo>
                    <a:pt x="5967716" y="1529862"/>
                    <a:pt x="5973318" y="1526161"/>
                    <a:pt x="5979098" y="1522003"/>
                  </a:cubicBezTo>
                  <a:close/>
                  <a:moveTo>
                    <a:pt x="4354317" y="1522003"/>
                  </a:moveTo>
                  <a:lnTo>
                    <a:pt x="4369223" y="1522003"/>
                  </a:lnTo>
                  <a:lnTo>
                    <a:pt x="4369223" y="1744983"/>
                  </a:lnTo>
                  <a:lnTo>
                    <a:pt x="4333935" y="1744983"/>
                  </a:lnTo>
                  <a:lnTo>
                    <a:pt x="4333935" y="1565200"/>
                  </a:lnTo>
                  <a:cubicBezTo>
                    <a:pt x="4327547" y="1569763"/>
                    <a:pt x="4320678" y="1573641"/>
                    <a:pt x="4313326" y="1576835"/>
                  </a:cubicBezTo>
                  <a:cubicBezTo>
                    <a:pt x="4305974" y="1580030"/>
                    <a:pt x="4297584" y="1582843"/>
                    <a:pt x="4288153" y="1585277"/>
                  </a:cubicBezTo>
                  <a:lnTo>
                    <a:pt x="4288153" y="1555161"/>
                  </a:lnTo>
                  <a:cubicBezTo>
                    <a:pt x="4294034" y="1553235"/>
                    <a:pt x="4299713" y="1551206"/>
                    <a:pt x="4305188" y="1549077"/>
                  </a:cubicBezTo>
                  <a:cubicBezTo>
                    <a:pt x="4310665" y="1546948"/>
                    <a:pt x="4316064" y="1544565"/>
                    <a:pt x="4321387" y="1541928"/>
                  </a:cubicBezTo>
                  <a:cubicBezTo>
                    <a:pt x="4326711" y="1539292"/>
                    <a:pt x="4332085" y="1536351"/>
                    <a:pt x="4337511" y="1533106"/>
                  </a:cubicBezTo>
                  <a:cubicBezTo>
                    <a:pt x="4342935" y="1529862"/>
                    <a:pt x="4348537" y="1526161"/>
                    <a:pt x="4354317" y="1522003"/>
                  </a:cubicBezTo>
                  <a:close/>
                  <a:moveTo>
                    <a:pt x="3476610" y="1522003"/>
                  </a:moveTo>
                  <a:lnTo>
                    <a:pt x="3491517" y="1522003"/>
                  </a:lnTo>
                  <a:lnTo>
                    <a:pt x="3491517" y="1744983"/>
                  </a:lnTo>
                  <a:lnTo>
                    <a:pt x="3456229" y="1744983"/>
                  </a:lnTo>
                  <a:lnTo>
                    <a:pt x="3456229" y="1565200"/>
                  </a:lnTo>
                  <a:cubicBezTo>
                    <a:pt x="3449840" y="1569763"/>
                    <a:pt x="3442970" y="1573641"/>
                    <a:pt x="3435619" y="1576835"/>
                  </a:cubicBezTo>
                  <a:cubicBezTo>
                    <a:pt x="3428268" y="1580030"/>
                    <a:pt x="3419877" y="1582843"/>
                    <a:pt x="3410446" y="1585277"/>
                  </a:cubicBezTo>
                  <a:lnTo>
                    <a:pt x="3410446" y="1555161"/>
                  </a:lnTo>
                  <a:cubicBezTo>
                    <a:pt x="3416328" y="1553235"/>
                    <a:pt x="3422006" y="1551206"/>
                    <a:pt x="3427481" y="1549077"/>
                  </a:cubicBezTo>
                  <a:cubicBezTo>
                    <a:pt x="3432958" y="1546948"/>
                    <a:pt x="3438357" y="1544565"/>
                    <a:pt x="3443681" y="1541928"/>
                  </a:cubicBezTo>
                  <a:cubicBezTo>
                    <a:pt x="3449004" y="1539292"/>
                    <a:pt x="3454378" y="1536351"/>
                    <a:pt x="3459803" y="1533106"/>
                  </a:cubicBezTo>
                  <a:cubicBezTo>
                    <a:pt x="3465228" y="1529862"/>
                    <a:pt x="3470830" y="1526161"/>
                    <a:pt x="3476610" y="1522003"/>
                  </a:cubicBezTo>
                  <a:close/>
                  <a:moveTo>
                    <a:pt x="2604155" y="1522003"/>
                  </a:moveTo>
                  <a:lnTo>
                    <a:pt x="2619062" y="1522003"/>
                  </a:lnTo>
                  <a:lnTo>
                    <a:pt x="2619062" y="1744983"/>
                  </a:lnTo>
                  <a:lnTo>
                    <a:pt x="2583774" y="1744983"/>
                  </a:lnTo>
                  <a:lnTo>
                    <a:pt x="2583774" y="1565200"/>
                  </a:lnTo>
                  <a:cubicBezTo>
                    <a:pt x="2577386" y="1569763"/>
                    <a:pt x="2570516" y="1573641"/>
                    <a:pt x="2563164" y="1576835"/>
                  </a:cubicBezTo>
                  <a:cubicBezTo>
                    <a:pt x="2555812" y="1580030"/>
                    <a:pt x="2547422" y="1582843"/>
                    <a:pt x="2537992" y="1585277"/>
                  </a:cubicBezTo>
                  <a:lnTo>
                    <a:pt x="2537992" y="1555161"/>
                  </a:lnTo>
                  <a:cubicBezTo>
                    <a:pt x="2543872" y="1553235"/>
                    <a:pt x="2549552" y="1551206"/>
                    <a:pt x="2555027" y="1549077"/>
                  </a:cubicBezTo>
                  <a:cubicBezTo>
                    <a:pt x="2560503" y="1546948"/>
                    <a:pt x="2565902" y="1544565"/>
                    <a:pt x="2571226" y="1541928"/>
                  </a:cubicBezTo>
                  <a:cubicBezTo>
                    <a:pt x="2576549" y="1539292"/>
                    <a:pt x="2581923" y="1536351"/>
                    <a:pt x="2587348" y="1533106"/>
                  </a:cubicBezTo>
                  <a:cubicBezTo>
                    <a:pt x="2592773" y="1529862"/>
                    <a:pt x="2598375" y="1526161"/>
                    <a:pt x="2604155" y="1522003"/>
                  </a:cubicBezTo>
                  <a:close/>
                  <a:moveTo>
                    <a:pt x="619557" y="1522003"/>
                  </a:moveTo>
                  <a:lnTo>
                    <a:pt x="634463" y="1522003"/>
                  </a:lnTo>
                  <a:lnTo>
                    <a:pt x="634463" y="1744983"/>
                  </a:lnTo>
                  <a:lnTo>
                    <a:pt x="599175" y="1744983"/>
                  </a:lnTo>
                  <a:lnTo>
                    <a:pt x="599175" y="1565200"/>
                  </a:lnTo>
                  <a:cubicBezTo>
                    <a:pt x="592787" y="1569763"/>
                    <a:pt x="585918" y="1573641"/>
                    <a:pt x="578566" y="1576835"/>
                  </a:cubicBezTo>
                  <a:cubicBezTo>
                    <a:pt x="571214" y="1580030"/>
                    <a:pt x="562824" y="1582843"/>
                    <a:pt x="553393" y="1585277"/>
                  </a:cubicBezTo>
                  <a:lnTo>
                    <a:pt x="553393" y="1555161"/>
                  </a:lnTo>
                  <a:cubicBezTo>
                    <a:pt x="559274" y="1553235"/>
                    <a:pt x="564953" y="1551206"/>
                    <a:pt x="570428" y="1549077"/>
                  </a:cubicBezTo>
                  <a:cubicBezTo>
                    <a:pt x="575904" y="1546948"/>
                    <a:pt x="581304" y="1544565"/>
                    <a:pt x="586627" y="1541928"/>
                  </a:cubicBezTo>
                  <a:cubicBezTo>
                    <a:pt x="591951" y="1539292"/>
                    <a:pt x="597325" y="1536351"/>
                    <a:pt x="602750" y="1533107"/>
                  </a:cubicBezTo>
                  <a:cubicBezTo>
                    <a:pt x="608175" y="1529862"/>
                    <a:pt x="613777" y="1526161"/>
                    <a:pt x="619557" y="1522003"/>
                  </a:cubicBezTo>
                  <a:close/>
                  <a:moveTo>
                    <a:pt x="10298213" y="1208699"/>
                  </a:moveTo>
                  <a:lnTo>
                    <a:pt x="10313119" y="1208699"/>
                  </a:lnTo>
                  <a:lnTo>
                    <a:pt x="10313119" y="1431679"/>
                  </a:lnTo>
                  <a:lnTo>
                    <a:pt x="10277831" y="1431679"/>
                  </a:lnTo>
                  <a:lnTo>
                    <a:pt x="10277831" y="1251896"/>
                  </a:lnTo>
                  <a:cubicBezTo>
                    <a:pt x="10271443" y="1256459"/>
                    <a:pt x="10264573" y="1260337"/>
                    <a:pt x="10257222" y="1263531"/>
                  </a:cubicBezTo>
                  <a:cubicBezTo>
                    <a:pt x="10249870" y="1266726"/>
                    <a:pt x="10241479" y="1269539"/>
                    <a:pt x="10232049" y="1271973"/>
                  </a:cubicBezTo>
                  <a:lnTo>
                    <a:pt x="10232049" y="1241857"/>
                  </a:lnTo>
                  <a:cubicBezTo>
                    <a:pt x="10237930" y="1239931"/>
                    <a:pt x="10243609" y="1237902"/>
                    <a:pt x="10249084" y="1235773"/>
                  </a:cubicBezTo>
                  <a:cubicBezTo>
                    <a:pt x="10254560" y="1233644"/>
                    <a:pt x="10259960" y="1231261"/>
                    <a:pt x="10265283" y="1228624"/>
                  </a:cubicBezTo>
                  <a:cubicBezTo>
                    <a:pt x="10270607" y="1225988"/>
                    <a:pt x="10275981" y="1223047"/>
                    <a:pt x="10281406" y="1219802"/>
                  </a:cubicBezTo>
                  <a:cubicBezTo>
                    <a:pt x="10286831" y="1216558"/>
                    <a:pt x="10292433" y="1212856"/>
                    <a:pt x="10298213" y="1208699"/>
                  </a:cubicBezTo>
                  <a:close/>
                  <a:moveTo>
                    <a:pt x="7177509" y="1208699"/>
                  </a:moveTo>
                  <a:lnTo>
                    <a:pt x="7192415" y="1208699"/>
                  </a:lnTo>
                  <a:lnTo>
                    <a:pt x="7192415" y="1431679"/>
                  </a:lnTo>
                  <a:lnTo>
                    <a:pt x="7157127" y="1431679"/>
                  </a:lnTo>
                  <a:lnTo>
                    <a:pt x="7157127" y="1251896"/>
                  </a:lnTo>
                  <a:cubicBezTo>
                    <a:pt x="7150739" y="1256459"/>
                    <a:pt x="7143870" y="1260337"/>
                    <a:pt x="7136518" y="1263531"/>
                  </a:cubicBezTo>
                  <a:cubicBezTo>
                    <a:pt x="7129166" y="1266726"/>
                    <a:pt x="7120776" y="1269539"/>
                    <a:pt x="7111345" y="1271973"/>
                  </a:cubicBezTo>
                  <a:lnTo>
                    <a:pt x="7111345" y="1241857"/>
                  </a:lnTo>
                  <a:cubicBezTo>
                    <a:pt x="7117226" y="1239931"/>
                    <a:pt x="7122905" y="1237902"/>
                    <a:pt x="7128380" y="1235773"/>
                  </a:cubicBezTo>
                  <a:cubicBezTo>
                    <a:pt x="7133856" y="1233644"/>
                    <a:pt x="7139256" y="1231261"/>
                    <a:pt x="7144579" y="1228624"/>
                  </a:cubicBezTo>
                  <a:cubicBezTo>
                    <a:pt x="7149903" y="1225988"/>
                    <a:pt x="7155277" y="1223047"/>
                    <a:pt x="7160702" y="1219802"/>
                  </a:cubicBezTo>
                  <a:cubicBezTo>
                    <a:pt x="7166127" y="1216558"/>
                    <a:pt x="7171729" y="1212856"/>
                    <a:pt x="7177509" y="1208699"/>
                  </a:cubicBezTo>
                  <a:close/>
                  <a:moveTo>
                    <a:pt x="6285479" y="1208699"/>
                  </a:moveTo>
                  <a:lnTo>
                    <a:pt x="6300385" y="1208699"/>
                  </a:lnTo>
                  <a:lnTo>
                    <a:pt x="6300385" y="1431679"/>
                  </a:lnTo>
                  <a:lnTo>
                    <a:pt x="6265097" y="1431679"/>
                  </a:lnTo>
                  <a:lnTo>
                    <a:pt x="6265097" y="1251896"/>
                  </a:lnTo>
                  <a:cubicBezTo>
                    <a:pt x="6258709" y="1256459"/>
                    <a:pt x="6251840" y="1260337"/>
                    <a:pt x="6244488" y="1263531"/>
                  </a:cubicBezTo>
                  <a:cubicBezTo>
                    <a:pt x="6237136" y="1266726"/>
                    <a:pt x="6228746" y="1269539"/>
                    <a:pt x="6219315" y="1271973"/>
                  </a:cubicBezTo>
                  <a:lnTo>
                    <a:pt x="6219315" y="1241857"/>
                  </a:lnTo>
                  <a:cubicBezTo>
                    <a:pt x="6225196" y="1239931"/>
                    <a:pt x="6230875" y="1237902"/>
                    <a:pt x="6236350" y="1235773"/>
                  </a:cubicBezTo>
                  <a:cubicBezTo>
                    <a:pt x="6241826" y="1233644"/>
                    <a:pt x="6247226" y="1231261"/>
                    <a:pt x="6252549" y="1228624"/>
                  </a:cubicBezTo>
                  <a:cubicBezTo>
                    <a:pt x="6257873" y="1225988"/>
                    <a:pt x="6263247" y="1223047"/>
                    <a:pt x="6268672" y="1219802"/>
                  </a:cubicBezTo>
                  <a:cubicBezTo>
                    <a:pt x="6274097" y="1216558"/>
                    <a:pt x="6279699" y="1212856"/>
                    <a:pt x="6285479" y="1208699"/>
                  </a:cubicBezTo>
                  <a:close/>
                  <a:moveTo>
                    <a:pt x="4235746" y="1208699"/>
                  </a:moveTo>
                  <a:lnTo>
                    <a:pt x="4250651" y="1208699"/>
                  </a:lnTo>
                  <a:lnTo>
                    <a:pt x="4250651" y="1431679"/>
                  </a:lnTo>
                  <a:lnTo>
                    <a:pt x="4215364" y="1431679"/>
                  </a:lnTo>
                  <a:lnTo>
                    <a:pt x="4215364" y="1251896"/>
                  </a:lnTo>
                  <a:cubicBezTo>
                    <a:pt x="4208975" y="1256459"/>
                    <a:pt x="4202106" y="1260337"/>
                    <a:pt x="4194755" y="1263531"/>
                  </a:cubicBezTo>
                  <a:cubicBezTo>
                    <a:pt x="4187404" y="1266726"/>
                    <a:pt x="4179012" y="1269539"/>
                    <a:pt x="4169582" y="1271973"/>
                  </a:cubicBezTo>
                  <a:lnTo>
                    <a:pt x="4169582" y="1241857"/>
                  </a:lnTo>
                  <a:cubicBezTo>
                    <a:pt x="4175462" y="1239931"/>
                    <a:pt x="4181141" y="1237902"/>
                    <a:pt x="4186616" y="1235773"/>
                  </a:cubicBezTo>
                  <a:cubicBezTo>
                    <a:pt x="4192092" y="1233644"/>
                    <a:pt x="4197494" y="1231261"/>
                    <a:pt x="4202816" y="1228624"/>
                  </a:cubicBezTo>
                  <a:cubicBezTo>
                    <a:pt x="4208141" y="1225988"/>
                    <a:pt x="4213514" y="1223047"/>
                    <a:pt x="4218938" y="1219802"/>
                  </a:cubicBezTo>
                  <a:cubicBezTo>
                    <a:pt x="4224363" y="1216558"/>
                    <a:pt x="4229965" y="1212856"/>
                    <a:pt x="4235746" y="1208699"/>
                  </a:cubicBezTo>
                  <a:close/>
                  <a:moveTo>
                    <a:pt x="1114158" y="1208699"/>
                  </a:moveTo>
                  <a:lnTo>
                    <a:pt x="1129064" y="1208699"/>
                  </a:lnTo>
                  <a:lnTo>
                    <a:pt x="1129064" y="1431679"/>
                  </a:lnTo>
                  <a:lnTo>
                    <a:pt x="1093776" y="1431679"/>
                  </a:lnTo>
                  <a:lnTo>
                    <a:pt x="1093776" y="1251896"/>
                  </a:lnTo>
                  <a:cubicBezTo>
                    <a:pt x="1087390" y="1256459"/>
                    <a:pt x="1080519" y="1260337"/>
                    <a:pt x="1073167" y="1263531"/>
                  </a:cubicBezTo>
                  <a:cubicBezTo>
                    <a:pt x="1065815" y="1266726"/>
                    <a:pt x="1057425" y="1269539"/>
                    <a:pt x="1047995" y="1271973"/>
                  </a:cubicBezTo>
                  <a:lnTo>
                    <a:pt x="1047995" y="1241857"/>
                  </a:lnTo>
                  <a:cubicBezTo>
                    <a:pt x="1053877" y="1239931"/>
                    <a:pt x="1059555" y="1237902"/>
                    <a:pt x="1065030" y="1235773"/>
                  </a:cubicBezTo>
                  <a:cubicBezTo>
                    <a:pt x="1070505" y="1233644"/>
                    <a:pt x="1075905" y="1231261"/>
                    <a:pt x="1081228" y="1228624"/>
                  </a:cubicBezTo>
                  <a:cubicBezTo>
                    <a:pt x="1086552" y="1225988"/>
                    <a:pt x="1091926" y="1223047"/>
                    <a:pt x="1097351" y="1219802"/>
                  </a:cubicBezTo>
                  <a:cubicBezTo>
                    <a:pt x="1102776" y="1216558"/>
                    <a:pt x="1108378" y="1212856"/>
                    <a:pt x="1114158" y="1208699"/>
                  </a:cubicBezTo>
                  <a:close/>
                  <a:moveTo>
                    <a:pt x="220216" y="1208699"/>
                  </a:moveTo>
                  <a:lnTo>
                    <a:pt x="235122" y="1208699"/>
                  </a:lnTo>
                  <a:lnTo>
                    <a:pt x="235122" y="1431679"/>
                  </a:lnTo>
                  <a:lnTo>
                    <a:pt x="199834" y="1431679"/>
                  </a:lnTo>
                  <a:lnTo>
                    <a:pt x="199834" y="1251896"/>
                  </a:lnTo>
                  <a:cubicBezTo>
                    <a:pt x="193447" y="1256459"/>
                    <a:pt x="186577" y="1260337"/>
                    <a:pt x="179225" y="1263531"/>
                  </a:cubicBezTo>
                  <a:cubicBezTo>
                    <a:pt x="171873" y="1266726"/>
                    <a:pt x="163483" y="1269539"/>
                    <a:pt x="154052" y="1271973"/>
                  </a:cubicBezTo>
                  <a:lnTo>
                    <a:pt x="154052" y="1241857"/>
                  </a:lnTo>
                  <a:cubicBezTo>
                    <a:pt x="159933" y="1239931"/>
                    <a:pt x="165612" y="1237902"/>
                    <a:pt x="171087" y="1235773"/>
                  </a:cubicBezTo>
                  <a:cubicBezTo>
                    <a:pt x="176563" y="1233644"/>
                    <a:pt x="181963" y="1231261"/>
                    <a:pt x="187287" y="1228624"/>
                  </a:cubicBezTo>
                  <a:cubicBezTo>
                    <a:pt x="192610" y="1225988"/>
                    <a:pt x="197984" y="1223047"/>
                    <a:pt x="203409" y="1219802"/>
                  </a:cubicBezTo>
                  <a:cubicBezTo>
                    <a:pt x="208834" y="1216558"/>
                    <a:pt x="214436" y="1212856"/>
                    <a:pt x="220216" y="1208699"/>
                  </a:cubicBezTo>
                  <a:close/>
                  <a:moveTo>
                    <a:pt x="11447193" y="915060"/>
                  </a:moveTo>
                  <a:lnTo>
                    <a:pt x="11462099" y="915060"/>
                  </a:lnTo>
                  <a:lnTo>
                    <a:pt x="11462099" y="1138040"/>
                  </a:lnTo>
                  <a:lnTo>
                    <a:pt x="11426811" y="1138040"/>
                  </a:lnTo>
                  <a:lnTo>
                    <a:pt x="11426811" y="958257"/>
                  </a:lnTo>
                  <a:cubicBezTo>
                    <a:pt x="11420423" y="962820"/>
                    <a:pt x="11413553" y="966698"/>
                    <a:pt x="11406202" y="969892"/>
                  </a:cubicBezTo>
                  <a:cubicBezTo>
                    <a:pt x="11398850" y="973087"/>
                    <a:pt x="11390459" y="975900"/>
                    <a:pt x="11381029" y="978334"/>
                  </a:cubicBezTo>
                  <a:lnTo>
                    <a:pt x="11381029" y="948218"/>
                  </a:lnTo>
                  <a:cubicBezTo>
                    <a:pt x="11386910" y="946292"/>
                    <a:pt x="11392589" y="944263"/>
                    <a:pt x="11398064" y="942134"/>
                  </a:cubicBezTo>
                  <a:cubicBezTo>
                    <a:pt x="11403540" y="940005"/>
                    <a:pt x="11408940" y="937621"/>
                    <a:pt x="11414263" y="934985"/>
                  </a:cubicBezTo>
                  <a:cubicBezTo>
                    <a:pt x="11419587" y="932349"/>
                    <a:pt x="11424961" y="929408"/>
                    <a:pt x="11430386" y="926163"/>
                  </a:cubicBezTo>
                  <a:cubicBezTo>
                    <a:pt x="11435811" y="922919"/>
                    <a:pt x="11441413" y="919217"/>
                    <a:pt x="11447193" y="915060"/>
                  </a:cubicBezTo>
                  <a:close/>
                  <a:moveTo>
                    <a:pt x="9440313" y="915060"/>
                  </a:moveTo>
                  <a:lnTo>
                    <a:pt x="9455219" y="915060"/>
                  </a:lnTo>
                  <a:lnTo>
                    <a:pt x="9455219" y="1138040"/>
                  </a:lnTo>
                  <a:lnTo>
                    <a:pt x="9419931" y="1138040"/>
                  </a:lnTo>
                  <a:lnTo>
                    <a:pt x="9419931" y="958257"/>
                  </a:lnTo>
                  <a:cubicBezTo>
                    <a:pt x="9413543" y="962820"/>
                    <a:pt x="9406673" y="966698"/>
                    <a:pt x="9399322" y="969892"/>
                  </a:cubicBezTo>
                  <a:cubicBezTo>
                    <a:pt x="9391970" y="973087"/>
                    <a:pt x="9383579" y="975900"/>
                    <a:pt x="9374149" y="978334"/>
                  </a:cubicBezTo>
                  <a:lnTo>
                    <a:pt x="9374149" y="948218"/>
                  </a:lnTo>
                  <a:cubicBezTo>
                    <a:pt x="9380030" y="946292"/>
                    <a:pt x="9385709" y="944263"/>
                    <a:pt x="9391184" y="942134"/>
                  </a:cubicBezTo>
                  <a:cubicBezTo>
                    <a:pt x="9396660" y="940005"/>
                    <a:pt x="9402060" y="937621"/>
                    <a:pt x="9407383" y="934985"/>
                  </a:cubicBezTo>
                  <a:cubicBezTo>
                    <a:pt x="9412707" y="932349"/>
                    <a:pt x="9418081" y="929408"/>
                    <a:pt x="9423506" y="926163"/>
                  </a:cubicBezTo>
                  <a:cubicBezTo>
                    <a:pt x="9428931" y="922919"/>
                    <a:pt x="9434533" y="919217"/>
                    <a:pt x="9440313" y="915060"/>
                  </a:cubicBezTo>
                  <a:close/>
                  <a:moveTo>
                    <a:pt x="8939983" y="915060"/>
                  </a:moveTo>
                  <a:lnTo>
                    <a:pt x="8954889" y="915060"/>
                  </a:lnTo>
                  <a:lnTo>
                    <a:pt x="8954889" y="1138040"/>
                  </a:lnTo>
                  <a:lnTo>
                    <a:pt x="8919601" y="1138040"/>
                  </a:lnTo>
                  <a:lnTo>
                    <a:pt x="8919601" y="958257"/>
                  </a:lnTo>
                  <a:cubicBezTo>
                    <a:pt x="8913213" y="962820"/>
                    <a:pt x="8906343" y="966698"/>
                    <a:pt x="8898992" y="969892"/>
                  </a:cubicBezTo>
                  <a:cubicBezTo>
                    <a:pt x="8891640" y="973087"/>
                    <a:pt x="8883249" y="975900"/>
                    <a:pt x="8873819" y="978334"/>
                  </a:cubicBezTo>
                  <a:lnTo>
                    <a:pt x="8873819" y="948218"/>
                  </a:lnTo>
                  <a:cubicBezTo>
                    <a:pt x="8879700" y="946292"/>
                    <a:pt x="8885379" y="944263"/>
                    <a:pt x="8890854" y="942134"/>
                  </a:cubicBezTo>
                  <a:cubicBezTo>
                    <a:pt x="8896330" y="940005"/>
                    <a:pt x="8901730" y="937621"/>
                    <a:pt x="8907053" y="934985"/>
                  </a:cubicBezTo>
                  <a:cubicBezTo>
                    <a:pt x="8912377" y="932349"/>
                    <a:pt x="8917751" y="929408"/>
                    <a:pt x="8923176" y="926163"/>
                  </a:cubicBezTo>
                  <a:cubicBezTo>
                    <a:pt x="8928601" y="922919"/>
                    <a:pt x="8934203" y="919217"/>
                    <a:pt x="8939983" y="915060"/>
                  </a:cubicBezTo>
                  <a:close/>
                  <a:moveTo>
                    <a:pt x="7311086" y="915060"/>
                  </a:moveTo>
                  <a:lnTo>
                    <a:pt x="7325992" y="915060"/>
                  </a:lnTo>
                  <a:lnTo>
                    <a:pt x="7325992" y="1138040"/>
                  </a:lnTo>
                  <a:lnTo>
                    <a:pt x="7290704" y="1138040"/>
                  </a:lnTo>
                  <a:lnTo>
                    <a:pt x="7290704" y="958257"/>
                  </a:lnTo>
                  <a:cubicBezTo>
                    <a:pt x="7284316" y="962820"/>
                    <a:pt x="7277447" y="966698"/>
                    <a:pt x="7270095" y="969892"/>
                  </a:cubicBezTo>
                  <a:cubicBezTo>
                    <a:pt x="7262743" y="973087"/>
                    <a:pt x="7254353" y="975900"/>
                    <a:pt x="7244922" y="978334"/>
                  </a:cubicBezTo>
                  <a:lnTo>
                    <a:pt x="7244922" y="948218"/>
                  </a:lnTo>
                  <a:cubicBezTo>
                    <a:pt x="7250803" y="946292"/>
                    <a:pt x="7256482" y="944263"/>
                    <a:pt x="7261957" y="942134"/>
                  </a:cubicBezTo>
                  <a:cubicBezTo>
                    <a:pt x="7267433" y="940005"/>
                    <a:pt x="7272833" y="937621"/>
                    <a:pt x="7278156" y="934985"/>
                  </a:cubicBezTo>
                  <a:cubicBezTo>
                    <a:pt x="7283480" y="932349"/>
                    <a:pt x="7288854" y="929408"/>
                    <a:pt x="7294279" y="926163"/>
                  </a:cubicBezTo>
                  <a:cubicBezTo>
                    <a:pt x="7299704" y="922919"/>
                    <a:pt x="7305306" y="919217"/>
                    <a:pt x="7311086" y="915060"/>
                  </a:cubicBezTo>
                  <a:close/>
                  <a:moveTo>
                    <a:pt x="6441143" y="915060"/>
                  </a:moveTo>
                  <a:lnTo>
                    <a:pt x="6456049" y="915060"/>
                  </a:lnTo>
                  <a:lnTo>
                    <a:pt x="6456049" y="1138040"/>
                  </a:lnTo>
                  <a:lnTo>
                    <a:pt x="6420761" y="1138040"/>
                  </a:lnTo>
                  <a:lnTo>
                    <a:pt x="6420761" y="958257"/>
                  </a:lnTo>
                  <a:cubicBezTo>
                    <a:pt x="6414373" y="962820"/>
                    <a:pt x="6407504" y="966698"/>
                    <a:pt x="6400152" y="969892"/>
                  </a:cubicBezTo>
                  <a:cubicBezTo>
                    <a:pt x="6392800" y="973087"/>
                    <a:pt x="6384410" y="975900"/>
                    <a:pt x="6374979" y="978334"/>
                  </a:cubicBezTo>
                  <a:lnTo>
                    <a:pt x="6374979" y="948218"/>
                  </a:lnTo>
                  <a:cubicBezTo>
                    <a:pt x="6380860" y="946292"/>
                    <a:pt x="6386539" y="944263"/>
                    <a:pt x="6392014" y="942134"/>
                  </a:cubicBezTo>
                  <a:cubicBezTo>
                    <a:pt x="6397490" y="940005"/>
                    <a:pt x="6402890" y="937621"/>
                    <a:pt x="6408213" y="934985"/>
                  </a:cubicBezTo>
                  <a:cubicBezTo>
                    <a:pt x="6413537" y="932349"/>
                    <a:pt x="6418911" y="929408"/>
                    <a:pt x="6424336" y="926163"/>
                  </a:cubicBezTo>
                  <a:cubicBezTo>
                    <a:pt x="6429761" y="922919"/>
                    <a:pt x="6435363" y="919217"/>
                    <a:pt x="6441143" y="915060"/>
                  </a:cubicBezTo>
                  <a:close/>
                  <a:moveTo>
                    <a:pt x="5371778" y="915060"/>
                  </a:moveTo>
                  <a:lnTo>
                    <a:pt x="5386684" y="915060"/>
                  </a:lnTo>
                  <a:lnTo>
                    <a:pt x="5386684" y="1138040"/>
                  </a:lnTo>
                  <a:lnTo>
                    <a:pt x="5351396" y="1138040"/>
                  </a:lnTo>
                  <a:lnTo>
                    <a:pt x="5351396" y="958257"/>
                  </a:lnTo>
                  <a:cubicBezTo>
                    <a:pt x="5345008" y="962820"/>
                    <a:pt x="5338140" y="966698"/>
                    <a:pt x="5330786" y="969892"/>
                  </a:cubicBezTo>
                  <a:cubicBezTo>
                    <a:pt x="5323434" y="973087"/>
                    <a:pt x="5315044" y="975900"/>
                    <a:pt x="5305614" y="978334"/>
                  </a:cubicBezTo>
                  <a:lnTo>
                    <a:pt x="5305614" y="948218"/>
                  </a:lnTo>
                  <a:cubicBezTo>
                    <a:pt x="5311494" y="946292"/>
                    <a:pt x="5317173" y="944263"/>
                    <a:pt x="5322648" y="942134"/>
                  </a:cubicBezTo>
                  <a:cubicBezTo>
                    <a:pt x="5328124" y="940005"/>
                    <a:pt x="5333524" y="937621"/>
                    <a:pt x="5338848" y="934985"/>
                  </a:cubicBezTo>
                  <a:cubicBezTo>
                    <a:pt x="5344171" y="932349"/>
                    <a:pt x="5349546" y="929408"/>
                    <a:pt x="5354970" y="926163"/>
                  </a:cubicBezTo>
                  <a:cubicBezTo>
                    <a:pt x="5360395" y="922919"/>
                    <a:pt x="5365998" y="919217"/>
                    <a:pt x="5371778" y="915060"/>
                  </a:cubicBezTo>
                  <a:close/>
                  <a:moveTo>
                    <a:pt x="3379468" y="915060"/>
                  </a:moveTo>
                  <a:lnTo>
                    <a:pt x="3394374" y="915060"/>
                  </a:lnTo>
                  <a:lnTo>
                    <a:pt x="3394374" y="1138040"/>
                  </a:lnTo>
                  <a:lnTo>
                    <a:pt x="3359086" y="1138040"/>
                  </a:lnTo>
                  <a:lnTo>
                    <a:pt x="3359086" y="958257"/>
                  </a:lnTo>
                  <a:cubicBezTo>
                    <a:pt x="3352698" y="962820"/>
                    <a:pt x="3345829" y="966698"/>
                    <a:pt x="3338478" y="969892"/>
                  </a:cubicBezTo>
                  <a:cubicBezTo>
                    <a:pt x="3331125" y="973087"/>
                    <a:pt x="3322734" y="975900"/>
                    <a:pt x="3313304" y="978334"/>
                  </a:cubicBezTo>
                  <a:lnTo>
                    <a:pt x="3313304" y="948218"/>
                  </a:lnTo>
                  <a:cubicBezTo>
                    <a:pt x="3319185" y="946292"/>
                    <a:pt x="3324864" y="944263"/>
                    <a:pt x="3330339" y="942134"/>
                  </a:cubicBezTo>
                  <a:cubicBezTo>
                    <a:pt x="3335815" y="940005"/>
                    <a:pt x="3341215" y="937621"/>
                    <a:pt x="3346539" y="934985"/>
                  </a:cubicBezTo>
                  <a:cubicBezTo>
                    <a:pt x="3351862" y="932349"/>
                    <a:pt x="3357236" y="929408"/>
                    <a:pt x="3362660" y="926163"/>
                  </a:cubicBezTo>
                  <a:cubicBezTo>
                    <a:pt x="3368085" y="922919"/>
                    <a:pt x="3373687" y="919217"/>
                    <a:pt x="3379468" y="915060"/>
                  </a:cubicBezTo>
                  <a:close/>
                  <a:moveTo>
                    <a:pt x="2867263" y="915060"/>
                  </a:moveTo>
                  <a:lnTo>
                    <a:pt x="2882170" y="915060"/>
                  </a:lnTo>
                  <a:lnTo>
                    <a:pt x="2882170" y="1138040"/>
                  </a:lnTo>
                  <a:lnTo>
                    <a:pt x="2846882" y="1138040"/>
                  </a:lnTo>
                  <a:lnTo>
                    <a:pt x="2846882" y="958257"/>
                  </a:lnTo>
                  <a:cubicBezTo>
                    <a:pt x="2840494" y="962820"/>
                    <a:pt x="2833625" y="966698"/>
                    <a:pt x="2826273" y="969892"/>
                  </a:cubicBezTo>
                  <a:cubicBezTo>
                    <a:pt x="2818921" y="973087"/>
                    <a:pt x="2810531" y="975900"/>
                    <a:pt x="2801100" y="978334"/>
                  </a:cubicBezTo>
                  <a:lnTo>
                    <a:pt x="2801100" y="948218"/>
                  </a:lnTo>
                  <a:cubicBezTo>
                    <a:pt x="2806981" y="946292"/>
                    <a:pt x="2812660" y="944263"/>
                    <a:pt x="2818135" y="942134"/>
                  </a:cubicBezTo>
                  <a:cubicBezTo>
                    <a:pt x="2823611" y="940005"/>
                    <a:pt x="2829011" y="937621"/>
                    <a:pt x="2834335" y="934985"/>
                  </a:cubicBezTo>
                  <a:cubicBezTo>
                    <a:pt x="2839658" y="932349"/>
                    <a:pt x="2845032" y="929408"/>
                    <a:pt x="2850456" y="926163"/>
                  </a:cubicBezTo>
                  <a:cubicBezTo>
                    <a:pt x="2855882" y="922919"/>
                    <a:pt x="2861484" y="919217"/>
                    <a:pt x="2867263" y="915060"/>
                  </a:cubicBezTo>
                  <a:close/>
                  <a:moveTo>
                    <a:pt x="1259910" y="915060"/>
                  </a:moveTo>
                  <a:lnTo>
                    <a:pt x="1274816" y="915060"/>
                  </a:lnTo>
                  <a:lnTo>
                    <a:pt x="1274816" y="1138040"/>
                  </a:lnTo>
                  <a:lnTo>
                    <a:pt x="1239527" y="1138040"/>
                  </a:lnTo>
                  <a:lnTo>
                    <a:pt x="1239527" y="958257"/>
                  </a:lnTo>
                  <a:cubicBezTo>
                    <a:pt x="1233140" y="962820"/>
                    <a:pt x="1226270" y="966698"/>
                    <a:pt x="1218918" y="969892"/>
                  </a:cubicBezTo>
                  <a:cubicBezTo>
                    <a:pt x="1211567" y="973087"/>
                    <a:pt x="1203176" y="975900"/>
                    <a:pt x="1193745" y="978334"/>
                  </a:cubicBezTo>
                  <a:lnTo>
                    <a:pt x="1193745" y="948218"/>
                  </a:lnTo>
                  <a:cubicBezTo>
                    <a:pt x="1199627" y="946292"/>
                    <a:pt x="1205305" y="944263"/>
                    <a:pt x="1210781" y="942134"/>
                  </a:cubicBezTo>
                  <a:cubicBezTo>
                    <a:pt x="1216257" y="940005"/>
                    <a:pt x="1221657" y="937621"/>
                    <a:pt x="1226979" y="934985"/>
                  </a:cubicBezTo>
                  <a:cubicBezTo>
                    <a:pt x="1232304" y="932349"/>
                    <a:pt x="1237678" y="929408"/>
                    <a:pt x="1243103" y="926163"/>
                  </a:cubicBezTo>
                  <a:cubicBezTo>
                    <a:pt x="1248527" y="922919"/>
                    <a:pt x="1254130" y="919217"/>
                    <a:pt x="1259910" y="915060"/>
                  </a:cubicBezTo>
                  <a:close/>
                  <a:moveTo>
                    <a:pt x="386669" y="915060"/>
                  </a:moveTo>
                  <a:lnTo>
                    <a:pt x="401575" y="915060"/>
                  </a:lnTo>
                  <a:lnTo>
                    <a:pt x="401575" y="1138040"/>
                  </a:lnTo>
                  <a:lnTo>
                    <a:pt x="366287" y="1138040"/>
                  </a:lnTo>
                  <a:lnTo>
                    <a:pt x="366287" y="958257"/>
                  </a:lnTo>
                  <a:cubicBezTo>
                    <a:pt x="359899" y="962820"/>
                    <a:pt x="353030" y="966698"/>
                    <a:pt x="345678" y="969892"/>
                  </a:cubicBezTo>
                  <a:cubicBezTo>
                    <a:pt x="338325" y="973087"/>
                    <a:pt x="329936" y="975900"/>
                    <a:pt x="320505" y="978334"/>
                  </a:cubicBezTo>
                  <a:lnTo>
                    <a:pt x="320505" y="948218"/>
                  </a:lnTo>
                  <a:cubicBezTo>
                    <a:pt x="326386" y="946292"/>
                    <a:pt x="332065" y="944263"/>
                    <a:pt x="337540" y="942134"/>
                  </a:cubicBezTo>
                  <a:cubicBezTo>
                    <a:pt x="343016" y="940005"/>
                    <a:pt x="348415" y="937621"/>
                    <a:pt x="353739" y="934985"/>
                  </a:cubicBezTo>
                  <a:cubicBezTo>
                    <a:pt x="359062" y="932349"/>
                    <a:pt x="364437" y="929408"/>
                    <a:pt x="369861" y="926163"/>
                  </a:cubicBezTo>
                  <a:cubicBezTo>
                    <a:pt x="375287" y="922919"/>
                    <a:pt x="380889" y="919217"/>
                    <a:pt x="386669" y="915060"/>
                  </a:cubicBezTo>
                  <a:close/>
                  <a:moveTo>
                    <a:pt x="10303805" y="632755"/>
                  </a:moveTo>
                  <a:lnTo>
                    <a:pt x="10318711" y="632755"/>
                  </a:lnTo>
                  <a:lnTo>
                    <a:pt x="10318711" y="855735"/>
                  </a:lnTo>
                  <a:lnTo>
                    <a:pt x="10283423" y="855735"/>
                  </a:lnTo>
                  <a:lnTo>
                    <a:pt x="10283423" y="675952"/>
                  </a:lnTo>
                  <a:cubicBezTo>
                    <a:pt x="10277035" y="680515"/>
                    <a:pt x="10270165" y="684393"/>
                    <a:pt x="10262814" y="687587"/>
                  </a:cubicBezTo>
                  <a:cubicBezTo>
                    <a:pt x="10255462" y="690782"/>
                    <a:pt x="10247071" y="693595"/>
                    <a:pt x="10237641" y="696029"/>
                  </a:cubicBezTo>
                  <a:lnTo>
                    <a:pt x="10237641" y="665913"/>
                  </a:lnTo>
                  <a:cubicBezTo>
                    <a:pt x="10243522" y="663987"/>
                    <a:pt x="10249201" y="661958"/>
                    <a:pt x="10254676" y="659829"/>
                  </a:cubicBezTo>
                  <a:cubicBezTo>
                    <a:pt x="10260152" y="657700"/>
                    <a:pt x="10265552" y="655317"/>
                    <a:pt x="10270875" y="652680"/>
                  </a:cubicBezTo>
                  <a:cubicBezTo>
                    <a:pt x="10276199" y="650044"/>
                    <a:pt x="10281573" y="647103"/>
                    <a:pt x="10286998" y="643858"/>
                  </a:cubicBezTo>
                  <a:cubicBezTo>
                    <a:pt x="10292423" y="640614"/>
                    <a:pt x="10298025" y="636912"/>
                    <a:pt x="10303805" y="632755"/>
                  </a:cubicBezTo>
                  <a:close/>
                  <a:moveTo>
                    <a:pt x="7183101" y="632755"/>
                  </a:moveTo>
                  <a:lnTo>
                    <a:pt x="7198007" y="632755"/>
                  </a:lnTo>
                  <a:lnTo>
                    <a:pt x="7198007" y="855735"/>
                  </a:lnTo>
                  <a:lnTo>
                    <a:pt x="7162719" y="855735"/>
                  </a:lnTo>
                  <a:lnTo>
                    <a:pt x="7162719" y="675952"/>
                  </a:lnTo>
                  <a:cubicBezTo>
                    <a:pt x="7156331" y="680515"/>
                    <a:pt x="7149462" y="684393"/>
                    <a:pt x="7142110" y="687587"/>
                  </a:cubicBezTo>
                  <a:cubicBezTo>
                    <a:pt x="7134758" y="690782"/>
                    <a:pt x="7126368" y="693595"/>
                    <a:pt x="7116937" y="696029"/>
                  </a:cubicBezTo>
                  <a:lnTo>
                    <a:pt x="7116937" y="665913"/>
                  </a:lnTo>
                  <a:cubicBezTo>
                    <a:pt x="7122818" y="663987"/>
                    <a:pt x="7128497" y="661958"/>
                    <a:pt x="7133972" y="659829"/>
                  </a:cubicBezTo>
                  <a:cubicBezTo>
                    <a:pt x="7139448" y="657700"/>
                    <a:pt x="7144848" y="655317"/>
                    <a:pt x="7150171" y="652680"/>
                  </a:cubicBezTo>
                  <a:cubicBezTo>
                    <a:pt x="7155495" y="650044"/>
                    <a:pt x="7160869" y="647103"/>
                    <a:pt x="7166294" y="643858"/>
                  </a:cubicBezTo>
                  <a:cubicBezTo>
                    <a:pt x="7171719" y="640614"/>
                    <a:pt x="7177321" y="636912"/>
                    <a:pt x="7183101" y="632755"/>
                  </a:cubicBezTo>
                  <a:close/>
                  <a:moveTo>
                    <a:pt x="6291071" y="632755"/>
                  </a:moveTo>
                  <a:lnTo>
                    <a:pt x="6305977" y="632755"/>
                  </a:lnTo>
                  <a:lnTo>
                    <a:pt x="6305977" y="855735"/>
                  </a:lnTo>
                  <a:lnTo>
                    <a:pt x="6270689" y="855735"/>
                  </a:lnTo>
                  <a:lnTo>
                    <a:pt x="6270689" y="675952"/>
                  </a:lnTo>
                  <a:cubicBezTo>
                    <a:pt x="6264301" y="680515"/>
                    <a:pt x="6257432" y="684393"/>
                    <a:pt x="6250080" y="687587"/>
                  </a:cubicBezTo>
                  <a:cubicBezTo>
                    <a:pt x="6242728" y="690782"/>
                    <a:pt x="6234338" y="693595"/>
                    <a:pt x="6224907" y="696029"/>
                  </a:cubicBezTo>
                  <a:lnTo>
                    <a:pt x="6224907" y="665913"/>
                  </a:lnTo>
                  <a:cubicBezTo>
                    <a:pt x="6230788" y="663987"/>
                    <a:pt x="6236467" y="661958"/>
                    <a:pt x="6241942" y="659829"/>
                  </a:cubicBezTo>
                  <a:cubicBezTo>
                    <a:pt x="6247418" y="657700"/>
                    <a:pt x="6252818" y="655317"/>
                    <a:pt x="6258141" y="652680"/>
                  </a:cubicBezTo>
                  <a:cubicBezTo>
                    <a:pt x="6263465" y="650044"/>
                    <a:pt x="6268839" y="647103"/>
                    <a:pt x="6274264" y="643858"/>
                  </a:cubicBezTo>
                  <a:cubicBezTo>
                    <a:pt x="6279689" y="640614"/>
                    <a:pt x="6285291" y="636912"/>
                    <a:pt x="6291071" y="632755"/>
                  </a:cubicBezTo>
                  <a:close/>
                  <a:moveTo>
                    <a:pt x="4241338" y="632755"/>
                  </a:moveTo>
                  <a:lnTo>
                    <a:pt x="4256243" y="632755"/>
                  </a:lnTo>
                  <a:lnTo>
                    <a:pt x="4256243" y="855735"/>
                  </a:lnTo>
                  <a:lnTo>
                    <a:pt x="4220955" y="855735"/>
                  </a:lnTo>
                  <a:lnTo>
                    <a:pt x="4220955" y="675952"/>
                  </a:lnTo>
                  <a:cubicBezTo>
                    <a:pt x="4214568" y="680515"/>
                    <a:pt x="4207698" y="684393"/>
                    <a:pt x="4200346" y="687587"/>
                  </a:cubicBezTo>
                  <a:cubicBezTo>
                    <a:pt x="4192994" y="690782"/>
                    <a:pt x="4184605" y="693595"/>
                    <a:pt x="4175174" y="696029"/>
                  </a:cubicBezTo>
                  <a:lnTo>
                    <a:pt x="4175174" y="665913"/>
                  </a:lnTo>
                  <a:cubicBezTo>
                    <a:pt x="4181055" y="663987"/>
                    <a:pt x="4186734" y="661958"/>
                    <a:pt x="4192209" y="659829"/>
                  </a:cubicBezTo>
                  <a:cubicBezTo>
                    <a:pt x="4197684" y="657700"/>
                    <a:pt x="4203084" y="655317"/>
                    <a:pt x="4208407" y="652680"/>
                  </a:cubicBezTo>
                  <a:cubicBezTo>
                    <a:pt x="4213732" y="650044"/>
                    <a:pt x="4219106" y="647103"/>
                    <a:pt x="4224530" y="643858"/>
                  </a:cubicBezTo>
                  <a:cubicBezTo>
                    <a:pt x="4229955" y="640614"/>
                    <a:pt x="4235558" y="636912"/>
                    <a:pt x="4241338" y="632755"/>
                  </a:cubicBezTo>
                  <a:close/>
                  <a:moveTo>
                    <a:pt x="1119751" y="632755"/>
                  </a:moveTo>
                  <a:lnTo>
                    <a:pt x="1134657" y="632755"/>
                  </a:lnTo>
                  <a:lnTo>
                    <a:pt x="1134657" y="855735"/>
                  </a:lnTo>
                  <a:lnTo>
                    <a:pt x="1099369" y="855735"/>
                  </a:lnTo>
                  <a:lnTo>
                    <a:pt x="1099369" y="675952"/>
                  </a:lnTo>
                  <a:cubicBezTo>
                    <a:pt x="1092982" y="680515"/>
                    <a:pt x="1086112" y="684393"/>
                    <a:pt x="1078760" y="687587"/>
                  </a:cubicBezTo>
                  <a:cubicBezTo>
                    <a:pt x="1071408" y="690782"/>
                    <a:pt x="1063018" y="693595"/>
                    <a:pt x="1053588" y="696029"/>
                  </a:cubicBezTo>
                  <a:lnTo>
                    <a:pt x="1053588" y="665913"/>
                  </a:lnTo>
                  <a:cubicBezTo>
                    <a:pt x="1059469" y="663987"/>
                    <a:pt x="1065147" y="661958"/>
                    <a:pt x="1070623" y="659829"/>
                  </a:cubicBezTo>
                  <a:cubicBezTo>
                    <a:pt x="1076098" y="657700"/>
                    <a:pt x="1081498" y="655317"/>
                    <a:pt x="1086821" y="652680"/>
                  </a:cubicBezTo>
                  <a:cubicBezTo>
                    <a:pt x="1092145" y="650044"/>
                    <a:pt x="1097519" y="647103"/>
                    <a:pt x="1102944" y="643858"/>
                  </a:cubicBezTo>
                  <a:cubicBezTo>
                    <a:pt x="1108369" y="640614"/>
                    <a:pt x="1113971" y="636912"/>
                    <a:pt x="1119751" y="632755"/>
                  </a:cubicBezTo>
                  <a:close/>
                  <a:moveTo>
                    <a:pt x="225809" y="632755"/>
                  </a:moveTo>
                  <a:lnTo>
                    <a:pt x="240715" y="632755"/>
                  </a:lnTo>
                  <a:lnTo>
                    <a:pt x="240715" y="855735"/>
                  </a:lnTo>
                  <a:lnTo>
                    <a:pt x="205427" y="855735"/>
                  </a:lnTo>
                  <a:lnTo>
                    <a:pt x="205427" y="675952"/>
                  </a:lnTo>
                  <a:cubicBezTo>
                    <a:pt x="199040" y="680515"/>
                    <a:pt x="192169" y="684393"/>
                    <a:pt x="184818" y="687587"/>
                  </a:cubicBezTo>
                  <a:cubicBezTo>
                    <a:pt x="177466" y="690782"/>
                    <a:pt x="169076" y="693595"/>
                    <a:pt x="159645" y="696029"/>
                  </a:cubicBezTo>
                  <a:lnTo>
                    <a:pt x="159645" y="665913"/>
                  </a:lnTo>
                  <a:cubicBezTo>
                    <a:pt x="165526" y="663987"/>
                    <a:pt x="171205" y="661958"/>
                    <a:pt x="176680" y="659829"/>
                  </a:cubicBezTo>
                  <a:cubicBezTo>
                    <a:pt x="182156" y="657700"/>
                    <a:pt x="187556" y="655317"/>
                    <a:pt x="192880" y="652680"/>
                  </a:cubicBezTo>
                  <a:cubicBezTo>
                    <a:pt x="198203" y="650044"/>
                    <a:pt x="203577" y="647103"/>
                    <a:pt x="209002" y="643858"/>
                  </a:cubicBezTo>
                  <a:cubicBezTo>
                    <a:pt x="214427" y="640614"/>
                    <a:pt x="220029" y="636912"/>
                    <a:pt x="225809" y="632755"/>
                  </a:cubicBezTo>
                  <a:close/>
                  <a:moveTo>
                    <a:pt x="11454451" y="328247"/>
                  </a:moveTo>
                  <a:lnTo>
                    <a:pt x="11469357" y="328247"/>
                  </a:lnTo>
                  <a:lnTo>
                    <a:pt x="11469357" y="551227"/>
                  </a:lnTo>
                  <a:lnTo>
                    <a:pt x="11434069" y="551227"/>
                  </a:lnTo>
                  <a:lnTo>
                    <a:pt x="11434069" y="371444"/>
                  </a:lnTo>
                  <a:cubicBezTo>
                    <a:pt x="11427681" y="376007"/>
                    <a:pt x="11420811" y="379885"/>
                    <a:pt x="11413460" y="383079"/>
                  </a:cubicBezTo>
                  <a:cubicBezTo>
                    <a:pt x="11406108" y="386274"/>
                    <a:pt x="11397717" y="389087"/>
                    <a:pt x="11388287" y="391521"/>
                  </a:cubicBezTo>
                  <a:lnTo>
                    <a:pt x="11388287" y="361405"/>
                  </a:lnTo>
                  <a:cubicBezTo>
                    <a:pt x="11394168" y="359479"/>
                    <a:pt x="11399847" y="357450"/>
                    <a:pt x="11405322" y="355321"/>
                  </a:cubicBezTo>
                  <a:cubicBezTo>
                    <a:pt x="11410798" y="353192"/>
                    <a:pt x="11416198" y="350808"/>
                    <a:pt x="11421521" y="348172"/>
                  </a:cubicBezTo>
                  <a:cubicBezTo>
                    <a:pt x="11426845" y="345536"/>
                    <a:pt x="11432219" y="342595"/>
                    <a:pt x="11437644" y="339350"/>
                  </a:cubicBezTo>
                  <a:cubicBezTo>
                    <a:pt x="11443069" y="336106"/>
                    <a:pt x="11448671" y="332404"/>
                    <a:pt x="11454451" y="328247"/>
                  </a:cubicBezTo>
                  <a:close/>
                  <a:moveTo>
                    <a:pt x="9447571" y="328247"/>
                  </a:moveTo>
                  <a:lnTo>
                    <a:pt x="9462477" y="328247"/>
                  </a:lnTo>
                  <a:lnTo>
                    <a:pt x="9462477" y="551227"/>
                  </a:lnTo>
                  <a:lnTo>
                    <a:pt x="9427189" y="551227"/>
                  </a:lnTo>
                  <a:lnTo>
                    <a:pt x="9427189" y="371444"/>
                  </a:lnTo>
                  <a:cubicBezTo>
                    <a:pt x="9420801" y="376007"/>
                    <a:pt x="9413931" y="379885"/>
                    <a:pt x="9406580" y="383079"/>
                  </a:cubicBezTo>
                  <a:cubicBezTo>
                    <a:pt x="9399228" y="386274"/>
                    <a:pt x="9390837" y="389087"/>
                    <a:pt x="9381407" y="391521"/>
                  </a:cubicBezTo>
                  <a:lnTo>
                    <a:pt x="9381407" y="361405"/>
                  </a:lnTo>
                  <a:cubicBezTo>
                    <a:pt x="9387288" y="359479"/>
                    <a:pt x="9392967" y="357450"/>
                    <a:pt x="9398442" y="355321"/>
                  </a:cubicBezTo>
                  <a:cubicBezTo>
                    <a:pt x="9403918" y="353192"/>
                    <a:pt x="9409318" y="350808"/>
                    <a:pt x="9414641" y="348172"/>
                  </a:cubicBezTo>
                  <a:cubicBezTo>
                    <a:pt x="9419965" y="345536"/>
                    <a:pt x="9425339" y="342595"/>
                    <a:pt x="9430764" y="339350"/>
                  </a:cubicBezTo>
                  <a:cubicBezTo>
                    <a:pt x="9436189" y="336106"/>
                    <a:pt x="9441791" y="332404"/>
                    <a:pt x="9447571" y="328247"/>
                  </a:cubicBezTo>
                  <a:close/>
                  <a:moveTo>
                    <a:pt x="8947241" y="328247"/>
                  </a:moveTo>
                  <a:lnTo>
                    <a:pt x="8962147" y="328247"/>
                  </a:lnTo>
                  <a:lnTo>
                    <a:pt x="8962147" y="551227"/>
                  </a:lnTo>
                  <a:lnTo>
                    <a:pt x="8926859" y="551227"/>
                  </a:lnTo>
                  <a:lnTo>
                    <a:pt x="8926859" y="371444"/>
                  </a:lnTo>
                  <a:cubicBezTo>
                    <a:pt x="8920471" y="376007"/>
                    <a:pt x="8913601" y="379885"/>
                    <a:pt x="8906250" y="383079"/>
                  </a:cubicBezTo>
                  <a:cubicBezTo>
                    <a:pt x="8898898" y="386274"/>
                    <a:pt x="8890507" y="389087"/>
                    <a:pt x="8881077" y="391521"/>
                  </a:cubicBezTo>
                  <a:lnTo>
                    <a:pt x="8881077" y="361405"/>
                  </a:lnTo>
                  <a:cubicBezTo>
                    <a:pt x="8886958" y="359479"/>
                    <a:pt x="8892637" y="357450"/>
                    <a:pt x="8898112" y="355321"/>
                  </a:cubicBezTo>
                  <a:cubicBezTo>
                    <a:pt x="8903588" y="353192"/>
                    <a:pt x="8908988" y="350808"/>
                    <a:pt x="8914311" y="348172"/>
                  </a:cubicBezTo>
                  <a:cubicBezTo>
                    <a:pt x="8919635" y="345536"/>
                    <a:pt x="8925009" y="342595"/>
                    <a:pt x="8930434" y="339350"/>
                  </a:cubicBezTo>
                  <a:cubicBezTo>
                    <a:pt x="8935859" y="336106"/>
                    <a:pt x="8941461" y="332404"/>
                    <a:pt x="8947241" y="328247"/>
                  </a:cubicBezTo>
                  <a:close/>
                  <a:moveTo>
                    <a:pt x="7318344" y="328247"/>
                  </a:moveTo>
                  <a:lnTo>
                    <a:pt x="7333250" y="328247"/>
                  </a:lnTo>
                  <a:lnTo>
                    <a:pt x="7333250" y="551227"/>
                  </a:lnTo>
                  <a:lnTo>
                    <a:pt x="7297962" y="551227"/>
                  </a:lnTo>
                  <a:lnTo>
                    <a:pt x="7297962" y="371444"/>
                  </a:lnTo>
                  <a:cubicBezTo>
                    <a:pt x="7291574" y="376007"/>
                    <a:pt x="7284705" y="379885"/>
                    <a:pt x="7277353" y="383079"/>
                  </a:cubicBezTo>
                  <a:cubicBezTo>
                    <a:pt x="7270001" y="386274"/>
                    <a:pt x="7261611" y="389087"/>
                    <a:pt x="7252180" y="391521"/>
                  </a:cubicBezTo>
                  <a:lnTo>
                    <a:pt x="7252180" y="361405"/>
                  </a:lnTo>
                  <a:cubicBezTo>
                    <a:pt x="7258061" y="359479"/>
                    <a:pt x="7263740" y="357450"/>
                    <a:pt x="7269215" y="355321"/>
                  </a:cubicBezTo>
                  <a:cubicBezTo>
                    <a:pt x="7274691" y="353192"/>
                    <a:pt x="7280091" y="350808"/>
                    <a:pt x="7285414" y="348172"/>
                  </a:cubicBezTo>
                  <a:cubicBezTo>
                    <a:pt x="7290738" y="345536"/>
                    <a:pt x="7296112" y="342595"/>
                    <a:pt x="7301537" y="339350"/>
                  </a:cubicBezTo>
                  <a:cubicBezTo>
                    <a:pt x="7306962" y="336106"/>
                    <a:pt x="7312564" y="332404"/>
                    <a:pt x="7318344" y="328247"/>
                  </a:cubicBezTo>
                  <a:close/>
                  <a:moveTo>
                    <a:pt x="6448401" y="328247"/>
                  </a:moveTo>
                  <a:lnTo>
                    <a:pt x="6463307" y="328247"/>
                  </a:lnTo>
                  <a:lnTo>
                    <a:pt x="6463307" y="551227"/>
                  </a:lnTo>
                  <a:lnTo>
                    <a:pt x="6428019" y="551227"/>
                  </a:lnTo>
                  <a:lnTo>
                    <a:pt x="6428019" y="371444"/>
                  </a:lnTo>
                  <a:cubicBezTo>
                    <a:pt x="6421631" y="376007"/>
                    <a:pt x="6414762" y="379885"/>
                    <a:pt x="6407410" y="383079"/>
                  </a:cubicBezTo>
                  <a:cubicBezTo>
                    <a:pt x="6400058" y="386274"/>
                    <a:pt x="6391668" y="389087"/>
                    <a:pt x="6382237" y="391521"/>
                  </a:cubicBezTo>
                  <a:lnTo>
                    <a:pt x="6382237" y="361405"/>
                  </a:lnTo>
                  <a:cubicBezTo>
                    <a:pt x="6388118" y="359479"/>
                    <a:pt x="6393797" y="357450"/>
                    <a:pt x="6399272" y="355321"/>
                  </a:cubicBezTo>
                  <a:cubicBezTo>
                    <a:pt x="6404748" y="353192"/>
                    <a:pt x="6410148" y="350808"/>
                    <a:pt x="6415471" y="348172"/>
                  </a:cubicBezTo>
                  <a:cubicBezTo>
                    <a:pt x="6420795" y="345536"/>
                    <a:pt x="6426169" y="342595"/>
                    <a:pt x="6431594" y="339350"/>
                  </a:cubicBezTo>
                  <a:cubicBezTo>
                    <a:pt x="6437019" y="336106"/>
                    <a:pt x="6442621" y="332404"/>
                    <a:pt x="6448401" y="328247"/>
                  </a:cubicBezTo>
                  <a:close/>
                  <a:moveTo>
                    <a:pt x="5379035" y="328247"/>
                  </a:moveTo>
                  <a:lnTo>
                    <a:pt x="5393942" y="328247"/>
                  </a:lnTo>
                  <a:lnTo>
                    <a:pt x="5393942" y="551227"/>
                  </a:lnTo>
                  <a:lnTo>
                    <a:pt x="5358654" y="551227"/>
                  </a:lnTo>
                  <a:lnTo>
                    <a:pt x="5358654" y="371444"/>
                  </a:lnTo>
                  <a:cubicBezTo>
                    <a:pt x="5352265" y="376007"/>
                    <a:pt x="5345396" y="379885"/>
                    <a:pt x="5338044" y="383079"/>
                  </a:cubicBezTo>
                  <a:cubicBezTo>
                    <a:pt x="5330692" y="386274"/>
                    <a:pt x="5322303" y="389087"/>
                    <a:pt x="5312871" y="391521"/>
                  </a:cubicBezTo>
                  <a:lnTo>
                    <a:pt x="5312871" y="361405"/>
                  </a:lnTo>
                  <a:cubicBezTo>
                    <a:pt x="5318752" y="359479"/>
                    <a:pt x="5324432" y="357450"/>
                    <a:pt x="5329907" y="355321"/>
                  </a:cubicBezTo>
                  <a:cubicBezTo>
                    <a:pt x="5335382" y="353192"/>
                    <a:pt x="5340783" y="350808"/>
                    <a:pt x="5346106" y="348172"/>
                  </a:cubicBezTo>
                  <a:cubicBezTo>
                    <a:pt x="5351430" y="345536"/>
                    <a:pt x="5356804" y="342595"/>
                    <a:pt x="5362228" y="339350"/>
                  </a:cubicBezTo>
                  <a:cubicBezTo>
                    <a:pt x="5367654" y="336106"/>
                    <a:pt x="5373256" y="332404"/>
                    <a:pt x="5379035" y="328247"/>
                  </a:cubicBezTo>
                  <a:close/>
                  <a:moveTo>
                    <a:pt x="3386726" y="328247"/>
                  </a:moveTo>
                  <a:lnTo>
                    <a:pt x="3401632" y="328247"/>
                  </a:lnTo>
                  <a:lnTo>
                    <a:pt x="3401632" y="551227"/>
                  </a:lnTo>
                  <a:lnTo>
                    <a:pt x="3366344" y="551227"/>
                  </a:lnTo>
                  <a:lnTo>
                    <a:pt x="3366344" y="371444"/>
                  </a:lnTo>
                  <a:cubicBezTo>
                    <a:pt x="3359956" y="376007"/>
                    <a:pt x="3353087" y="379885"/>
                    <a:pt x="3345736" y="383079"/>
                  </a:cubicBezTo>
                  <a:cubicBezTo>
                    <a:pt x="3338383" y="386274"/>
                    <a:pt x="3329993" y="389087"/>
                    <a:pt x="3320562" y="391521"/>
                  </a:cubicBezTo>
                  <a:lnTo>
                    <a:pt x="3320562" y="361405"/>
                  </a:lnTo>
                  <a:cubicBezTo>
                    <a:pt x="3326442" y="359479"/>
                    <a:pt x="3332122" y="357450"/>
                    <a:pt x="3337597" y="355321"/>
                  </a:cubicBezTo>
                  <a:cubicBezTo>
                    <a:pt x="3343073" y="353192"/>
                    <a:pt x="3348473" y="350808"/>
                    <a:pt x="3353797" y="348172"/>
                  </a:cubicBezTo>
                  <a:cubicBezTo>
                    <a:pt x="3359120" y="345536"/>
                    <a:pt x="3364494" y="342595"/>
                    <a:pt x="3369919" y="339350"/>
                  </a:cubicBezTo>
                  <a:cubicBezTo>
                    <a:pt x="3375344" y="336106"/>
                    <a:pt x="3380947" y="332404"/>
                    <a:pt x="3386726" y="328247"/>
                  </a:cubicBezTo>
                  <a:close/>
                  <a:moveTo>
                    <a:pt x="2874522" y="328247"/>
                  </a:moveTo>
                  <a:lnTo>
                    <a:pt x="2889428" y="328247"/>
                  </a:lnTo>
                  <a:lnTo>
                    <a:pt x="2889428" y="551227"/>
                  </a:lnTo>
                  <a:lnTo>
                    <a:pt x="2854142" y="551227"/>
                  </a:lnTo>
                  <a:lnTo>
                    <a:pt x="2854142" y="371444"/>
                  </a:lnTo>
                  <a:cubicBezTo>
                    <a:pt x="2847752" y="376007"/>
                    <a:pt x="2840883" y="379885"/>
                    <a:pt x="2833531" y="383079"/>
                  </a:cubicBezTo>
                  <a:cubicBezTo>
                    <a:pt x="2826179" y="386274"/>
                    <a:pt x="2817789" y="389087"/>
                    <a:pt x="2808358" y="391521"/>
                  </a:cubicBezTo>
                  <a:lnTo>
                    <a:pt x="2808358" y="361405"/>
                  </a:lnTo>
                  <a:cubicBezTo>
                    <a:pt x="2814239" y="359479"/>
                    <a:pt x="2819918" y="357450"/>
                    <a:pt x="2825393" y="355321"/>
                  </a:cubicBezTo>
                  <a:cubicBezTo>
                    <a:pt x="2830869" y="353192"/>
                    <a:pt x="2836269" y="350808"/>
                    <a:pt x="2841593" y="348172"/>
                  </a:cubicBezTo>
                  <a:cubicBezTo>
                    <a:pt x="2846916" y="345536"/>
                    <a:pt x="2852290" y="342595"/>
                    <a:pt x="2857715" y="339350"/>
                  </a:cubicBezTo>
                  <a:cubicBezTo>
                    <a:pt x="2863141" y="336106"/>
                    <a:pt x="2868742" y="332404"/>
                    <a:pt x="2874522" y="328247"/>
                  </a:cubicBezTo>
                  <a:close/>
                  <a:moveTo>
                    <a:pt x="1267168" y="328247"/>
                  </a:moveTo>
                  <a:lnTo>
                    <a:pt x="1282074" y="328247"/>
                  </a:lnTo>
                  <a:lnTo>
                    <a:pt x="1282074" y="551227"/>
                  </a:lnTo>
                  <a:lnTo>
                    <a:pt x="1246786" y="551227"/>
                  </a:lnTo>
                  <a:lnTo>
                    <a:pt x="1246786" y="371444"/>
                  </a:lnTo>
                  <a:cubicBezTo>
                    <a:pt x="1240398" y="376007"/>
                    <a:pt x="1233529" y="379885"/>
                    <a:pt x="1226177" y="383079"/>
                  </a:cubicBezTo>
                  <a:cubicBezTo>
                    <a:pt x="1218825" y="386274"/>
                    <a:pt x="1210435" y="389087"/>
                    <a:pt x="1201004" y="391521"/>
                  </a:cubicBezTo>
                  <a:lnTo>
                    <a:pt x="1201004" y="361405"/>
                  </a:lnTo>
                  <a:cubicBezTo>
                    <a:pt x="1206885" y="359479"/>
                    <a:pt x="1212564" y="357450"/>
                    <a:pt x="1218039" y="355321"/>
                  </a:cubicBezTo>
                  <a:cubicBezTo>
                    <a:pt x="1223515" y="353192"/>
                    <a:pt x="1228915" y="350808"/>
                    <a:pt x="1234238" y="348172"/>
                  </a:cubicBezTo>
                  <a:cubicBezTo>
                    <a:pt x="1239562" y="345536"/>
                    <a:pt x="1244936" y="342595"/>
                    <a:pt x="1250361" y="339350"/>
                  </a:cubicBezTo>
                  <a:cubicBezTo>
                    <a:pt x="1255786" y="336106"/>
                    <a:pt x="1261388" y="332404"/>
                    <a:pt x="1267168" y="328247"/>
                  </a:cubicBezTo>
                  <a:close/>
                  <a:moveTo>
                    <a:pt x="393927" y="328247"/>
                  </a:moveTo>
                  <a:lnTo>
                    <a:pt x="408833" y="328247"/>
                  </a:lnTo>
                  <a:lnTo>
                    <a:pt x="408833" y="551227"/>
                  </a:lnTo>
                  <a:lnTo>
                    <a:pt x="373545" y="551227"/>
                  </a:lnTo>
                  <a:lnTo>
                    <a:pt x="373545" y="371444"/>
                  </a:lnTo>
                  <a:cubicBezTo>
                    <a:pt x="367157" y="376007"/>
                    <a:pt x="360288" y="379885"/>
                    <a:pt x="352936" y="383079"/>
                  </a:cubicBezTo>
                  <a:cubicBezTo>
                    <a:pt x="345584" y="386274"/>
                    <a:pt x="337194" y="389087"/>
                    <a:pt x="327763" y="391521"/>
                  </a:cubicBezTo>
                  <a:lnTo>
                    <a:pt x="327763" y="361405"/>
                  </a:lnTo>
                  <a:cubicBezTo>
                    <a:pt x="333644" y="359479"/>
                    <a:pt x="339323" y="357450"/>
                    <a:pt x="344798" y="355321"/>
                  </a:cubicBezTo>
                  <a:cubicBezTo>
                    <a:pt x="350274" y="353192"/>
                    <a:pt x="355674" y="350808"/>
                    <a:pt x="360997" y="348172"/>
                  </a:cubicBezTo>
                  <a:cubicBezTo>
                    <a:pt x="366321" y="345536"/>
                    <a:pt x="371695" y="342595"/>
                    <a:pt x="377120" y="339350"/>
                  </a:cubicBezTo>
                  <a:cubicBezTo>
                    <a:pt x="382545" y="336106"/>
                    <a:pt x="388147" y="332404"/>
                    <a:pt x="393927" y="328247"/>
                  </a:cubicBezTo>
                  <a:close/>
                  <a:moveTo>
                    <a:pt x="10287594" y="0"/>
                  </a:moveTo>
                  <a:lnTo>
                    <a:pt x="10302500" y="0"/>
                  </a:lnTo>
                  <a:lnTo>
                    <a:pt x="10302500" y="222980"/>
                  </a:lnTo>
                  <a:lnTo>
                    <a:pt x="10267212" y="222980"/>
                  </a:lnTo>
                  <a:lnTo>
                    <a:pt x="10267212" y="43196"/>
                  </a:lnTo>
                  <a:cubicBezTo>
                    <a:pt x="10260824" y="47760"/>
                    <a:pt x="10253954" y="51638"/>
                    <a:pt x="10246603" y="54832"/>
                  </a:cubicBezTo>
                  <a:cubicBezTo>
                    <a:pt x="10239251" y="58027"/>
                    <a:pt x="10230860" y="60840"/>
                    <a:pt x="10221430" y="63274"/>
                  </a:cubicBezTo>
                  <a:lnTo>
                    <a:pt x="10221430" y="33158"/>
                  </a:lnTo>
                  <a:cubicBezTo>
                    <a:pt x="10227311" y="31232"/>
                    <a:pt x="10232990" y="29203"/>
                    <a:pt x="10238465" y="27074"/>
                  </a:cubicBezTo>
                  <a:cubicBezTo>
                    <a:pt x="10243941" y="24945"/>
                    <a:pt x="10249341" y="22561"/>
                    <a:pt x="10254664" y="19925"/>
                  </a:cubicBezTo>
                  <a:cubicBezTo>
                    <a:pt x="10259988" y="17289"/>
                    <a:pt x="10265362" y="14348"/>
                    <a:pt x="10270787" y="11103"/>
                  </a:cubicBezTo>
                  <a:cubicBezTo>
                    <a:pt x="10276212" y="7859"/>
                    <a:pt x="10281814" y="4157"/>
                    <a:pt x="10287594" y="0"/>
                  </a:cubicBezTo>
                  <a:close/>
                  <a:moveTo>
                    <a:pt x="9399570" y="0"/>
                  </a:moveTo>
                  <a:lnTo>
                    <a:pt x="9414476" y="0"/>
                  </a:lnTo>
                  <a:lnTo>
                    <a:pt x="9414476" y="222980"/>
                  </a:lnTo>
                  <a:lnTo>
                    <a:pt x="9379188" y="222980"/>
                  </a:lnTo>
                  <a:lnTo>
                    <a:pt x="9379188" y="43196"/>
                  </a:lnTo>
                  <a:cubicBezTo>
                    <a:pt x="9372800" y="47760"/>
                    <a:pt x="9365930" y="51638"/>
                    <a:pt x="9358579" y="54832"/>
                  </a:cubicBezTo>
                  <a:cubicBezTo>
                    <a:pt x="9351227" y="58027"/>
                    <a:pt x="9342836" y="60840"/>
                    <a:pt x="9333406" y="63274"/>
                  </a:cubicBezTo>
                  <a:lnTo>
                    <a:pt x="9333406" y="33158"/>
                  </a:lnTo>
                  <a:cubicBezTo>
                    <a:pt x="9339287" y="31232"/>
                    <a:pt x="9344966" y="29203"/>
                    <a:pt x="9350441" y="27074"/>
                  </a:cubicBezTo>
                  <a:cubicBezTo>
                    <a:pt x="9355917" y="24945"/>
                    <a:pt x="9361317" y="22561"/>
                    <a:pt x="9366640" y="19925"/>
                  </a:cubicBezTo>
                  <a:cubicBezTo>
                    <a:pt x="9371964" y="17289"/>
                    <a:pt x="9377338" y="14348"/>
                    <a:pt x="9382763" y="11103"/>
                  </a:cubicBezTo>
                  <a:cubicBezTo>
                    <a:pt x="9388188" y="7859"/>
                    <a:pt x="9393790" y="4157"/>
                    <a:pt x="9399570" y="0"/>
                  </a:cubicBezTo>
                  <a:close/>
                  <a:moveTo>
                    <a:pt x="7529739" y="0"/>
                  </a:moveTo>
                  <a:lnTo>
                    <a:pt x="7544645" y="0"/>
                  </a:lnTo>
                  <a:lnTo>
                    <a:pt x="7544645" y="222980"/>
                  </a:lnTo>
                  <a:lnTo>
                    <a:pt x="7509357" y="222980"/>
                  </a:lnTo>
                  <a:lnTo>
                    <a:pt x="7509357" y="43196"/>
                  </a:lnTo>
                  <a:cubicBezTo>
                    <a:pt x="7502969" y="47760"/>
                    <a:pt x="7496100" y="51638"/>
                    <a:pt x="7488748" y="54832"/>
                  </a:cubicBezTo>
                  <a:cubicBezTo>
                    <a:pt x="7481396" y="58027"/>
                    <a:pt x="7473006" y="60840"/>
                    <a:pt x="7463575" y="63274"/>
                  </a:cubicBezTo>
                  <a:lnTo>
                    <a:pt x="7463575" y="33158"/>
                  </a:lnTo>
                  <a:cubicBezTo>
                    <a:pt x="7469456" y="31232"/>
                    <a:pt x="7475135" y="29203"/>
                    <a:pt x="7480610" y="27074"/>
                  </a:cubicBezTo>
                  <a:cubicBezTo>
                    <a:pt x="7486086" y="24945"/>
                    <a:pt x="7491486" y="22561"/>
                    <a:pt x="7496809" y="19925"/>
                  </a:cubicBezTo>
                  <a:cubicBezTo>
                    <a:pt x="7502133" y="17289"/>
                    <a:pt x="7507507" y="14348"/>
                    <a:pt x="7512932" y="11103"/>
                  </a:cubicBezTo>
                  <a:cubicBezTo>
                    <a:pt x="7518357" y="7859"/>
                    <a:pt x="7523959" y="4157"/>
                    <a:pt x="7529739" y="0"/>
                  </a:cubicBezTo>
                  <a:close/>
                  <a:moveTo>
                    <a:pt x="6158139" y="0"/>
                  </a:moveTo>
                  <a:lnTo>
                    <a:pt x="6173045" y="0"/>
                  </a:lnTo>
                  <a:lnTo>
                    <a:pt x="6173045" y="222980"/>
                  </a:lnTo>
                  <a:lnTo>
                    <a:pt x="6137757" y="222980"/>
                  </a:lnTo>
                  <a:lnTo>
                    <a:pt x="6137757" y="43196"/>
                  </a:lnTo>
                  <a:cubicBezTo>
                    <a:pt x="6131369" y="47760"/>
                    <a:pt x="6124500" y="51638"/>
                    <a:pt x="6117148" y="54832"/>
                  </a:cubicBezTo>
                  <a:cubicBezTo>
                    <a:pt x="6109796" y="58027"/>
                    <a:pt x="6101406" y="60840"/>
                    <a:pt x="6091975" y="63274"/>
                  </a:cubicBezTo>
                  <a:lnTo>
                    <a:pt x="6091975" y="33158"/>
                  </a:lnTo>
                  <a:cubicBezTo>
                    <a:pt x="6097856" y="31232"/>
                    <a:pt x="6103535" y="29203"/>
                    <a:pt x="6109010" y="27074"/>
                  </a:cubicBezTo>
                  <a:cubicBezTo>
                    <a:pt x="6114486" y="24945"/>
                    <a:pt x="6119886" y="22561"/>
                    <a:pt x="6125209" y="19925"/>
                  </a:cubicBezTo>
                  <a:cubicBezTo>
                    <a:pt x="6130533" y="17289"/>
                    <a:pt x="6135907" y="14348"/>
                    <a:pt x="6141332" y="11103"/>
                  </a:cubicBezTo>
                  <a:cubicBezTo>
                    <a:pt x="6146757" y="7859"/>
                    <a:pt x="6152359" y="4157"/>
                    <a:pt x="6158139" y="0"/>
                  </a:cubicBezTo>
                  <a:close/>
                  <a:moveTo>
                    <a:pt x="4237236" y="0"/>
                  </a:moveTo>
                  <a:lnTo>
                    <a:pt x="4252143" y="0"/>
                  </a:lnTo>
                  <a:lnTo>
                    <a:pt x="4252143" y="222980"/>
                  </a:lnTo>
                  <a:lnTo>
                    <a:pt x="4216854" y="222980"/>
                  </a:lnTo>
                  <a:lnTo>
                    <a:pt x="4216854" y="43196"/>
                  </a:lnTo>
                  <a:cubicBezTo>
                    <a:pt x="4210467" y="47760"/>
                    <a:pt x="4203597" y="51638"/>
                    <a:pt x="4196246" y="54832"/>
                  </a:cubicBezTo>
                  <a:cubicBezTo>
                    <a:pt x="4188893" y="58027"/>
                    <a:pt x="4180504" y="60840"/>
                    <a:pt x="4171072" y="63274"/>
                  </a:cubicBezTo>
                  <a:lnTo>
                    <a:pt x="4171072" y="33158"/>
                  </a:lnTo>
                  <a:cubicBezTo>
                    <a:pt x="4176954" y="31232"/>
                    <a:pt x="4182634" y="29203"/>
                    <a:pt x="4188108" y="27074"/>
                  </a:cubicBezTo>
                  <a:cubicBezTo>
                    <a:pt x="4193583" y="24945"/>
                    <a:pt x="4198984" y="22561"/>
                    <a:pt x="4204308" y="19925"/>
                  </a:cubicBezTo>
                  <a:cubicBezTo>
                    <a:pt x="4209631" y="17289"/>
                    <a:pt x="4215005" y="14348"/>
                    <a:pt x="4220430" y="11103"/>
                  </a:cubicBezTo>
                  <a:cubicBezTo>
                    <a:pt x="4225855" y="7859"/>
                    <a:pt x="4231457" y="4157"/>
                    <a:pt x="4237236" y="0"/>
                  </a:cubicBezTo>
                  <a:close/>
                  <a:moveTo>
                    <a:pt x="3347533" y="0"/>
                  </a:moveTo>
                  <a:lnTo>
                    <a:pt x="3362439" y="0"/>
                  </a:lnTo>
                  <a:lnTo>
                    <a:pt x="3362439" y="222980"/>
                  </a:lnTo>
                  <a:lnTo>
                    <a:pt x="3327152" y="222980"/>
                  </a:lnTo>
                  <a:lnTo>
                    <a:pt x="3327152" y="43196"/>
                  </a:lnTo>
                  <a:cubicBezTo>
                    <a:pt x="3320764" y="47760"/>
                    <a:pt x="3313894" y="51638"/>
                    <a:pt x="3306542" y="54832"/>
                  </a:cubicBezTo>
                  <a:cubicBezTo>
                    <a:pt x="3299191" y="58027"/>
                    <a:pt x="3290800" y="60840"/>
                    <a:pt x="3281369" y="63274"/>
                  </a:cubicBezTo>
                  <a:lnTo>
                    <a:pt x="3281369" y="33158"/>
                  </a:lnTo>
                  <a:cubicBezTo>
                    <a:pt x="3287251" y="31232"/>
                    <a:pt x="3292929" y="29203"/>
                    <a:pt x="3298404" y="27074"/>
                  </a:cubicBezTo>
                  <a:cubicBezTo>
                    <a:pt x="3303881" y="24945"/>
                    <a:pt x="3309280" y="22561"/>
                    <a:pt x="3314604" y="19925"/>
                  </a:cubicBezTo>
                  <a:cubicBezTo>
                    <a:pt x="3319927" y="17289"/>
                    <a:pt x="3325301" y="14348"/>
                    <a:pt x="3330727" y="11103"/>
                  </a:cubicBezTo>
                  <a:cubicBezTo>
                    <a:pt x="3336151" y="7859"/>
                    <a:pt x="3341753" y="4157"/>
                    <a:pt x="3347533" y="0"/>
                  </a:cubicBezTo>
                  <a:close/>
                  <a:moveTo>
                    <a:pt x="1463993" y="0"/>
                  </a:moveTo>
                  <a:lnTo>
                    <a:pt x="1478899" y="0"/>
                  </a:lnTo>
                  <a:lnTo>
                    <a:pt x="1478899" y="222980"/>
                  </a:lnTo>
                  <a:lnTo>
                    <a:pt x="1443611" y="222980"/>
                  </a:lnTo>
                  <a:lnTo>
                    <a:pt x="1443611" y="43196"/>
                  </a:lnTo>
                  <a:cubicBezTo>
                    <a:pt x="1437223" y="47760"/>
                    <a:pt x="1430353" y="51638"/>
                    <a:pt x="1423002" y="54832"/>
                  </a:cubicBezTo>
                  <a:cubicBezTo>
                    <a:pt x="1415650" y="58027"/>
                    <a:pt x="1407259" y="60840"/>
                    <a:pt x="1397829" y="63274"/>
                  </a:cubicBezTo>
                  <a:lnTo>
                    <a:pt x="1397829" y="33158"/>
                  </a:lnTo>
                  <a:cubicBezTo>
                    <a:pt x="1403710" y="31232"/>
                    <a:pt x="1409389" y="29203"/>
                    <a:pt x="1414864" y="27074"/>
                  </a:cubicBezTo>
                  <a:cubicBezTo>
                    <a:pt x="1420340" y="24945"/>
                    <a:pt x="1425740" y="22561"/>
                    <a:pt x="1431063" y="19925"/>
                  </a:cubicBezTo>
                  <a:cubicBezTo>
                    <a:pt x="1436387" y="17289"/>
                    <a:pt x="1441761" y="14348"/>
                    <a:pt x="1447186" y="11103"/>
                  </a:cubicBezTo>
                  <a:cubicBezTo>
                    <a:pt x="1452611" y="7859"/>
                    <a:pt x="1458213" y="4157"/>
                    <a:pt x="1463993" y="0"/>
                  </a:cubicBezTo>
                  <a:close/>
                  <a:moveTo>
                    <a:pt x="92047" y="0"/>
                  </a:moveTo>
                  <a:lnTo>
                    <a:pt x="106953" y="0"/>
                  </a:lnTo>
                  <a:lnTo>
                    <a:pt x="106953" y="222980"/>
                  </a:lnTo>
                  <a:lnTo>
                    <a:pt x="71665" y="222980"/>
                  </a:lnTo>
                  <a:lnTo>
                    <a:pt x="71665" y="43196"/>
                  </a:lnTo>
                  <a:cubicBezTo>
                    <a:pt x="65277" y="47760"/>
                    <a:pt x="58408" y="51638"/>
                    <a:pt x="51056" y="54832"/>
                  </a:cubicBezTo>
                  <a:cubicBezTo>
                    <a:pt x="43704" y="58027"/>
                    <a:pt x="35314" y="60840"/>
                    <a:pt x="25883" y="63274"/>
                  </a:cubicBezTo>
                  <a:lnTo>
                    <a:pt x="25883" y="33158"/>
                  </a:lnTo>
                  <a:cubicBezTo>
                    <a:pt x="31764" y="31232"/>
                    <a:pt x="37443" y="29203"/>
                    <a:pt x="42918" y="27074"/>
                  </a:cubicBezTo>
                  <a:cubicBezTo>
                    <a:pt x="48394" y="24945"/>
                    <a:pt x="53794" y="22561"/>
                    <a:pt x="59117" y="19925"/>
                  </a:cubicBezTo>
                  <a:cubicBezTo>
                    <a:pt x="64441" y="17289"/>
                    <a:pt x="69815" y="14348"/>
                    <a:pt x="75240" y="11103"/>
                  </a:cubicBezTo>
                  <a:cubicBezTo>
                    <a:pt x="80665" y="7859"/>
                    <a:pt x="86267" y="4157"/>
                    <a:pt x="92047" y="0"/>
                  </a:cubicBezTo>
                  <a:close/>
                </a:path>
              </a:pathLst>
            </a:custGeom>
            <a:solidFill>
              <a:srgbClr val="D8D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84" name="Freeform 1783"/>
            <p:cNvSpPr/>
            <p:nvPr/>
          </p:nvSpPr>
          <p:spPr>
            <a:xfrm>
              <a:off x="257712" y="73882"/>
              <a:ext cx="11537287" cy="6072782"/>
            </a:xfrm>
            <a:custGeom>
              <a:avLst/>
              <a:gdLst>
                <a:gd name="connsiteX0" fmla="*/ 8823577 w 11537287"/>
                <a:gd name="connsiteY0" fmla="*/ 5849802 h 6072782"/>
                <a:gd name="connsiteX1" fmla="*/ 8868426 w 11537287"/>
                <a:gd name="connsiteY1" fmla="*/ 5888824 h 6072782"/>
                <a:gd name="connsiteX2" fmla="*/ 8868426 w 11537287"/>
                <a:gd name="connsiteY2" fmla="*/ 5925184 h 6072782"/>
                <a:gd name="connsiteX3" fmla="*/ 8888064 w 11537287"/>
                <a:gd name="connsiteY3" fmla="*/ 5952044 h 6072782"/>
                <a:gd name="connsiteX4" fmla="*/ 8888064 w 11537287"/>
                <a:gd name="connsiteY4" fmla="*/ 5970541 h 6072782"/>
                <a:gd name="connsiteX5" fmla="*/ 8868426 w 11537287"/>
                <a:gd name="connsiteY5" fmla="*/ 5996893 h 6072782"/>
                <a:gd name="connsiteX6" fmla="*/ 8868426 w 11537287"/>
                <a:gd name="connsiteY6" fmla="*/ 6034268 h 6072782"/>
                <a:gd name="connsiteX7" fmla="*/ 8823577 w 11537287"/>
                <a:gd name="connsiteY7" fmla="*/ 6072782 h 6072782"/>
                <a:gd name="connsiteX8" fmla="*/ 8823577 w 11537287"/>
                <a:gd name="connsiteY8" fmla="*/ 6053272 h 6072782"/>
                <a:gd name="connsiteX9" fmla="*/ 8839224 w 11537287"/>
                <a:gd name="connsiteY9" fmla="*/ 6047190 h 6072782"/>
                <a:gd name="connsiteX10" fmla="*/ 8843848 w 11537287"/>
                <a:gd name="connsiteY10" fmla="*/ 6027933 h 6072782"/>
                <a:gd name="connsiteX11" fmla="*/ 8843848 w 11537287"/>
                <a:gd name="connsiteY11" fmla="*/ 5992586 h 6072782"/>
                <a:gd name="connsiteX12" fmla="*/ 8868807 w 11537287"/>
                <a:gd name="connsiteY12" fmla="*/ 5961292 h 6072782"/>
                <a:gd name="connsiteX13" fmla="*/ 8868807 w 11537287"/>
                <a:gd name="connsiteY13" fmla="*/ 5960912 h 6072782"/>
                <a:gd name="connsiteX14" fmla="*/ 8843848 w 11537287"/>
                <a:gd name="connsiteY14" fmla="*/ 5929366 h 6072782"/>
                <a:gd name="connsiteX15" fmla="*/ 8843848 w 11537287"/>
                <a:gd name="connsiteY15" fmla="*/ 5893638 h 6072782"/>
                <a:gd name="connsiteX16" fmla="*/ 8823577 w 11537287"/>
                <a:gd name="connsiteY16" fmla="*/ 5869440 h 6072782"/>
                <a:gd name="connsiteX17" fmla="*/ 8806093 w 11537287"/>
                <a:gd name="connsiteY17" fmla="*/ 5849802 h 6072782"/>
                <a:gd name="connsiteX18" fmla="*/ 8806093 w 11537287"/>
                <a:gd name="connsiteY18" fmla="*/ 5869440 h 6072782"/>
                <a:gd name="connsiteX19" fmla="*/ 8785949 w 11537287"/>
                <a:gd name="connsiteY19" fmla="*/ 5893638 h 6072782"/>
                <a:gd name="connsiteX20" fmla="*/ 8785949 w 11537287"/>
                <a:gd name="connsiteY20" fmla="*/ 5929366 h 6072782"/>
                <a:gd name="connsiteX21" fmla="*/ 8760737 w 11537287"/>
                <a:gd name="connsiteY21" fmla="*/ 5960912 h 6072782"/>
                <a:gd name="connsiteX22" fmla="*/ 8760737 w 11537287"/>
                <a:gd name="connsiteY22" fmla="*/ 5961292 h 6072782"/>
                <a:gd name="connsiteX23" fmla="*/ 8785949 w 11537287"/>
                <a:gd name="connsiteY23" fmla="*/ 5992586 h 6072782"/>
                <a:gd name="connsiteX24" fmla="*/ 8785949 w 11537287"/>
                <a:gd name="connsiteY24" fmla="*/ 6027933 h 6072782"/>
                <a:gd name="connsiteX25" fmla="*/ 8790447 w 11537287"/>
                <a:gd name="connsiteY25" fmla="*/ 6047253 h 6072782"/>
                <a:gd name="connsiteX26" fmla="*/ 8806093 w 11537287"/>
                <a:gd name="connsiteY26" fmla="*/ 6053272 h 6072782"/>
                <a:gd name="connsiteX27" fmla="*/ 8806093 w 11537287"/>
                <a:gd name="connsiteY27" fmla="*/ 6072782 h 6072782"/>
                <a:gd name="connsiteX28" fmla="*/ 8760990 w 11537287"/>
                <a:gd name="connsiteY28" fmla="*/ 6034268 h 6072782"/>
                <a:gd name="connsiteX29" fmla="*/ 8760990 w 11537287"/>
                <a:gd name="connsiteY29" fmla="*/ 5996893 h 6072782"/>
                <a:gd name="connsiteX30" fmla="*/ 8741226 w 11537287"/>
                <a:gd name="connsiteY30" fmla="*/ 5970541 h 6072782"/>
                <a:gd name="connsiteX31" fmla="*/ 8741226 w 11537287"/>
                <a:gd name="connsiteY31" fmla="*/ 5952044 h 6072782"/>
                <a:gd name="connsiteX32" fmla="*/ 8760990 w 11537287"/>
                <a:gd name="connsiteY32" fmla="*/ 5925184 h 6072782"/>
                <a:gd name="connsiteX33" fmla="*/ 8760990 w 11537287"/>
                <a:gd name="connsiteY33" fmla="*/ 5888824 h 6072782"/>
                <a:gd name="connsiteX34" fmla="*/ 8806093 w 11537287"/>
                <a:gd name="connsiteY34" fmla="*/ 5849802 h 6072782"/>
                <a:gd name="connsiteX35" fmla="*/ 8823577 w 11537287"/>
                <a:gd name="connsiteY35" fmla="*/ 5494671 h 6072782"/>
                <a:gd name="connsiteX36" fmla="*/ 8868426 w 11537287"/>
                <a:gd name="connsiteY36" fmla="*/ 5533692 h 6072782"/>
                <a:gd name="connsiteX37" fmla="*/ 8868426 w 11537287"/>
                <a:gd name="connsiteY37" fmla="*/ 5570053 h 6072782"/>
                <a:gd name="connsiteX38" fmla="*/ 8888064 w 11537287"/>
                <a:gd name="connsiteY38" fmla="*/ 5596912 h 6072782"/>
                <a:gd name="connsiteX39" fmla="*/ 8888064 w 11537287"/>
                <a:gd name="connsiteY39" fmla="*/ 5615409 h 6072782"/>
                <a:gd name="connsiteX40" fmla="*/ 8868426 w 11537287"/>
                <a:gd name="connsiteY40" fmla="*/ 5641762 h 6072782"/>
                <a:gd name="connsiteX41" fmla="*/ 8868426 w 11537287"/>
                <a:gd name="connsiteY41" fmla="*/ 5679136 h 6072782"/>
                <a:gd name="connsiteX42" fmla="*/ 8823577 w 11537287"/>
                <a:gd name="connsiteY42" fmla="*/ 5717651 h 6072782"/>
                <a:gd name="connsiteX43" fmla="*/ 8823577 w 11537287"/>
                <a:gd name="connsiteY43" fmla="*/ 5698140 h 6072782"/>
                <a:gd name="connsiteX44" fmla="*/ 8839224 w 11537287"/>
                <a:gd name="connsiteY44" fmla="*/ 5692059 h 6072782"/>
                <a:gd name="connsiteX45" fmla="*/ 8843848 w 11537287"/>
                <a:gd name="connsiteY45" fmla="*/ 5672802 h 6072782"/>
                <a:gd name="connsiteX46" fmla="*/ 8843848 w 11537287"/>
                <a:gd name="connsiteY46" fmla="*/ 5637454 h 6072782"/>
                <a:gd name="connsiteX47" fmla="*/ 8868807 w 11537287"/>
                <a:gd name="connsiteY47" fmla="*/ 5606161 h 6072782"/>
                <a:gd name="connsiteX48" fmla="*/ 8868807 w 11537287"/>
                <a:gd name="connsiteY48" fmla="*/ 5605781 h 6072782"/>
                <a:gd name="connsiteX49" fmla="*/ 8843848 w 11537287"/>
                <a:gd name="connsiteY49" fmla="*/ 5574234 h 6072782"/>
                <a:gd name="connsiteX50" fmla="*/ 8843848 w 11537287"/>
                <a:gd name="connsiteY50" fmla="*/ 5538507 h 6072782"/>
                <a:gd name="connsiteX51" fmla="*/ 8823577 w 11537287"/>
                <a:gd name="connsiteY51" fmla="*/ 5514308 h 6072782"/>
                <a:gd name="connsiteX52" fmla="*/ 8806093 w 11537287"/>
                <a:gd name="connsiteY52" fmla="*/ 5494671 h 6072782"/>
                <a:gd name="connsiteX53" fmla="*/ 8806093 w 11537287"/>
                <a:gd name="connsiteY53" fmla="*/ 5514308 h 6072782"/>
                <a:gd name="connsiteX54" fmla="*/ 8785949 w 11537287"/>
                <a:gd name="connsiteY54" fmla="*/ 5538507 h 6072782"/>
                <a:gd name="connsiteX55" fmla="*/ 8785949 w 11537287"/>
                <a:gd name="connsiteY55" fmla="*/ 5574234 h 6072782"/>
                <a:gd name="connsiteX56" fmla="*/ 8760737 w 11537287"/>
                <a:gd name="connsiteY56" fmla="*/ 5605781 h 6072782"/>
                <a:gd name="connsiteX57" fmla="*/ 8760737 w 11537287"/>
                <a:gd name="connsiteY57" fmla="*/ 5606161 h 6072782"/>
                <a:gd name="connsiteX58" fmla="*/ 8785949 w 11537287"/>
                <a:gd name="connsiteY58" fmla="*/ 5637454 h 6072782"/>
                <a:gd name="connsiteX59" fmla="*/ 8785949 w 11537287"/>
                <a:gd name="connsiteY59" fmla="*/ 5672802 h 6072782"/>
                <a:gd name="connsiteX60" fmla="*/ 8790447 w 11537287"/>
                <a:gd name="connsiteY60" fmla="*/ 5692122 h 6072782"/>
                <a:gd name="connsiteX61" fmla="*/ 8806093 w 11537287"/>
                <a:gd name="connsiteY61" fmla="*/ 5698140 h 6072782"/>
                <a:gd name="connsiteX62" fmla="*/ 8806093 w 11537287"/>
                <a:gd name="connsiteY62" fmla="*/ 5717651 h 6072782"/>
                <a:gd name="connsiteX63" fmla="*/ 8760990 w 11537287"/>
                <a:gd name="connsiteY63" fmla="*/ 5679136 h 6072782"/>
                <a:gd name="connsiteX64" fmla="*/ 8760990 w 11537287"/>
                <a:gd name="connsiteY64" fmla="*/ 5641762 h 6072782"/>
                <a:gd name="connsiteX65" fmla="*/ 8741226 w 11537287"/>
                <a:gd name="connsiteY65" fmla="*/ 5615409 h 6072782"/>
                <a:gd name="connsiteX66" fmla="*/ 8741226 w 11537287"/>
                <a:gd name="connsiteY66" fmla="*/ 5596912 h 6072782"/>
                <a:gd name="connsiteX67" fmla="*/ 8760990 w 11537287"/>
                <a:gd name="connsiteY67" fmla="*/ 5570053 h 6072782"/>
                <a:gd name="connsiteX68" fmla="*/ 8760990 w 11537287"/>
                <a:gd name="connsiteY68" fmla="*/ 5533692 h 6072782"/>
                <a:gd name="connsiteX69" fmla="*/ 8806093 w 11537287"/>
                <a:gd name="connsiteY69" fmla="*/ 5494671 h 6072782"/>
                <a:gd name="connsiteX70" fmla="*/ 8823577 w 11537287"/>
                <a:gd name="connsiteY70" fmla="*/ 5157041 h 6072782"/>
                <a:gd name="connsiteX71" fmla="*/ 8868426 w 11537287"/>
                <a:gd name="connsiteY71" fmla="*/ 5196062 h 6072782"/>
                <a:gd name="connsiteX72" fmla="*/ 8868426 w 11537287"/>
                <a:gd name="connsiteY72" fmla="*/ 5232423 h 6072782"/>
                <a:gd name="connsiteX73" fmla="*/ 8888064 w 11537287"/>
                <a:gd name="connsiteY73" fmla="*/ 5259282 h 6072782"/>
                <a:gd name="connsiteX74" fmla="*/ 8888064 w 11537287"/>
                <a:gd name="connsiteY74" fmla="*/ 5277779 h 6072782"/>
                <a:gd name="connsiteX75" fmla="*/ 8868426 w 11537287"/>
                <a:gd name="connsiteY75" fmla="*/ 5304132 h 6072782"/>
                <a:gd name="connsiteX76" fmla="*/ 8868426 w 11537287"/>
                <a:gd name="connsiteY76" fmla="*/ 5341506 h 6072782"/>
                <a:gd name="connsiteX77" fmla="*/ 8823577 w 11537287"/>
                <a:gd name="connsiteY77" fmla="*/ 5380021 h 6072782"/>
                <a:gd name="connsiteX78" fmla="*/ 8823577 w 11537287"/>
                <a:gd name="connsiteY78" fmla="*/ 5360510 h 6072782"/>
                <a:gd name="connsiteX79" fmla="*/ 8839224 w 11537287"/>
                <a:gd name="connsiteY79" fmla="*/ 5354429 h 6072782"/>
                <a:gd name="connsiteX80" fmla="*/ 8843848 w 11537287"/>
                <a:gd name="connsiteY80" fmla="*/ 5335172 h 6072782"/>
                <a:gd name="connsiteX81" fmla="*/ 8843848 w 11537287"/>
                <a:gd name="connsiteY81" fmla="*/ 5299824 h 6072782"/>
                <a:gd name="connsiteX82" fmla="*/ 8868807 w 11537287"/>
                <a:gd name="connsiteY82" fmla="*/ 5268531 h 6072782"/>
                <a:gd name="connsiteX83" fmla="*/ 8868807 w 11537287"/>
                <a:gd name="connsiteY83" fmla="*/ 5268151 h 6072782"/>
                <a:gd name="connsiteX84" fmla="*/ 8843848 w 11537287"/>
                <a:gd name="connsiteY84" fmla="*/ 5236604 h 6072782"/>
                <a:gd name="connsiteX85" fmla="*/ 8843848 w 11537287"/>
                <a:gd name="connsiteY85" fmla="*/ 5200877 h 6072782"/>
                <a:gd name="connsiteX86" fmla="*/ 8823577 w 11537287"/>
                <a:gd name="connsiteY86" fmla="*/ 5176678 h 6072782"/>
                <a:gd name="connsiteX87" fmla="*/ 8806093 w 11537287"/>
                <a:gd name="connsiteY87" fmla="*/ 5157041 h 6072782"/>
                <a:gd name="connsiteX88" fmla="*/ 8806093 w 11537287"/>
                <a:gd name="connsiteY88" fmla="*/ 5176678 h 6072782"/>
                <a:gd name="connsiteX89" fmla="*/ 8785949 w 11537287"/>
                <a:gd name="connsiteY89" fmla="*/ 5200877 h 6072782"/>
                <a:gd name="connsiteX90" fmla="*/ 8785949 w 11537287"/>
                <a:gd name="connsiteY90" fmla="*/ 5236604 h 6072782"/>
                <a:gd name="connsiteX91" fmla="*/ 8760737 w 11537287"/>
                <a:gd name="connsiteY91" fmla="*/ 5268151 h 6072782"/>
                <a:gd name="connsiteX92" fmla="*/ 8760737 w 11537287"/>
                <a:gd name="connsiteY92" fmla="*/ 5268531 h 6072782"/>
                <a:gd name="connsiteX93" fmla="*/ 8785949 w 11537287"/>
                <a:gd name="connsiteY93" fmla="*/ 5299824 h 6072782"/>
                <a:gd name="connsiteX94" fmla="*/ 8785949 w 11537287"/>
                <a:gd name="connsiteY94" fmla="*/ 5335172 h 6072782"/>
                <a:gd name="connsiteX95" fmla="*/ 8790447 w 11537287"/>
                <a:gd name="connsiteY95" fmla="*/ 5354492 h 6072782"/>
                <a:gd name="connsiteX96" fmla="*/ 8806093 w 11537287"/>
                <a:gd name="connsiteY96" fmla="*/ 5360510 h 6072782"/>
                <a:gd name="connsiteX97" fmla="*/ 8806093 w 11537287"/>
                <a:gd name="connsiteY97" fmla="*/ 5380021 h 6072782"/>
                <a:gd name="connsiteX98" fmla="*/ 8760990 w 11537287"/>
                <a:gd name="connsiteY98" fmla="*/ 5341506 h 6072782"/>
                <a:gd name="connsiteX99" fmla="*/ 8760990 w 11537287"/>
                <a:gd name="connsiteY99" fmla="*/ 5304132 h 6072782"/>
                <a:gd name="connsiteX100" fmla="*/ 8741226 w 11537287"/>
                <a:gd name="connsiteY100" fmla="*/ 5277779 h 6072782"/>
                <a:gd name="connsiteX101" fmla="*/ 8741226 w 11537287"/>
                <a:gd name="connsiteY101" fmla="*/ 5259282 h 6072782"/>
                <a:gd name="connsiteX102" fmla="*/ 8760990 w 11537287"/>
                <a:gd name="connsiteY102" fmla="*/ 5232423 h 6072782"/>
                <a:gd name="connsiteX103" fmla="*/ 8760990 w 11537287"/>
                <a:gd name="connsiteY103" fmla="*/ 5196062 h 6072782"/>
                <a:gd name="connsiteX104" fmla="*/ 8806093 w 11537287"/>
                <a:gd name="connsiteY104" fmla="*/ 5157041 h 6072782"/>
                <a:gd name="connsiteX105" fmla="*/ 8823577 w 11537287"/>
                <a:gd name="connsiteY105" fmla="*/ 4843971 h 6072782"/>
                <a:gd name="connsiteX106" fmla="*/ 8868426 w 11537287"/>
                <a:gd name="connsiteY106" fmla="*/ 4882992 h 6072782"/>
                <a:gd name="connsiteX107" fmla="*/ 8868426 w 11537287"/>
                <a:gd name="connsiteY107" fmla="*/ 4919353 h 6072782"/>
                <a:gd name="connsiteX108" fmla="*/ 8888064 w 11537287"/>
                <a:gd name="connsiteY108" fmla="*/ 4946212 h 6072782"/>
                <a:gd name="connsiteX109" fmla="*/ 8888064 w 11537287"/>
                <a:gd name="connsiteY109" fmla="*/ 4964709 h 6072782"/>
                <a:gd name="connsiteX110" fmla="*/ 8868426 w 11537287"/>
                <a:gd name="connsiteY110" fmla="*/ 4991062 h 6072782"/>
                <a:gd name="connsiteX111" fmla="*/ 8868426 w 11537287"/>
                <a:gd name="connsiteY111" fmla="*/ 5028436 h 6072782"/>
                <a:gd name="connsiteX112" fmla="*/ 8823577 w 11537287"/>
                <a:gd name="connsiteY112" fmla="*/ 5066951 h 6072782"/>
                <a:gd name="connsiteX113" fmla="*/ 8823577 w 11537287"/>
                <a:gd name="connsiteY113" fmla="*/ 5047440 h 6072782"/>
                <a:gd name="connsiteX114" fmla="*/ 8839224 w 11537287"/>
                <a:gd name="connsiteY114" fmla="*/ 5041359 h 6072782"/>
                <a:gd name="connsiteX115" fmla="*/ 8843848 w 11537287"/>
                <a:gd name="connsiteY115" fmla="*/ 5022102 h 6072782"/>
                <a:gd name="connsiteX116" fmla="*/ 8843848 w 11537287"/>
                <a:gd name="connsiteY116" fmla="*/ 4986754 h 6072782"/>
                <a:gd name="connsiteX117" fmla="*/ 8868807 w 11537287"/>
                <a:gd name="connsiteY117" fmla="*/ 4955461 h 6072782"/>
                <a:gd name="connsiteX118" fmla="*/ 8868807 w 11537287"/>
                <a:gd name="connsiteY118" fmla="*/ 4955081 h 6072782"/>
                <a:gd name="connsiteX119" fmla="*/ 8843848 w 11537287"/>
                <a:gd name="connsiteY119" fmla="*/ 4923534 h 6072782"/>
                <a:gd name="connsiteX120" fmla="*/ 8843848 w 11537287"/>
                <a:gd name="connsiteY120" fmla="*/ 4887807 h 6072782"/>
                <a:gd name="connsiteX121" fmla="*/ 8823577 w 11537287"/>
                <a:gd name="connsiteY121" fmla="*/ 4863608 h 6072782"/>
                <a:gd name="connsiteX122" fmla="*/ 8806093 w 11537287"/>
                <a:gd name="connsiteY122" fmla="*/ 4843971 h 6072782"/>
                <a:gd name="connsiteX123" fmla="*/ 8806093 w 11537287"/>
                <a:gd name="connsiteY123" fmla="*/ 4863608 h 6072782"/>
                <a:gd name="connsiteX124" fmla="*/ 8785949 w 11537287"/>
                <a:gd name="connsiteY124" fmla="*/ 4887807 h 6072782"/>
                <a:gd name="connsiteX125" fmla="*/ 8785949 w 11537287"/>
                <a:gd name="connsiteY125" fmla="*/ 4923534 h 6072782"/>
                <a:gd name="connsiteX126" fmla="*/ 8760737 w 11537287"/>
                <a:gd name="connsiteY126" fmla="*/ 4955081 h 6072782"/>
                <a:gd name="connsiteX127" fmla="*/ 8760737 w 11537287"/>
                <a:gd name="connsiteY127" fmla="*/ 4955461 h 6072782"/>
                <a:gd name="connsiteX128" fmla="*/ 8785949 w 11537287"/>
                <a:gd name="connsiteY128" fmla="*/ 4986754 h 6072782"/>
                <a:gd name="connsiteX129" fmla="*/ 8785949 w 11537287"/>
                <a:gd name="connsiteY129" fmla="*/ 5022102 h 6072782"/>
                <a:gd name="connsiteX130" fmla="*/ 8790447 w 11537287"/>
                <a:gd name="connsiteY130" fmla="*/ 5041422 h 6072782"/>
                <a:gd name="connsiteX131" fmla="*/ 8806093 w 11537287"/>
                <a:gd name="connsiteY131" fmla="*/ 5047440 h 6072782"/>
                <a:gd name="connsiteX132" fmla="*/ 8806093 w 11537287"/>
                <a:gd name="connsiteY132" fmla="*/ 5066951 h 6072782"/>
                <a:gd name="connsiteX133" fmla="*/ 8760990 w 11537287"/>
                <a:gd name="connsiteY133" fmla="*/ 5028436 h 6072782"/>
                <a:gd name="connsiteX134" fmla="*/ 8760990 w 11537287"/>
                <a:gd name="connsiteY134" fmla="*/ 4991062 h 6072782"/>
                <a:gd name="connsiteX135" fmla="*/ 8741226 w 11537287"/>
                <a:gd name="connsiteY135" fmla="*/ 4964709 h 6072782"/>
                <a:gd name="connsiteX136" fmla="*/ 8741226 w 11537287"/>
                <a:gd name="connsiteY136" fmla="*/ 4946212 h 6072782"/>
                <a:gd name="connsiteX137" fmla="*/ 8760990 w 11537287"/>
                <a:gd name="connsiteY137" fmla="*/ 4919353 h 6072782"/>
                <a:gd name="connsiteX138" fmla="*/ 8760990 w 11537287"/>
                <a:gd name="connsiteY138" fmla="*/ 4882992 h 6072782"/>
                <a:gd name="connsiteX139" fmla="*/ 8806093 w 11537287"/>
                <a:gd name="connsiteY139" fmla="*/ 4843971 h 6072782"/>
                <a:gd name="connsiteX140" fmla="*/ 8825269 w 11537287"/>
                <a:gd name="connsiteY140" fmla="*/ 4503767 h 6072782"/>
                <a:gd name="connsiteX141" fmla="*/ 8870118 w 11537287"/>
                <a:gd name="connsiteY141" fmla="*/ 4542788 h 6072782"/>
                <a:gd name="connsiteX142" fmla="*/ 8870118 w 11537287"/>
                <a:gd name="connsiteY142" fmla="*/ 4579149 h 6072782"/>
                <a:gd name="connsiteX143" fmla="*/ 8889756 w 11537287"/>
                <a:gd name="connsiteY143" fmla="*/ 4606008 h 6072782"/>
                <a:gd name="connsiteX144" fmla="*/ 8889756 w 11537287"/>
                <a:gd name="connsiteY144" fmla="*/ 4624505 h 6072782"/>
                <a:gd name="connsiteX145" fmla="*/ 8870118 w 11537287"/>
                <a:gd name="connsiteY145" fmla="*/ 4650858 h 6072782"/>
                <a:gd name="connsiteX146" fmla="*/ 8870118 w 11537287"/>
                <a:gd name="connsiteY146" fmla="*/ 4688232 h 6072782"/>
                <a:gd name="connsiteX147" fmla="*/ 8825269 w 11537287"/>
                <a:gd name="connsiteY147" fmla="*/ 4726747 h 6072782"/>
                <a:gd name="connsiteX148" fmla="*/ 8825269 w 11537287"/>
                <a:gd name="connsiteY148" fmla="*/ 4707236 h 6072782"/>
                <a:gd name="connsiteX149" fmla="*/ 8840916 w 11537287"/>
                <a:gd name="connsiteY149" fmla="*/ 4701155 h 6072782"/>
                <a:gd name="connsiteX150" fmla="*/ 8845540 w 11537287"/>
                <a:gd name="connsiteY150" fmla="*/ 4681898 h 6072782"/>
                <a:gd name="connsiteX151" fmla="*/ 8845540 w 11537287"/>
                <a:gd name="connsiteY151" fmla="*/ 4646550 h 6072782"/>
                <a:gd name="connsiteX152" fmla="*/ 8870499 w 11537287"/>
                <a:gd name="connsiteY152" fmla="*/ 4615257 h 6072782"/>
                <a:gd name="connsiteX153" fmla="*/ 8870499 w 11537287"/>
                <a:gd name="connsiteY153" fmla="*/ 4614877 h 6072782"/>
                <a:gd name="connsiteX154" fmla="*/ 8845540 w 11537287"/>
                <a:gd name="connsiteY154" fmla="*/ 4583330 h 6072782"/>
                <a:gd name="connsiteX155" fmla="*/ 8845540 w 11537287"/>
                <a:gd name="connsiteY155" fmla="*/ 4547603 h 6072782"/>
                <a:gd name="connsiteX156" fmla="*/ 8825269 w 11537287"/>
                <a:gd name="connsiteY156" fmla="*/ 4523404 h 6072782"/>
                <a:gd name="connsiteX157" fmla="*/ 8807785 w 11537287"/>
                <a:gd name="connsiteY157" fmla="*/ 4503767 h 6072782"/>
                <a:gd name="connsiteX158" fmla="*/ 8807785 w 11537287"/>
                <a:gd name="connsiteY158" fmla="*/ 4523404 h 6072782"/>
                <a:gd name="connsiteX159" fmla="*/ 8787641 w 11537287"/>
                <a:gd name="connsiteY159" fmla="*/ 4547603 h 6072782"/>
                <a:gd name="connsiteX160" fmla="*/ 8787641 w 11537287"/>
                <a:gd name="connsiteY160" fmla="*/ 4583330 h 6072782"/>
                <a:gd name="connsiteX161" fmla="*/ 8762429 w 11537287"/>
                <a:gd name="connsiteY161" fmla="*/ 4614877 h 6072782"/>
                <a:gd name="connsiteX162" fmla="*/ 8762429 w 11537287"/>
                <a:gd name="connsiteY162" fmla="*/ 4615257 h 6072782"/>
                <a:gd name="connsiteX163" fmla="*/ 8787641 w 11537287"/>
                <a:gd name="connsiteY163" fmla="*/ 4646550 h 6072782"/>
                <a:gd name="connsiteX164" fmla="*/ 8787641 w 11537287"/>
                <a:gd name="connsiteY164" fmla="*/ 4681898 h 6072782"/>
                <a:gd name="connsiteX165" fmla="*/ 8792139 w 11537287"/>
                <a:gd name="connsiteY165" fmla="*/ 4701218 h 6072782"/>
                <a:gd name="connsiteX166" fmla="*/ 8807785 w 11537287"/>
                <a:gd name="connsiteY166" fmla="*/ 4707236 h 6072782"/>
                <a:gd name="connsiteX167" fmla="*/ 8807785 w 11537287"/>
                <a:gd name="connsiteY167" fmla="*/ 4726747 h 6072782"/>
                <a:gd name="connsiteX168" fmla="*/ 8762682 w 11537287"/>
                <a:gd name="connsiteY168" fmla="*/ 4688232 h 6072782"/>
                <a:gd name="connsiteX169" fmla="*/ 8762682 w 11537287"/>
                <a:gd name="connsiteY169" fmla="*/ 4650858 h 6072782"/>
                <a:gd name="connsiteX170" fmla="*/ 8742918 w 11537287"/>
                <a:gd name="connsiteY170" fmla="*/ 4624505 h 6072782"/>
                <a:gd name="connsiteX171" fmla="*/ 8742918 w 11537287"/>
                <a:gd name="connsiteY171" fmla="*/ 4606008 h 6072782"/>
                <a:gd name="connsiteX172" fmla="*/ 8762682 w 11537287"/>
                <a:gd name="connsiteY172" fmla="*/ 4579149 h 6072782"/>
                <a:gd name="connsiteX173" fmla="*/ 8762682 w 11537287"/>
                <a:gd name="connsiteY173" fmla="*/ 4542788 h 6072782"/>
                <a:gd name="connsiteX174" fmla="*/ 8807785 w 11537287"/>
                <a:gd name="connsiteY174" fmla="*/ 4503767 h 6072782"/>
                <a:gd name="connsiteX175" fmla="*/ 8826961 w 11537287"/>
                <a:gd name="connsiteY175" fmla="*/ 4163562 h 6072782"/>
                <a:gd name="connsiteX176" fmla="*/ 8871810 w 11537287"/>
                <a:gd name="connsiteY176" fmla="*/ 4202583 h 6072782"/>
                <a:gd name="connsiteX177" fmla="*/ 8871810 w 11537287"/>
                <a:gd name="connsiteY177" fmla="*/ 4238944 h 6072782"/>
                <a:gd name="connsiteX178" fmla="*/ 8891448 w 11537287"/>
                <a:gd name="connsiteY178" fmla="*/ 4265803 h 6072782"/>
                <a:gd name="connsiteX179" fmla="*/ 8891448 w 11537287"/>
                <a:gd name="connsiteY179" fmla="*/ 4284300 h 6072782"/>
                <a:gd name="connsiteX180" fmla="*/ 8871810 w 11537287"/>
                <a:gd name="connsiteY180" fmla="*/ 4310653 h 6072782"/>
                <a:gd name="connsiteX181" fmla="*/ 8871810 w 11537287"/>
                <a:gd name="connsiteY181" fmla="*/ 4348027 h 6072782"/>
                <a:gd name="connsiteX182" fmla="*/ 8826961 w 11537287"/>
                <a:gd name="connsiteY182" fmla="*/ 4386542 h 6072782"/>
                <a:gd name="connsiteX183" fmla="*/ 8826961 w 11537287"/>
                <a:gd name="connsiteY183" fmla="*/ 4367031 h 6072782"/>
                <a:gd name="connsiteX184" fmla="*/ 8842608 w 11537287"/>
                <a:gd name="connsiteY184" fmla="*/ 4360950 h 6072782"/>
                <a:gd name="connsiteX185" fmla="*/ 8847232 w 11537287"/>
                <a:gd name="connsiteY185" fmla="*/ 4341693 h 6072782"/>
                <a:gd name="connsiteX186" fmla="*/ 8847232 w 11537287"/>
                <a:gd name="connsiteY186" fmla="*/ 4306345 h 6072782"/>
                <a:gd name="connsiteX187" fmla="*/ 8872191 w 11537287"/>
                <a:gd name="connsiteY187" fmla="*/ 4275052 h 6072782"/>
                <a:gd name="connsiteX188" fmla="*/ 8872191 w 11537287"/>
                <a:gd name="connsiteY188" fmla="*/ 4274672 h 6072782"/>
                <a:gd name="connsiteX189" fmla="*/ 8847232 w 11537287"/>
                <a:gd name="connsiteY189" fmla="*/ 4243125 h 6072782"/>
                <a:gd name="connsiteX190" fmla="*/ 8847232 w 11537287"/>
                <a:gd name="connsiteY190" fmla="*/ 4207398 h 6072782"/>
                <a:gd name="connsiteX191" fmla="*/ 8826961 w 11537287"/>
                <a:gd name="connsiteY191" fmla="*/ 4183199 h 6072782"/>
                <a:gd name="connsiteX192" fmla="*/ 8809477 w 11537287"/>
                <a:gd name="connsiteY192" fmla="*/ 4163562 h 6072782"/>
                <a:gd name="connsiteX193" fmla="*/ 8809477 w 11537287"/>
                <a:gd name="connsiteY193" fmla="*/ 4183199 h 6072782"/>
                <a:gd name="connsiteX194" fmla="*/ 8789333 w 11537287"/>
                <a:gd name="connsiteY194" fmla="*/ 4207398 h 6072782"/>
                <a:gd name="connsiteX195" fmla="*/ 8789333 w 11537287"/>
                <a:gd name="connsiteY195" fmla="*/ 4243125 h 6072782"/>
                <a:gd name="connsiteX196" fmla="*/ 8764121 w 11537287"/>
                <a:gd name="connsiteY196" fmla="*/ 4274672 h 6072782"/>
                <a:gd name="connsiteX197" fmla="*/ 8764121 w 11537287"/>
                <a:gd name="connsiteY197" fmla="*/ 4275052 h 6072782"/>
                <a:gd name="connsiteX198" fmla="*/ 8789333 w 11537287"/>
                <a:gd name="connsiteY198" fmla="*/ 4306345 h 6072782"/>
                <a:gd name="connsiteX199" fmla="*/ 8789333 w 11537287"/>
                <a:gd name="connsiteY199" fmla="*/ 4341693 h 6072782"/>
                <a:gd name="connsiteX200" fmla="*/ 8793831 w 11537287"/>
                <a:gd name="connsiteY200" fmla="*/ 4361013 h 6072782"/>
                <a:gd name="connsiteX201" fmla="*/ 8809477 w 11537287"/>
                <a:gd name="connsiteY201" fmla="*/ 4367031 h 6072782"/>
                <a:gd name="connsiteX202" fmla="*/ 8809477 w 11537287"/>
                <a:gd name="connsiteY202" fmla="*/ 4386542 h 6072782"/>
                <a:gd name="connsiteX203" fmla="*/ 8764374 w 11537287"/>
                <a:gd name="connsiteY203" fmla="*/ 4348027 h 6072782"/>
                <a:gd name="connsiteX204" fmla="*/ 8764374 w 11537287"/>
                <a:gd name="connsiteY204" fmla="*/ 4310653 h 6072782"/>
                <a:gd name="connsiteX205" fmla="*/ 8744610 w 11537287"/>
                <a:gd name="connsiteY205" fmla="*/ 4284300 h 6072782"/>
                <a:gd name="connsiteX206" fmla="*/ 8744610 w 11537287"/>
                <a:gd name="connsiteY206" fmla="*/ 4265803 h 6072782"/>
                <a:gd name="connsiteX207" fmla="*/ 8764374 w 11537287"/>
                <a:gd name="connsiteY207" fmla="*/ 4238944 h 6072782"/>
                <a:gd name="connsiteX208" fmla="*/ 8764374 w 11537287"/>
                <a:gd name="connsiteY208" fmla="*/ 4202583 h 6072782"/>
                <a:gd name="connsiteX209" fmla="*/ 8809477 w 11537287"/>
                <a:gd name="connsiteY209" fmla="*/ 4163562 h 6072782"/>
                <a:gd name="connsiteX210" fmla="*/ 8828653 w 11537287"/>
                <a:gd name="connsiteY210" fmla="*/ 3823357 h 6072782"/>
                <a:gd name="connsiteX211" fmla="*/ 8873502 w 11537287"/>
                <a:gd name="connsiteY211" fmla="*/ 3862378 h 6072782"/>
                <a:gd name="connsiteX212" fmla="*/ 8873502 w 11537287"/>
                <a:gd name="connsiteY212" fmla="*/ 3898739 h 6072782"/>
                <a:gd name="connsiteX213" fmla="*/ 8893140 w 11537287"/>
                <a:gd name="connsiteY213" fmla="*/ 3925598 h 6072782"/>
                <a:gd name="connsiteX214" fmla="*/ 8893140 w 11537287"/>
                <a:gd name="connsiteY214" fmla="*/ 3944095 h 6072782"/>
                <a:gd name="connsiteX215" fmla="*/ 8873502 w 11537287"/>
                <a:gd name="connsiteY215" fmla="*/ 3970448 h 6072782"/>
                <a:gd name="connsiteX216" fmla="*/ 8873502 w 11537287"/>
                <a:gd name="connsiteY216" fmla="*/ 4007822 h 6072782"/>
                <a:gd name="connsiteX217" fmla="*/ 8828653 w 11537287"/>
                <a:gd name="connsiteY217" fmla="*/ 4046337 h 6072782"/>
                <a:gd name="connsiteX218" fmla="*/ 8828653 w 11537287"/>
                <a:gd name="connsiteY218" fmla="*/ 4026826 h 6072782"/>
                <a:gd name="connsiteX219" fmla="*/ 8844300 w 11537287"/>
                <a:gd name="connsiteY219" fmla="*/ 4020745 h 6072782"/>
                <a:gd name="connsiteX220" fmla="*/ 8848924 w 11537287"/>
                <a:gd name="connsiteY220" fmla="*/ 4001488 h 6072782"/>
                <a:gd name="connsiteX221" fmla="*/ 8848924 w 11537287"/>
                <a:gd name="connsiteY221" fmla="*/ 3966140 h 6072782"/>
                <a:gd name="connsiteX222" fmla="*/ 8873883 w 11537287"/>
                <a:gd name="connsiteY222" fmla="*/ 3934847 h 6072782"/>
                <a:gd name="connsiteX223" fmla="*/ 8873883 w 11537287"/>
                <a:gd name="connsiteY223" fmla="*/ 3934467 h 6072782"/>
                <a:gd name="connsiteX224" fmla="*/ 8848924 w 11537287"/>
                <a:gd name="connsiteY224" fmla="*/ 3902920 h 6072782"/>
                <a:gd name="connsiteX225" fmla="*/ 8848924 w 11537287"/>
                <a:gd name="connsiteY225" fmla="*/ 3867193 h 6072782"/>
                <a:gd name="connsiteX226" fmla="*/ 8828653 w 11537287"/>
                <a:gd name="connsiteY226" fmla="*/ 3842994 h 6072782"/>
                <a:gd name="connsiteX227" fmla="*/ 8811169 w 11537287"/>
                <a:gd name="connsiteY227" fmla="*/ 3823357 h 6072782"/>
                <a:gd name="connsiteX228" fmla="*/ 8811169 w 11537287"/>
                <a:gd name="connsiteY228" fmla="*/ 3842994 h 6072782"/>
                <a:gd name="connsiteX229" fmla="*/ 8791025 w 11537287"/>
                <a:gd name="connsiteY229" fmla="*/ 3867193 h 6072782"/>
                <a:gd name="connsiteX230" fmla="*/ 8791025 w 11537287"/>
                <a:gd name="connsiteY230" fmla="*/ 3902920 h 6072782"/>
                <a:gd name="connsiteX231" fmla="*/ 8765813 w 11537287"/>
                <a:gd name="connsiteY231" fmla="*/ 3934467 h 6072782"/>
                <a:gd name="connsiteX232" fmla="*/ 8765813 w 11537287"/>
                <a:gd name="connsiteY232" fmla="*/ 3934847 h 6072782"/>
                <a:gd name="connsiteX233" fmla="*/ 8791025 w 11537287"/>
                <a:gd name="connsiteY233" fmla="*/ 3966140 h 6072782"/>
                <a:gd name="connsiteX234" fmla="*/ 8791025 w 11537287"/>
                <a:gd name="connsiteY234" fmla="*/ 4001488 h 6072782"/>
                <a:gd name="connsiteX235" fmla="*/ 8795523 w 11537287"/>
                <a:gd name="connsiteY235" fmla="*/ 4020808 h 6072782"/>
                <a:gd name="connsiteX236" fmla="*/ 8811169 w 11537287"/>
                <a:gd name="connsiteY236" fmla="*/ 4026826 h 6072782"/>
                <a:gd name="connsiteX237" fmla="*/ 8811169 w 11537287"/>
                <a:gd name="connsiteY237" fmla="*/ 4046337 h 6072782"/>
                <a:gd name="connsiteX238" fmla="*/ 8766066 w 11537287"/>
                <a:gd name="connsiteY238" fmla="*/ 4007822 h 6072782"/>
                <a:gd name="connsiteX239" fmla="*/ 8766066 w 11537287"/>
                <a:gd name="connsiteY239" fmla="*/ 3970448 h 6072782"/>
                <a:gd name="connsiteX240" fmla="*/ 8746302 w 11537287"/>
                <a:gd name="connsiteY240" fmla="*/ 3944095 h 6072782"/>
                <a:gd name="connsiteX241" fmla="*/ 8746302 w 11537287"/>
                <a:gd name="connsiteY241" fmla="*/ 3925598 h 6072782"/>
                <a:gd name="connsiteX242" fmla="*/ 8766066 w 11537287"/>
                <a:gd name="connsiteY242" fmla="*/ 3898739 h 6072782"/>
                <a:gd name="connsiteX243" fmla="*/ 8766066 w 11537287"/>
                <a:gd name="connsiteY243" fmla="*/ 3862378 h 6072782"/>
                <a:gd name="connsiteX244" fmla="*/ 8811169 w 11537287"/>
                <a:gd name="connsiteY244" fmla="*/ 3823357 h 6072782"/>
                <a:gd name="connsiteX245" fmla="*/ 8830345 w 11537287"/>
                <a:gd name="connsiteY245" fmla="*/ 3483152 h 6072782"/>
                <a:gd name="connsiteX246" fmla="*/ 8875194 w 11537287"/>
                <a:gd name="connsiteY246" fmla="*/ 3522173 h 6072782"/>
                <a:gd name="connsiteX247" fmla="*/ 8875194 w 11537287"/>
                <a:gd name="connsiteY247" fmla="*/ 3558534 h 6072782"/>
                <a:gd name="connsiteX248" fmla="*/ 8894832 w 11537287"/>
                <a:gd name="connsiteY248" fmla="*/ 3585393 h 6072782"/>
                <a:gd name="connsiteX249" fmla="*/ 8894832 w 11537287"/>
                <a:gd name="connsiteY249" fmla="*/ 3603890 h 6072782"/>
                <a:gd name="connsiteX250" fmla="*/ 8875194 w 11537287"/>
                <a:gd name="connsiteY250" fmla="*/ 3630243 h 6072782"/>
                <a:gd name="connsiteX251" fmla="*/ 8875194 w 11537287"/>
                <a:gd name="connsiteY251" fmla="*/ 3667617 h 6072782"/>
                <a:gd name="connsiteX252" fmla="*/ 8830345 w 11537287"/>
                <a:gd name="connsiteY252" fmla="*/ 3706132 h 6072782"/>
                <a:gd name="connsiteX253" fmla="*/ 8830345 w 11537287"/>
                <a:gd name="connsiteY253" fmla="*/ 3686621 h 6072782"/>
                <a:gd name="connsiteX254" fmla="*/ 8845992 w 11537287"/>
                <a:gd name="connsiteY254" fmla="*/ 3680540 h 6072782"/>
                <a:gd name="connsiteX255" fmla="*/ 8850616 w 11537287"/>
                <a:gd name="connsiteY255" fmla="*/ 3661283 h 6072782"/>
                <a:gd name="connsiteX256" fmla="*/ 8850616 w 11537287"/>
                <a:gd name="connsiteY256" fmla="*/ 3625935 h 6072782"/>
                <a:gd name="connsiteX257" fmla="*/ 8875575 w 11537287"/>
                <a:gd name="connsiteY257" fmla="*/ 3594642 h 6072782"/>
                <a:gd name="connsiteX258" fmla="*/ 8875575 w 11537287"/>
                <a:gd name="connsiteY258" fmla="*/ 3594262 h 6072782"/>
                <a:gd name="connsiteX259" fmla="*/ 8850616 w 11537287"/>
                <a:gd name="connsiteY259" fmla="*/ 3562715 h 6072782"/>
                <a:gd name="connsiteX260" fmla="*/ 8850616 w 11537287"/>
                <a:gd name="connsiteY260" fmla="*/ 3526988 h 6072782"/>
                <a:gd name="connsiteX261" fmla="*/ 8830345 w 11537287"/>
                <a:gd name="connsiteY261" fmla="*/ 3502789 h 6072782"/>
                <a:gd name="connsiteX262" fmla="*/ 8812861 w 11537287"/>
                <a:gd name="connsiteY262" fmla="*/ 3483152 h 6072782"/>
                <a:gd name="connsiteX263" fmla="*/ 8812861 w 11537287"/>
                <a:gd name="connsiteY263" fmla="*/ 3502789 h 6072782"/>
                <a:gd name="connsiteX264" fmla="*/ 8792717 w 11537287"/>
                <a:gd name="connsiteY264" fmla="*/ 3526988 h 6072782"/>
                <a:gd name="connsiteX265" fmla="*/ 8792717 w 11537287"/>
                <a:gd name="connsiteY265" fmla="*/ 3562715 h 6072782"/>
                <a:gd name="connsiteX266" fmla="*/ 8767505 w 11537287"/>
                <a:gd name="connsiteY266" fmla="*/ 3594262 h 6072782"/>
                <a:gd name="connsiteX267" fmla="*/ 8767505 w 11537287"/>
                <a:gd name="connsiteY267" fmla="*/ 3594642 h 6072782"/>
                <a:gd name="connsiteX268" fmla="*/ 8792717 w 11537287"/>
                <a:gd name="connsiteY268" fmla="*/ 3625935 h 6072782"/>
                <a:gd name="connsiteX269" fmla="*/ 8792717 w 11537287"/>
                <a:gd name="connsiteY269" fmla="*/ 3661283 h 6072782"/>
                <a:gd name="connsiteX270" fmla="*/ 8797215 w 11537287"/>
                <a:gd name="connsiteY270" fmla="*/ 3680603 h 6072782"/>
                <a:gd name="connsiteX271" fmla="*/ 8812861 w 11537287"/>
                <a:gd name="connsiteY271" fmla="*/ 3686621 h 6072782"/>
                <a:gd name="connsiteX272" fmla="*/ 8812861 w 11537287"/>
                <a:gd name="connsiteY272" fmla="*/ 3706132 h 6072782"/>
                <a:gd name="connsiteX273" fmla="*/ 8767758 w 11537287"/>
                <a:gd name="connsiteY273" fmla="*/ 3667617 h 6072782"/>
                <a:gd name="connsiteX274" fmla="*/ 8767758 w 11537287"/>
                <a:gd name="connsiteY274" fmla="*/ 3630243 h 6072782"/>
                <a:gd name="connsiteX275" fmla="*/ 8747994 w 11537287"/>
                <a:gd name="connsiteY275" fmla="*/ 3603890 h 6072782"/>
                <a:gd name="connsiteX276" fmla="*/ 8747994 w 11537287"/>
                <a:gd name="connsiteY276" fmla="*/ 3585393 h 6072782"/>
                <a:gd name="connsiteX277" fmla="*/ 8767758 w 11537287"/>
                <a:gd name="connsiteY277" fmla="*/ 3558534 h 6072782"/>
                <a:gd name="connsiteX278" fmla="*/ 8767758 w 11537287"/>
                <a:gd name="connsiteY278" fmla="*/ 3522173 h 6072782"/>
                <a:gd name="connsiteX279" fmla="*/ 8812861 w 11537287"/>
                <a:gd name="connsiteY279" fmla="*/ 3483152 h 6072782"/>
                <a:gd name="connsiteX280" fmla="*/ 11401347 w 11537287"/>
                <a:gd name="connsiteY280" fmla="*/ 3198895 h 6072782"/>
                <a:gd name="connsiteX281" fmla="*/ 11390885 w 11537287"/>
                <a:gd name="connsiteY281" fmla="*/ 3247024 h 6072782"/>
                <a:gd name="connsiteX282" fmla="*/ 11433608 w 11537287"/>
                <a:gd name="connsiteY282" fmla="*/ 3247024 h 6072782"/>
                <a:gd name="connsiteX283" fmla="*/ 11443896 w 11537287"/>
                <a:gd name="connsiteY283" fmla="*/ 3198895 h 6072782"/>
                <a:gd name="connsiteX284" fmla="*/ 5351000 w 11537287"/>
                <a:gd name="connsiteY284" fmla="*/ 3198895 h 6072782"/>
                <a:gd name="connsiteX285" fmla="*/ 5340537 w 11537287"/>
                <a:gd name="connsiteY285" fmla="*/ 3247024 h 6072782"/>
                <a:gd name="connsiteX286" fmla="*/ 5383260 w 11537287"/>
                <a:gd name="connsiteY286" fmla="*/ 3247024 h 6072782"/>
                <a:gd name="connsiteX287" fmla="*/ 5393549 w 11537287"/>
                <a:gd name="connsiteY287" fmla="*/ 3198895 h 6072782"/>
                <a:gd name="connsiteX288" fmla="*/ 8818841 w 11537287"/>
                <a:gd name="connsiteY288" fmla="*/ 3110161 h 6072782"/>
                <a:gd name="connsiteX289" fmla="*/ 8863690 w 11537287"/>
                <a:gd name="connsiteY289" fmla="*/ 3149183 h 6072782"/>
                <a:gd name="connsiteX290" fmla="*/ 8863690 w 11537287"/>
                <a:gd name="connsiteY290" fmla="*/ 3185543 h 6072782"/>
                <a:gd name="connsiteX291" fmla="*/ 8883328 w 11537287"/>
                <a:gd name="connsiteY291" fmla="*/ 3212403 h 6072782"/>
                <a:gd name="connsiteX292" fmla="*/ 8883328 w 11537287"/>
                <a:gd name="connsiteY292" fmla="*/ 3230900 h 6072782"/>
                <a:gd name="connsiteX293" fmla="*/ 8863690 w 11537287"/>
                <a:gd name="connsiteY293" fmla="*/ 3257252 h 6072782"/>
                <a:gd name="connsiteX294" fmla="*/ 8863690 w 11537287"/>
                <a:gd name="connsiteY294" fmla="*/ 3294627 h 6072782"/>
                <a:gd name="connsiteX295" fmla="*/ 8818841 w 11537287"/>
                <a:gd name="connsiteY295" fmla="*/ 3333141 h 6072782"/>
                <a:gd name="connsiteX296" fmla="*/ 8818841 w 11537287"/>
                <a:gd name="connsiteY296" fmla="*/ 3313630 h 6072782"/>
                <a:gd name="connsiteX297" fmla="*/ 8834488 w 11537287"/>
                <a:gd name="connsiteY297" fmla="*/ 3307549 h 6072782"/>
                <a:gd name="connsiteX298" fmla="*/ 8839112 w 11537287"/>
                <a:gd name="connsiteY298" fmla="*/ 3288292 h 6072782"/>
                <a:gd name="connsiteX299" fmla="*/ 8839112 w 11537287"/>
                <a:gd name="connsiteY299" fmla="*/ 3252945 h 6072782"/>
                <a:gd name="connsiteX300" fmla="*/ 8864071 w 11537287"/>
                <a:gd name="connsiteY300" fmla="*/ 3221651 h 6072782"/>
                <a:gd name="connsiteX301" fmla="*/ 8864071 w 11537287"/>
                <a:gd name="connsiteY301" fmla="*/ 3221271 h 6072782"/>
                <a:gd name="connsiteX302" fmla="*/ 8839112 w 11537287"/>
                <a:gd name="connsiteY302" fmla="*/ 3189724 h 6072782"/>
                <a:gd name="connsiteX303" fmla="*/ 8839112 w 11537287"/>
                <a:gd name="connsiteY303" fmla="*/ 3153997 h 6072782"/>
                <a:gd name="connsiteX304" fmla="*/ 8818841 w 11537287"/>
                <a:gd name="connsiteY304" fmla="*/ 3129799 h 6072782"/>
                <a:gd name="connsiteX305" fmla="*/ 8801357 w 11537287"/>
                <a:gd name="connsiteY305" fmla="*/ 3110161 h 6072782"/>
                <a:gd name="connsiteX306" fmla="*/ 8801357 w 11537287"/>
                <a:gd name="connsiteY306" fmla="*/ 3129799 h 6072782"/>
                <a:gd name="connsiteX307" fmla="*/ 8781213 w 11537287"/>
                <a:gd name="connsiteY307" fmla="*/ 3153997 h 6072782"/>
                <a:gd name="connsiteX308" fmla="*/ 8781213 w 11537287"/>
                <a:gd name="connsiteY308" fmla="*/ 3189724 h 6072782"/>
                <a:gd name="connsiteX309" fmla="*/ 8756001 w 11537287"/>
                <a:gd name="connsiteY309" fmla="*/ 3221271 h 6072782"/>
                <a:gd name="connsiteX310" fmla="*/ 8756001 w 11537287"/>
                <a:gd name="connsiteY310" fmla="*/ 3221651 h 6072782"/>
                <a:gd name="connsiteX311" fmla="*/ 8781213 w 11537287"/>
                <a:gd name="connsiteY311" fmla="*/ 3252945 h 6072782"/>
                <a:gd name="connsiteX312" fmla="*/ 8781213 w 11537287"/>
                <a:gd name="connsiteY312" fmla="*/ 3288292 h 6072782"/>
                <a:gd name="connsiteX313" fmla="*/ 8785711 w 11537287"/>
                <a:gd name="connsiteY313" fmla="*/ 3307612 h 6072782"/>
                <a:gd name="connsiteX314" fmla="*/ 8801357 w 11537287"/>
                <a:gd name="connsiteY314" fmla="*/ 3313630 h 6072782"/>
                <a:gd name="connsiteX315" fmla="*/ 8801357 w 11537287"/>
                <a:gd name="connsiteY315" fmla="*/ 3333141 h 6072782"/>
                <a:gd name="connsiteX316" fmla="*/ 8756254 w 11537287"/>
                <a:gd name="connsiteY316" fmla="*/ 3294627 h 6072782"/>
                <a:gd name="connsiteX317" fmla="*/ 8756254 w 11537287"/>
                <a:gd name="connsiteY317" fmla="*/ 3257252 h 6072782"/>
                <a:gd name="connsiteX318" fmla="*/ 8736490 w 11537287"/>
                <a:gd name="connsiteY318" fmla="*/ 3230900 h 6072782"/>
                <a:gd name="connsiteX319" fmla="*/ 8736490 w 11537287"/>
                <a:gd name="connsiteY319" fmla="*/ 3212403 h 6072782"/>
                <a:gd name="connsiteX320" fmla="*/ 8756254 w 11537287"/>
                <a:gd name="connsiteY320" fmla="*/ 3185543 h 6072782"/>
                <a:gd name="connsiteX321" fmla="*/ 8756254 w 11537287"/>
                <a:gd name="connsiteY321" fmla="*/ 3149183 h 6072782"/>
                <a:gd name="connsiteX322" fmla="*/ 8801357 w 11537287"/>
                <a:gd name="connsiteY322" fmla="*/ 3110161 h 6072782"/>
                <a:gd name="connsiteX323" fmla="*/ 6939855 w 11537287"/>
                <a:gd name="connsiteY323" fmla="*/ 3110161 h 6072782"/>
                <a:gd name="connsiteX324" fmla="*/ 6984705 w 11537287"/>
                <a:gd name="connsiteY324" fmla="*/ 3149183 h 6072782"/>
                <a:gd name="connsiteX325" fmla="*/ 6984705 w 11537287"/>
                <a:gd name="connsiteY325" fmla="*/ 3185543 h 6072782"/>
                <a:gd name="connsiteX326" fmla="*/ 7004342 w 11537287"/>
                <a:gd name="connsiteY326" fmla="*/ 3212403 h 6072782"/>
                <a:gd name="connsiteX327" fmla="*/ 7004342 w 11537287"/>
                <a:gd name="connsiteY327" fmla="*/ 3230900 h 6072782"/>
                <a:gd name="connsiteX328" fmla="*/ 6984705 w 11537287"/>
                <a:gd name="connsiteY328" fmla="*/ 3257252 h 6072782"/>
                <a:gd name="connsiteX329" fmla="*/ 6984705 w 11537287"/>
                <a:gd name="connsiteY329" fmla="*/ 3294627 h 6072782"/>
                <a:gd name="connsiteX330" fmla="*/ 6939855 w 11537287"/>
                <a:gd name="connsiteY330" fmla="*/ 3333141 h 6072782"/>
                <a:gd name="connsiteX331" fmla="*/ 6939855 w 11537287"/>
                <a:gd name="connsiteY331" fmla="*/ 3313630 h 6072782"/>
                <a:gd name="connsiteX332" fmla="*/ 6955502 w 11537287"/>
                <a:gd name="connsiteY332" fmla="*/ 3307549 h 6072782"/>
                <a:gd name="connsiteX333" fmla="*/ 6960126 w 11537287"/>
                <a:gd name="connsiteY333" fmla="*/ 3288292 h 6072782"/>
                <a:gd name="connsiteX334" fmla="*/ 6960126 w 11537287"/>
                <a:gd name="connsiteY334" fmla="*/ 3252945 h 6072782"/>
                <a:gd name="connsiteX335" fmla="*/ 6985085 w 11537287"/>
                <a:gd name="connsiteY335" fmla="*/ 3221651 h 6072782"/>
                <a:gd name="connsiteX336" fmla="*/ 6985085 w 11537287"/>
                <a:gd name="connsiteY336" fmla="*/ 3221271 h 6072782"/>
                <a:gd name="connsiteX337" fmla="*/ 6960126 w 11537287"/>
                <a:gd name="connsiteY337" fmla="*/ 3189724 h 6072782"/>
                <a:gd name="connsiteX338" fmla="*/ 6960126 w 11537287"/>
                <a:gd name="connsiteY338" fmla="*/ 3153997 h 6072782"/>
                <a:gd name="connsiteX339" fmla="*/ 6939855 w 11537287"/>
                <a:gd name="connsiteY339" fmla="*/ 3129799 h 6072782"/>
                <a:gd name="connsiteX340" fmla="*/ 6922371 w 11537287"/>
                <a:gd name="connsiteY340" fmla="*/ 3110161 h 6072782"/>
                <a:gd name="connsiteX341" fmla="*/ 6922371 w 11537287"/>
                <a:gd name="connsiteY341" fmla="*/ 3129799 h 6072782"/>
                <a:gd name="connsiteX342" fmla="*/ 6902227 w 11537287"/>
                <a:gd name="connsiteY342" fmla="*/ 3153997 h 6072782"/>
                <a:gd name="connsiteX343" fmla="*/ 6902227 w 11537287"/>
                <a:gd name="connsiteY343" fmla="*/ 3189724 h 6072782"/>
                <a:gd name="connsiteX344" fmla="*/ 6877015 w 11537287"/>
                <a:gd name="connsiteY344" fmla="*/ 3221271 h 6072782"/>
                <a:gd name="connsiteX345" fmla="*/ 6877015 w 11537287"/>
                <a:gd name="connsiteY345" fmla="*/ 3221651 h 6072782"/>
                <a:gd name="connsiteX346" fmla="*/ 6902227 w 11537287"/>
                <a:gd name="connsiteY346" fmla="*/ 3252945 h 6072782"/>
                <a:gd name="connsiteX347" fmla="*/ 6902227 w 11537287"/>
                <a:gd name="connsiteY347" fmla="*/ 3288292 h 6072782"/>
                <a:gd name="connsiteX348" fmla="*/ 6906725 w 11537287"/>
                <a:gd name="connsiteY348" fmla="*/ 3307612 h 6072782"/>
                <a:gd name="connsiteX349" fmla="*/ 6922371 w 11537287"/>
                <a:gd name="connsiteY349" fmla="*/ 3313630 h 6072782"/>
                <a:gd name="connsiteX350" fmla="*/ 6922371 w 11537287"/>
                <a:gd name="connsiteY350" fmla="*/ 3333141 h 6072782"/>
                <a:gd name="connsiteX351" fmla="*/ 6877269 w 11537287"/>
                <a:gd name="connsiteY351" fmla="*/ 3294627 h 6072782"/>
                <a:gd name="connsiteX352" fmla="*/ 6877269 w 11537287"/>
                <a:gd name="connsiteY352" fmla="*/ 3257252 h 6072782"/>
                <a:gd name="connsiteX353" fmla="*/ 6857504 w 11537287"/>
                <a:gd name="connsiteY353" fmla="*/ 3230900 h 6072782"/>
                <a:gd name="connsiteX354" fmla="*/ 6857504 w 11537287"/>
                <a:gd name="connsiteY354" fmla="*/ 3212403 h 6072782"/>
                <a:gd name="connsiteX355" fmla="*/ 6877269 w 11537287"/>
                <a:gd name="connsiteY355" fmla="*/ 3185543 h 6072782"/>
                <a:gd name="connsiteX356" fmla="*/ 6877269 w 11537287"/>
                <a:gd name="connsiteY356" fmla="*/ 3149183 h 6072782"/>
                <a:gd name="connsiteX357" fmla="*/ 6922371 w 11537287"/>
                <a:gd name="connsiteY357" fmla="*/ 3110161 h 6072782"/>
                <a:gd name="connsiteX358" fmla="*/ 2753674 w 11537287"/>
                <a:gd name="connsiteY358" fmla="*/ 3110161 h 6072782"/>
                <a:gd name="connsiteX359" fmla="*/ 2798522 w 11537287"/>
                <a:gd name="connsiteY359" fmla="*/ 3149183 h 6072782"/>
                <a:gd name="connsiteX360" fmla="*/ 2798522 w 11537287"/>
                <a:gd name="connsiteY360" fmla="*/ 3185543 h 6072782"/>
                <a:gd name="connsiteX361" fmla="*/ 2818160 w 11537287"/>
                <a:gd name="connsiteY361" fmla="*/ 3212403 h 6072782"/>
                <a:gd name="connsiteX362" fmla="*/ 2818160 w 11537287"/>
                <a:gd name="connsiteY362" fmla="*/ 3230900 h 6072782"/>
                <a:gd name="connsiteX363" fmla="*/ 2798522 w 11537287"/>
                <a:gd name="connsiteY363" fmla="*/ 3257252 h 6072782"/>
                <a:gd name="connsiteX364" fmla="*/ 2798522 w 11537287"/>
                <a:gd name="connsiteY364" fmla="*/ 3294627 h 6072782"/>
                <a:gd name="connsiteX365" fmla="*/ 2753674 w 11537287"/>
                <a:gd name="connsiteY365" fmla="*/ 3333141 h 6072782"/>
                <a:gd name="connsiteX366" fmla="*/ 2753674 w 11537287"/>
                <a:gd name="connsiteY366" fmla="*/ 3313630 h 6072782"/>
                <a:gd name="connsiteX367" fmla="*/ 2769320 w 11537287"/>
                <a:gd name="connsiteY367" fmla="*/ 3307549 h 6072782"/>
                <a:gd name="connsiteX368" fmla="*/ 2773944 w 11537287"/>
                <a:gd name="connsiteY368" fmla="*/ 3288292 h 6072782"/>
                <a:gd name="connsiteX369" fmla="*/ 2773944 w 11537287"/>
                <a:gd name="connsiteY369" fmla="*/ 3252945 h 6072782"/>
                <a:gd name="connsiteX370" fmla="*/ 2798903 w 11537287"/>
                <a:gd name="connsiteY370" fmla="*/ 3221651 h 6072782"/>
                <a:gd name="connsiteX371" fmla="*/ 2798903 w 11537287"/>
                <a:gd name="connsiteY371" fmla="*/ 3221271 h 6072782"/>
                <a:gd name="connsiteX372" fmla="*/ 2773944 w 11537287"/>
                <a:gd name="connsiteY372" fmla="*/ 3189724 h 6072782"/>
                <a:gd name="connsiteX373" fmla="*/ 2773944 w 11537287"/>
                <a:gd name="connsiteY373" fmla="*/ 3153997 h 6072782"/>
                <a:gd name="connsiteX374" fmla="*/ 2753674 w 11537287"/>
                <a:gd name="connsiteY374" fmla="*/ 3129799 h 6072782"/>
                <a:gd name="connsiteX375" fmla="*/ 2736189 w 11537287"/>
                <a:gd name="connsiteY375" fmla="*/ 3110161 h 6072782"/>
                <a:gd name="connsiteX376" fmla="*/ 2736189 w 11537287"/>
                <a:gd name="connsiteY376" fmla="*/ 3129799 h 6072782"/>
                <a:gd name="connsiteX377" fmla="*/ 2716044 w 11537287"/>
                <a:gd name="connsiteY377" fmla="*/ 3153997 h 6072782"/>
                <a:gd name="connsiteX378" fmla="*/ 2716044 w 11537287"/>
                <a:gd name="connsiteY378" fmla="*/ 3189724 h 6072782"/>
                <a:gd name="connsiteX379" fmla="*/ 2690833 w 11537287"/>
                <a:gd name="connsiteY379" fmla="*/ 3221271 h 6072782"/>
                <a:gd name="connsiteX380" fmla="*/ 2690833 w 11537287"/>
                <a:gd name="connsiteY380" fmla="*/ 3221651 h 6072782"/>
                <a:gd name="connsiteX381" fmla="*/ 2716044 w 11537287"/>
                <a:gd name="connsiteY381" fmla="*/ 3252945 h 6072782"/>
                <a:gd name="connsiteX382" fmla="*/ 2716044 w 11537287"/>
                <a:gd name="connsiteY382" fmla="*/ 3288292 h 6072782"/>
                <a:gd name="connsiteX383" fmla="*/ 2720543 w 11537287"/>
                <a:gd name="connsiteY383" fmla="*/ 3307612 h 6072782"/>
                <a:gd name="connsiteX384" fmla="*/ 2736189 w 11537287"/>
                <a:gd name="connsiteY384" fmla="*/ 3313630 h 6072782"/>
                <a:gd name="connsiteX385" fmla="*/ 2736189 w 11537287"/>
                <a:gd name="connsiteY385" fmla="*/ 3333141 h 6072782"/>
                <a:gd name="connsiteX386" fmla="*/ 2691086 w 11537287"/>
                <a:gd name="connsiteY386" fmla="*/ 3294627 h 6072782"/>
                <a:gd name="connsiteX387" fmla="*/ 2691086 w 11537287"/>
                <a:gd name="connsiteY387" fmla="*/ 3257252 h 6072782"/>
                <a:gd name="connsiteX388" fmla="*/ 2671322 w 11537287"/>
                <a:gd name="connsiteY388" fmla="*/ 3230900 h 6072782"/>
                <a:gd name="connsiteX389" fmla="*/ 2671322 w 11537287"/>
                <a:gd name="connsiteY389" fmla="*/ 3212403 h 6072782"/>
                <a:gd name="connsiteX390" fmla="*/ 2691086 w 11537287"/>
                <a:gd name="connsiteY390" fmla="*/ 3185543 h 6072782"/>
                <a:gd name="connsiteX391" fmla="*/ 2691086 w 11537287"/>
                <a:gd name="connsiteY391" fmla="*/ 3149183 h 6072782"/>
                <a:gd name="connsiteX392" fmla="*/ 2736189 w 11537287"/>
                <a:gd name="connsiteY392" fmla="*/ 3110161 h 6072782"/>
                <a:gd name="connsiteX393" fmla="*/ 886774 w 11537287"/>
                <a:gd name="connsiteY393" fmla="*/ 3110161 h 6072782"/>
                <a:gd name="connsiteX394" fmla="*/ 931623 w 11537287"/>
                <a:gd name="connsiteY394" fmla="*/ 3149183 h 6072782"/>
                <a:gd name="connsiteX395" fmla="*/ 931623 w 11537287"/>
                <a:gd name="connsiteY395" fmla="*/ 3185543 h 6072782"/>
                <a:gd name="connsiteX396" fmla="*/ 951260 w 11537287"/>
                <a:gd name="connsiteY396" fmla="*/ 3212403 h 6072782"/>
                <a:gd name="connsiteX397" fmla="*/ 951260 w 11537287"/>
                <a:gd name="connsiteY397" fmla="*/ 3230900 h 6072782"/>
                <a:gd name="connsiteX398" fmla="*/ 931623 w 11537287"/>
                <a:gd name="connsiteY398" fmla="*/ 3257252 h 6072782"/>
                <a:gd name="connsiteX399" fmla="*/ 931623 w 11537287"/>
                <a:gd name="connsiteY399" fmla="*/ 3294627 h 6072782"/>
                <a:gd name="connsiteX400" fmla="*/ 886774 w 11537287"/>
                <a:gd name="connsiteY400" fmla="*/ 3333141 h 6072782"/>
                <a:gd name="connsiteX401" fmla="*/ 886774 w 11537287"/>
                <a:gd name="connsiteY401" fmla="*/ 3313630 h 6072782"/>
                <a:gd name="connsiteX402" fmla="*/ 902420 w 11537287"/>
                <a:gd name="connsiteY402" fmla="*/ 3307549 h 6072782"/>
                <a:gd name="connsiteX403" fmla="*/ 907044 w 11537287"/>
                <a:gd name="connsiteY403" fmla="*/ 3288292 h 6072782"/>
                <a:gd name="connsiteX404" fmla="*/ 907044 w 11537287"/>
                <a:gd name="connsiteY404" fmla="*/ 3252945 h 6072782"/>
                <a:gd name="connsiteX405" fmla="*/ 932003 w 11537287"/>
                <a:gd name="connsiteY405" fmla="*/ 3221651 h 6072782"/>
                <a:gd name="connsiteX406" fmla="*/ 932003 w 11537287"/>
                <a:gd name="connsiteY406" fmla="*/ 3221271 h 6072782"/>
                <a:gd name="connsiteX407" fmla="*/ 907044 w 11537287"/>
                <a:gd name="connsiteY407" fmla="*/ 3189724 h 6072782"/>
                <a:gd name="connsiteX408" fmla="*/ 907044 w 11537287"/>
                <a:gd name="connsiteY408" fmla="*/ 3153997 h 6072782"/>
                <a:gd name="connsiteX409" fmla="*/ 886774 w 11537287"/>
                <a:gd name="connsiteY409" fmla="*/ 3129799 h 6072782"/>
                <a:gd name="connsiteX410" fmla="*/ 869289 w 11537287"/>
                <a:gd name="connsiteY410" fmla="*/ 3110161 h 6072782"/>
                <a:gd name="connsiteX411" fmla="*/ 869289 w 11537287"/>
                <a:gd name="connsiteY411" fmla="*/ 3129799 h 6072782"/>
                <a:gd name="connsiteX412" fmla="*/ 849145 w 11537287"/>
                <a:gd name="connsiteY412" fmla="*/ 3153997 h 6072782"/>
                <a:gd name="connsiteX413" fmla="*/ 849145 w 11537287"/>
                <a:gd name="connsiteY413" fmla="*/ 3189724 h 6072782"/>
                <a:gd name="connsiteX414" fmla="*/ 823933 w 11537287"/>
                <a:gd name="connsiteY414" fmla="*/ 3221271 h 6072782"/>
                <a:gd name="connsiteX415" fmla="*/ 823933 w 11537287"/>
                <a:gd name="connsiteY415" fmla="*/ 3221651 h 6072782"/>
                <a:gd name="connsiteX416" fmla="*/ 849145 w 11537287"/>
                <a:gd name="connsiteY416" fmla="*/ 3252945 h 6072782"/>
                <a:gd name="connsiteX417" fmla="*/ 849145 w 11537287"/>
                <a:gd name="connsiteY417" fmla="*/ 3288292 h 6072782"/>
                <a:gd name="connsiteX418" fmla="*/ 853643 w 11537287"/>
                <a:gd name="connsiteY418" fmla="*/ 3307612 h 6072782"/>
                <a:gd name="connsiteX419" fmla="*/ 869289 w 11537287"/>
                <a:gd name="connsiteY419" fmla="*/ 3313630 h 6072782"/>
                <a:gd name="connsiteX420" fmla="*/ 869289 w 11537287"/>
                <a:gd name="connsiteY420" fmla="*/ 3333141 h 6072782"/>
                <a:gd name="connsiteX421" fmla="*/ 824187 w 11537287"/>
                <a:gd name="connsiteY421" fmla="*/ 3294627 h 6072782"/>
                <a:gd name="connsiteX422" fmla="*/ 824187 w 11537287"/>
                <a:gd name="connsiteY422" fmla="*/ 3257252 h 6072782"/>
                <a:gd name="connsiteX423" fmla="*/ 804422 w 11537287"/>
                <a:gd name="connsiteY423" fmla="*/ 3230900 h 6072782"/>
                <a:gd name="connsiteX424" fmla="*/ 804422 w 11537287"/>
                <a:gd name="connsiteY424" fmla="*/ 3212403 h 6072782"/>
                <a:gd name="connsiteX425" fmla="*/ 824187 w 11537287"/>
                <a:gd name="connsiteY425" fmla="*/ 3185543 h 6072782"/>
                <a:gd name="connsiteX426" fmla="*/ 824187 w 11537287"/>
                <a:gd name="connsiteY426" fmla="*/ 3149183 h 6072782"/>
                <a:gd name="connsiteX427" fmla="*/ 869289 w 11537287"/>
                <a:gd name="connsiteY427" fmla="*/ 3110161 h 6072782"/>
                <a:gd name="connsiteX428" fmla="*/ 11392280 w 11537287"/>
                <a:gd name="connsiteY428" fmla="*/ 3107344 h 6072782"/>
                <a:gd name="connsiteX429" fmla="*/ 11420355 w 11537287"/>
                <a:gd name="connsiteY429" fmla="*/ 3107344 h 6072782"/>
                <a:gd name="connsiteX430" fmla="*/ 11406579 w 11537287"/>
                <a:gd name="connsiteY430" fmla="*/ 3174481 h 6072782"/>
                <a:gd name="connsiteX431" fmla="*/ 11448779 w 11537287"/>
                <a:gd name="connsiteY431" fmla="*/ 3174481 h 6072782"/>
                <a:gd name="connsiteX432" fmla="*/ 11463078 w 11537287"/>
                <a:gd name="connsiteY432" fmla="*/ 3107344 h 6072782"/>
                <a:gd name="connsiteX433" fmla="*/ 11490631 w 11537287"/>
                <a:gd name="connsiteY433" fmla="*/ 3107344 h 6072782"/>
                <a:gd name="connsiteX434" fmla="*/ 11476680 w 11537287"/>
                <a:gd name="connsiteY434" fmla="*/ 3174481 h 6072782"/>
                <a:gd name="connsiteX435" fmla="*/ 11516439 w 11537287"/>
                <a:gd name="connsiteY435" fmla="*/ 3174481 h 6072782"/>
                <a:gd name="connsiteX436" fmla="*/ 11511033 w 11537287"/>
                <a:gd name="connsiteY436" fmla="*/ 3198895 h 6072782"/>
                <a:gd name="connsiteX437" fmla="*/ 11471449 w 11537287"/>
                <a:gd name="connsiteY437" fmla="*/ 3198895 h 6072782"/>
                <a:gd name="connsiteX438" fmla="*/ 11461335 w 11537287"/>
                <a:gd name="connsiteY438" fmla="*/ 3247024 h 6072782"/>
                <a:gd name="connsiteX439" fmla="*/ 11504581 w 11537287"/>
                <a:gd name="connsiteY439" fmla="*/ 3247024 h 6072782"/>
                <a:gd name="connsiteX440" fmla="*/ 11498477 w 11537287"/>
                <a:gd name="connsiteY440" fmla="*/ 3271437 h 6072782"/>
                <a:gd name="connsiteX441" fmla="*/ 11456278 w 11537287"/>
                <a:gd name="connsiteY441" fmla="*/ 3271437 h 6072782"/>
                <a:gd name="connsiteX442" fmla="*/ 11441978 w 11537287"/>
                <a:gd name="connsiteY442" fmla="*/ 3335958 h 6072782"/>
                <a:gd name="connsiteX443" fmla="*/ 11414251 w 11537287"/>
                <a:gd name="connsiteY443" fmla="*/ 3335958 h 6072782"/>
                <a:gd name="connsiteX444" fmla="*/ 11428202 w 11537287"/>
                <a:gd name="connsiteY444" fmla="*/ 3271437 h 6072782"/>
                <a:gd name="connsiteX445" fmla="*/ 11386002 w 11537287"/>
                <a:gd name="connsiteY445" fmla="*/ 3271437 h 6072782"/>
                <a:gd name="connsiteX446" fmla="*/ 11372400 w 11537287"/>
                <a:gd name="connsiteY446" fmla="*/ 3335958 h 6072782"/>
                <a:gd name="connsiteX447" fmla="*/ 11344674 w 11537287"/>
                <a:gd name="connsiteY447" fmla="*/ 3335958 h 6072782"/>
                <a:gd name="connsiteX448" fmla="*/ 11358275 w 11537287"/>
                <a:gd name="connsiteY448" fmla="*/ 3271437 h 6072782"/>
                <a:gd name="connsiteX449" fmla="*/ 11318342 w 11537287"/>
                <a:gd name="connsiteY449" fmla="*/ 3271437 h 6072782"/>
                <a:gd name="connsiteX450" fmla="*/ 11323224 w 11537287"/>
                <a:gd name="connsiteY450" fmla="*/ 3247024 h 6072782"/>
                <a:gd name="connsiteX451" fmla="*/ 11363681 w 11537287"/>
                <a:gd name="connsiteY451" fmla="*/ 3247024 h 6072782"/>
                <a:gd name="connsiteX452" fmla="*/ 11373272 w 11537287"/>
                <a:gd name="connsiteY452" fmla="*/ 3198895 h 6072782"/>
                <a:gd name="connsiteX453" fmla="*/ 11330723 w 11537287"/>
                <a:gd name="connsiteY453" fmla="*/ 3198895 h 6072782"/>
                <a:gd name="connsiteX454" fmla="*/ 11335780 w 11537287"/>
                <a:gd name="connsiteY454" fmla="*/ 3174481 h 6072782"/>
                <a:gd name="connsiteX455" fmla="*/ 11378329 w 11537287"/>
                <a:gd name="connsiteY455" fmla="*/ 3174481 h 6072782"/>
                <a:gd name="connsiteX456" fmla="*/ 5341932 w 11537287"/>
                <a:gd name="connsiteY456" fmla="*/ 3107344 h 6072782"/>
                <a:gd name="connsiteX457" fmla="*/ 5370007 w 11537287"/>
                <a:gd name="connsiteY457" fmla="*/ 3107344 h 6072782"/>
                <a:gd name="connsiteX458" fmla="*/ 5356231 w 11537287"/>
                <a:gd name="connsiteY458" fmla="*/ 3174481 h 6072782"/>
                <a:gd name="connsiteX459" fmla="*/ 5398431 w 11537287"/>
                <a:gd name="connsiteY459" fmla="*/ 3174481 h 6072782"/>
                <a:gd name="connsiteX460" fmla="*/ 5412730 w 11537287"/>
                <a:gd name="connsiteY460" fmla="*/ 3107344 h 6072782"/>
                <a:gd name="connsiteX461" fmla="*/ 5440283 w 11537287"/>
                <a:gd name="connsiteY461" fmla="*/ 3107344 h 6072782"/>
                <a:gd name="connsiteX462" fmla="*/ 5426332 w 11537287"/>
                <a:gd name="connsiteY462" fmla="*/ 3174481 h 6072782"/>
                <a:gd name="connsiteX463" fmla="*/ 5466091 w 11537287"/>
                <a:gd name="connsiteY463" fmla="*/ 3174481 h 6072782"/>
                <a:gd name="connsiteX464" fmla="*/ 5460686 w 11537287"/>
                <a:gd name="connsiteY464" fmla="*/ 3198895 h 6072782"/>
                <a:gd name="connsiteX465" fmla="*/ 5421101 w 11537287"/>
                <a:gd name="connsiteY465" fmla="*/ 3198895 h 6072782"/>
                <a:gd name="connsiteX466" fmla="*/ 5410987 w 11537287"/>
                <a:gd name="connsiteY466" fmla="*/ 3247024 h 6072782"/>
                <a:gd name="connsiteX467" fmla="*/ 5454233 w 11537287"/>
                <a:gd name="connsiteY467" fmla="*/ 3247024 h 6072782"/>
                <a:gd name="connsiteX468" fmla="*/ 5448130 w 11537287"/>
                <a:gd name="connsiteY468" fmla="*/ 3271437 h 6072782"/>
                <a:gd name="connsiteX469" fmla="*/ 5405930 w 11537287"/>
                <a:gd name="connsiteY469" fmla="*/ 3271437 h 6072782"/>
                <a:gd name="connsiteX470" fmla="*/ 5391631 w 11537287"/>
                <a:gd name="connsiteY470" fmla="*/ 3335958 h 6072782"/>
                <a:gd name="connsiteX471" fmla="*/ 5363903 w 11537287"/>
                <a:gd name="connsiteY471" fmla="*/ 3335958 h 6072782"/>
                <a:gd name="connsiteX472" fmla="*/ 5377854 w 11537287"/>
                <a:gd name="connsiteY472" fmla="*/ 3271437 h 6072782"/>
                <a:gd name="connsiteX473" fmla="*/ 5335654 w 11537287"/>
                <a:gd name="connsiteY473" fmla="*/ 3271437 h 6072782"/>
                <a:gd name="connsiteX474" fmla="*/ 5322052 w 11537287"/>
                <a:gd name="connsiteY474" fmla="*/ 3335958 h 6072782"/>
                <a:gd name="connsiteX475" fmla="*/ 5294326 w 11537287"/>
                <a:gd name="connsiteY475" fmla="*/ 3335958 h 6072782"/>
                <a:gd name="connsiteX476" fmla="*/ 5307927 w 11537287"/>
                <a:gd name="connsiteY476" fmla="*/ 3271437 h 6072782"/>
                <a:gd name="connsiteX477" fmla="*/ 5267994 w 11537287"/>
                <a:gd name="connsiteY477" fmla="*/ 3271437 h 6072782"/>
                <a:gd name="connsiteX478" fmla="*/ 5272877 w 11537287"/>
                <a:gd name="connsiteY478" fmla="*/ 3247024 h 6072782"/>
                <a:gd name="connsiteX479" fmla="*/ 5313333 w 11537287"/>
                <a:gd name="connsiteY479" fmla="*/ 3247024 h 6072782"/>
                <a:gd name="connsiteX480" fmla="*/ 5322924 w 11537287"/>
                <a:gd name="connsiteY480" fmla="*/ 3198895 h 6072782"/>
                <a:gd name="connsiteX481" fmla="*/ 5280375 w 11537287"/>
                <a:gd name="connsiteY481" fmla="*/ 3198895 h 6072782"/>
                <a:gd name="connsiteX482" fmla="*/ 5285432 w 11537287"/>
                <a:gd name="connsiteY482" fmla="*/ 3174481 h 6072782"/>
                <a:gd name="connsiteX483" fmla="*/ 5327981 w 11537287"/>
                <a:gd name="connsiteY483" fmla="*/ 3174481 h 6072782"/>
                <a:gd name="connsiteX484" fmla="*/ 179757 w 11537287"/>
                <a:gd name="connsiteY484" fmla="*/ 2978567 h 6072782"/>
                <a:gd name="connsiteX485" fmla="*/ 156566 w 11537287"/>
                <a:gd name="connsiteY485" fmla="*/ 3017814 h 6072782"/>
                <a:gd name="connsiteX486" fmla="*/ 172979 w 11537287"/>
                <a:gd name="connsiteY486" fmla="*/ 3021204 h 6072782"/>
                <a:gd name="connsiteX487" fmla="*/ 189390 w 11537287"/>
                <a:gd name="connsiteY487" fmla="*/ 3017636 h 6072782"/>
                <a:gd name="connsiteX488" fmla="*/ 186448 w 11537287"/>
                <a:gd name="connsiteY488" fmla="*/ 3008181 h 6072782"/>
                <a:gd name="connsiteX489" fmla="*/ 187429 w 11537287"/>
                <a:gd name="connsiteY489" fmla="*/ 2994980 h 6072782"/>
                <a:gd name="connsiteX490" fmla="*/ 179757 w 11537287"/>
                <a:gd name="connsiteY490" fmla="*/ 2978567 h 6072782"/>
                <a:gd name="connsiteX491" fmla="*/ 19737 w 11537287"/>
                <a:gd name="connsiteY491" fmla="*/ 2962155 h 6072782"/>
                <a:gd name="connsiteX492" fmla="*/ 6089 w 11537287"/>
                <a:gd name="connsiteY492" fmla="*/ 2982403 h 6072782"/>
                <a:gd name="connsiteX493" fmla="*/ 27587 w 11537287"/>
                <a:gd name="connsiteY493" fmla="*/ 3003989 h 6072782"/>
                <a:gd name="connsiteX494" fmla="*/ 36505 w 11537287"/>
                <a:gd name="connsiteY494" fmla="*/ 2996764 h 6072782"/>
                <a:gd name="connsiteX495" fmla="*/ 19737 w 11537287"/>
                <a:gd name="connsiteY495" fmla="*/ 2962155 h 6072782"/>
                <a:gd name="connsiteX496" fmla="*/ 3349 w 11537287"/>
                <a:gd name="connsiteY496" fmla="*/ 2893864 h 6072782"/>
                <a:gd name="connsiteX497" fmla="*/ 3148 w 11537287"/>
                <a:gd name="connsiteY497" fmla="*/ 2895381 h 6072782"/>
                <a:gd name="connsiteX498" fmla="*/ 3082 w 11537287"/>
                <a:gd name="connsiteY498" fmla="*/ 2894121 h 6072782"/>
                <a:gd name="connsiteX499" fmla="*/ 205269 w 11537287"/>
                <a:gd name="connsiteY499" fmla="*/ 2866669 h 6072782"/>
                <a:gd name="connsiteX500" fmla="*/ 201276 w 11537287"/>
                <a:gd name="connsiteY500" fmla="*/ 2869523 h 6072782"/>
                <a:gd name="connsiteX501" fmla="*/ 208199 w 11537287"/>
                <a:gd name="connsiteY501" fmla="*/ 2877894 h 6072782"/>
                <a:gd name="connsiteX502" fmla="*/ 215079 w 11537287"/>
                <a:gd name="connsiteY502" fmla="*/ 2876168 h 6072782"/>
                <a:gd name="connsiteX503" fmla="*/ 188855 w 11537287"/>
                <a:gd name="connsiteY503" fmla="*/ 2895346 h 6072782"/>
                <a:gd name="connsiteX504" fmla="*/ 193873 w 11537287"/>
                <a:gd name="connsiteY504" fmla="*/ 2887723 h 6072782"/>
                <a:gd name="connsiteX505" fmla="*/ 186090 w 11537287"/>
                <a:gd name="connsiteY505" fmla="*/ 2880762 h 6072782"/>
                <a:gd name="connsiteX506" fmla="*/ 181273 w 11537287"/>
                <a:gd name="connsiteY506" fmla="*/ 2884821 h 6072782"/>
                <a:gd name="connsiteX507" fmla="*/ 205269 w 11537287"/>
                <a:gd name="connsiteY507" fmla="*/ 2866669 h 6072782"/>
                <a:gd name="connsiteX508" fmla="*/ 178700 w 11537287"/>
                <a:gd name="connsiteY508" fmla="*/ 2850257 h 6072782"/>
                <a:gd name="connsiteX509" fmla="*/ 180984 w 11537287"/>
                <a:gd name="connsiteY509" fmla="*/ 2850294 h 6072782"/>
                <a:gd name="connsiteX510" fmla="*/ 189123 w 11537287"/>
                <a:gd name="connsiteY510" fmla="*/ 2851550 h 6072782"/>
                <a:gd name="connsiteX511" fmla="*/ 170213 w 11537287"/>
                <a:gd name="connsiteY511" fmla="*/ 2870460 h 6072782"/>
                <a:gd name="connsiteX512" fmla="*/ 178700 w 11537287"/>
                <a:gd name="connsiteY512" fmla="*/ 2850257 h 6072782"/>
                <a:gd name="connsiteX513" fmla="*/ 281302 w 11537287"/>
                <a:gd name="connsiteY513" fmla="*/ 2828180 h 6072782"/>
                <a:gd name="connsiteX514" fmla="*/ 273106 w 11537287"/>
                <a:gd name="connsiteY514" fmla="*/ 2842101 h 6072782"/>
                <a:gd name="connsiteX515" fmla="*/ 260930 w 11537287"/>
                <a:gd name="connsiteY515" fmla="*/ 2844092 h 6072782"/>
                <a:gd name="connsiteX516" fmla="*/ 272070 w 11537287"/>
                <a:gd name="connsiteY516" fmla="*/ 2837463 h 6072782"/>
                <a:gd name="connsiteX517" fmla="*/ 281302 w 11537287"/>
                <a:gd name="connsiteY517" fmla="*/ 2828180 h 6072782"/>
                <a:gd name="connsiteX518" fmla="*/ 177365 w 11537287"/>
                <a:gd name="connsiteY518" fmla="*/ 2809175 h 6072782"/>
                <a:gd name="connsiteX519" fmla="*/ 183229 w 11537287"/>
                <a:gd name="connsiteY519" fmla="*/ 2809689 h 6072782"/>
                <a:gd name="connsiteX520" fmla="*/ 226213 w 11537287"/>
                <a:gd name="connsiteY520" fmla="*/ 2838909 h 6072782"/>
                <a:gd name="connsiteX521" fmla="*/ 244084 w 11537287"/>
                <a:gd name="connsiteY521" fmla="*/ 2859919 h 6072782"/>
                <a:gd name="connsiteX522" fmla="*/ 240944 w 11537287"/>
                <a:gd name="connsiteY522" fmla="*/ 2867646 h 6072782"/>
                <a:gd name="connsiteX523" fmla="*/ 253970 w 11537287"/>
                <a:gd name="connsiteY523" fmla="*/ 2877683 h 6072782"/>
                <a:gd name="connsiteX524" fmla="*/ 252294 w 11537287"/>
                <a:gd name="connsiteY524" fmla="*/ 2840600 h 6072782"/>
                <a:gd name="connsiteX525" fmla="*/ 267509 w 11537287"/>
                <a:gd name="connsiteY525" fmla="*/ 2830940 h 6072782"/>
                <a:gd name="connsiteX526" fmla="*/ 279342 w 11537287"/>
                <a:gd name="connsiteY526" fmla="*/ 2819832 h 6072782"/>
                <a:gd name="connsiteX527" fmla="*/ 302041 w 11537287"/>
                <a:gd name="connsiteY527" fmla="*/ 2881894 h 6072782"/>
                <a:gd name="connsiteX528" fmla="*/ 264611 w 11537287"/>
                <a:gd name="connsiteY528" fmla="*/ 2949753 h 6072782"/>
                <a:gd name="connsiteX529" fmla="*/ 232799 w 11537287"/>
                <a:gd name="connsiteY529" fmla="*/ 2950466 h 6072782"/>
                <a:gd name="connsiteX530" fmla="*/ 228820 w 11537287"/>
                <a:gd name="connsiteY530" fmla="*/ 2949080 h 6072782"/>
                <a:gd name="connsiteX531" fmla="*/ 228342 w 11537287"/>
                <a:gd name="connsiteY531" fmla="*/ 2951341 h 6072782"/>
                <a:gd name="connsiteX532" fmla="*/ 203755 w 11537287"/>
                <a:gd name="connsiteY532" fmla="*/ 2971245 h 6072782"/>
                <a:gd name="connsiteX533" fmla="*/ 182263 w 11537287"/>
                <a:gd name="connsiteY533" fmla="*/ 2961586 h 6072782"/>
                <a:gd name="connsiteX534" fmla="*/ 181297 w 11537287"/>
                <a:gd name="connsiteY534" fmla="*/ 2974143 h 6072782"/>
                <a:gd name="connsiteX535" fmla="*/ 190956 w 11537287"/>
                <a:gd name="connsiteY535" fmla="*/ 2994669 h 6072782"/>
                <a:gd name="connsiteX536" fmla="*/ 190474 w 11537287"/>
                <a:gd name="connsiteY536" fmla="*/ 3005778 h 6072782"/>
                <a:gd name="connsiteX537" fmla="*/ 192646 w 11537287"/>
                <a:gd name="connsiteY537" fmla="*/ 3019543 h 6072782"/>
                <a:gd name="connsiteX538" fmla="*/ 176709 w 11537287"/>
                <a:gd name="connsiteY538" fmla="*/ 3025339 h 6072782"/>
                <a:gd name="connsiteX539" fmla="*/ 151834 w 11537287"/>
                <a:gd name="connsiteY539" fmla="*/ 3020026 h 6072782"/>
                <a:gd name="connsiteX540" fmla="*/ 151076 w 11537287"/>
                <a:gd name="connsiteY540" fmla="*/ 3015572 h 6072782"/>
                <a:gd name="connsiteX541" fmla="*/ 151036 w 11537287"/>
                <a:gd name="connsiteY541" fmla="*/ 3014227 h 6072782"/>
                <a:gd name="connsiteX542" fmla="*/ 147296 w 11537287"/>
                <a:gd name="connsiteY542" fmla="*/ 3017771 h 6072782"/>
                <a:gd name="connsiteX543" fmla="*/ 123822 w 11537287"/>
                <a:gd name="connsiteY543" fmla="*/ 3032100 h 6072782"/>
                <a:gd name="connsiteX544" fmla="*/ 100397 w 11537287"/>
                <a:gd name="connsiteY544" fmla="*/ 3003846 h 6072782"/>
                <a:gd name="connsiteX545" fmla="*/ 111264 w 11537287"/>
                <a:gd name="connsiteY545" fmla="*/ 2992013 h 6072782"/>
                <a:gd name="connsiteX546" fmla="*/ 86392 w 11537287"/>
                <a:gd name="connsiteY546" fmla="*/ 2989598 h 6072782"/>
                <a:gd name="connsiteX547" fmla="*/ 85426 w 11537287"/>
                <a:gd name="connsiteY547" fmla="*/ 3000465 h 6072782"/>
                <a:gd name="connsiteX548" fmla="*/ 79147 w 11537287"/>
                <a:gd name="connsiteY548" fmla="*/ 3011091 h 6072782"/>
                <a:gd name="connsiteX549" fmla="*/ 74075 w 11537287"/>
                <a:gd name="connsiteY549" fmla="*/ 3030168 h 6072782"/>
                <a:gd name="connsiteX550" fmla="*/ 33988 w 11537287"/>
                <a:gd name="connsiteY550" fmla="*/ 3021716 h 6072782"/>
                <a:gd name="connsiteX551" fmla="*/ 34954 w 11537287"/>
                <a:gd name="connsiteY551" fmla="*/ 3007710 h 6072782"/>
                <a:gd name="connsiteX552" fmla="*/ 25294 w 11537287"/>
                <a:gd name="connsiteY552" fmla="*/ 3009642 h 6072782"/>
                <a:gd name="connsiteX553" fmla="*/ 180 w 11537287"/>
                <a:gd name="connsiteY553" fmla="*/ 2983802 h 6072782"/>
                <a:gd name="connsiteX554" fmla="*/ 15393 w 11537287"/>
                <a:gd name="connsiteY554" fmla="*/ 2957239 h 6072782"/>
                <a:gd name="connsiteX555" fmla="*/ 16842 w 11537287"/>
                <a:gd name="connsiteY555" fmla="*/ 2930675 h 6072782"/>
                <a:gd name="connsiteX556" fmla="*/ 1387 w 11537287"/>
                <a:gd name="connsiteY556" fmla="*/ 2908699 h 6072782"/>
                <a:gd name="connsiteX557" fmla="*/ 3148 w 11537287"/>
                <a:gd name="connsiteY557" fmla="*/ 2895381 h 6072782"/>
                <a:gd name="connsiteX558" fmla="*/ 3607 w 11537287"/>
                <a:gd name="connsiteY558" fmla="*/ 2904101 h 6072782"/>
                <a:gd name="connsiteX559" fmla="*/ 4431 w 11537287"/>
                <a:gd name="connsiteY559" fmla="*/ 2904497 h 6072782"/>
                <a:gd name="connsiteX560" fmla="*/ 4552 w 11537287"/>
                <a:gd name="connsiteY560" fmla="*/ 2905671 h 6072782"/>
                <a:gd name="connsiteX561" fmla="*/ 24108 w 11537287"/>
                <a:gd name="connsiteY561" fmla="*/ 2919518 h 6072782"/>
                <a:gd name="connsiteX562" fmla="*/ 42330 w 11537287"/>
                <a:gd name="connsiteY562" fmla="*/ 2990148 h 6072782"/>
                <a:gd name="connsiteX563" fmla="*/ 43293 w 11537287"/>
                <a:gd name="connsiteY563" fmla="*/ 2991998 h 6072782"/>
                <a:gd name="connsiteX564" fmla="*/ 43258 w 11537287"/>
                <a:gd name="connsiteY564" fmla="*/ 2992865 h 6072782"/>
                <a:gd name="connsiteX565" fmla="*/ 41857 w 11537287"/>
                <a:gd name="connsiteY565" fmla="*/ 3006308 h 6072782"/>
                <a:gd name="connsiteX566" fmla="*/ 38558 w 11537287"/>
                <a:gd name="connsiteY566" fmla="*/ 3017636 h 6072782"/>
                <a:gd name="connsiteX567" fmla="*/ 72721 w 11537287"/>
                <a:gd name="connsiteY567" fmla="*/ 3024237 h 6072782"/>
                <a:gd name="connsiteX568" fmla="*/ 73879 w 11537287"/>
                <a:gd name="connsiteY568" fmla="*/ 3013354 h 6072782"/>
                <a:gd name="connsiteX569" fmla="*/ 80480 w 11537287"/>
                <a:gd name="connsiteY569" fmla="*/ 2999172 h 6072782"/>
                <a:gd name="connsiteX570" fmla="*/ 80759 w 11537287"/>
                <a:gd name="connsiteY570" fmla="*/ 2984064 h 6072782"/>
                <a:gd name="connsiteX571" fmla="*/ 80551 w 11537287"/>
                <a:gd name="connsiteY571" fmla="*/ 2978385 h 6072782"/>
                <a:gd name="connsiteX572" fmla="*/ 82139 w 11537287"/>
                <a:gd name="connsiteY572" fmla="*/ 2980235 h 6072782"/>
                <a:gd name="connsiteX573" fmla="*/ 121512 w 11537287"/>
                <a:gd name="connsiteY573" fmla="*/ 2978032 h 6072782"/>
                <a:gd name="connsiteX574" fmla="*/ 122403 w 11537287"/>
                <a:gd name="connsiteY574" fmla="*/ 2991769 h 6072782"/>
                <a:gd name="connsiteX575" fmla="*/ 105366 w 11537287"/>
                <a:gd name="connsiteY575" fmla="*/ 3004435 h 6072782"/>
                <a:gd name="connsiteX576" fmla="*/ 124276 w 11537287"/>
                <a:gd name="connsiteY576" fmla="*/ 3027358 h 6072782"/>
                <a:gd name="connsiteX577" fmla="*/ 159331 w 11537287"/>
                <a:gd name="connsiteY577" fmla="*/ 2999618 h 6072782"/>
                <a:gd name="connsiteX578" fmla="*/ 178419 w 11537287"/>
                <a:gd name="connsiteY578" fmla="*/ 2957784 h 6072782"/>
                <a:gd name="connsiteX579" fmla="*/ 161556 w 11537287"/>
                <a:gd name="connsiteY579" fmla="*/ 2939521 h 6072782"/>
                <a:gd name="connsiteX580" fmla="*/ 161363 w 11537287"/>
                <a:gd name="connsiteY580" fmla="*/ 2939013 h 6072782"/>
                <a:gd name="connsiteX581" fmla="*/ 163980 w 11537287"/>
                <a:gd name="connsiteY581" fmla="*/ 2940661 h 6072782"/>
                <a:gd name="connsiteX582" fmla="*/ 183147 w 11537287"/>
                <a:gd name="connsiteY582" fmla="*/ 2951273 h 6072782"/>
                <a:gd name="connsiteX583" fmla="*/ 204466 w 11537287"/>
                <a:gd name="connsiteY583" fmla="*/ 2965723 h 6072782"/>
                <a:gd name="connsiteX584" fmla="*/ 225427 w 11537287"/>
                <a:gd name="connsiteY584" fmla="*/ 2947348 h 6072782"/>
                <a:gd name="connsiteX585" fmla="*/ 222126 w 11537287"/>
                <a:gd name="connsiteY585" fmla="*/ 2947081 h 6072782"/>
                <a:gd name="connsiteX586" fmla="*/ 194333 w 11537287"/>
                <a:gd name="connsiteY586" fmla="*/ 2924933 h 6072782"/>
                <a:gd name="connsiteX587" fmla="*/ 195258 w 11537287"/>
                <a:gd name="connsiteY587" fmla="*/ 2920157 h 6072782"/>
                <a:gd name="connsiteX588" fmla="*/ 197010 w 11537287"/>
                <a:gd name="connsiteY588" fmla="*/ 2922067 h 6072782"/>
                <a:gd name="connsiteX589" fmla="*/ 268776 w 11537287"/>
                <a:gd name="connsiteY589" fmla="*/ 2940212 h 6072782"/>
                <a:gd name="connsiteX590" fmla="*/ 280640 w 11537287"/>
                <a:gd name="connsiteY590" fmla="*/ 2823096 h 6072782"/>
                <a:gd name="connsiteX591" fmla="*/ 271363 w 11537287"/>
                <a:gd name="connsiteY591" fmla="*/ 2833800 h 6072782"/>
                <a:gd name="connsiteX592" fmla="*/ 257805 w 11537287"/>
                <a:gd name="connsiteY592" fmla="*/ 2840668 h 6072782"/>
                <a:gd name="connsiteX593" fmla="*/ 249328 w 11537287"/>
                <a:gd name="connsiteY593" fmla="*/ 2901463 h 6072782"/>
                <a:gd name="connsiteX594" fmla="*/ 247848 w 11537287"/>
                <a:gd name="connsiteY594" fmla="*/ 2902631 h 6072782"/>
                <a:gd name="connsiteX595" fmla="*/ 248159 w 11537287"/>
                <a:gd name="connsiteY595" fmla="*/ 2902030 h 6072782"/>
                <a:gd name="connsiteX596" fmla="*/ 251383 w 11537287"/>
                <a:gd name="connsiteY596" fmla="*/ 2882948 h 6072782"/>
                <a:gd name="connsiteX597" fmla="*/ 238807 w 11537287"/>
                <a:gd name="connsiteY597" fmla="*/ 2885356 h 6072782"/>
                <a:gd name="connsiteX598" fmla="*/ 240145 w 11537287"/>
                <a:gd name="connsiteY598" fmla="*/ 2874920 h 6072782"/>
                <a:gd name="connsiteX599" fmla="*/ 228371 w 11537287"/>
                <a:gd name="connsiteY599" fmla="*/ 2874830 h 6072782"/>
                <a:gd name="connsiteX600" fmla="*/ 231760 w 11537287"/>
                <a:gd name="connsiteY600" fmla="*/ 2867070 h 6072782"/>
                <a:gd name="connsiteX601" fmla="*/ 224953 w 11537287"/>
                <a:gd name="connsiteY601" fmla="*/ 2863926 h 6072782"/>
                <a:gd name="connsiteX602" fmla="*/ 223066 w 11537287"/>
                <a:gd name="connsiteY602" fmla="*/ 2863939 h 6072782"/>
                <a:gd name="connsiteX603" fmla="*/ 224618 w 11537287"/>
                <a:gd name="connsiteY603" fmla="*/ 2863382 h 6072782"/>
                <a:gd name="connsiteX604" fmla="*/ 226943 w 11537287"/>
                <a:gd name="connsiteY604" fmla="*/ 2862700 h 6072782"/>
                <a:gd name="connsiteX605" fmla="*/ 238182 w 11537287"/>
                <a:gd name="connsiteY605" fmla="*/ 2860113 h 6072782"/>
                <a:gd name="connsiteX606" fmla="*/ 226764 w 11537287"/>
                <a:gd name="connsiteY606" fmla="*/ 2845574 h 6072782"/>
                <a:gd name="connsiteX607" fmla="*/ 214865 w 11537287"/>
                <a:gd name="connsiteY607" fmla="*/ 2844114 h 6072782"/>
                <a:gd name="connsiteX608" fmla="*/ 213767 w 11537287"/>
                <a:gd name="connsiteY608" fmla="*/ 2844056 h 6072782"/>
                <a:gd name="connsiteX609" fmla="*/ 213775 w 11537287"/>
                <a:gd name="connsiteY609" fmla="*/ 2844032 h 6072782"/>
                <a:gd name="connsiteX610" fmla="*/ 221503 w 11537287"/>
                <a:gd name="connsiteY610" fmla="*/ 2841649 h 6072782"/>
                <a:gd name="connsiteX611" fmla="*/ 179133 w 11537287"/>
                <a:gd name="connsiteY611" fmla="*/ 2815693 h 6072782"/>
                <a:gd name="connsiteX612" fmla="*/ 129003 w 11537287"/>
                <a:gd name="connsiteY612" fmla="*/ 2839152 h 6072782"/>
                <a:gd name="connsiteX613" fmla="*/ 143140 w 11537287"/>
                <a:gd name="connsiteY613" fmla="*/ 2839476 h 6072782"/>
                <a:gd name="connsiteX614" fmla="*/ 143713 w 11537287"/>
                <a:gd name="connsiteY614" fmla="*/ 2839559 h 6072782"/>
                <a:gd name="connsiteX615" fmla="*/ 141320 w 11537287"/>
                <a:gd name="connsiteY615" fmla="*/ 2840210 h 6072782"/>
                <a:gd name="connsiteX616" fmla="*/ 116887 w 11537287"/>
                <a:gd name="connsiteY616" fmla="*/ 2845292 h 6072782"/>
                <a:gd name="connsiteX617" fmla="*/ 70724 w 11537287"/>
                <a:gd name="connsiteY617" fmla="*/ 2905171 h 6072782"/>
                <a:gd name="connsiteX618" fmla="*/ 84610 w 11537287"/>
                <a:gd name="connsiteY618" fmla="*/ 2927135 h 6072782"/>
                <a:gd name="connsiteX619" fmla="*/ 99020 w 11537287"/>
                <a:gd name="connsiteY619" fmla="*/ 2910709 h 6072782"/>
                <a:gd name="connsiteX620" fmla="*/ 82161 w 11537287"/>
                <a:gd name="connsiteY620" fmla="*/ 2945578 h 6072782"/>
                <a:gd name="connsiteX621" fmla="*/ 97984 w 11537287"/>
                <a:gd name="connsiteY621" fmla="*/ 2954896 h 6072782"/>
                <a:gd name="connsiteX622" fmla="*/ 124956 w 11537287"/>
                <a:gd name="connsiteY622" fmla="*/ 2941543 h 6072782"/>
                <a:gd name="connsiteX623" fmla="*/ 142246 w 11537287"/>
                <a:gd name="connsiteY623" fmla="*/ 2939814 h 6072782"/>
                <a:gd name="connsiteX624" fmla="*/ 148442 w 11537287"/>
                <a:gd name="connsiteY624" fmla="*/ 2871228 h 6072782"/>
                <a:gd name="connsiteX625" fmla="*/ 149162 w 11537287"/>
                <a:gd name="connsiteY625" fmla="*/ 2948604 h 6072782"/>
                <a:gd name="connsiteX626" fmla="*/ 147070 w 11537287"/>
                <a:gd name="connsiteY626" fmla="*/ 2948261 h 6072782"/>
                <a:gd name="connsiteX627" fmla="*/ 144419 w 11537287"/>
                <a:gd name="connsiteY627" fmla="*/ 2947583 h 6072782"/>
                <a:gd name="connsiteX628" fmla="*/ 141703 w 11537287"/>
                <a:gd name="connsiteY628" fmla="*/ 2947159 h 6072782"/>
                <a:gd name="connsiteX629" fmla="*/ 140941 w 11537287"/>
                <a:gd name="connsiteY629" fmla="*/ 2946983 h 6072782"/>
                <a:gd name="connsiteX630" fmla="*/ 134217 w 11537287"/>
                <a:gd name="connsiteY630" fmla="*/ 2946755 h 6072782"/>
                <a:gd name="connsiteX631" fmla="*/ 133237 w 11537287"/>
                <a:gd name="connsiteY631" fmla="*/ 2946983 h 6072782"/>
                <a:gd name="connsiteX632" fmla="*/ 132646 w 11537287"/>
                <a:gd name="connsiteY632" fmla="*/ 2947035 h 6072782"/>
                <a:gd name="connsiteX633" fmla="*/ 93681 w 11537287"/>
                <a:gd name="connsiteY633" fmla="*/ 2962869 h 6072782"/>
                <a:gd name="connsiteX634" fmla="*/ 71492 w 11537287"/>
                <a:gd name="connsiteY634" fmla="*/ 2945269 h 6072782"/>
                <a:gd name="connsiteX635" fmla="*/ 71036 w 11537287"/>
                <a:gd name="connsiteY635" fmla="*/ 2944680 h 6072782"/>
                <a:gd name="connsiteX636" fmla="*/ 72748 w 11537287"/>
                <a:gd name="connsiteY636" fmla="*/ 2941821 h 6072782"/>
                <a:gd name="connsiteX637" fmla="*/ 78786 w 11537287"/>
                <a:gd name="connsiteY637" fmla="*/ 2933077 h 6072782"/>
                <a:gd name="connsiteX638" fmla="*/ 61837 w 11537287"/>
                <a:gd name="connsiteY638" fmla="*/ 2906228 h 6072782"/>
                <a:gd name="connsiteX639" fmla="*/ 91897 w 11537287"/>
                <a:gd name="connsiteY639" fmla="*/ 2860380 h 6072782"/>
                <a:gd name="connsiteX640" fmla="*/ 12381 w 11537287"/>
                <a:gd name="connsiteY640" fmla="*/ 2907443 h 6072782"/>
                <a:gd name="connsiteX641" fmla="*/ 8781 w 11537287"/>
                <a:gd name="connsiteY641" fmla="*/ 2904202 h 6072782"/>
                <a:gd name="connsiteX642" fmla="*/ 9833 w 11537287"/>
                <a:gd name="connsiteY642" fmla="*/ 2903611 h 6072782"/>
                <a:gd name="connsiteX643" fmla="*/ 13760 w 11537287"/>
                <a:gd name="connsiteY643" fmla="*/ 2883839 h 6072782"/>
                <a:gd name="connsiteX644" fmla="*/ 3349 w 11537287"/>
                <a:gd name="connsiteY644" fmla="*/ 2893864 h 6072782"/>
                <a:gd name="connsiteX645" fmla="*/ 4255 w 11537287"/>
                <a:gd name="connsiteY645" fmla="*/ 2887011 h 6072782"/>
                <a:gd name="connsiteX646" fmla="*/ 17808 w 11537287"/>
                <a:gd name="connsiteY646" fmla="*/ 2878513 h 6072782"/>
                <a:gd name="connsiteX647" fmla="*/ 17808 w 11537287"/>
                <a:gd name="connsiteY647" fmla="*/ 2902179 h 6072782"/>
                <a:gd name="connsiteX648" fmla="*/ 93637 w 11537287"/>
                <a:gd name="connsiteY648" fmla="*/ 2854123 h 6072782"/>
                <a:gd name="connsiteX649" fmla="*/ 116095 w 11537287"/>
                <a:gd name="connsiteY649" fmla="*/ 2837702 h 6072782"/>
                <a:gd name="connsiteX650" fmla="*/ 122090 w 11537287"/>
                <a:gd name="connsiteY650" fmla="*/ 2837073 h 6072782"/>
                <a:gd name="connsiteX651" fmla="*/ 122784 w 11537287"/>
                <a:gd name="connsiteY651" fmla="*/ 2835586 h 6072782"/>
                <a:gd name="connsiteX652" fmla="*/ 141934 w 11537287"/>
                <a:gd name="connsiteY652" fmla="*/ 2817175 h 6072782"/>
                <a:gd name="connsiteX653" fmla="*/ 177365 w 11537287"/>
                <a:gd name="connsiteY653" fmla="*/ 2809175 h 6072782"/>
                <a:gd name="connsiteX654" fmla="*/ 8115172 w 11537287"/>
                <a:gd name="connsiteY654" fmla="*/ 2809129 h 6072782"/>
                <a:gd name="connsiteX655" fmla="*/ 8160021 w 11537287"/>
                <a:gd name="connsiteY655" fmla="*/ 2848151 h 6072782"/>
                <a:gd name="connsiteX656" fmla="*/ 8160021 w 11537287"/>
                <a:gd name="connsiteY656" fmla="*/ 2884511 h 6072782"/>
                <a:gd name="connsiteX657" fmla="*/ 8179659 w 11537287"/>
                <a:gd name="connsiteY657" fmla="*/ 2911371 h 6072782"/>
                <a:gd name="connsiteX658" fmla="*/ 8179659 w 11537287"/>
                <a:gd name="connsiteY658" fmla="*/ 2929868 h 6072782"/>
                <a:gd name="connsiteX659" fmla="*/ 8160021 w 11537287"/>
                <a:gd name="connsiteY659" fmla="*/ 2956220 h 6072782"/>
                <a:gd name="connsiteX660" fmla="*/ 8160021 w 11537287"/>
                <a:gd name="connsiteY660" fmla="*/ 2993595 h 6072782"/>
                <a:gd name="connsiteX661" fmla="*/ 8115172 w 11537287"/>
                <a:gd name="connsiteY661" fmla="*/ 3032109 h 6072782"/>
                <a:gd name="connsiteX662" fmla="*/ 8115172 w 11537287"/>
                <a:gd name="connsiteY662" fmla="*/ 3012598 h 6072782"/>
                <a:gd name="connsiteX663" fmla="*/ 8130819 w 11537287"/>
                <a:gd name="connsiteY663" fmla="*/ 3006517 h 6072782"/>
                <a:gd name="connsiteX664" fmla="*/ 8135443 w 11537287"/>
                <a:gd name="connsiteY664" fmla="*/ 2987260 h 6072782"/>
                <a:gd name="connsiteX665" fmla="*/ 8135443 w 11537287"/>
                <a:gd name="connsiteY665" fmla="*/ 2951913 h 6072782"/>
                <a:gd name="connsiteX666" fmla="*/ 8160402 w 11537287"/>
                <a:gd name="connsiteY666" fmla="*/ 2920619 h 6072782"/>
                <a:gd name="connsiteX667" fmla="*/ 8160402 w 11537287"/>
                <a:gd name="connsiteY667" fmla="*/ 2920239 h 6072782"/>
                <a:gd name="connsiteX668" fmla="*/ 8135443 w 11537287"/>
                <a:gd name="connsiteY668" fmla="*/ 2888692 h 6072782"/>
                <a:gd name="connsiteX669" fmla="*/ 8135443 w 11537287"/>
                <a:gd name="connsiteY669" fmla="*/ 2852965 h 6072782"/>
                <a:gd name="connsiteX670" fmla="*/ 8115172 w 11537287"/>
                <a:gd name="connsiteY670" fmla="*/ 2828767 h 6072782"/>
                <a:gd name="connsiteX671" fmla="*/ 8097688 w 11537287"/>
                <a:gd name="connsiteY671" fmla="*/ 2809129 h 6072782"/>
                <a:gd name="connsiteX672" fmla="*/ 8097688 w 11537287"/>
                <a:gd name="connsiteY672" fmla="*/ 2828767 h 6072782"/>
                <a:gd name="connsiteX673" fmla="*/ 8077544 w 11537287"/>
                <a:gd name="connsiteY673" fmla="*/ 2852965 h 6072782"/>
                <a:gd name="connsiteX674" fmla="*/ 8077544 w 11537287"/>
                <a:gd name="connsiteY674" fmla="*/ 2888692 h 6072782"/>
                <a:gd name="connsiteX675" fmla="*/ 8052332 w 11537287"/>
                <a:gd name="connsiteY675" fmla="*/ 2920239 h 6072782"/>
                <a:gd name="connsiteX676" fmla="*/ 8052332 w 11537287"/>
                <a:gd name="connsiteY676" fmla="*/ 2920619 h 6072782"/>
                <a:gd name="connsiteX677" fmla="*/ 8077544 w 11537287"/>
                <a:gd name="connsiteY677" fmla="*/ 2951913 h 6072782"/>
                <a:gd name="connsiteX678" fmla="*/ 8077544 w 11537287"/>
                <a:gd name="connsiteY678" fmla="*/ 2987260 h 6072782"/>
                <a:gd name="connsiteX679" fmla="*/ 8082042 w 11537287"/>
                <a:gd name="connsiteY679" fmla="*/ 3006580 h 6072782"/>
                <a:gd name="connsiteX680" fmla="*/ 8097688 w 11537287"/>
                <a:gd name="connsiteY680" fmla="*/ 3012598 h 6072782"/>
                <a:gd name="connsiteX681" fmla="*/ 8097688 w 11537287"/>
                <a:gd name="connsiteY681" fmla="*/ 3032109 h 6072782"/>
                <a:gd name="connsiteX682" fmla="*/ 8052586 w 11537287"/>
                <a:gd name="connsiteY682" fmla="*/ 2993595 h 6072782"/>
                <a:gd name="connsiteX683" fmla="*/ 8052586 w 11537287"/>
                <a:gd name="connsiteY683" fmla="*/ 2956220 h 6072782"/>
                <a:gd name="connsiteX684" fmla="*/ 8032821 w 11537287"/>
                <a:gd name="connsiteY684" fmla="*/ 2929868 h 6072782"/>
                <a:gd name="connsiteX685" fmla="*/ 8032821 w 11537287"/>
                <a:gd name="connsiteY685" fmla="*/ 2911371 h 6072782"/>
                <a:gd name="connsiteX686" fmla="*/ 8052586 w 11537287"/>
                <a:gd name="connsiteY686" fmla="*/ 2884511 h 6072782"/>
                <a:gd name="connsiteX687" fmla="*/ 8052586 w 11537287"/>
                <a:gd name="connsiteY687" fmla="*/ 2848151 h 6072782"/>
                <a:gd name="connsiteX688" fmla="*/ 8097688 w 11537287"/>
                <a:gd name="connsiteY688" fmla="*/ 2809129 h 6072782"/>
                <a:gd name="connsiteX689" fmla="*/ 5416747 w 11537287"/>
                <a:gd name="connsiteY689" fmla="*/ 2809129 h 6072782"/>
                <a:gd name="connsiteX690" fmla="*/ 5461597 w 11537287"/>
                <a:gd name="connsiteY690" fmla="*/ 2848151 h 6072782"/>
                <a:gd name="connsiteX691" fmla="*/ 5461597 w 11537287"/>
                <a:gd name="connsiteY691" fmla="*/ 2884511 h 6072782"/>
                <a:gd name="connsiteX692" fmla="*/ 5481234 w 11537287"/>
                <a:gd name="connsiteY692" fmla="*/ 2911371 h 6072782"/>
                <a:gd name="connsiteX693" fmla="*/ 5481234 w 11537287"/>
                <a:gd name="connsiteY693" fmla="*/ 2929868 h 6072782"/>
                <a:gd name="connsiteX694" fmla="*/ 5461597 w 11537287"/>
                <a:gd name="connsiteY694" fmla="*/ 2956220 h 6072782"/>
                <a:gd name="connsiteX695" fmla="*/ 5461597 w 11537287"/>
                <a:gd name="connsiteY695" fmla="*/ 2993595 h 6072782"/>
                <a:gd name="connsiteX696" fmla="*/ 5416747 w 11537287"/>
                <a:gd name="connsiteY696" fmla="*/ 3032109 h 6072782"/>
                <a:gd name="connsiteX697" fmla="*/ 5416747 w 11537287"/>
                <a:gd name="connsiteY697" fmla="*/ 3012598 h 6072782"/>
                <a:gd name="connsiteX698" fmla="*/ 5432394 w 11537287"/>
                <a:gd name="connsiteY698" fmla="*/ 3006517 h 6072782"/>
                <a:gd name="connsiteX699" fmla="*/ 5437018 w 11537287"/>
                <a:gd name="connsiteY699" fmla="*/ 2987260 h 6072782"/>
                <a:gd name="connsiteX700" fmla="*/ 5437018 w 11537287"/>
                <a:gd name="connsiteY700" fmla="*/ 2951913 h 6072782"/>
                <a:gd name="connsiteX701" fmla="*/ 5461977 w 11537287"/>
                <a:gd name="connsiteY701" fmla="*/ 2920619 h 6072782"/>
                <a:gd name="connsiteX702" fmla="*/ 5461977 w 11537287"/>
                <a:gd name="connsiteY702" fmla="*/ 2920239 h 6072782"/>
                <a:gd name="connsiteX703" fmla="*/ 5437018 w 11537287"/>
                <a:gd name="connsiteY703" fmla="*/ 2888692 h 6072782"/>
                <a:gd name="connsiteX704" fmla="*/ 5437018 w 11537287"/>
                <a:gd name="connsiteY704" fmla="*/ 2852965 h 6072782"/>
                <a:gd name="connsiteX705" fmla="*/ 5416747 w 11537287"/>
                <a:gd name="connsiteY705" fmla="*/ 2828767 h 6072782"/>
                <a:gd name="connsiteX706" fmla="*/ 5399263 w 11537287"/>
                <a:gd name="connsiteY706" fmla="*/ 2809129 h 6072782"/>
                <a:gd name="connsiteX707" fmla="*/ 5399263 w 11537287"/>
                <a:gd name="connsiteY707" fmla="*/ 2828767 h 6072782"/>
                <a:gd name="connsiteX708" fmla="*/ 5379119 w 11537287"/>
                <a:gd name="connsiteY708" fmla="*/ 2852965 h 6072782"/>
                <a:gd name="connsiteX709" fmla="*/ 5379119 w 11537287"/>
                <a:gd name="connsiteY709" fmla="*/ 2888692 h 6072782"/>
                <a:gd name="connsiteX710" fmla="*/ 5353907 w 11537287"/>
                <a:gd name="connsiteY710" fmla="*/ 2920239 h 6072782"/>
                <a:gd name="connsiteX711" fmla="*/ 5353907 w 11537287"/>
                <a:gd name="connsiteY711" fmla="*/ 2920619 h 6072782"/>
                <a:gd name="connsiteX712" fmla="*/ 5379119 w 11537287"/>
                <a:gd name="connsiteY712" fmla="*/ 2951913 h 6072782"/>
                <a:gd name="connsiteX713" fmla="*/ 5379119 w 11537287"/>
                <a:gd name="connsiteY713" fmla="*/ 2987260 h 6072782"/>
                <a:gd name="connsiteX714" fmla="*/ 5383617 w 11537287"/>
                <a:gd name="connsiteY714" fmla="*/ 3006580 h 6072782"/>
                <a:gd name="connsiteX715" fmla="*/ 5399263 w 11537287"/>
                <a:gd name="connsiteY715" fmla="*/ 3012598 h 6072782"/>
                <a:gd name="connsiteX716" fmla="*/ 5399263 w 11537287"/>
                <a:gd name="connsiteY716" fmla="*/ 3032109 h 6072782"/>
                <a:gd name="connsiteX717" fmla="*/ 5354161 w 11537287"/>
                <a:gd name="connsiteY717" fmla="*/ 2993595 h 6072782"/>
                <a:gd name="connsiteX718" fmla="*/ 5354161 w 11537287"/>
                <a:gd name="connsiteY718" fmla="*/ 2956220 h 6072782"/>
                <a:gd name="connsiteX719" fmla="*/ 5334396 w 11537287"/>
                <a:gd name="connsiteY719" fmla="*/ 2929868 h 6072782"/>
                <a:gd name="connsiteX720" fmla="*/ 5334396 w 11537287"/>
                <a:gd name="connsiteY720" fmla="*/ 2911371 h 6072782"/>
                <a:gd name="connsiteX721" fmla="*/ 5354161 w 11537287"/>
                <a:gd name="connsiteY721" fmla="*/ 2884511 h 6072782"/>
                <a:gd name="connsiteX722" fmla="*/ 5354161 w 11537287"/>
                <a:gd name="connsiteY722" fmla="*/ 2848151 h 6072782"/>
                <a:gd name="connsiteX723" fmla="*/ 5399263 w 11537287"/>
                <a:gd name="connsiteY723" fmla="*/ 2809129 h 6072782"/>
                <a:gd name="connsiteX724" fmla="*/ 2059119 w 11537287"/>
                <a:gd name="connsiteY724" fmla="*/ 2809129 h 6072782"/>
                <a:gd name="connsiteX725" fmla="*/ 2103969 w 11537287"/>
                <a:gd name="connsiteY725" fmla="*/ 2848151 h 6072782"/>
                <a:gd name="connsiteX726" fmla="*/ 2103969 w 11537287"/>
                <a:gd name="connsiteY726" fmla="*/ 2884511 h 6072782"/>
                <a:gd name="connsiteX727" fmla="*/ 2123606 w 11537287"/>
                <a:gd name="connsiteY727" fmla="*/ 2911371 h 6072782"/>
                <a:gd name="connsiteX728" fmla="*/ 2123606 w 11537287"/>
                <a:gd name="connsiteY728" fmla="*/ 2929868 h 6072782"/>
                <a:gd name="connsiteX729" fmla="*/ 2103969 w 11537287"/>
                <a:gd name="connsiteY729" fmla="*/ 2956220 h 6072782"/>
                <a:gd name="connsiteX730" fmla="*/ 2103969 w 11537287"/>
                <a:gd name="connsiteY730" fmla="*/ 2993595 h 6072782"/>
                <a:gd name="connsiteX731" fmla="*/ 2059119 w 11537287"/>
                <a:gd name="connsiteY731" fmla="*/ 3032109 h 6072782"/>
                <a:gd name="connsiteX732" fmla="*/ 2059119 w 11537287"/>
                <a:gd name="connsiteY732" fmla="*/ 3012598 h 6072782"/>
                <a:gd name="connsiteX733" fmla="*/ 2074767 w 11537287"/>
                <a:gd name="connsiteY733" fmla="*/ 3006517 h 6072782"/>
                <a:gd name="connsiteX734" fmla="*/ 2079391 w 11537287"/>
                <a:gd name="connsiteY734" fmla="*/ 2987260 h 6072782"/>
                <a:gd name="connsiteX735" fmla="*/ 2079391 w 11537287"/>
                <a:gd name="connsiteY735" fmla="*/ 2951913 h 6072782"/>
                <a:gd name="connsiteX736" fmla="*/ 2104349 w 11537287"/>
                <a:gd name="connsiteY736" fmla="*/ 2920619 h 6072782"/>
                <a:gd name="connsiteX737" fmla="*/ 2104349 w 11537287"/>
                <a:gd name="connsiteY737" fmla="*/ 2920239 h 6072782"/>
                <a:gd name="connsiteX738" fmla="*/ 2079391 w 11537287"/>
                <a:gd name="connsiteY738" fmla="*/ 2888692 h 6072782"/>
                <a:gd name="connsiteX739" fmla="*/ 2079391 w 11537287"/>
                <a:gd name="connsiteY739" fmla="*/ 2852965 h 6072782"/>
                <a:gd name="connsiteX740" fmla="*/ 2059119 w 11537287"/>
                <a:gd name="connsiteY740" fmla="*/ 2828767 h 6072782"/>
                <a:gd name="connsiteX741" fmla="*/ 2041635 w 11537287"/>
                <a:gd name="connsiteY741" fmla="*/ 2809129 h 6072782"/>
                <a:gd name="connsiteX742" fmla="*/ 2041635 w 11537287"/>
                <a:gd name="connsiteY742" fmla="*/ 2828767 h 6072782"/>
                <a:gd name="connsiteX743" fmla="*/ 2021492 w 11537287"/>
                <a:gd name="connsiteY743" fmla="*/ 2852965 h 6072782"/>
                <a:gd name="connsiteX744" fmla="*/ 2021492 w 11537287"/>
                <a:gd name="connsiteY744" fmla="*/ 2888692 h 6072782"/>
                <a:gd name="connsiteX745" fmla="*/ 1996279 w 11537287"/>
                <a:gd name="connsiteY745" fmla="*/ 2920239 h 6072782"/>
                <a:gd name="connsiteX746" fmla="*/ 1996279 w 11537287"/>
                <a:gd name="connsiteY746" fmla="*/ 2920619 h 6072782"/>
                <a:gd name="connsiteX747" fmla="*/ 2021492 w 11537287"/>
                <a:gd name="connsiteY747" fmla="*/ 2951913 h 6072782"/>
                <a:gd name="connsiteX748" fmla="*/ 2021492 w 11537287"/>
                <a:gd name="connsiteY748" fmla="*/ 2987260 h 6072782"/>
                <a:gd name="connsiteX749" fmla="*/ 2025989 w 11537287"/>
                <a:gd name="connsiteY749" fmla="*/ 3006580 h 6072782"/>
                <a:gd name="connsiteX750" fmla="*/ 2041635 w 11537287"/>
                <a:gd name="connsiteY750" fmla="*/ 3012598 h 6072782"/>
                <a:gd name="connsiteX751" fmla="*/ 2041635 w 11537287"/>
                <a:gd name="connsiteY751" fmla="*/ 3032109 h 6072782"/>
                <a:gd name="connsiteX752" fmla="*/ 1996533 w 11537287"/>
                <a:gd name="connsiteY752" fmla="*/ 2993595 h 6072782"/>
                <a:gd name="connsiteX753" fmla="*/ 1996533 w 11537287"/>
                <a:gd name="connsiteY753" fmla="*/ 2956220 h 6072782"/>
                <a:gd name="connsiteX754" fmla="*/ 1976769 w 11537287"/>
                <a:gd name="connsiteY754" fmla="*/ 2929868 h 6072782"/>
                <a:gd name="connsiteX755" fmla="*/ 1976769 w 11537287"/>
                <a:gd name="connsiteY755" fmla="*/ 2911371 h 6072782"/>
                <a:gd name="connsiteX756" fmla="*/ 1996533 w 11537287"/>
                <a:gd name="connsiteY756" fmla="*/ 2884511 h 6072782"/>
                <a:gd name="connsiteX757" fmla="*/ 1996533 w 11537287"/>
                <a:gd name="connsiteY757" fmla="*/ 2848151 h 6072782"/>
                <a:gd name="connsiteX758" fmla="*/ 2041635 w 11537287"/>
                <a:gd name="connsiteY758" fmla="*/ 2809129 h 6072782"/>
                <a:gd name="connsiteX759" fmla="*/ 8323201 w 11537287"/>
                <a:gd name="connsiteY759" fmla="*/ 2569470 h 6072782"/>
                <a:gd name="connsiteX760" fmla="*/ 8312739 w 11537287"/>
                <a:gd name="connsiteY760" fmla="*/ 2617599 h 6072782"/>
                <a:gd name="connsiteX761" fmla="*/ 8355462 w 11537287"/>
                <a:gd name="connsiteY761" fmla="*/ 2617599 h 6072782"/>
                <a:gd name="connsiteX762" fmla="*/ 8365750 w 11537287"/>
                <a:gd name="connsiteY762" fmla="*/ 2569470 h 6072782"/>
                <a:gd name="connsiteX763" fmla="*/ 2259954 w 11537287"/>
                <a:gd name="connsiteY763" fmla="*/ 2569470 h 6072782"/>
                <a:gd name="connsiteX764" fmla="*/ 2249492 w 11537287"/>
                <a:gd name="connsiteY764" fmla="*/ 2617599 h 6072782"/>
                <a:gd name="connsiteX765" fmla="*/ 2292215 w 11537287"/>
                <a:gd name="connsiteY765" fmla="*/ 2617599 h 6072782"/>
                <a:gd name="connsiteX766" fmla="*/ 2302504 w 11537287"/>
                <a:gd name="connsiteY766" fmla="*/ 2569470 h 6072782"/>
                <a:gd name="connsiteX767" fmla="*/ 3665391 w 11537287"/>
                <a:gd name="connsiteY767" fmla="*/ 2480736 h 6072782"/>
                <a:gd name="connsiteX768" fmla="*/ 3710240 w 11537287"/>
                <a:gd name="connsiteY768" fmla="*/ 2519757 h 6072782"/>
                <a:gd name="connsiteX769" fmla="*/ 3710240 w 11537287"/>
                <a:gd name="connsiteY769" fmla="*/ 2556118 h 6072782"/>
                <a:gd name="connsiteX770" fmla="*/ 3729877 w 11537287"/>
                <a:gd name="connsiteY770" fmla="*/ 2582978 h 6072782"/>
                <a:gd name="connsiteX771" fmla="*/ 3729877 w 11537287"/>
                <a:gd name="connsiteY771" fmla="*/ 2601474 h 6072782"/>
                <a:gd name="connsiteX772" fmla="*/ 3710240 w 11537287"/>
                <a:gd name="connsiteY772" fmla="*/ 2627827 h 6072782"/>
                <a:gd name="connsiteX773" fmla="*/ 3710240 w 11537287"/>
                <a:gd name="connsiteY773" fmla="*/ 2665202 h 6072782"/>
                <a:gd name="connsiteX774" fmla="*/ 3665391 w 11537287"/>
                <a:gd name="connsiteY774" fmla="*/ 2703716 h 6072782"/>
                <a:gd name="connsiteX775" fmla="*/ 3665391 w 11537287"/>
                <a:gd name="connsiteY775" fmla="*/ 2684205 h 6072782"/>
                <a:gd name="connsiteX776" fmla="*/ 3681037 w 11537287"/>
                <a:gd name="connsiteY776" fmla="*/ 2678124 h 6072782"/>
                <a:gd name="connsiteX777" fmla="*/ 3685661 w 11537287"/>
                <a:gd name="connsiteY777" fmla="*/ 2658867 h 6072782"/>
                <a:gd name="connsiteX778" fmla="*/ 3685661 w 11537287"/>
                <a:gd name="connsiteY778" fmla="*/ 2623519 h 6072782"/>
                <a:gd name="connsiteX779" fmla="*/ 3710620 w 11537287"/>
                <a:gd name="connsiteY779" fmla="*/ 2592226 h 6072782"/>
                <a:gd name="connsiteX780" fmla="*/ 3710620 w 11537287"/>
                <a:gd name="connsiteY780" fmla="*/ 2591846 h 6072782"/>
                <a:gd name="connsiteX781" fmla="*/ 3685661 w 11537287"/>
                <a:gd name="connsiteY781" fmla="*/ 2560299 h 6072782"/>
                <a:gd name="connsiteX782" fmla="*/ 3685661 w 11537287"/>
                <a:gd name="connsiteY782" fmla="*/ 2524572 h 6072782"/>
                <a:gd name="connsiteX783" fmla="*/ 3665391 w 11537287"/>
                <a:gd name="connsiteY783" fmla="*/ 2500374 h 6072782"/>
                <a:gd name="connsiteX784" fmla="*/ 3647906 w 11537287"/>
                <a:gd name="connsiteY784" fmla="*/ 2480736 h 6072782"/>
                <a:gd name="connsiteX785" fmla="*/ 3647906 w 11537287"/>
                <a:gd name="connsiteY785" fmla="*/ 2500374 h 6072782"/>
                <a:gd name="connsiteX786" fmla="*/ 3627762 w 11537287"/>
                <a:gd name="connsiteY786" fmla="*/ 2524572 h 6072782"/>
                <a:gd name="connsiteX787" fmla="*/ 3627762 w 11537287"/>
                <a:gd name="connsiteY787" fmla="*/ 2560299 h 6072782"/>
                <a:gd name="connsiteX788" fmla="*/ 3602550 w 11537287"/>
                <a:gd name="connsiteY788" fmla="*/ 2591846 h 6072782"/>
                <a:gd name="connsiteX789" fmla="*/ 3602550 w 11537287"/>
                <a:gd name="connsiteY789" fmla="*/ 2592226 h 6072782"/>
                <a:gd name="connsiteX790" fmla="*/ 3627762 w 11537287"/>
                <a:gd name="connsiteY790" fmla="*/ 2623519 h 6072782"/>
                <a:gd name="connsiteX791" fmla="*/ 3627762 w 11537287"/>
                <a:gd name="connsiteY791" fmla="*/ 2658867 h 6072782"/>
                <a:gd name="connsiteX792" fmla="*/ 3632260 w 11537287"/>
                <a:gd name="connsiteY792" fmla="*/ 2678187 h 6072782"/>
                <a:gd name="connsiteX793" fmla="*/ 3647906 w 11537287"/>
                <a:gd name="connsiteY793" fmla="*/ 2684205 h 6072782"/>
                <a:gd name="connsiteX794" fmla="*/ 3647906 w 11537287"/>
                <a:gd name="connsiteY794" fmla="*/ 2703716 h 6072782"/>
                <a:gd name="connsiteX795" fmla="*/ 3602804 w 11537287"/>
                <a:gd name="connsiteY795" fmla="*/ 2665202 h 6072782"/>
                <a:gd name="connsiteX796" fmla="*/ 3602804 w 11537287"/>
                <a:gd name="connsiteY796" fmla="*/ 2627827 h 6072782"/>
                <a:gd name="connsiteX797" fmla="*/ 3583039 w 11537287"/>
                <a:gd name="connsiteY797" fmla="*/ 2601474 h 6072782"/>
                <a:gd name="connsiteX798" fmla="*/ 3583039 w 11537287"/>
                <a:gd name="connsiteY798" fmla="*/ 2582978 h 6072782"/>
                <a:gd name="connsiteX799" fmla="*/ 3602804 w 11537287"/>
                <a:gd name="connsiteY799" fmla="*/ 2556118 h 6072782"/>
                <a:gd name="connsiteX800" fmla="*/ 3602804 w 11537287"/>
                <a:gd name="connsiteY800" fmla="*/ 2519757 h 6072782"/>
                <a:gd name="connsiteX801" fmla="*/ 3647906 w 11537287"/>
                <a:gd name="connsiteY801" fmla="*/ 2480736 h 6072782"/>
                <a:gd name="connsiteX802" fmla="*/ 8314134 w 11537287"/>
                <a:gd name="connsiteY802" fmla="*/ 2477919 h 6072782"/>
                <a:gd name="connsiteX803" fmla="*/ 8342209 w 11537287"/>
                <a:gd name="connsiteY803" fmla="*/ 2477919 h 6072782"/>
                <a:gd name="connsiteX804" fmla="*/ 8328433 w 11537287"/>
                <a:gd name="connsiteY804" fmla="*/ 2545056 h 6072782"/>
                <a:gd name="connsiteX805" fmla="*/ 8370633 w 11537287"/>
                <a:gd name="connsiteY805" fmla="*/ 2545056 h 6072782"/>
                <a:gd name="connsiteX806" fmla="*/ 8384932 w 11537287"/>
                <a:gd name="connsiteY806" fmla="*/ 2477919 h 6072782"/>
                <a:gd name="connsiteX807" fmla="*/ 8412485 w 11537287"/>
                <a:gd name="connsiteY807" fmla="*/ 2477919 h 6072782"/>
                <a:gd name="connsiteX808" fmla="*/ 8398534 w 11537287"/>
                <a:gd name="connsiteY808" fmla="*/ 2545056 h 6072782"/>
                <a:gd name="connsiteX809" fmla="*/ 8438293 w 11537287"/>
                <a:gd name="connsiteY809" fmla="*/ 2545056 h 6072782"/>
                <a:gd name="connsiteX810" fmla="*/ 8432887 w 11537287"/>
                <a:gd name="connsiteY810" fmla="*/ 2569470 h 6072782"/>
                <a:gd name="connsiteX811" fmla="*/ 8393303 w 11537287"/>
                <a:gd name="connsiteY811" fmla="*/ 2569470 h 6072782"/>
                <a:gd name="connsiteX812" fmla="*/ 8383189 w 11537287"/>
                <a:gd name="connsiteY812" fmla="*/ 2617599 h 6072782"/>
                <a:gd name="connsiteX813" fmla="*/ 8426435 w 11537287"/>
                <a:gd name="connsiteY813" fmla="*/ 2617599 h 6072782"/>
                <a:gd name="connsiteX814" fmla="*/ 8420331 w 11537287"/>
                <a:gd name="connsiteY814" fmla="*/ 2642012 h 6072782"/>
                <a:gd name="connsiteX815" fmla="*/ 8378132 w 11537287"/>
                <a:gd name="connsiteY815" fmla="*/ 2642012 h 6072782"/>
                <a:gd name="connsiteX816" fmla="*/ 8363832 w 11537287"/>
                <a:gd name="connsiteY816" fmla="*/ 2706533 h 6072782"/>
                <a:gd name="connsiteX817" fmla="*/ 8336105 w 11537287"/>
                <a:gd name="connsiteY817" fmla="*/ 2706533 h 6072782"/>
                <a:gd name="connsiteX818" fmla="*/ 8350056 w 11537287"/>
                <a:gd name="connsiteY818" fmla="*/ 2642012 h 6072782"/>
                <a:gd name="connsiteX819" fmla="*/ 8307856 w 11537287"/>
                <a:gd name="connsiteY819" fmla="*/ 2642012 h 6072782"/>
                <a:gd name="connsiteX820" fmla="*/ 8294254 w 11537287"/>
                <a:gd name="connsiteY820" fmla="*/ 2706533 h 6072782"/>
                <a:gd name="connsiteX821" fmla="*/ 8266528 w 11537287"/>
                <a:gd name="connsiteY821" fmla="*/ 2706533 h 6072782"/>
                <a:gd name="connsiteX822" fmla="*/ 8280129 w 11537287"/>
                <a:gd name="connsiteY822" fmla="*/ 2642012 h 6072782"/>
                <a:gd name="connsiteX823" fmla="*/ 8240196 w 11537287"/>
                <a:gd name="connsiteY823" fmla="*/ 2642012 h 6072782"/>
                <a:gd name="connsiteX824" fmla="*/ 8245078 w 11537287"/>
                <a:gd name="connsiteY824" fmla="*/ 2617599 h 6072782"/>
                <a:gd name="connsiteX825" fmla="*/ 8285535 w 11537287"/>
                <a:gd name="connsiteY825" fmla="*/ 2617599 h 6072782"/>
                <a:gd name="connsiteX826" fmla="*/ 8295126 w 11537287"/>
                <a:gd name="connsiteY826" fmla="*/ 2569470 h 6072782"/>
                <a:gd name="connsiteX827" fmla="*/ 8252577 w 11537287"/>
                <a:gd name="connsiteY827" fmla="*/ 2569470 h 6072782"/>
                <a:gd name="connsiteX828" fmla="*/ 8257634 w 11537287"/>
                <a:gd name="connsiteY828" fmla="*/ 2545056 h 6072782"/>
                <a:gd name="connsiteX829" fmla="*/ 8300183 w 11537287"/>
                <a:gd name="connsiteY829" fmla="*/ 2545056 h 6072782"/>
                <a:gd name="connsiteX830" fmla="*/ 2250888 w 11537287"/>
                <a:gd name="connsiteY830" fmla="*/ 2477919 h 6072782"/>
                <a:gd name="connsiteX831" fmla="*/ 2278962 w 11537287"/>
                <a:gd name="connsiteY831" fmla="*/ 2477919 h 6072782"/>
                <a:gd name="connsiteX832" fmla="*/ 2265187 w 11537287"/>
                <a:gd name="connsiteY832" fmla="*/ 2545056 h 6072782"/>
                <a:gd name="connsiteX833" fmla="*/ 2307386 w 11537287"/>
                <a:gd name="connsiteY833" fmla="*/ 2545056 h 6072782"/>
                <a:gd name="connsiteX834" fmla="*/ 2321686 w 11537287"/>
                <a:gd name="connsiteY834" fmla="*/ 2477919 h 6072782"/>
                <a:gd name="connsiteX835" fmla="*/ 2349239 w 11537287"/>
                <a:gd name="connsiteY835" fmla="*/ 2477919 h 6072782"/>
                <a:gd name="connsiteX836" fmla="*/ 2335288 w 11537287"/>
                <a:gd name="connsiteY836" fmla="*/ 2545056 h 6072782"/>
                <a:gd name="connsiteX837" fmla="*/ 2375047 w 11537287"/>
                <a:gd name="connsiteY837" fmla="*/ 2545056 h 6072782"/>
                <a:gd name="connsiteX838" fmla="*/ 2369642 w 11537287"/>
                <a:gd name="connsiteY838" fmla="*/ 2569470 h 6072782"/>
                <a:gd name="connsiteX839" fmla="*/ 2330056 w 11537287"/>
                <a:gd name="connsiteY839" fmla="*/ 2569470 h 6072782"/>
                <a:gd name="connsiteX840" fmla="*/ 2319942 w 11537287"/>
                <a:gd name="connsiteY840" fmla="*/ 2617599 h 6072782"/>
                <a:gd name="connsiteX841" fmla="*/ 2363188 w 11537287"/>
                <a:gd name="connsiteY841" fmla="*/ 2617599 h 6072782"/>
                <a:gd name="connsiteX842" fmla="*/ 2357086 w 11537287"/>
                <a:gd name="connsiteY842" fmla="*/ 2642012 h 6072782"/>
                <a:gd name="connsiteX843" fmla="*/ 2314885 w 11537287"/>
                <a:gd name="connsiteY843" fmla="*/ 2642012 h 6072782"/>
                <a:gd name="connsiteX844" fmla="*/ 2300585 w 11537287"/>
                <a:gd name="connsiteY844" fmla="*/ 2706533 h 6072782"/>
                <a:gd name="connsiteX845" fmla="*/ 2272859 w 11537287"/>
                <a:gd name="connsiteY845" fmla="*/ 2706533 h 6072782"/>
                <a:gd name="connsiteX846" fmla="*/ 2286810 w 11537287"/>
                <a:gd name="connsiteY846" fmla="*/ 2642012 h 6072782"/>
                <a:gd name="connsiteX847" fmla="*/ 2244610 w 11537287"/>
                <a:gd name="connsiteY847" fmla="*/ 2642012 h 6072782"/>
                <a:gd name="connsiteX848" fmla="*/ 2231007 w 11537287"/>
                <a:gd name="connsiteY848" fmla="*/ 2706533 h 6072782"/>
                <a:gd name="connsiteX849" fmla="*/ 2203282 w 11537287"/>
                <a:gd name="connsiteY849" fmla="*/ 2706533 h 6072782"/>
                <a:gd name="connsiteX850" fmla="*/ 2216884 w 11537287"/>
                <a:gd name="connsiteY850" fmla="*/ 2642012 h 6072782"/>
                <a:gd name="connsiteX851" fmla="*/ 2176949 w 11537287"/>
                <a:gd name="connsiteY851" fmla="*/ 2642012 h 6072782"/>
                <a:gd name="connsiteX852" fmla="*/ 2181833 w 11537287"/>
                <a:gd name="connsiteY852" fmla="*/ 2617599 h 6072782"/>
                <a:gd name="connsiteX853" fmla="*/ 2222288 w 11537287"/>
                <a:gd name="connsiteY853" fmla="*/ 2617599 h 6072782"/>
                <a:gd name="connsiteX854" fmla="*/ 2231879 w 11537287"/>
                <a:gd name="connsiteY854" fmla="*/ 2569470 h 6072782"/>
                <a:gd name="connsiteX855" fmla="*/ 2189331 w 11537287"/>
                <a:gd name="connsiteY855" fmla="*/ 2569470 h 6072782"/>
                <a:gd name="connsiteX856" fmla="*/ 2194388 w 11537287"/>
                <a:gd name="connsiteY856" fmla="*/ 2545056 h 6072782"/>
                <a:gd name="connsiteX857" fmla="*/ 2236936 w 11537287"/>
                <a:gd name="connsiteY857" fmla="*/ 2545056 h 6072782"/>
                <a:gd name="connsiteX858" fmla="*/ 10887030 w 11537287"/>
                <a:gd name="connsiteY858" fmla="*/ 2172960 h 6072782"/>
                <a:gd name="connsiteX859" fmla="*/ 10941716 w 11537287"/>
                <a:gd name="connsiteY859" fmla="*/ 2211981 h 6072782"/>
                <a:gd name="connsiteX860" fmla="*/ 10941716 w 11537287"/>
                <a:gd name="connsiteY860" fmla="*/ 2248342 h 6072782"/>
                <a:gd name="connsiteX861" fmla="*/ 10965660 w 11537287"/>
                <a:gd name="connsiteY861" fmla="*/ 2275202 h 6072782"/>
                <a:gd name="connsiteX862" fmla="*/ 10965660 w 11537287"/>
                <a:gd name="connsiteY862" fmla="*/ 2293698 h 6072782"/>
                <a:gd name="connsiteX863" fmla="*/ 10941716 w 11537287"/>
                <a:gd name="connsiteY863" fmla="*/ 2320051 h 6072782"/>
                <a:gd name="connsiteX864" fmla="*/ 10941716 w 11537287"/>
                <a:gd name="connsiteY864" fmla="*/ 2357426 h 6072782"/>
                <a:gd name="connsiteX865" fmla="*/ 10887030 w 11537287"/>
                <a:gd name="connsiteY865" fmla="*/ 2395940 h 6072782"/>
                <a:gd name="connsiteX866" fmla="*/ 10887030 w 11537287"/>
                <a:gd name="connsiteY866" fmla="*/ 2376429 h 6072782"/>
                <a:gd name="connsiteX867" fmla="*/ 10906108 w 11537287"/>
                <a:gd name="connsiteY867" fmla="*/ 2370348 h 6072782"/>
                <a:gd name="connsiteX868" fmla="*/ 10911747 w 11537287"/>
                <a:gd name="connsiteY868" fmla="*/ 2351091 h 6072782"/>
                <a:gd name="connsiteX869" fmla="*/ 10911747 w 11537287"/>
                <a:gd name="connsiteY869" fmla="*/ 2315743 h 6072782"/>
                <a:gd name="connsiteX870" fmla="*/ 10942179 w 11537287"/>
                <a:gd name="connsiteY870" fmla="*/ 2284450 h 6072782"/>
                <a:gd name="connsiteX871" fmla="*/ 10942179 w 11537287"/>
                <a:gd name="connsiteY871" fmla="*/ 2284070 h 6072782"/>
                <a:gd name="connsiteX872" fmla="*/ 10911747 w 11537287"/>
                <a:gd name="connsiteY872" fmla="*/ 2252523 h 6072782"/>
                <a:gd name="connsiteX873" fmla="*/ 10911747 w 11537287"/>
                <a:gd name="connsiteY873" fmla="*/ 2216796 h 6072782"/>
                <a:gd name="connsiteX874" fmla="*/ 10887030 w 11537287"/>
                <a:gd name="connsiteY874" fmla="*/ 2192598 h 6072782"/>
                <a:gd name="connsiteX875" fmla="*/ 10865711 w 11537287"/>
                <a:gd name="connsiteY875" fmla="*/ 2172960 h 6072782"/>
                <a:gd name="connsiteX876" fmla="*/ 10865711 w 11537287"/>
                <a:gd name="connsiteY876" fmla="*/ 2192598 h 6072782"/>
                <a:gd name="connsiteX877" fmla="*/ 10841149 w 11537287"/>
                <a:gd name="connsiteY877" fmla="*/ 2216796 h 6072782"/>
                <a:gd name="connsiteX878" fmla="*/ 10841149 w 11537287"/>
                <a:gd name="connsiteY878" fmla="*/ 2252523 h 6072782"/>
                <a:gd name="connsiteX879" fmla="*/ 10810408 w 11537287"/>
                <a:gd name="connsiteY879" fmla="*/ 2284070 h 6072782"/>
                <a:gd name="connsiteX880" fmla="*/ 10810408 w 11537287"/>
                <a:gd name="connsiteY880" fmla="*/ 2284450 h 6072782"/>
                <a:gd name="connsiteX881" fmla="*/ 10841149 w 11537287"/>
                <a:gd name="connsiteY881" fmla="*/ 2315743 h 6072782"/>
                <a:gd name="connsiteX882" fmla="*/ 10841149 w 11537287"/>
                <a:gd name="connsiteY882" fmla="*/ 2351091 h 6072782"/>
                <a:gd name="connsiteX883" fmla="*/ 10846633 w 11537287"/>
                <a:gd name="connsiteY883" fmla="*/ 2370411 h 6072782"/>
                <a:gd name="connsiteX884" fmla="*/ 10865711 w 11537287"/>
                <a:gd name="connsiteY884" fmla="*/ 2376429 h 6072782"/>
                <a:gd name="connsiteX885" fmla="*/ 10865711 w 11537287"/>
                <a:gd name="connsiteY885" fmla="*/ 2395940 h 6072782"/>
                <a:gd name="connsiteX886" fmla="*/ 10810717 w 11537287"/>
                <a:gd name="connsiteY886" fmla="*/ 2357426 h 6072782"/>
                <a:gd name="connsiteX887" fmla="*/ 10810717 w 11537287"/>
                <a:gd name="connsiteY887" fmla="*/ 2320051 h 6072782"/>
                <a:gd name="connsiteX888" fmla="*/ 10786618 w 11537287"/>
                <a:gd name="connsiteY888" fmla="*/ 2293698 h 6072782"/>
                <a:gd name="connsiteX889" fmla="*/ 10786618 w 11537287"/>
                <a:gd name="connsiteY889" fmla="*/ 2275202 h 6072782"/>
                <a:gd name="connsiteX890" fmla="*/ 10810717 w 11537287"/>
                <a:gd name="connsiteY890" fmla="*/ 2248342 h 6072782"/>
                <a:gd name="connsiteX891" fmla="*/ 10810717 w 11537287"/>
                <a:gd name="connsiteY891" fmla="*/ 2211981 h 6072782"/>
                <a:gd name="connsiteX892" fmla="*/ 10865711 w 11537287"/>
                <a:gd name="connsiteY892" fmla="*/ 2172960 h 6072782"/>
                <a:gd name="connsiteX893" fmla="*/ 8381124 w 11537287"/>
                <a:gd name="connsiteY893" fmla="*/ 2172960 h 6072782"/>
                <a:gd name="connsiteX894" fmla="*/ 8435810 w 11537287"/>
                <a:gd name="connsiteY894" fmla="*/ 2211981 h 6072782"/>
                <a:gd name="connsiteX895" fmla="*/ 8435810 w 11537287"/>
                <a:gd name="connsiteY895" fmla="*/ 2248342 h 6072782"/>
                <a:gd name="connsiteX896" fmla="*/ 8459754 w 11537287"/>
                <a:gd name="connsiteY896" fmla="*/ 2275202 h 6072782"/>
                <a:gd name="connsiteX897" fmla="*/ 8459754 w 11537287"/>
                <a:gd name="connsiteY897" fmla="*/ 2293698 h 6072782"/>
                <a:gd name="connsiteX898" fmla="*/ 8435810 w 11537287"/>
                <a:gd name="connsiteY898" fmla="*/ 2320051 h 6072782"/>
                <a:gd name="connsiteX899" fmla="*/ 8435810 w 11537287"/>
                <a:gd name="connsiteY899" fmla="*/ 2357426 h 6072782"/>
                <a:gd name="connsiteX900" fmla="*/ 8381124 w 11537287"/>
                <a:gd name="connsiteY900" fmla="*/ 2395940 h 6072782"/>
                <a:gd name="connsiteX901" fmla="*/ 8381124 w 11537287"/>
                <a:gd name="connsiteY901" fmla="*/ 2376429 h 6072782"/>
                <a:gd name="connsiteX902" fmla="*/ 8400202 w 11537287"/>
                <a:gd name="connsiteY902" fmla="*/ 2370348 h 6072782"/>
                <a:gd name="connsiteX903" fmla="*/ 8405841 w 11537287"/>
                <a:gd name="connsiteY903" fmla="*/ 2351091 h 6072782"/>
                <a:gd name="connsiteX904" fmla="*/ 8405841 w 11537287"/>
                <a:gd name="connsiteY904" fmla="*/ 2315743 h 6072782"/>
                <a:gd name="connsiteX905" fmla="*/ 8436273 w 11537287"/>
                <a:gd name="connsiteY905" fmla="*/ 2284450 h 6072782"/>
                <a:gd name="connsiteX906" fmla="*/ 8436273 w 11537287"/>
                <a:gd name="connsiteY906" fmla="*/ 2284070 h 6072782"/>
                <a:gd name="connsiteX907" fmla="*/ 8405841 w 11537287"/>
                <a:gd name="connsiteY907" fmla="*/ 2252523 h 6072782"/>
                <a:gd name="connsiteX908" fmla="*/ 8405841 w 11537287"/>
                <a:gd name="connsiteY908" fmla="*/ 2216796 h 6072782"/>
                <a:gd name="connsiteX909" fmla="*/ 8381124 w 11537287"/>
                <a:gd name="connsiteY909" fmla="*/ 2192598 h 6072782"/>
                <a:gd name="connsiteX910" fmla="*/ 8359805 w 11537287"/>
                <a:gd name="connsiteY910" fmla="*/ 2172960 h 6072782"/>
                <a:gd name="connsiteX911" fmla="*/ 8359805 w 11537287"/>
                <a:gd name="connsiteY911" fmla="*/ 2192598 h 6072782"/>
                <a:gd name="connsiteX912" fmla="*/ 8335243 w 11537287"/>
                <a:gd name="connsiteY912" fmla="*/ 2216796 h 6072782"/>
                <a:gd name="connsiteX913" fmla="*/ 8335243 w 11537287"/>
                <a:gd name="connsiteY913" fmla="*/ 2252523 h 6072782"/>
                <a:gd name="connsiteX914" fmla="*/ 8304502 w 11537287"/>
                <a:gd name="connsiteY914" fmla="*/ 2284070 h 6072782"/>
                <a:gd name="connsiteX915" fmla="*/ 8304502 w 11537287"/>
                <a:gd name="connsiteY915" fmla="*/ 2284450 h 6072782"/>
                <a:gd name="connsiteX916" fmla="*/ 8335243 w 11537287"/>
                <a:gd name="connsiteY916" fmla="*/ 2315743 h 6072782"/>
                <a:gd name="connsiteX917" fmla="*/ 8335243 w 11537287"/>
                <a:gd name="connsiteY917" fmla="*/ 2351091 h 6072782"/>
                <a:gd name="connsiteX918" fmla="*/ 8340727 w 11537287"/>
                <a:gd name="connsiteY918" fmla="*/ 2370411 h 6072782"/>
                <a:gd name="connsiteX919" fmla="*/ 8359805 w 11537287"/>
                <a:gd name="connsiteY919" fmla="*/ 2376429 h 6072782"/>
                <a:gd name="connsiteX920" fmla="*/ 8359805 w 11537287"/>
                <a:gd name="connsiteY920" fmla="*/ 2395940 h 6072782"/>
                <a:gd name="connsiteX921" fmla="*/ 8304811 w 11537287"/>
                <a:gd name="connsiteY921" fmla="*/ 2357426 h 6072782"/>
                <a:gd name="connsiteX922" fmla="*/ 8304811 w 11537287"/>
                <a:gd name="connsiteY922" fmla="*/ 2320051 h 6072782"/>
                <a:gd name="connsiteX923" fmla="*/ 8280712 w 11537287"/>
                <a:gd name="connsiteY923" fmla="*/ 2293698 h 6072782"/>
                <a:gd name="connsiteX924" fmla="*/ 8280712 w 11537287"/>
                <a:gd name="connsiteY924" fmla="*/ 2275202 h 6072782"/>
                <a:gd name="connsiteX925" fmla="*/ 8304811 w 11537287"/>
                <a:gd name="connsiteY925" fmla="*/ 2248342 h 6072782"/>
                <a:gd name="connsiteX926" fmla="*/ 8304811 w 11537287"/>
                <a:gd name="connsiteY926" fmla="*/ 2211981 h 6072782"/>
                <a:gd name="connsiteX927" fmla="*/ 8359805 w 11537287"/>
                <a:gd name="connsiteY927" fmla="*/ 2172960 h 6072782"/>
                <a:gd name="connsiteX928" fmla="*/ 4831058 w 11537287"/>
                <a:gd name="connsiteY928" fmla="*/ 2172960 h 6072782"/>
                <a:gd name="connsiteX929" fmla="*/ 4885744 w 11537287"/>
                <a:gd name="connsiteY929" fmla="*/ 2211981 h 6072782"/>
                <a:gd name="connsiteX930" fmla="*/ 4885744 w 11537287"/>
                <a:gd name="connsiteY930" fmla="*/ 2248342 h 6072782"/>
                <a:gd name="connsiteX931" fmla="*/ 4909688 w 11537287"/>
                <a:gd name="connsiteY931" fmla="*/ 2275202 h 6072782"/>
                <a:gd name="connsiteX932" fmla="*/ 4909688 w 11537287"/>
                <a:gd name="connsiteY932" fmla="*/ 2293698 h 6072782"/>
                <a:gd name="connsiteX933" fmla="*/ 4885744 w 11537287"/>
                <a:gd name="connsiteY933" fmla="*/ 2320051 h 6072782"/>
                <a:gd name="connsiteX934" fmla="*/ 4885744 w 11537287"/>
                <a:gd name="connsiteY934" fmla="*/ 2357426 h 6072782"/>
                <a:gd name="connsiteX935" fmla="*/ 4831058 w 11537287"/>
                <a:gd name="connsiteY935" fmla="*/ 2395940 h 6072782"/>
                <a:gd name="connsiteX936" fmla="*/ 4831058 w 11537287"/>
                <a:gd name="connsiteY936" fmla="*/ 2376429 h 6072782"/>
                <a:gd name="connsiteX937" fmla="*/ 4850137 w 11537287"/>
                <a:gd name="connsiteY937" fmla="*/ 2370348 h 6072782"/>
                <a:gd name="connsiteX938" fmla="*/ 4855775 w 11537287"/>
                <a:gd name="connsiteY938" fmla="*/ 2351091 h 6072782"/>
                <a:gd name="connsiteX939" fmla="*/ 4855775 w 11537287"/>
                <a:gd name="connsiteY939" fmla="*/ 2315743 h 6072782"/>
                <a:gd name="connsiteX940" fmla="*/ 4886207 w 11537287"/>
                <a:gd name="connsiteY940" fmla="*/ 2284450 h 6072782"/>
                <a:gd name="connsiteX941" fmla="*/ 4886207 w 11537287"/>
                <a:gd name="connsiteY941" fmla="*/ 2284070 h 6072782"/>
                <a:gd name="connsiteX942" fmla="*/ 4855775 w 11537287"/>
                <a:gd name="connsiteY942" fmla="*/ 2252523 h 6072782"/>
                <a:gd name="connsiteX943" fmla="*/ 4855775 w 11537287"/>
                <a:gd name="connsiteY943" fmla="*/ 2216796 h 6072782"/>
                <a:gd name="connsiteX944" fmla="*/ 4831058 w 11537287"/>
                <a:gd name="connsiteY944" fmla="*/ 2192598 h 6072782"/>
                <a:gd name="connsiteX945" fmla="*/ 4809740 w 11537287"/>
                <a:gd name="connsiteY945" fmla="*/ 2172960 h 6072782"/>
                <a:gd name="connsiteX946" fmla="*/ 4809740 w 11537287"/>
                <a:gd name="connsiteY946" fmla="*/ 2192598 h 6072782"/>
                <a:gd name="connsiteX947" fmla="*/ 4785177 w 11537287"/>
                <a:gd name="connsiteY947" fmla="*/ 2216796 h 6072782"/>
                <a:gd name="connsiteX948" fmla="*/ 4785177 w 11537287"/>
                <a:gd name="connsiteY948" fmla="*/ 2252523 h 6072782"/>
                <a:gd name="connsiteX949" fmla="*/ 4754435 w 11537287"/>
                <a:gd name="connsiteY949" fmla="*/ 2284070 h 6072782"/>
                <a:gd name="connsiteX950" fmla="*/ 4754435 w 11537287"/>
                <a:gd name="connsiteY950" fmla="*/ 2284450 h 6072782"/>
                <a:gd name="connsiteX951" fmla="*/ 4785177 w 11537287"/>
                <a:gd name="connsiteY951" fmla="*/ 2315743 h 6072782"/>
                <a:gd name="connsiteX952" fmla="*/ 4785177 w 11537287"/>
                <a:gd name="connsiteY952" fmla="*/ 2351091 h 6072782"/>
                <a:gd name="connsiteX953" fmla="*/ 4790661 w 11537287"/>
                <a:gd name="connsiteY953" fmla="*/ 2370411 h 6072782"/>
                <a:gd name="connsiteX954" fmla="*/ 4809740 w 11537287"/>
                <a:gd name="connsiteY954" fmla="*/ 2376429 h 6072782"/>
                <a:gd name="connsiteX955" fmla="*/ 4809740 w 11537287"/>
                <a:gd name="connsiteY955" fmla="*/ 2395940 h 6072782"/>
                <a:gd name="connsiteX956" fmla="*/ 4754745 w 11537287"/>
                <a:gd name="connsiteY956" fmla="*/ 2357426 h 6072782"/>
                <a:gd name="connsiteX957" fmla="*/ 4754745 w 11537287"/>
                <a:gd name="connsiteY957" fmla="*/ 2320051 h 6072782"/>
                <a:gd name="connsiteX958" fmla="*/ 4730646 w 11537287"/>
                <a:gd name="connsiteY958" fmla="*/ 2293698 h 6072782"/>
                <a:gd name="connsiteX959" fmla="*/ 4730646 w 11537287"/>
                <a:gd name="connsiteY959" fmla="*/ 2275202 h 6072782"/>
                <a:gd name="connsiteX960" fmla="*/ 4754745 w 11537287"/>
                <a:gd name="connsiteY960" fmla="*/ 2248342 h 6072782"/>
                <a:gd name="connsiteX961" fmla="*/ 4754745 w 11537287"/>
                <a:gd name="connsiteY961" fmla="*/ 2211981 h 6072782"/>
                <a:gd name="connsiteX962" fmla="*/ 4809740 w 11537287"/>
                <a:gd name="connsiteY962" fmla="*/ 2172960 h 6072782"/>
                <a:gd name="connsiteX963" fmla="*/ 2326456 w 11537287"/>
                <a:gd name="connsiteY963" fmla="*/ 2172960 h 6072782"/>
                <a:gd name="connsiteX964" fmla="*/ 2381142 w 11537287"/>
                <a:gd name="connsiteY964" fmla="*/ 2211981 h 6072782"/>
                <a:gd name="connsiteX965" fmla="*/ 2381142 w 11537287"/>
                <a:gd name="connsiteY965" fmla="*/ 2248342 h 6072782"/>
                <a:gd name="connsiteX966" fmla="*/ 2405086 w 11537287"/>
                <a:gd name="connsiteY966" fmla="*/ 2275202 h 6072782"/>
                <a:gd name="connsiteX967" fmla="*/ 2405086 w 11537287"/>
                <a:gd name="connsiteY967" fmla="*/ 2293698 h 6072782"/>
                <a:gd name="connsiteX968" fmla="*/ 2381142 w 11537287"/>
                <a:gd name="connsiteY968" fmla="*/ 2320051 h 6072782"/>
                <a:gd name="connsiteX969" fmla="*/ 2381142 w 11537287"/>
                <a:gd name="connsiteY969" fmla="*/ 2357426 h 6072782"/>
                <a:gd name="connsiteX970" fmla="*/ 2326456 w 11537287"/>
                <a:gd name="connsiteY970" fmla="*/ 2395940 h 6072782"/>
                <a:gd name="connsiteX971" fmla="*/ 2326456 w 11537287"/>
                <a:gd name="connsiteY971" fmla="*/ 2376429 h 6072782"/>
                <a:gd name="connsiteX972" fmla="*/ 2345533 w 11537287"/>
                <a:gd name="connsiteY972" fmla="*/ 2370348 h 6072782"/>
                <a:gd name="connsiteX973" fmla="*/ 2351172 w 11537287"/>
                <a:gd name="connsiteY973" fmla="*/ 2351091 h 6072782"/>
                <a:gd name="connsiteX974" fmla="*/ 2351172 w 11537287"/>
                <a:gd name="connsiteY974" fmla="*/ 2315743 h 6072782"/>
                <a:gd name="connsiteX975" fmla="*/ 2381605 w 11537287"/>
                <a:gd name="connsiteY975" fmla="*/ 2284450 h 6072782"/>
                <a:gd name="connsiteX976" fmla="*/ 2381605 w 11537287"/>
                <a:gd name="connsiteY976" fmla="*/ 2284070 h 6072782"/>
                <a:gd name="connsiteX977" fmla="*/ 2351172 w 11537287"/>
                <a:gd name="connsiteY977" fmla="*/ 2252523 h 6072782"/>
                <a:gd name="connsiteX978" fmla="*/ 2351172 w 11537287"/>
                <a:gd name="connsiteY978" fmla="*/ 2216796 h 6072782"/>
                <a:gd name="connsiteX979" fmla="*/ 2326456 w 11537287"/>
                <a:gd name="connsiteY979" fmla="*/ 2192598 h 6072782"/>
                <a:gd name="connsiteX980" fmla="*/ 2305137 w 11537287"/>
                <a:gd name="connsiteY980" fmla="*/ 2172960 h 6072782"/>
                <a:gd name="connsiteX981" fmla="*/ 2305137 w 11537287"/>
                <a:gd name="connsiteY981" fmla="*/ 2192598 h 6072782"/>
                <a:gd name="connsiteX982" fmla="*/ 2280575 w 11537287"/>
                <a:gd name="connsiteY982" fmla="*/ 2216796 h 6072782"/>
                <a:gd name="connsiteX983" fmla="*/ 2280575 w 11537287"/>
                <a:gd name="connsiteY983" fmla="*/ 2252523 h 6072782"/>
                <a:gd name="connsiteX984" fmla="*/ 2249834 w 11537287"/>
                <a:gd name="connsiteY984" fmla="*/ 2284070 h 6072782"/>
                <a:gd name="connsiteX985" fmla="*/ 2249834 w 11537287"/>
                <a:gd name="connsiteY985" fmla="*/ 2284450 h 6072782"/>
                <a:gd name="connsiteX986" fmla="*/ 2280575 w 11537287"/>
                <a:gd name="connsiteY986" fmla="*/ 2315743 h 6072782"/>
                <a:gd name="connsiteX987" fmla="*/ 2280575 w 11537287"/>
                <a:gd name="connsiteY987" fmla="*/ 2351091 h 6072782"/>
                <a:gd name="connsiteX988" fmla="*/ 2286060 w 11537287"/>
                <a:gd name="connsiteY988" fmla="*/ 2370411 h 6072782"/>
                <a:gd name="connsiteX989" fmla="*/ 2305137 w 11537287"/>
                <a:gd name="connsiteY989" fmla="*/ 2376429 h 6072782"/>
                <a:gd name="connsiteX990" fmla="*/ 2305137 w 11537287"/>
                <a:gd name="connsiteY990" fmla="*/ 2395940 h 6072782"/>
                <a:gd name="connsiteX991" fmla="*/ 2250143 w 11537287"/>
                <a:gd name="connsiteY991" fmla="*/ 2357426 h 6072782"/>
                <a:gd name="connsiteX992" fmla="*/ 2250143 w 11537287"/>
                <a:gd name="connsiteY992" fmla="*/ 2320051 h 6072782"/>
                <a:gd name="connsiteX993" fmla="*/ 2226043 w 11537287"/>
                <a:gd name="connsiteY993" fmla="*/ 2293698 h 6072782"/>
                <a:gd name="connsiteX994" fmla="*/ 2226043 w 11537287"/>
                <a:gd name="connsiteY994" fmla="*/ 2275202 h 6072782"/>
                <a:gd name="connsiteX995" fmla="*/ 2250143 w 11537287"/>
                <a:gd name="connsiteY995" fmla="*/ 2248342 h 6072782"/>
                <a:gd name="connsiteX996" fmla="*/ 2250143 w 11537287"/>
                <a:gd name="connsiteY996" fmla="*/ 2211981 h 6072782"/>
                <a:gd name="connsiteX997" fmla="*/ 2305137 w 11537287"/>
                <a:gd name="connsiteY997" fmla="*/ 2172960 h 6072782"/>
                <a:gd name="connsiteX998" fmla="*/ 8838198 w 11537287"/>
                <a:gd name="connsiteY998" fmla="*/ 1842347 h 6072782"/>
                <a:gd name="connsiteX999" fmla="*/ 8892884 w 11537287"/>
                <a:gd name="connsiteY999" fmla="*/ 1881368 h 6072782"/>
                <a:gd name="connsiteX1000" fmla="*/ 8892884 w 11537287"/>
                <a:gd name="connsiteY1000" fmla="*/ 1917729 h 6072782"/>
                <a:gd name="connsiteX1001" fmla="*/ 8916828 w 11537287"/>
                <a:gd name="connsiteY1001" fmla="*/ 1944589 h 6072782"/>
                <a:gd name="connsiteX1002" fmla="*/ 8916828 w 11537287"/>
                <a:gd name="connsiteY1002" fmla="*/ 1963085 h 6072782"/>
                <a:gd name="connsiteX1003" fmla="*/ 8892884 w 11537287"/>
                <a:gd name="connsiteY1003" fmla="*/ 1989438 h 6072782"/>
                <a:gd name="connsiteX1004" fmla="*/ 8892884 w 11537287"/>
                <a:gd name="connsiteY1004" fmla="*/ 2026812 h 6072782"/>
                <a:gd name="connsiteX1005" fmla="*/ 8838198 w 11537287"/>
                <a:gd name="connsiteY1005" fmla="*/ 2065327 h 6072782"/>
                <a:gd name="connsiteX1006" fmla="*/ 8838198 w 11537287"/>
                <a:gd name="connsiteY1006" fmla="*/ 2045816 h 6072782"/>
                <a:gd name="connsiteX1007" fmla="*/ 8857276 w 11537287"/>
                <a:gd name="connsiteY1007" fmla="*/ 2039735 h 6072782"/>
                <a:gd name="connsiteX1008" fmla="*/ 8862915 w 11537287"/>
                <a:gd name="connsiteY1008" fmla="*/ 2020478 h 6072782"/>
                <a:gd name="connsiteX1009" fmla="*/ 8862915 w 11537287"/>
                <a:gd name="connsiteY1009" fmla="*/ 1985130 h 6072782"/>
                <a:gd name="connsiteX1010" fmla="*/ 8893347 w 11537287"/>
                <a:gd name="connsiteY1010" fmla="*/ 1953837 h 6072782"/>
                <a:gd name="connsiteX1011" fmla="*/ 8893347 w 11537287"/>
                <a:gd name="connsiteY1011" fmla="*/ 1953457 h 6072782"/>
                <a:gd name="connsiteX1012" fmla="*/ 8862915 w 11537287"/>
                <a:gd name="connsiteY1012" fmla="*/ 1921910 h 6072782"/>
                <a:gd name="connsiteX1013" fmla="*/ 8862915 w 11537287"/>
                <a:gd name="connsiteY1013" fmla="*/ 1886183 h 6072782"/>
                <a:gd name="connsiteX1014" fmla="*/ 8838198 w 11537287"/>
                <a:gd name="connsiteY1014" fmla="*/ 1861985 h 6072782"/>
                <a:gd name="connsiteX1015" fmla="*/ 8816879 w 11537287"/>
                <a:gd name="connsiteY1015" fmla="*/ 1842347 h 6072782"/>
                <a:gd name="connsiteX1016" fmla="*/ 8816879 w 11537287"/>
                <a:gd name="connsiteY1016" fmla="*/ 1861985 h 6072782"/>
                <a:gd name="connsiteX1017" fmla="*/ 8792317 w 11537287"/>
                <a:gd name="connsiteY1017" fmla="*/ 1886183 h 6072782"/>
                <a:gd name="connsiteX1018" fmla="*/ 8792317 w 11537287"/>
                <a:gd name="connsiteY1018" fmla="*/ 1921910 h 6072782"/>
                <a:gd name="connsiteX1019" fmla="*/ 8761576 w 11537287"/>
                <a:gd name="connsiteY1019" fmla="*/ 1953457 h 6072782"/>
                <a:gd name="connsiteX1020" fmla="*/ 8761576 w 11537287"/>
                <a:gd name="connsiteY1020" fmla="*/ 1953837 h 6072782"/>
                <a:gd name="connsiteX1021" fmla="*/ 8792317 w 11537287"/>
                <a:gd name="connsiteY1021" fmla="*/ 1985130 h 6072782"/>
                <a:gd name="connsiteX1022" fmla="*/ 8792317 w 11537287"/>
                <a:gd name="connsiteY1022" fmla="*/ 2020478 h 6072782"/>
                <a:gd name="connsiteX1023" fmla="*/ 8797801 w 11537287"/>
                <a:gd name="connsiteY1023" fmla="*/ 2039798 h 6072782"/>
                <a:gd name="connsiteX1024" fmla="*/ 8816879 w 11537287"/>
                <a:gd name="connsiteY1024" fmla="*/ 2045816 h 6072782"/>
                <a:gd name="connsiteX1025" fmla="*/ 8816879 w 11537287"/>
                <a:gd name="connsiteY1025" fmla="*/ 2065327 h 6072782"/>
                <a:gd name="connsiteX1026" fmla="*/ 8761885 w 11537287"/>
                <a:gd name="connsiteY1026" fmla="*/ 2026812 h 6072782"/>
                <a:gd name="connsiteX1027" fmla="*/ 8761885 w 11537287"/>
                <a:gd name="connsiteY1027" fmla="*/ 1989438 h 6072782"/>
                <a:gd name="connsiteX1028" fmla="*/ 8737786 w 11537287"/>
                <a:gd name="connsiteY1028" fmla="*/ 1963085 h 6072782"/>
                <a:gd name="connsiteX1029" fmla="*/ 8737786 w 11537287"/>
                <a:gd name="connsiteY1029" fmla="*/ 1944589 h 6072782"/>
                <a:gd name="connsiteX1030" fmla="*/ 8761885 w 11537287"/>
                <a:gd name="connsiteY1030" fmla="*/ 1917729 h 6072782"/>
                <a:gd name="connsiteX1031" fmla="*/ 8761885 w 11537287"/>
                <a:gd name="connsiteY1031" fmla="*/ 1881368 h 6072782"/>
                <a:gd name="connsiteX1032" fmla="*/ 8816879 w 11537287"/>
                <a:gd name="connsiteY1032" fmla="*/ 1842347 h 6072782"/>
                <a:gd name="connsiteX1033" fmla="*/ 2766419 w 11537287"/>
                <a:gd name="connsiteY1033" fmla="*/ 1842347 h 6072782"/>
                <a:gd name="connsiteX1034" fmla="*/ 2821104 w 11537287"/>
                <a:gd name="connsiteY1034" fmla="*/ 1881368 h 6072782"/>
                <a:gd name="connsiteX1035" fmla="*/ 2821104 w 11537287"/>
                <a:gd name="connsiteY1035" fmla="*/ 1917729 h 6072782"/>
                <a:gd name="connsiteX1036" fmla="*/ 2845049 w 11537287"/>
                <a:gd name="connsiteY1036" fmla="*/ 1944589 h 6072782"/>
                <a:gd name="connsiteX1037" fmla="*/ 2845049 w 11537287"/>
                <a:gd name="connsiteY1037" fmla="*/ 1963085 h 6072782"/>
                <a:gd name="connsiteX1038" fmla="*/ 2821104 w 11537287"/>
                <a:gd name="connsiteY1038" fmla="*/ 1989438 h 6072782"/>
                <a:gd name="connsiteX1039" fmla="*/ 2821104 w 11537287"/>
                <a:gd name="connsiteY1039" fmla="*/ 2026812 h 6072782"/>
                <a:gd name="connsiteX1040" fmla="*/ 2766419 w 11537287"/>
                <a:gd name="connsiteY1040" fmla="*/ 2065327 h 6072782"/>
                <a:gd name="connsiteX1041" fmla="*/ 2766419 w 11537287"/>
                <a:gd name="connsiteY1041" fmla="*/ 2045816 h 6072782"/>
                <a:gd name="connsiteX1042" fmla="*/ 2785497 w 11537287"/>
                <a:gd name="connsiteY1042" fmla="*/ 2039735 h 6072782"/>
                <a:gd name="connsiteX1043" fmla="*/ 2791136 w 11537287"/>
                <a:gd name="connsiteY1043" fmla="*/ 2020478 h 6072782"/>
                <a:gd name="connsiteX1044" fmla="*/ 2791136 w 11537287"/>
                <a:gd name="connsiteY1044" fmla="*/ 1985130 h 6072782"/>
                <a:gd name="connsiteX1045" fmla="*/ 2821568 w 11537287"/>
                <a:gd name="connsiteY1045" fmla="*/ 1953837 h 6072782"/>
                <a:gd name="connsiteX1046" fmla="*/ 2821568 w 11537287"/>
                <a:gd name="connsiteY1046" fmla="*/ 1953457 h 6072782"/>
                <a:gd name="connsiteX1047" fmla="*/ 2791136 w 11537287"/>
                <a:gd name="connsiteY1047" fmla="*/ 1921910 h 6072782"/>
                <a:gd name="connsiteX1048" fmla="*/ 2791136 w 11537287"/>
                <a:gd name="connsiteY1048" fmla="*/ 1886183 h 6072782"/>
                <a:gd name="connsiteX1049" fmla="*/ 2766419 w 11537287"/>
                <a:gd name="connsiteY1049" fmla="*/ 1861985 h 6072782"/>
                <a:gd name="connsiteX1050" fmla="*/ 2745100 w 11537287"/>
                <a:gd name="connsiteY1050" fmla="*/ 1842347 h 6072782"/>
                <a:gd name="connsiteX1051" fmla="*/ 2745100 w 11537287"/>
                <a:gd name="connsiteY1051" fmla="*/ 1861985 h 6072782"/>
                <a:gd name="connsiteX1052" fmla="*/ 2720538 w 11537287"/>
                <a:gd name="connsiteY1052" fmla="*/ 1886183 h 6072782"/>
                <a:gd name="connsiteX1053" fmla="*/ 2720538 w 11537287"/>
                <a:gd name="connsiteY1053" fmla="*/ 1921910 h 6072782"/>
                <a:gd name="connsiteX1054" fmla="*/ 2689797 w 11537287"/>
                <a:gd name="connsiteY1054" fmla="*/ 1953457 h 6072782"/>
                <a:gd name="connsiteX1055" fmla="*/ 2689797 w 11537287"/>
                <a:gd name="connsiteY1055" fmla="*/ 1953837 h 6072782"/>
                <a:gd name="connsiteX1056" fmla="*/ 2720538 w 11537287"/>
                <a:gd name="connsiteY1056" fmla="*/ 1985130 h 6072782"/>
                <a:gd name="connsiteX1057" fmla="*/ 2720538 w 11537287"/>
                <a:gd name="connsiteY1057" fmla="*/ 2020478 h 6072782"/>
                <a:gd name="connsiteX1058" fmla="*/ 2726022 w 11537287"/>
                <a:gd name="connsiteY1058" fmla="*/ 2039798 h 6072782"/>
                <a:gd name="connsiteX1059" fmla="*/ 2745100 w 11537287"/>
                <a:gd name="connsiteY1059" fmla="*/ 2045816 h 6072782"/>
                <a:gd name="connsiteX1060" fmla="*/ 2745100 w 11537287"/>
                <a:gd name="connsiteY1060" fmla="*/ 2065327 h 6072782"/>
                <a:gd name="connsiteX1061" fmla="*/ 2690106 w 11537287"/>
                <a:gd name="connsiteY1061" fmla="*/ 2026812 h 6072782"/>
                <a:gd name="connsiteX1062" fmla="*/ 2690106 w 11537287"/>
                <a:gd name="connsiteY1062" fmla="*/ 1989438 h 6072782"/>
                <a:gd name="connsiteX1063" fmla="*/ 2666006 w 11537287"/>
                <a:gd name="connsiteY1063" fmla="*/ 1963085 h 6072782"/>
                <a:gd name="connsiteX1064" fmla="*/ 2666006 w 11537287"/>
                <a:gd name="connsiteY1064" fmla="*/ 1944589 h 6072782"/>
                <a:gd name="connsiteX1065" fmla="*/ 2690106 w 11537287"/>
                <a:gd name="connsiteY1065" fmla="*/ 1917729 h 6072782"/>
                <a:gd name="connsiteX1066" fmla="*/ 2690106 w 11537287"/>
                <a:gd name="connsiteY1066" fmla="*/ 1881368 h 6072782"/>
                <a:gd name="connsiteX1067" fmla="*/ 2745100 w 11537287"/>
                <a:gd name="connsiteY1067" fmla="*/ 1842347 h 6072782"/>
                <a:gd name="connsiteX1068" fmla="*/ 11472800 w 11537287"/>
                <a:gd name="connsiteY1068" fmla="*/ 1522002 h 6072782"/>
                <a:gd name="connsiteX1069" fmla="*/ 11517649 w 11537287"/>
                <a:gd name="connsiteY1069" fmla="*/ 1561024 h 6072782"/>
                <a:gd name="connsiteX1070" fmla="*/ 11517649 w 11537287"/>
                <a:gd name="connsiteY1070" fmla="*/ 1597384 h 6072782"/>
                <a:gd name="connsiteX1071" fmla="*/ 11537287 w 11537287"/>
                <a:gd name="connsiteY1071" fmla="*/ 1624244 h 6072782"/>
                <a:gd name="connsiteX1072" fmla="*/ 11537287 w 11537287"/>
                <a:gd name="connsiteY1072" fmla="*/ 1642740 h 6072782"/>
                <a:gd name="connsiteX1073" fmla="*/ 11517649 w 11537287"/>
                <a:gd name="connsiteY1073" fmla="*/ 1669093 h 6072782"/>
                <a:gd name="connsiteX1074" fmla="*/ 11517649 w 11537287"/>
                <a:gd name="connsiteY1074" fmla="*/ 1706468 h 6072782"/>
                <a:gd name="connsiteX1075" fmla="*/ 11472800 w 11537287"/>
                <a:gd name="connsiteY1075" fmla="*/ 1744982 h 6072782"/>
                <a:gd name="connsiteX1076" fmla="*/ 11472800 w 11537287"/>
                <a:gd name="connsiteY1076" fmla="*/ 1725471 h 6072782"/>
                <a:gd name="connsiteX1077" fmla="*/ 11488447 w 11537287"/>
                <a:gd name="connsiteY1077" fmla="*/ 1719390 h 6072782"/>
                <a:gd name="connsiteX1078" fmla="*/ 11493071 w 11537287"/>
                <a:gd name="connsiteY1078" fmla="*/ 1700133 h 6072782"/>
                <a:gd name="connsiteX1079" fmla="*/ 11493071 w 11537287"/>
                <a:gd name="connsiteY1079" fmla="*/ 1664785 h 6072782"/>
                <a:gd name="connsiteX1080" fmla="*/ 11518030 w 11537287"/>
                <a:gd name="connsiteY1080" fmla="*/ 1633492 h 6072782"/>
                <a:gd name="connsiteX1081" fmla="*/ 11518030 w 11537287"/>
                <a:gd name="connsiteY1081" fmla="*/ 1633112 h 6072782"/>
                <a:gd name="connsiteX1082" fmla="*/ 11493071 w 11537287"/>
                <a:gd name="connsiteY1082" fmla="*/ 1601565 h 6072782"/>
                <a:gd name="connsiteX1083" fmla="*/ 11493071 w 11537287"/>
                <a:gd name="connsiteY1083" fmla="*/ 1565838 h 6072782"/>
                <a:gd name="connsiteX1084" fmla="*/ 11472800 w 11537287"/>
                <a:gd name="connsiteY1084" fmla="*/ 1541640 h 6072782"/>
                <a:gd name="connsiteX1085" fmla="*/ 11455316 w 11537287"/>
                <a:gd name="connsiteY1085" fmla="*/ 1522002 h 6072782"/>
                <a:gd name="connsiteX1086" fmla="*/ 11455316 w 11537287"/>
                <a:gd name="connsiteY1086" fmla="*/ 1541640 h 6072782"/>
                <a:gd name="connsiteX1087" fmla="*/ 11435172 w 11537287"/>
                <a:gd name="connsiteY1087" fmla="*/ 1565838 h 6072782"/>
                <a:gd name="connsiteX1088" fmla="*/ 11435172 w 11537287"/>
                <a:gd name="connsiteY1088" fmla="*/ 1601565 h 6072782"/>
                <a:gd name="connsiteX1089" fmla="*/ 11409960 w 11537287"/>
                <a:gd name="connsiteY1089" fmla="*/ 1633112 h 6072782"/>
                <a:gd name="connsiteX1090" fmla="*/ 11409960 w 11537287"/>
                <a:gd name="connsiteY1090" fmla="*/ 1633492 h 6072782"/>
                <a:gd name="connsiteX1091" fmla="*/ 11435172 w 11537287"/>
                <a:gd name="connsiteY1091" fmla="*/ 1664785 h 6072782"/>
                <a:gd name="connsiteX1092" fmla="*/ 11435172 w 11537287"/>
                <a:gd name="connsiteY1092" fmla="*/ 1700133 h 6072782"/>
                <a:gd name="connsiteX1093" fmla="*/ 11439670 w 11537287"/>
                <a:gd name="connsiteY1093" fmla="*/ 1719453 h 6072782"/>
                <a:gd name="connsiteX1094" fmla="*/ 11455316 w 11537287"/>
                <a:gd name="connsiteY1094" fmla="*/ 1725471 h 6072782"/>
                <a:gd name="connsiteX1095" fmla="*/ 11455316 w 11537287"/>
                <a:gd name="connsiteY1095" fmla="*/ 1744982 h 6072782"/>
                <a:gd name="connsiteX1096" fmla="*/ 11410213 w 11537287"/>
                <a:gd name="connsiteY1096" fmla="*/ 1706468 h 6072782"/>
                <a:gd name="connsiteX1097" fmla="*/ 11410213 w 11537287"/>
                <a:gd name="connsiteY1097" fmla="*/ 1669093 h 6072782"/>
                <a:gd name="connsiteX1098" fmla="*/ 11390449 w 11537287"/>
                <a:gd name="connsiteY1098" fmla="*/ 1642740 h 6072782"/>
                <a:gd name="connsiteX1099" fmla="*/ 11390449 w 11537287"/>
                <a:gd name="connsiteY1099" fmla="*/ 1624244 h 6072782"/>
                <a:gd name="connsiteX1100" fmla="*/ 11410213 w 11537287"/>
                <a:gd name="connsiteY1100" fmla="*/ 1597384 h 6072782"/>
                <a:gd name="connsiteX1101" fmla="*/ 11410213 w 11537287"/>
                <a:gd name="connsiteY1101" fmla="*/ 1561024 h 6072782"/>
                <a:gd name="connsiteX1102" fmla="*/ 11455316 w 11537287"/>
                <a:gd name="connsiteY1102" fmla="*/ 1522002 h 6072782"/>
                <a:gd name="connsiteX1103" fmla="*/ 8115172 w 11537287"/>
                <a:gd name="connsiteY1103" fmla="*/ 1522002 h 6072782"/>
                <a:gd name="connsiteX1104" fmla="*/ 8160021 w 11537287"/>
                <a:gd name="connsiteY1104" fmla="*/ 1561024 h 6072782"/>
                <a:gd name="connsiteX1105" fmla="*/ 8160021 w 11537287"/>
                <a:gd name="connsiteY1105" fmla="*/ 1597384 h 6072782"/>
                <a:gd name="connsiteX1106" fmla="*/ 8179659 w 11537287"/>
                <a:gd name="connsiteY1106" fmla="*/ 1624244 h 6072782"/>
                <a:gd name="connsiteX1107" fmla="*/ 8179659 w 11537287"/>
                <a:gd name="connsiteY1107" fmla="*/ 1642741 h 6072782"/>
                <a:gd name="connsiteX1108" fmla="*/ 8160021 w 11537287"/>
                <a:gd name="connsiteY1108" fmla="*/ 1669093 h 6072782"/>
                <a:gd name="connsiteX1109" fmla="*/ 8160021 w 11537287"/>
                <a:gd name="connsiteY1109" fmla="*/ 1706468 h 6072782"/>
                <a:gd name="connsiteX1110" fmla="*/ 8115172 w 11537287"/>
                <a:gd name="connsiteY1110" fmla="*/ 1744982 h 6072782"/>
                <a:gd name="connsiteX1111" fmla="*/ 8115172 w 11537287"/>
                <a:gd name="connsiteY1111" fmla="*/ 1725471 h 6072782"/>
                <a:gd name="connsiteX1112" fmla="*/ 8130819 w 11537287"/>
                <a:gd name="connsiteY1112" fmla="*/ 1719390 h 6072782"/>
                <a:gd name="connsiteX1113" fmla="*/ 8135443 w 11537287"/>
                <a:gd name="connsiteY1113" fmla="*/ 1700133 h 6072782"/>
                <a:gd name="connsiteX1114" fmla="*/ 8135443 w 11537287"/>
                <a:gd name="connsiteY1114" fmla="*/ 1664786 h 6072782"/>
                <a:gd name="connsiteX1115" fmla="*/ 8160402 w 11537287"/>
                <a:gd name="connsiteY1115" fmla="*/ 1633492 h 6072782"/>
                <a:gd name="connsiteX1116" fmla="*/ 8160402 w 11537287"/>
                <a:gd name="connsiteY1116" fmla="*/ 1633112 h 6072782"/>
                <a:gd name="connsiteX1117" fmla="*/ 8135443 w 11537287"/>
                <a:gd name="connsiteY1117" fmla="*/ 1601565 h 6072782"/>
                <a:gd name="connsiteX1118" fmla="*/ 8135443 w 11537287"/>
                <a:gd name="connsiteY1118" fmla="*/ 1565838 h 6072782"/>
                <a:gd name="connsiteX1119" fmla="*/ 8115172 w 11537287"/>
                <a:gd name="connsiteY1119" fmla="*/ 1541640 h 6072782"/>
                <a:gd name="connsiteX1120" fmla="*/ 8097688 w 11537287"/>
                <a:gd name="connsiteY1120" fmla="*/ 1522002 h 6072782"/>
                <a:gd name="connsiteX1121" fmla="*/ 8097688 w 11537287"/>
                <a:gd name="connsiteY1121" fmla="*/ 1541640 h 6072782"/>
                <a:gd name="connsiteX1122" fmla="*/ 8077544 w 11537287"/>
                <a:gd name="connsiteY1122" fmla="*/ 1565838 h 6072782"/>
                <a:gd name="connsiteX1123" fmla="*/ 8077544 w 11537287"/>
                <a:gd name="connsiteY1123" fmla="*/ 1601565 h 6072782"/>
                <a:gd name="connsiteX1124" fmla="*/ 8052332 w 11537287"/>
                <a:gd name="connsiteY1124" fmla="*/ 1633112 h 6072782"/>
                <a:gd name="connsiteX1125" fmla="*/ 8052332 w 11537287"/>
                <a:gd name="connsiteY1125" fmla="*/ 1633492 h 6072782"/>
                <a:gd name="connsiteX1126" fmla="*/ 8077544 w 11537287"/>
                <a:gd name="connsiteY1126" fmla="*/ 1664786 h 6072782"/>
                <a:gd name="connsiteX1127" fmla="*/ 8077544 w 11537287"/>
                <a:gd name="connsiteY1127" fmla="*/ 1700133 h 6072782"/>
                <a:gd name="connsiteX1128" fmla="*/ 8082042 w 11537287"/>
                <a:gd name="connsiteY1128" fmla="*/ 1719453 h 6072782"/>
                <a:gd name="connsiteX1129" fmla="*/ 8097688 w 11537287"/>
                <a:gd name="connsiteY1129" fmla="*/ 1725471 h 6072782"/>
                <a:gd name="connsiteX1130" fmla="*/ 8097688 w 11537287"/>
                <a:gd name="connsiteY1130" fmla="*/ 1744982 h 6072782"/>
                <a:gd name="connsiteX1131" fmla="*/ 8052586 w 11537287"/>
                <a:gd name="connsiteY1131" fmla="*/ 1706468 h 6072782"/>
                <a:gd name="connsiteX1132" fmla="*/ 8052586 w 11537287"/>
                <a:gd name="connsiteY1132" fmla="*/ 1669093 h 6072782"/>
                <a:gd name="connsiteX1133" fmla="*/ 8032821 w 11537287"/>
                <a:gd name="connsiteY1133" fmla="*/ 1642741 h 6072782"/>
                <a:gd name="connsiteX1134" fmla="*/ 8032821 w 11537287"/>
                <a:gd name="connsiteY1134" fmla="*/ 1624244 h 6072782"/>
                <a:gd name="connsiteX1135" fmla="*/ 8052586 w 11537287"/>
                <a:gd name="connsiteY1135" fmla="*/ 1597384 h 6072782"/>
                <a:gd name="connsiteX1136" fmla="*/ 8052586 w 11537287"/>
                <a:gd name="connsiteY1136" fmla="*/ 1561024 h 6072782"/>
                <a:gd name="connsiteX1137" fmla="*/ 8097688 w 11537287"/>
                <a:gd name="connsiteY1137" fmla="*/ 1522002 h 6072782"/>
                <a:gd name="connsiteX1138" fmla="*/ 5416747 w 11537287"/>
                <a:gd name="connsiteY1138" fmla="*/ 1522002 h 6072782"/>
                <a:gd name="connsiteX1139" fmla="*/ 5461597 w 11537287"/>
                <a:gd name="connsiteY1139" fmla="*/ 1561024 h 6072782"/>
                <a:gd name="connsiteX1140" fmla="*/ 5461597 w 11537287"/>
                <a:gd name="connsiteY1140" fmla="*/ 1597384 h 6072782"/>
                <a:gd name="connsiteX1141" fmla="*/ 5481234 w 11537287"/>
                <a:gd name="connsiteY1141" fmla="*/ 1624244 h 6072782"/>
                <a:gd name="connsiteX1142" fmla="*/ 5481234 w 11537287"/>
                <a:gd name="connsiteY1142" fmla="*/ 1642740 h 6072782"/>
                <a:gd name="connsiteX1143" fmla="*/ 5461597 w 11537287"/>
                <a:gd name="connsiteY1143" fmla="*/ 1669093 h 6072782"/>
                <a:gd name="connsiteX1144" fmla="*/ 5461597 w 11537287"/>
                <a:gd name="connsiteY1144" fmla="*/ 1706468 h 6072782"/>
                <a:gd name="connsiteX1145" fmla="*/ 5416747 w 11537287"/>
                <a:gd name="connsiteY1145" fmla="*/ 1744982 h 6072782"/>
                <a:gd name="connsiteX1146" fmla="*/ 5416747 w 11537287"/>
                <a:gd name="connsiteY1146" fmla="*/ 1725471 h 6072782"/>
                <a:gd name="connsiteX1147" fmla="*/ 5432394 w 11537287"/>
                <a:gd name="connsiteY1147" fmla="*/ 1719390 h 6072782"/>
                <a:gd name="connsiteX1148" fmla="*/ 5437018 w 11537287"/>
                <a:gd name="connsiteY1148" fmla="*/ 1700133 h 6072782"/>
                <a:gd name="connsiteX1149" fmla="*/ 5437018 w 11537287"/>
                <a:gd name="connsiteY1149" fmla="*/ 1664785 h 6072782"/>
                <a:gd name="connsiteX1150" fmla="*/ 5461977 w 11537287"/>
                <a:gd name="connsiteY1150" fmla="*/ 1633492 h 6072782"/>
                <a:gd name="connsiteX1151" fmla="*/ 5461977 w 11537287"/>
                <a:gd name="connsiteY1151" fmla="*/ 1633112 h 6072782"/>
                <a:gd name="connsiteX1152" fmla="*/ 5437018 w 11537287"/>
                <a:gd name="connsiteY1152" fmla="*/ 1601565 h 6072782"/>
                <a:gd name="connsiteX1153" fmla="*/ 5437018 w 11537287"/>
                <a:gd name="connsiteY1153" fmla="*/ 1565838 h 6072782"/>
                <a:gd name="connsiteX1154" fmla="*/ 5416747 w 11537287"/>
                <a:gd name="connsiteY1154" fmla="*/ 1541640 h 6072782"/>
                <a:gd name="connsiteX1155" fmla="*/ 5399263 w 11537287"/>
                <a:gd name="connsiteY1155" fmla="*/ 1522002 h 6072782"/>
                <a:gd name="connsiteX1156" fmla="*/ 5399263 w 11537287"/>
                <a:gd name="connsiteY1156" fmla="*/ 1541640 h 6072782"/>
                <a:gd name="connsiteX1157" fmla="*/ 5379119 w 11537287"/>
                <a:gd name="connsiteY1157" fmla="*/ 1565838 h 6072782"/>
                <a:gd name="connsiteX1158" fmla="*/ 5379119 w 11537287"/>
                <a:gd name="connsiteY1158" fmla="*/ 1601565 h 6072782"/>
                <a:gd name="connsiteX1159" fmla="*/ 5353907 w 11537287"/>
                <a:gd name="connsiteY1159" fmla="*/ 1633112 h 6072782"/>
                <a:gd name="connsiteX1160" fmla="*/ 5353907 w 11537287"/>
                <a:gd name="connsiteY1160" fmla="*/ 1633492 h 6072782"/>
                <a:gd name="connsiteX1161" fmla="*/ 5379119 w 11537287"/>
                <a:gd name="connsiteY1161" fmla="*/ 1664785 h 6072782"/>
                <a:gd name="connsiteX1162" fmla="*/ 5379119 w 11537287"/>
                <a:gd name="connsiteY1162" fmla="*/ 1700133 h 6072782"/>
                <a:gd name="connsiteX1163" fmla="*/ 5383617 w 11537287"/>
                <a:gd name="connsiteY1163" fmla="*/ 1719453 h 6072782"/>
                <a:gd name="connsiteX1164" fmla="*/ 5399263 w 11537287"/>
                <a:gd name="connsiteY1164" fmla="*/ 1725471 h 6072782"/>
                <a:gd name="connsiteX1165" fmla="*/ 5399263 w 11537287"/>
                <a:gd name="connsiteY1165" fmla="*/ 1744982 h 6072782"/>
                <a:gd name="connsiteX1166" fmla="*/ 5354161 w 11537287"/>
                <a:gd name="connsiteY1166" fmla="*/ 1706468 h 6072782"/>
                <a:gd name="connsiteX1167" fmla="*/ 5354161 w 11537287"/>
                <a:gd name="connsiteY1167" fmla="*/ 1669093 h 6072782"/>
                <a:gd name="connsiteX1168" fmla="*/ 5334396 w 11537287"/>
                <a:gd name="connsiteY1168" fmla="*/ 1642740 h 6072782"/>
                <a:gd name="connsiteX1169" fmla="*/ 5334396 w 11537287"/>
                <a:gd name="connsiteY1169" fmla="*/ 1624244 h 6072782"/>
                <a:gd name="connsiteX1170" fmla="*/ 5354161 w 11537287"/>
                <a:gd name="connsiteY1170" fmla="*/ 1597384 h 6072782"/>
                <a:gd name="connsiteX1171" fmla="*/ 5354161 w 11537287"/>
                <a:gd name="connsiteY1171" fmla="*/ 1561024 h 6072782"/>
                <a:gd name="connsiteX1172" fmla="*/ 5399263 w 11537287"/>
                <a:gd name="connsiteY1172" fmla="*/ 1522002 h 6072782"/>
                <a:gd name="connsiteX1173" fmla="*/ 2059120 w 11537287"/>
                <a:gd name="connsiteY1173" fmla="*/ 1522002 h 6072782"/>
                <a:gd name="connsiteX1174" fmla="*/ 2103970 w 11537287"/>
                <a:gd name="connsiteY1174" fmla="*/ 1561024 h 6072782"/>
                <a:gd name="connsiteX1175" fmla="*/ 2103970 w 11537287"/>
                <a:gd name="connsiteY1175" fmla="*/ 1597384 h 6072782"/>
                <a:gd name="connsiteX1176" fmla="*/ 2123607 w 11537287"/>
                <a:gd name="connsiteY1176" fmla="*/ 1624244 h 6072782"/>
                <a:gd name="connsiteX1177" fmla="*/ 2123607 w 11537287"/>
                <a:gd name="connsiteY1177" fmla="*/ 1642740 h 6072782"/>
                <a:gd name="connsiteX1178" fmla="*/ 2103970 w 11537287"/>
                <a:gd name="connsiteY1178" fmla="*/ 1669093 h 6072782"/>
                <a:gd name="connsiteX1179" fmla="*/ 2103970 w 11537287"/>
                <a:gd name="connsiteY1179" fmla="*/ 1706468 h 6072782"/>
                <a:gd name="connsiteX1180" fmla="*/ 2059120 w 11537287"/>
                <a:gd name="connsiteY1180" fmla="*/ 1744982 h 6072782"/>
                <a:gd name="connsiteX1181" fmla="*/ 2059120 w 11537287"/>
                <a:gd name="connsiteY1181" fmla="*/ 1725471 h 6072782"/>
                <a:gd name="connsiteX1182" fmla="*/ 2074767 w 11537287"/>
                <a:gd name="connsiteY1182" fmla="*/ 1719390 h 6072782"/>
                <a:gd name="connsiteX1183" fmla="*/ 2079391 w 11537287"/>
                <a:gd name="connsiteY1183" fmla="*/ 1700133 h 6072782"/>
                <a:gd name="connsiteX1184" fmla="*/ 2079391 w 11537287"/>
                <a:gd name="connsiteY1184" fmla="*/ 1664785 h 6072782"/>
                <a:gd name="connsiteX1185" fmla="*/ 2104351 w 11537287"/>
                <a:gd name="connsiteY1185" fmla="*/ 1633492 h 6072782"/>
                <a:gd name="connsiteX1186" fmla="*/ 2104351 w 11537287"/>
                <a:gd name="connsiteY1186" fmla="*/ 1633112 h 6072782"/>
                <a:gd name="connsiteX1187" fmla="*/ 2079391 w 11537287"/>
                <a:gd name="connsiteY1187" fmla="*/ 1601565 h 6072782"/>
                <a:gd name="connsiteX1188" fmla="*/ 2079391 w 11537287"/>
                <a:gd name="connsiteY1188" fmla="*/ 1565838 h 6072782"/>
                <a:gd name="connsiteX1189" fmla="*/ 2059120 w 11537287"/>
                <a:gd name="connsiteY1189" fmla="*/ 1541640 h 6072782"/>
                <a:gd name="connsiteX1190" fmla="*/ 2041636 w 11537287"/>
                <a:gd name="connsiteY1190" fmla="*/ 1522002 h 6072782"/>
                <a:gd name="connsiteX1191" fmla="*/ 2041636 w 11537287"/>
                <a:gd name="connsiteY1191" fmla="*/ 1541640 h 6072782"/>
                <a:gd name="connsiteX1192" fmla="*/ 2021492 w 11537287"/>
                <a:gd name="connsiteY1192" fmla="*/ 1565838 h 6072782"/>
                <a:gd name="connsiteX1193" fmla="*/ 2021492 w 11537287"/>
                <a:gd name="connsiteY1193" fmla="*/ 1601565 h 6072782"/>
                <a:gd name="connsiteX1194" fmla="*/ 1996279 w 11537287"/>
                <a:gd name="connsiteY1194" fmla="*/ 1633112 h 6072782"/>
                <a:gd name="connsiteX1195" fmla="*/ 1996279 w 11537287"/>
                <a:gd name="connsiteY1195" fmla="*/ 1633492 h 6072782"/>
                <a:gd name="connsiteX1196" fmla="*/ 2021492 w 11537287"/>
                <a:gd name="connsiteY1196" fmla="*/ 1664785 h 6072782"/>
                <a:gd name="connsiteX1197" fmla="*/ 2021492 w 11537287"/>
                <a:gd name="connsiteY1197" fmla="*/ 1700133 h 6072782"/>
                <a:gd name="connsiteX1198" fmla="*/ 2025990 w 11537287"/>
                <a:gd name="connsiteY1198" fmla="*/ 1719453 h 6072782"/>
                <a:gd name="connsiteX1199" fmla="*/ 2041636 w 11537287"/>
                <a:gd name="connsiteY1199" fmla="*/ 1725471 h 6072782"/>
                <a:gd name="connsiteX1200" fmla="*/ 2041636 w 11537287"/>
                <a:gd name="connsiteY1200" fmla="*/ 1744982 h 6072782"/>
                <a:gd name="connsiteX1201" fmla="*/ 1996534 w 11537287"/>
                <a:gd name="connsiteY1201" fmla="*/ 1706468 h 6072782"/>
                <a:gd name="connsiteX1202" fmla="*/ 1996534 w 11537287"/>
                <a:gd name="connsiteY1202" fmla="*/ 1669093 h 6072782"/>
                <a:gd name="connsiteX1203" fmla="*/ 1976769 w 11537287"/>
                <a:gd name="connsiteY1203" fmla="*/ 1642740 h 6072782"/>
                <a:gd name="connsiteX1204" fmla="*/ 1976769 w 11537287"/>
                <a:gd name="connsiteY1204" fmla="*/ 1624244 h 6072782"/>
                <a:gd name="connsiteX1205" fmla="*/ 1996534 w 11537287"/>
                <a:gd name="connsiteY1205" fmla="*/ 1597384 h 6072782"/>
                <a:gd name="connsiteX1206" fmla="*/ 1996534 w 11537287"/>
                <a:gd name="connsiteY1206" fmla="*/ 1561024 h 6072782"/>
                <a:gd name="connsiteX1207" fmla="*/ 2041636 w 11537287"/>
                <a:gd name="connsiteY1207" fmla="*/ 1522002 h 6072782"/>
                <a:gd name="connsiteX1208" fmla="*/ 8329710 w 11537287"/>
                <a:gd name="connsiteY1208" fmla="*/ 1297433 h 6072782"/>
                <a:gd name="connsiteX1209" fmla="*/ 8319248 w 11537287"/>
                <a:gd name="connsiteY1209" fmla="*/ 1345562 h 6072782"/>
                <a:gd name="connsiteX1210" fmla="*/ 8361971 w 11537287"/>
                <a:gd name="connsiteY1210" fmla="*/ 1345562 h 6072782"/>
                <a:gd name="connsiteX1211" fmla="*/ 8372259 w 11537287"/>
                <a:gd name="connsiteY1211" fmla="*/ 1297433 h 6072782"/>
                <a:gd name="connsiteX1212" fmla="*/ 2266464 w 11537287"/>
                <a:gd name="connsiteY1212" fmla="*/ 1297433 h 6072782"/>
                <a:gd name="connsiteX1213" fmla="*/ 2256002 w 11537287"/>
                <a:gd name="connsiteY1213" fmla="*/ 1345562 h 6072782"/>
                <a:gd name="connsiteX1214" fmla="*/ 2298725 w 11537287"/>
                <a:gd name="connsiteY1214" fmla="*/ 1345562 h 6072782"/>
                <a:gd name="connsiteX1215" fmla="*/ 2309012 w 11537287"/>
                <a:gd name="connsiteY1215" fmla="*/ 1297433 h 6072782"/>
                <a:gd name="connsiteX1216" fmla="*/ 3671901 w 11537287"/>
                <a:gd name="connsiteY1216" fmla="*/ 1208699 h 6072782"/>
                <a:gd name="connsiteX1217" fmla="*/ 3716748 w 11537287"/>
                <a:gd name="connsiteY1217" fmla="*/ 1247720 h 6072782"/>
                <a:gd name="connsiteX1218" fmla="*/ 3716748 w 11537287"/>
                <a:gd name="connsiteY1218" fmla="*/ 1284081 h 6072782"/>
                <a:gd name="connsiteX1219" fmla="*/ 3736386 w 11537287"/>
                <a:gd name="connsiteY1219" fmla="*/ 1310941 h 6072782"/>
                <a:gd name="connsiteX1220" fmla="*/ 3736386 w 11537287"/>
                <a:gd name="connsiteY1220" fmla="*/ 1329437 h 6072782"/>
                <a:gd name="connsiteX1221" fmla="*/ 3716748 w 11537287"/>
                <a:gd name="connsiteY1221" fmla="*/ 1355790 h 6072782"/>
                <a:gd name="connsiteX1222" fmla="*/ 3716748 w 11537287"/>
                <a:gd name="connsiteY1222" fmla="*/ 1393165 h 6072782"/>
                <a:gd name="connsiteX1223" fmla="*/ 3671901 w 11537287"/>
                <a:gd name="connsiteY1223" fmla="*/ 1431679 h 6072782"/>
                <a:gd name="connsiteX1224" fmla="*/ 3671901 w 11537287"/>
                <a:gd name="connsiteY1224" fmla="*/ 1412168 h 6072782"/>
                <a:gd name="connsiteX1225" fmla="*/ 3687546 w 11537287"/>
                <a:gd name="connsiteY1225" fmla="*/ 1406087 h 6072782"/>
                <a:gd name="connsiteX1226" fmla="*/ 3692171 w 11537287"/>
                <a:gd name="connsiteY1226" fmla="*/ 1386830 h 6072782"/>
                <a:gd name="connsiteX1227" fmla="*/ 3692171 w 11537287"/>
                <a:gd name="connsiteY1227" fmla="*/ 1351482 h 6072782"/>
                <a:gd name="connsiteX1228" fmla="*/ 3717130 w 11537287"/>
                <a:gd name="connsiteY1228" fmla="*/ 1320189 h 6072782"/>
                <a:gd name="connsiteX1229" fmla="*/ 3717130 w 11537287"/>
                <a:gd name="connsiteY1229" fmla="*/ 1319809 h 6072782"/>
                <a:gd name="connsiteX1230" fmla="*/ 3692171 w 11537287"/>
                <a:gd name="connsiteY1230" fmla="*/ 1288262 h 6072782"/>
                <a:gd name="connsiteX1231" fmla="*/ 3692171 w 11537287"/>
                <a:gd name="connsiteY1231" fmla="*/ 1252535 h 6072782"/>
                <a:gd name="connsiteX1232" fmla="*/ 3671901 w 11537287"/>
                <a:gd name="connsiteY1232" fmla="*/ 1228337 h 6072782"/>
                <a:gd name="connsiteX1233" fmla="*/ 3654416 w 11537287"/>
                <a:gd name="connsiteY1233" fmla="*/ 1208699 h 6072782"/>
                <a:gd name="connsiteX1234" fmla="*/ 3654416 w 11537287"/>
                <a:gd name="connsiteY1234" fmla="*/ 1228337 h 6072782"/>
                <a:gd name="connsiteX1235" fmla="*/ 3634271 w 11537287"/>
                <a:gd name="connsiteY1235" fmla="*/ 1252535 h 6072782"/>
                <a:gd name="connsiteX1236" fmla="*/ 3634271 w 11537287"/>
                <a:gd name="connsiteY1236" fmla="*/ 1288262 h 6072782"/>
                <a:gd name="connsiteX1237" fmla="*/ 3609059 w 11537287"/>
                <a:gd name="connsiteY1237" fmla="*/ 1319809 h 6072782"/>
                <a:gd name="connsiteX1238" fmla="*/ 3609059 w 11537287"/>
                <a:gd name="connsiteY1238" fmla="*/ 1320189 h 6072782"/>
                <a:gd name="connsiteX1239" fmla="*/ 3634271 w 11537287"/>
                <a:gd name="connsiteY1239" fmla="*/ 1351482 h 6072782"/>
                <a:gd name="connsiteX1240" fmla="*/ 3634271 w 11537287"/>
                <a:gd name="connsiteY1240" fmla="*/ 1386830 h 6072782"/>
                <a:gd name="connsiteX1241" fmla="*/ 3638770 w 11537287"/>
                <a:gd name="connsiteY1241" fmla="*/ 1406150 h 6072782"/>
                <a:gd name="connsiteX1242" fmla="*/ 3654416 w 11537287"/>
                <a:gd name="connsiteY1242" fmla="*/ 1412168 h 6072782"/>
                <a:gd name="connsiteX1243" fmla="*/ 3654416 w 11537287"/>
                <a:gd name="connsiteY1243" fmla="*/ 1431679 h 6072782"/>
                <a:gd name="connsiteX1244" fmla="*/ 3609313 w 11537287"/>
                <a:gd name="connsiteY1244" fmla="*/ 1393165 h 6072782"/>
                <a:gd name="connsiteX1245" fmla="*/ 3609313 w 11537287"/>
                <a:gd name="connsiteY1245" fmla="*/ 1355790 h 6072782"/>
                <a:gd name="connsiteX1246" fmla="*/ 3589548 w 11537287"/>
                <a:gd name="connsiteY1246" fmla="*/ 1329437 h 6072782"/>
                <a:gd name="connsiteX1247" fmla="*/ 3589548 w 11537287"/>
                <a:gd name="connsiteY1247" fmla="*/ 1310941 h 6072782"/>
                <a:gd name="connsiteX1248" fmla="*/ 3609313 w 11537287"/>
                <a:gd name="connsiteY1248" fmla="*/ 1284081 h 6072782"/>
                <a:gd name="connsiteX1249" fmla="*/ 3609313 w 11537287"/>
                <a:gd name="connsiteY1249" fmla="*/ 1247720 h 6072782"/>
                <a:gd name="connsiteX1250" fmla="*/ 3654416 w 11537287"/>
                <a:gd name="connsiteY1250" fmla="*/ 1208699 h 6072782"/>
                <a:gd name="connsiteX1251" fmla="*/ 8320643 w 11537287"/>
                <a:gd name="connsiteY1251" fmla="*/ 1205882 h 6072782"/>
                <a:gd name="connsiteX1252" fmla="*/ 8348718 w 11537287"/>
                <a:gd name="connsiteY1252" fmla="*/ 1205882 h 6072782"/>
                <a:gd name="connsiteX1253" fmla="*/ 8334942 w 11537287"/>
                <a:gd name="connsiteY1253" fmla="*/ 1273019 h 6072782"/>
                <a:gd name="connsiteX1254" fmla="*/ 8377142 w 11537287"/>
                <a:gd name="connsiteY1254" fmla="*/ 1273019 h 6072782"/>
                <a:gd name="connsiteX1255" fmla="*/ 8391441 w 11537287"/>
                <a:gd name="connsiteY1255" fmla="*/ 1205882 h 6072782"/>
                <a:gd name="connsiteX1256" fmla="*/ 8418994 w 11537287"/>
                <a:gd name="connsiteY1256" fmla="*/ 1205882 h 6072782"/>
                <a:gd name="connsiteX1257" fmla="*/ 8405043 w 11537287"/>
                <a:gd name="connsiteY1257" fmla="*/ 1273019 h 6072782"/>
                <a:gd name="connsiteX1258" fmla="*/ 8444802 w 11537287"/>
                <a:gd name="connsiteY1258" fmla="*/ 1273019 h 6072782"/>
                <a:gd name="connsiteX1259" fmla="*/ 8439396 w 11537287"/>
                <a:gd name="connsiteY1259" fmla="*/ 1297433 h 6072782"/>
                <a:gd name="connsiteX1260" fmla="*/ 8399812 w 11537287"/>
                <a:gd name="connsiteY1260" fmla="*/ 1297433 h 6072782"/>
                <a:gd name="connsiteX1261" fmla="*/ 8389698 w 11537287"/>
                <a:gd name="connsiteY1261" fmla="*/ 1345562 h 6072782"/>
                <a:gd name="connsiteX1262" fmla="*/ 8432944 w 11537287"/>
                <a:gd name="connsiteY1262" fmla="*/ 1345562 h 6072782"/>
                <a:gd name="connsiteX1263" fmla="*/ 8426840 w 11537287"/>
                <a:gd name="connsiteY1263" fmla="*/ 1369975 h 6072782"/>
                <a:gd name="connsiteX1264" fmla="*/ 8384641 w 11537287"/>
                <a:gd name="connsiteY1264" fmla="*/ 1369975 h 6072782"/>
                <a:gd name="connsiteX1265" fmla="*/ 8370341 w 11537287"/>
                <a:gd name="connsiteY1265" fmla="*/ 1434496 h 6072782"/>
                <a:gd name="connsiteX1266" fmla="*/ 8342614 w 11537287"/>
                <a:gd name="connsiteY1266" fmla="*/ 1434496 h 6072782"/>
                <a:gd name="connsiteX1267" fmla="*/ 8356565 w 11537287"/>
                <a:gd name="connsiteY1267" fmla="*/ 1369975 h 6072782"/>
                <a:gd name="connsiteX1268" fmla="*/ 8314365 w 11537287"/>
                <a:gd name="connsiteY1268" fmla="*/ 1369975 h 6072782"/>
                <a:gd name="connsiteX1269" fmla="*/ 8300763 w 11537287"/>
                <a:gd name="connsiteY1269" fmla="*/ 1434496 h 6072782"/>
                <a:gd name="connsiteX1270" fmla="*/ 8273037 w 11537287"/>
                <a:gd name="connsiteY1270" fmla="*/ 1434496 h 6072782"/>
                <a:gd name="connsiteX1271" fmla="*/ 8286638 w 11537287"/>
                <a:gd name="connsiteY1271" fmla="*/ 1369975 h 6072782"/>
                <a:gd name="connsiteX1272" fmla="*/ 8246705 w 11537287"/>
                <a:gd name="connsiteY1272" fmla="*/ 1369975 h 6072782"/>
                <a:gd name="connsiteX1273" fmla="*/ 8251587 w 11537287"/>
                <a:gd name="connsiteY1273" fmla="*/ 1345562 h 6072782"/>
                <a:gd name="connsiteX1274" fmla="*/ 8292044 w 11537287"/>
                <a:gd name="connsiteY1274" fmla="*/ 1345562 h 6072782"/>
                <a:gd name="connsiteX1275" fmla="*/ 8301635 w 11537287"/>
                <a:gd name="connsiteY1275" fmla="*/ 1297433 h 6072782"/>
                <a:gd name="connsiteX1276" fmla="*/ 8259086 w 11537287"/>
                <a:gd name="connsiteY1276" fmla="*/ 1297433 h 6072782"/>
                <a:gd name="connsiteX1277" fmla="*/ 8264143 w 11537287"/>
                <a:gd name="connsiteY1277" fmla="*/ 1273019 h 6072782"/>
                <a:gd name="connsiteX1278" fmla="*/ 8306692 w 11537287"/>
                <a:gd name="connsiteY1278" fmla="*/ 1273019 h 6072782"/>
                <a:gd name="connsiteX1279" fmla="*/ 2257398 w 11537287"/>
                <a:gd name="connsiteY1279" fmla="*/ 1205882 h 6072782"/>
                <a:gd name="connsiteX1280" fmla="*/ 2285472 w 11537287"/>
                <a:gd name="connsiteY1280" fmla="*/ 1205882 h 6072782"/>
                <a:gd name="connsiteX1281" fmla="*/ 2271696 w 11537287"/>
                <a:gd name="connsiteY1281" fmla="*/ 1273019 h 6072782"/>
                <a:gd name="connsiteX1282" fmla="*/ 2313896 w 11537287"/>
                <a:gd name="connsiteY1282" fmla="*/ 1273019 h 6072782"/>
                <a:gd name="connsiteX1283" fmla="*/ 2328196 w 11537287"/>
                <a:gd name="connsiteY1283" fmla="*/ 1205882 h 6072782"/>
                <a:gd name="connsiteX1284" fmla="*/ 2355748 w 11537287"/>
                <a:gd name="connsiteY1284" fmla="*/ 1205882 h 6072782"/>
                <a:gd name="connsiteX1285" fmla="*/ 2341797 w 11537287"/>
                <a:gd name="connsiteY1285" fmla="*/ 1273019 h 6072782"/>
                <a:gd name="connsiteX1286" fmla="*/ 2381556 w 11537287"/>
                <a:gd name="connsiteY1286" fmla="*/ 1273019 h 6072782"/>
                <a:gd name="connsiteX1287" fmla="*/ 2376151 w 11537287"/>
                <a:gd name="connsiteY1287" fmla="*/ 1297433 h 6072782"/>
                <a:gd name="connsiteX1288" fmla="*/ 2336566 w 11537287"/>
                <a:gd name="connsiteY1288" fmla="*/ 1297433 h 6072782"/>
                <a:gd name="connsiteX1289" fmla="*/ 2326453 w 11537287"/>
                <a:gd name="connsiteY1289" fmla="*/ 1345562 h 6072782"/>
                <a:gd name="connsiteX1290" fmla="*/ 2369698 w 11537287"/>
                <a:gd name="connsiteY1290" fmla="*/ 1345562 h 6072782"/>
                <a:gd name="connsiteX1291" fmla="*/ 2363595 w 11537287"/>
                <a:gd name="connsiteY1291" fmla="*/ 1369975 h 6072782"/>
                <a:gd name="connsiteX1292" fmla="*/ 2321395 w 11537287"/>
                <a:gd name="connsiteY1292" fmla="*/ 1369975 h 6072782"/>
                <a:gd name="connsiteX1293" fmla="*/ 2307095 w 11537287"/>
                <a:gd name="connsiteY1293" fmla="*/ 1434496 h 6072782"/>
                <a:gd name="connsiteX1294" fmla="*/ 2279369 w 11537287"/>
                <a:gd name="connsiteY1294" fmla="*/ 1434496 h 6072782"/>
                <a:gd name="connsiteX1295" fmla="*/ 2293320 w 11537287"/>
                <a:gd name="connsiteY1295" fmla="*/ 1369975 h 6072782"/>
                <a:gd name="connsiteX1296" fmla="*/ 2251119 w 11537287"/>
                <a:gd name="connsiteY1296" fmla="*/ 1369975 h 6072782"/>
                <a:gd name="connsiteX1297" fmla="*/ 2237517 w 11537287"/>
                <a:gd name="connsiteY1297" fmla="*/ 1434496 h 6072782"/>
                <a:gd name="connsiteX1298" fmla="*/ 2209792 w 11537287"/>
                <a:gd name="connsiteY1298" fmla="*/ 1434496 h 6072782"/>
                <a:gd name="connsiteX1299" fmla="*/ 2223393 w 11537287"/>
                <a:gd name="connsiteY1299" fmla="*/ 1369975 h 6072782"/>
                <a:gd name="connsiteX1300" fmla="*/ 2183459 w 11537287"/>
                <a:gd name="connsiteY1300" fmla="*/ 1369975 h 6072782"/>
                <a:gd name="connsiteX1301" fmla="*/ 2188342 w 11537287"/>
                <a:gd name="connsiteY1301" fmla="*/ 1345562 h 6072782"/>
                <a:gd name="connsiteX1302" fmla="*/ 2228798 w 11537287"/>
                <a:gd name="connsiteY1302" fmla="*/ 1345562 h 6072782"/>
                <a:gd name="connsiteX1303" fmla="*/ 2238389 w 11537287"/>
                <a:gd name="connsiteY1303" fmla="*/ 1297433 h 6072782"/>
                <a:gd name="connsiteX1304" fmla="*/ 2195840 w 11537287"/>
                <a:gd name="connsiteY1304" fmla="*/ 1297433 h 6072782"/>
                <a:gd name="connsiteX1305" fmla="*/ 2200897 w 11537287"/>
                <a:gd name="connsiteY1305" fmla="*/ 1273019 h 6072782"/>
                <a:gd name="connsiteX1306" fmla="*/ 2243446 w 11537287"/>
                <a:gd name="connsiteY1306" fmla="*/ 1273019 h 6072782"/>
                <a:gd name="connsiteX1307" fmla="*/ 10889585 w 11537287"/>
                <a:gd name="connsiteY1307" fmla="*/ 911255 h 6072782"/>
                <a:gd name="connsiteX1308" fmla="*/ 10944271 w 11537287"/>
                <a:gd name="connsiteY1308" fmla="*/ 950276 h 6072782"/>
                <a:gd name="connsiteX1309" fmla="*/ 10944271 w 11537287"/>
                <a:gd name="connsiteY1309" fmla="*/ 986637 h 6072782"/>
                <a:gd name="connsiteX1310" fmla="*/ 10968215 w 11537287"/>
                <a:gd name="connsiteY1310" fmla="*/ 1013497 h 6072782"/>
                <a:gd name="connsiteX1311" fmla="*/ 10968215 w 11537287"/>
                <a:gd name="connsiteY1311" fmla="*/ 1031993 h 6072782"/>
                <a:gd name="connsiteX1312" fmla="*/ 10944271 w 11537287"/>
                <a:gd name="connsiteY1312" fmla="*/ 1058346 h 6072782"/>
                <a:gd name="connsiteX1313" fmla="*/ 10944271 w 11537287"/>
                <a:gd name="connsiteY1313" fmla="*/ 1095721 h 6072782"/>
                <a:gd name="connsiteX1314" fmla="*/ 10889585 w 11537287"/>
                <a:gd name="connsiteY1314" fmla="*/ 1134235 h 6072782"/>
                <a:gd name="connsiteX1315" fmla="*/ 10889585 w 11537287"/>
                <a:gd name="connsiteY1315" fmla="*/ 1114724 h 6072782"/>
                <a:gd name="connsiteX1316" fmla="*/ 10908663 w 11537287"/>
                <a:gd name="connsiteY1316" fmla="*/ 1108643 h 6072782"/>
                <a:gd name="connsiteX1317" fmla="*/ 10914302 w 11537287"/>
                <a:gd name="connsiteY1317" fmla="*/ 1089386 h 6072782"/>
                <a:gd name="connsiteX1318" fmla="*/ 10914302 w 11537287"/>
                <a:gd name="connsiteY1318" fmla="*/ 1054038 h 6072782"/>
                <a:gd name="connsiteX1319" fmla="*/ 10944734 w 11537287"/>
                <a:gd name="connsiteY1319" fmla="*/ 1022745 h 6072782"/>
                <a:gd name="connsiteX1320" fmla="*/ 10944734 w 11537287"/>
                <a:gd name="connsiteY1320" fmla="*/ 1022365 h 6072782"/>
                <a:gd name="connsiteX1321" fmla="*/ 10914302 w 11537287"/>
                <a:gd name="connsiteY1321" fmla="*/ 990818 h 6072782"/>
                <a:gd name="connsiteX1322" fmla="*/ 10914302 w 11537287"/>
                <a:gd name="connsiteY1322" fmla="*/ 955091 h 6072782"/>
                <a:gd name="connsiteX1323" fmla="*/ 10889585 w 11537287"/>
                <a:gd name="connsiteY1323" fmla="*/ 930893 h 6072782"/>
                <a:gd name="connsiteX1324" fmla="*/ 10868266 w 11537287"/>
                <a:gd name="connsiteY1324" fmla="*/ 911255 h 6072782"/>
                <a:gd name="connsiteX1325" fmla="*/ 10868266 w 11537287"/>
                <a:gd name="connsiteY1325" fmla="*/ 930893 h 6072782"/>
                <a:gd name="connsiteX1326" fmla="*/ 10843704 w 11537287"/>
                <a:gd name="connsiteY1326" fmla="*/ 955091 h 6072782"/>
                <a:gd name="connsiteX1327" fmla="*/ 10843704 w 11537287"/>
                <a:gd name="connsiteY1327" fmla="*/ 990818 h 6072782"/>
                <a:gd name="connsiteX1328" fmla="*/ 10812963 w 11537287"/>
                <a:gd name="connsiteY1328" fmla="*/ 1022365 h 6072782"/>
                <a:gd name="connsiteX1329" fmla="*/ 10812963 w 11537287"/>
                <a:gd name="connsiteY1329" fmla="*/ 1022745 h 6072782"/>
                <a:gd name="connsiteX1330" fmla="*/ 10843704 w 11537287"/>
                <a:gd name="connsiteY1330" fmla="*/ 1054038 h 6072782"/>
                <a:gd name="connsiteX1331" fmla="*/ 10843704 w 11537287"/>
                <a:gd name="connsiteY1331" fmla="*/ 1089386 h 6072782"/>
                <a:gd name="connsiteX1332" fmla="*/ 10849188 w 11537287"/>
                <a:gd name="connsiteY1332" fmla="*/ 1108706 h 6072782"/>
                <a:gd name="connsiteX1333" fmla="*/ 10868266 w 11537287"/>
                <a:gd name="connsiteY1333" fmla="*/ 1114724 h 6072782"/>
                <a:gd name="connsiteX1334" fmla="*/ 10868266 w 11537287"/>
                <a:gd name="connsiteY1334" fmla="*/ 1134235 h 6072782"/>
                <a:gd name="connsiteX1335" fmla="*/ 10813272 w 11537287"/>
                <a:gd name="connsiteY1335" fmla="*/ 1095721 h 6072782"/>
                <a:gd name="connsiteX1336" fmla="*/ 10813272 w 11537287"/>
                <a:gd name="connsiteY1336" fmla="*/ 1058346 h 6072782"/>
                <a:gd name="connsiteX1337" fmla="*/ 10789173 w 11537287"/>
                <a:gd name="connsiteY1337" fmla="*/ 1031993 h 6072782"/>
                <a:gd name="connsiteX1338" fmla="*/ 10789173 w 11537287"/>
                <a:gd name="connsiteY1338" fmla="*/ 1013497 h 6072782"/>
                <a:gd name="connsiteX1339" fmla="*/ 10813272 w 11537287"/>
                <a:gd name="connsiteY1339" fmla="*/ 986637 h 6072782"/>
                <a:gd name="connsiteX1340" fmla="*/ 10813272 w 11537287"/>
                <a:gd name="connsiteY1340" fmla="*/ 950276 h 6072782"/>
                <a:gd name="connsiteX1341" fmla="*/ 10868266 w 11537287"/>
                <a:gd name="connsiteY1341" fmla="*/ 911255 h 6072782"/>
                <a:gd name="connsiteX1342" fmla="*/ 8383679 w 11537287"/>
                <a:gd name="connsiteY1342" fmla="*/ 911255 h 6072782"/>
                <a:gd name="connsiteX1343" fmla="*/ 8438365 w 11537287"/>
                <a:gd name="connsiteY1343" fmla="*/ 950276 h 6072782"/>
                <a:gd name="connsiteX1344" fmla="*/ 8438365 w 11537287"/>
                <a:gd name="connsiteY1344" fmla="*/ 986637 h 6072782"/>
                <a:gd name="connsiteX1345" fmla="*/ 8462309 w 11537287"/>
                <a:gd name="connsiteY1345" fmla="*/ 1013497 h 6072782"/>
                <a:gd name="connsiteX1346" fmla="*/ 8462309 w 11537287"/>
                <a:gd name="connsiteY1346" fmla="*/ 1031993 h 6072782"/>
                <a:gd name="connsiteX1347" fmla="*/ 8438365 w 11537287"/>
                <a:gd name="connsiteY1347" fmla="*/ 1058346 h 6072782"/>
                <a:gd name="connsiteX1348" fmla="*/ 8438365 w 11537287"/>
                <a:gd name="connsiteY1348" fmla="*/ 1095721 h 6072782"/>
                <a:gd name="connsiteX1349" fmla="*/ 8383679 w 11537287"/>
                <a:gd name="connsiteY1349" fmla="*/ 1134235 h 6072782"/>
                <a:gd name="connsiteX1350" fmla="*/ 8383679 w 11537287"/>
                <a:gd name="connsiteY1350" fmla="*/ 1114724 h 6072782"/>
                <a:gd name="connsiteX1351" fmla="*/ 8402757 w 11537287"/>
                <a:gd name="connsiteY1351" fmla="*/ 1108643 h 6072782"/>
                <a:gd name="connsiteX1352" fmla="*/ 8408396 w 11537287"/>
                <a:gd name="connsiteY1352" fmla="*/ 1089386 h 6072782"/>
                <a:gd name="connsiteX1353" fmla="*/ 8408396 w 11537287"/>
                <a:gd name="connsiteY1353" fmla="*/ 1054038 h 6072782"/>
                <a:gd name="connsiteX1354" fmla="*/ 8438828 w 11537287"/>
                <a:gd name="connsiteY1354" fmla="*/ 1022745 h 6072782"/>
                <a:gd name="connsiteX1355" fmla="*/ 8438828 w 11537287"/>
                <a:gd name="connsiteY1355" fmla="*/ 1022365 h 6072782"/>
                <a:gd name="connsiteX1356" fmla="*/ 8408396 w 11537287"/>
                <a:gd name="connsiteY1356" fmla="*/ 990818 h 6072782"/>
                <a:gd name="connsiteX1357" fmla="*/ 8408396 w 11537287"/>
                <a:gd name="connsiteY1357" fmla="*/ 955091 h 6072782"/>
                <a:gd name="connsiteX1358" fmla="*/ 8383679 w 11537287"/>
                <a:gd name="connsiteY1358" fmla="*/ 930893 h 6072782"/>
                <a:gd name="connsiteX1359" fmla="*/ 8362360 w 11537287"/>
                <a:gd name="connsiteY1359" fmla="*/ 911255 h 6072782"/>
                <a:gd name="connsiteX1360" fmla="*/ 8362360 w 11537287"/>
                <a:gd name="connsiteY1360" fmla="*/ 930893 h 6072782"/>
                <a:gd name="connsiteX1361" fmla="*/ 8337798 w 11537287"/>
                <a:gd name="connsiteY1361" fmla="*/ 955091 h 6072782"/>
                <a:gd name="connsiteX1362" fmla="*/ 8337798 w 11537287"/>
                <a:gd name="connsiteY1362" fmla="*/ 990818 h 6072782"/>
                <a:gd name="connsiteX1363" fmla="*/ 8307057 w 11537287"/>
                <a:gd name="connsiteY1363" fmla="*/ 1022365 h 6072782"/>
                <a:gd name="connsiteX1364" fmla="*/ 8307057 w 11537287"/>
                <a:gd name="connsiteY1364" fmla="*/ 1022745 h 6072782"/>
                <a:gd name="connsiteX1365" fmla="*/ 8337798 w 11537287"/>
                <a:gd name="connsiteY1365" fmla="*/ 1054038 h 6072782"/>
                <a:gd name="connsiteX1366" fmla="*/ 8337798 w 11537287"/>
                <a:gd name="connsiteY1366" fmla="*/ 1089386 h 6072782"/>
                <a:gd name="connsiteX1367" fmla="*/ 8343282 w 11537287"/>
                <a:gd name="connsiteY1367" fmla="*/ 1108706 h 6072782"/>
                <a:gd name="connsiteX1368" fmla="*/ 8362360 w 11537287"/>
                <a:gd name="connsiteY1368" fmla="*/ 1114724 h 6072782"/>
                <a:gd name="connsiteX1369" fmla="*/ 8362360 w 11537287"/>
                <a:gd name="connsiteY1369" fmla="*/ 1134235 h 6072782"/>
                <a:gd name="connsiteX1370" fmla="*/ 8307366 w 11537287"/>
                <a:gd name="connsiteY1370" fmla="*/ 1095721 h 6072782"/>
                <a:gd name="connsiteX1371" fmla="*/ 8307366 w 11537287"/>
                <a:gd name="connsiteY1371" fmla="*/ 1058346 h 6072782"/>
                <a:gd name="connsiteX1372" fmla="*/ 8283267 w 11537287"/>
                <a:gd name="connsiteY1372" fmla="*/ 1031993 h 6072782"/>
                <a:gd name="connsiteX1373" fmla="*/ 8283267 w 11537287"/>
                <a:gd name="connsiteY1373" fmla="*/ 1013497 h 6072782"/>
                <a:gd name="connsiteX1374" fmla="*/ 8307366 w 11537287"/>
                <a:gd name="connsiteY1374" fmla="*/ 986637 h 6072782"/>
                <a:gd name="connsiteX1375" fmla="*/ 8307366 w 11537287"/>
                <a:gd name="connsiteY1375" fmla="*/ 950276 h 6072782"/>
                <a:gd name="connsiteX1376" fmla="*/ 8362360 w 11537287"/>
                <a:gd name="connsiteY1376" fmla="*/ 911255 h 6072782"/>
                <a:gd name="connsiteX1377" fmla="*/ 4833613 w 11537287"/>
                <a:gd name="connsiteY1377" fmla="*/ 911255 h 6072782"/>
                <a:gd name="connsiteX1378" fmla="*/ 4888298 w 11537287"/>
                <a:gd name="connsiteY1378" fmla="*/ 950276 h 6072782"/>
                <a:gd name="connsiteX1379" fmla="*/ 4888298 w 11537287"/>
                <a:gd name="connsiteY1379" fmla="*/ 986637 h 6072782"/>
                <a:gd name="connsiteX1380" fmla="*/ 4912243 w 11537287"/>
                <a:gd name="connsiteY1380" fmla="*/ 1013497 h 6072782"/>
                <a:gd name="connsiteX1381" fmla="*/ 4912243 w 11537287"/>
                <a:gd name="connsiteY1381" fmla="*/ 1031993 h 6072782"/>
                <a:gd name="connsiteX1382" fmla="*/ 4888298 w 11537287"/>
                <a:gd name="connsiteY1382" fmla="*/ 1058346 h 6072782"/>
                <a:gd name="connsiteX1383" fmla="*/ 4888298 w 11537287"/>
                <a:gd name="connsiteY1383" fmla="*/ 1095721 h 6072782"/>
                <a:gd name="connsiteX1384" fmla="*/ 4833613 w 11537287"/>
                <a:gd name="connsiteY1384" fmla="*/ 1134235 h 6072782"/>
                <a:gd name="connsiteX1385" fmla="*/ 4833613 w 11537287"/>
                <a:gd name="connsiteY1385" fmla="*/ 1114724 h 6072782"/>
                <a:gd name="connsiteX1386" fmla="*/ 4852691 w 11537287"/>
                <a:gd name="connsiteY1386" fmla="*/ 1108643 h 6072782"/>
                <a:gd name="connsiteX1387" fmla="*/ 4858331 w 11537287"/>
                <a:gd name="connsiteY1387" fmla="*/ 1089386 h 6072782"/>
                <a:gd name="connsiteX1388" fmla="*/ 4858331 w 11537287"/>
                <a:gd name="connsiteY1388" fmla="*/ 1054038 h 6072782"/>
                <a:gd name="connsiteX1389" fmla="*/ 4888762 w 11537287"/>
                <a:gd name="connsiteY1389" fmla="*/ 1022745 h 6072782"/>
                <a:gd name="connsiteX1390" fmla="*/ 4888762 w 11537287"/>
                <a:gd name="connsiteY1390" fmla="*/ 1022365 h 6072782"/>
                <a:gd name="connsiteX1391" fmla="*/ 4858331 w 11537287"/>
                <a:gd name="connsiteY1391" fmla="*/ 990818 h 6072782"/>
                <a:gd name="connsiteX1392" fmla="*/ 4858331 w 11537287"/>
                <a:gd name="connsiteY1392" fmla="*/ 955091 h 6072782"/>
                <a:gd name="connsiteX1393" fmla="*/ 4833613 w 11537287"/>
                <a:gd name="connsiteY1393" fmla="*/ 930893 h 6072782"/>
                <a:gd name="connsiteX1394" fmla="*/ 4812294 w 11537287"/>
                <a:gd name="connsiteY1394" fmla="*/ 911255 h 6072782"/>
                <a:gd name="connsiteX1395" fmla="*/ 4812294 w 11537287"/>
                <a:gd name="connsiteY1395" fmla="*/ 930893 h 6072782"/>
                <a:gd name="connsiteX1396" fmla="*/ 4787733 w 11537287"/>
                <a:gd name="connsiteY1396" fmla="*/ 955091 h 6072782"/>
                <a:gd name="connsiteX1397" fmla="*/ 4787733 w 11537287"/>
                <a:gd name="connsiteY1397" fmla="*/ 990818 h 6072782"/>
                <a:gd name="connsiteX1398" fmla="*/ 4756990 w 11537287"/>
                <a:gd name="connsiteY1398" fmla="*/ 1022365 h 6072782"/>
                <a:gd name="connsiteX1399" fmla="*/ 4756990 w 11537287"/>
                <a:gd name="connsiteY1399" fmla="*/ 1022745 h 6072782"/>
                <a:gd name="connsiteX1400" fmla="*/ 4787733 w 11537287"/>
                <a:gd name="connsiteY1400" fmla="*/ 1054038 h 6072782"/>
                <a:gd name="connsiteX1401" fmla="*/ 4787733 w 11537287"/>
                <a:gd name="connsiteY1401" fmla="*/ 1089386 h 6072782"/>
                <a:gd name="connsiteX1402" fmla="*/ 4793216 w 11537287"/>
                <a:gd name="connsiteY1402" fmla="*/ 1108706 h 6072782"/>
                <a:gd name="connsiteX1403" fmla="*/ 4812294 w 11537287"/>
                <a:gd name="connsiteY1403" fmla="*/ 1114724 h 6072782"/>
                <a:gd name="connsiteX1404" fmla="*/ 4812294 w 11537287"/>
                <a:gd name="connsiteY1404" fmla="*/ 1134235 h 6072782"/>
                <a:gd name="connsiteX1405" fmla="*/ 4757300 w 11537287"/>
                <a:gd name="connsiteY1405" fmla="*/ 1095721 h 6072782"/>
                <a:gd name="connsiteX1406" fmla="*/ 4757300 w 11537287"/>
                <a:gd name="connsiteY1406" fmla="*/ 1058346 h 6072782"/>
                <a:gd name="connsiteX1407" fmla="*/ 4733202 w 11537287"/>
                <a:gd name="connsiteY1407" fmla="*/ 1031993 h 6072782"/>
                <a:gd name="connsiteX1408" fmla="*/ 4733202 w 11537287"/>
                <a:gd name="connsiteY1408" fmla="*/ 1013497 h 6072782"/>
                <a:gd name="connsiteX1409" fmla="*/ 4757300 w 11537287"/>
                <a:gd name="connsiteY1409" fmla="*/ 986637 h 6072782"/>
                <a:gd name="connsiteX1410" fmla="*/ 4757300 w 11537287"/>
                <a:gd name="connsiteY1410" fmla="*/ 950276 h 6072782"/>
                <a:gd name="connsiteX1411" fmla="*/ 4812294 w 11537287"/>
                <a:gd name="connsiteY1411" fmla="*/ 911255 h 6072782"/>
                <a:gd name="connsiteX1412" fmla="*/ 2329011 w 11537287"/>
                <a:gd name="connsiteY1412" fmla="*/ 911255 h 6072782"/>
                <a:gd name="connsiteX1413" fmla="*/ 2383698 w 11537287"/>
                <a:gd name="connsiteY1413" fmla="*/ 950276 h 6072782"/>
                <a:gd name="connsiteX1414" fmla="*/ 2383698 w 11537287"/>
                <a:gd name="connsiteY1414" fmla="*/ 986637 h 6072782"/>
                <a:gd name="connsiteX1415" fmla="*/ 2407642 w 11537287"/>
                <a:gd name="connsiteY1415" fmla="*/ 1013497 h 6072782"/>
                <a:gd name="connsiteX1416" fmla="*/ 2407642 w 11537287"/>
                <a:gd name="connsiteY1416" fmla="*/ 1031993 h 6072782"/>
                <a:gd name="connsiteX1417" fmla="*/ 2383698 w 11537287"/>
                <a:gd name="connsiteY1417" fmla="*/ 1058346 h 6072782"/>
                <a:gd name="connsiteX1418" fmla="*/ 2383698 w 11537287"/>
                <a:gd name="connsiteY1418" fmla="*/ 1095721 h 6072782"/>
                <a:gd name="connsiteX1419" fmla="*/ 2329011 w 11537287"/>
                <a:gd name="connsiteY1419" fmla="*/ 1134235 h 6072782"/>
                <a:gd name="connsiteX1420" fmla="*/ 2329011 w 11537287"/>
                <a:gd name="connsiteY1420" fmla="*/ 1114724 h 6072782"/>
                <a:gd name="connsiteX1421" fmla="*/ 2348089 w 11537287"/>
                <a:gd name="connsiteY1421" fmla="*/ 1108643 h 6072782"/>
                <a:gd name="connsiteX1422" fmla="*/ 2353729 w 11537287"/>
                <a:gd name="connsiteY1422" fmla="*/ 1089386 h 6072782"/>
                <a:gd name="connsiteX1423" fmla="*/ 2353729 w 11537287"/>
                <a:gd name="connsiteY1423" fmla="*/ 1054038 h 6072782"/>
                <a:gd name="connsiteX1424" fmla="*/ 2384161 w 11537287"/>
                <a:gd name="connsiteY1424" fmla="*/ 1022745 h 6072782"/>
                <a:gd name="connsiteX1425" fmla="*/ 2384161 w 11537287"/>
                <a:gd name="connsiteY1425" fmla="*/ 1022365 h 6072782"/>
                <a:gd name="connsiteX1426" fmla="*/ 2353729 w 11537287"/>
                <a:gd name="connsiteY1426" fmla="*/ 990818 h 6072782"/>
                <a:gd name="connsiteX1427" fmla="*/ 2353729 w 11537287"/>
                <a:gd name="connsiteY1427" fmla="*/ 955091 h 6072782"/>
                <a:gd name="connsiteX1428" fmla="*/ 2329011 w 11537287"/>
                <a:gd name="connsiteY1428" fmla="*/ 930893 h 6072782"/>
                <a:gd name="connsiteX1429" fmla="*/ 2307692 w 11537287"/>
                <a:gd name="connsiteY1429" fmla="*/ 911255 h 6072782"/>
                <a:gd name="connsiteX1430" fmla="*/ 2307692 w 11537287"/>
                <a:gd name="connsiteY1430" fmla="*/ 930893 h 6072782"/>
                <a:gd name="connsiteX1431" fmla="*/ 2283130 w 11537287"/>
                <a:gd name="connsiteY1431" fmla="*/ 955091 h 6072782"/>
                <a:gd name="connsiteX1432" fmla="*/ 2283130 w 11537287"/>
                <a:gd name="connsiteY1432" fmla="*/ 990818 h 6072782"/>
                <a:gd name="connsiteX1433" fmla="*/ 2252390 w 11537287"/>
                <a:gd name="connsiteY1433" fmla="*/ 1022365 h 6072782"/>
                <a:gd name="connsiteX1434" fmla="*/ 2252390 w 11537287"/>
                <a:gd name="connsiteY1434" fmla="*/ 1022745 h 6072782"/>
                <a:gd name="connsiteX1435" fmla="*/ 2283130 w 11537287"/>
                <a:gd name="connsiteY1435" fmla="*/ 1054038 h 6072782"/>
                <a:gd name="connsiteX1436" fmla="*/ 2283130 w 11537287"/>
                <a:gd name="connsiteY1436" fmla="*/ 1089386 h 6072782"/>
                <a:gd name="connsiteX1437" fmla="*/ 2288616 w 11537287"/>
                <a:gd name="connsiteY1437" fmla="*/ 1108706 h 6072782"/>
                <a:gd name="connsiteX1438" fmla="*/ 2307692 w 11537287"/>
                <a:gd name="connsiteY1438" fmla="*/ 1114724 h 6072782"/>
                <a:gd name="connsiteX1439" fmla="*/ 2307692 w 11537287"/>
                <a:gd name="connsiteY1439" fmla="*/ 1134235 h 6072782"/>
                <a:gd name="connsiteX1440" fmla="*/ 2252699 w 11537287"/>
                <a:gd name="connsiteY1440" fmla="*/ 1095721 h 6072782"/>
                <a:gd name="connsiteX1441" fmla="*/ 2252699 w 11537287"/>
                <a:gd name="connsiteY1441" fmla="*/ 1058346 h 6072782"/>
                <a:gd name="connsiteX1442" fmla="*/ 2228599 w 11537287"/>
                <a:gd name="connsiteY1442" fmla="*/ 1031993 h 6072782"/>
                <a:gd name="connsiteX1443" fmla="*/ 2228599 w 11537287"/>
                <a:gd name="connsiteY1443" fmla="*/ 1013497 h 6072782"/>
                <a:gd name="connsiteX1444" fmla="*/ 2252699 w 11537287"/>
                <a:gd name="connsiteY1444" fmla="*/ 986637 h 6072782"/>
                <a:gd name="connsiteX1445" fmla="*/ 2252699 w 11537287"/>
                <a:gd name="connsiteY1445" fmla="*/ 950276 h 6072782"/>
                <a:gd name="connsiteX1446" fmla="*/ 2307692 w 11537287"/>
                <a:gd name="connsiteY1446" fmla="*/ 911255 h 6072782"/>
                <a:gd name="connsiteX1447" fmla="*/ 8335302 w 11537287"/>
                <a:gd name="connsiteY1447" fmla="*/ 721489 h 6072782"/>
                <a:gd name="connsiteX1448" fmla="*/ 8324840 w 11537287"/>
                <a:gd name="connsiteY1448" fmla="*/ 769618 h 6072782"/>
                <a:gd name="connsiteX1449" fmla="*/ 8367563 w 11537287"/>
                <a:gd name="connsiteY1449" fmla="*/ 769618 h 6072782"/>
                <a:gd name="connsiteX1450" fmla="*/ 8377851 w 11537287"/>
                <a:gd name="connsiteY1450" fmla="*/ 721489 h 6072782"/>
                <a:gd name="connsiteX1451" fmla="*/ 2272056 w 11537287"/>
                <a:gd name="connsiteY1451" fmla="*/ 721489 h 6072782"/>
                <a:gd name="connsiteX1452" fmla="*/ 2261594 w 11537287"/>
                <a:gd name="connsiteY1452" fmla="*/ 769618 h 6072782"/>
                <a:gd name="connsiteX1453" fmla="*/ 2304318 w 11537287"/>
                <a:gd name="connsiteY1453" fmla="*/ 769618 h 6072782"/>
                <a:gd name="connsiteX1454" fmla="*/ 2314605 w 11537287"/>
                <a:gd name="connsiteY1454" fmla="*/ 721489 h 6072782"/>
                <a:gd name="connsiteX1455" fmla="*/ 3677493 w 11537287"/>
                <a:gd name="connsiteY1455" fmla="*/ 632755 h 6072782"/>
                <a:gd name="connsiteX1456" fmla="*/ 3722342 w 11537287"/>
                <a:gd name="connsiteY1456" fmla="*/ 671776 h 6072782"/>
                <a:gd name="connsiteX1457" fmla="*/ 3722342 w 11537287"/>
                <a:gd name="connsiteY1457" fmla="*/ 708137 h 6072782"/>
                <a:gd name="connsiteX1458" fmla="*/ 3741979 w 11537287"/>
                <a:gd name="connsiteY1458" fmla="*/ 734997 h 6072782"/>
                <a:gd name="connsiteX1459" fmla="*/ 3741979 w 11537287"/>
                <a:gd name="connsiteY1459" fmla="*/ 753493 h 6072782"/>
                <a:gd name="connsiteX1460" fmla="*/ 3722342 w 11537287"/>
                <a:gd name="connsiteY1460" fmla="*/ 779846 h 6072782"/>
                <a:gd name="connsiteX1461" fmla="*/ 3722342 w 11537287"/>
                <a:gd name="connsiteY1461" fmla="*/ 817221 h 6072782"/>
                <a:gd name="connsiteX1462" fmla="*/ 3677493 w 11537287"/>
                <a:gd name="connsiteY1462" fmla="*/ 855735 h 6072782"/>
                <a:gd name="connsiteX1463" fmla="*/ 3677493 w 11537287"/>
                <a:gd name="connsiteY1463" fmla="*/ 836224 h 6072782"/>
                <a:gd name="connsiteX1464" fmla="*/ 3693139 w 11537287"/>
                <a:gd name="connsiteY1464" fmla="*/ 830143 h 6072782"/>
                <a:gd name="connsiteX1465" fmla="*/ 3697763 w 11537287"/>
                <a:gd name="connsiteY1465" fmla="*/ 810886 h 6072782"/>
                <a:gd name="connsiteX1466" fmla="*/ 3697763 w 11537287"/>
                <a:gd name="connsiteY1466" fmla="*/ 775538 h 6072782"/>
                <a:gd name="connsiteX1467" fmla="*/ 3722721 w 11537287"/>
                <a:gd name="connsiteY1467" fmla="*/ 744245 h 6072782"/>
                <a:gd name="connsiteX1468" fmla="*/ 3722721 w 11537287"/>
                <a:gd name="connsiteY1468" fmla="*/ 743865 h 6072782"/>
                <a:gd name="connsiteX1469" fmla="*/ 3697763 w 11537287"/>
                <a:gd name="connsiteY1469" fmla="*/ 712318 h 6072782"/>
                <a:gd name="connsiteX1470" fmla="*/ 3697763 w 11537287"/>
                <a:gd name="connsiteY1470" fmla="*/ 676591 h 6072782"/>
                <a:gd name="connsiteX1471" fmla="*/ 3677493 w 11537287"/>
                <a:gd name="connsiteY1471" fmla="*/ 652393 h 6072782"/>
                <a:gd name="connsiteX1472" fmla="*/ 3660007 w 11537287"/>
                <a:gd name="connsiteY1472" fmla="*/ 632755 h 6072782"/>
                <a:gd name="connsiteX1473" fmla="*/ 3660007 w 11537287"/>
                <a:gd name="connsiteY1473" fmla="*/ 652393 h 6072782"/>
                <a:gd name="connsiteX1474" fmla="*/ 3639863 w 11537287"/>
                <a:gd name="connsiteY1474" fmla="*/ 676591 h 6072782"/>
                <a:gd name="connsiteX1475" fmla="*/ 3639863 w 11537287"/>
                <a:gd name="connsiteY1475" fmla="*/ 712318 h 6072782"/>
                <a:gd name="connsiteX1476" fmla="*/ 3614652 w 11537287"/>
                <a:gd name="connsiteY1476" fmla="*/ 743865 h 6072782"/>
                <a:gd name="connsiteX1477" fmla="*/ 3614652 w 11537287"/>
                <a:gd name="connsiteY1477" fmla="*/ 744245 h 6072782"/>
                <a:gd name="connsiteX1478" fmla="*/ 3639863 w 11537287"/>
                <a:gd name="connsiteY1478" fmla="*/ 775538 h 6072782"/>
                <a:gd name="connsiteX1479" fmla="*/ 3639863 w 11537287"/>
                <a:gd name="connsiteY1479" fmla="*/ 810886 h 6072782"/>
                <a:gd name="connsiteX1480" fmla="*/ 3644361 w 11537287"/>
                <a:gd name="connsiteY1480" fmla="*/ 830206 h 6072782"/>
                <a:gd name="connsiteX1481" fmla="*/ 3660007 w 11537287"/>
                <a:gd name="connsiteY1481" fmla="*/ 836224 h 6072782"/>
                <a:gd name="connsiteX1482" fmla="*/ 3660007 w 11537287"/>
                <a:gd name="connsiteY1482" fmla="*/ 855735 h 6072782"/>
                <a:gd name="connsiteX1483" fmla="*/ 3614905 w 11537287"/>
                <a:gd name="connsiteY1483" fmla="*/ 817221 h 6072782"/>
                <a:gd name="connsiteX1484" fmla="*/ 3614905 w 11537287"/>
                <a:gd name="connsiteY1484" fmla="*/ 779846 h 6072782"/>
                <a:gd name="connsiteX1485" fmla="*/ 3595140 w 11537287"/>
                <a:gd name="connsiteY1485" fmla="*/ 753493 h 6072782"/>
                <a:gd name="connsiteX1486" fmla="*/ 3595140 w 11537287"/>
                <a:gd name="connsiteY1486" fmla="*/ 734997 h 6072782"/>
                <a:gd name="connsiteX1487" fmla="*/ 3614905 w 11537287"/>
                <a:gd name="connsiteY1487" fmla="*/ 708137 h 6072782"/>
                <a:gd name="connsiteX1488" fmla="*/ 3614905 w 11537287"/>
                <a:gd name="connsiteY1488" fmla="*/ 671776 h 6072782"/>
                <a:gd name="connsiteX1489" fmla="*/ 3660007 w 11537287"/>
                <a:gd name="connsiteY1489" fmla="*/ 632755 h 6072782"/>
                <a:gd name="connsiteX1490" fmla="*/ 8326235 w 11537287"/>
                <a:gd name="connsiteY1490" fmla="*/ 629938 h 6072782"/>
                <a:gd name="connsiteX1491" fmla="*/ 8354310 w 11537287"/>
                <a:gd name="connsiteY1491" fmla="*/ 629938 h 6072782"/>
                <a:gd name="connsiteX1492" fmla="*/ 8340534 w 11537287"/>
                <a:gd name="connsiteY1492" fmla="*/ 697075 h 6072782"/>
                <a:gd name="connsiteX1493" fmla="*/ 8382734 w 11537287"/>
                <a:gd name="connsiteY1493" fmla="*/ 697075 h 6072782"/>
                <a:gd name="connsiteX1494" fmla="*/ 8397033 w 11537287"/>
                <a:gd name="connsiteY1494" fmla="*/ 629938 h 6072782"/>
                <a:gd name="connsiteX1495" fmla="*/ 8424586 w 11537287"/>
                <a:gd name="connsiteY1495" fmla="*/ 629938 h 6072782"/>
                <a:gd name="connsiteX1496" fmla="*/ 8410635 w 11537287"/>
                <a:gd name="connsiteY1496" fmla="*/ 697075 h 6072782"/>
                <a:gd name="connsiteX1497" fmla="*/ 8450394 w 11537287"/>
                <a:gd name="connsiteY1497" fmla="*/ 697075 h 6072782"/>
                <a:gd name="connsiteX1498" fmla="*/ 8444988 w 11537287"/>
                <a:gd name="connsiteY1498" fmla="*/ 721489 h 6072782"/>
                <a:gd name="connsiteX1499" fmla="*/ 8405404 w 11537287"/>
                <a:gd name="connsiteY1499" fmla="*/ 721489 h 6072782"/>
                <a:gd name="connsiteX1500" fmla="*/ 8395290 w 11537287"/>
                <a:gd name="connsiteY1500" fmla="*/ 769618 h 6072782"/>
                <a:gd name="connsiteX1501" fmla="*/ 8438536 w 11537287"/>
                <a:gd name="connsiteY1501" fmla="*/ 769618 h 6072782"/>
                <a:gd name="connsiteX1502" fmla="*/ 8432432 w 11537287"/>
                <a:gd name="connsiteY1502" fmla="*/ 794031 h 6072782"/>
                <a:gd name="connsiteX1503" fmla="*/ 8390233 w 11537287"/>
                <a:gd name="connsiteY1503" fmla="*/ 794031 h 6072782"/>
                <a:gd name="connsiteX1504" fmla="*/ 8375933 w 11537287"/>
                <a:gd name="connsiteY1504" fmla="*/ 858552 h 6072782"/>
                <a:gd name="connsiteX1505" fmla="*/ 8348206 w 11537287"/>
                <a:gd name="connsiteY1505" fmla="*/ 858552 h 6072782"/>
                <a:gd name="connsiteX1506" fmla="*/ 8362157 w 11537287"/>
                <a:gd name="connsiteY1506" fmla="*/ 794031 h 6072782"/>
                <a:gd name="connsiteX1507" fmla="*/ 8319957 w 11537287"/>
                <a:gd name="connsiteY1507" fmla="*/ 794031 h 6072782"/>
                <a:gd name="connsiteX1508" fmla="*/ 8306355 w 11537287"/>
                <a:gd name="connsiteY1508" fmla="*/ 858552 h 6072782"/>
                <a:gd name="connsiteX1509" fmla="*/ 8278629 w 11537287"/>
                <a:gd name="connsiteY1509" fmla="*/ 858552 h 6072782"/>
                <a:gd name="connsiteX1510" fmla="*/ 8292230 w 11537287"/>
                <a:gd name="connsiteY1510" fmla="*/ 794031 h 6072782"/>
                <a:gd name="connsiteX1511" fmla="*/ 8252297 w 11537287"/>
                <a:gd name="connsiteY1511" fmla="*/ 794031 h 6072782"/>
                <a:gd name="connsiteX1512" fmla="*/ 8257179 w 11537287"/>
                <a:gd name="connsiteY1512" fmla="*/ 769618 h 6072782"/>
                <a:gd name="connsiteX1513" fmla="*/ 8297636 w 11537287"/>
                <a:gd name="connsiteY1513" fmla="*/ 769618 h 6072782"/>
                <a:gd name="connsiteX1514" fmla="*/ 8307227 w 11537287"/>
                <a:gd name="connsiteY1514" fmla="*/ 721489 h 6072782"/>
                <a:gd name="connsiteX1515" fmla="*/ 8264678 w 11537287"/>
                <a:gd name="connsiteY1515" fmla="*/ 721489 h 6072782"/>
                <a:gd name="connsiteX1516" fmla="*/ 8269735 w 11537287"/>
                <a:gd name="connsiteY1516" fmla="*/ 697075 h 6072782"/>
                <a:gd name="connsiteX1517" fmla="*/ 8312284 w 11537287"/>
                <a:gd name="connsiteY1517" fmla="*/ 697075 h 6072782"/>
                <a:gd name="connsiteX1518" fmla="*/ 2262989 w 11537287"/>
                <a:gd name="connsiteY1518" fmla="*/ 629938 h 6072782"/>
                <a:gd name="connsiteX1519" fmla="*/ 2291064 w 11537287"/>
                <a:gd name="connsiteY1519" fmla="*/ 629938 h 6072782"/>
                <a:gd name="connsiteX1520" fmla="*/ 2277288 w 11537287"/>
                <a:gd name="connsiteY1520" fmla="*/ 697075 h 6072782"/>
                <a:gd name="connsiteX1521" fmla="*/ 2319489 w 11537287"/>
                <a:gd name="connsiteY1521" fmla="*/ 697075 h 6072782"/>
                <a:gd name="connsiteX1522" fmla="*/ 2333787 w 11537287"/>
                <a:gd name="connsiteY1522" fmla="*/ 629938 h 6072782"/>
                <a:gd name="connsiteX1523" fmla="*/ 2361341 w 11537287"/>
                <a:gd name="connsiteY1523" fmla="*/ 629938 h 6072782"/>
                <a:gd name="connsiteX1524" fmla="*/ 2347389 w 11537287"/>
                <a:gd name="connsiteY1524" fmla="*/ 697075 h 6072782"/>
                <a:gd name="connsiteX1525" fmla="*/ 2387149 w 11537287"/>
                <a:gd name="connsiteY1525" fmla="*/ 697075 h 6072782"/>
                <a:gd name="connsiteX1526" fmla="*/ 2381743 w 11537287"/>
                <a:gd name="connsiteY1526" fmla="*/ 721489 h 6072782"/>
                <a:gd name="connsiteX1527" fmla="*/ 2342158 w 11537287"/>
                <a:gd name="connsiteY1527" fmla="*/ 721489 h 6072782"/>
                <a:gd name="connsiteX1528" fmla="*/ 2332044 w 11537287"/>
                <a:gd name="connsiteY1528" fmla="*/ 769618 h 6072782"/>
                <a:gd name="connsiteX1529" fmla="*/ 2375291 w 11537287"/>
                <a:gd name="connsiteY1529" fmla="*/ 769618 h 6072782"/>
                <a:gd name="connsiteX1530" fmla="*/ 2369187 w 11537287"/>
                <a:gd name="connsiteY1530" fmla="*/ 794031 h 6072782"/>
                <a:gd name="connsiteX1531" fmla="*/ 2326987 w 11537287"/>
                <a:gd name="connsiteY1531" fmla="*/ 794031 h 6072782"/>
                <a:gd name="connsiteX1532" fmla="*/ 2312687 w 11537287"/>
                <a:gd name="connsiteY1532" fmla="*/ 858552 h 6072782"/>
                <a:gd name="connsiteX1533" fmla="*/ 2284959 w 11537287"/>
                <a:gd name="connsiteY1533" fmla="*/ 858552 h 6072782"/>
                <a:gd name="connsiteX1534" fmla="*/ 2298911 w 11537287"/>
                <a:gd name="connsiteY1534" fmla="*/ 794031 h 6072782"/>
                <a:gd name="connsiteX1535" fmla="*/ 2256711 w 11537287"/>
                <a:gd name="connsiteY1535" fmla="*/ 794031 h 6072782"/>
                <a:gd name="connsiteX1536" fmla="*/ 2243109 w 11537287"/>
                <a:gd name="connsiteY1536" fmla="*/ 858552 h 6072782"/>
                <a:gd name="connsiteX1537" fmla="*/ 2215384 w 11537287"/>
                <a:gd name="connsiteY1537" fmla="*/ 858552 h 6072782"/>
                <a:gd name="connsiteX1538" fmla="*/ 2228985 w 11537287"/>
                <a:gd name="connsiteY1538" fmla="*/ 794031 h 6072782"/>
                <a:gd name="connsiteX1539" fmla="*/ 2189051 w 11537287"/>
                <a:gd name="connsiteY1539" fmla="*/ 794031 h 6072782"/>
                <a:gd name="connsiteX1540" fmla="*/ 2193934 w 11537287"/>
                <a:gd name="connsiteY1540" fmla="*/ 769618 h 6072782"/>
                <a:gd name="connsiteX1541" fmla="*/ 2234391 w 11537287"/>
                <a:gd name="connsiteY1541" fmla="*/ 769618 h 6072782"/>
                <a:gd name="connsiteX1542" fmla="*/ 2243981 w 11537287"/>
                <a:gd name="connsiteY1542" fmla="*/ 721489 h 6072782"/>
                <a:gd name="connsiteX1543" fmla="*/ 2201432 w 11537287"/>
                <a:gd name="connsiteY1543" fmla="*/ 721489 h 6072782"/>
                <a:gd name="connsiteX1544" fmla="*/ 2206489 w 11537287"/>
                <a:gd name="connsiteY1544" fmla="*/ 697075 h 6072782"/>
                <a:gd name="connsiteX1545" fmla="*/ 2249038 w 11537287"/>
                <a:gd name="connsiteY1545" fmla="*/ 697075 h 6072782"/>
                <a:gd name="connsiteX1546" fmla="*/ 10896843 w 11537287"/>
                <a:gd name="connsiteY1546" fmla="*/ 324442 h 6072782"/>
                <a:gd name="connsiteX1547" fmla="*/ 10951529 w 11537287"/>
                <a:gd name="connsiteY1547" fmla="*/ 363463 h 6072782"/>
                <a:gd name="connsiteX1548" fmla="*/ 10951529 w 11537287"/>
                <a:gd name="connsiteY1548" fmla="*/ 399824 h 6072782"/>
                <a:gd name="connsiteX1549" fmla="*/ 10975473 w 11537287"/>
                <a:gd name="connsiteY1549" fmla="*/ 426684 h 6072782"/>
                <a:gd name="connsiteX1550" fmla="*/ 10975473 w 11537287"/>
                <a:gd name="connsiteY1550" fmla="*/ 445180 h 6072782"/>
                <a:gd name="connsiteX1551" fmla="*/ 10951529 w 11537287"/>
                <a:gd name="connsiteY1551" fmla="*/ 471533 h 6072782"/>
                <a:gd name="connsiteX1552" fmla="*/ 10951529 w 11537287"/>
                <a:gd name="connsiteY1552" fmla="*/ 508908 h 6072782"/>
                <a:gd name="connsiteX1553" fmla="*/ 10896843 w 11537287"/>
                <a:gd name="connsiteY1553" fmla="*/ 547422 h 6072782"/>
                <a:gd name="connsiteX1554" fmla="*/ 10896843 w 11537287"/>
                <a:gd name="connsiteY1554" fmla="*/ 527911 h 6072782"/>
                <a:gd name="connsiteX1555" fmla="*/ 10915921 w 11537287"/>
                <a:gd name="connsiteY1555" fmla="*/ 521830 h 6072782"/>
                <a:gd name="connsiteX1556" fmla="*/ 10921560 w 11537287"/>
                <a:gd name="connsiteY1556" fmla="*/ 502573 h 6072782"/>
                <a:gd name="connsiteX1557" fmla="*/ 10921560 w 11537287"/>
                <a:gd name="connsiteY1557" fmla="*/ 467225 h 6072782"/>
                <a:gd name="connsiteX1558" fmla="*/ 10951992 w 11537287"/>
                <a:gd name="connsiteY1558" fmla="*/ 435932 h 6072782"/>
                <a:gd name="connsiteX1559" fmla="*/ 10951992 w 11537287"/>
                <a:gd name="connsiteY1559" fmla="*/ 435552 h 6072782"/>
                <a:gd name="connsiteX1560" fmla="*/ 10921560 w 11537287"/>
                <a:gd name="connsiteY1560" fmla="*/ 404005 h 6072782"/>
                <a:gd name="connsiteX1561" fmla="*/ 10921560 w 11537287"/>
                <a:gd name="connsiteY1561" fmla="*/ 368278 h 6072782"/>
                <a:gd name="connsiteX1562" fmla="*/ 10896843 w 11537287"/>
                <a:gd name="connsiteY1562" fmla="*/ 344080 h 6072782"/>
                <a:gd name="connsiteX1563" fmla="*/ 10875524 w 11537287"/>
                <a:gd name="connsiteY1563" fmla="*/ 324442 h 6072782"/>
                <a:gd name="connsiteX1564" fmla="*/ 10875524 w 11537287"/>
                <a:gd name="connsiteY1564" fmla="*/ 344080 h 6072782"/>
                <a:gd name="connsiteX1565" fmla="*/ 10850962 w 11537287"/>
                <a:gd name="connsiteY1565" fmla="*/ 368278 h 6072782"/>
                <a:gd name="connsiteX1566" fmla="*/ 10850962 w 11537287"/>
                <a:gd name="connsiteY1566" fmla="*/ 404005 h 6072782"/>
                <a:gd name="connsiteX1567" fmla="*/ 10820221 w 11537287"/>
                <a:gd name="connsiteY1567" fmla="*/ 435552 h 6072782"/>
                <a:gd name="connsiteX1568" fmla="*/ 10820221 w 11537287"/>
                <a:gd name="connsiteY1568" fmla="*/ 435932 h 6072782"/>
                <a:gd name="connsiteX1569" fmla="*/ 10850962 w 11537287"/>
                <a:gd name="connsiteY1569" fmla="*/ 467225 h 6072782"/>
                <a:gd name="connsiteX1570" fmla="*/ 10850962 w 11537287"/>
                <a:gd name="connsiteY1570" fmla="*/ 502573 h 6072782"/>
                <a:gd name="connsiteX1571" fmla="*/ 10856446 w 11537287"/>
                <a:gd name="connsiteY1571" fmla="*/ 521893 h 6072782"/>
                <a:gd name="connsiteX1572" fmla="*/ 10875524 w 11537287"/>
                <a:gd name="connsiteY1572" fmla="*/ 527911 h 6072782"/>
                <a:gd name="connsiteX1573" fmla="*/ 10875524 w 11537287"/>
                <a:gd name="connsiteY1573" fmla="*/ 547422 h 6072782"/>
                <a:gd name="connsiteX1574" fmla="*/ 10820530 w 11537287"/>
                <a:gd name="connsiteY1574" fmla="*/ 508908 h 6072782"/>
                <a:gd name="connsiteX1575" fmla="*/ 10820530 w 11537287"/>
                <a:gd name="connsiteY1575" fmla="*/ 471533 h 6072782"/>
                <a:gd name="connsiteX1576" fmla="*/ 10796431 w 11537287"/>
                <a:gd name="connsiteY1576" fmla="*/ 445180 h 6072782"/>
                <a:gd name="connsiteX1577" fmla="*/ 10796431 w 11537287"/>
                <a:gd name="connsiteY1577" fmla="*/ 426684 h 6072782"/>
                <a:gd name="connsiteX1578" fmla="*/ 10820530 w 11537287"/>
                <a:gd name="connsiteY1578" fmla="*/ 399824 h 6072782"/>
                <a:gd name="connsiteX1579" fmla="*/ 10820530 w 11537287"/>
                <a:gd name="connsiteY1579" fmla="*/ 363463 h 6072782"/>
                <a:gd name="connsiteX1580" fmla="*/ 10875524 w 11537287"/>
                <a:gd name="connsiteY1580" fmla="*/ 324442 h 6072782"/>
                <a:gd name="connsiteX1581" fmla="*/ 8390937 w 11537287"/>
                <a:gd name="connsiteY1581" fmla="*/ 324442 h 6072782"/>
                <a:gd name="connsiteX1582" fmla="*/ 8445623 w 11537287"/>
                <a:gd name="connsiteY1582" fmla="*/ 363463 h 6072782"/>
                <a:gd name="connsiteX1583" fmla="*/ 8445623 w 11537287"/>
                <a:gd name="connsiteY1583" fmla="*/ 399824 h 6072782"/>
                <a:gd name="connsiteX1584" fmla="*/ 8469567 w 11537287"/>
                <a:gd name="connsiteY1584" fmla="*/ 426684 h 6072782"/>
                <a:gd name="connsiteX1585" fmla="*/ 8469567 w 11537287"/>
                <a:gd name="connsiteY1585" fmla="*/ 445180 h 6072782"/>
                <a:gd name="connsiteX1586" fmla="*/ 8445623 w 11537287"/>
                <a:gd name="connsiteY1586" fmla="*/ 471533 h 6072782"/>
                <a:gd name="connsiteX1587" fmla="*/ 8445623 w 11537287"/>
                <a:gd name="connsiteY1587" fmla="*/ 508908 h 6072782"/>
                <a:gd name="connsiteX1588" fmla="*/ 8390937 w 11537287"/>
                <a:gd name="connsiteY1588" fmla="*/ 547422 h 6072782"/>
                <a:gd name="connsiteX1589" fmla="*/ 8390937 w 11537287"/>
                <a:gd name="connsiteY1589" fmla="*/ 527911 h 6072782"/>
                <a:gd name="connsiteX1590" fmla="*/ 8410015 w 11537287"/>
                <a:gd name="connsiteY1590" fmla="*/ 521830 h 6072782"/>
                <a:gd name="connsiteX1591" fmla="*/ 8415654 w 11537287"/>
                <a:gd name="connsiteY1591" fmla="*/ 502573 h 6072782"/>
                <a:gd name="connsiteX1592" fmla="*/ 8415654 w 11537287"/>
                <a:gd name="connsiteY1592" fmla="*/ 467225 h 6072782"/>
                <a:gd name="connsiteX1593" fmla="*/ 8446086 w 11537287"/>
                <a:gd name="connsiteY1593" fmla="*/ 435932 h 6072782"/>
                <a:gd name="connsiteX1594" fmla="*/ 8446086 w 11537287"/>
                <a:gd name="connsiteY1594" fmla="*/ 435552 h 6072782"/>
                <a:gd name="connsiteX1595" fmla="*/ 8415654 w 11537287"/>
                <a:gd name="connsiteY1595" fmla="*/ 404005 h 6072782"/>
                <a:gd name="connsiteX1596" fmla="*/ 8415654 w 11537287"/>
                <a:gd name="connsiteY1596" fmla="*/ 368278 h 6072782"/>
                <a:gd name="connsiteX1597" fmla="*/ 8390937 w 11537287"/>
                <a:gd name="connsiteY1597" fmla="*/ 344080 h 6072782"/>
                <a:gd name="connsiteX1598" fmla="*/ 8369618 w 11537287"/>
                <a:gd name="connsiteY1598" fmla="*/ 324442 h 6072782"/>
                <a:gd name="connsiteX1599" fmla="*/ 8369618 w 11537287"/>
                <a:gd name="connsiteY1599" fmla="*/ 344080 h 6072782"/>
                <a:gd name="connsiteX1600" fmla="*/ 8345056 w 11537287"/>
                <a:gd name="connsiteY1600" fmla="*/ 368278 h 6072782"/>
                <a:gd name="connsiteX1601" fmla="*/ 8345056 w 11537287"/>
                <a:gd name="connsiteY1601" fmla="*/ 404005 h 6072782"/>
                <a:gd name="connsiteX1602" fmla="*/ 8314315 w 11537287"/>
                <a:gd name="connsiteY1602" fmla="*/ 435552 h 6072782"/>
                <a:gd name="connsiteX1603" fmla="*/ 8314315 w 11537287"/>
                <a:gd name="connsiteY1603" fmla="*/ 435932 h 6072782"/>
                <a:gd name="connsiteX1604" fmla="*/ 8345056 w 11537287"/>
                <a:gd name="connsiteY1604" fmla="*/ 467225 h 6072782"/>
                <a:gd name="connsiteX1605" fmla="*/ 8345056 w 11537287"/>
                <a:gd name="connsiteY1605" fmla="*/ 502573 h 6072782"/>
                <a:gd name="connsiteX1606" fmla="*/ 8350540 w 11537287"/>
                <a:gd name="connsiteY1606" fmla="*/ 521893 h 6072782"/>
                <a:gd name="connsiteX1607" fmla="*/ 8369618 w 11537287"/>
                <a:gd name="connsiteY1607" fmla="*/ 527911 h 6072782"/>
                <a:gd name="connsiteX1608" fmla="*/ 8369618 w 11537287"/>
                <a:gd name="connsiteY1608" fmla="*/ 547422 h 6072782"/>
                <a:gd name="connsiteX1609" fmla="*/ 8314624 w 11537287"/>
                <a:gd name="connsiteY1609" fmla="*/ 508908 h 6072782"/>
                <a:gd name="connsiteX1610" fmla="*/ 8314624 w 11537287"/>
                <a:gd name="connsiteY1610" fmla="*/ 471533 h 6072782"/>
                <a:gd name="connsiteX1611" fmla="*/ 8290525 w 11537287"/>
                <a:gd name="connsiteY1611" fmla="*/ 445180 h 6072782"/>
                <a:gd name="connsiteX1612" fmla="*/ 8290525 w 11537287"/>
                <a:gd name="connsiteY1612" fmla="*/ 426684 h 6072782"/>
                <a:gd name="connsiteX1613" fmla="*/ 8314624 w 11537287"/>
                <a:gd name="connsiteY1613" fmla="*/ 399824 h 6072782"/>
                <a:gd name="connsiteX1614" fmla="*/ 8314624 w 11537287"/>
                <a:gd name="connsiteY1614" fmla="*/ 363463 h 6072782"/>
                <a:gd name="connsiteX1615" fmla="*/ 8369618 w 11537287"/>
                <a:gd name="connsiteY1615" fmla="*/ 324442 h 6072782"/>
                <a:gd name="connsiteX1616" fmla="*/ 4840871 w 11537287"/>
                <a:gd name="connsiteY1616" fmla="*/ 324442 h 6072782"/>
                <a:gd name="connsiteX1617" fmla="*/ 4895556 w 11537287"/>
                <a:gd name="connsiteY1617" fmla="*/ 363463 h 6072782"/>
                <a:gd name="connsiteX1618" fmla="*/ 4895556 w 11537287"/>
                <a:gd name="connsiteY1618" fmla="*/ 399824 h 6072782"/>
                <a:gd name="connsiteX1619" fmla="*/ 4919501 w 11537287"/>
                <a:gd name="connsiteY1619" fmla="*/ 426684 h 6072782"/>
                <a:gd name="connsiteX1620" fmla="*/ 4919501 w 11537287"/>
                <a:gd name="connsiteY1620" fmla="*/ 445180 h 6072782"/>
                <a:gd name="connsiteX1621" fmla="*/ 4895556 w 11537287"/>
                <a:gd name="connsiteY1621" fmla="*/ 471533 h 6072782"/>
                <a:gd name="connsiteX1622" fmla="*/ 4895556 w 11537287"/>
                <a:gd name="connsiteY1622" fmla="*/ 508908 h 6072782"/>
                <a:gd name="connsiteX1623" fmla="*/ 4840871 w 11537287"/>
                <a:gd name="connsiteY1623" fmla="*/ 547422 h 6072782"/>
                <a:gd name="connsiteX1624" fmla="*/ 4840871 w 11537287"/>
                <a:gd name="connsiteY1624" fmla="*/ 527911 h 6072782"/>
                <a:gd name="connsiteX1625" fmla="*/ 4859949 w 11537287"/>
                <a:gd name="connsiteY1625" fmla="*/ 521830 h 6072782"/>
                <a:gd name="connsiteX1626" fmla="*/ 4865588 w 11537287"/>
                <a:gd name="connsiteY1626" fmla="*/ 502573 h 6072782"/>
                <a:gd name="connsiteX1627" fmla="*/ 4865588 w 11537287"/>
                <a:gd name="connsiteY1627" fmla="*/ 467225 h 6072782"/>
                <a:gd name="connsiteX1628" fmla="*/ 4896020 w 11537287"/>
                <a:gd name="connsiteY1628" fmla="*/ 435932 h 6072782"/>
                <a:gd name="connsiteX1629" fmla="*/ 4896020 w 11537287"/>
                <a:gd name="connsiteY1629" fmla="*/ 435552 h 6072782"/>
                <a:gd name="connsiteX1630" fmla="*/ 4865588 w 11537287"/>
                <a:gd name="connsiteY1630" fmla="*/ 404005 h 6072782"/>
                <a:gd name="connsiteX1631" fmla="*/ 4865588 w 11537287"/>
                <a:gd name="connsiteY1631" fmla="*/ 368278 h 6072782"/>
                <a:gd name="connsiteX1632" fmla="*/ 4840871 w 11537287"/>
                <a:gd name="connsiteY1632" fmla="*/ 344080 h 6072782"/>
                <a:gd name="connsiteX1633" fmla="*/ 4819552 w 11537287"/>
                <a:gd name="connsiteY1633" fmla="*/ 324442 h 6072782"/>
                <a:gd name="connsiteX1634" fmla="*/ 4819552 w 11537287"/>
                <a:gd name="connsiteY1634" fmla="*/ 344080 h 6072782"/>
                <a:gd name="connsiteX1635" fmla="*/ 4794990 w 11537287"/>
                <a:gd name="connsiteY1635" fmla="*/ 368278 h 6072782"/>
                <a:gd name="connsiteX1636" fmla="*/ 4794990 w 11537287"/>
                <a:gd name="connsiteY1636" fmla="*/ 404005 h 6072782"/>
                <a:gd name="connsiteX1637" fmla="*/ 4764248 w 11537287"/>
                <a:gd name="connsiteY1637" fmla="*/ 435552 h 6072782"/>
                <a:gd name="connsiteX1638" fmla="*/ 4764248 w 11537287"/>
                <a:gd name="connsiteY1638" fmla="*/ 435932 h 6072782"/>
                <a:gd name="connsiteX1639" fmla="*/ 4794990 w 11537287"/>
                <a:gd name="connsiteY1639" fmla="*/ 467225 h 6072782"/>
                <a:gd name="connsiteX1640" fmla="*/ 4794990 w 11537287"/>
                <a:gd name="connsiteY1640" fmla="*/ 502573 h 6072782"/>
                <a:gd name="connsiteX1641" fmla="*/ 4800474 w 11537287"/>
                <a:gd name="connsiteY1641" fmla="*/ 521893 h 6072782"/>
                <a:gd name="connsiteX1642" fmla="*/ 4819552 w 11537287"/>
                <a:gd name="connsiteY1642" fmla="*/ 527911 h 6072782"/>
                <a:gd name="connsiteX1643" fmla="*/ 4819552 w 11537287"/>
                <a:gd name="connsiteY1643" fmla="*/ 547422 h 6072782"/>
                <a:gd name="connsiteX1644" fmla="*/ 4764558 w 11537287"/>
                <a:gd name="connsiteY1644" fmla="*/ 508908 h 6072782"/>
                <a:gd name="connsiteX1645" fmla="*/ 4764558 w 11537287"/>
                <a:gd name="connsiteY1645" fmla="*/ 471533 h 6072782"/>
                <a:gd name="connsiteX1646" fmla="*/ 4740459 w 11537287"/>
                <a:gd name="connsiteY1646" fmla="*/ 445180 h 6072782"/>
                <a:gd name="connsiteX1647" fmla="*/ 4740459 w 11537287"/>
                <a:gd name="connsiteY1647" fmla="*/ 426684 h 6072782"/>
                <a:gd name="connsiteX1648" fmla="*/ 4764558 w 11537287"/>
                <a:gd name="connsiteY1648" fmla="*/ 399824 h 6072782"/>
                <a:gd name="connsiteX1649" fmla="*/ 4764558 w 11537287"/>
                <a:gd name="connsiteY1649" fmla="*/ 363463 h 6072782"/>
                <a:gd name="connsiteX1650" fmla="*/ 4819552 w 11537287"/>
                <a:gd name="connsiteY1650" fmla="*/ 324442 h 6072782"/>
                <a:gd name="connsiteX1651" fmla="*/ 2336269 w 11537287"/>
                <a:gd name="connsiteY1651" fmla="*/ 324442 h 6072782"/>
                <a:gd name="connsiteX1652" fmla="*/ 2390956 w 11537287"/>
                <a:gd name="connsiteY1652" fmla="*/ 363463 h 6072782"/>
                <a:gd name="connsiteX1653" fmla="*/ 2390956 w 11537287"/>
                <a:gd name="connsiteY1653" fmla="*/ 399824 h 6072782"/>
                <a:gd name="connsiteX1654" fmla="*/ 2414899 w 11537287"/>
                <a:gd name="connsiteY1654" fmla="*/ 426684 h 6072782"/>
                <a:gd name="connsiteX1655" fmla="*/ 2414899 w 11537287"/>
                <a:gd name="connsiteY1655" fmla="*/ 445180 h 6072782"/>
                <a:gd name="connsiteX1656" fmla="*/ 2390956 w 11537287"/>
                <a:gd name="connsiteY1656" fmla="*/ 471533 h 6072782"/>
                <a:gd name="connsiteX1657" fmla="*/ 2390956 w 11537287"/>
                <a:gd name="connsiteY1657" fmla="*/ 508908 h 6072782"/>
                <a:gd name="connsiteX1658" fmla="*/ 2336269 w 11537287"/>
                <a:gd name="connsiteY1658" fmla="*/ 547422 h 6072782"/>
                <a:gd name="connsiteX1659" fmla="*/ 2336269 w 11537287"/>
                <a:gd name="connsiteY1659" fmla="*/ 527911 h 6072782"/>
                <a:gd name="connsiteX1660" fmla="*/ 2355347 w 11537287"/>
                <a:gd name="connsiteY1660" fmla="*/ 521830 h 6072782"/>
                <a:gd name="connsiteX1661" fmla="*/ 2360986 w 11537287"/>
                <a:gd name="connsiteY1661" fmla="*/ 502573 h 6072782"/>
                <a:gd name="connsiteX1662" fmla="*/ 2360986 w 11537287"/>
                <a:gd name="connsiteY1662" fmla="*/ 467225 h 6072782"/>
                <a:gd name="connsiteX1663" fmla="*/ 2391418 w 11537287"/>
                <a:gd name="connsiteY1663" fmla="*/ 435932 h 6072782"/>
                <a:gd name="connsiteX1664" fmla="*/ 2391418 w 11537287"/>
                <a:gd name="connsiteY1664" fmla="*/ 435552 h 6072782"/>
                <a:gd name="connsiteX1665" fmla="*/ 2360986 w 11537287"/>
                <a:gd name="connsiteY1665" fmla="*/ 404005 h 6072782"/>
                <a:gd name="connsiteX1666" fmla="*/ 2360986 w 11537287"/>
                <a:gd name="connsiteY1666" fmla="*/ 368278 h 6072782"/>
                <a:gd name="connsiteX1667" fmla="*/ 2336269 w 11537287"/>
                <a:gd name="connsiteY1667" fmla="*/ 344080 h 6072782"/>
                <a:gd name="connsiteX1668" fmla="*/ 2314950 w 11537287"/>
                <a:gd name="connsiteY1668" fmla="*/ 324442 h 6072782"/>
                <a:gd name="connsiteX1669" fmla="*/ 2314950 w 11537287"/>
                <a:gd name="connsiteY1669" fmla="*/ 344080 h 6072782"/>
                <a:gd name="connsiteX1670" fmla="*/ 2290389 w 11537287"/>
                <a:gd name="connsiteY1670" fmla="*/ 368278 h 6072782"/>
                <a:gd name="connsiteX1671" fmla="*/ 2290389 w 11537287"/>
                <a:gd name="connsiteY1671" fmla="*/ 404005 h 6072782"/>
                <a:gd name="connsiteX1672" fmla="*/ 2259648 w 11537287"/>
                <a:gd name="connsiteY1672" fmla="*/ 435552 h 6072782"/>
                <a:gd name="connsiteX1673" fmla="*/ 2259648 w 11537287"/>
                <a:gd name="connsiteY1673" fmla="*/ 435932 h 6072782"/>
                <a:gd name="connsiteX1674" fmla="*/ 2290389 w 11537287"/>
                <a:gd name="connsiteY1674" fmla="*/ 467225 h 6072782"/>
                <a:gd name="connsiteX1675" fmla="*/ 2290389 w 11537287"/>
                <a:gd name="connsiteY1675" fmla="*/ 502573 h 6072782"/>
                <a:gd name="connsiteX1676" fmla="*/ 2295873 w 11537287"/>
                <a:gd name="connsiteY1676" fmla="*/ 521893 h 6072782"/>
                <a:gd name="connsiteX1677" fmla="*/ 2314950 w 11537287"/>
                <a:gd name="connsiteY1677" fmla="*/ 527911 h 6072782"/>
                <a:gd name="connsiteX1678" fmla="*/ 2314950 w 11537287"/>
                <a:gd name="connsiteY1678" fmla="*/ 547422 h 6072782"/>
                <a:gd name="connsiteX1679" fmla="*/ 2259956 w 11537287"/>
                <a:gd name="connsiteY1679" fmla="*/ 508908 h 6072782"/>
                <a:gd name="connsiteX1680" fmla="*/ 2259956 w 11537287"/>
                <a:gd name="connsiteY1680" fmla="*/ 471533 h 6072782"/>
                <a:gd name="connsiteX1681" fmla="*/ 2235857 w 11537287"/>
                <a:gd name="connsiteY1681" fmla="*/ 445180 h 6072782"/>
                <a:gd name="connsiteX1682" fmla="*/ 2235857 w 11537287"/>
                <a:gd name="connsiteY1682" fmla="*/ 426684 h 6072782"/>
                <a:gd name="connsiteX1683" fmla="*/ 2259956 w 11537287"/>
                <a:gd name="connsiteY1683" fmla="*/ 399824 h 6072782"/>
                <a:gd name="connsiteX1684" fmla="*/ 2259956 w 11537287"/>
                <a:gd name="connsiteY1684" fmla="*/ 363463 h 6072782"/>
                <a:gd name="connsiteX1685" fmla="*/ 2314950 w 11537287"/>
                <a:gd name="connsiteY1685" fmla="*/ 324442 h 6072782"/>
                <a:gd name="connsiteX1686" fmla="*/ 8852714 w 11537287"/>
                <a:gd name="connsiteY1686" fmla="*/ 0 h 6072782"/>
                <a:gd name="connsiteX1687" fmla="*/ 8907400 w 11537287"/>
                <a:gd name="connsiteY1687" fmla="*/ 39021 h 6072782"/>
                <a:gd name="connsiteX1688" fmla="*/ 8907400 w 11537287"/>
                <a:gd name="connsiteY1688" fmla="*/ 75382 h 6072782"/>
                <a:gd name="connsiteX1689" fmla="*/ 8931344 w 11537287"/>
                <a:gd name="connsiteY1689" fmla="*/ 102242 h 6072782"/>
                <a:gd name="connsiteX1690" fmla="*/ 8931344 w 11537287"/>
                <a:gd name="connsiteY1690" fmla="*/ 120738 h 6072782"/>
                <a:gd name="connsiteX1691" fmla="*/ 8907400 w 11537287"/>
                <a:gd name="connsiteY1691" fmla="*/ 147091 h 6072782"/>
                <a:gd name="connsiteX1692" fmla="*/ 8907400 w 11537287"/>
                <a:gd name="connsiteY1692" fmla="*/ 184465 h 6072782"/>
                <a:gd name="connsiteX1693" fmla="*/ 8852714 w 11537287"/>
                <a:gd name="connsiteY1693" fmla="*/ 222980 h 6072782"/>
                <a:gd name="connsiteX1694" fmla="*/ 8852714 w 11537287"/>
                <a:gd name="connsiteY1694" fmla="*/ 203469 h 6072782"/>
                <a:gd name="connsiteX1695" fmla="*/ 8871792 w 11537287"/>
                <a:gd name="connsiteY1695" fmla="*/ 197388 h 6072782"/>
                <a:gd name="connsiteX1696" fmla="*/ 8877431 w 11537287"/>
                <a:gd name="connsiteY1696" fmla="*/ 178131 h 6072782"/>
                <a:gd name="connsiteX1697" fmla="*/ 8877431 w 11537287"/>
                <a:gd name="connsiteY1697" fmla="*/ 142783 h 6072782"/>
                <a:gd name="connsiteX1698" fmla="*/ 8907863 w 11537287"/>
                <a:gd name="connsiteY1698" fmla="*/ 111490 h 6072782"/>
                <a:gd name="connsiteX1699" fmla="*/ 8907863 w 11537287"/>
                <a:gd name="connsiteY1699" fmla="*/ 111110 h 6072782"/>
                <a:gd name="connsiteX1700" fmla="*/ 8877431 w 11537287"/>
                <a:gd name="connsiteY1700" fmla="*/ 79563 h 6072782"/>
                <a:gd name="connsiteX1701" fmla="*/ 8877431 w 11537287"/>
                <a:gd name="connsiteY1701" fmla="*/ 43836 h 6072782"/>
                <a:gd name="connsiteX1702" fmla="*/ 8852714 w 11537287"/>
                <a:gd name="connsiteY1702" fmla="*/ 19638 h 6072782"/>
                <a:gd name="connsiteX1703" fmla="*/ 8831395 w 11537287"/>
                <a:gd name="connsiteY1703" fmla="*/ 0 h 6072782"/>
                <a:gd name="connsiteX1704" fmla="*/ 8831395 w 11537287"/>
                <a:gd name="connsiteY1704" fmla="*/ 19638 h 6072782"/>
                <a:gd name="connsiteX1705" fmla="*/ 8806833 w 11537287"/>
                <a:gd name="connsiteY1705" fmla="*/ 43836 h 6072782"/>
                <a:gd name="connsiteX1706" fmla="*/ 8806833 w 11537287"/>
                <a:gd name="connsiteY1706" fmla="*/ 79563 h 6072782"/>
                <a:gd name="connsiteX1707" fmla="*/ 8776092 w 11537287"/>
                <a:gd name="connsiteY1707" fmla="*/ 111110 h 6072782"/>
                <a:gd name="connsiteX1708" fmla="*/ 8776092 w 11537287"/>
                <a:gd name="connsiteY1708" fmla="*/ 111490 h 6072782"/>
                <a:gd name="connsiteX1709" fmla="*/ 8806833 w 11537287"/>
                <a:gd name="connsiteY1709" fmla="*/ 142783 h 6072782"/>
                <a:gd name="connsiteX1710" fmla="*/ 8806833 w 11537287"/>
                <a:gd name="connsiteY1710" fmla="*/ 178131 h 6072782"/>
                <a:gd name="connsiteX1711" fmla="*/ 8812317 w 11537287"/>
                <a:gd name="connsiteY1711" fmla="*/ 197451 h 6072782"/>
                <a:gd name="connsiteX1712" fmla="*/ 8831395 w 11537287"/>
                <a:gd name="connsiteY1712" fmla="*/ 203469 h 6072782"/>
                <a:gd name="connsiteX1713" fmla="*/ 8831395 w 11537287"/>
                <a:gd name="connsiteY1713" fmla="*/ 222980 h 6072782"/>
                <a:gd name="connsiteX1714" fmla="*/ 8776401 w 11537287"/>
                <a:gd name="connsiteY1714" fmla="*/ 184465 h 6072782"/>
                <a:gd name="connsiteX1715" fmla="*/ 8776401 w 11537287"/>
                <a:gd name="connsiteY1715" fmla="*/ 147091 h 6072782"/>
                <a:gd name="connsiteX1716" fmla="*/ 8752302 w 11537287"/>
                <a:gd name="connsiteY1716" fmla="*/ 120738 h 6072782"/>
                <a:gd name="connsiteX1717" fmla="*/ 8752302 w 11537287"/>
                <a:gd name="connsiteY1717" fmla="*/ 102242 h 6072782"/>
                <a:gd name="connsiteX1718" fmla="*/ 8776401 w 11537287"/>
                <a:gd name="connsiteY1718" fmla="*/ 75382 h 6072782"/>
                <a:gd name="connsiteX1719" fmla="*/ 8776401 w 11537287"/>
                <a:gd name="connsiteY1719" fmla="*/ 39021 h 6072782"/>
                <a:gd name="connsiteX1720" fmla="*/ 8831395 w 11537287"/>
                <a:gd name="connsiteY1720" fmla="*/ 0 h 6072782"/>
                <a:gd name="connsiteX1721" fmla="*/ 2780936 w 11537287"/>
                <a:gd name="connsiteY1721" fmla="*/ 0 h 6072782"/>
                <a:gd name="connsiteX1722" fmla="*/ 2835620 w 11537287"/>
                <a:gd name="connsiteY1722" fmla="*/ 39021 h 6072782"/>
                <a:gd name="connsiteX1723" fmla="*/ 2835620 w 11537287"/>
                <a:gd name="connsiteY1723" fmla="*/ 75382 h 6072782"/>
                <a:gd name="connsiteX1724" fmla="*/ 2859566 w 11537287"/>
                <a:gd name="connsiteY1724" fmla="*/ 102242 h 6072782"/>
                <a:gd name="connsiteX1725" fmla="*/ 2859566 w 11537287"/>
                <a:gd name="connsiteY1725" fmla="*/ 120738 h 6072782"/>
                <a:gd name="connsiteX1726" fmla="*/ 2835620 w 11537287"/>
                <a:gd name="connsiteY1726" fmla="*/ 147091 h 6072782"/>
                <a:gd name="connsiteX1727" fmla="*/ 2835620 w 11537287"/>
                <a:gd name="connsiteY1727" fmla="*/ 184465 h 6072782"/>
                <a:gd name="connsiteX1728" fmla="*/ 2780936 w 11537287"/>
                <a:gd name="connsiteY1728" fmla="*/ 222980 h 6072782"/>
                <a:gd name="connsiteX1729" fmla="*/ 2780936 w 11537287"/>
                <a:gd name="connsiteY1729" fmla="*/ 203469 h 6072782"/>
                <a:gd name="connsiteX1730" fmla="*/ 2800014 w 11537287"/>
                <a:gd name="connsiteY1730" fmla="*/ 197388 h 6072782"/>
                <a:gd name="connsiteX1731" fmla="*/ 2805652 w 11537287"/>
                <a:gd name="connsiteY1731" fmla="*/ 178131 h 6072782"/>
                <a:gd name="connsiteX1732" fmla="*/ 2805652 w 11537287"/>
                <a:gd name="connsiteY1732" fmla="*/ 142783 h 6072782"/>
                <a:gd name="connsiteX1733" fmla="*/ 2836085 w 11537287"/>
                <a:gd name="connsiteY1733" fmla="*/ 111490 h 6072782"/>
                <a:gd name="connsiteX1734" fmla="*/ 2836085 w 11537287"/>
                <a:gd name="connsiteY1734" fmla="*/ 111110 h 6072782"/>
                <a:gd name="connsiteX1735" fmla="*/ 2805652 w 11537287"/>
                <a:gd name="connsiteY1735" fmla="*/ 79563 h 6072782"/>
                <a:gd name="connsiteX1736" fmla="*/ 2805652 w 11537287"/>
                <a:gd name="connsiteY1736" fmla="*/ 43836 h 6072782"/>
                <a:gd name="connsiteX1737" fmla="*/ 2780936 w 11537287"/>
                <a:gd name="connsiteY1737" fmla="*/ 19638 h 6072782"/>
                <a:gd name="connsiteX1738" fmla="*/ 2759616 w 11537287"/>
                <a:gd name="connsiteY1738" fmla="*/ 0 h 6072782"/>
                <a:gd name="connsiteX1739" fmla="*/ 2759616 w 11537287"/>
                <a:gd name="connsiteY1739" fmla="*/ 19638 h 6072782"/>
                <a:gd name="connsiteX1740" fmla="*/ 2735055 w 11537287"/>
                <a:gd name="connsiteY1740" fmla="*/ 43836 h 6072782"/>
                <a:gd name="connsiteX1741" fmla="*/ 2735055 w 11537287"/>
                <a:gd name="connsiteY1741" fmla="*/ 79563 h 6072782"/>
                <a:gd name="connsiteX1742" fmla="*/ 2704314 w 11537287"/>
                <a:gd name="connsiteY1742" fmla="*/ 111110 h 6072782"/>
                <a:gd name="connsiteX1743" fmla="*/ 2704314 w 11537287"/>
                <a:gd name="connsiteY1743" fmla="*/ 111490 h 6072782"/>
                <a:gd name="connsiteX1744" fmla="*/ 2735055 w 11537287"/>
                <a:gd name="connsiteY1744" fmla="*/ 142783 h 6072782"/>
                <a:gd name="connsiteX1745" fmla="*/ 2735055 w 11537287"/>
                <a:gd name="connsiteY1745" fmla="*/ 178131 h 6072782"/>
                <a:gd name="connsiteX1746" fmla="*/ 2740539 w 11537287"/>
                <a:gd name="connsiteY1746" fmla="*/ 197451 h 6072782"/>
                <a:gd name="connsiteX1747" fmla="*/ 2759616 w 11537287"/>
                <a:gd name="connsiteY1747" fmla="*/ 203469 h 6072782"/>
                <a:gd name="connsiteX1748" fmla="*/ 2759616 w 11537287"/>
                <a:gd name="connsiteY1748" fmla="*/ 222980 h 6072782"/>
                <a:gd name="connsiteX1749" fmla="*/ 2704623 w 11537287"/>
                <a:gd name="connsiteY1749" fmla="*/ 184465 h 6072782"/>
                <a:gd name="connsiteX1750" fmla="*/ 2704623 w 11537287"/>
                <a:gd name="connsiteY1750" fmla="*/ 147091 h 6072782"/>
                <a:gd name="connsiteX1751" fmla="*/ 2680524 w 11537287"/>
                <a:gd name="connsiteY1751" fmla="*/ 120738 h 6072782"/>
                <a:gd name="connsiteX1752" fmla="*/ 2680524 w 11537287"/>
                <a:gd name="connsiteY1752" fmla="*/ 102242 h 6072782"/>
                <a:gd name="connsiteX1753" fmla="*/ 2704623 w 11537287"/>
                <a:gd name="connsiteY1753" fmla="*/ 75382 h 6072782"/>
                <a:gd name="connsiteX1754" fmla="*/ 2704623 w 11537287"/>
                <a:gd name="connsiteY1754" fmla="*/ 39021 h 6072782"/>
                <a:gd name="connsiteX1755" fmla="*/ 2759616 w 11537287"/>
                <a:gd name="connsiteY1755" fmla="*/ 0 h 607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Lst>
              <a:rect l="l" t="t" r="r" b="b"/>
              <a:pathLst>
                <a:path w="11537287" h="6072782">
                  <a:moveTo>
                    <a:pt x="8823577" y="5849802"/>
                  </a:moveTo>
                  <a:cubicBezTo>
                    <a:pt x="8853477" y="5850140"/>
                    <a:pt x="8868426" y="5863147"/>
                    <a:pt x="8868426" y="5888824"/>
                  </a:cubicBezTo>
                  <a:lnTo>
                    <a:pt x="8868426" y="5925184"/>
                  </a:lnTo>
                  <a:cubicBezTo>
                    <a:pt x="8868426" y="5942246"/>
                    <a:pt x="8874972" y="5951199"/>
                    <a:pt x="8888064" y="5952044"/>
                  </a:cubicBezTo>
                  <a:lnTo>
                    <a:pt x="8888064" y="5970541"/>
                  </a:lnTo>
                  <a:cubicBezTo>
                    <a:pt x="8874972" y="5971386"/>
                    <a:pt x="8868426" y="5980169"/>
                    <a:pt x="8868426" y="5996893"/>
                  </a:cubicBezTo>
                  <a:lnTo>
                    <a:pt x="8868426" y="6034268"/>
                  </a:lnTo>
                  <a:cubicBezTo>
                    <a:pt x="8868426" y="6059606"/>
                    <a:pt x="8853477" y="6072444"/>
                    <a:pt x="8823577" y="6072782"/>
                  </a:cubicBezTo>
                  <a:lnTo>
                    <a:pt x="8823577" y="6053272"/>
                  </a:lnTo>
                  <a:cubicBezTo>
                    <a:pt x="8830925" y="6053103"/>
                    <a:pt x="8836141" y="6051076"/>
                    <a:pt x="8839224" y="6047190"/>
                  </a:cubicBezTo>
                  <a:cubicBezTo>
                    <a:pt x="8842306" y="6043305"/>
                    <a:pt x="8843848" y="6036886"/>
                    <a:pt x="8843848" y="6027933"/>
                  </a:cubicBezTo>
                  <a:lnTo>
                    <a:pt x="8843848" y="5992586"/>
                  </a:lnTo>
                  <a:cubicBezTo>
                    <a:pt x="8843848" y="5975440"/>
                    <a:pt x="8852168" y="5965009"/>
                    <a:pt x="8868807" y="5961292"/>
                  </a:cubicBezTo>
                  <a:lnTo>
                    <a:pt x="8868807" y="5960912"/>
                  </a:lnTo>
                  <a:cubicBezTo>
                    <a:pt x="8852168" y="5956942"/>
                    <a:pt x="8843848" y="5946427"/>
                    <a:pt x="8843848" y="5929366"/>
                  </a:cubicBezTo>
                  <a:lnTo>
                    <a:pt x="8843848" y="5893638"/>
                  </a:lnTo>
                  <a:cubicBezTo>
                    <a:pt x="8843848" y="5877844"/>
                    <a:pt x="8837091" y="5869777"/>
                    <a:pt x="8823577" y="5869440"/>
                  </a:cubicBezTo>
                  <a:close/>
                  <a:moveTo>
                    <a:pt x="8806093" y="5849802"/>
                  </a:moveTo>
                  <a:lnTo>
                    <a:pt x="8806093" y="5869440"/>
                  </a:lnTo>
                  <a:cubicBezTo>
                    <a:pt x="8792664" y="5869777"/>
                    <a:pt x="8785949" y="5877844"/>
                    <a:pt x="8785949" y="5893638"/>
                  </a:cubicBezTo>
                  <a:lnTo>
                    <a:pt x="8785949" y="5929366"/>
                  </a:lnTo>
                  <a:cubicBezTo>
                    <a:pt x="8785949" y="5946427"/>
                    <a:pt x="8777545" y="5956942"/>
                    <a:pt x="8760737" y="5960912"/>
                  </a:cubicBezTo>
                  <a:lnTo>
                    <a:pt x="8760737" y="5961292"/>
                  </a:lnTo>
                  <a:cubicBezTo>
                    <a:pt x="8777545" y="5965009"/>
                    <a:pt x="8785949" y="5975440"/>
                    <a:pt x="8785949" y="5992586"/>
                  </a:cubicBezTo>
                  <a:lnTo>
                    <a:pt x="8785949" y="6027933"/>
                  </a:lnTo>
                  <a:cubicBezTo>
                    <a:pt x="8785949" y="6036971"/>
                    <a:pt x="8787448" y="6043410"/>
                    <a:pt x="8790447" y="6047253"/>
                  </a:cubicBezTo>
                  <a:cubicBezTo>
                    <a:pt x="8793445" y="6051097"/>
                    <a:pt x="8798660" y="6053103"/>
                    <a:pt x="8806093" y="6053272"/>
                  </a:cubicBezTo>
                  <a:lnTo>
                    <a:pt x="8806093" y="6072782"/>
                  </a:lnTo>
                  <a:cubicBezTo>
                    <a:pt x="8776024" y="6072444"/>
                    <a:pt x="8760990" y="6059606"/>
                    <a:pt x="8760990" y="6034268"/>
                  </a:cubicBezTo>
                  <a:lnTo>
                    <a:pt x="8760990" y="5996893"/>
                  </a:lnTo>
                  <a:cubicBezTo>
                    <a:pt x="8760990" y="5980169"/>
                    <a:pt x="8754402" y="5971386"/>
                    <a:pt x="8741226" y="5970541"/>
                  </a:cubicBezTo>
                  <a:lnTo>
                    <a:pt x="8741226" y="5952044"/>
                  </a:lnTo>
                  <a:cubicBezTo>
                    <a:pt x="8754402" y="5951199"/>
                    <a:pt x="8760990" y="5942246"/>
                    <a:pt x="8760990" y="5925184"/>
                  </a:cubicBezTo>
                  <a:lnTo>
                    <a:pt x="8760990" y="5888824"/>
                  </a:lnTo>
                  <a:cubicBezTo>
                    <a:pt x="8760990" y="5863147"/>
                    <a:pt x="8776024" y="5850140"/>
                    <a:pt x="8806093" y="5849802"/>
                  </a:cubicBezTo>
                  <a:close/>
                  <a:moveTo>
                    <a:pt x="8823577" y="5494671"/>
                  </a:moveTo>
                  <a:cubicBezTo>
                    <a:pt x="8853477" y="5495009"/>
                    <a:pt x="8868426" y="5508016"/>
                    <a:pt x="8868426" y="5533692"/>
                  </a:cubicBezTo>
                  <a:lnTo>
                    <a:pt x="8868426" y="5570053"/>
                  </a:lnTo>
                  <a:cubicBezTo>
                    <a:pt x="8868426" y="5587115"/>
                    <a:pt x="8874972" y="5596067"/>
                    <a:pt x="8888064" y="5596912"/>
                  </a:cubicBezTo>
                  <a:lnTo>
                    <a:pt x="8888064" y="5615409"/>
                  </a:lnTo>
                  <a:cubicBezTo>
                    <a:pt x="8874972" y="5616254"/>
                    <a:pt x="8868426" y="5625038"/>
                    <a:pt x="8868426" y="5641762"/>
                  </a:cubicBezTo>
                  <a:lnTo>
                    <a:pt x="8868426" y="5679136"/>
                  </a:lnTo>
                  <a:cubicBezTo>
                    <a:pt x="8868426" y="5704475"/>
                    <a:pt x="8853477" y="5717313"/>
                    <a:pt x="8823577" y="5717651"/>
                  </a:cubicBezTo>
                  <a:lnTo>
                    <a:pt x="8823577" y="5698140"/>
                  </a:lnTo>
                  <a:cubicBezTo>
                    <a:pt x="8830925" y="5697971"/>
                    <a:pt x="8836141" y="5695944"/>
                    <a:pt x="8839224" y="5692059"/>
                  </a:cubicBezTo>
                  <a:cubicBezTo>
                    <a:pt x="8842306" y="5688173"/>
                    <a:pt x="8843848" y="5681754"/>
                    <a:pt x="8843848" y="5672802"/>
                  </a:cubicBezTo>
                  <a:lnTo>
                    <a:pt x="8843848" y="5637454"/>
                  </a:lnTo>
                  <a:cubicBezTo>
                    <a:pt x="8843848" y="5620308"/>
                    <a:pt x="8852168" y="5609877"/>
                    <a:pt x="8868807" y="5606161"/>
                  </a:cubicBezTo>
                  <a:lnTo>
                    <a:pt x="8868807" y="5605781"/>
                  </a:lnTo>
                  <a:cubicBezTo>
                    <a:pt x="8852168" y="5601811"/>
                    <a:pt x="8843848" y="5591296"/>
                    <a:pt x="8843848" y="5574234"/>
                  </a:cubicBezTo>
                  <a:lnTo>
                    <a:pt x="8843848" y="5538507"/>
                  </a:lnTo>
                  <a:cubicBezTo>
                    <a:pt x="8843848" y="5522712"/>
                    <a:pt x="8837091" y="5514646"/>
                    <a:pt x="8823577" y="5514308"/>
                  </a:cubicBezTo>
                  <a:close/>
                  <a:moveTo>
                    <a:pt x="8806093" y="5494671"/>
                  </a:moveTo>
                  <a:lnTo>
                    <a:pt x="8806093" y="5514308"/>
                  </a:lnTo>
                  <a:cubicBezTo>
                    <a:pt x="8792664" y="5514646"/>
                    <a:pt x="8785949" y="5522712"/>
                    <a:pt x="8785949" y="5538507"/>
                  </a:cubicBezTo>
                  <a:lnTo>
                    <a:pt x="8785949" y="5574234"/>
                  </a:lnTo>
                  <a:cubicBezTo>
                    <a:pt x="8785949" y="5591296"/>
                    <a:pt x="8777545" y="5601811"/>
                    <a:pt x="8760737" y="5605781"/>
                  </a:cubicBezTo>
                  <a:lnTo>
                    <a:pt x="8760737" y="5606161"/>
                  </a:lnTo>
                  <a:cubicBezTo>
                    <a:pt x="8777545" y="5609877"/>
                    <a:pt x="8785949" y="5620308"/>
                    <a:pt x="8785949" y="5637454"/>
                  </a:cubicBezTo>
                  <a:lnTo>
                    <a:pt x="8785949" y="5672802"/>
                  </a:lnTo>
                  <a:cubicBezTo>
                    <a:pt x="8785949" y="5681839"/>
                    <a:pt x="8787448" y="5688279"/>
                    <a:pt x="8790447" y="5692122"/>
                  </a:cubicBezTo>
                  <a:cubicBezTo>
                    <a:pt x="8793445" y="5695965"/>
                    <a:pt x="8798660" y="5697971"/>
                    <a:pt x="8806093" y="5698140"/>
                  </a:cubicBezTo>
                  <a:lnTo>
                    <a:pt x="8806093" y="5717651"/>
                  </a:lnTo>
                  <a:cubicBezTo>
                    <a:pt x="8776024" y="5717313"/>
                    <a:pt x="8760990" y="5704475"/>
                    <a:pt x="8760990" y="5679136"/>
                  </a:cubicBezTo>
                  <a:lnTo>
                    <a:pt x="8760990" y="5641762"/>
                  </a:lnTo>
                  <a:cubicBezTo>
                    <a:pt x="8760990" y="5625038"/>
                    <a:pt x="8754402" y="5616254"/>
                    <a:pt x="8741226" y="5615409"/>
                  </a:cubicBezTo>
                  <a:lnTo>
                    <a:pt x="8741226" y="5596912"/>
                  </a:lnTo>
                  <a:cubicBezTo>
                    <a:pt x="8754402" y="5596067"/>
                    <a:pt x="8760990" y="5587115"/>
                    <a:pt x="8760990" y="5570053"/>
                  </a:cubicBezTo>
                  <a:lnTo>
                    <a:pt x="8760990" y="5533692"/>
                  </a:lnTo>
                  <a:cubicBezTo>
                    <a:pt x="8760990" y="5508016"/>
                    <a:pt x="8776024" y="5495009"/>
                    <a:pt x="8806093" y="5494671"/>
                  </a:cubicBezTo>
                  <a:close/>
                  <a:moveTo>
                    <a:pt x="8823577" y="5157041"/>
                  </a:moveTo>
                  <a:cubicBezTo>
                    <a:pt x="8853477" y="5157379"/>
                    <a:pt x="8868426" y="5170386"/>
                    <a:pt x="8868426" y="5196062"/>
                  </a:cubicBezTo>
                  <a:lnTo>
                    <a:pt x="8868426" y="5232423"/>
                  </a:lnTo>
                  <a:cubicBezTo>
                    <a:pt x="8868426" y="5249485"/>
                    <a:pt x="8874972" y="5258437"/>
                    <a:pt x="8888064" y="5259282"/>
                  </a:cubicBezTo>
                  <a:lnTo>
                    <a:pt x="8888064" y="5277779"/>
                  </a:lnTo>
                  <a:cubicBezTo>
                    <a:pt x="8874972" y="5278624"/>
                    <a:pt x="8868426" y="5287408"/>
                    <a:pt x="8868426" y="5304132"/>
                  </a:cubicBezTo>
                  <a:lnTo>
                    <a:pt x="8868426" y="5341506"/>
                  </a:lnTo>
                  <a:cubicBezTo>
                    <a:pt x="8868426" y="5366845"/>
                    <a:pt x="8853477" y="5379683"/>
                    <a:pt x="8823577" y="5380021"/>
                  </a:cubicBezTo>
                  <a:lnTo>
                    <a:pt x="8823577" y="5360510"/>
                  </a:lnTo>
                  <a:cubicBezTo>
                    <a:pt x="8830925" y="5360341"/>
                    <a:pt x="8836141" y="5358314"/>
                    <a:pt x="8839224" y="5354429"/>
                  </a:cubicBezTo>
                  <a:cubicBezTo>
                    <a:pt x="8842306" y="5350543"/>
                    <a:pt x="8843848" y="5344124"/>
                    <a:pt x="8843848" y="5335172"/>
                  </a:cubicBezTo>
                  <a:lnTo>
                    <a:pt x="8843848" y="5299824"/>
                  </a:lnTo>
                  <a:cubicBezTo>
                    <a:pt x="8843848" y="5282678"/>
                    <a:pt x="8852168" y="5272247"/>
                    <a:pt x="8868807" y="5268531"/>
                  </a:cubicBezTo>
                  <a:lnTo>
                    <a:pt x="8868807" y="5268151"/>
                  </a:lnTo>
                  <a:cubicBezTo>
                    <a:pt x="8852168" y="5264181"/>
                    <a:pt x="8843848" y="5253666"/>
                    <a:pt x="8843848" y="5236604"/>
                  </a:cubicBezTo>
                  <a:lnTo>
                    <a:pt x="8843848" y="5200877"/>
                  </a:lnTo>
                  <a:cubicBezTo>
                    <a:pt x="8843848" y="5185082"/>
                    <a:pt x="8837091" y="5177016"/>
                    <a:pt x="8823577" y="5176678"/>
                  </a:cubicBezTo>
                  <a:close/>
                  <a:moveTo>
                    <a:pt x="8806093" y="5157041"/>
                  </a:moveTo>
                  <a:lnTo>
                    <a:pt x="8806093" y="5176678"/>
                  </a:lnTo>
                  <a:cubicBezTo>
                    <a:pt x="8792664" y="5177016"/>
                    <a:pt x="8785949" y="5185082"/>
                    <a:pt x="8785949" y="5200877"/>
                  </a:cubicBezTo>
                  <a:lnTo>
                    <a:pt x="8785949" y="5236604"/>
                  </a:lnTo>
                  <a:cubicBezTo>
                    <a:pt x="8785949" y="5253666"/>
                    <a:pt x="8777545" y="5264181"/>
                    <a:pt x="8760737" y="5268151"/>
                  </a:cubicBezTo>
                  <a:lnTo>
                    <a:pt x="8760737" y="5268531"/>
                  </a:lnTo>
                  <a:cubicBezTo>
                    <a:pt x="8777545" y="5272247"/>
                    <a:pt x="8785949" y="5282678"/>
                    <a:pt x="8785949" y="5299824"/>
                  </a:cubicBezTo>
                  <a:lnTo>
                    <a:pt x="8785949" y="5335172"/>
                  </a:lnTo>
                  <a:cubicBezTo>
                    <a:pt x="8785949" y="5344209"/>
                    <a:pt x="8787448" y="5350649"/>
                    <a:pt x="8790447" y="5354492"/>
                  </a:cubicBezTo>
                  <a:cubicBezTo>
                    <a:pt x="8793445" y="5358335"/>
                    <a:pt x="8798660" y="5360341"/>
                    <a:pt x="8806093" y="5360510"/>
                  </a:cubicBezTo>
                  <a:lnTo>
                    <a:pt x="8806093" y="5380021"/>
                  </a:lnTo>
                  <a:cubicBezTo>
                    <a:pt x="8776024" y="5379683"/>
                    <a:pt x="8760990" y="5366845"/>
                    <a:pt x="8760990" y="5341506"/>
                  </a:cubicBezTo>
                  <a:lnTo>
                    <a:pt x="8760990" y="5304132"/>
                  </a:lnTo>
                  <a:cubicBezTo>
                    <a:pt x="8760990" y="5287408"/>
                    <a:pt x="8754402" y="5278624"/>
                    <a:pt x="8741226" y="5277779"/>
                  </a:cubicBezTo>
                  <a:lnTo>
                    <a:pt x="8741226" y="5259282"/>
                  </a:lnTo>
                  <a:cubicBezTo>
                    <a:pt x="8754402" y="5258437"/>
                    <a:pt x="8760990" y="5249485"/>
                    <a:pt x="8760990" y="5232423"/>
                  </a:cubicBezTo>
                  <a:lnTo>
                    <a:pt x="8760990" y="5196062"/>
                  </a:lnTo>
                  <a:cubicBezTo>
                    <a:pt x="8760990" y="5170386"/>
                    <a:pt x="8776024" y="5157379"/>
                    <a:pt x="8806093" y="5157041"/>
                  </a:cubicBezTo>
                  <a:close/>
                  <a:moveTo>
                    <a:pt x="8823577" y="4843971"/>
                  </a:moveTo>
                  <a:cubicBezTo>
                    <a:pt x="8853477" y="4844309"/>
                    <a:pt x="8868426" y="4857316"/>
                    <a:pt x="8868426" y="4882992"/>
                  </a:cubicBezTo>
                  <a:lnTo>
                    <a:pt x="8868426" y="4919353"/>
                  </a:lnTo>
                  <a:cubicBezTo>
                    <a:pt x="8868426" y="4936415"/>
                    <a:pt x="8874972" y="4945367"/>
                    <a:pt x="8888064" y="4946212"/>
                  </a:cubicBezTo>
                  <a:lnTo>
                    <a:pt x="8888064" y="4964709"/>
                  </a:lnTo>
                  <a:cubicBezTo>
                    <a:pt x="8874972" y="4965554"/>
                    <a:pt x="8868426" y="4974338"/>
                    <a:pt x="8868426" y="4991062"/>
                  </a:cubicBezTo>
                  <a:lnTo>
                    <a:pt x="8868426" y="5028436"/>
                  </a:lnTo>
                  <a:cubicBezTo>
                    <a:pt x="8868426" y="5053775"/>
                    <a:pt x="8853477" y="5066613"/>
                    <a:pt x="8823577" y="5066951"/>
                  </a:cubicBezTo>
                  <a:lnTo>
                    <a:pt x="8823577" y="5047440"/>
                  </a:lnTo>
                  <a:cubicBezTo>
                    <a:pt x="8830925" y="5047271"/>
                    <a:pt x="8836141" y="5045244"/>
                    <a:pt x="8839224" y="5041359"/>
                  </a:cubicBezTo>
                  <a:cubicBezTo>
                    <a:pt x="8842306" y="5037473"/>
                    <a:pt x="8843848" y="5031054"/>
                    <a:pt x="8843848" y="5022102"/>
                  </a:cubicBezTo>
                  <a:lnTo>
                    <a:pt x="8843848" y="4986754"/>
                  </a:lnTo>
                  <a:cubicBezTo>
                    <a:pt x="8843848" y="4969608"/>
                    <a:pt x="8852168" y="4959177"/>
                    <a:pt x="8868807" y="4955461"/>
                  </a:cubicBezTo>
                  <a:lnTo>
                    <a:pt x="8868807" y="4955081"/>
                  </a:lnTo>
                  <a:cubicBezTo>
                    <a:pt x="8852168" y="4951111"/>
                    <a:pt x="8843848" y="4940596"/>
                    <a:pt x="8843848" y="4923534"/>
                  </a:cubicBezTo>
                  <a:lnTo>
                    <a:pt x="8843848" y="4887807"/>
                  </a:lnTo>
                  <a:cubicBezTo>
                    <a:pt x="8843848" y="4872012"/>
                    <a:pt x="8837091" y="4863946"/>
                    <a:pt x="8823577" y="4863608"/>
                  </a:cubicBezTo>
                  <a:close/>
                  <a:moveTo>
                    <a:pt x="8806093" y="4843971"/>
                  </a:moveTo>
                  <a:lnTo>
                    <a:pt x="8806093" y="4863608"/>
                  </a:lnTo>
                  <a:cubicBezTo>
                    <a:pt x="8792664" y="4863946"/>
                    <a:pt x="8785949" y="4872012"/>
                    <a:pt x="8785949" y="4887807"/>
                  </a:cubicBezTo>
                  <a:lnTo>
                    <a:pt x="8785949" y="4923534"/>
                  </a:lnTo>
                  <a:cubicBezTo>
                    <a:pt x="8785949" y="4940596"/>
                    <a:pt x="8777545" y="4951111"/>
                    <a:pt x="8760737" y="4955081"/>
                  </a:cubicBezTo>
                  <a:lnTo>
                    <a:pt x="8760737" y="4955461"/>
                  </a:lnTo>
                  <a:cubicBezTo>
                    <a:pt x="8777545" y="4959177"/>
                    <a:pt x="8785949" y="4969608"/>
                    <a:pt x="8785949" y="4986754"/>
                  </a:cubicBezTo>
                  <a:lnTo>
                    <a:pt x="8785949" y="5022102"/>
                  </a:lnTo>
                  <a:cubicBezTo>
                    <a:pt x="8785949" y="5031139"/>
                    <a:pt x="8787448" y="5037579"/>
                    <a:pt x="8790447" y="5041422"/>
                  </a:cubicBezTo>
                  <a:cubicBezTo>
                    <a:pt x="8793445" y="5045265"/>
                    <a:pt x="8798660" y="5047271"/>
                    <a:pt x="8806093" y="5047440"/>
                  </a:cubicBezTo>
                  <a:lnTo>
                    <a:pt x="8806093" y="5066951"/>
                  </a:lnTo>
                  <a:cubicBezTo>
                    <a:pt x="8776024" y="5066613"/>
                    <a:pt x="8760990" y="5053775"/>
                    <a:pt x="8760990" y="5028436"/>
                  </a:cubicBezTo>
                  <a:lnTo>
                    <a:pt x="8760990" y="4991062"/>
                  </a:lnTo>
                  <a:cubicBezTo>
                    <a:pt x="8760990" y="4974338"/>
                    <a:pt x="8754402" y="4965554"/>
                    <a:pt x="8741226" y="4964709"/>
                  </a:cubicBezTo>
                  <a:lnTo>
                    <a:pt x="8741226" y="4946212"/>
                  </a:lnTo>
                  <a:cubicBezTo>
                    <a:pt x="8754402" y="4945367"/>
                    <a:pt x="8760990" y="4936415"/>
                    <a:pt x="8760990" y="4919353"/>
                  </a:cubicBezTo>
                  <a:lnTo>
                    <a:pt x="8760990" y="4882992"/>
                  </a:lnTo>
                  <a:cubicBezTo>
                    <a:pt x="8760990" y="4857316"/>
                    <a:pt x="8776024" y="4844309"/>
                    <a:pt x="8806093" y="4843971"/>
                  </a:cubicBezTo>
                  <a:close/>
                  <a:moveTo>
                    <a:pt x="8825269" y="4503767"/>
                  </a:moveTo>
                  <a:cubicBezTo>
                    <a:pt x="8855169" y="4504105"/>
                    <a:pt x="8870118" y="4517112"/>
                    <a:pt x="8870118" y="4542788"/>
                  </a:cubicBezTo>
                  <a:lnTo>
                    <a:pt x="8870118" y="4579149"/>
                  </a:lnTo>
                  <a:cubicBezTo>
                    <a:pt x="8870118" y="4596211"/>
                    <a:pt x="8876664" y="4605163"/>
                    <a:pt x="8889756" y="4606008"/>
                  </a:cubicBezTo>
                  <a:lnTo>
                    <a:pt x="8889756" y="4624505"/>
                  </a:lnTo>
                  <a:cubicBezTo>
                    <a:pt x="8876664" y="4625350"/>
                    <a:pt x="8870118" y="4634134"/>
                    <a:pt x="8870118" y="4650858"/>
                  </a:cubicBezTo>
                  <a:lnTo>
                    <a:pt x="8870118" y="4688232"/>
                  </a:lnTo>
                  <a:cubicBezTo>
                    <a:pt x="8870118" y="4713571"/>
                    <a:pt x="8855169" y="4726409"/>
                    <a:pt x="8825269" y="4726747"/>
                  </a:cubicBezTo>
                  <a:lnTo>
                    <a:pt x="8825269" y="4707236"/>
                  </a:lnTo>
                  <a:cubicBezTo>
                    <a:pt x="8832617" y="4707067"/>
                    <a:pt x="8837833" y="4705040"/>
                    <a:pt x="8840916" y="4701155"/>
                  </a:cubicBezTo>
                  <a:cubicBezTo>
                    <a:pt x="8843998" y="4697269"/>
                    <a:pt x="8845540" y="4690850"/>
                    <a:pt x="8845540" y="4681898"/>
                  </a:cubicBezTo>
                  <a:lnTo>
                    <a:pt x="8845540" y="4646550"/>
                  </a:lnTo>
                  <a:cubicBezTo>
                    <a:pt x="8845540" y="4629404"/>
                    <a:pt x="8853860" y="4618973"/>
                    <a:pt x="8870499" y="4615257"/>
                  </a:cubicBezTo>
                  <a:lnTo>
                    <a:pt x="8870499" y="4614877"/>
                  </a:lnTo>
                  <a:cubicBezTo>
                    <a:pt x="8853860" y="4610907"/>
                    <a:pt x="8845540" y="4600392"/>
                    <a:pt x="8845540" y="4583330"/>
                  </a:cubicBezTo>
                  <a:lnTo>
                    <a:pt x="8845540" y="4547603"/>
                  </a:lnTo>
                  <a:cubicBezTo>
                    <a:pt x="8845540" y="4531808"/>
                    <a:pt x="8838783" y="4523742"/>
                    <a:pt x="8825269" y="4523404"/>
                  </a:cubicBezTo>
                  <a:close/>
                  <a:moveTo>
                    <a:pt x="8807785" y="4503767"/>
                  </a:moveTo>
                  <a:lnTo>
                    <a:pt x="8807785" y="4523404"/>
                  </a:lnTo>
                  <a:cubicBezTo>
                    <a:pt x="8794356" y="4523742"/>
                    <a:pt x="8787641" y="4531808"/>
                    <a:pt x="8787641" y="4547603"/>
                  </a:cubicBezTo>
                  <a:lnTo>
                    <a:pt x="8787641" y="4583330"/>
                  </a:lnTo>
                  <a:cubicBezTo>
                    <a:pt x="8787641" y="4600392"/>
                    <a:pt x="8779237" y="4610907"/>
                    <a:pt x="8762429" y="4614877"/>
                  </a:cubicBezTo>
                  <a:lnTo>
                    <a:pt x="8762429" y="4615257"/>
                  </a:lnTo>
                  <a:cubicBezTo>
                    <a:pt x="8779237" y="4618973"/>
                    <a:pt x="8787641" y="4629404"/>
                    <a:pt x="8787641" y="4646550"/>
                  </a:cubicBezTo>
                  <a:lnTo>
                    <a:pt x="8787641" y="4681898"/>
                  </a:lnTo>
                  <a:cubicBezTo>
                    <a:pt x="8787641" y="4690935"/>
                    <a:pt x="8789140" y="4697375"/>
                    <a:pt x="8792139" y="4701218"/>
                  </a:cubicBezTo>
                  <a:cubicBezTo>
                    <a:pt x="8795137" y="4705061"/>
                    <a:pt x="8800352" y="4707067"/>
                    <a:pt x="8807785" y="4707236"/>
                  </a:cubicBezTo>
                  <a:lnTo>
                    <a:pt x="8807785" y="4726747"/>
                  </a:lnTo>
                  <a:cubicBezTo>
                    <a:pt x="8777716" y="4726409"/>
                    <a:pt x="8762682" y="4713571"/>
                    <a:pt x="8762682" y="4688232"/>
                  </a:cubicBezTo>
                  <a:lnTo>
                    <a:pt x="8762682" y="4650858"/>
                  </a:lnTo>
                  <a:cubicBezTo>
                    <a:pt x="8762682" y="4634134"/>
                    <a:pt x="8756094" y="4625350"/>
                    <a:pt x="8742918" y="4624505"/>
                  </a:cubicBezTo>
                  <a:lnTo>
                    <a:pt x="8742918" y="4606008"/>
                  </a:lnTo>
                  <a:cubicBezTo>
                    <a:pt x="8756094" y="4605163"/>
                    <a:pt x="8762682" y="4596211"/>
                    <a:pt x="8762682" y="4579149"/>
                  </a:cubicBezTo>
                  <a:lnTo>
                    <a:pt x="8762682" y="4542788"/>
                  </a:lnTo>
                  <a:cubicBezTo>
                    <a:pt x="8762682" y="4517112"/>
                    <a:pt x="8777716" y="4504105"/>
                    <a:pt x="8807785" y="4503767"/>
                  </a:cubicBezTo>
                  <a:close/>
                  <a:moveTo>
                    <a:pt x="8826961" y="4163562"/>
                  </a:moveTo>
                  <a:cubicBezTo>
                    <a:pt x="8856861" y="4163900"/>
                    <a:pt x="8871810" y="4176907"/>
                    <a:pt x="8871810" y="4202583"/>
                  </a:cubicBezTo>
                  <a:lnTo>
                    <a:pt x="8871810" y="4238944"/>
                  </a:lnTo>
                  <a:cubicBezTo>
                    <a:pt x="8871810" y="4256006"/>
                    <a:pt x="8878356" y="4264958"/>
                    <a:pt x="8891448" y="4265803"/>
                  </a:cubicBezTo>
                  <a:lnTo>
                    <a:pt x="8891448" y="4284300"/>
                  </a:lnTo>
                  <a:cubicBezTo>
                    <a:pt x="8878356" y="4285145"/>
                    <a:pt x="8871810" y="4293929"/>
                    <a:pt x="8871810" y="4310653"/>
                  </a:cubicBezTo>
                  <a:lnTo>
                    <a:pt x="8871810" y="4348027"/>
                  </a:lnTo>
                  <a:cubicBezTo>
                    <a:pt x="8871810" y="4373366"/>
                    <a:pt x="8856861" y="4386204"/>
                    <a:pt x="8826961" y="4386542"/>
                  </a:cubicBezTo>
                  <a:lnTo>
                    <a:pt x="8826961" y="4367031"/>
                  </a:lnTo>
                  <a:cubicBezTo>
                    <a:pt x="8834309" y="4366862"/>
                    <a:pt x="8839525" y="4364835"/>
                    <a:pt x="8842608" y="4360950"/>
                  </a:cubicBezTo>
                  <a:cubicBezTo>
                    <a:pt x="8845690" y="4357064"/>
                    <a:pt x="8847232" y="4350645"/>
                    <a:pt x="8847232" y="4341693"/>
                  </a:cubicBezTo>
                  <a:lnTo>
                    <a:pt x="8847232" y="4306345"/>
                  </a:lnTo>
                  <a:cubicBezTo>
                    <a:pt x="8847232" y="4289199"/>
                    <a:pt x="8855552" y="4278768"/>
                    <a:pt x="8872191" y="4275052"/>
                  </a:cubicBezTo>
                  <a:lnTo>
                    <a:pt x="8872191" y="4274672"/>
                  </a:lnTo>
                  <a:cubicBezTo>
                    <a:pt x="8855552" y="4270702"/>
                    <a:pt x="8847232" y="4260187"/>
                    <a:pt x="8847232" y="4243125"/>
                  </a:cubicBezTo>
                  <a:lnTo>
                    <a:pt x="8847232" y="4207398"/>
                  </a:lnTo>
                  <a:cubicBezTo>
                    <a:pt x="8847232" y="4191603"/>
                    <a:pt x="8840475" y="4183537"/>
                    <a:pt x="8826961" y="4183199"/>
                  </a:cubicBezTo>
                  <a:close/>
                  <a:moveTo>
                    <a:pt x="8809477" y="4163562"/>
                  </a:moveTo>
                  <a:lnTo>
                    <a:pt x="8809477" y="4183199"/>
                  </a:lnTo>
                  <a:cubicBezTo>
                    <a:pt x="8796048" y="4183537"/>
                    <a:pt x="8789333" y="4191603"/>
                    <a:pt x="8789333" y="4207398"/>
                  </a:cubicBezTo>
                  <a:lnTo>
                    <a:pt x="8789333" y="4243125"/>
                  </a:lnTo>
                  <a:cubicBezTo>
                    <a:pt x="8789333" y="4260187"/>
                    <a:pt x="8780929" y="4270702"/>
                    <a:pt x="8764121" y="4274672"/>
                  </a:cubicBezTo>
                  <a:lnTo>
                    <a:pt x="8764121" y="4275052"/>
                  </a:lnTo>
                  <a:cubicBezTo>
                    <a:pt x="8780929" y="4278768"/>
                    <a:pt x="8789333" y="4289199"/>
                    <a:pt x="8789333" y="4306345"/>
                  </a:cubicBezTo>
                  <a:lnTo>
                    <a:pt x="8789333" y="4341693"/>
                  </a:lnTo>
                  <a:cubicBezTo>
                    <a:pt x="8789333" y="4350730"/>
                    <a:pt x="8790832" y="4357170"/>
                    <a:pt x="8793831" y="4361013"/>
                  </a:cubicBezTo>
                  <a:cubicBezTo>
                    <a:pt x="8796829" y="4364856"/>
                    <a:pt x="8802044" y="4366862"/>
                    <a:pt x="8809477" y="4367031"/>
                  </a:cubicBezTo>
                  <a:lnTo>
                    <a:pt x="8809477" y="4386542"/>
                  </a:lnTo>
                  <a:cubicBezTo>
                    <a:pt x="8779408" y="4386204"/>
                    <a:pt x="8764374" y="4373366"/>
                    <a:pt x="8764374" y="4348027"/>
                  </a:cubicBezTo>
                  <a:lnTo>
                    <a:pt x="8764374" y="4310653"/>
                  </a:lnTo>
                  <a:cubicBezTo>
                    <a:pt x="8764374" y="4293929"/>
                    <a:pt x="8757786" y="4285145"/>
                    <a:pt x="8744610" y="4284300"/>
                  </a:cubicBezTo>
                  <a:lnTo>
                    <a:pt x="8744610" y="4265803"/>
                  </a:lnTo>
                  <a:cubicBezTo>
                    <a:pt x="8757786" y="4264958"/>
                    <a:pt x="8764374" y="4256006"/>
                    <a:pt x="8764374" y="4238944"/>
                  </a:cubicBezTo>
                  <a:lnTo>
                    <a:pt x="8764374" y="4202583"/>
                  </a:lnTo>
                  <a:cubicBezTo>
                    <a:pt x="8764374" y="4176907"/>
                    <a:pt x="8779408" y="4163900"/>
                    <a:pt x="8809477" y="4163562"/>
                  </a:cubicBezTo>
                  <a:close/>
                  <a:moveTo>
                    <a:pt x="8828653" y="3823357"/>
                  </a:moveTo>
                  <a:cubicBezTo>
                    <a:pt x="8858553" y="3823695"/>
                    <a:pt x="8873502" y="3836702"/>
                    <a:pt x="8873502" y="3862378"/>
                  </a:cubicBezTo>
                  <a:lnTo>
                    <a:pt x="8873502" y="3898739"/>
                  </a:lnTo>
                  <a:cubicBezTo>
                    <a:pt x="8873502" y="3915801"/>
                    <a:pt x="8880048" y="3924754"/>
                    <a:pt x="8893140" y="3925598"/>
                  </a:cubicBezTo>
                  <a:lnTo>
                    <a:pt x="8893140" y="3944095"/>
                  </a:lnTo>
                  <a:cubicBezTo>
                    <a:pt x="8880048" y="3944940"/>
                    <a:pt x="8873502" y="3953724"/>
                    <a:pt x="8873502" y="3970448"/>
                  </a:cubicBezTo>
                  <a:lnTo>
                    <a:pt x="8873502" y="4007822"/>
                  </a:lnTo>
                  <a:cubicBezTo>
                    <a:pt x="8873502" y="4033161"/>
                    <a:pt x="8858553" y="4045999"/>
                    <a:pt x="8828653" y="4046337"/>
                  </a:cubicBezTo>
                  <a:lnTo>
                    <a:pt x="8828653" y="4026826"/>
                  </a:lnTo>
                  <a:cubicBezTo>
                    <a:pt x="8836001" y="4026657"/>
                    <a:pt x="8841217" y="4024630"/>
                    <a:pt x="8844300" y="4020745"/>
                  </a:cubicBezTo>
                  <a:cubicBezTo>
                    <a:pt x="8847382" y="4016859"/>
                    <a:pt x="8848924" y="4010440"/>
                    <a:pt x="8848924" y="4001488"/>
                  </a:cubicBezTo>
                  <a:lnTo>
                    <a:pt x="8848924" y="3966140"/>
                  </a:lnTo>
                  <a:cubicBezTo>
                    <a:pt x="8848924" y="3948994"/>
                    <a:pt x="8857244" y="3938563"/>
                    <a:pt x="8873883" y="3934847"/>
                  </a:cubicBezTo>
                  <a:lnTo>
                    <a:pt x="8873883" y="3934467"/>
                  </a:lnTo>
                  <a:cubicBezTo>
                    <a:pt x="8857244" y="3930497"/>
                    <a:pt x="8848924" y="3919982"/>
                    <a:pt x="8848924" y="3902920"/>
                  </a:cubicBezTo>
                  <a:lnTo>
                    <a:pt x="8848924" y="3867193"/>
                  </a:lnTo>
                  <a:cubicBezTo>
                    <a:pt x="8848924" y="3851398"/>
                    <a:pt x="8842167" y="3843332"/>
                    <a:pt x="8828653" y="3842994"/>
                  </a:cubicBezTo>
                  <a:close/>
                  <a:moveTo>
                    <a:pt x="8811169" y="3823357"/>
                  </a:moveTo>
                  <a:lnTo>
                    <a:pt x="8811169" y="3842994"/>
                  </a:lnTo>
                  <a:cubicBezTo>
                    <a:pt x="8797740" y="3843332"/>
                    <a:pt x="8791025" y="3851398"/>
                    <a:pt x="8791025" y="3867193"/>
                  </a:cubicBezTo>
                  <a:lnTo>
                    <a:pt x="8791025" y="3902920"/>
                  </a:lnTo>
                  <a:cubicBezTo>
                    <a:pt x="8791025" y="3919982"/>
                    <a:pt x="8782621" y="3930497"/>
                    <a:pt x="8765813" y="3934467"/>
                  </a:cubicBezTo>
                  <a:lnTo>
                    <a:pt x="8765813" y="3934847"/>
                  </a:lnTo>
                  <a:cubicBezTo>
                    <a:pt x="8782621" y="3938563"/>
                    <a:pt x="8791025" y="3948994"/>
                    <a:pt x="8791025" y="3966140"/>
                  </a:cubicBezTo>
                  <a:lnTo>
                    <a:pt x="8791025" y="4001488"/>
                  </a:lnTo>
                  <a:cubicBezTo>
                    <a:pt x="8791025" y="4010525"/>
                    <a:pt x="8792524" y="4016965"/>
                    <a:pt x="8795523" y="4020808"/>
                  </a:cubicBezTo>
                  <a:cubicBezTo>
                    <a:pt x="8798521" y="4024651"/>
                    <a:pt x="8803736" y="4026657"/>
                    <a:pt x="8811169" y="4026826"/>
                  </a:cubicBezTo>
                  <a:lnTo>
                    <a:pt x="8811169" y="4046337"/>
                  </a:lnTo>
                  <a:cubicBezTo>
                    <a:pt x="8781100" y="4045999"/>
                    <a:pt x="8766066" y="4033161"/>
                    <a:pt x="8766066" y="4007822"/>
                  </a:cubicBezTo>
                  <a:lnTo>
                    <a:pt x="8766066" y="3970448"/>
                  </a:lnTo>
                  <a:cubicBezTo>
                    <a:pt x="8766066" y="3953724"/>
                    <a:pt x="8759478" y="3944940"/>
                    <a:pt x="8746302" y="3944095"/>
                  </a:cubicBezTo>
                  <a:lnTo>
                    <a:pt x="8746302" y="3925598"/>
                  </a:lnTo>
                  <a:cubicBezTo>
                    <a:pt x="8759478" y="3924754"/>
                    <a:pt x="8766066" y="3915801"/>
                    <a:pt x="8766066" y="3898739"/>
                  </a:cubicBezTo>
                  <a:lnTo>
                    <a:pt x="8766066" y="3862378"/>
                  </a:lnTo>
                  <a:cubicBezTo>
                    <a:pt x="8766066" y="3836702"/>
                    <a:pt x="8781100" y="3823695"/>
                    <a:pt x="8811169" y="3823357"/>
                  </a:cubicBezTo>
                  <a:close/>
                  <a:moveTo>
                    <a:pt x="8830345" y="3483152"/>
                  </a:moveTo>
                  <a:cubicBezTo>
                    <a:pt x="8860245" y="3483490"/>
                    <a:pt x="8875194" y="3496497"/>
                    <a:pt x="8875194" y="3522173"/>
                  </a:cubicBezTo>
                  <a:lnTo>
                    <a:pt x="8875194" y="3558534"/>
                  </a:lnTo>
                  <a:cubicBezTo>
                    <a:pt x="8875194" y="3575596"/>
                    <a:pt x="8881740" y="3584549"/>
                    <a:pt x="8894832" y="3585393"/>
                  </a:cubicBezTo>
                  <a:lnTo>
                    <a:pt x="8894832" y="3603890"/>
                  </a:lnTo>
                  <a:cubicBezTo>
                    <a:pt x="8881740" y="3604735"/>
                    <a:pt x="8875194" y="3613519"/>
                    <a:pt x="8875194" y="3630243"/>
                  </a:cubicBezTo>
                  <a:lnTo>
                    <a:pt x="8875194" y="3667617"/>
                  </a:lnTo>
                  <a:cubicBezTo>
                    <a:pt x="8875194" y="3692956"/>
                    <a:pt x="8860245" y="3705794"/>
                    <a:pt x="8830345" y="3706132"/>
                  </a:cubicBezTo>
                  <a:lnTo>
                    <a:pt x="8830345" y="3686621"/>
                  </a:lnTo>
                  <a:cubicBezTo>
                    <a:pt x="8837693" y="3686452"/>
                    <a:pt x="8842909" y="3684425"/>
                    <a:pt x="8845992" y="3680540"/>
                  </a:cubicBezTo>
                  <a:cubicBezTo>
                    <a:pt x="8849074" y="3676654"/>
                    <a:pt x="8850616" y="3670235"/>
                    <a:pt x="8850616" y="3661283"/>
                  </a:cubicBezTo>
                  <a:lnTo>
                    <a:pt x="8850616" y="3625935"/>
                  </a:lnTo>
                  <a:cubicBezTo>
                    <a:pt x="8850616" y="3608789"/>
                    <a:pt x="8858936" y="3598358"/>
                    <a:pt x="8875575" y="3594642"/>
                  </a:cubicBezTo>
                  <a:lnTo>
                    <a:pt x="8875575" y="3594262"/>
                  </a:lnTo>
                  <a:cubicBezTo>
                    <a:pt x="8858936" y="3590292"/>
                    <a:pt x="8850616" y="3579777"/>
                    <a:pt x="8850616" y="3562715"/>
                  </a:cubicBezTo>
                  <a:lnTo>
                    <a:pt x="8850616" y="3526988"/>
                  </a:lnTo>
                  <a:cubicBezTo>
                    <a:pt x="8850616" y="3511193"/>
                    <a:pt x="8843859" y="3503127"/>
                    <a:pt x="8830345" y="3502789"/>
                  </a:cubicBezTo>
                  <a:close/>
                  <a:moveTo>
                    <a:pt x="8812861" y="3483152"/>
                  </a:moveTo>
                  <a:lnTo>
                    <a:pt x="8812861" y="3502789"/>
                  </a:lnTo>
                  <a:cubicBezTo>
                    <a:pt x="8799432" y="3503127"/>
                    <a:pt x="8792717" y="3511193"/>
                    <a:pt x="8792717" y="3526988"/>
                  </a:cubicBezTo>
                  <a:lnTo>
                    <a:pt x="8792717" y="3562715"/>
                  </a:lnTo>
                  <a:cubicBezTo>
                    <a:pt x="8792717" y="3579777"/>
                    <a:pt x="8784313" y="3590292"/>
                    <a:pt x="8767505" y="3594262"/>
                  </a:cubicBezTo>
                  <a:lnTo>
                    <a:pt x="8767505" y="3594642"/>
                  </a:lnTo>
                  <a:cubicBezTo>
                    <a:pt x="8784313" y="3598358"/>
                    <a:pt x="8792717" y="3608789"/>
                    <a:pt x="8792717" y="3625935"/>
                  </a:cubicBezTo>
                  <a:lnTo>
                    <a:pt x="8792717" y="3661283"/>
                  </a:lnTo>
                  <a:cubicBezTo>
                    <a:pt x="8792717" y="3670320"/>
                    <a:pt x="8794216" y="3676760"/>
                    <a:pt x="8797215" y="3680603"/>
                  </a:cubicBezTo>
                  <a:cubicBezTo>
                    <a:pt x="8800213" y="3684446"/>
                    <a:pt x="8805428" y="3686452"/>
                    <a:pt x="8812861" y="3686621"/>
                  </a:cubicBezTo>
                  <a:lnTo>
                    <a:pt x="8812861" y="3706132"/>
                  </a:lnTo>
                  <a:cubicBezTo>
                    <a:pt x="8782792" y="3705794"/>
                    <a:pt x="8767758" y="3692956"/>
                    <a:pt x="8767758" y="3667617"/>
                  </a:cubicBezTo>
                  <a:lnTo>
                    <a:pt x="8767758" y="3630243"/>
                  </a:lnTo>
                  <a:cubicBezTo>
                    <a:pt x="8767758" y="3613519"/>
                    <a:pt x="8761170" y="3604735"/>
                    <a:pt x="8747994" y="3603890"/>
                  </a:cubicBezTo>
                  <a:lnTo>
                    <a:pt x="8747994" y="3585393"/>
                  </a:lnTo>
                  <a:cubicBezTo>
                    <a:pt x="8761170" y="3584549"/>
                    <a:pt x="8767758" y="3575596"/>
                    <a:pt x="8767758" y="3558534"/>
                  </a:cubicBezTo>
                  <a:lnTo>
                    <a:pt x="8767758" y="3522173"/>
                  </a:lnTo>
                  <a:cubicBezTo>
                    <a:pt x="8767758" y="3496497"/>
                    <a:pt x="8782792" y="3483490"/>
                    <a:pt x="8812861" y="3483152"/>
                  </a:cubicBezTo>
                  <a:close/>
                  <a:moveTo>
                    <a:pt x="11401347" y="3198895"/>
                  </a:moveTo>
                  <a:lnTo>
                    <a:pt x="11390885" y="3247024"/>
                  </a:lnTo>
                  <a:lnTo>
                    <a:pt x="11433608" y="3247024"/>
                  </a:lnTo>
                  <a:lnTo>
                    <a:pt x="11443896" y="3198895"/>
                  </a:lnTo>
                  <a:close/>
                  <a:moveTo>
                    <a:pt x="5351000" y="3198895"/>
                  </a:moveTo>
                  <a:lnTo>
                    <a:pt x="5340537" y="3247024"/>
                  </a:lnTo>
                  <a:lnTo>
                    <a:pt x="5383260" y="3247024"/>
                  </a:lnTo>
                  <a:lnTo>
                    <a:pt x="5393549" y="3198895"/>
                  </a:lnTo>
                  <a:close/>
                  <a:moveTo>
                    <a:pt x="8818841" y="3110161"/>
                  </a:moveTo>
                  <a:cubicBezTo>
                    <a:pt x="8848741" y="3110499"/>
                    <a:pt x="8863690" y="3123506"/>
                    <a:pt x="8863690" y="3149183"/>
                  </a:cubicBezTo>
                  <a:lnTo>
                    <a:pt x="8863690" y="3185543"/>
                  </a:lnTo>
                  <a:cubicBezTo>
                    <a:pt x="8863690" y="3202605"/>
                    <a:pt x="8870236" y="3211558"/>
                    <a:pt x="8883328" y="3212403"/>
                  </a:cubicBezTo>
                  <a:lnTo>
                    <a:pt x="8883328" y="3230900"/>
                  </a:lnTo>
                  <a:cubicBezTo>
                    <a:pt x="8870236" y="3231744"/>
                    <a:pt x="8863690" y="3240528"/>
                    <a:pt x="8863690" y="3257252"/>
                  </a:cubicBezTo>
                  <a:lnTo>
                    <a:pt x="8863690" y="3294627"/>
                  </a:lnTo>
                  <a:cubicBezTo>
                    <a:pt x="8863690" y="3319965"/>
                    <a:pt x="8848741" y="3332803"/>
                    <a:pt x="8818841" y="3333141"/>
                  </a:cubicBezTo>
                  <a:lnTo>
                    <a:pt x="8818841" y="3313630"/>
                  </a:lnTo>
                  <a:cubicBezTo>
                    <a:pt x="8826189" y="3313461"/>
                    <a:pt x="8831405" y="3311435"/>
                    <a:pt x="8834488" y="3307549"/>
                  </a:cubicBezTo>
                  <a:cubicBezTo>
                    <a:pt x="8837570" y="3303664"/>
                    <a:pt x="8839112" y="3297245"/>
                    <a:pt x="8839112" y="3288292"/>
                  </a:cubicBezTo>
                  <a:lnTo>
                    <a:pt x="8839112" y="3252945"/>
                  </a:lnTo>
                  <a:cubicBezTo>
                    <a:pt x="8839112" y="3235799"/>
                    <a:pt x="8847432" y="3225368"/>
                    <a:pt x="8864071" y="3221651"/>
                  </a:cubicBezTo>
                  <a:lnTo>
                    <a:pt x="8864071" y="3221271"/>
                  </a:lnTo>
                  <a:cubicBezTo>
                    <a:pt x="8847432" y="3217301"/>
                    <a:pt x="8839112" y="3206786"/>
                    <a:pt x="8839112" y="3189724"/>
                  </a:cubicBezTo>
                  <a:lnTo>
                    <a:pt x="8839112" y="3153997"/>
                  </a:lnTo>
                  <a:cubicBezTo>
                    <a:pt x="8839112" y="3138202"/>
                    <a:pt x="8832355" y="3130136"/>
                    <a:pt x="8818841" y="3129799"/>
                  </a:cubicBezTo>
                  <a:close/>
                  <a:moveTo>
                    <a:pt x="8801357" y="3110161"/>
                  </a:moveTo>
                  <a:lnTo>
                    <a:pt x="8801357" y="3129799"/>
                  </a:lnTo>
                  <a:cubicBezTo>
                    <a:pt x="8787928" y="3130136"/>
                    <a:pt x="8781213" y="3138202"/>
                    <a:pt x="8781213" y="3153997"/>
                  </a:cubicBezTo>
                  <a:lnTo>
                    <a:pt x="8781213" y="3189724"/>
                  </a:lnTo>
                  <a:cubicBezTo>
                    <a:pt x="8781213" y="3206786"/>
                    <a:pt x="8772809" y="3217301"/>
                    <a:pt x="8756001" y="3221271"/>
                  </a:cubicBezTo>
                  <a:lnTo>
                    <a:pt x="8756001" y="3221651"/>
                  </a:lnTo>
                  <a:cubicBezTo>
                    <a:pt x="8772809" y="3225368"/>
                    <a:pt x="8781213" y="3235799"/>
                    <a:pt x="8781213" y="3252945"/>
                  </a:cubicBezTo>
                  <a:lnTo>
                    <a:pt x="8781213" y="3288292"/>
                  </a:lnTo>
                  <a:cubicBezTo>
                    <a:pt x="8781213" y="3297329"/>
                    <a:pt x="8782712" y="3303769"/>
                    <a:pt x="8785711" y="3307612"/>
                  </a:cubicBezTo>
                  <a:cubicBezTo>
                    <a:pt x="8788709" y="3311455"/>
                    <a:pt x="8793924" y="3313461"/>
                    <a:pt x="8801357" y="3313630"/>
                  </a:cubicBezTo>
                  <a:lnTo>
                    <a:pt x="8801357" y="3333141"/>
                  </a:lnTo>
                  <a:cubicBezTo>
                    <a:pt x="8771288" y="3332803"/>
                    <a:pt x="8756254" y="3319965"/>
                    <a:pt x="8756254" y="3294627"/>
                  </a:cubicBezTo>
                  <a:lnTo>
                    <a:pt x="8756254" y="3257252"/>
                  </a:lnTo>
                  <a:cubicBezTo>
                    <a:pt x="8756254" y="3240528"/>
                    <a:pt x="8749666" y="3231744"/>
                    <a:pt x="8736490" y="3230900"/>
                  </a:cubicBezTo>
                  <a:lnTo>
                    <a:pt x="8736490" y="3212403"/>
                  </a:lnTo>
                  <a:cubicBezTo>
                    <a:pt x="8749666" y="3211558"/>
                    <a:pt x="8756254" y="3202605"/>
                    <a:pt x="8756254" y="3185543"/>
                  </a:cubicBezTo>
                  <a:lnTo>
                    <a:pt x="8756254" y="3149183"/>
                  </a:lnTo>
                  <a:cubicBezTo>
                    <a:pt x="8756254" y="3123506"/>
                    <a:pt x="8771288" y="3110499"/>
                    <a:pt x="8801357" y="3110161"/>
                  </a:cubicBezTo>
                  <a:close/>
                  <a:moveTo>
                    <a:pt x="6939855" y="3110161"/>
                  </a:moveTo>
                  <a:cubicBezTo>
                    <a:pt x="6969755" y="3110499"/>
                    <a:pt x="6984705" y="3123506"/>
                    <a:pt x="6984705" y="3149183"/>
                  </a:cubicBezTo>
                  <a:lnTo>
                    <a:pt x="6984705" y="3185543"/>
                  </a:lnTo>
                  <a:cubicBezTo>
                    <a:pt x="6984705" y="3202605"/>
                    <a:pt x="6991251" y="3211558"/>
                    <a:pt x="7004342" y="3212403"/>
                  </a:cubicBezTo>
                  <a:lnTo>
                    <a:pt x="7004342" y="3230900"/>
                  </a:lnTo>
                  <a:cubicBezTo>
                    <a:pt x="6991251" y="3231744"/>
                    <a:pt x="6984705" y="3240528"/>
                    <a:pt x="6984705" y="3257252"/>
                  </a:cubicBezTo>
                  <a:lnTo>
                    <a:pt x="6984705" y="3294627"/>
                  </a:lnTo>
                  <a:cubicBezTo>
                    <a:pt x="6984705" y="3319965"/>
                    <a:pt x="6969755" y="3332803"/>
                    <a:pt x="6939855" y="3333141"/>
                  </a:cubicBezTo>
                  <a:lnTo>
                    <a:pt x="6939855" y="3313630"/>
                  </a:lnTo>
                  <a:cubicBezTo>
                    <a:pt x="6947204" y="3313461"/>
                    <a:pt x="6952419" y="3311435"/>
                    <a:pt x="6955502" y="3307549"/>
                  </a:cubicBezTo>
                  <a:cubicBezTo>
                    <a:pt x="6958585" y="3303664"/>
                    <a:pt x="6960126" y="3297245"/>
                    <a:pt x="6960126" y="3288292"/>
                  </a:cubicBezTo>
                  <a:lnTo>
                    <a:pt x="6960126" y="3252945"/>
                  </a:lnTo>
                  <a:cubicBezTo>
                    <a:pt x="6960126" y="3235799"/>
                    <a:pt x="6968446" y="3225368"/>
                    <a:pt x="6985085" y="3221651"/>
                  </a:cubicBezTo>
                  <a:lnTo>
                    <a:pt x="6985085" y="3221271"/>
                  </a:lnTo>
                  <a:cubicBezTo>
                    <a:pt x="6968446" y="3217301"/>
                    <a:pt x="6960126" y="3206786"/>
                    <a:pt x="6960126" y="3189724"/>
                  </a:cubicBezTo>
                  <a:lnTo>
                    <a:pt x="6960126" y="3153997"/>
                  </a:lnTo>
                  <a:cubicBezTo>
                    <a:pt x="6960126" y="3138202"/>
                    <a:pt x="6953369" y="3130136"/>
                    <a:pt x="6939855" y="3129799"/>
                  </a:cubicBezTo>
                  <a:close/>
                  <a:moveTo>
                    <a:pt x="6922371" y="3110161"/>
                  </a:moveTo>
                  <a:lnTo>
                    <a:pt x="6922371" y="3129799"/>
                  </a:lnTo>
                  <a:cubicBezTo>
                    <a:pt x="6908942" y="3130136"/>
                    <a:pt x="6902227" y="3138202"/>
                    <a:pt x="6902227" y="3153997"/>
                  </a:cubicBezTo>
                  <a:lnTo>
                    <a:pt x="6902227" y="3189724"/>
                  </a:lnTo>
                  <a:cubicBezTo>
                    <a:pt x="6902227" y="3206786"/>
                    <a:pt x="6893823" y="3217301"/>
                    <a:pt x="6877015" y="3221271"/>
                  </a:cubicBezTo>
                  <a:lnTo>
                    <a:pt x="6877015" y="3221651"/>
                  </a:lnTo>
                  <a:cubicBezTo>
                    <a:pt x="6893823" y="3225368"/>
                    <a:pt x="6902227" y="3235799"/>
                    <a:pt x="6902227" y="3252945"/>
                  </a:cubicBezTo>
                  <a:lnTo>
                    <a:pt x="6902227" y="3288292"/>
                  </a:lnTo>
                  <a:cubicBezTo>
                    <a:pt x="6902227" y="3297329"/>
                    <a:pt x="6903726" y="3303769"/>
                    <a:pt x="6906725" y="3307612"/>
                  </a:cubicBezTo>
                  <a:cubicBezTo>
                    <a:pt x="6909723" y="3311455"/>
                    <a:pt x="6914939" y="3313461"/>
                    <a:pt x="6922371" y="3313630"/>
                  </a:cubicBezTo>
                  <a:lnTo>
                    <a:pt x="6922371" y="3333141"/>
                  </a:lnTo>
                  <a:cubicBezTo>
                    <a:pt x="6892303" y="3332803"/>
                    <a:pt x="6877269" y="3319965"/>
                    <a:pt x="6877269" y="3294627"/>
                  </a:cubicBezTo>
                  <a:lnTo>
                    <a:pt x="6877269" y="3257252"/>
                  </a:lnTo>
                  <a:cubicBezTo>
                    <a:pt x="6877269" y="3240528"/>
                    <a:pt x="6870680" y="3231744"/>
                    <a:pt x="6857504" y="3230900"/>
                  </a:cubicBezTo>
                  <a:lnTo>
                    <a:pt x="6857504" y="3212403"/>
                  </a:lnTo>
                  <a:cubicBezTo>
                    <a:pt x="6870680" y="3211558"/>
                    <a:pt x="6877269" y="3202605"/>
                    <a:pt x="6877269" y="3185543"/>
                  </a:cubicBezTo>
                  <a:lnTo>
                    <a:pt x="6877269" y="3149183"/>
                  </a:lnTo>
                  <a:cubicBezTo>
                    <a:pt x="6877269" y="3123506"/>
                    <a:pt x="6892303" y="3110499"/>
                    <a:pt x="6922371" y="3110161"/>
                  </a:cubicBezTo>
                  <a:close/>
                  <a:moveTo>
                    <a:pt x="2753674" y="3110161"/>
                  </a:moveTo>
                  <a:cubicBezTo>
                    <a:pt x="2783573" y="3110499"/>
                    <a:pt x="2798522" y="3123506"/>
                    <a:pt x="2798522" y="3149183"/>
                  </a:cubicBezTo>
                  <a:lnTo>
                    <a:pt x="2798522" y="3185543"/>
                  </a:lnTo>
                  <a:cubicBezTo>
                    <a:pt x="2798522" y="3202605"/>
                    <a:pt x="2805068" y="3211558"/>
                    <a:pt x="2818160" y="3212403"/>
                  </a:cubicBezTo>
                  <a:lnTo>
                    <a:pt x="2818160" y="3230900"/>
                  </a:lnTo>
                  <a:cubicBezTo>
                    <a:pt x="2805068" y="3231744"/>
                    <a:pt x="2798522" y="3240528"/>
                    <a:pt x="2798522" y="3257252"/>
                  </a:cubicBezTo>
                  <a:lnTo>
                    <a:pt x="2798522" y="3294627"/>
                  </a:lnTo>
                  <a:cubicBezTo>
                    <a:pt x="2798522" y="3319965"/>
                    <a:pt x="2783573" y="3332803"/>
                    <a:pt x="2753674" y="3333141"/>
                  </a:cubicBezTo>
                  <a:lnTo>
                    <a:pt x="2753674" y="3313630"/>
                  </a:lnTo>
                  <a:cubicBezTo>
                    <a:pt x="2761022" y="3313461"/>
                    <a:pt x="2766237" y="3311435"/>
                    <a:pt x="2769320" y="3307549"/>
                  </a:cubicBezTo>
                  <a:cubicBezTo>
                    <a:pt x="2772402" y="3303664"/>
                    <a:pt x="2773944" y="3297245"/>
                    <a:pt x="2773944" y="3288292"/>
                  </a:cubicBezTo>
                  <a:lnTo>
                    <a:pt x="2773944" y="3252945"/>
                  </a:lnTo>
                  <a:cubicBezTo>
                    <a:pt x="2773944" y="3235799"/>
                    <a:pt x="2782264" y="3225368"/>
                    <a:pt x="2798903" y="3221651"/>
                  </a:cubicBezTo>
                  <a:lnTo>
                    <a:pt x="2798903" y="3221271"/>
                  </a:lnTo>
                  <a:cubicBezTo>
                    <a:pt x="2782264" y="3217301"/>
                    <a:pt x="2773944" y="3206786"/>
                    <a:pt x="2773944" y="3189724"/>
                  </a:cubicBezTo>
                  <a:lnTo>
                    <a:pt x="2773944" y="3153997"/>
                  </a:lnTo>
                  <a:cubicBezTo>
                    <a:pt x="2773944" y="3138202"/>
                    <a:pt x="2767187" y="3130136"/>
                    <a:pt x="2753674" y="3129799"/>
                  </a:cubicBezTo>
                  <a:close/>
                  <a:moveTo>
                    <a:pt x="2736189" y="3110161"/>
                  </a:moveTo>
                  <a:lnTo>
                    <a:pt x="2736189" y="3129799"/>
                  </a:lnTo>
                  <a:cubicBezTo>
                    <a:pt x="2722759" y="3130136"/>
                    <a:pt x="2716044" y="3138202"/>
                    <a:pt x="2716044" y="3153997"/>
                  </a:cubicBezTo>
                  <a:lnTo>
                    <a:pt x="2716044" y="3189724"/>
                  </a:lnTo>
                  <a:cubicBezTo>
                    <a:pt x="2716044" y="3206786"/>
                    <a:pt x="2707641" y="3217301"/>
                    <a:pt x="2690833" y="3221271"/>
                  </a:cubicBezTo>
                  <a:lnTo>
                    <a:pt x="2690833" y="3221651"/>
                  </a:lnTo>
                  <a:cubicBezTo>
                    <a:pt x="2707641" y="3225368"/>
                    <a:pt x="2716044" y="3235799"/>
                    <a:pt x="2716044" y="3252945"/>
                  </a:cubicBezTo>
                  <a:lnTo>
                    <a:pt x="2716044" y="3288292"/>
                  </a:lnTo>
                  <a:cubicBezTo>
                    <a:pt x="2716044" y="3297329"/>
                    <a:pt x="2717543" y="3303769"/>
                    <a:pt x="2720543" y="3307612"/>
                  </a:cubicBezTo>
                  <a:cubicBezTo>
                    <a:pt x="2723540" y="3311455"/>
                    <a:pt x="2728756" y="3313461"/>
                    <a:pt x="2736189" y="3313630"/>
                  </a:cubicBezTo>
                  <a:lnTo>
                    <a:pt x="2736189" y="3333141"/>
                  </a:lnTo>
                  <a:cubicBezTo>
                    <a:pt x="2706120" y="3332803"/>
                    <a:pt x="2691086" y="3319965"/>
                    <a:pt x="2691086" y="3294627"/>
                  </a:cubicBezTo>
                  <a:lnTo>
                    <a:pt x="2691086" y="3257252"/>
                  </a:lnTo>
                  <a:cubicBezTo>
                    <a:pt x="2691086" y="3240528"/>
                    <a:pt x="2684498" y="3231744"/>
                    <a:pt x="2671322" y="3230900"/>
                  </a:cubicBezTo>
                  <a:lnTo>
                    <a:pt x="2671322" y="3212403"/>
                  </a:lnTo>
                  <a:cubicBezTo>
                    <a:pt x="2684498" y="3211558"/>
                    <a:pt x="2691086" y="3202605"/>
                    <a:pt x="2691086" y="3185543"/>
                  </a:cubicBezTo>
                  <a:lnTo>
                    <a:pt x="2691086" y="3149183"/>
                  </a:lnTo>
                  <a:cubicBezTo>
                    <a:pt x="2691086" y="3123506"/>
                    <a:pt x="2706120" y="3110499"/>
                    <a:pt x="2736189" y="3110161"/>
                  </a:cubicBezTo>
                  <a:close/>
                  <a:moveTo>
                    <a:pt x="886774" y="3110161"/>
                  </a:moveTo>
                  <a:cubicBezTo>
                    <a:pt x="916673" y="3110499"/>
                    <a:pt x="931623" y="3123506"/>
                    <a:pt x="931623" y="3149183"/>
                  </a:cubicBezTo>
                  <a:lnTo>
                    <a:pt x="931623" y="3185543"/>
                  </a:lnTo>
                  <a:cubicBezTo>
                    <a:pt x="931623" y="3202605"/>
                    <a:pt x="938169" y="3211558"/>
                    <a:pt x="951260" y="3212403"/>
                  </a:cubicBezTo>
                  <a:lnTo>
                    <a:pt x="951260" y="3230900"/>
                  </a:lnTo>
                  <a:cubicBezTo>
                    <a:pt x="938169" y="3231744"/>
                    <a:pt x="931623" y="3240528"/>
                    <a:pt x="931623" y="3257252"/>
                  </a:cubicBezTo>
                  <a:lnTo>
                    <a:pt x="931623" y="3294627"/>
                  </a:lnTo>
                  <a:cubicBezTo>
                    <a:pt x="931623" y="3319965"/>
                    <a:pt x="916673" y="3332803"/>
                    <a:pt x="886774" y="3333141"/>
                  </a:cubicBezTo>
                  <a:lnTo>
                    <a:pt x="886774" y="3313630"/>
                  </a:lnTo>
                  <a:cubicBezTo>
                    <a:pt x="894122" y="3313461"/>
                    <a:pt x="899337" y="3311435"/>
                    <a:pt x="902420" y="3307549"/>
                  </a:cubicBezTo>
                  <a:cubicBezTo>
                    <a:pt x="905503" y="3303664"/>
                    <a:pt x="907044" y="3297245"/>
                    <a:pt x="907044" y="3288292"/>
                  </a:cubicBezTo>
                  <a:lnTo>
                    <a:pt x="907044" y="3252945"/>
                  </a:lnTo>
                  <a:cubicBezTo>
                    <a:pt x="907044" y="3235799"/>
                    <a:pt x="915364" y="3225368"/>
                    <a:pt x="932003" y="3221651"/>
                  </a:cubicBezTo>
                  <a:lnTo>
                    <a:pt x="932003" y="3221271"/>
                  </a:lnTo>
                  <a:cubicBezTo>
                    <a:pt x="915364" y="3217301"/>
                    <a:pt x="907044" y="3206786"/>
                    <a:pt x="907044" y="3189724"/>
                  </a:cubicBezTo>
                  <a:lnTo>
                    <a:pt x="907044" y="3153997"/>
                  </a:lnTo>
                  <a:cubicBezTo>
                    <a:pt x="907044" y="3138202"/>
                    <a:pt x="900288" y="3130136"/>
                    <a:pt x="886774" y="3129799"/>
                  </a:cubicBezTo>
                  <a:close/>
                  <a:moveTo>
                    <a:pt x="869289" y="3110161"/>
                  </a:moveTo>
                  <a:lnTo>
                    <a:pt x="869289" y="3129799"/>
                  </a:lnTo>
                  <a:cubicBezTo>
                    <a:pt x="855860" y="3130136"/>
                    <a:pt x="849145" y="3138202"/>
                    <a:pt x="849145" y="3153997"/>
                  </a:cubicBezTo>
                  <a:lnTo>
                    <a:pt x="849145" y="3189724"/>
                  </a:lnTo>
                  <a:cubicBezTo>
                    <a:pt x="849145" y="3206786"/>
                    <a:pt x="840741" y="3217301"/>
                    <a:pt x="823933" y="3221271"/>
                  </a:cubicBezTo>
                  <a:lnTo>
                    <a:pt x="823933" y="3221651"/>
                  </a:lnTo>
                  <a:cubicBezTo>
                    <a:pt x="840741" y="3225368"/>
                    <a:pt x="849145" y="3235799"/>
                    <a:pt x="849145" y="3252945"/>
                  </a:cubicBezTo>
                  <a:lnTo>
                    <a:pt x="849145" y="3288292"/>
                  </a:lnTo>
                  <a:cubicBezTo>
                    <a:pt x="849145" y="3297329"/>
                    <a:pt x="850644" y="3303769"/>
                    <a:pt x="853643" y="3307612"/>
                  </a:cubicBezTo>
                  <a:cubicBezTo>
                    <a:pt x="856641" y="3311455"/>
                    <a:pt x="861857" y="3313461"/>
                    <a:pt x="869289" y="3313630"/>
                  </a:cubicBezTo>
                  <a:lnTo>
                    <a:pt x="869289" y="3333141"/>
                  </a:lnTo>
                  <a:cubicBezTo>
                    <a:pt x="839221" y="3332803"/>
                    <a:pt x="824187" y="3319965"/>
                    <a:pt x="824187" y="3294627"/>
                  </a:cubicBezTo>
                  <a:lnTo>
                    <a:pt x="824187" y="3257252"/>
                  </a:lnTo>
                  <a:cubicBezTo>
                    <a:pt x="824187" y="3240528"/>
                    <a:pt x="817598" y="3231744"/>
                    <a:pt x="804422" y="3230900"/>
                  </a:cubicBezTo>
                  <a:lnTo>
                    <a:pt x="804422" y="3212403"/>
                  </a:lnTo>
                  <a:cubicBezTo>
                    <a:pt x="817598" y="3211558"/>
                    <a:pt x="824187" y="3202605"/>
                    <a:pt x="824187" y="3185543"/>
                  </a:cubicBezTo>
                  <a:lnTo>
                    <a:pt x="824187" y="3149183"/>
                  </a:lnTo>
                  <a:cubicBezTo>
                    <a:pt x="824187" y="3123506"/>
                    <a:pt x="839221" y="3110499"/>
                    <a:pt x="869289" y="3110161"/>
                  </a:cubicBezTo>
                  <a:close/>
                  <a:moveTo>
                    <a:pt x="11392280" y="3107344"/>
                  </a:moveTo>
                  <a:lnTo>
                    <a:pt x="11420355" y="3107344"/>
                  </a:lnTo>
                  <a:lnTo>
                    <a:pt x="11406579" y="3174481"/>
                  </a:lnTo>
                  <a:lnTo>
                    <a:pt x="11448779" y="3174481"/>
                  </a:lnTo>
                  <a:lnTo>
                    <a:pt x="11463078" y="3107344"/>
                  </a:lnTo>
                  <a:lnTo>
                    <a:pt x="11490631" y="3107344"/>
                  </a:lnTo>
                  <a:lnTo>
                    <a:pt x="11476680" y="3174481"/>
                  </a:lnTo>
                  <a:lnTo>
                    <a:pt x="11516439" y="3174481"/>
                  </a:lnTo>
                  <a:lnTo>
                    <a:pt x="11511033" y="3198895"/>
                  </a:lnTo>
                  <a:lnTo>
                    <a:pt x="11471449" y="3198895"/>
                  </a:lnTo>
                  <a:lnTo>
                    <a:pt x="11461335" y="3247024"/>
                  </a:lnTo>
                  <a:lnTo>
                    <a:pt x="11504581" y="3247024"/>
                  </a:lnTo>
                  <a:lnTo>
                    <a:pt x="11498477" y="3271437"/>
                  </a:lnTo>
                  <a:lnTo>
                    <a:pt x="11456278" y="3271437"/>
                  </a:lnTo>
                  <a:lnTo>
                    <a:pt x="11441978" y="3335958"/>
                  </a:lnTo>
                  <a:lnTo>
                    <a:pt x="11414251" y="3335958"/>
                  </a:lnTo>
                  <a:lnTo>
                    <a:pt x="11428202" y="3271437"/>
                  </a:lnTo>
                  <a:lnTo>
                    <a:pt x="11386002" y="3271437"/>
                  </a:lnTo>
                  <a:lnTo>
                    <a:pt x="11372400" y="3335958"/>
                  </a:lnTo>
                  <a:lnTo>
                    <a:pt x="11344674" y="3335958"/>
                  </a:lnTo>
                  <a:lnTo>
                    <a:pt x="11358275" y="3271437"/>
                  </a:lnTo>
                  <a:lnTo>
                    <a:pt x="11318342" y="3271437"/>
                  </a:lnTo>
                  <a:lnTo>
                    <a:pt x="11323224" y="3247024"/>
                  </a:lnTo>
                  <a:lnTo>
                    <a:pt x="11363681" y="3247024"/>
                  </a:lnTo>
                  <a:lnTo>
                    <a:pt x="11373272" y="3198895"/>
                  </a:lnTo>
                  <a:lnTo>
                    <a:pt x="11330723" y="3198895"/>
                  </a:lnTo>
                  <a:lnTo>
                    <a:pt x="11335780" y="3174481"/>
                  </a:lnTo>
                  <a:lnTo>
                    <a:pt x="11378329" y="3174481"/>
                  </a:lnTo>
                  <a:close/>
                  <a:moveTo>
                    <a:pt x="5341932" y="3107344"/>
                  </a:moveTo>
                  <a:lnTo>
                    <a:pt x="5370007" y="3107344"/>
                  </a:lnTo>
                  <a:lnTo>
                    <a:pt x="5356231" y="3174481"/>
                  </a:lnTo>
                  <a:lnTo>
                    <a:pt x="5398431" y="3174481"/>
                  </a:lnTo>
                  <a:lnTo>
                    <a:pt x="5412730" y="3107344"/>
                  </a:lnTo>
                  <a:lnTo>
                    <a:pt x="5440283" y="3107344"/>
                  </a:lnTo>
                  <a:lnTo>
                    <a:pt x="5426332" y="3174481"/>
                  </a:lnTo>
                  <a:lnTo>
                    <a:pt x="5466091" y="3174481"/>
                  </a:lnTo>
                  <a:lnTo>
                    <a:pt x="5460686" y="3198895"/>
                  </a:lnTo>
                  <a:lnTo>
                    <a:pt x="5421101" y="3198895"/>
                  </a:lnTo>
                  <a:lnTo>
                    <a:pt x="5410987" y="3247024"/>
                  </a:lnTo>
                  <a:lnTo>
                    <a:pt x="5454233" y="3247024"/>
                  </a:lnTo>
                  <a:lnTo>
                    <a:pt x="5448130" y="3271437"/>
                  </a:lnTo>
                  <a:lnTo>
                    <a:pt x="5405930" y="3271437"/>
                  </a:lnTo>
                  <a:lnTo>
                    <a:pt x="5391631" y="3335958"/>
                  </a:lnTo>
                  <a:lnTo>
                    <a:pt x="5363903" y="3335958"/>
                  </a:lnTo>
                  <a:lnTo>
                    <a:pt x="5377854" y="3271437"/>
                  </a:lnTo>
                  <a:lnTo>
                    <a:pt x="5335654" y="3271437"/>
                  </a:lnTo>
                  <a:lnTo>
                    <a:pt x="5322052" y="3335958"/>
                  </a:lnTo>
                  <a:lnTo>
                    <a:pt x="5294326" y="3335958"/>
                  </a:lnTo>
                  <a:lnTo>
                    <a:pt x="5307927" y="3271437"/>
                  </a:lnTo>
                  <a:lnTo>
                    <a:pt x="5267994" y="3271437"/>
                  </a:lnTo>
                  <a:lnTo>
                    <a:pt x="5272877" y="3247024"/>
                  </a:lnTo>
                  <a:lnTo>
                    <a:pt x="5313333" y="3247024"/>
                  </a:lnTo>
                  <a:lnTo>
                    <a:pt x="5322924" y="3198895"/>
                  </a:lnTo>
                  <a:lnTo>
                    <a:pt x="5280375" y="3198895"/>
                  </a:lnTo>
                  <a:lnTo>
                    <a:pt x="5285432" y="3174481"/>
                  </a:lnTo>
                  <a:lnTo>
                    <a:pt x="5327981" y="3174481"/>
                  </a:lnTo>
                  <a:close/>
                  <a:moveTo>
                    <a:pt x="179757" y="2978567"/>
                  </a:moveTo>
                  <a:cubicBezTo>
                    <a:pt x="175238" y="2996466"/>
                    <a:pt x="170094" y="3007765"/>
                    <a:pt x="156566" y="3017814"/>
                  </a:cubicBezTo>
                  <a:cubicBezTo>
                    <a:pt x="155199" y="3025158"/>
                    <a:pt x="167507" y="3021234"/>
                    <a:pt x="172979" y="3021204"/>
                  </a:cubicBezTo>
                  <a:cubicBezTo>
                    <a:pt x="178450" y="3021174"/>
                    <a:pt x="187934" y="3022646"/>
                    <a:pt x="189390" y="3017636"/>
                  </a:cubicBezTo>
                  <a:cubicBezTo>
                    <a:pt x="190372" y="3014187"/>
                    <a:pt x="187964" y="3011541"/>
                    <a:pt x="186448" y="3008181"/>
                  </a:cubicBezTo>
                  <a:cubicBezTo>
                    <a:pt x="185674" y="3004494"/>
                    <a:pt x="188543" y="2999915"/>
                    <a:pt x="187429" y="2994980"/>
                  </a:cubicBezTo>
                  <a:cubicBezTo>
                    <a:pt x="186313" y="2990044"/>
                    <a:pt x="183028" y="2982254"/>
                    <a:pt x="179757" y="2978567"/>
                  </a:cubicBezTo>
                  <a:close/>
                  <a:moveTo>
                    <a:pt x="19737" y="2962155"/>
                  </a:moveTo>
                  <a:cubicBezTo>
                    <a:pt x="14920" y="2967656"/>
                    <a:pt x="6089" y="2978151"/>
                    <a:pt x="6089" y="2982403"/>
                  </a:cubicBezTo>
                  <a:cubicBezTo>
                    <a:pt x="6357" y="2987695"/>
                    <a:pt x="20540" y="3003335"/>
                    <a:pt x="27587" y="3003989"/>
                  </a:cubicBezTo>
                  <a:cubicBezTo>
                    <a:pt x="33414" y="3004137"/>
                    <a:pt x="33978" y="3001075"/>
                    <a:pt x="36505" y="2996764"/>
                  </a:cubicBezTo>
                  <a:cubicBezTo>
                    <a:pt x="28418" y="2985317"/>
                    <a:pt x="25058" y="2979489"/>
                    <a:pt x="19737" y="2962155"/>
                  </a:cubicBezTo>
                  <a:close/>
                  <a:moveTo>
                    <a:pt x="3349" y="2893864"/>
                  </a:moveTo>
                  <a:lnTo>
                    <a:pt x="3148" y="2895381"/>
                  </a:lnTo>
                  <a:lnTo>
                    <a:pt x="3082" y="2894121"/>
                  </a:lnTo>
                  <a:close/>
                  <a:moveTo>
                    <a:pt x="205269" y="2866669"/>
                  </a:moveTo>
                  <a:cubicBezTo>
                    <a:pt x="205231" y="2866840"/>
                    <a:pt x="202372" y="2867903"/>
                    <a:pt x="201276" y="2869523"/>
                  </a:cubicBezTo>
                  <a:cubicBezTo>
                    <a:pt x="205814" y="2871035"/>
                    <a:pt x="207408" y="2872458"/>
                    <a:pt x="208199" y="2877894"/>
                  </a:cubicBezTo>
                  <a:cubicBezTo>
                    <a:pt x="208412" y="2877854"/>
                    <a:pt x="209906" y="2876648"/>
                    <a:pt x="215079" y="2876168"/>
                  </a:cubicBezTo>
                  <a:cubicBezTo>
                    <a:pt x="203335" y="2880866"/>
                    <a:pt x="197388" y="2885921"/>
                    <a:pt x="188855" y="2895346"/>
                  </a:cubicBezTo>
                  <a:cubicBezTo>
                    <a:pt x="191554" y="2890039"/>
                    <a:pt x="193853" y="2887789"/>
                    <a:pt x="193873" y="2887723"/>
                  </a:cubicBezTo>
                  <a:cubicBezTo>
                    <a:pt x="189405" y="2886206"/>
                    <a:pt x="188150" y="2885848"/>
                    <a:pt x="186090" y="2880762"/>
                  </a:cubicBezTo>
                  <a:cubicBezTo>
                    <a:pt x="185820" y="2880911"/>
                    <a:pt x="185369" y="2880680"/>
                    <a:pt x="181273" y="2884821"/>
                  </a:cubicBezTo>
                  <a:cubicBezTo>
                    <a:pt x="188469" y="2870668"/>
                    <a:pt x="195219" y="2869761"/>
                    <a:pt x="205269" y="2866669"/>
                  </a:cubicBezTo>
                  <a:close/>
                  <a:moveTo>
                    <a:pt x="178700" y="2850257"/>
                  </a:moveTo>
                  <a:cubicBezTo>
                    <a:pt x="179400" y="2850202"/>
                    <a:pt x="180158" y="2850222"/>
                    <a:pt x="180984" y="2850294"/>
                  </a:cubicBezTo>
                  <a:cubicBezTo>
                    <a:pt x="183185" y="2850487"/>
                    <a:pt x="185853" y="2851052"/>
                    <a:pt x="189123" y="2851550"/>
                  </a:cubicBezTo>
                  <a:cubicBezTo>
                    <a:pt x="178003" y="2853304"/>
                    <a:pt x="174911" y="2859518"/>
                    <a:pt x="170213" y="2870460"/>
                  </a:cubicBezTo>
                  <a:cubicBezTo>
                    <a:pt x="171774" y="2854733"/>
                    <a:pt x="173797" y="2850646"/>
                    <a:pt x="178700" y="2850257"/>
                  </a:cubicBezTo>
                  <a:close/>
                  <a:moveTo>
                    <a:pt x="281302" y="2828180"/>
                  </a:moveTo>
                  <a:cubicBezTo>
                    <a:pt x="282899" y="2830236"/>
                    <a:pt x="278039" y="2837977"/>
                    <a:pt x="273106" y="2842101"/>
                  </a:cubicBezTo>
                  <a:cubicBezTo>
                    <a:pt x="268170" y="2846225"/>
                    <a:pt x="260901" y="2845802"/>
                    <a:pt x="260930" y="2844092"/>
                  </a:cubicBezTo>
                  <a:cubicBezTo>
                    <a:pt x="260957" y="2842383"/>
                    <a:pt x="268674" y="2840116"/>
                    <a:pt x="272070" y="2837463"/>
                  </a:cubicBezTo>
                  <a:cubicBezTo>
                    <a:pt x="275465" y="2834811"/>
                    <a:pt x="280173" y="2827194"/>
                    <a:pt x="281302" y="2828180"/>
                  </a:cubicBezTo>
                  <a:close/>
                  <a:moveTo>
                    <a:pt x="177365" y="2809175"/>
                  </a:moveTo>
                  <a:cubicBezTo>
                    <a:pt x="179304" y="2809250"/>
                    <a:pt x="181261" y="2809417"/>
                    <a:pt x="183229" y="2809689"/>
                  </a:cubicBezTo>
                  <a:cubicBezTo>
                    <a:pt x="198965" y="2811862"/>
                    <a:pt x="219210" y="2828364"/>
                    <a:pt x="226213" y="2838909"/>
                  </a:cubicBezTo>
                  <a:cubicBezTo>
                    <a:pt x="235633" y="2841485"/>
                    <a:pt x="241629" y="2855129"/>
                    <a:pt x="244084" y="2859919"/>
                  </a:cubicBezTo>
                  <a:cubicBezTo>
                    <a:pt x="246539" y="2864708"/>
                    <a:pt x="243681" y="2867445"/>
                    <a:pt x="240944" y="2867646"/>
                  </a:cubicBezTo>
                  <a:cubicBezTo>
                    <a:pt x="240904" y="2868230"/>
                    <a:pt x="249386" y="2875011"/>
                    <a:pt x="253970" y="2877683"/>
                  </a:cubicBezTo>
                  <a:cubicBezTo>
                    <a:pt x="257517" y="2862263"/>
                    <a:pt x="252370" y="2851914"/>
                    <a:pt x="252294" y="2840600"/>
                  </a:cubicBezTo>
                  <a:cubicBezTo>
                    <a:pt x="257689" y="2831181"/>
                    <a:pt x="262115" y="2834562"/>
                    <a:pt x="267509" y="2830940"/>
                  </a:cubicBezTo>
                  <a:cubicBezTo>
                    <a:pt x="270728" y="2827237"/>
                    <a:pt x="273707" y="2819429"/>
                    <a:pt x="279342" y="2819832"/>
                  </a:cubicBezTo>
                  <a:cubicBezTo>
                    <a:pt x="289162" y="2820234"/>
                    <a:pt x="301639" y="2838507"/>
                    <a:pt x="302041" y="2881894"/>
                  </a:cubicBezTo>
                  <a:cubicBezTo>
                    <a:pt x="302283" y="2916347"/>
                    <a:pt x="288518" y="2939449"/>
                    <a:pt x="264611" y="2949753"/>
                  </a:cubicBezTo>
                  <a:cubicBezTo>
                    <a:pt x="252386" y="2953013"/>
                    <a:pt x="241891" y="2952809"/>
                    <a:pt x="232799" y="2950466"/>
                  </a:cubicBezTo>
                  <a:lnTo>
                    <a:pt x="228820" y="2949080"/>
                  </a:lnTo>
                  <a:lnTo>
                    <a:pt x="228342" y="2951341"/>
                  </a:lnTo>
                  <a:cubicBezTo>
                    <a:pt x="223490" y="2969955"/>
                    <a:pt x="209847" y="2971386"/>
                    <a:pt x="203755" y="2971245"/>
                  </a:cubicBezTo>
                  <a:cubicBezTo>
                    <a:pt x="196792" y="2971084"/>
                    <a:pt x="186488" y="2964644"/>
                    <a:pt x="182263" y="2961586"/>
                  </a:cubicBezTo>
                  <a:cubicBezTo>
                    <a:pt x="182141" y="2966254"/>
                    <a:pt x="183229" y="2967905"/>
                    <a:pt x="181297" y="2974143"/>
                  </a:cubicBezTo>
                  <a:cubicBezTo>
                    <a:pt x="186367" y="2977484"/>
                    <a:pt x="189427" y="2989397"/>
                    <a:pt x="190956" y="2994669"/>
                  </a:cubicBezTo>
                  <a:cubicBezTo>
                    <a:pt x="192486" y="2999942"/>
                    <a:pt x="190594" y="3001149"/>
                    <a:pt x="190474" y="3005778"/>
                  </a:cubicBezTo>
                  <a:cubicBezTo>
                    <a:pt x="190353" y="3010407"/>
                    <a:pt x="195182" y="3014109"/>
                    <a:pt x="192646" y="3019543"/>
                  </a:cubicBezTo>
                  <a:cubicBezTo>
                    <a:pt x="190110" y="3024976"/>
                    <a:pt x="183510" y="3025258"/>
                    <a:pt x="176709" y="3025339"/>
                  </a:cubicBezTo>
                  <a:cubicBezTo>
                    <a:pt x="169907" y="3025419"/>
                    <a:pt x="154693" y="3030088"/>
                    <a:pt x="151834" y="3020026"/>
                  </a:cubicBezTo>
                  <a:cubicBezTo>
                    <a:pt x="151478" y="3018768"/>
                    <a:pt x="151228" y="3017269"/>
                    <a:pt x="151076" y="3015572"/>
                  </a:cubicBezTo>
                  <a:cubicBezTo>
                    <a:pt x="151062" y="3015123"/>
                    <a:pt x="151049" y="3014675"/>
                    <a:pt x="151036" y="3014227"/>
                  </a:cubicBezTo>
                  <a:lnTo>
                    <a:pt x="147296" y="3017771"/>
                  </a:lnTo>
                  <a:cubicBezTo>
                    <a:pt x="138748" y="3025818"/>
                    <a:pt x="131042" y="3032402"/>
                    <a:pt x="123822" y="3032100"/>
                  </a:cubicBezTo>
                  <a:cubicBezTo>
                    <a:pt x="111787" y="3029685"/>
                    <a:pt x="102491" y="3010527"/>
                    <a:pt x="100397" y="3003846"/>
                  </a:cubicBezTo>
                  <a:cubicBezTo>
                    <a:pt x="98305" y="2997165"/>
                    <a:pt x="105106" y="2995917"/>
                    <a:pt x="111264" y="2992013"/>
                  </a:cubicBezTo>
                  <a:cubicBezTo>
                    <a:pt x="105106" y="2995595"/>
                    <a:pt x="88444" y="2992657"/>
                    <a:pt x="86392" y="2989598"/>
                  </a:cubicBezTo>
                  <a:cubicBezTo>
                    <a:pt x="86994" y="2995957"/>
                    <a:pt x="86632" y="2996883"/>
                    <a:pt x="85426" y="3000465"/>
                  </a:cubicBezTo>
                  <a:cubicBezTo>
                    <a:pt x="84217" y="3004047"/>
                    <a:pt x="81039" y="3006140"/>
                    <a:pt x="79147" y="3011091"/>
                  </a:cubicBezTo>
                  <a:cubicBezTo>
                    <a:pt x="77254" y="3016041"/>
                    <a:pt x="81602" y="3028397"/>
                    <a:pt x="74075" y="3030168"/>
                  </a:cubicBezTo>
                  <a:cubicBezTo>
                    <a:pt x="66549" y="3031939"/>
                    <a:pt x="43164" y="3031255"/>
                    <a:pt x="33988" y="3021716"/>
                  </a:cubicBezTo>
                  <a:cubicBezTo>
                    <a:pt x="30125" y="3017007"/>
                    <a:pt x="36403" y="3009722"/>
                    <a:pt x="34954" y="3007710"/>
                  </a:cubicBezTo>
                  <a:cubicBezTo>
                    <a:pt x="33506" y="3005697"/>
                    <a:pt x="31091" y="3013626"/>
                    <a:pt x="25294" y="3009642"/>
                  </a:cubicBezTo>
                  <a:cubicBezTo>
                    <a:pt x="19499" y="3005657"/>
                    <a:pt x="1829" y="2992536"/>
                    <a:pt x="180" y="2983802"/>
                  </a:cubicBezTo>
                  <a:cubicBezTo>
                    <a:pt x="-1471" y="2975069"/>
                    <a:pt x="8592" y="2965892"/>
                    <a:pt x="15393" y="2957239"/>
                  </a:cubicBezTo>
                  <a:cubicBezTo>
                    <a:pt x="13743" y="2947861"/>
                    <a:pt x="13058" y="2941582"/>
                    <a:pt x="16842" y="2930675"/>
                  </a:cubicBezTo>
                  <a:cubicBezTo>
                    <a:pt x="11770" y="2927576"/>
                    <a:pt x="743" y="2923189"/>
                    <a:pt x="1387" y="2908699"/>
                  </a:cubicBezTo>
                  <a:lnTo>
                    <a:pt x="3148" y="2895381"/>
                  </a:lnTo>
                  <a:lnTo>
                    <a:pt x="3607" y="2904101"/>
                  </a:lnTo>
                  <a:lnTo>
                    <a:pt x="4431" y="2904497"/>
                  </a:lnTo>
                  <a:lnTo>
                    <a:pt x="4552" y="2905671"/>
                  </a:lnTo>
                  <a:cubicBezTo>
                    <a:pt x="5577" y="2914050"/>
                    <a:pt x="8320" y="2923332"/>
                    <a:pt x="24108" y="2919518"/>
                  </a:cubicBezTo>
                  <a:cubicBezTo>
                    <a:pt x="17317" y="2955551"/>
                    <a:pt x="32653" y="2973417"/>
                    <a:pt x="42330" y="2990148"/>
                  </a:cubicBezTo>
                  <a:lnTo>
                    <a:pt x="43293" y="2991998"/>
                  </a:lnTo>
                  <a:lnTo>
                    <a:pt x="43258" y="2992865"/>
                  </a:lnTo>
                  <a:cubicBezTo>
                    <a:pt x="42967" y="2997973"/>
                    <a:pt x="42236" y="3001513"/>
                    <a:pt x="41857" y="3006308"/>
                  </a:cubicBezTo>
                  <a:cubicBezTo>
                    <a:pt x="40758" y="3010084"/>
                    <a:pt x="38052" y="3009668"/>
                    <a:pt x="38558" y="3017636"/>
                  </a:cubicBezTo>
                  <a:cubicBezTo>
                    <a:pt x="38885" y="3022601"/>
                    <a:pt x="68023" y="3030599"/>
                    <a:pt x="72721" y="3024237"/>
                  </a:cubicBezTo>
                  <a:cubicBezTo>
                    <a:pt x="74087" y="3022036"/>
                    <a:pt x="73494" y="3016982"/>
                    <a:pt x="73879" y="3013354"/>
                  </a:cubicBezTo>
                  <a:cubicBezTo>
                    <a:pt x="74474" y="3009311"/>
                    <a:pt x="79708" y="3004910"/>
                    <a:pt x="80480" y="2999172"/>
                  </a:cubicBezTo>
                  <a:cubicBezTo>
                    <a:pt x="80986" y="2994608"/>
                    <a:pt x="80933" y="2989442"/>
                    <a:pt x="80759" y="2984064"/>
                  </a:cubicBezTo>
                  <a:lnTo>
                    <a:pt x="80551" y="2978385"/>
                  </a:lnTo>
                  <a:lnTo>
                    <a:pt x="82139" y="2980235"/>
                  </a:lnTo>
                  <a:cubicBezTo>
                    <a:pt x="92413" y="2990712"/>
                    <a:pt x="114200" y="2994240"/>
                    <a:pt x="121512" y="2978032"/>
                  </a:cubicBezTo>
                  <a:cubicBezTo>
                    <a:pt x="121601" y="2983235"/>
                    <a:pt x="123296" y="2985227"/>
                    <a:pt x="122403" y="2991769"/>
                  </a:cubicBezTo>
                  <a:cubicBezTo>
                    <a:pt x="119846" y="2995901"/>
                    <a:pt x="108459" y="2996823"/>
                    <a:pt x="105366" y="3004435"/>
                  </a:cubicBezTo>
                  <a:cubicBezTo>
                    <a:pt x="104444" y="3007616"/>
                    <a:pt x="116546" y="3026675"/>
                    <a:pt x="124276" y="3027358"/>
                  </a:cubicBezTo>
                  <a:cubicBezTo>
                    <a:pt x="129895" y="3028012"/>
                    <a:pt x="140333" y="3016982"/>
                    <a:pt x="159331" y="2999618"/>
                  </a:cubicBezTo>
                  <a:cubicBezTo>
                    <a:pt x="162272" y="2996930"/>
                    <a:pt x="173394" y="2975832"/>
                    <a:pt x="178419" y="2957784"/>
                  </a:cubicBezTo>
                  <a:cubicBezTo>
                    <a:pt x="173297" y="2955212"/>
                    <a:pt x="165876" y="2949084"/>
                    <a:pt x="161556" y="2939521"/>
                  </a:cubicBezTo>
                  <a:lnTo>
                    <a:pt x="161363" y="2939013"/>
                  </a:lnTo>
                  <a:lnTo>
                    <a:pt x="163980" y="2940661"/>
                  </a:lnTo>
                  <a:cubicBezTo>
                    <a:pt x="170570" y="2945051"/>
                    <a:pt x="177261" y="2949868"/>
                    <a:pt x="183147" y="2951273"/>
                  </a:cubicBezTo>
                  <a:cubicBezTo>
                    <a:pt x="187487" y="2956268"/>
                    <a:pt x="192542" y="2964207"/>
                    <a:pt x="204466" y="2965723"/>
                  </a:cubicBezTo>
                  <a:cubicBezTo>
                    <a:pt x="214633" y="2967447"/>
                    <a:pt x="221859" y="2957844"/>
                    <a:pt x="225427" y="2947348"/>
                  </a:cubicBezTo>
                  <a:lnTo>
                    <a:pt x="222126" y="2947081"/>
                  </a:lnTo>
                  <a:cubicBezTo>
                    <a:pt x="206962" y="2972502"/>
                    <a:pt x="190937" y="2949318"/>
                    <a:pt x="194333" y="2924933"/>
                  </a:cubicBezTo>
                  <a:lnTo>
                    <a:pt x="195258" y="2920157"/>
                  </a:lnTo>
                  <a:lnTo>
                    <a:pt x="197010" y="2922067"/>
                  </a:lnTo>
                  <a:cubicBezTo>
                    <a:pt x="227282" y="2952918"/>
                    <a:pt x="253752" y="2948407"/>
                    <a:pt x="268776" y="2940212"/>
                  </a:cubicBezTo>
                  <a:cubicBezTo>
                    <a:pt x="309927" y="2914850"/>
                    <a:pt x="297870" y="2827322"/>
                    <a:pt x="280640" y="2823096"/>
                  </a:cubicBezTo>
                  <a:cubicBezTo>
                    <a:pt x="276701" y="2822130"/>
                    <a:pt x="273951" y="2832283"/>
                    <a:pt x="271363" y="2833800"/>
                  </a:cubicBezTo>
                  <a:cubicBezTo>
                    <a:pt x="263425" y="2837992"/>
                    <a:pt x="259947" y="2837367"/>
                    <a:pt x="257805" y="2840668"/>
                  </a:cubicBezTo>
                  <a:cubicBezTo>
                    <a:pt x="253569" y="2846856"/>
                    <a:pt x="269167" y="2882678"/>
                    <a:pt x="249328" y="2901463"/>
                  </a:cubicBezTo>
                  <a:lnTo>
                    <a:pt x="247848" y="2902631"/>
                  </a:lnTo>
                  <a:lnTo>
                    <a:pt x="248159" y="2902030"/>
                  </a:lnTo>
                  <a:cubicBezTo>
                    <a:pt x="251918" y="2894766"/>
                    <a:pt x="255866" y="2886449"/>
                    <a:pt x="251383" y="2882948"/>
                  </a:cubicBezTo>
                  <a:cubicBezTo>
                    <a:pt x="246120" y="2878755"/>
                    <a:pt x="242820" y="2881966"/>
                    <a:pt x="238807" y="2885356"/>
                  </a:cubicBezTo>
                  <a:cubicBezTo>
                    <a:pt x="241394" y="2882412"/>
                    <a:pt x="244515" y="2881877"/>
                    <a:pt x="240145" y="2874920"/>
                  </a:cubicBezTo>
                  <a:cubicBezTo>
                    <a:pt x="236665" y="2872571"/>
                    <a:pt x="234793" y="2873166"/>
                    <a:pt x="228371" y="2874830"/>
                  </a:cubicBezTo>
                  <a:cubicBezTo>
                    <a:pt x="232443" y="2871798"/>
                    <a:pt x="233751" y="2872957"/>
                    <a:pt x="231760" y="2867070"/>
                  </a:cubicBezTo>
                  <a:cubicBezTo>
                    <a:pt x="229039" y="2863413"/>
                    <a:pt x="227674" y="2863720"/>
                    <a:pt x="224953" y="2863926"/>
                  </a:cubicBezTo>
                  <a:lnTo>
                    <a:pt x="223066" y="2863939"/>
                  </a:lnTo>
                  <a:lnTo>
                    <a:pt x="224618" y="2863382"/>
                  </a:lnTo>
                  <a:cubicBezTo>
                    <a:pt x="225487" y="2863089"/>
                    <a:pt x="226274" y="2862852"/>
                    <a:pt x="226943" y="2862700"/>
                  </a:cubicBezTo>
                  <a:cubicBezTo>
                    <a:pt x="232295" y="2861481"/>
                    <a:pt x="238153" y="2863160"/>
                    <a:pt x="238182" y="2860113"/>
                  </a:cubicBezTo>
                  <a:cubicBezTo>
                    <a:pt x="238836" y="2856783"/>
                    <a:pt x="230482" y="2846406"/>
                    <a:pt x="226764" y="2845574"/>
                  </a:cubicBezTo>
                  <a:cubicBezTo>
                    <a:pt x="224780" y="2844949"/>
                    <a:pt x="219584" y="2844425"/>
                    <a:pt x="214865" y="2844114"/>
                  </a:cubicBezTo>
                  <a:lnTo>
                    <a:pt x="213767" y="2844056"/>
                  </a:lnTo>
                  <a:lnTo>
                    <a:pt x="213775" y="2844032"/>
                  </a:lnTo>
                  <a:cubicBezTo>
                    <a:pt x="214896" y="2842485"/>
                    <a:pt x="218625" y="2841917"/>
                    <a:pt x="221503" y="2841649"/>
                  </a:cubicBezTo>
                  <a:cubicBezTo>
                    <a:pt x="209431" y="2825712"/>
                    <a:pt x="193166" y="2815484"/>
                    <a:pt x="179133" y="2815693"/>
                  </a:cubicBezTo>
                  <a:cubicBezTo>
                    <a:pt x="162216" y="2816198"/>
                    <a:pt x="141016" y="2820539"/>
                    <a:pt x="129003" y="2839152"/>
                  </a:cubicBezTo>
                  <a:cubicBezTo>
                    <a:pt x="135143" y="2839085"/>
                    <a:pt x="139712" y="2839113"/>
                    <a:pt x="143140" y="2839476"/>
                  </a:cubicBezTo>
                  <a:lnTo>
                    <a:pt x="143713" y="2839559"/>
                  </a:lnTo>
                  <a:lnTo>
                    <a:pt x="141320" y="2840210"/>
                  </a:lnTo>
                  <a:cubicBezTo>
                    <a:pt x="128600" y="2843270"/>
                    <a:pt x="119739" y="2842813"/>
                    <a:pt x="116887" y="2845292"/>
                  </a:cubicBezTo>
                  <a:cubicBezTo>
                    <a:pt x="110925" y="2849464"/>
                    <a:pt x="72316" y="2885033"/>
                    <a:pt x="70724" y="2905171"/>
                  </a:cubicBezTo>
                  <a:cubicBezTo>
                    <a:pt x="74812" y="2915861"/>
                    <a:pt x="75581" y="2908307"/>
                    <a:pt x="84610" y="2927135"/>
                  </a:cubicBezTo>
                  <a:lnTo>
                    <a:pt x="99020" y="2910709"/>
                  </a:lnTo>
                  <a:lnTo>
                    <a:pt x="82161" y="2945578"/>
                  </a:lnTo>
                  <a:cubicBezTo>
                    <a:pt x="86365" y="2951717"/>
                    <a:pt x="89230" y="2955001"/>
                    <a:pt x="97984" y="2954896"/>
                  </a:cubicBezTo>
                  <a:cubicBezTo>
                    <a:pt x="107331" y="2953656"/>
                    <a:pt x="115965" y="2945994"/>
                    <a:pt x="124956" y="2941543"/>
                  </a:cubicBezTo>
                  <a:cubicBezTo>
                    <a:pt x="133842" y="2937845"/>
                    <a:pt x="136483" y="2940391"/>
                    <a:pt x="142246" y="2939814"/>
                  </a:cubicBezTo>
                  <a:cubicBezTo>
                    <a:pt x="154392" y="2906873"/>
                    <a:pt x="135316" y="2907024"/>
                    <a:pt x="148442" y="2871228"/>
                  </a:cubicBezTo>
                  <a:cubicBezTo>
                    <a:pt x="143777" y="2900142"/>
                    <a:pt x="162303" y="2900156"/>
                    <a:pt x="149162" y="2948604"/>
                  </a:cubicBezTo>
                  <a:lnTo>
                    <a:pt x="147070" y="2948261"/>
                  </a:lnTo>
                  <a:lnTo>
                    <a:pt x="144419" y="2947583"/>
                  </a:lnTo>
                  <a:lnTo>
                    <a:pt x="141703" y="2947159"/>
                  </a:lnTo>
                  <a:lnTo>
                    <a:pt x="140941" y="2946983"/>
                  </a:lnTo>
                  <a:cubicBezTo>
                    <a:pt x="138887" y="2946578"/>
                    <a:pt x="136724" y="2946360"/>
                    <a:pt x="134217" y="2946755"/>
                  </a:cubicBezTo>
                  <a:lnTo>
                    <a:pt x="133237" y="2946983"/>
                  </a:lnTo>
                  <a:lnTo>
                    <a:pt x="132646" y="2947035"/>
                  </a:lnTo>
                  <a:cubicBezTo>
                    <a:pt x="119533" y="2949076"/>
                    <a:pt x="114710" y="2960639"/>
                    <a:pt x="93681" y="2962869"/>
                  </a:cubicBezTo>
                  <a:cubicBezTo>
                    <a:pt x="87412" y="2961646"/>
                    <a:pt x="77385" y="2952433"/>
                    <a:pt x="71492" y="2945269"/>
                  </a:cubicBezTo>
                  <a:lnTo>
                    <a:pt x="71036" y="2944680"/>
                  </a:lnTo>
                  <a:lnTo>
                    <a:pt x="72748" y="2941821"/>
                  </a:lnTo>
                  <a:cubicBezTo>
                    <a:pt x="74575" y="2938975"/>
                    <a:pt x="76574" y="2936065"/>
                    <a:pt x="78786" y="2933077"/>
                  </a:cubicBezTo>
                  <a:cubicBezTo>
                    <a:pt x="74920" y="2922700"/>
                    <a:pt x="64723" y="2919102"/>
                    <a:pt x="61837" y="2906228"/>
                  </a:cubicBezTo>
                  <a:cubicBezTo>
                    <a:pt x="66506" y="2892908"/>
                    <a:pt x="68408" y="2884226"/>
                    <a:pt x="91897" y="2860380"/>
                  </a:cubicBezTo>
                  <a:cubicBezTo>
                    <a:pt x="29460" y="2869330"/>
                    <a:pt x="29645" y="2919596"/>
                    <a:pt x="12381" y="2907443"/>
                  </a:cubicBezTo>
                  <a:lnTo>
                    <a:pt x="8781" y="2904202"/>
                  </a:lnTo>
                  <a:lnTo>
                    <a:pt x="9833" y="2903611"/>
                  </a:lnTo>
                  <a:cubicBezTo>
                    <a:pt x="16197" y="2899325"/>
                    <a:pt x="8661" y="2893153"/>
                    <a:pt x="13760" y="2883839"/>
                  </a:cubicBezTo>
                  <a:lnTo>
                    <a:pt x="3349" y="2893864"/>
                  </a:lnTo>
                  <a:lnTo>
                    <a:pt x="4255" y="2887011"/>
                  </a:lnTo>
                  <a:cubicBezTo>
                    <a:pt x="9315" y="2881975"/>
                    <a:pt x="16158" y="2879137"/>
                    <a:pt x="17808" y="2878513"/>
                  </a:cubicBezTo>
                  <a:cubicBezTo>
                    <a:pt x="14709" y="2887972"/>
                    <a:pt x="21470" y="2894572"/>
                    <a:pt x="17808" y="2902179"/>
                  </a:cubicBezTo>
                  <a:cubicBezTo>
                    <a:pt x="53026" y="2857383"/>
                    <a:pt x="77336" y="2854525"/>
                    <a:pt x="93637" y="2854123"/>
                  </a:cubicBezTo>
                  <a:cubicBezTo>
                    <a:pt x="106315" y="2842853"/>
                    <a:pt x="107400" y="2839915"/>
                    <a:pt x="116095" y="2837702"/>
                  </a:cubicBezTo>
                  <a:lnTo>
                    <a:pt x="122090" y="2837073"/>
                  </a:lnTo>
                  <a:lnTo>
                    <a:pt x="122784" y="2835586"/>
                  </a:lnTo>
                  <a:cubicBezTo>
                    <a:pt x="128120" y="2824989"/>
                    <a:pt x="132778" y="2821683"/>
                    <a:pt x="141934" y="2817175"/>
                  </a:cubicBezTo>
                  <a:cubicBezTo>
                    <a:pt x="151091" y="2812667"/>
                    <a:pt x="163791" y="2808652"/>
                    <a:pt x="177365" y="2809175"/>
                  </a:cubicBezTo>
                  <a:close/>
                  <a:moveTo>
                    <a:pt x="8115172" y="2809129"/>
                  </a:moveTo>
                  <a:cubicBezTo>
                    <a:pt x="8145072" y="2809467"/>
                    <a:pt x="8160021" y="2822474"/>
                    <a:pt x="8160021" y="2848151"/>
                  </a:cubicBezTo>
                  <a:lnTo>
                    <a:pt x="8160021" y="2884511"/>
                  </a:lnTo>
                  <a:cubicBezTo>
                    <a:pt x="8160021" y="2901573"/>
                    <a:pt x="8166567" y="2910526"/>
                    <a:pt x="8179659" y="2911371"/>
                  </a:cubicBezTo>
                  <a:lnTo>
                    <a:pt x="8179659" y="2929868"/>
                  </a:lnTo>
                  <a:cubicBezTo>
                    <a:pt x="8166567" y="2930712"/>
                    <a:pt x="8160021" y="2939496"/>
                    <a:pt x="8160021" y="2956220"/>
                  </a:cubicBezTo>
                  <a:lnTo>
                    <a:pt x="8160021" y="2993595"/>
                  </a:lnTo>
                  <a:cubicBezTo>
                    <a:pt x="8160021" y="3018933"/>
                    <a:pt x="8145072" y="3031771"/>
                    <a:pt x="8115172" y="3032109"/>
                  </a:cubicBezTo>
                  <a:lnTo>
                    <a:pt x="8115172" y="3012598"/>
                  </a:lnTo>
                  <a:cubicBezTo>
                    <a:pt x="8122521" y="3012429"/>
                    <a:pt x="8127736" y="3010403"/>
                    <a:pt x="8130819" y="3006517"/>
                  </a:cubicBezTo>
                  <a:cubicBezTo>
                    <a:pt x="8133901" y="3002632"/>
                    <a:pt x="8135443" y="2996213"/>
                    <a:pt x="8135443" y="2987260"/>
                  </a:cubicBezTo>
                  <a:lnTo>
                    <a:pt x="8135443" y="2951913"/>
                  </a:lnTo>
                  <a:cubicBezTo>
                    <a:pt x="8135443" y="2934767"/>
                    <a:pt x="8143763" y="2924336"/>
                    <a:pt x="8160402" y="2920619"/>
                  </a:cubicBezTo>
                  <a:lnTo>
                    <a:pt x="8160402" y="2920239"/>
                  </a:lnTo>
                  <a:cubicBezTo>
                    <a:pt x="8143763" y="2916269"/>
                    <a:pt x="8135443" y="2905754"/>
                    <a:pt x="8135443" y="2888692"/>
                  </a:cubicBezTo>
                  <a:lnTo>
                    <a:pt x="8135443" y="2852965"/>
                  </a:lnTo>
                  <a:cubicBezTo>
                    <a:pt x="8135443" y="2837170"/>
                    <a:pt x="8128686" y="2829104"/>
                    <a:pt x="8115172" y="2828767"/>
                  </a:cubicBezTo>
                  <a:close/>
                  <a:moveTo>
                    <a:pt x="8097688" y="2809129"/>
                  </a:moveTo>
                  <a:lnTo>
                    <a:pt x="8097688" y="2828767"/>
                  </a:lnTo>
                  <a:cubicBezTo>
                    <a:pt x="8084259" y="2829104"/>
                    <a:pt x="8077544" y="2837170"/>
                    <a:pt x="8077544" y="2852965"/>
                  </a:cubicBezTo>
                  <a:lnTo>
                    <a:pt x="8077544" y="2888692"/>
                  </a:lnTo>
                  <a:cubicBezTo>
                    <a:pt x="8077544" y="2905754"/>
                    <a:pt x="8069140" y="2916269"/>
                    <a:pt x="8052332" y="2920239"/>
                  </a:cubicBezTo>
                  <a:lnTo>
                    <a:pt x="8052332" y="2920619"/>
                  </a:lnTo>
                  <a:cubicBezTo>
                    <a:pt x="8069140" y="2924336"/>
                    <a:pt x="8077544" y="2934767"/>
                    <a:pt x="8077544" y="2951913"/>
                  </a:cubicBezTo>
                  <a:lnTo>
                    <a:pt x="8077544" y="2987260"/>
                  </a:lnTo>
                  <a:cubicBezTo>
                    <a:pt x="8077544" y="2996297"/>
                    <a:pt x="8079043" y="3002737"/>
                    <a:pt x="8082042" y="3006580"/>
                  </a:cubicBezTo>
                  <a:cubicBezTo>
                    <a:pt x="8085040" y="3010423"/>
                    <a:pt x="8090256" y="3012429"/>
                    <a:pt x="8097688" y="3012598"/>
                  </a:cubicBezTo>
                  <a:lnTo>
                    <a:pt x="8097688" y="3032109"/>
                  </a:lnTo>
                  <a:cubicBezTo>
                    <a:pt x="8067620" y="3031771"/>
                    <a:pt x="8052586" y="3018933"/>
                    <a:pt x="8052586" y="2993595"/>
                  </a:cubicBezTo>
                  <a:lnTo>
                    <a:pt x="8052586" y="2956220"/>
                  </a:lnTo>
                  <a:cubicBezTo>
                    <a:pt x="8052586" y="2939496"/>
                    <a:pt x="8045997" y="2930712"/>
                    <a:pt x="8032821" y="2929868"/>
                  </a:cubicBezTo>
                  <a:lnTo>
                    <a:pt x="8032821" y="2911371"/>
                  </a:lnTo>
                  <a:cubicBezTo>
                    <a:pt x="8045997" y="2910526"/>
                    <a:pt x="8052586" y="2901573"/>
                    <a:pt x="8052586" y="2884511"/>
                  </a:cubicBezTo>
                  <a:lnTo>
                    <a:pt x="8052586" y="2848151"/>
                  </a:lnTo>
                  <a:cubicBezTo>
                    <a:pt x="8052586" y="2822474"/>
                    <a:pt x="8067620" y="2809467"/>
                    <a:pt x="8097688" y="2809129"/>
                  </a:cubicBezTo>
                  <a:close/>
                  <a:moveTo>
                    <a:pt x="5416747" y="2809129"/>
                  </a:moveTo>
                  <a:cubicBezTo>
                    <a:pt x="5446648" y="2809467"/>
                    <a:pt x="5461597" y="2822474"/>
                    <a:pt x="5461597" y="2848151"/>
                  </a:cubicBezTo>
                  <a:lnTo>
                    <a:pt x="5461597" y="2884511"/>
                  </a:lnTo>
                  <a:cubicBezTo>
                    <a:pt x="5461597" y="2901573"/>
                    <a:pt x="5468143" y="2910526"/>
                    <a:pt x="5481234" y="2911371"/>
                  </a:cubicBezTo>
                  <a:lnTo>
                    <a:pt x="5481234" y="2929868"/>
                  </a:lnTo>
                  <a:cubicBezTo>
                    <a:pt x="5468143" y="2930712"/>
                    <a:pt x="5461597" y="2939496"/>
                    <a:pt x="5461597" y="2956220"/>
                  </a:cubicBezTo>
                  <a:lnTo>
                    <a:pt x="5461597" y="2993595"/>
                  </a:lnTo>
                  <a:cubicBezTo>
                    <a:pt x="5461597" y="3018933"/>
                    <a:pt x="5446648" y="3031771"/>
                    <a:pt x="5416747" y="3032109"/>
                  </a:cubicBezTo>
                  <a:lnTo>
                    <a:pt x="5416747" y="3012598"/>
                  </a:lnTo>
                  <a:cubicBezTo>
                    <a:pt x="5424096" y="3012429"/>
                    <a:pt x="5429311" y="3010403"/>
                    <a:pt x="5432394" y="3006517"/>
                  </a:cubicBezTo>
                  <a:cubicBezTo>
                    <a:pt x="5435478" y="3002632"/>
                    <a:pt x="5437018" y="2996213"/>
                    <a:pt x="5437018" y="2987260"/>
                  </a:cubicBezTo>
                  <a:lnTo>
                    <a:pt x="5437018" y="2951913"/>
                  </a:lnTo>
                  <a:cubicBezTo>
                    <a:pt x="5437018" y="2934767"/>
                    <a:pt x="5445338" y="2924336"/>
                    <a:pt x="5461977" y="2920619"/>
                  </a:cubicBezTo>
                  <a:lnTo>
                    <a:pt x="5461977" y="2920239"/>
                  </a:lnTo>
                  <a:cubicBezTo>
                    <a:pt x="5445338" y="2916269"/>
                    <a:pt x="5437018" y="2905754"/>
                    <a:pt x="5437018" y="2888692"/>
                  </a:cubicBezTo>
                  <a:lnTo>
                    <a:pt x="5437018" y="2852965"/>
                  </a:lnTo>
                  <a:cubicBezTo>
                    <a:pt x="5437018" y="2837170"/>
                    <a:pt x="5430261" y="2829104"/>
                    <a:pt x="5416747" y="2828767"/>
                  </a:cubicBezTo>
                  <a:close/>
                  <a:moveTo>
                    <a:pt x="5399263" y="2809129"/>
                  </a:moveTo>
                  <a:lnTo>
                    <a:pt x="5399263" y="2828767"/>
                  </a:lnTo>
                  <a:cubicBezTo>
                    <a:pt x="5385834" y="2829104"/>
                    <a:pt x="5379119" y="2837170"/>
                    <a:pt x="5379119" y="2852965"/>
                  </a:cubicBezTo>
                  <a:lnTo>
                    <a:pt x="5379119" y="2888692"/>
                  </a:lnTo>
                  <a:cubicBezTo>
                    <a:pt x="5379119" y="2905754"/>
                    <a:pt x="5370715" y="2916269"/>
                    <a:pt x="5353907" y="2920239"/>
                  </a:cubicBezTo>
                  <a:lnTo>
                    <a:pt x="5353907" y="2920619"/>
                  </a:lnTo>
                  <a:cubicBezTo>
                    <a:pt x="5370715" y="2924336"/>
                    <a:pt x="5379119" y="2934767"/>
                    <a:pt x="5379119" y="2951913"/>
                  </a:cubicBezTo>
                  <a:lnTo>
                    <a:pt x="5379119" y="2987260"/>
                  </a:lnTo>
                  <a:cubicBezTo>
                    <a:pt x="5379119" y="2996297"/>
                    <a:pt x="5380618" y="3002737"/>
                    <a:pt x="5383617" y="3006580"/>
                  </a:cubicBezTo>
                  <a:cubicBezTo>
                    <a:pt x="5386615" y="3010423"/>
                    <a:pt x="5391831" y="3012429"/>
                    <a:pt x="5399263" y="3012598"/>
                  </a:cubicBezTo>
                  <a:lnTo>
                    <a:pt x="5399263" y="3032109"/>
                  </a:lnTo>
                  <a:cubicBezTo>
                    <a:pt x="5369195" y="3031771"/>
                    <a:pt x="5354161" y="3018933"/>
                    <a:pt x="5354161" y="2993595"/>
                  </a:cubicBezTo>
                  <a:lnTo>
                    <a:pt x="5354161" y="2956220"/>
                  </a:lnTo>
                  <a:cubicBezTo>
                    <a:pt x="5354161" y="2939496"/>
                    <a:pt x="5347572" y="2930712"/>
                    <a:pt x="5334396" y="2929868"/>
                  </a:cubicBezTo>
                  <a:lnTo>
                    <a:pt x="5334396" y="2911371"/>
                  </a:lnTo>
                  <a:cubicBezTo>
                    <a:pt x="5347572" y="2910526"/>
                    <a:pt x="5354161" y="2901573"/>
                    <a:pt x="5354161" y="2884511"/>
                  </a:cubicBezTo>
                  <a:lnTo>
                    <a:pt x="5354161" y="2848151"/>
                  </a:lnTo>
                  <a:cubicBezTo>
                    <a:pt x="5354161" y="2822474"/>
                    <a:pt x="5369195" y="2809467"/>
                    <a:pt x="5399263" y="2809129"/>
                  </a:cubicBezTo>
                  <a:close/>
                  <a:moveTo>
                    <a:pt x="2059119" y="2809129"/>
                  </a:moveTo>
                  <a:cubicBezTo>
                    <a:pt x="2089019" y="2809467"/>
                    <a:pt x="2103969" y="2822474"/>
                    <a:pt x="2103969" y="2848151"/>
                  </a:cubicBezTo>
                  <a:lnTo>
                    <a:pt x="2103969" y="2884511"/>
                  </a:lnTo>
                  <a:cubicBezTo>
                    <a:pt x="2103969" y="2901573"/>
                    <a:pt x="2110514" y="2910526"/>
                    <a:pt x="2123606" y="2911371"/>
                  </a:cubicBezTo>
                  <a:lnTo>
                    <a:pt x="2123606" y="2929868"/>
                  </a:lnTo>
                  <a:cubicBezTo>
                    <a:pt x="2110514" y="2930712"/>
                    <a:pt x="2103969" y="2939496"/>
                    <a:pt x="2103969" y="2956220"/>
                  </a:cubicBezTo>
                  <a:lnTo>
                    <a:pt x="2103969" y="2993595"/>
                  </a:lnTo>
                  <a:cubicBezTo>
                    <a:pt x="2103969" y="3018933"/>
                    <a:pt x="2089019" y="3031771"/>
                    <a:pt x="2059119" y="3032109"/>
                  </a:cubicBezTo>
                  <a:lnTo>
                    <a:pt x="2059119" y="3012598"/>
                  </a:lnTo>
                  <a:cubicBezTo>
                    <a:pt x="2066469" y="3012429"/>
                    <a:pt x="2071683" y="3010403"/>
                    <a:pt x="2074767" y="3006517"/>
                  </a:cubicBezTo>
                  <a:cubicBezTo>
                    <a:pt x="2077849" y="3002632"/>
                    <a:pt x="2079391" y="2996213"/>
                    <a:pt x="2079391" y="2987260"/>
                  </a:cubicBezTo>
                  <a:lnTo>
                    <a:pt x="2079391" y="2951913"/>
                  </a:lnTo>
                  <a:cubicBezTo>
                    <a:pt x="2079391" y="2934767"/>
                    <a:pt x="2087710" y="2924336"/>
                    <a:pt x="2104349" y="2920619"/>
                  </a:cubicBezTo>
                  <a:lnTo>
                    <a:pt x="2104349" y="2920239"/>
                  </a:lnTo>
                  <a:cubicBezTo>
                    <a:pt x="2087710" y="2916269"/>
                    <a:pt x="2079391" y="2905754"/>
                    <a:pt x="2079391" y="2888692"/>
                  </a:cubicBezTo>
                  <a:lnTo>
                    <a:pt x="2079391" y="2852965"/>
                  </a:lnTo>
                  <a:cubicBezTo>
                    <a:pt x="2079391" y="2837170"/>
                    <a:pt x="2072634" y="2829104"/>
                    <a:pt x="2059119" y="2828767"/>
                  </a:cubicBezTo>
                  <a:close/>
                  <a:moveTo>
                    <a:pt x="2041635" y="2809129"/>
                  </a:moveTo>
                  <a:lnTo>
                    <a:pt x="2041635" y="2828767"/>
                  </a:lnTo>
                  <a:cubicBezTo>
                    <a:pt x="2028207" y="2829104"/>
                    <a:pt x="2021492" y="2837170"/>
                    <a:pt x="2021492" y="2852965"/>
                  </a:cubicBezTo>
                  <a:lnTo>
                    <a:pt x="2021492" y="2888692"/>
                  </a:lnTo>
                  <a:cubicBezTo>
                    <a:pt x="2021492" y="2905754"/>
                    <a:pt x="2013087" y="2916269"/>
                    <a:pt x="1996279" y="2920239"/>
                  </a:cubicBezTo>
                  <a:lnTo>
                    <a:pt x="1996279" y="2920619"/>
                  </a:lnTo>
                  <a:cubicBezTo>
                    <a:pt x="2013087" y="2924336"/>
                    <a:pt x="2021492" y="2934767"/>
                    <a:pt x="2021492" y="2951913"/>
                  </a:cubicBezTo>
                  <a:lnTo>
                    <a:pt x="2021492" y="2987260"/>
                  </a:lnTo>
                  <a:cubicBezTo>
                    <a:pt x="2021492" y="2996297"/>
                    <a:pt x="2022990" y="3002737"/>
                    <a:pt x="2025989" y="3006580"/>
                  </a:cubicBezTo>
                  <a:cubicBezTo>
                    <a:pt x="2028987" y="3010423"/>
                    <a:pt x="2034203" y="3012429"/>
                    <a:pt x="2041635" y="3012598"/>
                  </a:cubicBezTo>
                  <a:lnTo>
                    <a:pt x="2041635" y="3032109"/>
                  </a:lnTo>
                  <a:cubicBezTo>
                    <a:pt x="2011566" y="3031771"/>
                    <a:pt x="1996533" y="3018933"/>
                    <a:pt x="1996533" y="2993595"/>
                  </a:cubicBezTo>
                  <a:lnTo>
                    <a:pt x="1996533" y="2956220"/>
                  </a:lnTo>
                  <a:cubicBezTo>
                    <a:pt x="1996533" y="2939496"/>
                    <a:pt x="1989944" y="2930712"/>
                    <a:pt x="1976769" y="2929868"/>
                  </a:cubicBezTo>
                  <a:lnTo>
                    <a:pt x="1976769" y="2911371"/>
                  </a:lnTo>
                  <a:cubicBezTo>
                    <a:pt x="1989944" y="2910526"/>
                    <a:pt x="1996533" y="2901573"/>
                    <a:pt x="1996533" y="2884511"/>
                  </a:cubicBezTo>
                  <a:lnTo>
                    <a:pt x="1996533" y="2848151"/>
                  </a:lnTo>
                  <a:cubicBezTo>
                    <a:pt x="1996533" y="2822474"/>
                    <a:pt x="2011566" y="2809467"/>
                    <a:pt x="2041635" y="2809129"/>
                  </a:cubicBezTo>
                  <a:close/>
                  <a:moveTo>
                    <a:pt x="8323201" y="2569470"/>
                  </a:moveTo>
                  <a:lnTo>
                    <a:pt x="8312739" y="2617599"/>
                  </a:lnTo>
                  <a:lnTo>
                    <a:pt x="8355462" y="2617599"/>
                  </a:lnTo>
                  <a:lnTo>
                    <a:pt x="8365750" y="2569470"/>
                  </a:lnTo>
                  <a:close/>
                  <a:moveTo>
                    <a:pt x="2259954" y="2569470"/>
                  </a:moveTo>
                  <a:lnTo>
                    <a:pt x="2249492" y="2617599"/>
                  </a:lnTo>
                  <a:lnTo>
                    <a:pt x="2292215" y="2617599"/>
                  </a:lnTo>
                  <a:lnTo>
                    <a:pt x="2302504" y="2569470"/>
                  </a:lnTo>
                  <a:close/>
                  <a:moveTo>
                    <a:pt x="3665391" y="2480736"/>
                  </a:moveTo>
                  <a:cubicBezTo>
                    <a:pt x="3695290" y="2481074"/>
                    <a:pt x="3710240" y="2494081"/>
                    <a:pt x="3710240" y="2519757"/>
                  </a:cubicBezTo>
                  <a:lnTo>
                    <a:pt x="3710240" y="2556118"/>
                  </a:lnTo>
                  <a:cubicBezTo>
                    <a:pt x="3710240" y="2573180"/>
                    <a:pt x="3716785" y="2582133"/>
                    <a:pt x="3729877" y="2582978"/>
                  </a:cubicBezTo>
                  <a:lnTo>
                    <a:pt x="3729877" y="2601474"/>
                  </a:lnTo>
                  <a:cubicBezTo>
                    <a:pt x="3716785" y="2602319"/>
                    <a:pt x="3710240" y="2611103"/>
                    <a:pt x="3710240" y="2627827"/>
                  </a:cubicBezTo>
                  <a:lnTo>
                    <a:pt x="3710240" y="2665202"/>
                  </a:lnTo>
                  <a:cubicBezTo>
                    <a:pt x="3710240" y="2690540"/>
                    <a:pt x="3695290" y="2703378"/>
                    <a:pt x="3665391" y="2703716"/>
                  </a:cubicBezTo>
                  <a:lnTo>
                    <a:pt x="3665391" y="2684205"/>
                  </a:lnTo>
                  <a:cubicBezTo>
                    <a:pt x="3672738" y="2684036"/>
                    <a:pt x="3677954" y="2682009"/>
                    <a:pt x="3681037" y="2678124"/>
                  </a:cubicBezTo>
                  <a:cubicBezTo>
                    <a:pt x="3684120" y="2674239"/>
                    <a:pt x="3685661" y="2667820"/>
                    <a:pt x="3685661" y="2658867"/>
                  </a:cubicBezTo>
                  <a:lnTo>
                    <a:pt x="3685661" y="2623519"/>
                  </a:lnTo>
                  <a:cubicBezTo>
                    <a:pt x="3685661" y="2606374"/>
                    <a:pt x="3693981" y="2595942"/>
                    <a:pt x="3710620" y="2592226"/>
                  </a:cubicBezTo>
                  <a:lnTo>
                    <a:pt x="3710620" y="2591846"/>
                  </a:lnTo>
                  <a:cubicBezTo>
                    <a:pt x="3693981" y="2587876"/>
                    <a:pt x="3685661" y="2577361"/>
                    <a:pt x="3685661" y="2560299"/>
                  </a:cubicBezTo>
                  <a:lnTo>
                    <a:pt x="3685661" y="2524572"/>
                  </a:lnTo>
                  <a:cubicBezTo>
                    <a:pt x="3685661" y="2508777"/>
                    <a:pt x="3678904" y="2500711"/>
                    <a:pt x="3665391" y="2500374"/>
                  </a:cubicBezTo>
                  <a:close/>
                  <a:moveTo>
                    <a:pt x="3647906" y="2480736"/>
                  </a:moveTo>
                  <a:lnTo>
                    <a:pt x="3647906" y="2500374"/>
                  </a:lnTo>
                  <a:cubicBezTo>
                    <a:pt x="3634476" y="2500711"/>
                    <a:pt x="3627762" y="2508777"/>
                    <a:pt x="3627762" y="2524572"/>
                  </a:cubicBezTo>
                  <a:lnTo>
                    <a:pt x="3627762" y="2560299"/>
                  </a:lnTo>
                  <a:cubicBezTo>
                    <a:pt x="3627762" y="2577361"/>
                    <a:pt x="3619358" y="2587876"/>
                    <a:pt x="3602550" y="2591846"/>
                  </a:cubicBezTo>
                  <a:lnTo>
                    <a:pt x="3602550" y="2592226"/>
                  </a:lnTo>
                  <a:cubicBezTo>
                    <a:pt x="3619358" y="2595942"/>
                    <a:pt x="3627762" y="2606374"/>
                    <a:pt x="3627762" y="2623519"/>
                  </a:cubicBezTo>
                  <a:lnTo>
                    <a:pt x="3627762" y="2658867"/>
                  </a:lnTo>
                  <a:cubicBezTo>
                    <a:pt x="3627762" y="2667904"/>
                    <a:pt x="3629261" y="2674344"/>
                    <a:pt x="3632260" y="2678187"/>
                  </a:cubicBezTo>
                  <a:cubicBezTo>
                    <a:pt x="3635258" y="2682030"/>
                    <a:pt x="3640474" y="2684036"/>
                    <a:pt x="3647906" y="2684205"/>
                  </a:cubicBezTo>
                  <a:lnTo>
                    <a:pt x="3647906" y="2703716"/>
                  </a:lnTo>
                  <a:cubicBezTo>
                    <a:pt x="3617837" y="2703378"/>
                    <a:pt x="3602804" y="2690540"/>
                    <a:pt x="3602804" y="2665202"/>
                  </a:cubicBezTo>
                  <a:lnTo>
                    <a:pt x="3602804" y="2627827"/>
                  </a:lnTo>
                  <a:cubicBezTo>
                    <a:pt x="3602804" y="2611103"/>
                    <a:pt x="3596215" y="2602319"/>
                    <a:pt x="3583039" y="2601474"/>
                  </a:cubicBezTo>
                  <a:lnTo>
                    <a:pt x="3583039" y="2582978"/>
                  </a:lnTo>
                  <a:cubicBezTo>
                    <a:pt x="3596215" y="2582133"/>
                    <a:pt x="3602804" y="2573180"/>
                    <a:pt x="3602804" y="2556118"/>
                  </a:cubicBezTo>
                  <a:lnTo>
                    <a:pt x="3602804" y="2519757"/>
                  </a:lnTo>
                  <a:cubicBezTo>
                    <a:pt x="3602804" y="2494081"/>
                    <a:pt x="3617837" y="2481074"/>
                    <a:pt x="3647906" y="2480736"/>
                  </a:cubicBezTo>
                  <a:close/>
                  <a:moveTo>
                    <a:pt x="8314134" y="2477919"/>
                  </a:moveTo>
                  <a:lnTo>
                    <a:pt x="8342209" y="2477919"/>
                  </a:lnTo>
                  <a:lnTo>
                    <a:pt x="8328433" y="2545056"/>
                  </a:lnTo>
                  <a:lnTo>
                    <a:pt x="8370633" y="2545056"/>
                  </a:lnTo>
                  <a:lnTo>
                    <a:pt x="8384932" y="2477919"/>
                  </a:lnTo>
                  <a:lnTo>
                    <a:pt x="8412485" y="2477919"/>
                  </a:lnTo>
                  <a:lnTo>
                    <a:pt x="8398534" y="2545056"/>
                  </a:lnTo>
                  <a:lnTo>
                    <a:pt x="8438293" y="2545056"/>
                  </a:lnTo>
                  <a:lnTo>
                    <a:pt x="8432887" y="2569470"/>
                  </a:lnTo>
                  <a:lnTo>
                    <a:pt x="8393303" y="2569470"/>
                  </a:lnTo>
                  <a:lnTo>
                    <a:pt x="8383189" y="2617599"/>
                  </a:lnTo>
                  <a:lnTo>
                    <a:pt x="8426435" y="2617599"/>
                  </a:lnTo>
                  <a:lnTo>
                    <a:pt x="8420331" y="2642012"/>
                  </a:lnTo>
                  <a:lnTo>
                    <a:pt x="8378132" y="2642012"/>
                  </a:lnTo>
                  <a:lnTo>
                    <a:pt x="8363832" y="2706533"/>
                  </a:lnTo>
                  <a:lnTo>
                    <a:pt x="8336105" y="2706533"/>
                  </a:lnTo>
                  <a:lnTo>
                    <a:pt x="8350056" y="2642012"/>
                  </a:lnTo>
                  <a:lnTo>
                    <a:pt x="8307856" y="2642012"/>
                  </a:lnTo>
                  <a:lnTo>
                    <a:pt x="8294254" y="2706533"/>
                  </a:lnTo>
                  <a:lnTo>
                    <a:pt x="8266528" y="2706533"/>
                  </a:lnTo>
                  <a:lnTo>
                    <a:pt x="8280129" y="2642012"/>
                  </a:lnTo>
                  <a:lnTo>
                    <a:pt x="8240196" y="2642012"/>
                  </a:lnTo>
                  <a:lnTo>
                    <a:pt x="8245078" y="2617599"/>
                  </a:lnTo>
                  <a:lnTo>
                    <a:pt x="8285535" y="2617599"/>
                  </a:lnTo>
                  <a:lnTo>
                    <a:pt x="8295126" y="2569470"/>
                  </a:lnTo>
                  <a:lnTo>
                    <a:pt x="8252577" y="2569470"/>
                  </a:lnTo>
                  <a:lnTo>
                    <a:pt x="8257634" y="2545056"/>
                  </a:lnTo>
                  <a:lnTo>
                    <a:pt x="8300183" y="2545056"/>
                  </a:lnTo>
                  <a:close/>
                  <a:moveTo>
                    <a:pt x="2250888" y="2477919"/>
                  </a:moveTo>
                  <a:lnTo>
                    <a:pt x="2278962" y="2477919"/>
                  </a:lnTo>
                  <a:lnTo>
                    <a:pt x="2265187" y="2545056"/>
                  </a:lnTo>
                  <a:lnTo>
                    <a:pt x="2307386" y="2545056"/>
                  </a:lnTo>
                  <a:lnTo>
                    <a:pt x="2321686" y="2477919"/>
                  </a:lnTo>
                  <a:lnTo>
                    <a:pt x="2349239" y="2477919"/>
                  </a:lnTo>
                  <a:lnTo>
                    <a:pt x="2335288" y="2545056"/>
                  </a:lnTo>
                  <a:lnTo>
                    <a:pt x="2375047" y="2545056"/>
                  </a:lnTo>
                  <a:lnTo>
                    <a:pt x="2369642" y="2569470"/>
                  </a:lnTo>
                  <a:lnTo>
                    <a:pt x="2330056" y="2569470"/>
                  </a:lnTo>
                  <a:lnTo>
                    <a:pt x="2319942" y="2617599"/>
                  </a:lnTo>
                  <a:lnTo>
                    <a:pt x="2363188" y="2617599"/>
                  </a:lnTo>
                  <a:lnTo>
                    <a:pt x="2357086" y="2642012"/>
                  </a:lnTo>
                  <a:lnTo>
                    <a:pt x="2314885" y="2642012"/>
                  </a:lnTo>
                  <a:lnTo>
                    <a:pt x="2300585" y="2706533"/>
                  </a:lnTo>
                  <a:lnTo>
                    <a:pt x="2272859" y="2706533"/>
                  </a:lnTo>
                  <a:lnTo>
                    <a:pt x="2286810" y="2642012"/>
                  </a:lnTo>
                  <a:lnTo>
                    <a:pt x="2244610" y="2642012"/>
                  </a:lnTo>
                  <a:lnTo>
                    <a:pt x="2231007" y="2706533"/>
                  </a:lnTo>
                  <a:lnTo>
                    <a:pt x="2203282" y="2706533"/>
                  </a:lnTo>
                  <a:lnTo>
                    <a:pt x="2216884" y="2642012"/>
                  </a:lnTo>
                  <a:lnTo>
                    <a:pt x="2176949" y="2642012"/>
                  </a:lnTo>
                  <a:lnTo>
                    <a:pt x="2181833" y="2617599"/>
                  </a:lnTo>
                  <a:lnTo>
                    <a:pt x="2222288" y="2617599"/>
                  </a:lnTo>
                  <a:lnTo>
                    <a:pt x="2231879" y="2569470"/>
                  </a:lnTo>
                  <a:lnTo>
                    <a:pt x="2189331" y="2569470"/>
                  </a:lnTo>
                  <a:lnTo>
                    <a:pt x="2194388" y="2545056"/>
                  </a:lnTo>
                  <a:lnTo>
                    <a:pt x="2236936" y="2545056"/>
                  </a:lnTo>
                  <a:close/>
                  <a:moveTo>
                    <a:pt x="10887030" y="2172960"/>
                  </a:moveTo>
                  <a:cubicBezTo>
                    <a:pt x="10923487" y="2173298"/>
                    <a:pt x="10941716" y="2186305"/>
                    <a:pt x="10941716" y="2211981"/>
                  </a:cubicBezTo>
                  <a:lnTo>
                    <a:pt x="10941716" y="2248342"/>
                  </a:lnTo>
                  <a:cubicBezTo>
                    <a:pt x="10941716" y="2265404"/>
                    <a:pt x="10949697" y="2274357"/>
                    <a:pt x="10965660" y="2275202"/>
                  </a:cubicBezTo>
                  <a:lnTo>
                    <a:pt x="10965660" y="2293698"/>
                  </a:lnTo>
                  <a:cubicBezTo>
                    <a:pt x="10949697" y="2294543"/>
                    <a:pt x="10941716" y="2303327"/>
                    <a:pt x="10941716" y="2320051"/>
                  </a:cubicBezTo>
                  <a:lnTo>
                    <a:pt x="10941716" y="2357426"/>
                  </a:lnTo>
                  <a:cubicBezTo>
                    <a:pt x="10941716" y="2382764"/>
                    <a:pt x="10923487" y="2395602"/>
                    <a:pt x="10887030" y="2395940"/>
                  </a:cubicBezTo>
                  <a:lnTo>
                    <a:pt x="10887030" y="2376429"/>
                  </a:lnTo>
                  <a:cubicBezTo>
                    <a:pt x="10895990" y="2376260"/>
                    <a:pt x="10902349" y="2374233"/>
                    <a:pt x="10906108" y="2370348"/>
                  </a:cubicBezTo>
                  <a:cubicBezTo>
                    <a:pt x="10909867" y="2366463"/>
                    <a:pt x="10911747" y="2360044"/>
                    <a:pt x="10911747" y="2351091"/>
                  </a:cubicBezTo>
                  <a:lnTo>
                    <a:pt x="10911747" y="2315743"/>
                  </a:lnTo>
                  <a:cubicBezTo>
                    <a:pt x="10911747" y="2298598"/>
                    <a:pt x="10921891" y="2288166"/>
                    <a:pt x="10942179" y="2284450"/>
                  </a:cubicBezTo>
                  <a:lnTo>
                    <a:pt x="10942179" y="2284070"/>
                  </a:lnTo>
                  <a:cubicBezTo>
                    <a:pt x="10921891" y="2280100"/>
                    <a:pt x="10911747" y="2269585"/>
                    <a:pt x="10911747" y="2252523"/>
                  </a:cubicBezTo>
                  <a:lnTo>
                    <a:pt x="10911747" y="2216796"/>
                  </a:lnTo>
                  <a:cubicBezTo>
                    <a:pt x="10911747" y="2201001"/>
                    <a:pt x="10903508" y="2192935"/>
                    <a:pt x="10887030" y="2192598"/>
                  </a:cubicBezTo>
                  <a:close/>
                  <a:moveTo>
                    <a:pt x="10865711" y="2172960"/>
                  </a:moveTo>
                  <a:lnTo>
                    <a:pt x="10865711" y="2192598"/>
                  </a:lnTo>
                  <a:cubicBezTo>
                    <a:pt x="10849337" y="2192935"/>
                    <a:pt x="10841149" y="2201001"/>
                    <a:pt x="10841149" y="2216796"/>
                  </a:cubicBezTo>
                  <a:lnTo>
                    <a:pt x="10841149" y="2252523"/>
                  </a:lnTo>
                  <a:cubicBezTo>
                    <a:pt x="10841149" y="2269585"/>
                    <a:pt x="10830902" y="2280100"/>
                    <a:pt x="10810408" y="2284070"/>
                  </a:cubicBezTo>
                  <a:lnTo>
                    <a:pt x="10810408" y="2284450"/>
                  </a:lnTo>
                  <a:cubicBezTo>
                    <a:pt x="10830902" y="2288166"/>
                    <a:pt x="10841149" y="2298598"/>
                    <a:pt x="10841149" y="2315743"/>
                  </a:cubicBezTo>
                  <a:lnTo>
                    <a:pt x="10841149" y="2351091"/>
                  </a:lnTo>
                  <a:cubicBezTo>
                    <a:pt x="10841149" y="2360128"/>
                    <a:pt x="10842977" y="2366568"/>
                    <a:pt x="10846633" y="2370411"/>
                  </a:cubicBezTo>
                  <a:cubicBezTo>
                    <a:pt x="10850289" y="2374254"/>
                    <a:pt x="10856649" y="2376260"/>
                    <a:pt x="10865711" y="2376429"/>
                  </a:cubicBezTo>
                  <a:lnTo>
                    <a:pt x="10865711" y="2395940"/>
                  </a:lnTo>
                  <a:cubicBezTo>
                    <a:pt x="10829048" y="2395602"/>
                    <a:pt x="10810717" y="2382764"/>
                    <a:pt x="10810717" y="2357426"/>
                  </a:cubicBezTo>
                  <a:lnTo>
                    <a:pt x="10810717" y="2320051"/>
                  </a:lnTo>
                  <a:cubicBezTo>
                    <a:pt x="10810717" y="2303327"/>
                    <a:pt x="10802684" y="2294543"/>
                    <a:pt x="10786618" y="2293698"/>
                  </a:cubicBezTo>
                  <a:lnTo>
                    <a:pt x="10786618" y="2275202"/>
                  </a:lnTo>
                  <a:cubicBezTo>
                    <a:pt x="10802684" y="2274357"/>
                    <a:pt x="10810717" y="2265404"/>
                    <a:pt x="10810717" y="2248342"/>
                  </a:cubicBezTo>
                  <a:lnTo>
                    <a:pt x="10810717" y="2211981"/>
                  </a:lnTo>
                  <a:cubicBezTo>
                    <a:pt x="10810717" y="2186305"/>
                    <a:pt x="10829048" y="2173298"/>
                    <a:pt x="10865711" y="2172960"/>
                  </a:cubicBezTo>
                  <a:close/>
                  <a:moveTo>
                    <a:pt x="8381124" y="2172960"/>
                  </a:moveTo>
                  <a:cubicBezTo>
                    <a:pt x="8417581" y="2173298"/>
                    <a:pt x="8435810" y="2186305"/>
                    <a:pt x="8435810" y="2211981"/>
                  </a:cubicBezTo>
                  <a:lnTo>
                    <a:pt x="8435810" y="2248342"/>
                  </a:lnTo>
                  <a:cubicBezTo>
                    <a:pt x="8435810" y="2265404"/>
                    <a:pt x="8443791" y="2274357"/>
                    <a:pt x="8459754" y="2275202"/>
                  </a:cubicBezTo>
                  <a:lnTo>
                    <a:pt x="8459754" y="2293698"/>
                  </a:lnTo>
                  <a:cubicBezTo>
                    <a:pt x="8443791" y="2294543"/>
                    <a:pt x="8435810" y="2303327"/>
                    <a:pt x="8435810" y="2320051"/>
                  </a:cubicBezTo>
                  <a:lnTo>
                    <a:pt x="8435810" y="2357426"/>
                  </a:lnTo>
                  <a:cubicBezTo>
                    <a:pt x="8435810" y="2382764"/>
                    <a:pt x="8417581" y="2395602"/>
                    <a:pt x="8381124" y="2395940"/>
                  </a:cubicBezTo>
                  <a:lnTo>
                    <a:pt x="8381124" y="2376429"/>
                  </a:lnTo>
                  <a:cubicBezTo>
                    <a:pt x="8390084" y="2376260"/>
                    <a:pt x="8396443" y="2374233"/>
                    <a:pt x="8400202" y="2370348"/>
                  </a:cubicBezTo>
                  <a:cubicBezTo>
                    <a:pt x="8403961" y="2366463"/>
                    <a:pt x="8405841" y="2360044"/>
                    <a:pt x="8405841" y="2351091"/>
                  </a:cubicBezTo>
                  <a:lnTo>
                    <a:pt x="8405841" y="2315743"/>
                  </a:lnTo>
                  <a:cubicBezTo>
                    <a:pt x="8405841" y="2298598"/>
                    <a:pt x="8415985" y="2288166"/>
                    <a:pt x="8436273" y="2284450"/>
                  </a:cubicBezTo>
                  <a:lnTo>
                    <a:pt x="8436273" y="2284070"/>
                  </a:lnTo>
                  <a:cubicBezTo>
                    <a:pt x="8415985" y="2280100"/>
                    <a:pt x="8405841" y="2269585"/>
                    <a:pt x="8405841" y="2252523"/>
                  </a:cubicBezTo>
                  <a:lnTo>
                    <a:pt x="8405841" y="2216796"/>
                  </a:lnTo>
                  <a:cubicBezTo>
                    <a:pt x="8405841" y="2201001"/>
                    <a:pt x="8397602" y="2192935"/>
                    <a:pt x="8381124" y="2192598"/>
                  </a:cubicBezTo>
                  <a:close/>
                  <a:moveTo>
                    <a:pt x="8359805" y="2172960"/>
                  </a:moveTo>
                  <a:lnTo>
                    <a:pt x="8359805" y="2192598"/>
                  </a:lnTo>
                  <a:cubicBezTo>
                    <a:pt x="8343431" y="2192935"/>
                    <a:pt x="8335243" y="2201001"/>
                    <a:pt x="8335243" y="2216796"/>
                  </a:cubicBezTo>
                  <a:lnTo>
                    <a:pt x="8335243" y="2252523"/>
                  </a:lnTo>
                  <a:cubicBezTo>
                    <a:pt x="8335243" y="2269585"/>
                    <a:pt x="8324996" y="2280100"/>
                    <a:pt x="8304502" y="2284070"/>
                  </a:cubicBezTo>
                  <a:lnTo>
                    <a:pt x="8304502" y="2284450"/>
                  </a:lnTo>
                  <a:cubicBezTo>
                    <a:pt x="8324996" y="2288166"/>
                    <a:pt x="8335243" y="2298598"/>
                    <a:pt x="8335243" y="2315743"/>
                  </a:cubicBezTo>
                  <a:lnTo>
                    <a:pt x="8335243" y="2351091"/>
                  </a:lnTo>
                  <a:cubicBezTo>
                    <a:pt x="8335243" y="2360128"/>
                    <a:pt x="8337071" y="2366568"/>
                    <a:pt x="8340727" y="2370411"/>
                  </a:cubicBezTo>
                  <a:cubicBezTo>
                    <a:pt x="8344383" y="2374254"/>
                    <a:pt x="8350743" y="2376260"/>
                    <a:pt x="8359805" y="2376429"/>
                  </a:cubicBezTo>
                  <a:lnTo>
                    <a:pt x="8359805" y="2395940"/>
                  </a:lnTo>
                  <a:cubicBezTo>
                    <a:pt x="8323142" y="2395602"/>
                    <a:pt x="8304811" y="2382764"/>
                    <a:pt x="8304811" y="2357426"/>
                  </a:cubicBezTo>
                  <a:lnTo>
                    <a:pt x="8304811" y="2320051"/>
                  </a:lnTo>
                  <a:cubicBezTo>
                    <a:pt x="8304811" y="2303327"/>
                    <a:pt x="8296778" y="2294543"/>
                    <a:pt x="8280712" y="2293698"/>
                  </a:cubicBezTo>
                  <a:lnTo>
                    <a:pt x="8280712" y="2275202"/>
                  </a:lnTo>
                  <a:cubicBezTo>
                    <a:pt x="8296778" y="2274357"/>
                    <a:pt x="8304811" y="2265404"/>
                    <a:pt x="8304811" y="2248342"/>
                  </a:cubicBezTo>
                  <a:lnTo>
                    <a:pt x="8304811" y="2211981"/>
                  </a:lnTo>
                  <a:cubicBezTo>
                    <a:pt x="8304811" y="2186305"/>
                    <a:pt x="8323142" y="2173298"/>
                    <a:pt x="8359805" y="2172960"/>
                  </a:cubicBezTo>
                  <a:close/>
                  <a:moveTo>
                    <a:pt x="4831058" y="2172960"/>
                  </a:moveTo>
                  <a:cubicBezTo>
                    <a:pt x="4867515" y="2173298"/>
                    <a:pt x="4885744" y="2186305"/>
                    <a:pt x="4885744" y="2211981"/>
                  </a:cubicBezTo>
                  <a:lnTo>
                    <a:pt x="4885744" y="2248342"/>
                  </a:lnTo>
                  <a:cubicBezTo>
                    <a:pt x="4885744" y="2265404"/>
                    <a:pt x="4893725" y="2274357"/>
                    <a:pt x="4909688" y="2275202"/>
                  </a:cubicBezTo>
                  <a:lnTo>
                    <a:pt x="4909688" y="2293698"/>
                  </a:lnTo>
                  <a:cubicBezTo>
                    <a:pt x="4893725" y="2294543"/>
                    <a:pt x="4885744" y="2303327"/>
                    <a:pt x="4885744" y="2320051"/>
                  </a:cubicBezTo>
                  <a:lnTo>
                    <a:pt x="4885744" y="2357426"/>
                  </a:lnTo>
                  <a:cubicBezTo>
                    <a:pt x="4885744" y="2382764"/>
                    <a:pt x="4867515" y="2395602"/>
                    <a:pt x="4831058" y="2395940"/>
                  </a:cubicBezTo>
                  <a:lnTo>
                    <a:pt x="4831058" y="2376429"/>
                  </a:lnTo>
                  <a:cubicBezTo>
                    <a:pt x="4840018" y="2376260"/>
                    <a:pt x="4846378" y="2374233"/>
                    <a:pt x="4850137" y="2370348"/>
                  </a:cubicBezTo>
                  <a:cubicBezTo>
                    <a:pt x="4853895" y="2366463"/>
                    <a:pt x="4855775" y="2360044"/>
                    <a:pt x="4855775" y="2351091"/>
                  </a:cubicBezTo>
                  <a:lnTo>
                    <a:pt x="4855775" y="2315743"/>
                  </a:lnTo>
                  <a:cubicBezTo>
                    <a:pt x="4855775" y="2298598"/>
                    <a:pt x="4865919" y="2288166"/>
                    <a:pt x="4886207" y="2284450"/>
                  </a:cubicBezTo>
                  <a:lnTo>
                    <a:pt x="4886207" y="2284070"/>
                  </a:lnTo>
                  <a:cubicBezTo>
                    <a:pt x="4865919" y="2280100"/>
                    <a:pt x="4855775" y="2269585"/>
                    <a:pt x="4855775" y="2252523"/>
                  </a:cubicBezTo>
                  <a:lnTo>
                    <a:pt x="4855775" y="2216796"/>
                  </a:lnTo>
                  <a:cubicBezTo>
                    <a:pt x="4855775" y="2201001"/>
                    <a:pt x="4847536" y="2192935"/>
                    <a:pt x="4831058" y="2192598"/>
                  </a:cubicBezTo>
                  <a:close/>
                  <a:moveTo>
                    <a:pt x="4809740" y="2172960"/>
                  </a:moveTo>
                  <a:lnTo>
                    <a:pt x="4809740" y="2192598"/>
                  </a:lnTo>
                  <a:cubicBezTo>
                    <a:pt x="4793366" y="2192935"/>
                    <a:pt x="4785177" y="2201001"/>
                    <a:pt x="4785177" y="2216796"/>
                  </a:cubicBezTo>
                  <a:lnTo>
                    <a:pt x="4785177" y="2252523"/>
                  </a:lnTo>
                  <a:cubicBezTo>
                    <a:pt x="4785177" y="2269585"/>
                    <a:pt x="4774930" y="2280100"/>
                    <a:pt x="4754435" y="2284070"/>
                  </a:cubicBezTo>
                  <a:lnTo>
                    <a:pt x="4754435" y="2284450"/>
                  </a:lnTo>
                  <a:cubicBezTo>
                    <a:pt x="4774930" y="2288166"/>
                    <a:pt x="4785177" y="2298598"/>
                    <a:pt x="4785177" y="2315743"/>
                  </a:cubicBezTo>
                  <a:lnTo>
                    <a:pt x="4785177" y="2351091"/>
                  </a:lnTo>
                  <a:cubicBezTo>
                    <a:pt x="4785177" y="2360128"/>
                    <a:pt x="4787005" y="2366568"/>
                    <a:pt x="4790661" y="2370411"/>
                  </a:cubicBezTo>
                  <a:cubicBezTo>
                    <a:pt x="4794318" y="2374254"/>
                    <a:pt x="4800677" y="2376260"/>
                    <a:pt x="4809740" y="2376429"/>
                  </a:cubicBezTo>
                  <a:lnTo>
                    <a:pt x="4809740" y="2395940"/>
                  </a:lnTo>
                  <a:cubicBezTo>
                    <a:pt x="4773076" y="2395602"/>
                    <a:pt x="4754745" y="2382764"/>
                    <a:pt x="4754745" y="2357426"/>
                  </a:cubicBezTo>
                  <a:lnTo>
                    <a:pt x="4754745" y="2320051"/>
                  </a:lnTo>
                  <a:cubicBezTo>
                    <a:pt x="4754745" y="2303327"/>
                    <a:pt x="4746712" y="2294543"/>
                    <a:pt x="4730646" y="2293698"/>
                  </a:cubicBezTo>
                  <a:lnTo>
                    <a:pt x="4730646" y="2275202"/>
                  </a:lnTo>
                  <a:cubicBezTo>
                    <a:pt x="4746712" y="2274357"/>
                    <a:pt x="4754745" y="2265404"/>
                    <a:pt x="4754745" y="2248342"/>
                  </a:cubicBezTo>
                  <a:lnTo>
                    <a:pt x="4754745" y="2211981"/>
                  </a:lnTo>
                  <a:cubicBezTo>
                    <a:pt x="4754745" y="2186305"/>
                    <a:pt x="4773076" y="2173298"/>
                    <a:pt x="4809740" y="2172960"/>
                  </a:cubicBezTo>
                  <a:close/>
                  <a:moveTo>
                    <a:pt x="2326456" y="2172960"/>
                  </a:moveTo>
                  <a:cubicBezTo>
                    <a:pt x="2362913" y="2173298"/>
                    <a:pt x="2381142" y="2186305"/>
                    <a:pt x="2381142" y="2211981"/>
                  </a:cubicBezTo>
                  <a:lnTo>
                    <a:pt x="2381142" y="2248342"/>
                  </a:lnTo>
                  <a:cubicBezTo>
                    <a:pt x="2381142" y="2265404"/>
                    <a:pt x="2389123" y="2274357"/>
                    <a:pt x="2405086" y="2275202"/>
                  </a:cubicBezTo>
                  <a:lnTo>
                    <a:pt x="2405086" y="2293698"/>
                  </a:lnTo>
                  <a:cubicBezTo>
                    <a:pt x="2389123" y="2294543"/>
                    <a:pt x="2381142" y="2303327"/>
                    <a:pt x="2381142" y="2320051"/>
                  </a:cubicBezTo>
                  <a:lnTo>
                    <a:pt x="2381142" y="2357426"/>
                  </a:lnTo>
                  <a:cubicBezTo>
                    <a:pt x="2381142" y="2382764"/>
                    <a:pt x="2362913" y="2395602"/>
                    <a:pt x="2326456" y="2395940"/>
                  </a:cubicBezTo>
                  <a:lnTo>
                    <a:pt x="2326456" y="2376429"/>
                  </a:lnTo>
                  <a:cubicBezTo>
                    <a:pt x="2335415" y="2376260"/>
                    <a:pt x="2341774" y="2374233"/>
                    <a:pt x="2345533" y="2370348"/>
                  </a:cubicBezTo>
                  <a:cubicBezTo>
                    <a:pt x="2349293" y="2366463"/>
                    <a:pt x="2351172" y="2360044"/>
                    <a:pt x="2351172" y="2351091"/>
                  </a:cubicBezTo>
                  <a:lnTo>
                    <a:pt x="2351172" y="2315743"/>
                  </a:lnTo>
                  <a:cubicBezTo>
                    <a:pt x="2351172" y="2298598"/>
                    <a:pt x="2361317" y="2288166"/>
                    <a:pt x="2381605" y="2284450"/>
                  </a:cubicBezTo>
                  <a:lnTo>
                    <a:pt x="2381605" y="2284070"/>
                  </a:lnTo>
                  <a:cubicBezTo>
                    <a:pt x="2361317" y="2280100"/>
                    <a:pt x="2351172" y="2269585"/>
                    <a:pt x="2351172" y="2252523"/>
                  </a:cubicBezTo>
                  <a:lnTo>
                    <a:pt x="2351172" y="2216796"/>
                  </a:lnTo>
                  <a:cubicBezTo>
                    <a:pt x="2351172" y="2201001"/>
                    <a:pt x="2342934" y="2192935"/>
                    <a:pt x="2326456" y="2192598"/>
                  </a:cubicBezTo>
                  <a:close/>
                  <a:moveTo>
                    <a:pt x="2305137" y="2172960"/>
                  </a:moveTo>
                  <a:lnTo>
                    <a:pt x="2305137" y="2192598"/>
                  </a:lnTo>
                  <a:cubicBezTo>
                    <a:pt x="2288762" y="2192935"/>
                    <a:pt x="2280575" y="2201001"/>
                    <a:pt x="2280575" y="2216796"/>
                  </a:cubicBezTo>
                  <a:lnTo>
                    <a:pt x="2280575" y="2252523"/>
                  </a:lnTo>
                  <a:cubicBezTo>
                    <a:pt x="2280575" y="2269585"/>
                    <a:pt x="2270328" y="2280100"/>
                    <a:pt x="2249834" y="2284070"/>
                  </a:cubicBezTo>
                  <a:lnTo>
                    <a:pt x="2249834" y="2284450"/>
                  </a:lnTo>
                  <a:cubicBezTo>
                    <a:pt x="2270328" y="2288166"/>
                    <a:pt x="2280575" y="2298598"/>
                    <a:pt x="2280575" y="2315743"/>
                  </a:cubicBezTo>
                  <a:lnTo>
                    <a:pt x="2280575" y="2351091"/>
                  </a:lnTo>
                  <a:cubicBezTo>
                    <a:pt x="2280575" y="2360128"/>
                    <a:pt x="2282403" y="2366568"/>
                    <a:pt x="2286060" y="2370411"/>
                  </a:cubicBezTo>
                  <a:cubicBezTo>
                    <a:pt x="2289715" y="2374254"/>
                    <a:pt x="2296075" y="2376260"/>
                    <a:pt x="2305137" y="2376429"/>
                  </a:cubicBezTo>
                  <a:lnTo>
                    <a:pt x="2305137" y="2395940"/>
                  </a:lnTo>
                  <a:cubicBezTo>
                    <a:pt x="2268473" y="2395602"/>
                    <a:pt x="2250143" y="2382764"/>
                    <a:pt x="2250143" y="2357426"/>
                  </a:cubicBezTo>
                  <a:lnTo>
                    <a:pt x="2250143" y="2320051"/>
                  </a:lnTo>
                  <a:cubicBezTo>
                    <a:pt x="2250143" y="2303327"/>
                    <a:pt x="2242109" y="2294543"/>
                    <a:pt x="2226043" y="2293698"/>
                  </a:cubicBezTo>
                  <a:lnTo>
                    <a:pt x="2226043" y="2275202"/>
                  </a:lnTo>
                  <a:cubicBezTo>
                    <a:pt x="2242109" y="2274357"/>
                    <a:pt x="2250143" y="2265404"/>
                    <a:pt x="2250143" y="2248342"/>
                  </a:cubicBezTo>
                  <a:lnTo>
                    <a:pt x="2250143" y="2211981"/>
                  </a:lnTo>
                  <a:cubicBezTo>
                    <a:pt x="2250143" y="2186305"/>
                    <a:pt x="2268473" y="2173298"/>
                    <a:pt x="2305137" y="2172960"/>
                  </a:cubicBezTo>
                  <a:close/>
                  <a:moveTo>
                    <a:pt x="8838198" y="1842347"/>
                  </a:moveTo>
                  <a:cubicBezTo>
                    <a:pt x="8874655" y="1842685"/>
                    <a:pt x="8892884" y="1855692"/>
                    <a:pt x="8892884" y="1881368"/>
                  </a:cubicBezTo>
                  <a:lnTo>
                    <a:pt x="8892884" y="1917729"/>
                  </a:lnTo>
                  <a:cubicBezTo>
                    <a:pt x="8892884" y="1934791"/>
                    <a:pt x="8900865" y="1943744"/>
                    <a:pt x="8916828" y="1944589"/>
                  </a:cubicBezTo>
                  <a:lnTo>
                    <a:pt x="8916828" y="1963085"/>
                  </a:lnTo>
                  <a:cubicBezTo>
                    <a:pt x="8900865" y="1963930"/>
                    <a:pt x="8892884" y="1972714"/>
                    <a:pt x="8892884" y="1989438"/>
                  </a:cubicBezTo>
                  <a:lnTo>
                    <a:pt x="8892884" y="2026812"/>
                  </a:lnTo>
                  <a:cubicBezTo>
                    <a:pt x="8892884" y="2052151"/>
                    <a:pt x="8874655" y="2064989"/>
                    <a:pt x="8838198" y="2065327"/>
                  </a:cubicBezTo>
                  <a:lnTo>
                    <a:pt x="8838198" y="2045816"/>
                  </a:lnTo>
                  <a:cubicBezTo>
                    <a:pt x="8847158" y="2045647"/>
                    <a:pt x="8853517" y="2043620"/>
                    <a:pt x="8857276" y="2039735"/>
                  </a:cubicBezTo>
                  <a:cubicBezTo>
                    <a:pt x="8861035" y="2035850"/>
                    <a:pt x="8862915" y="2029431"/>
                    <a:pt x="8862915" y="2020478"/>
                  </a:cubicBezTo>
                  <a:lnTo>
                    <a:pt x="8862915" y="1985130"/>
                  </a:lnTo>
                  <a:cubicBezTo>
                    <a:pt x="8862915" y="1967985"/>
                    <a:pt x="8873059" y="1957553"/>
                    <a:pt x="8893347" y="1953837"/>
                  </a:cubicBezTo>
                  <a:lnTo>
                    <a:pt x="8893347" y="1953457"/>
                  </a:lnTo>
                  <a:cubicBezTo>
                    <a:pt x="8873059" y="1949487"/>
                    <a:pt x="8862915" y="1938972"/>
                    <a:pt x="8862915" y="1921910"/>
                  </a:cubicBezTo>
                  <a:lnTo>
                    <a:pt x="8862915" y="1886183"/>
                  </a:lnTo>
                  <a:cubicBezTo>
                    <a:pt x="8862915" y="1870388"/>
                    <a:pt x="8854676" y="1862322"/>
                    <a:pt x="8838198" y="1861985"/>
                  </a:cubicBezTo>
                  <a:close/>
                  <a:moveTo>
                    <a:pt x="8816879" y="1842347"/>
                  </a:moveTo>
                  <a:lnTo>
                    <a:pt x="8816879" y="1861985"/>
                  </a:lnTo>
                  <a:cubicBezTo>
                    <a:pt x="8800505" y="1862322"/>
                    <a:pt x="8792317" y="1870388"/>
                    <a:pt x="8792317" y="1886183"/>
                  </a:cubicBezTo>
                  <a:lnTo>
                    <a:pt x="8792317" y="1921910"/>
                  </a:lnTo>
                  <a:cubicBezTo>
                    <a:pt x="8792317" y="1938972"/>
                    <a:pt x="8782070" y="1949487"/>
                    <a:pt x="8761576" y="1953457"/>
                  </a:cubicBezTo>
                  <a:lnTo>
                    <a:pt x="8761576" y="1953837"/>
                  </a:lnTo>
                  <a:cubicBezTo>
                    <a:pt x="8782070" y="1957553"/>
                    <a:pt x="8792317" y="1967985"/>
                    <a:pt x="8792317" y="1985130"/>
                  </a:cubicBezTo>
                  <a:lnTo>
                    <a:pt x="8792317" y="2020478"/>
                  </a:lnTo>
                  <a:cubicBezTo>
                    <a:pt x="8792317" y="2029515"/>
                    <a:pt x="8794145" y="2035955"/>
                    <a:pt x="8797801" y="2039798"/>
                  </a:cubicBezTo>
                  <a:cubicBezTo>
                    <a:pt x="8801457" y="2043641"/>
                    <a:pt x="8807817" y="2045647"/>
                    <a:pt x="8816879" y="2045816"/>
                  </a:cubicBezTo>
                  <a:lnTo>
                    <a:pt x="8816879" y="2065327"/>
                  </a:lnTo>
                  <a:cubicBezTo>
                    <a:pt x="8780216" y="2064989"/>
                    <a:pt x="8761885" y="2052151"/>
                    <a:pt x="8761885" y="2026812"/>
                  </a:cubicBezTo>
                  <a:lnTo>
                    <a:pt x="8761885" y="1989438"/>
                  </a:lnTo>
                  <a:cubicBezTo>
                    <a:pt x="8761885" y="1972714"/>
                    <a:pt x="8753852" y="1963930"/>
                    <a:pt x="8737786" y="1963085"/>
                  </a:cubicBezTo>
                  <a:lnTo>
                    <a:pt x="8737786" y="1944589"/>
                  </a:lnTo>
                  <a:cubicBezTo>
                    <a:pt x="8753852" y="1943744"/>
                    <a:pt x="8761885" y="1934791"/>
                    <a:pt x="8761885" y="1917729"/>
                  </a:cubicBezTo>
                  <a:lnTo>
                    <a:pt x="8761885" y="1881368"/>
                  </a:lnTo>
                  <a:cubicBezTo>
                    <a:pt x="8761885" y="1855692"/>
                    <a:pt x="8780216" y="1842685"/>
                    <a:pt x="8816879" y="1842347"/>
                  </a:cubicBezTo>
                  <a:close/>
                  <a:moveTo>
                    <a:pt x="2766419" y="1842347"/>
                  </a:moveTo>
                  <a:cubicBezTo>
                    <a:pt x="2802875" y="1842685"/>
                    <a:pt x="2821104" y="1855692"/>
                    <a:pt x="2821104" y="1881368"/>
                  </a:cubicBezTo>
                  <a:lnTo>
                    <a:pt x="2821104" y="1917729"/>
                  </a:lnTo>
                  <a:cubicBezTo>
                    <a:pt x="2821104" y="1934791"/>
                    <a:pt x="2829086" y="1943744"/>
                    <a:pt x="2845049" y="1944589"/>
                  </a:cubicBezTo>
                  <a:lnTo>
                    <a:pt x="2845049" y="1963085"/>
                  </a:lnTo>
                  <a:cubicBezTo>
                    <a:pt x="2829086" y="1963930"/>
                    <a:pt x="2821104" y="1972714"/>
                    <a:pt x="2821104" y="1989438"/>
                  </a:cubicBezTo>
                  <a:lnTo>
                    <a:pt x="2821104" y="2026812"/>
                  </a:lnTo>
                  <a:cubicBezTo>
                    <a:pt x="2821104" y="2052151"/>
                    <a:pt x="2802875" y="2064989"/>
                    <a:pt x="2766419" y="2065327"/>
                  </a:cubicBezTo>
                  <a:lnTo>
                    <a:pt x="2766419" y="2045816"/>
                  </a:lnTo>
                  <a:cubicBezTo>
                    <a:pt x="2775379" y="2045647"/>
                    <a:pt x="2781738" y="2043620"/>
                    <a:pt x="2785497" y="2039735"/>
                  </a:cubicBezTo>
                  <a:cubicBezTo>
                    <a:pt x="2789256" y="2035850"/>
                    <a:pt x="2791136" y="2029431"/>
                    <a:pt x="2791136" y="2020478"/>
                  </a:cubicBezTo>
                  <a:lnTo>
                    <a:pt x="2791136" y="1985130"/>
                  </a:lnTo>
                  <a:cubicBezTo>
                    <a:pt x="2791136" y="1967985"/>
                    <a:pt x="2801280" y="1957553"/>
                    <a:pt x="2821568" y="1953837"/>
                  </a:cubicBezTo>
                  <a:lnTo>
                    <a:pt x="2821568" y="1953457"/>
                  </a:lnTo>
                  <a:cubicBezTo>
                    <a:pt x="2801280" y="1949487"/>
                    <a:pt x="2791136" y="1938972"/>
                    <a:pt x="2791136" y="1921910"/>
                  </a:cubicBezTo>
                  <a:lnTo>
                    <a:pt x="2791136" y="1886183"/>
                  </a:lnTo>
                  <a:cubicBezTo>
                    <a:pt x="2791136" y="1870388"/>
                    <a:pt x="2782898" y="1862322"/>
                    <a:pt x="2766419" y="1861985"/>
                  </a:cubicBezTo>
                  <a:close/>
                  <a:moveTo>
                    <a:pt x="2745100" y="1842347"/>
                  </a:moveTo>
                  <a:lnTo>
                    <a:pt x="2745100" y="1861985"/>
                  </a:lnTo>
                  <a:cubicBezTo>
                    <a:pt x="2728726" y="1862322"/>
                    <a:pt x="2720538" y="1870388"/>
                    <a:pt x="2720538" y="1886183"/>
                  </a:cubicBezTo>
                  <a:lnTo>
                    <a:pt x="2720538" y="1921910"/>
                  </a:lnTo>
                  <a:cubicBezTo>
                    <a:pt x="2720538" y="1938972"/>
                    <a:pt x="2710291" y="1949487"/>
                    <a:pt x="2689797" y="1953457"/>
                  </a:cubicBezTo>
                  <a:lnTo>
                    <a:pt x="2689797" y="1953837"/>
                  </a:lnTo>
                  <a:cubicBezTo>
                    <a:pt x="2710291" y="1957553"/>
                    <a:pt x="2720538" y="1967985"/>
                    <a:pt x="2720538" y="1985130"/>
                  </a:cubicBezTo>
                  <a:lnTo>
                    <a:pt x="2720538" y="2020478"/>
                  </a:lnTo>
                  <a:cubicBezTo>
                    <a:pt x="2720538" y="2029515"/>
                    <a:pt x="2722366" y="2035955"/>
                    <a:pt x="2726022" y="2039798"/>
                  </a:cubicBezTo>
                  <a:cubicBezTo>
                    <a:pt x="2729678" y="2043641"/>
                    <a:pt x="2736037" y="2045647"/>
                    <a:pt x="2745100" y="2045816"/>
                  </a:cubicBezTo>
                  <a:lnTo>
                    <a:pt x="2745100" y="2065327"/>
                  </a:lnTo>
                  <a:cubicBezTo>
                    <a:pt x="2708437" y="2064989"/>
                    <a:pt x="2690106" y="2052151"/>
                    <a:pt x="2690106" y="2026812"/>
                  </a:cubicBezTo>
                  <a:lnTo>
                    <a:pt x="2690106" y="1989438"/>
                  </a:lnTo>
                  <a:cubicBezTo>
                    <a:pt x="2690106" y="1972714"/>
                    <a:pt x="2682073" y="1963930"/>
                    <a:pt x="2666006" y="1963085"/>
                  </a:cubicBezTo>
                  <a:lnTo>
                    <a:pt x="2666006" y="1944589"/>
                  </a:lnTo>
                  <a:cubicBezTo>
                    <a:pt x="2682073" y="1943744"/>
                    <a:pt x="2690106" y="1934791"/>
                    <a:pt x="2690106" y="1917729"/>
                  </a:cubicBezTo>
                  <a:lnTo>
                    <a:pt x="2690106" y="1881368"/>
                  </a:lnTo>
                  <a:cubicBezTo>
                    <a:pt x="2690106" y="1855692"/>
                    <a:pt x="2708437" y="1842685"/>
                    <a:pt x="2745100" y="1842347"/>
                  </a:cubicBezTo>
                  <a:close/>
                  <a:moveTo>
                    <a:pt x="11472800" y="1522002"/>
                  </a:moveTo>
                  <a:cubicBezTo>
                    <a:pt x="11502700" y="1522340"/>
                    <a:pt x="11517649" y="1535347"/>
                    <a:pt x="11517649" y="1561024"/>
                  </a:cubicBezTo>
                  <a:lnTo>
                    <a:pt x="11517649" y="1597384"/>
                  </a:lnTo>
                  <a:cubicBezTo>
                    <a:pt x="11517649" y="1614446"/>
                    <a:pt x="11524195" y="1623399"/>
                    <a:pt x="11537287" y="1624244"/>
                  </a:cubicBezTo>
                  <a:lnTo>
                    <a:pt x="11537287" y="1642740"/>
                  </a:lnTo>
                  <a:cubicBezTo>
                    <a:pt x="11524195" y="1643585"/>
                    <a:pt x="11517649" y="1652369"/>
                    <a:pt x="11517649" y="1669093"/>
                  </a:cubicBezTo>
                  <a:lnTo>
                    <a:pt x="11517649" y="1706468"/>
                  </a:lnTo>
                  <a:cubicBezTo>
                    <a:pt x="11517649" y="1731806"/>
                    <a:pt x="11502700" y="1744644"/>
                    <a:pt x="11472800" y="1744982"/>
                  </a:cubicBezTo>
                  <a:lnTo>
                    <a:pt x="11472800" y="1725471"/>
                  </a:lnTo>
                  <a:cubicBezTo>
                    <a:pt x="11480148" y="1725302"/>
                    <a:pt x="11485364" y="1723275"/>
                    <a:pt x="11488447" y="1719390"/>
                  </a:cubicBezTo>
                  <a:cubicBezTo>
                    <a:pt x="11491529" y="1715505"/>
                    <a:pt x="11493071" y="1709086"/>
                    <a:pt x="11493071" y="1700133"/>
                  </a:cubicBezTo>
                  <a:lnTo>
                    <a:pt x="11493071" y="1664785"/>
                  </a:lnTo>
                  <a:cubicBezTo>
                    <a:pt x="11493071" y="1647640"/>
                    <a:pt x="11501391" y="1637209"/>
                    <a:pt x="11518030" y="1633492"/>
                  </a:cubicBezTo>
                  <a:lnTo>
                    <a:pt x="11518030" y="1633112"/>
                  </a:lnTo>
                  <a:cubicBezTo>
                    <a:pt x="11501391" y="1629142"/>
                    <a:pt x="11493071" y="1618627"/>
                    <a:pt x="11493071" y="1601565"/>
                  </a:cubicBezTo>
                  <a:lnTo>
                    <a:pt x="11493071" y="1565838"/>
                  </a:lnTo>
                  <a:cubicBezTo>
                    <a:pt x="11493071" y="1550043"/>
                    <a:pt x="11486314" y="1541977"/>
                    <a:pt x="11472800" y="1541640"/>
                  </a:cubicBezTo>
                  <a:close/>
                  <a:moveTo>
                    <a:pt x="11455316" y="1522002"/>
                  </a:moveTo>
                  <a:lnTo>
                    <a:pt x="11455316" y="1541640"/>
                  </a:lnTo>
                  <a:cubicBezTo>
                    <a:pt x="11441887" y="1541977"/>
                    <a:pt x="11435172" y="1550043"/>
                    <a:pt x="11435172" y="1565838"/>
                  </a:cubicBezTo>
                  <a:lnTo>
                    <a:pt x="11435172" y="1601565"/>
                  </a:lnTo>
                  <a:cubicBezTo>
                    <a:pt x="11435172" y="1618627"/>
                    <a:pt x="11426768" y="1629142"/>
                    <a:pt x="11409960" y="1633112"/>
                  </a:cubicBezTo>
                  <a:lnTo>
                    <a:pt x="11409960" y="1633492"/>
                  </a:lnTo>
                  <a:cubicBezTo>
                    <a:pt x="11426768" y="1637209"/>
                    <a:pt x="11435172" y="1647640"/>
                    <a:pt x="11435172" y="1664785"/>
                  </a:cubicBezTo>
                  <a:lnTo>
                    <a:pt x="11435172" y="1700133"/>
                  </a:lnTo>
                  <a:cubicBezTo>
                    <a:pt x="11435172" y="1709170"/>
                    <a:pt x="11436671" y="1715610"/>
                    <a:pt x="11439670" y="1719453"/>
                  </a:cubicBezTo>
                  <a:cubicBezTo>
                    <a:pt x="11442668" y="1723296"/>
                    <a:pt x="11447883" y="1725302"/>
                    <a:pt x="11455316" y="1725471"/>
                  </a:cubicBezTo>
                  <a:lnTo>
                    <a:pt x="11455316" y="1744982"/>
                  </a:lnTo>
                  <a:cubicBezTo>
                    <a:pt x="11425247" y="1744644"/>
                    <a:pt x="11410213" y="1731806"/>
                    <a:pt x="11410213" y="1706468"/>
                  </a:cubicBezTo>
                  <a:lnTo>
                    <a:pt x="11410213" y="1669093"/>
                  </a:lnTo>
                  <a:cubicBezTo>
                    <a:pt x="11410213" y="1652369"/>
                    <a:pt x="11403625" y="1643585"/>
                    <a:pt x="11390449" y="1642740"/>
                  </a:cubicBezTo>
                  <a:lnTo>
                    <a:pt x="11390449" y="1624244"/>
                  </a:lnTo>
                  <a:cubicBezTo>
                    <a:pt x="11403625" y="1623399"/>
                    <a:pt x="11410213" y="1614446"/>
                    <a:pt x="11410213" y="1597384"/>
                  </a:cubicBezTo>
                  <a:lnTo>
                    <a:pt x="11410213" y="1561024"/>
                  </a:lnTo>
                  <a:cubicBezTo>
                    <a:pt x="11410213" y="1535347"/>
                    <a:pt x="11425247" y="1522340"/>
                    <a:pt x="11455316" y="1522002"/>
                  </a:cubicBezTo>
                  <a:close/>
                  <a:moveTo>
                    <a:pt x="8115172" y="1522002"/>
                  </a:moveTo>
                  <a:cubicBezTo>
                    <a:pt x="8145072" y="1522340"/>
                    <a:pt x="8160021" y="1535347"/>
                    <a:pt x="8160021" y="1561024"/>
                  </a:cubicBezTo>
                  <a:lnTo>
                    <a:pt x="8160021" y="1597384"/>
                  </a:lnTo>
                  <a:cubicBezTo>
                    <a:pt x="8160021" y="1614446"/>
                    <a:pt x="8166567" y="1623399"/>
                    <a:pt x="8179659" y="1624244"/>
                  </a:cubicBezTo>
                  <a:lnTo>
                    <a:pt x="8179659" y="1642741"/>
                  </a:lnTo>
                  <a:cubicBezTo>
                    <a:pt x="8166567" y="1643586"/>
                    <a:pt x="8160021" y="1652369"/>
                    <a:pt x="8160021" y="1669093"/>
                  </a:cubicBezTo>
                  <a:lnTo>
                    <a:pt x="8160021" y="1706468"/>
                  </a:lnTo>
                  <a:cubicBezTo>
                    <a:pt x="8160021" y="1731806"/>
                    <a:pt x="8145072" y="1744644"/>
                    <a:pt x="8115172" y="1744982"/>
                  </a:cubicBezTo>
                  <a:lnTo>
                    <a:pt x="8115172" y="1725471"/>
                  </a:lnTo>
                  <a:cubicBezTo>
                    <a:pt x="8122521" y="1725302"/>
                    <a:pt x="8127736" y="1723276"/>
                    <a:pt x="8130819" y="1719390"/>
                  </a:cubicBezTo>
                  <a:cubicBezTo>
                    <a:pt x="8133901" y="1715505"/>
                    <a:pt x="8135443" y="1709086"/>
                    <a:pt x="8135443" y="1700133"/>
                  </a:cubicBezTo>
                  <a:lnTo>
                    <a:pt x="8135443" y="1664786"/>
                  </a:lnTo>
                  <a:cubicBezTo>
                    <a:pt x="8135443" y="1647640"/>
                    <a:pt x="8143763" y="1637209"/>
                    <a:pt x="8160402" y="1633492"/>
                  </a:cubicBezTo>
                  <a:lnTo>
                    <a:pt x="8160402" y="1633112"/>
                  </a:lnTo>
                  <a:cubicBezTo>
                    <a:pt x="8143763" y="1629142"/>
                    <a:pt x="8135443" y="1618627"/>
                    <a:pt x="8135443" y="1601565"/>
                  </a:cubicBezTo>
                  <a:lnTo>
                    <a:pt x="8135443" y="1565838"/>
                  </a:lnTo>
                  <a:cubicBezTo>
                    <a:pt x="8135443" y="1550044"/>
                    <a:pt x="8128686" y="1541977"/>
                    <a:pt x="8115172" y="1541640"/>
                  </a:cubicBezTo>
                  <a:close/>
                  <a:moveTo>
                    <a:pt x="8097688" y="1522002"/>
                  </a:moveTo>
                  <a:lnTo>
                    <a:pt x="8097688" y="1541640"/>
                  </a:lnTo>
                  <a:cubicBezTo>
                    <a:pt x="8084259" y="1541977"/>
                    <a:pt x="8077544" y="1550044"/>
                    <a:pt x="8077544" y="1565838"/>
                  </a:cubicBezTo>
                  <a:lnTo>
                    <a:pt x="8077544" y="1601565"/>
                  </a:lnTo>
                  <a:cubicBezTo>
                    <a:pt x="8077544" y="1618627"/>
                    <a:pt x="8069140" y="1629142"/>
                    <a:pt x="8052332" y="1633112"/>
                  </a:cubicBezTo>
                  <a:lnTo>
                    <a:pt x="8052332" y="1633492"/>
                  </a:lnTo>
                  <a:cubicBezTo>
                    <a:pt x="8069140" y="1637209"/>
                    <a:pt x="8077544" y="1647640"/>
                    <a:pt x="8077544" y="1664786"/>
                  </a:cubicBezTo>
                  <a:lnTo>
                    <a:pt x="8077544" y="1700133"/>
                  </a:lnTo>
                  <a:cubicBezTo>
                    <a:pt x="8077544" y="1709170"/>
                    <a:pt x="8079043" y="1715610"/>
                    <a:pt x="8082042" y="1719453"/>
                  </a:cubicBezTo>
                  <a:cubicBezTo>
                    <a:pt x="8085040" y="1723296"/>
                    <a:pt x="8090256" y="1725302"/>
                    <a:pt x="8097688" y="1725471"/>
                  </a:cubicBezTo>
                  <a:lnTo>
                    <a:pt x="8097688" y="1744982"/>
                  </a:lnTo>
                  <a:cubicBezTo>
                    <a:pt x="8067620" y="1744644"/>
                    <a:pt x="8052586" y="1731806"/>
                    <a:pt x="8052586" y="1706468"/>
                  </a:cubicBezTo>
                  <a:lnTo>
                    <a:pt x="8052586" y="1669093"/>
                  </a:lnTo>
                  <a:cubicBezTo>
                    <a:pt x="8052586" y="1652369"/>
                    <a:pt x="8045997" y="1643586"/>
                    <a:pt x="8032821" y="1642741"/>
                  </a:cubicBezTo>
                  <a:lnTo>
                    <a:pt x="8032821" y="1624244"/>
                  </a:lnTo>
                  <a:cubicBezTo>
                    <a:pt x="8045997" y="1623399"/>
                    <a:pt x="8052586" y="1614446"/>
                    <a:pt x="8052586" y="1597384"/>
                  </a:cubicBezTo>
                  <a:lnTo>
                    <a:pt x="8052586" y="1561024"/>
                  </a:lnTo>
                  <a:cubicBezTo>
                    <a:pt x="8052586" y="1535347"/>
                    <a:pt x="8067620" y="1522340"/>
                    <a:pt x="8097688" y="1522002"/>
                  </a:cubicBezTo>
                  <a:close/>
                  <a:moveTo>
                    <a:pt x="5416747" y="1522002"/>
                  </a:moveTo>
                  <a:cubicBezTo>
                    <a:pt x="5446648" y="1522340"/>
                    <a:pt x="5461597" y="1535347"/>
                    <a:pt x="5461597" y="1561024"/>
                  </a:cubicBezTo>
                  <a:lnTo>
                    <a:pt x="5461597" y="1597384"/>
                  </a:lnTo>
                  <a:cubicBezTo>
                    <a:pt x="5461597" y="1614446"/>
                    <a:pt x="5468143" y="1623399"/>
                    <a:pt x="5481234" y="1624244"/>
                  </a:cubicBezTo>
                  <a:lnTo>
                    <a:pt x="5481234" y="1642740"/>
                  </a:lnTo>
                  <a:cubicBezTo>
                    <a:pt x="5468143" y="1643585"/>
                    <a:pt x="5461597" y="1652369"/>
                    <a:pt x="5461597" y="1669093"/>
                  </a:cubicBezTo>
                  <a:lnTo>
                    <a:pt x="5461597" y="1706468"/>
                  </a:lnTo>
                  <a:cubicBezTo>
                    <a:pt x="5461597" y="1731806"/>
                    <a:pt x="5446648" y="1744644"/>
                    <a:pt x="5416747" y="1744982"/>
                  </a:cubicBezTo>
                  <a:lnTo>
                    <a:pt x="5416747" y="1725471"/>
                  </a:lnTo>
                  <a:cubicBezTo>
                    <a:pt x="5424096" y="1725302"/>
                    <a:pt x="5429311" y="1723275"/>
                    <a:pt x="5432394" y="1719390"/>
                  </a:cubicBezTo>
                  <a:cubicBezTo>
                    <a:pt x="5435478" y="1715505"/>
                    <a:pt x="5437018" y="1709086"/>
                    <a:pt x="5437018" y="1700133"/>
                  </a:cubicBezTo>
                  <a:lnTo>
                    <a:pt x="5437018" y="1664785"/>
                  </a:lnTo>
                  <a:cubicBezTo>
                    <a:pt x="5437018" y="1647640"/>
                    <a:pt x="5445338" y="1637209"/>
                    <a:pt x="5461977" y="1633492"/>
                  </a:cubicBezTo>
                  <a:lnTo>
                    <a:pt x="5461977" y="1633112"/>
                  </a:lnTo>
                  <a:cubicBezTo>
                    <a:pt x="5445338" y="1629142"/>
                    <a:pt x="5437018" y="1618627"/>
                    <a:pt x="5437018" y="1601565"/>
                  </a:cubicBezTo>
                  <a:lnTo>
                    <a:pt x="5437018" y="1565838"/>
                  </a:lnTo>
                  <a:cubicBezTo>
                    <a:pt x="5437018" y="1550043"/>
                    <a:pt x="5430261" y="1541977"/>
                    <a:pt x="5416747" y="1541640"/>
                  </a:cubicBezTo>
                  <a:close/>
                  <a:moveTo>
                    <a:pt x="5399263" y="1522002"/>
                  </a:moveTo>
                  <a:lnTo>
                    <a:pt x="5399263" y="1541640"/>
                  </a:lnTo>
                  <a:cubicBezTo>
                    <a:pt x="5385834" y="1541977"/>
                    <a:pt x="5379119" y="1550043"/>
                    <a:pt x="5379119" y="1565838"/>
                  </a:cubicBezTo>
                  <a:lnTo>
                    <a:pt x="5379119" y="1601565"/>
                  </a:lnTo>
                  <a:cubicBezTo>
                    <a:pt x="5379119" y="1618627"/>
                    <a:pt x="5370715" y="1629142"/>
                    <a:pt x="5353907" y="1633112"/>
                  </a:cubicBezTo>
                  <a:lnTo>
                    <a:pt x="5353907" y="1633492"/>
                  </a:lnTo>
                  <a:cubicBezTo>
                    <a:pt x="5370715" y="1637209"/>
                    <a:pt x="5379119" y="1647640"/>
                    <a:pt x="5379119" y="1664785"/>
                  </a:cubicBezTo>
                  <a:lnTo>
                    <a:pt x="5379119" y="1700133"/>
                  </a:lnTo>
                  <a:cubicBezTo>
                    <a:pt x="5379119" y="1709170"/>
                    <a:pt x="5380618" y="1715610"/>
                    <a:pt x="5383617" y="1719453"/>
                  </a:cubicBezTo>
                  <a:cubicBezTo>
                    <a:pt x="5386615" y="1723296"/>
                    <a:pt x="5391831" y="1725302"/>
                    <a:pt x="5399263" y="1725471"/>
                  </a:cubicBezTo>
                  <a:lnTo>
                    <a:pt x="5399263" y="1744982"/>
                  </a:lnTo>
                  <a:cubicBezTo>
                    <a:pt x="5369195" y="1744644"/>
                    <a:pt x="5354161" y="1731806"/>
                    <a:pt x="5354161" y="1706468"/>
                  </a:cubicBezTo>
                  <a:lnTo>
                    <a:pt x="5354161" y="1669093"/>
                  </a:lnTo>
                  <a:cubicBezTo>
                    <a:pt x="5354161" y="1652369"/>
                    <a:pt x="5347572" y="1643585"/>
                    <a:pt x="5334396" y="1642740"/>
                  </a:cubicBezTo>
                  <a:lnTo>
                    <a:pt x="5334396" y="1624244"/>
                  </a:lnTo>
                  <a:cubicBezTo>
                    <a:pt x="5347572" y="1623399"/>
                    <a:pt x="5354161" y="1614446"/>
                    <a:pt x="5354161" y="1597384"/>
                  </a:cubicBezTo>
                  <a:lnTo>
                    <a:pt x="5354161" y="1561024"/>
                  </a:lnTo>
                  <a:cubicBezTo>
                    <a:pt x="5354161" y="1535347"/>
                    <a:pt x="5369195" y="1522340"/>
                    <a:pt x="5399263" y="1522002"/>
                  </a:cubicBezTo>
                  <a:close/>
                  <a:moveTo>
                    <a:pt x="2059120" y="1522002"/>
                  </a:moveTo>
                  <a:cubicBezTo>
                    <a:pt x="2089020" y="1522340"/>
                    <a:pt x="2103970" y="1535347"/>
                    <a:pt x="2103970" y="1561024"/>
                  </a:cubicBezTo>
                  <a:lnTo>
                    <a:pt x="2103970" y="1597384"/>
                  </a:lnTo>
                  <a:cubicBezTo>
                    <a:pt x="2103970" y="1614446"/>
                    <a:pt x="2110515" y="1623399"/>
                    <a:pt x="2123607" y="1624244"/>
                  </a:cubicBezTo>
                  <a:lnTo>
                    <a:pt x="2123607" y="1642740"/>
                  </a:lnTo>
                  <a:cubicBezTo>
                    <a:pt x="2110515" y="1643585"/>
                    <a:pt x="2103970" y="1652369"/>
                    <a:pt x="2103970" y="1669093"/>
                  </a:cubicBezTo>
                  <a:lnTo>
                    <a:pt x="2103970" y="1706468"/>
                  </a:lnTo>
                  <a:cubicBezTo>
                    <a:pt x="2103970" y="1731806"/>
                    <a:pt x="2089020" y="1744644"/>
                    <a:pt x="2059120" y="1744982"/>
                  </a:cubicBezTo>
                  <a:lnTo>
                    <a:pt x="2059120" y="1725471"/>
                  </a:lnTo>
                  <a:cubicBezTo>
                    <a:pt x="2066469" y="1725302"/>
                    <a:pt x="2071683" y="1723275"/>
                    <a:pt x="2074767" y="1719390"/>
                  </a:cubicBezTo>
                  <a:cubicBezTo>
                    <a:pt x="2077850" y="1715505"/>
                    <a:pt x="2079391" y="1709086"/>
                    <a:pt x="2079391" y="1700133"/>
                  </a:cubicBezTo>
                  <a:lnTo>
                    <a:pt x="2079391" y="1664785"/>
                  </a:lnTo>
                  <a:cubicBezTo>
                    <a:pt x="2079391" y="1647640"/>
                    <a:pt x="2087711" y="1637209"/>
                    <a:pt x="2104351" y="1633492"/>
                  </a:cubicBezTo>
                  <a:lnTo>
                    <a:pt x="2104351" y="1633112"/>
                  </a:lnTo>
                  <a:cubicBezTo>
                    <a:pt x="2087711" y="1629142"/>
                    <a:pt x="2079391" y="1618627"/>
                    <a:pt x="2079391" y="1601565"/>
                  </a:cubicBezTo>
                  <a:lnTo>
                    <a:pt x="2079391" y="1565838"/>
                  </a:lnTo>
                  <a:cubicBezTo>
                    <a:pt x="2079391" y="1550043"/>
                    <a:pt x="2072634" y="1541977"/>
                    <a:pt x="2059120" y="1541640"/>
                  </a:cubicBezTo>
                  <a:close/>
                  <a:moveTo>
                    <a:pt x="2041636" y="1522002"/>
                  </a:moveTo>
                  <a:lnTo>
                    <a:pt x="2041636" y="1541640"/>
                  </a:lnTo>
                  <a:cubicBezTo>
                    <a:pt x="2028207" y="1541977"/>
                    <a:pt x="2021492" y="1550043"/>
                    <a:pt x="2021492" y="1565838"/>
                  </a:cubicBezTo>
                  <a:lnTo>
                    <a:pt x="2021492" y="1601565"/>
                  </a:lnTo>
                  <a:cubicBezTo>
                    <a:pt x="2021492" y="1618627"/>
                    <a:pt x="2013088" y="1629142"/>
                    <a:pt x="1996279" y="1633112"/>
                  </a:cubicBezTo>
                  <a:lnTo>
                    <a:pt x="1996279" y="1633492"/>
                  </a:lnTo>
                  <a:cubicBezTo>
                    <a:pt x="2013088" y="1637209"/>
                    <a:pt x="2021492" y="1647640"/>
                    <a:pt x="2021492" y="1664785"/>
                  </a:cubicBezTo>
                  <a:lnTo>
                    <a:pt x="2021492" y="1700133"/>
                  </a:lnTo>
                  <a:cubicBezTo>
                    <a:pt x="2021492" y="1709170"/>
                    <a:pt x="2022991" y="1715610"/>
                    <a:pt x="2025990" y="1719453"/>
                  </a:cubicBezTo>
                  <a:cubicBezTo>
                    <a:pt x="2028989" y="1723296"/>
                    <a:pt x="2034204" y="1725302"/>
                    <a:pt x="2041636" y="1725471"/>
                  </a:cubicBezTo>
                  <a:lnTo>
                    <a:pt x="2041636" y="1744982"/>
                  </a:lnTo>
                  <a:cubicBezTo>
                    <a:pt x="2011568" y="1744644"/>
                    <a:pt x="1996534" y="1731806"/>
                    <a:pt x="1996534" y="1706468"/>
                  </a:cubicBezTo>
                  <a:lnTo>
                    <a:pt x="1996534" y="1669093"/>
                  </a:lnTo>
                  <a:cubicBezTo>
                    <a:pt x="1996534" y="1652369"/>
                    <a:pt x="1989945" y="1643585"/>
                    <a:pt x="1976769" y="1642740"/>
                  </a:cubicBezTo>
                  <a:lnTo>
                    <a:pt x="1976769" y="1624244"/>
                  </a:lnTo>
                  <a:cubicBezTo>
                    <a:pt x="1989945" y="1623399"/>
                    <a:pt x="1996534" y="1614446"/>
                    <a:pt x="1996534" y="1597384"/>
                  </a:cubicBezTo>
                  <a:lnTo>
                    <a:pt x="1996534" y="1561024"/>
                  </a:lnTo>
                  <a:cubicBezTo>
                    <a:pt x="1996534" y="1535347"/>
                    <a:pt x="2011568" y="1522340"/>
                    <a:pt x="2041636" y="1522002"/>
                  </a:cubicBezTo>
                  <a:close/>
                  <a:moveTo>
                    <a:pt x="8329710" y="1297433"/>
                  </a:moveTo>
                  <a:lnTo>
                    <a:pt x="8319248" y="1345562"/>
                  </a:lnTo>
                  <a:lnTo>
                    <a:pt x="8361971" y="1345562"/>
                  </a:lnTo>
                  <a:lnTo>
                    <a:pt x="8372259" y="1297433"/>
                  </a:lnTo>
                  <a:close/>
                  <a:moveTo>
                    <a:pt x="2266464" y="1297433"/>
                  </a:moveTo>
                  <a:lnTo>
                    <a:pt x="2256002" y="1345562"/>
                  </a:lnTo>
                  <a:lnTo>
                    <a:pt x="2298725" y="1345562"/>
                  </a:lnTo>
                  <a:lnTo>
                    <a:pt x="2309012" y="1297433"/>
                  </a:lnTo>
                  <a:close/>
                  <a:moveTo>
                    <a:pt x="3671901" y="1208699"/>
                  </a:moveTo>
                  <a:cubicBezTo>
                    <a:pt x="3701800" y="1209037"/>
                    <a:pt x="3716748" y="1222044"/>
                    <a:pt x="3716748" y="1247720"/>
                  </a:cubicBezTo>
                  <a:lnTo>
                    <a:pt x="3716748" y="1284081"/>
                  </a:lnTo>
                  <a:cubicBezTo>
                    <a:pt x="3716748" y="1301143"/>
                    <a:pt x="3723295" y="1310096"/>
                    <a:pt x="3736386" y="1310941"/>
                  </a:cubicBezTo>
                  <a:lnTo>
                    <a:pt x="3736386" y="1329437"/>
                  </a:lnTo>
                  <a:cubicBezTo>
                    <a:pt x="3723295" y="1330282"/>
                    <a:pt x="3716748" y="1339066"/>
                    <a:pt x="3716748" y="1355790"/>
                  </a:cubicBezTo>
                  <a:lnTo>
                    <a:pt x="3716748" y="1393165"/>
                  </a:lnTo>
                  <a:cubicBezTo>
                    <a:pt x="3716748" y="1418503"/>
                    <a:pt x="3701800" y="1431341"/>
                    <a:pt x="3671901" y="1431679"/>
                  </a:cubicBezTo>
                  <a:lnTo>
                    <a:pt x="3671901" y="1412168"/>
                  </a:lnTo>
                  <a:cubicBezTo>
                    <a:pt x="3679247" y="1411999"/>
                    <a:pt x="3684463" y="1409972"/>
                    <a:pt x="3687546" y="1406087"/>
                  </a:cubicBezTo>
                  <a:cubicBezTo>
                    <a:pt x="3690629" y="1402202"/>
                    <a:pt x="3692171" y="1395783"/>
                    <a:pt x="3692171" y="1386830"/>
                  </a:cubicBezTo>
                  <a:lnTo>
                    <a:pt x="3692171" y="1351482"/>
                  </a:lnTo>
                  <a:cubicBezTo>
                    <a:pt x="3692171" y="1334337"/>
                    <a:pt x="3700490" y="1323905"/>
                    <a:pt x="3717130" y="1320189"/>
                  </a:cubicBezTo>
                  <a:lnTo>
                    <a:pt x="3717130" y="1319809"/>
                  </a:lnTo>
                  <a:cubicBezTo>
                    <a:pt x="3700490" y="1315839"/>
                    <a:pt x="3692171" y="1305324"/>
                    <a:pt x="3692171" y="1288262"/>
                  </a:cubicBezTo>
                  <a:lnTo>
                    <a:pt x="3692171" y="1252535"/>
                  </a:lnTo>
                  <a:cubicBezTo>
                    <a:pt x="3692171" y="1236740"/>
                    <a:pt x="3685413" y="1228674"/>
                    <a:pt x="3671901" y="1228337"/>
                  </a:cubicBezTo>
                  <a:close/>
                  <a:moveTo>
                    <a:pt x="3654416" y="1208699"/>
                  </a:moveTo>
                  <a:lnTo>
                    <a:pt x="3654416" y="1228337"/>
                  </a:lnTo>
                  <a:cubicBezTo>
                    <a:pt x="3640987" y="1228674"/>
                    <a:pt x="3634271" y="1236740"/>
                    <a:pt x="3634271" y="1252535"/>
                  </a:cubicBezTo>
                  <a:lnTo>
                    <a:pt x="3634271" y="1288262"/>
                  </a:lnTo>
                  <a:cubicBezTo>
                    <a:pt x="3634271" y="1305324"/>
                    <a:pt x="3625867" y="1315839"/>
                    <a:pt x="3609059" y="1319809"/>
                  </a:cubicBezTo>
                  <a:lnTo>
                    <a:pt x="3609059" y="1320189"/>
                  </a:lnTo>
                  <a:cubicBezTo>
                    <a:pt x="3625867" y="1323905"/>
                    <a:pt x="3634271" y="1334337"/>
                    <a:pt x="3634271" y="1351482"/>
                  </a:cubicBezTo>
                  <a:lnTo>
                    <a:pt x="3634271" y="1386830"/>
                  </a:lnTo>
                  <a:cubicBezTo>
                    <a:pt x="3634271" y="1395867"/>
                    <a:pt x="3635771" y="1402307"/>
                    <a:pt x="3638770" y="1406150"/>
                  </a:cubicBezTo>
                  <a:cubicBezTo>
                    <a:pt x="3641767" y="1409993"/>
                    <a:pt x="3646984" y="1411999"/>
                    <a:pt x="3654416" y="1412168"/>
                  </a:cubicBezTo>
                  <a:lnTo>
                    <a:pt x="3654416" y="1431679"/>
                  </a:lnTo>
                  <a:cubicBezTo>
                    <a:pt x="3624346" y="1431341"/>
                    <a:pt x="3609313" y="1418503"/>
                    <a:pt x="3609313" y="1393165"/>
                  </a:cubicBezTo>
                  <a:lnTo>
                    <a:pt x="3609313" y="1355790"/>
                  </a:lnTo>
                  <a:cubicBezTo>
                    <a:pt x="3609313" y="1339066"/>
                    <a:pt x="3602725" y="1330282"/>
                    <a:pt x="3589548" y="1329437"/>
                  </a:cubicBezTo>
                  <a:lnTo>
                    <a:pt x="3589548" y="1310941"/>
                  </a:lnTo>
                  <a:cubicBezTo>
                    <a:pt x="3602725" y="1310096"/>
                    <a:pt x="3609313" y="1301143"/>
                    <a:pt x="3609313" y="1284081"/>
                  </a:cubicBezTo>
                  <a:lnTo>
                    <a:pt x="3609313" y="1247720"/>
                  </a:lnTo>
                  <a:cubicBezTo>
                    <a:pt x="3609313" y="1222044"/>
                    <a:pt x="3624346" y="1209037"/>
                    <a:pt x="3654416" y="1208699"/>
                  </a:cubicBezTo>
                  <a:close/>
                  <a:moveTo>
                    <a:pt x="8320643" y="1205882"/>
                  </a:moveTo>
                  <a:lnTo>
                    <a:pt x="8348718" y="1205882"/>
                  </a:lnTo>
                  <a:lnTo>
                    <a:pt x="8334942" y="1273019"/>
                  </a:lnTo>
                  <a:lnTo>
                    <a:pt x="8377142" y="1273019"/>
                  </a:lnTo>
                  <a:lnTo>
                    <a:pt x="8391441" y="1205882"/>
                  </a:lnTo>
                  <a:lnTo>
                    <a:pt x="8418994" y="1205882"/>
                  </a:lnTo>
                  <a:lnTo>
                    <a:pt x="8405043" y="1273019"/>
                  </a:lnTo>
                  <a:lnTo>
                    <a:pt x="8444802" y="1273019"/>
                  </a:lnTo>
                  <a:lnTo>
                    <a:pt x="8439396" y="1297433"/>
                  </a:lnTo>
                  <a:lnTo>
                    <a:pt x="8399812" y="1297433"/>
                  </a:lnTo>
                  <a:lnTo>
                    <a:pt x="8389698" y="1345562"/>
                  </a:lnTo>
                  <a:lnTo>
                    <a:pt x="8432944" y="1345562"/>
                  </a:lnTo>
                  <a:lnTo>
                    <a:pt x="8426840" y="1369975"/>
                  </a:lnTo>
                  <a:lnTo>
                    <a:pt x="8384641" y="1369975"/>
                  </a:lnTo>
                  <a:lnTo>
                    <a:pt x="8370341" y="1434496"/>
                  </a:lnTo>
                  <a:lnTo>
                    <a:pt x="8342614" y="1434496"/>
                  </a:lnTo>
                  <a:lnTo>
                    <a:pt x="8356565" y="1369975"/>
                  </a:lnTo>
                  <a:lnTo>
                    <a:pt x="8314365" y="1369975"/>
                  </a:lnTo>
                  <a:lnTo>
                    <a:pt x="8300763" y="1434496"/>
                  </a:lnTo>
                  <a:lnTo>
                    <a:pt x="8273037" y="1434496"/>
                  </a:lnTo>
                  <a:lnTo>
                    <a:pt x="8286638" y="1369975"/>
                  </a:lnTo>
                  <a:lnTo>
                    <a:pt x="8246705" y="1369975"/>
                  </a:lnTo>
                  <a:lnTo>
                    <a:pt x="8251587" y="1345562"/>
                  </a:lnTo>
                  <a:lnTo>
                    <a:pt x="8292044" y="1345562"/>
                  </a:lnTo>
                  <a:lnTo>
                    <a:pt x="8301635" y="1297433"/>
                  </a:lnTo>
                  <a:lnTo>
                    <a:pt x="8259086" y="1297433"/>
                  </a:lnTo>
                  <a:lnTo>
                    <a:pt x="8264143" y="1273019"/>
                  </a:lnTo>
                  <a:lnTo>
                    <a:pt x="8306692" y="1273019"/>
                  </a:lnTo>
                  <a:close/>
                  <a:moveTo>
                    <a:pt x="2257398" y="1205882"/>
                  </a:moveTo>
                  <a:lnTo>
                    <a:pt x="2285472" y="1205882"/>
                  </a:lnTo>
                  <a:lnTo>
                    <a:pt x="2271696" y="1273019"/>
                  </a:lnTo>
                  <a:lnTo>
                    <a:pt x="2313896" y="1273019"/>
                  </a:lnTo>
                  <a:lnTo>
                    <a:pt x="2328196" y="1205882"/>
                  </a:lnTo>
                  <a:lnTo>
                    <a:pt x="2355748" y="1205882"/>
                  </a:lnTo>
                  <a:lnTo>
                    <a:pt x="2341797" y="1273019"/>
                  </a:lnTo>
                  <a:lnTo>
                    <a:pt x="2381556" y="1273019"/>
                  </a:lnTo>
                  <a:lnTo>
                    <a:pt x="2376151" y="1297433"/>
                  </a:lnTo>
                  <a:lnTo>
                    <a:pt x="2336566" y="1297433"/>
                  </a:lnTo>
                  <a:lnTo>
                    <a:pt x="2326453" y="1345562"/>
                  </a:lnTo>
                  <a:lnTo>
                    <a:pt x="2369698" y="1345562"/>
                  </a:lnTo>
                  <a:lnTo>
                    <a:pt x="2363595" y="1369975"/>
                  </a:lnTo>
                  <a:lnTo>
                    <a:pt x="2321395" y="1369975"/>
                  </a:lnTo>
                  <a:lnTo>
                    <a:pt x="2307095" y="1434496"/>
                  </a:lnTo>
                  <a:lnTo>
                    <a:pt x="2279369" y="1434496"/>
                  </a:lnTo>
                  <a:lnTo>
                    <a:pt x="2293320" y="1369975"/>
                  </a:lnTo>
                  <a:lnTo>
                    <a:pt x="2251119" y="1369975"/>
                  </a:lnTo>
                  <a:lnTo>
                    <a:pt x="2237517" y="1434496"/>
                  </a:lnTo>
                  <a:lnTo>
                    <a:pt x="2209792" y="1434496"/>
                  </a:lnTo>
                  <a:lnTo>
                    <a:pt x="2223393" y="1369975"/>
                  </a:lnTo>
                  <a:lnTo>
                    <a:pt x="2183459" y="1369975"/>
                  </a:lnTo>
                  <a:lnTo>
                    <a:pt x="2188342" y="1345562"/>
                  </a:lnTo>
                  <a:lnTo>
                    <a:pt x="2228798" y="1345562"/>
                  </a:lnTo>
                  <a:lnTo>
                    <a:pt x="2238389" y="1297433"/>
                  </a:lnTo>
                  <a:lnTo>
                    <a:pt x="2195840" y="1297433"/>
                  </a:lnTo>
                  <a:lnTo>
                    <a:pt x="2200897" y="1273019"/>
                  </a:lnTo>
                  <a:lnTo>
                    <a:pt x="2243446" y="1273019"/>
                  </a:lnTo>
                  <a:close/>
                  <a:moveTo>
                    <a:pt x="10889585" y="911255"/>
                  </a:moveTo>
                  <a:cubicBezTo>
                    <a:pt x="10926042" y="911593"/>
                    <a:pt x="10944271" y="924600"/>
                    <a:pt x="10944271" y="950276"/>
                  </a:cubicBezTo>
                  <a:lnTo>
                    <a:pt x="10944271" y="986637"/>
                  </a:lnTo>
                  <a:cubicBezTo>
                    <a:pt x="10944271" y="1003699"/>
                    <a:pt x="10952252" y="1012652"/>
                    <a:pt x="10968215" y="1013497"/>
                  </a:cubicBezTo>
                  <a:lnTo>
                    <a:pt x="10968215" y="1031993"/>
                  </a:lnTo>
                  <a:cubicBezTo>
                    <a:pt x="10952252" y="1032838"/>
                    <a:pt x="10944271" y="1041622"/>
                    <a:pt x="10944271" y="1058346"/>
                  </a:cubicBezTo>
                  <a:lnTo>
                    <a:pt x="10944271" y="1095721"/>
                  </a:lnTo>
                  <a:cubicBezTo>
                    <a:pt x="10944271" y="1121059"/>
                    <a:pt x="10926042" y="1133897"/>
                    <a:pt x="10889585" y="1134235"/>
                  </a:cubicBezTo>
                  <a:lnTo>
                    <a:pt x="10889585" y="1114724"/>
                  </a:lnTo>
                  <a:cubicBezTo>
                    <a:pt x="10898545" y="1114555"/>
                    <a:pt x="10904904" y="1112528"/>
                    <a:pt x="10908663" y="1108643"/>
                  </a:cubicBezTo>
                  <a:cubicBezTo>
                    <a:pt x="10912422" y="1104758"/>
                    <a:pt x="10914302" y="1098339"/>
                    <a:pt x="10914302" y="1089386"/>
                  </a:cubicBezTo>
                  <a:lnTo>
                    <a:pt x="10914302" y="1054038"/>
                  </a:lnTo>
                  <a:cubicBezTo>
                    <a:pt x="10914302" y="1036893"/>
                    <a:pt x="10924446" y="1026461"/>
                    <a:pt x="10944734" y="1022745"/>
                  </a:cubicBezTo>
                  <a:lnTo>
                    <a:pt x="10944734" y="1022365"/>
                  </a:lnTo>
                  <a:cubicBezTo>
                    <a:pt x="10924446" y="1018395"/>
                    <a:pt x="10914302" y="1007880"/>
                    <a:pt x="10914302" y="990818"/>
                  </a:cubicBezTo>
                  <a:lnTo>
                    <a:pt x="10914302" y="955091"/>
                  </a:lnTo>
                  <a:cubicBezTo>
                    <a:pt x="10914302" y="939296"/>
                    <a:pt x="10906063" y="931230"/>
                    <a:pt x="10889585" y="930893"/>
                  </a:cubicBezTo>
                  <a:close/>
                  <a:moveTo>
                    <a:pt x="10868266" y="911255"/>
                  </a:moveTo>
                  <a:lnTo>
                    <a:pt x="10868266" y="930893"/>
                  </a:lnTo>
                  <a:cubicBezTo>
                    <a:pt x="10851892" y="931230"/>
                    <a:pt x="10843704" y="939296"/>
                    <a:pt x="10843704" y="955091"/>
                  </a:cubicBezTo>
                  <a:lnTo>
                    <a:pt x="10843704" y="990818"/>
                  </a:lnTo>
                  <a:cubicBezTo>
                    <a:pt x="10843704" y="1007880"/>
                    <a:pt x="10833457" y="1018395"/>
                    <a:pt x="10812963" y="1022365"/>
                  </a:cubicBezTo>
                  <a:lnTo>
                    <a:pt x="10812963" y="1022745"/>
                  </a:lnTo>
                  <a:cubicBezTo>
                    <a:pt x="10833457" y="1026461"/>
                    <a:pt x="10843704" y="1036893"/>
                    <a:pt x="10843704" y="1054038"/>
                  </a:cubicBezTo>
                  <a:lnTo>
                    <a:pt x="10843704" y="1089386"/>
                  </a:lnTo>
                  <a:cubicBezTo>
                    <a:pt x="10843704" y="1098423"/>
                    <a:pt x="10845532" y="1104863"/>
                    <a:pt x="10849188" y="1108706"/>
                  </a:cubicBezTo>
                  <a:cubicBezTo>
                    <a:pt x="10852844" y="1112549"/>
                    <a:pt x="10859204" y="1114555"/>
                    <a:pt x="10868266" y="1114724"/>
                  </a:cubicBezTo>
                  <a:lnTo>
                    <a:pt x="10868266" y="1134235"/>
                  </a:lnTo>
                  <a:cubicBezTo>
                    <a:pt x="10831603" y="1133897"/>
                    <a:pt x="10813272" y="1121059"/>
                    <a:pt x="10813272" y="1095721"/>
                  </a:cubicBezTo>
                  <a:lnTo>
                    <a:pt x="10813272" y="1058346"/>
                  </a:lnTo>
                  <a:cubicBezTo>
                    <a:pt x="10813272" y="1041622"/>
                    <a:pt x="10805239" y="1032838"/>
                    <a:pt x="10789173" y="1031993"/>
                  </a:cubicBezTo>
                  <a:lnTo>
                    <a:pt x="10789173" y="1013497"/>
                  </a:lnTo>
                  <a:cubicBezTo>
                    <a:pt x="10805239" y="1012652"/>
                    <a:pt x="10813272" y="1003699"/>
                    <a:pt x="10813272" y="986637"/>
                  </a:cubicBezTo>
                  <a:lnTo>
                    <a:pt x="10813272" y="950276"/>
                  </a:lnTo>
                  <a:cubicBezTo>
                    <a:pt x="10813272" y="924600"/>
                    <a:pt x="10831603" y="911593"/>
                    <a:pt x="10868266" y="911255"/>
                  </a:cubicBezTo>
                  <a:close/>
                  <a:moveTo>
                    <a:pt x="8383679" y="911255"/>
                  </a:moveTo>
                  <a:cubicBezTo>
                    <a:pt x="8420136" y="911593"/>
                    <a:pt x="8438365" y="924600"/>
                    <a:pt x="8438365" y="950276"/>
                  </a:cubicBezTo>
                  <a:lnTo>
                    <a:pt x="8438365" y="986637"/>
                  </a:lnTo>
                  <a:cubicBezTo>
                    <a:pt x="8438365" y="1003699"/>
                    <a:pt x="8446346" y="1012652"/>
                    <a:pt x="8462309" y="1013497"/>
                  </a:cubicBezTo>
                  <a:lnTo>
                    <a:pt x="8462309" y="1031993"/>
                  </a:lnTo>
                  <a:cubicBezTo>
                    <a:pt x="8446346" y="1032838"/>
                    <a:pt x="8438365" y="1041622"/>
                    <a:pt x="8438365" y="1058346"/>
                  </a:cubicBezTo>
                  <a:lnTo>
                    <a:pt x="8438365" y="1095721"/>
                  </a:lnTo>
                  <a:cubicBezTo>
                    <a:pt x="8438365" y="1121059"/>
                    <a:pt x="8420136" y="1133897"/>
                    <a:pt x="8383679" y="1134235"/>
                  </a:cubicBezTo>
                  <a:lnTo>
                    <a:pt x="8383679" y="1114724"/>
                  </a:lnTo>
                  <a:cubicBezTo>
                    <a:pt x="8392639" y="1114555"/>
                    <a:pt x="8398998" y="1112528"/>
                    <a:pt x="8402757" y="1108643"/>
                  </a:cubicBezTo>
                  <a:cubicBezTo>
                    <a:pt x="8406516" y="1104758"/>
                    <a:pt x="8408396" y="1098339"/>
                    <a:pt x="8408396" y="1089386"/>
                  </a:cubicBezTo>
                  <a:lnTo>
                    <a:pt x="8408396" y="1054038"/>
                  </a:lnTo>
                  <a:cubicBezTo>
                    <a:pt x="8408396" y="1036893"/>
                    <a:pt x="8418540" y="1026461"/>
                    <a:pt x="8438828" y="1022745"/>
                  </a:cubicBezTo>
                  <a:lnTo>
                    <a:pt x="8438828" y="1022365"/>
                  </a:lnTo>
                  <a:cubicBezTo>
                    <a:pt x="8418540" y="1018395"/>
                    <a:pt x="8408396" y="1007880"/>
                    <a:pt x="8408396" y="990818"/>
                  </a:cubicBezTo>
                  <a:lnTo>
                    <a:pt x="8408396" y="955091"/>
                  </a:lnTo>
                  <a:cubicBezTo>
                    <a:pt x="8408396" y="939296"/>
                    <a:pt x="8400157" y="931230"/>
                    <a:pt x="8383679" y="930893"/>
                  </a:cubicBezTo>
                  <a:close/>
                  <a:moveTo>
                    <a:pt x="8362360" y="911255"/>
                  </a:moveTo>
                  <a:lnTo>
                    <a:pt x="8362360" y="930893"/>
                  </a:lnTo>
                  <a:cubicBezTo>
                    <a:pt x="8345986" y="931230"/>
                    <a:pt x="8337798" y="939296"/>
                    <a:pt x="8337798" y="955091"/>
                  </a:cubicBezTo>
                  <a:lnTo>
                    <a:pt x="8337798" y="990818"/>
                  </a:lnTo>
                  <a:cubicBezTo>
                    <a:pt x="8337798" y="1007880"/>
                    <a:pt x="8327551" y="1018395"/>
                    <a:pt x="8307057" y="1022365"/>
                  </a:cubicBezTo>
                  <a:lnTo>
                    <a:pt x="8307057" y="1022745"/>
                  </a:lnTo>
                  <a:cubicBezTo>
                    <a:pt x="8327551" y="1026461"/>
                    <a:pt x="8337798" y="1036893"/>
                    <a:pt x="8337798" y="1054038"/>
                  </a:cubicBezTo>
                  <a:lnTo>
                    <a:pt x="8337798" y="1089386"/>
                  </a:lnTo>
                  <a:cubicBezTo>
                    <a:pt x="8337798" y="1098423"/>
                    <a:pt x="8339626" y="1104863"/>
                    <a:pt x="8343282" y="1108706"/>
                  </a:cubicBezTo>
                  <a:cubicBezTo>
                    <a:pt x="8346938" y="1112549"/>
                    <a:pt x="8353298" y="1114555"/>
                    <a:pt x="8362360" y="1114724"/>
                  </a:cubicBezTo>
                  <a:lnTo>
                    <a:pt x="8362360" y="1134235"/>
                  </a:lnTo>
                  <a:cubicBezTo>
                    <a:pt x="8325697" y="1133897"/>
                    <a:pt x="8307366" y="1121059"/>
                    <a:pt x="8307366" y="1095721"/>
                  </a:cubicBezTo>
                  <a:lnTo>
                    <a:pt x="8307366" y="1058346"/>
                  </a:lnTo>
                  <a:cubicBezTo>
                    <a:pt x="8307366" y="1041622"/>
                    <a:pt x="8299333" y="1032838"/>
                    <a:pt x="8283267" y="1031993"/>
                  </a:cubicBezTo>
                  <a:lnTo>
                    <a:pt x="8283267" y="1013497"/>
                  </a:lnTo>
                  <a:cubicBezTo>
                    <a:pt x="8299333" y="1012652"/>
                    <a:pt x="8307366" y="1003699"/>
                    <a:pt x="8307366" y="986637"/>
                  </a:cubicBezTo>
                  <a:lnTo>
                    <a:pt x="8307366" y="950276"/>
                  </a:lnTo>
                  <a:cubicBezTo>
                    <a:pt x="8307366" y="924600"/>
                    <a:pt x="8325697" y="911593"/>
                    <a:pt x="8362360" y="911255"/>
                  </a:cubicBezTo>
                  <a:close/>
                  <a:moveTo>
                    <a:pt x="4833613" y="911255"/>
                  </a:moveTo>
                  <a:cubicBezTo>
                    <a:pt x="4870070" y="911593"/>
                    <a:pt x="4888298" y="924600"/>
                    <a:pt x="4888298" y="950276"/>
                  </a:cubicBezTo>
                  <a:lnTo>
                    <a:pt x="4888298" y="986637"/>
                  </a:lnTo>
                  <a:cubicBezTo>
                    <a:pt x="4888298" y="1003699"/>
                    <a:pt x="4896281" y="1012652"/>
                    <a:pt x="4912243" y="1013497"/>
                  </a:cubicBezTo>
                  <a:lnTo>
                    <a:pt x="4912243" y="1031993"/>
                  </a:lnTo>
                  <a:cubicBezTo>
                    <a:pt x="4896281" y="1032838"/>
                    <a:pt x="4888298" y="1041622"/>
                    <a:pt x="4888298" y="1058346"/>
                  </a:cubicBezTo>
                  <a:lnTo>
                    <a:pt x="4888298" y="1095721"/>
                  </a:lnTo>
                  <a:cubicBezTo>
                    <a:pt x="4888298" y="1121059"/>
                    <a:pt x="4870070" y="1133897"/>
                    <a:pt x="4833613" y="1134235"/>
                  </a:cubicBezTo>
                  <a:lnTo>
                    <a:pt x="4833613" y="1114724"/>
                  </a:lnTo>
                  <a:cubicBezTo>
                    <a:pt x="4842573" y="1114555"/>
                    <a:pt x="4848932" y="1112528"/>
                    <a:pt x="4852691" y="1108643"/>
                  </a:cubicBezTo>
                  <a:cubicBezTo>
                    <a:pt x="4856450" y="1104758"/>
                    <a:pt x="4858331" y="1098339"/>
                    <a:pt x="4858331" y="1089386"/>
                  </a:cubicBezTo>
                  <a:lnTo>
                    <a:pt x="4858331" y="1054038"/>
                  </a:lnTo>
                  <a:cubicBezTo>
                    <a:pt x="4858331" y="1036893"/>
                    <a:pt x="4868475" y="1026461"/>
                    <a:pt x="4888762" y="1022745"/>
                  </a:cubicBezTo>
                  <a:lnTo>
                    <a:pt x="4888762" y="1022365"/>
                  </a:lnTo>
                  <a:cubicBezTo>
                    <a:pt x="4868475" y="1018395"/>
                    <a:pt x="4858331" y="1007880"/>
                    <a:pt x="4858331" y="990818"/>
                  </a:cubicBezTo>
                  <a:lnTo>
                    <a:pt x="4858331" y="955091"/>
                  </a:lnTo>
                  <a:cubicBezTo>
                    <a:pt x="4858331" y="939296"/>
                    <a:pt x="4850091" y="931230"/>
                    <a:pt x="4833613" y="930893"/>
                  </a:cubicBezTo>
                  <a:close/>
                  <a:moveTo>
                    <a:pt x="4812294" y="911255"/>
                  </a:moveTo>
                  <a:lnTo>
                    <a:pt x="4812294" y="930893"/>
                  </a:lnTo>
                  <a:cubicBezTo>
                    <a:pt x="4795920" y="931230"/>
                    <a:pt x="4787733" y="939296"/>
                    <a:pt x="4787733" y="955091"/>
                  </a:cubicBezTo>
                  <a:lnTo>
                    <a:pt x="4787733" y="990818"/>
                  </a:lnTo>
                  <a:cubicBezTo>
                    <a:pt x="4787733" y="1007880"/>
                    <a:pt x="4777485" y="1018395"/>
                    <a:pt x="4756990" y="1022365"/>
                  </a:cubicBezTo>
                  <a:lnTo>
                    <a:pt x="4756990" y="1022745"/>
                  </a:lnTo>
                  <a:cubicBezTo>
                    <a:pt x="4777485" y="1026461"/>
                    <a:pt x="4787733" y="1036893"/>
                    <a:pt x="4787733" y="1054038"/>
                  </a:cubicBezTo>
                  <a:lnTo>
                    <a:pt x="4787733" y="1089386"/>
                  </a:lnTo>
                  <a:cubicBezTo>
                    <a:pt x="4787733" y="1098423"/>
                    <a:pt x="4789561" y="1104863"/>
                    <a:pt x="4793216" y="1108706"/>
                  </a:cubicBezTo>
                  <a:cubicBezTo>
                    <a:pt x="4796872" y="1112549"/>
                    <a:pt x="4803232" y="1114555"/>
                    <a:pt x="4812294" y="1114724"/>
                  </a:cubicBezTo>
                  <a:lnTo>
                    <a:pt x="4812294" y="1134235"/>
                  </a:lnTo>
                  <a:cubicBezTo>
                    <a:pt x="4775631" y="1133897"/>
                    <a:pt x="4757300" y="1121059"/>
                    <a:pt x="4757300" y="1095721"/>
                  </a:cubicBezTo>
                  <a:lnTo>
                    <a:pt x="4757300" y="1058346"/>
                  </a:lnTo>
                  <a:cubicBezTo>
                    <a:pt x="4757300" y="1041622"/>
                    <a:pt x="4749266" y="1032838"/>
                    <a:pt x="4733202" y="1031993"/>
                  </a:cubicBezTo>
                  <a:lnTo>
                    <a:pt x="4733202" y="1013497"/>
                  </a:lnTo>
                  <a:cubicBezTo>
                    <a:pt x="4749266" y="1012652"/>
                    <a:pt x="4757300" y="1003699"/>
                    <a:pt x="4757300" y="986637"/>
                  </a:cubicBezTo>
                  <a:lnTo>
                    <a:pt x="4757300" y="950276"/>
                  </a:lnTo>
                  <a:cubicBezTo>
                    <a:pt x="4757300" y="924600"/>
                    <a:pt x="4775631" y="911593"/>
                    <a:pt x="4812294" y="911255"/>
                  </a:cubicBezTo>
                  <a:close/>
                  <a:moveTo>
                    <a:pt x="2329011" y="911255"/>
                  </a:moveTo>
                  <a:cubicBezTo>
                    <a:pt x="2365469" y="911593"/>
                    <a:pt x="2383698" y="924600"/>
                    <a:pt x="2383698" y="950276"/>
                  </a:cubicBezTo>
                  <a:lnTo>
                    <a:pt x="2383698" y="986637"/>
                  </a:lnTo>
                  <a:cubicBezTo>
                    <a:pt x="2383698" y="1003699"/>
                    <a:pt x="2391678" y="1012652"/>
                    <a:pt x="2407642" y="1013497"/>
                  </a:cubicBezTo>
                  <a:lnTo>
                    <a:pt x="2407642" y="1031993"/>
                  </a:lnTo>
                  <a:cubicBezTo>
                    <a:pt x="2391678" y="1032838"/>
                    <a:pt x="2383698" y="1041622"/>
                    <a:pt x="2383698" y="1058346"/>
                  </a:cubicBezTo>
                  <a:lnTo>
                    <a:pt x="2383698" y="1095721"/>
                  </a:lnTo>
                  <a:cubicBezTo>
                    <a:pt x="2383698" y="1121059"/>
                    <a:pt x="2365469" y="1133897"/>
                    <a:pt x="2329011" y="1134235"/>
                  </a:cubicBezTo>
                  <a:lnTo>
                    <a:pt x="2329011" y="1114724"/>
                  </a:lnTo>
                  <a:cubicBezTo>
                    <a:pt x="2337972" y="1114555"/>
                    <a:pt x="2344330" y="1112528"/>
                    <a:pt x="2348089" y="1108643"/>
                  </a:cubicBezTo>
                  <a:cubicBezTo>
                    <a:pt x="2351849" y="1104758"/>
                    <a:pt x="2353729" y="1098339"/>
                    <a:pt x="2353729" y="1089386"/>
                  </a:cubicBezTo>
                  <a:lnTo>
                    <a:pt x="2353729" y="1054038"/>
                  </a:lnTo>
                  <a:cubicBezTo>
                    <a:pt x="2353729" y="1036893"/>
                    <a:pt x="2363873" y="1026461"/>
                    <a:pt x="2384161" y="1022745"/>
                  </a:cubicBezTo>
                  <a:lnTo>
                    <a:pt x="2384161" y="1022365"/>
                  </a:lnTo>
                  <a:cubicBezTo>
                    <a:pt x="2363873" y="1018395"/>
                    <a:pt x="2353729" y="1007880"/>
                    <a:pt x="2353729" y="990818"/>
                  </a:cubicBezTo>
                  <a:lnTo>
                    <a:pt x="2353729" y="955091"/>
                  </a:lnTo>
                  <a:cubicBezTo>
                    <a:pt x="2353729" y="939296"/>
                    <a:pt x="2345489" y="931230"/>
                    <a:pt x="2329011" y="930893"/>
                  </a:cubicBezTo>
                  <a:close/>
                  <a:moveTo>
                    <a:pt x="2307692" y="911255"/>
                  </a:moveTo>
                  <a:lnTo>
                    <a:pt x="2307692" y="930893"/>
                  </a:lnTo>
                  <a:cubicBezTo>
                    <a:pt x="2291318" y="931230"/>
                    <a:pt x="2283130" y="939296"/>
                    <a:pt x="2283130" y="955091"/>
                  </a:cubicBezTo>
                  <a:lnTo>
                    <a:pt x="2283130" y="990818"/>
                  </a:lnTo>
                  <a:cubicBezTo>
                    <a:pt x="2283130" y="1007880"/>
                    <a:pt x="2272883" y="1018395"/>
                    <a:pt x="2252390" y="1022365"/>
                  </a:cubicBezTo>
                  <a:lnTo>
                    <a:pt x="2252390" y="1022745"/>
                  </a:lnTo>
                  <a:cubicBezTo>
                    <a:pt x="2272883" y="1026461"/>
                    <a:pt x="2283130" y="1036893"/>
                    <a:pt x="2283130" y="1054038"/>
                  </a:cubicBezTo>
                  <a:lnTo>
                    <a:pt x="2283130" y="1089386"/>
                  </a:lnTo>
                  <a:cubicBezTo>
                    <a:pt x="2283130" y="1098423"/>
                    <a:pt x="2284959" y="1104863"/>
                    <a:pt x="2288616" y="1108706"/>
                  </a:cubicBezTo>
                  <a:cubicBezTo>
                    <a:pt x="2292271" y="1112549"/>
                    <a:pt x="2298630" y="1114555"/>
                    <a:pt x="2307692" y="1114724"/>
                  </a:cubicBezTo>
                  <a:lnTo>
                    <a:pt x="2307692" y="1134235"/>
                  </a:lnTo>
                  <a:cubicBezTo>
                    <a:pt x="2271030" y="1133897"/>
                    <a:pt x="2252699" y="1121059"/>
                    <a:pt x="2252699" y="1095721"/>
                  </a:cubicBezTo>
                  <a:lnTo>
                    <a:pt x="2252699" y="1058346"/>
                  </a:lnTo>
                  <a:cubicBezTo>
                    <a:pt x="2252699" y="1041622"/>
                    <a:pt x="2244665" y="1032838"/>
                    <a:pt x="2228599" y="1031993"/>
                  </a:cubicBezTo>
                  <a:lnTo>
                    <a:pt x="2228599" y="1013497"/>
                  </a:lnTo>
                  <a:cubicBezTo>
                    <a:pt x="2244665" y="1012652"/>
                    <a:pt x="2252699" y="1003699"/>
                    <a:pt x="2252699" y="986637"/>
                  </a:cubicBezTo>
                  <a:lnTo>
                    <a:pt x="2252699" y="950276"/>
                  </a:lnTo>
                  <a:cubicBezTo>
                    <a:pt x="2252699" y="924600"/>
                    <a:pt x="2271030" y="911593"/>
                    <a:pt x="2307692" y="911255"/>
                  </a:cubicBezTo>
                  <a:close/>
                  <a:moveTo>
                    <a:pt x="8335302" y="721489"/>
                  </a:moveTo>
                  <a:lnTo>
                    <a:pt x="8324840" y="769618"/>
                  </a:lnTo>
                  <a:lnTo>
                    <a:pt x="8367563" y="769618"/>
                  </a:lnTo>
                  <a:lnTo>
                    <a:pt x="8377851" y="721489"/>
                  </a:lnTo>
                  <a:close/>
                  <a:moveTo>
                    <a:pt x="2272056" y="721489"/>
                  </a:moveTo>
                  <a:lnTo>
                    <a:pt x="2261594" y="769618"/>
                  </a:lnTo>
                  <a:lnTo>
                    <a:pt x="2304318" y="769618"/>
                  </a:lnTo>
                  <a:lnTo>
                    <a:pt x="2314605" y="721489"/>
                  </a:lnTo>
                  <a:close/>
                  <a:moveTo>
                    <a:pt x="3677493" y="632755"/>
                  </a:moveTo>
                  <a:cubicBezTo>
                    <a:pt x="3707392" y="633093"/>
                    <a:pt x="3722342" y="646101"/>
                    <a:pt x="3722342" y="671776"/>
                  </a:cubicBezTo>
                  <a:lnTo>
                    <a:pt x="3722342" y="708137"/>
                  </a:lnTo>
                  <a:cubicBezTo>
                    <a:pt x="3722342" y="725199"/>
                    <a:pt x="3728887" y="734152"/>
                    <a:pt x="3741979" y="734997"/>
                  </a:cubicBezTo>
                  <a:lnTo>
                    <a:pt x="3741979" y="753493"/>
                  </a:lnTo>
                  <a:cubicBezTo>
                    <a:pt x="3728887" y="754338"/>
                    <a:pt x="3722342" y="763122"/>
                    <a:pt x="3722342" y="779846"/>
                  </a:cubicBezTo>
                  <a:lnTo>
                    <a:pt x="3722342" y="817221"/>
                  </a:lnTo>
                  <a:cubicBezTo>
                    <a:pt x="3722342" y="842559"/>
                    <a:pt x="3707392" y="855397"/>
                    <a:pt x="3677493" y="855735"/>
                  </a:cubicBezTo>
                  <a:lnTo>
                    <a:pt x="3677493" y="836224"/>
                  </a:lnTo>
                  <a:cubicBezTo>
                    <a:pt x="3684839" y="836055"/>
                    <a:pt x="3690055" y="834028"/>
                    <a:pt x="3693139" y="830143"/>
                  </a:cubicBezTo>
                  <a:cubicBezTo>
                    <a:pt x="3696222" y="826258"/>
                    <a:pt x="3697763" y="819839"/>
                    <a:pt x="3697763" y="810886"/>
                  </a:cubicBezTo>
                  <a:lnTo>
                    <a:pt x="3697763" y="775538"/>
                  </a:lnTo>
                  <a:cubicBezTo>
                    <a:pt x="3697763" y="758393"/>
                    <a:pt x="3706083" y="747961"/>
                    <a:pt x="3722721" y="744245"/>
                  </a:cubicBezTo>
                  <a:lnTo>
                    <a:pt x="3722721" y="743865"/>
                  </a:lnTo>
                  <a:cubicBezTo>
                    <a:pt x="3706083" y="739895"/>
                    <a:pt x="3697763" y="729380"/>
                    <a:pt x="3697763" y="712318"/>
                  </a:cubicBezTo>
                  <a:lnTo>
                    <a:pt x="3697763" y="676591"/>
                  </a:lnTo>
                  <a:cubicBezTo>
                    <a:pt x="3697763" y="660796"/>
                    <a:pt x="3691005" y="652730"/>
                    <a:pt x="3677493" y="652393"/>
                  </a:cubicBezTo>
                  <a:close/>
                  <a:moveTo>
                    <a:pt x="3660007" y="632755"/>
                  </a:moveTo>
                  <a:lnTo>
                    <a:pt x="3660007" y="652393"/>
                  </a:lnTo>
                  <a:cubicBezTo>
                    <a:pt x="3646578" y="652730"/>
                    <a:pt x="3639863" y="660796"/>
                    <a:pt x="3639863" y="676591"/>
                  </a:cubicBezTo>
                  <a:lnTo>
                    <a:pt x="3639863" y="712318"/>
                  </a:lnTo>
                  <a:cubicBezTo>
                    <a:pt x="3639863" y="729380"/>
                    <a:pt x="3631459" y="739895"/>
                    <a:pt x="3614652" y="743865"/>
                  </a:cubicBezTo>
                  <a:lnTo>
                    <a:pt x="3614652" y="744245"/>
                  </a:lnTo>
                  <a:cubicBezTo>
                    <a:pt x="3631459" y="747961"/>
                    <a:pt x="3639863" y="758393"/>
                    <a:pt x="3639863" y="775538"/>
                  </a:cubicBezTo>
                  <a:lnTo>
                    <a:pt x="3639863" y="810886"/>
                  </a:lnTo>
                  <a:cubicBezTo>
                    <a:pt x="3639863" y="819923"/>
                    <a:pt x="3641362" y="826363"/>
                    <a:pt x="3644361" y="830206"/>
                  </a:cubicBezTo>
                  <a:cubicBezTo>
                    <a:pt x="3647359" y="834049"/>
                    <a:pt x="3652575" y="836055"/>
                    <a:pt x="3660007" y="836224"/>
                  </a:cubicBezTo>
                  <a:lnTo>
                    <a:pt x="3660007" y="855735"/>
                  </a:lnTo>
                  <a:cubicBezTo>
                    <a:pt x="3629939" y="855397"/>
                    <a:pt x="3614905" y="842559"/>
                    <a:pt x="3614905" y="817221"/>
                  </a:cubicBezTo>
                  <a:lnTo>
                    <a:pt x="3614905" y="779846"/>
                  </a:lnTo>
                  <a:cubicBezTo>
                    <a:pt x="3614905" y="763122"/>
                    <a:pt x="3608317" y="754338"/>
                    <a:pt x="3595140" y="753493"/>
                  </a:cubicBezTo>
                  <a:lnTo>
                    <a:pt x="3595140" y="734997"/>
                  </a:lnTo>
                  <a:cubicBezTo>
                    <a:pt x="3608317" y="734152"/>
                    <a:pt x="3614905" y="725199"/>
                    <a:pt x="3614905" y="708137"/>
                  </a:cubicBezTo>
                  <a:lnTo>
                    <a:pt x="3614905" y="671776"/>
                  </a:lnTo>
                  <a:cubicBezTo>
                    <a:pt x="3614905" y="646101"/>
                    <a:pt x="3629939" y="633093"/>
                    <a:pt x="3660007" y="632755"/>
                  </a:cubicBezTo>
                  <a:close/>
                  <a:moveTo>
                    <a:pt x="8326235" y="629938"/>
                  </a:moveTo>
                  <a:lnTo>
                    <a:pt x="8354310" y="629938"/>
                  </a:lnTo>
                  <a:lnTo>
                    <a:pt x="8340534" y="697075"/>
                  </a:lnTo>
                  <a:lnTo>
                    <a:pt x="8382734" y="697075"/>
                  </a:lnTo>
                  <a:lnTo>
                    <a:pt x="8397033" y="629938"/>
                  </a:lnTo>
                  <a:lnTo>
                    <a:pt x="8424586" y="629938"/>
                  </a:lnTo>
                  <a:lnTo>
                    <a:pt x="8410635" y="697075"/>
                  </a:lnTo>
                  <a:lnTo>
                    <a:pt x="8450394" y="697075"/>
                  </a:lnTo>
                  <a:lnTo>
                    <a:pt x="8444988" y="721489"/>
                  </a:lnTo>
                  <a:lnTo>
                    <a:pt x="8405404" y="721489"/>
                  </a:lnTo>
                  <a:lnTo>
                    <a:pt x="8395290" y="769618"/>
                  </a:lnTo>
                  <a:lnTo>
                    <a:pt x="8438536" y="769618"/>
                  </a:lnTo>
                  <a:lnTo>
                    <a:pt x="8432432" y="794031"/>
                  </a:lnTo>
                  <a:lnTo>
                    <a:pt x="8390233" y="794031"/>
                  </a:lnTo>
                  <a:lnTo>
                    <a:pt x="8375933" y="858552"/>
                  </a:lnTo>
                  <a:lnTo>
                    <a:pt x="8348206" y="858552"/>
                  </a:lnTo>
                  <a:lnTo>
                    <a:pt x="8362157" y="794031"/>
                  </a:lnTo>
                  <a:lnTo>
                    <a:pt x="8319957" y="794031"/>
                  </a:lnTo>
                  <a:lnTo>
                    <a:pt x="8306355" y="858552"/>
                  </a:lnTo>
                  <a:lnTo>
                    <a:pt x="8278629" y="858552"/>
                  </a:lnTo>
                  <a:lnTo>
                    <a:pt x="8292230" y="794031"/>
                  </a:lnTo>
                  <a:lnTo>
                    <a:pt x="8252297" y="794031"/>
                  </a:lnTo>
                  <a:lnTo>
                    <a:pt x="8257179" y="769618"/>
                  </a:lnTo>
                  <a:lnTo>
                    <a:pt x="8297636" y="769618"/>
                  </a:lnTo>
                  <a:lnTo>
                    <a:pt x="8307227" y="721489"/>
                  </a:lnTo>
                  <a:lnTo>
                    <a:pt x="8264678" y="721489"/>
                  </a:lnTo>
                  <a:lnTo>
                    <a:pt x="8269735" y="697075"/>
                  </a:lnTo>
                  <a:lnTo>
                    <a:pt x="8312284" y="697075"/>
                  </a:lnTo>
                  <a:close/>
                  <a:moveTo>
                    <a:pt x="2262989" y="629938"/>
                  </a:moveTo>
                  <a:lnTo>
                    <a:pt x="2291064" y="629938"/>
                  </a:lnTo>
                  <a:lnTo>
                    <a:pt x="2277288" y="697075"/>
                  </a:lnTo>
                  <a:lnTo>
                    <a:pt x="2319489" y="697075"/>
                  </a:lnTo>
                  <a:lnTo>
                    <a:pt x="2333787" y="629938"/>
                  </a:lnTo>
                  <a:lnTo>
                    <a:pt x="2361341" y="629938"/>
                  </a:lnTo>
                  <a:lnTo>
                    <a:pt x="2347389" y="697075"/>
                  </a:lnTo>
                  <a:lnTo>
                    <a:pt x="2387149" y="697075"/>
                  </a:lnTo>
                  <a:lnTo>
                    <a:pt x="2381743" y="721489"/>
                  </a:lnTo>
                  <a:lnTo>
                    <a:pt x="2342158" y="721489"/>
                  </a:lnTo>
                  <a:lnTo>
                    <a:pt x="2332044" y="769618"/>
                  </a:lnTo>
                  <a:lnTo>
                    <a:pt x="2375291" y="769618"/>
                  </a:lnTo>
                  <a:lnTo>
                    <a:pt x="2369187" y="794031"/>
                  </a:lnTo>
                  <a:lnTo>
                    <a:pt x="2326987" y="794031"/>
                  </a:lnTo>
                  <a:lnTo>
                    <a:pt x="2312687" y="858552"/>
                  </a:lnTo>
                  <a:lnTo>
                    <a:pt x="2284959" y="858552"/>
                  </a:lnTo>
                  <a:lnTo>
                    <a:pt x="2298911" y="794031"/>
                  </a:lnTo>
                  <a:lnTo>
                    <a:pt x="2256711" y="794031"/>
                  </a:lnTo>
                  <a:lnTo>
                    <a:pt x="2243109" y="858552"/>
                  </a:lnTo>
                  <a:lnTo>
                    <a:pt x="2215384" y="858552"/>
                  </a:lnTo>
                  <a:lnTo>
                    <a:pt x="2228985" y="794031"/>
                  </a:lnTo>
                  <a:lnTo>
                    <a:pt x="2189051" y="794031"/>
                  </a:lnTo>
                  <a:lnTo>
                    <a:pt x="2193934" y="769618"/>
                  </a:lnTo>
                  <a:lnTo>
                    <a:pt x="2234391" y="769618"/>
                  </a:lnTo>
                  <a:lnTo>
                    <a:pt x="2243981" y="721489"/>
                  </a:lnTo>
                  <a:lnTo>
                    <a:pt x="2201432" y="721489"/>
                  </a:lnTo>
                  <a:lnTo>
                    <a:pt x="2206489" y="697075"/>
                  </a:lnTo>
                  <a:lnTo>
                    <a:pt x="2249038" y="697075"/>
                  </a:lnTo>
                  <a:close/>
                  <a:moveTo>
                    <a:pt x="10896843" y="324442"/>
                  </a:moveTo>
                  <a:cubicBezTo>
                    <a:pt x="10933300" y="324780"/>
                    <a:pt x="10951529" y="337787"/>
                    <a:pt x="10951529" y="363463"/>
                  </a:cubicBezTo>
                  <a:lnTo>
                    <a:pt x="10951529" y="399824"/>
                  </a:lnTo>
                  <a:cubicBezTo>
                    <a:pt x="10951529" y="416886"/>
                    <a:pt x="10959510" y="425839"/>
                    <a:pt x="10975473" y="426684"/>
                  </a:cubicBezTo>
                  <a:lnTo>
                    <a:pt x="10975473" y="445180"/>
                  </a:lnTo>
                  <a:cubicBezTo>
                    <a:pt x="10959510" y="446025"/>
                    <a:pt x="10951529" y="454809"/>
                    <a:pt x="10951529" y="471533"/>
                  </a:cubicBezTo>
                  <a:lnTo>
                    <a:pt x="10951529" y="508908"/>
                  </a:lnTo>
                  <a:cubicBezTo>
                    <a:pt x="10951529" y="534246"/>
                    <a:pt x="10933300" y="547084"/>
                    <a:pt x="10896843" y="547422"/>
                  </a:cubicBezTo>
                  <a:lnTo>
                    <a:pt x="10896843" y="527911"/>
                  </a:lnTo>
                  <a:cubicBezTo>
                    <a:pt x="10905803" y="527742"/>
                    <a:pt x="10912162" y="525715"/>
                    <a:pt x="10915921" y="521830"/>
                  </a:cubicBezTo>
                  <a:cubicBezTo>
                    <a:pt x="10919680" y="517945"/>
                    <a:pt x="10921560" y="511526"/>
                    <a:pt x="10921560" y="502573"/>
                  </a:cubicBezTo>
                  <a:lnTo>
                    <a:pt x="10921560" y="467225"/>
                  </a:lnTo>
                  <a:cubicBezTo>
                    <a:pt x="10921560" y="450080"/>
                    <a:pt x="10931704" y="439648"/>
                    <a:pt x="10951992" y="435932"/>
                  </a:cubicBezTo>
                  <a:lnTo>
                    <a:pt x="10951992" y="435552"/>
                  </a:lnTo>
                  <a:cubicBezTo>
                    <a:pt x="10931704" y="431582"/>
                    <a:pt x="10921560" y="421067"/>
                    <a:pt x="10921560" y="404005"/>
                  </a:cubicBezTo>
                  <a:lnTo>
                    <a:pt x="10921560" y="368278"/>
                  </a:lnTo>
                  <a:cubicBezTo>
                    <a:pt x="10921560" y="352483"/>
                    <a:pt x="10913321" y="344417"/>
                    <a:pt x="10896843" y="344080"/>
                  </a:cubicBezTo>
                  <a:close/>
                  <a:moveTo>
                    <a:pt x="10875524" y="324442"/>
                  </a:moveTo>
                  <a:lnTo>
                    <a:pt x="10875524" y="344080"/>
                  </a:lnTo>
                  <a:cubicBezTo>
                    <a:pt x="10859150" y="344417"/>
                    <a:pt x="10850962" y="352483"/>
                    <a:pt x="10850962" y="368278"/>
                  </a:cubicBezTo>
                  <a:lnTo>
                    <a:pt x="10850962" y="404005"/>
                  </a:lnTo>
                  <a:cubicBezTo>
                    <a:pt x="10850962" y="421067"/>
                    <a:pt x="10840715" y="431582"/>
                    <a:pt x="10820221" y="435552"/>
                  </a:cubicBezTo>
                  <a:lnTo>
                    <a:pt x="10820221" y="435932"/>
                  </a:lnTo>
                  <a:cubicBezTo>
                    <a:pt x="10840715" y="439648"/>
                    <a:pt x="10850962" y="450080"/>
                    <a:pt x="10850962" y="467225"/>
                  </a:cubicBezTo>
                  <a:lnTo>
                    <a:pt x="10850962" y="502573"/>
                  </a:lnTo>
                  <a:cubicBezTo>
                    <a:pt x="10850962" y="511610"/>
                    <a:pt x="10852790" y="518050"/>
                    <a:pt x="10856446" y="521893"/>
                  </a:cubicBezTo>
                  <a:cubicBezTo>
                    <a:pt x="10860102" y="525736"/>
                    <a:pt x="10866462" y="527742"/>
                    <a:pt x="10875524" y="527911"/>
                  </a:cubicBezTo>
                  <a:lnTo>
                    <a:pt x="10875524" y="547422"/>
                  </a:lnTo>
                  <a:cubicBezTo>
                    <a:pt x="10838861" y="547084"/>
                    <a:pt x="10820530" y="534246"/>
                    <a:pt x="10820530" y="508908"/>
                  </a:cubicBezTo>
                  <a:lnTo>
                    <a:pt x="10820530" y="471533"/>
                  </a:lnTo>
                  <a:cubicBezTo>
                    <a:pt x="10820530" y="454809"/>
                    <a:pt x="10812497" y="446025"/>
                    <a:pt x="10796431" y="445180"/>
                  </a:cubicBezTo>
                  <a:lnTo>
                    <a:pt x="10796431" y="426684"/>
                  </a:lnTo>
                  <a:cubicBezTo>
                    <a:pt x="10812497" y="425839"/>
                    <a:pt x="10820530" y="416886"/>
                    <a:pt x="10820530" y="399824"/>
                  </a:cubicBezTo>
                  <a:lnTo>
                    <a:pt x="10820530" y="363463"/>
                  </a:lnTo>
                  <a:cubicBezTo>
                    <a:pt x="10820530" y="337787"/>
                    <a:pt x="10838861" y="324780"/>
                    <a:pt x="10875524" y="324442"/>
                  </a:cubicBezTo>
                  <a:close/>
                  <a:moveTo>
                    <a:pt x="8390937" y="324442"/>
                  </a:moveTo>
                  <a:cubicBezTo>
                    <a:pt x="8427394" y="324780"/>
                    <a:pt x="8445623" y="337787"/>
                    <a:pt x="8445623" y="363463"/>
                  </a:cubicBezTo>
                  <a:lnTo>
                    <a:pt x="8445623" y="399824"/>
                  </a:lnTo>
                  <a:cubicBezTo>
                    <a:pt x="8445623" y="416886"/>
                    <a:pt x="8453604" y="425839"/>
                    <a:pt x="8469567" y="426684"/>
                  </a:cubicBezTo>
                  <a:lnTo>
                    <a:pt x="8469567" y="445180"/>
                  </a:lnTo>
                  <a:cubicBezTo>
                    <a:pt x="8453604" y="446025"/>
                    <a:pt x="8445623" y="454809"/>
                    <a:pt x="8445623" y="471533"/>
                  </a:cubicBezTo>
                  <a:lnTo>
                    <a:pt x="8445623" y="508908"/>
                  </a:lnTo>
                  <a:cubicBezTo>
                    <a:pt x="8445623" y="534246"/>
                    <a:pt x="8427394" y="547084"/>
                    <a:pt x="8390937" y="547422"/>
                  </a:cubicBezTo>
                  <a:lnTo>
                    <a:pt x="8390937" y="527911"/>
                  </a:lnTo>
                  <a:cubicBezTo>
                    <a:pt x="8399897" y="527742"/>
                    <a:pt x="8406256" y="525715"/>
                    <a:pt x="8410015" y="521830"/>
                  </a:cubicBezTo>
                  <a:cubicBezTo>
                    <a:pt x="8413774" y="517945"/>
                    <a:pt x="8415654" y="511526"/>
                    <a:pt x="8415654" y="502573"/>
                  </a:cubicBezTo>
                  <a:lnTo>
                    <a:pt x="8415654" y="467225"/>
                  </a:lnTo>
                  <a:cubicBezTo>
                    <a:pt x="8415654" y="450080"/>
                    <a:pt x="8425798" y="439648"/>
                    <a:pt x="8446086" y="435932"/>
                  </a:cubicBezTo>
                  <a:lnTo>
                    <a:pt x="8446086" y="435552"/>
                  </a:lnTo>
                  <a:cubicBezTo>
                    <a:pt x="8425798" y="431582"/>
                    <a:pt x="8415654" y="421067"/>
                    <a:pt x="8415654" y="404005"/>
                  </a:cubicBezTo>
                  <a:lnTo>
                    <a:pt x="8415654" y="368278"/>
                  </a:lnTo>
                  <a:cubicBezTo>
                    <a:pt x="8415654" y="352483"/>
                    <a:pt x="8407415" y="344417"/>
                    <a:pt x="8390937" y="344080"/>
                  </a:cubicBezTo>
                  <a:close/>
                  <a:moveTo>
                    <a:pt x="8369618" y="324442"/>
                  </a:moveTo>
                  <a:lnTo>
                    <a:pt x="8369618" y="344080"/>
                  </a:lnTo>
                  <a:cubicBezTo>
                    <a:pt x="8353244" y="344417"/>
                    <a:pt x="8345056" y="352483"/>
                    <a:pt x="8345056" y="368278"/>
                  </a:cubicBezTo>
                  <a:lnTo>
                    <a:pt x="8345056" y="404005"/>
                  </a:lnTo>
                  <a:cubicBezTo>
                    <a:pt x="8345056" y="421067"/>
                    <a:pt x="8334809" y="431582"/>
                    <a:pt x="8314315" y="435552"/>
                  </a:cubicBezTo>
                  <a:lnTo>
                    <a:pt x="8314315" y="435932"/>
                  </a:lnTo>
                  <a:cubicBezTo>
                    <a:pt x="8334809" y="439648"/>
                    <a:pt x="8345056" y="450080"/>
                    <a:pt x="8345056" y="467225"/>
                  </a:cubicBezTo>
                  <a:lnTo>
                    <a:pt x="8345056" y="502573"/>
                  </a:lnTo>
                  <a:cubicBezTo>
                    <a:pt x="8345056" y="511610"/>
                    <a:pt x="8346884" y="518050"/>
                    <a:pt x="8350540" y="521893"/>
                  </a:cubicBezTo>
                  <a:cubicBezTo>
                    <a:pt x="8354196" y="525736"/>
                    <a:pt x="8360556" y="527742"/>
                    <a:pt x="8369618" y="527911"/>
                  </a:cubicBezTo>
                  <a:lnTo>
                    <a:pt x="8369618" y="547422"/>
                  </a:lnTo>
                  <a:cubicBezTo>
                    <a:pt x="8332955" y="547084"/>
                    <a:pt x="8314624" y="534246"/>
                    <a:pt x="8314624" y="508908"/>
                  </a:cubicBezTo>
                  <a:lnTo>
                    <a:pt x="8314624" y="471533"/>
                  </a:lnTo>
                  <a:cubicBezTo>
                    <a:pt x="8314624" y="454809"/>
                    <a:pt x="8306591" y="446025"/>
                    <a:pt x="8290525" y="445180"/>
                  </a:cubicBezTo>
                  <a:lnTo>
                    <a:pt x="8290525" y="426684"/>
                  </a:lnTo>
                  <a:cubicBezTo>
                    <a:pt x="8306591" y="425839"/>
                    <a:pt x="8314624" y="416886"/>
                    <a:pt x="8314624" y="399824"/>
                  </a:cubicBezTo>
                  <a:lnTo>
                    <a:pt x="8314624" y="363463"/>
                  </a:lnTo>
                  <a:cubicBezTo>
                    <a:pt x="8314624" y="337787"/>
                    <a:pt x="8332955" y="324780"/>
                    <a:pt x="8369618" y="324442"/>
                  </a:cubicBezTo>
                  <a:close/>
                  <a:moveTo>
                    <a:pt x="4840871" y="324442"/>
                  </a:moveTo>
                  <a:cubicBezTo>
                    <a:pt x="4877329" y="324780"/>
                    <a:pt x="4895556" y="337787"/>
                    <a:pt x="4895556" y="363463"/>
                  </a:cubicBezTo>
                  <a:lnTo>
                    <a:pt x="4895556" y="399824"/>
                  </a:lnTo>
                  <a:cubicBezTo>
                    <a:pt x="4895556" y="416886"/>
                    <a:pt x="4903539" y="425839"/>
                    <a:pt x="4919501" y="426684"/>
                  </a:cubicBezTo>
                  <a:lnTo>
                    <a:pt x="4919501" y="445180"/>
                  </a:lnTo>
                  <a:cubicBezTo>
                    <a:pt x="4903539" y="446025"/>
                    <a:pt x="4895556" y="454809"/>
                    <a:pt x="4895556" y="471533"/>
                  </a:cubicBezTo>
                  <a:lnTo>
                    <a:pt x="4895556" y="508908"/>
                  </a:lnTo>
                  <a:cubicBezTo>
                    <a:pt x="4895556" y="534246"/>
                    <a:pt x="4877329" y="547084"/>
                    <a:pt x="4840871" y="547422"/>
                  </a:cubicBezTo>
                  <a:lnTo>
                    <a:pt x="4840871" y="527911"/>
                  </a:lnTo>
                  <a:cubicBezTo>
                    <a:pt x="4849831" y="527742"/>
                    <a:pt x="4856190" y="525715"/>
                    <a:pt x="4859949" y="521830"/>
                  </a:cubicBezTo>
                  <a:cubicBezTo>
                    <a:pt x="4863708" y="517945"/>
                    <a:pt x="4865588" y="511526"/>
                    <a:pt x="4865588" y="502573"/>
                  </a:cubicBezTo>
                  <a:lnTo>
                    <a:pt x="4865588" y="467225"/>
                  </a:lnTo>
                  <a:cubicBezTo>
                    <a:pt x="4865588" y="450080"/>
                    <a:pt x="4875733" y="439648"/>
                    <a:pt x="4896020" y="435932"/>
                  </a:cubicBezTo>
                  <a:lnTo>
                    <a:pt x="4896020" y="435552"/>
                  </a:lnTo>
                  <a:cubicBezTo>
                    <a:pt x="4875733" y="431582"/>
                    <a:pt x="4865588" y="421067"/>
                    <a:pt x="4865588" y="404005"/>
                  </a:cubicBezTo>
                  <a:lnTo>
                    <a:pt x="4865588" y="368278"/>
                  </a:lnTo>
                  <a:cubicBezTo>
                    <a:pt x="4865588" y="352483"/>
                    <a:pt x="4857349" y="344417"/>
                    <a:pt x="4840871" y="344080"/>
                  </a:cubicBezTo>
                  <a:close/>
                  <a:moveTo>
                    <a:pt x="4819552" y="324442"/>
                  </a:moveTo>
                  <a:lnTo>
                    <a:pt x="4819552" y="344080"/>
                  </a:lnTo>
                  <a:cubicBezTo>
                    <a:pt x="4803178" y="344417"/>
                    <a:pt x="4794990" y="352483"/>
                    <a:pt x="4794990" y="368278"/>
                  </a:cubicBezTo>
                  <a:lnTo>
                    <a:pt x="4794990" y="404005"/>
                  </a:lnTo>
                  <a:cubicBezTo>
                    <a:pt x="4794990" y="421067"/>
                    <a:pt x="4784744" y="431582"/>
                    <a:pt x="4764248" y="435552"/>
                  </a:cubicBezTo>
                  <a:lnTo>
                    <a:pt x="4764248" y="435932"/>
                  </a:lnTo>
                  <a:cubicBezTo>
                    <a:pt x="4784744" y="439648"/>
                    <a:pt x="4794990" y="450080"/>
                    <a:pt x="4794990" y="467225"/>
                  </a:cubicBezTo>
                  <a:lnTo>
                    <a:pt x="4794990" y="502573"/>
                  </a:lnTo>
                  <a:cubicBezTo>
                    <a:pt x="4794990" y="511610"/>
                    <a:pt x="4796818" y="518050"/>
                    <a:pt x="4800474" y="521893"/>
                  </a:cubicBezTo>
                  <a:cubicBezTo>
                    <a:pt x="4804130" y="525736"/>
                    <a:pt x="4810490" y="527742"/>
                    <a:pt x="4819552" y="527911"/>
                  </a:cubicBezTo>
                  <a:lnTo>
                    <a:pt x="4819552" y="547422"/>
                  </a:lnTo>
                  <a:cubicBezTo>
                    <a:pt x="4782889" y="547084"/>
                    <a:pt x="4764558" y="534246"/>
                    <a:pt x="4764558" y="508908"/>
                  </a:cubicBezTo>
                  <a:lnTo>
                    <a:pt x="4764558" y="471533"/>
                  </a:lnTo>
                  <a:cubicBezTo>
                    <a:pt x="4764558" y="454809"/>
                    <a:pt x="4756524" y="446025"/>
                    <a:pt x="4740459" y="445180"/>
                  </a:cubicBezTo>
                  <a:lnTo>
                    <a:pt x="4740459" y="426684"/>
                  </a:lnTo>
                  <a:cubicBezTo>
                    <a:pt x="4756524" y="425839"/>
                    <a:pt x="4764558" y="416886"/>
                    <a:pt x="4764558" y="399824"/>
                  </a:cubicBezTo>
                  <a:lnTo>
                    <a:pt x="4764558" y="363463"/>
                  </a:lnTo>
                  <a:cubicBezTo>
                    <a:pt x="4764558" y="337787"/>
                    <a:pt x="4782889" y="324780"/>
                    <a:pt x="4819552" y="324442"/>
                  </a:cubicBezTo>
                  <a:close/>
                  <a:moveTo>
                    <a:pt x="2336269" y="324442"/>
                  </a:moveTo>
                  <a:cubicBezTo>
                    <a:pt x="2372726" y="324780"/>
                    <a:pt x="2390956" y="337787"/>
                    <a:pt x="2390956" y="363463"/>
                  </a:cubicBezTo>
                  <a:lnTo>
                    <a:pt x="2390956" y="399824"/>
                  </a:lnTo>
                  <a:cubicBezTo>
                    <a:pt x="2390956" y="416886"/>
                    <a:pt x="2398936" y="425839"/>
                    <a:pt x="2414899" y="426684"/>
                  </a:cubicBezTo>
                  <a:lnTo>
                    <a:pt x="2414899" y="445180"/>
                  </a:lnTo>
                  <a:cubicBezTo>
                    <a:pt x="2398936" y="446025"/>
                    <a:pt x="2390956" y="454809"/>
                    <a:pt x="2390956" y="471533"/>
                  </a:cubicBezTo>
                  <a:lnTo>
                    <a:pt x="2390956" y="508908"/>
                  </a:lnTo>
                  <a:cubicBezTo>
                    <a:pt x="2390956" y="534246"/>
                    <a:pt x="2372726" y="547084"/>
                    <a:pt x="2336269" y="547422"/>
                  </a:cubicBezTo>
                  <a:lnTo>
                    <a:pt x="2336269" y="527911"/>
                  </a:lnTo>
                  <a:cubicBezTo>
                    <a:pt x="2345229" y="527742"/>
                    <a:pt x="2351589" y="525715"/>
                    <a:pt x="2355347" y="521830"/>
                  </a:cubicBezTo>
                  <a:cubicBezTo>
                    <a:pt x="2359106" y="517945"/>
                    <a:pt x="2360986" y="511526"/>
                    <a:pt x="2360986" y="502573"/>
                  </a:cubicBezTo>
                  <a:lnTo>
                    <a:pt x="2360986" y="467225"/>
                  </a:lnTo>
                  <a:cubicBezTo>
                    <a:pt x="2360986" y="450080"/>
                    <a:pt x="2371130" y="439648"/>
                    <a:pt x="2391418" y="435932"/>
                  </a:cubicBezTo>
                  <a:lnTo>
                    <a:pt x="2391418" y="435552"/>
                  </a:lnTo>
                  <a:cubicBezTo>
                    <a:pt x="2371130" y="431582"/>
                    <a:pt x="2360986" y="421067"/>
                    <a:pt x="2360986" y="404005"/>
                  </a:cubicBezTo>
                  <a:lnTo>
                    <a:pt x="2360986" y="368278"/>
                  </a:lnTo>
                  <a:cubicBezTo>
                    <a:pt x="2360986" y="352483"/>
                    <a:pt x="2352747" y="344417"/>
                    <a:pt x="2336269" y="344080"/>
                  </a:cubicBezTo>
                  <a:close/>
                  <a:moveTo>
                    <a:pt x="2314950" y="324442"/>
                  </a:moveTo>
                  <a:lnTo>
                    <a:pt x="2314950" y="344080"/>
                  </a:lnTo>
                  <a:cubicBezTo>
                    <a:pt x="2298576" y="344417"/>
                    <a:pt x="2290389" y="352483"/>
                    <a:pt x="2290389" y="368278"/>
                  </a:cubicBezTo>
                  <a:lnTo>
                    <a:pt x="2290389" y="404005"/>
                  </a:lnTo>
                  <a:cubicBezTo>
                    <a:pt x="2290389" y="421067"/>
                    <a:pt x="2280142" y="431582"/>
                    <a:pt x="2259648" y="435552"/>
                  </a:cubicBezTo>
                  <a:lnTo>
                    <a:pt x="2259648" y="435932"/>
                  </a:lnTo>
                  <a:cubicBezTo>
                    <a:pt x="2280142" y="439648"/>
                    <a:pt x="2290389" y="450080"/>
                    <a:pt x="2290389" y="467225"/>
                  </a:cubicBezTo>
                  <a:lnTo>
                    <a:pt x="2290389" y="502573"/>
                  </a:lnTo>
                  <a:cubicBezTo>
                    <a:pt x="2290389" y="511610"/>
                    <a:pt x="2292216" y="518050"/>
                    <a:pt x="2295873" y="521893"/>
                  </a:cubicBezTo>
                  <a:cubicBezTo>
                    <a:pt x="2299528" y="525736"/>
                    <a:pt x="2305888" y="527742"/>
                    <a:pt x="2314950" y="527911"/>
                  </a:cubicBezTo>
                  <a:lnTo>
                    <a:pt x="2314950" y="547422"/>
                  </a:lnTo>
                  <a:cubicBezTo>
                    <a:pt x="2278287" y="547084"/>
                    <a:pt x="2259956" y="534246"/>
                    <a:pt x="2259956" y="508908"/>
                  </a:cubicBezTo>
                  <a:lnTo>
                    <a:pt x="2259956" y="471533"/>
                  </a:lnTo>
                  <a:cubicBezTo>
                    <a:pt x="2259956" y="454809"/>
                    <a:pt x="2251924" y="446025"/>
                    <a:pt x="2235857" y="445180"/>
                  </a:cubicBezTo>
                  <a:lnTo>
                    <a:pt x="2235857" y="426684"/>
                  </a:lnTo>
                  <a:cubicBezTo>
                    <a:pt x="2251924" y="425839"/>
                    <a:pt x="2259956" y="416886"/>
                    <a:pt x="2259956" y="399824"/>
                  </a:cubicBezTo>
                  <a:lnTo>
                    <a:pt x="2259956" y="363463"/>
                  </a:lnTo>
                  <a:cubicBezTo>
                    <a:pt x="2259956" y="337787"/>
                    <a:pt x="2278287" y="324780"/>
                    <a:pt x="2314950" y="324442"/>
                  </a:cubicBezTo>
                  <a:close/>
                  <a:moveTo>
                    <a:pt x="8852714" y="0"/>
                  </a:moveTo>
                  <a:cubicBezTo>
                    <a:pt x="8889171" y="338"/>
                    <a:pt x="8907400" y="13345"/>
                    <a:pt x="8907400" y="39021"/>
                  </a:cubicBezTo>
                  <a:lnTo>
                    <a:pt x="8907400" y="75382"/>
                  </a:lnTo>
                  <a:cubicBezTo>
                    <a:pt x="8907400" y="92444"/>
                    <a:pt x="8915381" y="101397"/>
                    <a:pt x="8931344" y="102242"/>
                  </a:cubicBezTo>
                  <a:lnTo>
                    <a:pt x="8931344" y="120738"/>
                  </a:lnTo>
                  <a:cubicBezTo>
                    <a:pt x="8915381" y="121583"/>
                    <a:pt x="8907400" y="130367"/>
                    <a:pt x="8907400" y="147091"/>
                  </a:cubicBezTo>
                  <a:lnTo>
                    <a:pt x="8907400" y="184465"/>
                  </a:lnTo>
                  <a:cubicBezTo>
                    <a:pt x="8907400" y="209804"/>
                    <a:pt x="8889171" y="222642"/>
                    <a:pt x="8852714" y="222980"/>
                  </a:cubicBezTo>
                  <a:lnTo>
                    <a:pt x="8852714" y="203469"/>
                  </a:lnTo>
                  <a:cubicBezTo>
                    <a:pt x="8861674" y="203300"/>
                    <a:pt x="8868033" y="201273"/>
                    <a:pt x="8871792" y="197388"/>
                  </a:cubicBezTo>
                  <a:cubicBezTo>
                    <a:pt x="8875551" y="193503"/>
                    <a:pt x="8877431" y="187084"/>
                    <a:pt x="8877431" y="178131"/>
                  </a:cubicBezTo>
                  <a:lnTo>
                    <a:pt x="8877431" y="142783"/>
                  </a:lnTo>
                  <a:cubicBezTo>
                    <a:pt x="8877431" y="125638"/>
                    <a:pt x="8887575" y="115206"/>
                    <a:pt x="8907863" y="111490"/>
                  </a:cubicBezTo>
                  <a:lnTo>
                    <a:pt x="8907863" y="111110"/>
                  </a:lnTo>
                  <a:cubicBezTo>
                    <a:pt x="8887575" y="107140"/>
                    <a:pt x="8877431" y="96625"/>
                    <a:pt x="8877431" y="79563"/>
                  </a:cubicBezTo>
                  <a:lnTo>
                    <a:pt x="8877431" y="43836"/>
                  </a:lnTo>
                  <a:cubicBezTo>
                    <a:pt x="8877431" y="28041"/>
                    <a:pt x="8869192" y="19975"/>
                    <a:pt x="8852714" y="19638"/>
                  </a:cubicBezTo>
                  <a:close/>
                  <a:moveTo>
                    <a:pt x="8831395" y="0"/>
                  </a:moveTo>
                  <a:lnTo>
                    <a:pt x="8831395" y="19638"/>
                  </a:lnTo>
                  <a:cubicBezTo>
                    <a:pt x="8815021" y="19975"/>
                    <a:pt x="8806833" y="28041"/>
                    <a:pt x="8806833" y="43836"/>
                  </a:cubicBezTo>
                  <a:lnTo>
                    <a:pt x="8806833" y="79563"/>
                  </a:lnTo>
                  <a:cubicBezTo>
                    <a:pt x="8806833" y="96625"/>
                    <a:pt x="8796586" y="107140"/>
                    <a:pt x="8776092" y="111110"/>
                  </a:cubicBezTo>
                  <a:lnTo>
                    <a:pt x="8776092" y="111490"/>
                  </a:lnTo>
                  <a:cubicBezTo>
                    <a:pt x="8796586" y="115206"/>
                    <a:pt x="8806833" y="125638"/>
                    <a:pt x="8806833" y="142783"/>
                  </a:cubicBezTo>
                  <a:lnTo>
                    <a:pt x="8806833" y="178131"/>
                  </a:lnTo>
                  <a:cubicBezTo>
                    <a:pt x="8806833" y="187168"/>
                    <a:pt x="8808661" y="193608"/>
                    <a:pt x="8812317" y="197451"/>
                  </a:cubicBezTo>
                  <a:cubicBezTo>
                    <a:pt x="8815973" y="201294"/>
                    <a:pt x="8822333" y="203300"/>
                    <a:pt x="8831395" y="203469"/>
                  </a:cubicBezTo>
                  <a:lnTo>
                    <a:pt x="8831395" y="222980"/>
                  </a:lnTo>
                  <a:cubicBezTo>
                    <a:pt x="8794732" y="222642"/>
                    <a:pt x="8776401" y="209804"/>
                    <a:pt x="8776401" y="184465"/>
                  </a:cubicBezTo>
                  <a:lnTo>
                    <a:pt x="8776401" y="147091"/>
                  </a:lnTo>
                  <a:cubicBezTo>
                    <a:pt x="8776401" y="130367"/>
                    <a:pt x="8768368" y="121583"/>
                    <a:pt x="8752302" y="120738"/>
                  </a:cubicBezTo>
                  <a:lnTo>
                    <a:pt x="8752302" y="102242"/>
                  </a:lnTo>
                  <a:cubicBezTo>
                    <a:pt x="8768368" y="101397"/>
                    <a:pt x="8776401" y="92444"/>
                    <a:pt x="8776401" y="75382"/>
                  </a:cubicBezTo>
                  <a:lnTo>
                    <a:pt x="8776401" y="39021"/>
                  </a:lnTo>
                  <a:cubicBezTo>
                    <a:pt x="8776401" y="13345"/>
                    <a:pt x="8794732" y="338"/>
                    <a:pt x="8831395" y="0"/>
                  </a:cubicBezTo>
                  <a:close/>
                  <a:moveTo>
                    <a:pt x="2780936" y="0"/>
                  </a:moveTo>
                  <a:cubicBezTo>
                    <a:pt x="2817392" y="338"/>
                    <a:pt x="2835620" y="13345"/>
                    <a:pt x="2835620" y="39021"/>
                  </a:cubicBezTo>
                  <a:lnTo>
                    <a:pt x="2835620" y="75382"/>
                  </a:lnTo>
                  <a:cubicBezTo>
                    <a:pt x="2835620" y="92444"/>
                    <a:pt x="2843602" y="101397"/>
                    <a:pt x="2859566" y="102242"/>
                  </a:cubicBezTo>
                  <a:lnTo>
                    <a:pt x="2859566" y="120738"/>
                  </a:lnTo>
                  <a:cubicBezTo>
                    <a:pt x="2843602" y="121583"/>
                    <a:pt x="2835620" y="130367"/>
                    <a:pt x="2835620" y="147091"/>
                  </a:cubicBezTo>
                  <a:lnTo>
                    <a:pt x="2835620" y="184465"/>
                  </a:lnTo>
                  <a:cubicBezTo>
                    <a:pt x="2835620" y="209804"/>
                    <a:pt x="2817392" y="222642"/>
                    <a:pt x="2780936" y="222980"/>
                  </a:cubicBezTo>
                  <a:lnTo>
                    <a:pt x="2780936" y="203469"/>
                  </a:lnTo>
                  <a:cubicBezTo>
                    <a:pt x="2789895" y="203300"/>
                    <a:pt x="2796255" y="201273"/>
                    <a:pt x="2800014" y="197388"/>
                  </a:cubicBezTo>
                  <a:cubicBezTo>
                    <a:pt x="2803773" y="193503"/>
                    <a:pt x="2805652" y="187084"/>
                    <a:pt x="2805652" y="178131"/>
                  </a:cubicBezTo>
                  <a:lnTo>
                    <a:pt x="2805652" y="142783"/>
                  </a:lnTo>
                  <a:cubicBezTo>
                    <a:pt x="2805652" y="125638"/>
                    <a:pt x="2815797" y="115206"/>
                    <a:pt x="2836085" y="111490"/>
                  </a:cubicBezTo>
                  <a:lnTo>
                    <a:pt x="2836085" y="111110"/>
                  </a:lnTo>
                  <a:cubicBezTo>
                    <a:pt x="2815797" y="107140"/>
                    <a:pt x="2805652" y="96625"/>
                    <a:pt x="2805652" y="79563"/>
                  </a:cubicBezTo>
                  <a:lnTo>
                    <a:pt x="2805652" y="43836"/>
                  </a:lnTo>
                  <a:cubicBezTo>
                    <a:pt x="2805652" y="28041"/>
                    <a:pt x="2797414" y="19975"/>
                    <a:pt x="2780936" y="19638"/>
                  </a:cubicBezTo>
                  <a:close/>
                  <a:moveTo>
                    <a:pt x="2759616" y="0"/>
                  </a:moveTo>
                  <a:lnTo>
                    <a:pt x="2759616" y="19638"/>
                  </a:lnTo>
                  <a:cubicBezTo>
                    <a:pt x="2743242" y="19975"/>
                    <a:pt x="2735055" y="28041"/>
                    <a:pt x="2735055" y="43836"/>
                  </a:cubicBezTo>
                  <a:lnTo>
                    <a:pt x="2735055" y="79563"/>
                  </a:lnTo>
                  <a:cubicBezTo>
                    <a:pt x="2735055" y="96625"/>
                    <a:pt x="2724808" y="107140"/>
                    <a:pt x="2704314" y="111110"/>
                  </a:cubicBezTo>
                  <a:lnTo>
                    <a:pt x="2704314" y="111490"/>
                  </a:lnTo>
                  <a:cubicBezTo>
                    <a:pt x="2724808" y="115206"/>
                    <a:pt x="2735055" y="125638"/>
                    <a:pt x="2735055" y="142783"/>
                  </a:cubicBezTo>
                  <a:lnTo>
                    <a:pt x="2735055" y="178131"/>
                  </a:lnTo>
                  <a:cubicBezTo>
                    <a:pt x="2735055" y="187168"/>
                    <a:pt x="2736883" y="193608"/>
                    <a:pt x="2740539" y="197451"/>
                  </a:cubicBezTo>
                  <a:cubicBezTo>
                    <a:pt x="2744194" y="201294"/>
                    <a:pt x="2750555" y="203300"/>
                    <a:pt x="2759616" y="203469"/>
                  </a:cubicBezTo>
                  <a:lnTo>
                    <a:pt x="2759616" y="222980"/>
                  </a:lnTo>
                  <a:cubicBezTo>
                    <a:pt x="2722953" y="222642"/>
                    <a:pt x="2704623" y="209804"/>
                    <a:pt x="2704623" y="184465"/>
                  </a:cubicBezTo>
                  <a:lnTo>
                    <a:pt x="2704623" y="147091"/>
                  </a:lnTo>
                  <a:cubicBezTo>
                    <a:pt x="2704623" y="130367"/>
                    <a:pt x="2696589" y="121583"/>
                    <a:pt x="2680524" y="120738"/>
                  </a:cubicBezTo>
                  <a:lnTo>
                    <a:pt x="2680524" y="102242"/>
                  </a:lnTo>
                  <a:cubicBezTo>
                    <a:pt x="2696589" y="101397"/>
                    <a:pt x="2704623" y="92444"/>
                    <a:pt x="2704623" y="75382"/>
                  </a:cubicBezTo>
                  <a:lnTo>
                    <a:pt x="2704623" y="39021"/>
                  </a:lnTo>
                  <a:cubicBezTo>
                    <a:pt x="2704623" y="13345"/>
                    <a:pt x="2722953" y="338"/>
                    <a:pt x="2759616" y="0"/>
                  </a:cubicBezTo>
                  <a:close/>
                </a:path>
              </a:pathLst>
            </a:cu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785" name="Rectangle 1784"/>
          <p:cNvSpPr/>
          <p:nvPr userDrawn="1"/>
        </p:nvSpPr>
        <p:spPr bwMode="auto">
          <a:xfrm>
            <a:off x="4259"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612648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Content Placeholder 5"/>
          <p:cNvSpPr>
            <a:spLocks noGrp="1"/>
          </p:cNvSpPr>
          <p:nvPr>
            <p:ph sz="quarter" idx="10"/>
          </p:nvPr>
        </p:nvSpPr>
        <p:spPr>
          <a:xfrm>
            <a:off x="324465" y="2271258"/>
            <a:ext cx="5500457" cy="3689876"/>
          </a:xfrm>
        </p:spPr>
        <p:txBody>
          <a:bodyPr>
            <a:normAutofit/>
          </a:bodyPr>
          <a:lstStyle>
            <a:lvl1pPr marL="0" indent="0">
              <a:buNone/>
              <a:defRPr sz="2400">
                <a:solidFill>
                  <a:schemeClr val="bg1"/>
                </a:solidFill>
                <a:latin typeface="+mj-lt"/>
              </a:defRPr>
            </a:lvl1pPr>
            <a:lvl2pPr marL="457200" indent="0">
              <a:buNone/>
              <a:defRPr sz="2000">
                <a:latin typeface="+mj-lt"/>
              </a:defRPr>
            </a:lvl2pPr>
            <a:lvl3pPr marL="914400" indent="0">
              <a:buNone/>
              <a:defRPr sz="1800">
                <a:latin typeface="+mj-lt"/>
              </a:defRPr>
            </a:lvl3pPr>
            <a:lvl4pPr marL="1371600" indent="0">
              <a:buNone/>
              <a:defRPr sz="1600">
                <a:latin typeface="+mj-lt"/>
              </a:defRPr>
            </a:lvl4pPr>
            <a:lvl5pPr marL="1828800" indent="0">
              <a:buNone/>
              <a:defRPr sz="16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a:xfrm>
            <a:off x="324466" y="333156"/>
            <a:ext cx="5500456" cy="832012"/>
          </a:xfrm>
        </p:spPr>
        <p:txBody>
          <a:bodyPr>
            <a:normAutofit/>
          </a:bodyPr>
          <a:lstStyle>
            <a:lvl1pPr>
              <a:defRPr sz="4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9242189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1"/>
          <a:stretch/>
        </p:blipFill>
        <p:spPr>
          <a:xfrm>
            <a:off x="-7200" y="0"/>
            <a:ext cx="12199200" cy="5162399"/>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79515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185921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280967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991705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249886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924019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0982039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633932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851801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65872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5683023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04721197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6890048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3844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93026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63955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840331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tx1"/>
        </a:solidFill>
        <a:effectLst/>
      </p:bgPr>
    </p:bg>
    <p:spTree>
      <p:nvGrpSpPr>
        <p:cNvPr id="1" name=""/>
        <p:cNvGrpSpPr/>
        <p:nvPr/>
      </p:nvGrpSpPr>
      <p:grpSpPr>
        <a:xfrm>
          <a:off x="0" y="0"/>
          <a:ext cx="0" cy="0"/>
          <a:chOff x="0" y="0"/>
          <a:chExt cx="0" cy="0"/>
        </a:xfrm>
      </p:grpSpPr>
      <p:grpSp>
        <p:nvGrpSpPr>
          <p:cNvPr id="17" name="Group 16"/>
          <p:cNvGrpSpPr/>
          <p:nvPr userDrawn="1"/>
        </p:nvGrpSpPr>
        <p:grpSpPr>
          <a:xfrm>
            <a:off x="34441" y="68248"/>
            <a:ext cx="12117871" cy="6078416"/>
            <a:chOff x="34441" y="68248"/>
            <a:chExt cx="12117871" cy="6078416"/>
          </a:xfrm>
        </p:grpSpPr>
        <p:sp>
          <p:nvSpPr>
            <p:cNvPr id="18" name="Freeform 17"/>
            <p:cNvSpPr/>
            <p:nvPr/>
          </p:nvSpPr>
          <p:spPr>
            <a:xfrm>
              <a:off x="1402215" y="73882"/>
              <a:ext cx="9688677" cy="6065122"/>
            </a:xfrm>
            <a:custGeom>
              <a:avLst/>
              <a:gdLst>
                <a:gd name="connsiteX0" fmla="*/ 3144402 w 9688677"/>
                <a:gd name="connsiteY0" fmla="*/ 5869977 h 6065122"/>
                <a:gd name="connsiteX1" fmla="*/ 3105132 w 9688677"/>
                <a:gd name="connsiteY1" fmla="*/ 5956491 h 6065122"/>
                <a:gd name="connsiteX2" fmla="*/ 3143650 w 9688677"/>
                <a:gd name="connsiteY2" fmla="*/ 6037438 h 6065122"/>
                <a:gd name="connsiteX3" fmla="*/ 3181565 w 9688677"/>
                <a:gd name="connsiteY3" fmla="*/ 5955137 h 6065122"/>
                <a:gd name="connsiteX4" fmla="*/ 3144402 w 9688677"/>
                <a:gd name="connsiteY4" fmla="*/ 5869977 h 6065122"/>
                <a:gd name="connsiteX5" fmla="*/ 3146057 w 9688677"/>
                <a:gd name="connsiteY5" fmla="*/ 5842142 h 6065122"/>
                <a:gd name="connsiteX6" fmla="*/ 3217224 w 9688677"/>
                <a:gd name="connsiteY6" fmla="*/ 5952730 h 6065122"/>
                <a:gd name="connsiteX7" fmla="*/ 3197138 w 9688677"/>
                <a:gd name="connsiteY7" fmla="*/ 6036309 h 6065122"/>
                <a:gd name="connsiteX8" fmla="*/ 3140941 w 9688677"/>
                <a:gd name="connsiteY8" fmla="*/ 6065122 h 6065122"/>
                <a:gd name="connsiteX9" fmla="*/ 3088356 w 9688677"/>
                <a:gd name="connsiteY9" fmla="*/ 6037588 h 6065122"/>
                <a:gd name="connsiteX10" fmla="*/ 3069473 w 9688677"/>
                <a:gd name="connsiteY10" fmla="*/ 5957996 h 6065122"/>
                <a:gd name="connsiteX11" fmla="*/ 3089183 w 9688677"/>
                <a:gd name="connsiteY11" fmla="*/ 5871482 h 6065122"/>
                <a:gd name="connsiteX12" fmla="*/ 3146057 w 9688677"/>
                <a:gd name="connsiteY12" fmla="*/ 5842142 h 6065122"/>
                <a:gd name="connsiteX13" fmla="*/ 9245467 w 9688677"/>
                <a:gd name="connsiteY13" fmla="*/ 5532347 h 6065122"/>
                <a:gd name="connsiteX14" fmla="*/ 9206197 w 9688677"/>
                <a:gd name="connsiteY14" fmla="*/ 5618861 h 6065122"/>
                <a:gd name="connsiteX15" fmla="*/ 9244715 w 9688677"/>
                <a:gd name="connsiteY15" fmla="*/ 5699808 h 6065122"/>
                <a:gd name="connsiteX16" fmla="*/ 9282630 w 9688677"/>
                <a:gd name="connsiteY16" fmla="*/ 5617507 h 6065122"/>
                <a:gd name="connsiteX17" fmla="*/ 9245467 w 9688677"/>
                <a:gd name="connsiteY17" fmla="*/ 5532347 h 6065122"/>
                <a:gd name="connsiteX18" fmla="*/ 3144402 w 9688677"/>
                <a:gd name="connsiteY18" fmla="*/ 5532347 h 6065122"/>
                <a:gd name="connsiteX19" fmla="*/ 3105132 w 9688677"/>
                <a:gd name="connsiteY19" fmla="*/ 5618860 h 6065122"/>
                <a:gd name="connsiteX20" fmla="*/ 3143650 w 9688677"/>
                <a:gd name="connsiteY20" fmla="*/ 5699807 h 6065122"/>
                <a:gd name="connsiteX21" fmla="*/ 3181565 w 9688677"/>
                <a:gd name="connsiteY21" fmla="*/ 5617506 h 6065122"/>
                <a:gd name="connsiteX22" fmla="*/ 3144402 w 9688677"/>
                <a:gd name="connsiteY22" fmla="*/ 5532347 h 6065122"/>
                <a:gd name="connsiteX23" fmla="*/ 9247122 w 9688677"/>
                <a:gd name="connsiteY23" fmla="*/ 5504512 h 6065122"/>
                <a:gd name="connsiteX24" fmla="*/ 9318289 w 9688677"/>
                <a:gd name="connsiteY24" fmla="*/ 5615100 h 6065122"/>
                <a:gd name="connsiteX25" fmla="*/ 9298203 w 9688677"/>
                <a:gd name="connsiteY25" fmla="*/ 5698679 h 6065122"/>
                <a:gd name="connsiteX26" fmla="*/ 9242006 w 9688677"/>
                <a:gd name="connsiteY26" fmla="*/ 5727492 h 6065122"/>
                <a:gd name="connsiteX27" fmla="*/ 9189421 w 9688677"/>
                <a:gd name="connsiteY27" fmla="*/ 5699958 h 6065122"/>
                <a:gd name="connsiteX28" fmla="*/ 9170538 w 9688677"/>
                <a:gd name="connsiteY28" fmla="*/ 5620366 h 6065122"/>
                <a:gd name="connsiteX29" fmla="*/ 9190248 w 9688677"/>
                <a:gd name="connsiteY29" fmla="*/ 5533852 h 6065122"/>
                <a:gd name="connsiteX30" fmla="*/ 9247122 w 9688677"/>
                <a:gd name="connsiteY30" fmla="*/ 5504512 h 6065122"/>
                <a:gd name="connsiteX31" fmla="*/ 3146057 w 9688677"/>
                <a:gd name="connsiteY31" fmla="*/ 5504512 h 6065122"/>
                <a:gd name="connsiteX32" fmla="*/ 3217224 w 9688677"/>
                <a:gd name="connsiteY32" fmla="*/ 5615099 h 6065122"/>
                <a:gd name="connsiteX33" fmla="*/ 3197138 w 9688677"/>
                <a:gd name="connsiteY33" fmla="*/ 5698679 h 6065122"/>
                <a:gd name="connsiteX34" fmla="*/ 3140941 w 9688677"/>
                <a:gd name="connsiteY34" fmla="*/ 5727492 h 6065122"/>
                <a:gd name="connsiteX35" fmla="*/ 3088356 w 9688677"/>
                <a:gd name="connsiteY35" fmla="*/ 5699958 h 6065122"/>
                <a:gd name="connsiteX36" fmla="*/ 3069473 w 9688677"/>
                <a:gd name="connsiteY36" fmla="*/ 5620365 h 6065122"/>
                <a:gd name="connsiteX37" fmla="*/ 3089183 w 9688677"/>
                <a:gd name="connsiteY37" fmla="*/ 5533851 h 6065122"/>
                <a:gd name="connsiteX38" fmla="*/ 3146057 w 9688677"/>
                <a:gd name="connsiteY38" fmla="*/ 5504512 h 6065122"/>
                <a:gd name="connsiteX39" fmla="*/ 9245467 w 9688677"/>
                <a:gd name="connsiteY39" fmla="*/ 5184876 h 6065122"/>
                <a:gd name="connsiteX40" fmla="*/ 9206197 w 9688677"/>
                <a:gd name="connsiteY40" fmla="*/ 5271390 h 6065122"/>
                <a:gd name="connsiteX41" fmla="*/ 9244715 w 9688677"/>
                <a:gd name="connsiteY41" fmla="*/ 5352337 h 6065122"/>
                <a:gd name="connsiteX42" fmla="*/ 9282630 w 9688677"/>
                <a:gd name="connsiteY42" fmla="*/ 5270036 h 6065122"/>
                <a:gd name="connsiteX43" fmla="*/ 9245467 w 9688677"/>
                <a:gd name="connsiteY43" fmla="*/ 5184876 h 6065122"/>
                <a:gd name="connsiteX44" fmla="*/ 3144402 w 9688677"/>
                <a:gd name="connsiteY44" fmla="*/ 5184876 h 6065122"/>
                <a:gd name="connsiteX45" fmla="*/ 3105132 w 9688677"/>
                <a:gd name="connsiteY45" fmla="*/ 5271389 h 6065122"/>
                <a:gd name="connsiteX46" fmla="*/ 3143650 w 9688677"/>
                <a:gd name="connsiteY46" fmla="*/ 5352336 h 6065122"/>
                <a:gd name="connsiteX47" fmla="*/ 3181565 w 9688677"/>
                <a:gd name="connsiteY47" fmla="*/ 5270035 h 6065122"/>
                <a:gd name="connsiteX48" fmla="*/ 3144402 w 9688677"/>
                <a:gd name="connsiteY48" fmla="*/ 5184876 h 6065122"/>
                <a:gd name="connsiteX49" fmla="*/ 9247122 w 9688677"/>
                <a:gd name="connsiteY49" fmla="*/ 5157041 h 6065122"/>
                <a:gd name="connsiteX50" fmla="*/ 9318289 w 9688677"/>
                <a:gd name="connsiteY50" fmla="*/ 5267629 h 6065122"/>
                <a:gd name="connsiteX51" fmla="*/ 9298203 w 9688677"/>
                <a:gd name="connsiteY51" fmla="*/ 5351208 h 6065122"/>
                <a:gd name="connsiteX52" fmla="*/ 9242006 w 9688677"/>
                <a:gd name="connsiteY52" fmla="*/ 5380021 h 6065122"/>
                <a:gd name="connsiteX53" fmla="*/ 9189421 w 9688677"/>
                <a:gd name="connsiteY53" fmla="*/ 5352487 h 6065122"/>
                <a:gd name="connsiteX54" fmla="*/ 9170538 w 9688677"/>
                <a:gd name="connsiteY54" fmla="*/ 5272895 h 6065122"/>
                <a:gd name="connsiteX55" fmla="*/ 9190248 w 9688677"/>
                <a:gd name="connsiteY55" fmla="*/ 5186381 h 6065122"/>
                <a:gd name="connsiteX56" fmla="*/ 9247122 w 9688677"/>
                <a:gd name="connsiteY56" fmla="*/ 5157041 h 6065122"/>
                <a:gd name="connsiteX57" fmla="*/ 3146057 w 9688677"/>
                <a:gd name="connsiteY57" fmla="*/ 5157041 h 6065122"/>
                <a:gd name="connsiteX58" fmla="*/ 3217224 w 9688677"/>
                <a:gd name="connsiteY58" fmla="*/ 5267628 h 6065122"/>
                <a:gd name="connsiteX59" fmla="*/ 3197138 w 9688677"/>
                <a:gd name="connsiteY59" fmla="*/ 5351208 h 6065122"/>
                <a:gd name="connsiteX60" fmla="*/ 3140941 w 9688677"/>
                <a:gd name="connsiteY60" fmla="*/ 5380021 h 6065122"/>
                <a:gd name="connsiteX61" fmla="*/ 3088356 w 9688677"/>
                <a:gd name="connsiteY61" fmla="*/ 5352487 h 6065122"/>
                <a:gd name="connsiteX62" fmla="*/ 3069473 w 9688677"/>
                <a:gd name="connsiteY62" fmla="*/ 5272894 h 6065122"/>
                <a:gd name="connsiteX63" fmla="*/ 3089183 w 9688677"/>
                <a:gd name="connsiteY63" fmla="*/ 5186380 h 6065122"/>
                <a:gd name="connsiteX64" fmla="*/ 3146057 w 9688677"/>
                <a:gd name="connsiteY64" fmla="*/ 5157041 h 6065122"/>
                <a:gd name="connsiteX65" fmla="*/ 9245467 w 9688677"/>
                <a:gd name="connsiteY65" fmla="*/ 4871806 h 6065122"/>
                <a:gd name="connsiteX66" fmla="*/ 9206197 w 9688677"/>
                <a:gd name="connsiteY66" fmla="*/ 4958319 h 6065122"/>
                <a:gd name="connsiteX67" fmla="*/ 9244715 w 9688677"/>
                <a:gd name="connsiteY67" fmla="*/ 5039266 h 6065122"/>
                <a:gd name="connsiteX68" fmla="*/ 9282630 w 9688677"/>
                <a:gd name="connsiteY68" fmla="*/ 4956965 h 6065122"/>
                <a:gd name="connsiteX69" fmla="*/ 9245467 w 9688677"/>
                <a:gd name="connsiteY69" fmla="*/ 4871806 h 6065122"/>
                <a:gd name="connsiteX70" fmla="*/ 3144402 w 9688677"/>
                <a:gd name="connsiteY70" fmla="*/ 4871806 h 6065122"/>
                <a:gd name="connsiteX71" fmla="*/ 3105132 w 9688677"/>
                <a:gd name="connsiteY71" fmla="*/ 4958319 h 6065122"/>
                <a:gd name="connsiteX72" fmla="*/ 3143650 w 9688677"/>
                <a:gd name="connsiteY72" fmla="*/ 5039266 h 6065122"/>
                <a:gd name="connsiteX73" fmla="*/ 3181565 w 9688677"/>
                <a:gd name="connsiteY73" fmla="*/ 4956965 h 6065122"/>
                <a:gd name="connsiteX74" fmla="*/ 3144402 w 9688677"/>
                <a:gd name="connsiteY74" fmla="*/ 4871806 h 6065122"/>
                <a:gd name="connsiteX75" fmla="*/ 9247122 w 9688677"/>
                <a:gd name="connsiteY75" fmla="*/ 4843971 h 6065122"/>
                <a:gd name="connsiteX76" fmla="*/ 9318289 w 9688677"/>
                <a:gd name="connsiteY76" fmla="*/ 4954558 h 6065122"/>
                <a:gd name="connsiteX77" fmla="*/ 9298203 w 9688677"/>
                <a:gd name="connsiteY77" fmla="*/ 5038138 h 6065122"/>
                <a:gd name="connsiteX78" fmla="*/ 9242006 w 9688677"/>
                <a:gd name="connsiteY78" fmla="*/ 5066951 h 6065122"/>
                <a:gd name="connsiteX79" fmla="*/ 9189421 w 9688677"/>
                <a:gd name="connsiteY79" fmla="*/ 5039417 h 6065122"/>
                <a:gd name="connsiteX80" fmla="*/ 9170538 w 9688677"/>
                <a:gd name="connsiteY80" fmla="*/ 4959824 h 6065122"/>
                <a:gd name="connsiteX81" fmla="*/ 9190248 w 9688677"/>
                <a:gd name="connsiteY81" fmla="*/ 4873310 h 6065122"/>
                <a:gd name="connsiteX82" fmla="*/ 9247122 w 9688677"/>
                <a:gd name="connsiteY82" fmla="*/ 4843971 h 6065122"/>
                <a:gd name="connsiteX83" fmla="*/ 3146057 w 9688677"/>
                <a:gd name="connsiteY83" fmla="*/ 4843971 h 6065122"/>
                <a:gd name="connsiteX84" fmla="*/ 3217224 w 9688677"/>
                <a:gd name="connsiteY84" fmla="*/ 4954558 h 6065122"/>
                <a:gd name="connsiteX85" fmla="*/ 3197138 w 9688677"/>
                <a:gd name="connsiteY85" fmla="*/ 5038138 h 6065122"/>
                <a:gd name="connsiteX86" fmla="*/ 3140941 w 9688677"/>
                <a:gd name="connsiteY86" fmla="*/ 5066951 h 6065122"/>
                <a:gd name="connsiteX87" fmla="*/ 3088356 w 9688677"/>
                <a:gd name="connsiteY87" fmla="*/ 5039417 h 6065122"/>
                <a:gd name="connsiteX88" fmla="*/ 3069473 w 9688677"/>
                <a:gd name="connsiteY88" fmla="*/ 4959824 h 6065122"/>
                <a:gd name="connsiteX89" fmla="*/ 3089183 w 9688677"/>
                <a:gd name="connsiteY89" fmla="*/ 4873310 h 6065122"/>
                <a:gd name="connsiteX90" fmla="*/ 3146057 w 9688677"/>
                <a:gd name="connsiteY90" fmla="*/ 4843971 h 6065122"/>
                <a:gd name="connsiteX91" fmla="*/ 9598862 w 9688677"/>
                <a:gd name="connsiteY91" fmla="*/ 4534176 h 6065122"/>
                <a:gd name="connsiteX92" fmla="*/ 9559592 w 9688677"/>
                <a:gd name="connsiteY92" fmla="*/ 4620689 h 6065122"/>
                <a:gd name="connsiteX93" fmla="*/ 9598110 w 9688677"/>
                <a:gd name="connsiteY93" fmla="*/ 4701636 h 6065122"/>
                <a:gd name="connsiteX94" fmla="*/ 9636025 w 9688677"/>
                <a:gd name="connsiteY94" fmla="*/ 4619335 h 6065122"/>
                <a:gd name="connsiteX95" fmla="*/ 9598862 w 9688677"/>
                <a:gd name="connsiteY95" fmla="*/ 4534176 h 6065122"/>
                <a:gd name="connsiteX96" fmla="*/ 9245467 w 9688677"/>
                <a:gd name="connsiteY96" fmla="*/ 4534176 h 6065122"/>
                <a:gd name="connsiteX97" fmla="*/ 9206197 w 9688677"/>
                <a:gd name="connsiteY97" fmla="*/ 4620689 h 6065122"/>
                <a:gd name="connsiteX98" fmla="*/ 9244715 w 9688677"/>
                <a:gd name="connsiteY98" fmla="*/ 4701636 h 6065122"/>
                <a:gd name="connsiteX99" fmla="*/ 9282630 w 9688677"/>
                <a:gd name="connsiteY99" fmla="*/ 4619335 h 6065122"/>
                <a:gd name="connsiteX100" fmla="*/ 9245467 w 9688677"/>
                <a:gd name="connsiteY100" fmla="*/ 4534176 h 6065122"/>
                <a:gd name="connsiteX101" fmla="*/ 3501344 w 9688677"/>
                <a:gd name="connsiteY101" fmla="*/ 4534176 h 6065122"/>
                <a:gd name="connsiteX102" fmla="*/ 3462074 w 9688677"/>
                <a:gd name="connsiteY102" fmla="*/ 4620689 h 6065122"/>
                <a:gd name="connsiteX103" fmla="*/ 3500592 w 9688677"/>
                <a:gd name="connsiteY103" fmla="*/ 4701636 h 6065122"/>
                <a:gd name="connsiteX104" fmla="*/ 3538507 w 9688677"/>
                <a:gd name="connsiteY104" fmla="*/ 4619335 h 6065122"/>
                <a:gd name="connsiteX105" fmla="*/ 3501344 w 9688677"/>
                <a:gd name="connsiteY105" fmla="*/ 4534176 h 6065122"/>
                <a:gd name="connsiteX106" fmla="*/ 3144402 w 9688677"/>
                <a:gd name="connsiteY106" fmla="*/ 4534176 h 6065122"/>
                <a:gd name="connsiteX107" fmla="*/ 3105132 w 9688677"/>
                <a:gd name="connsiteY107" fmla="*/ 4620689 h 6065122"/>
                <a:gd name="connsiteX108" fmla="*/ 3143650 w 9688677"/>
                <a:gd name="connsiteY108" fmla="*/ 4701636 h 6065122"/>
                <a:gd name="connsiteX109" fmla="*/ 3181565 w 9688677"/>
                <a:gd name="connsiteY109" fmla="*/ 4619335 h 6065122"/>
                <a:gd name="connsiteX110" fmla="*/ 3144402 w 9688677"/>
                <a:gd name="connsiteY110" fmla="*/ 4534176 h 6065122"/>
                <a:gd name="connsiteX111" fmla="*/ 9600517 w 9688677"/>
                <a:gd name="connsiteY111" fmla="*/ 4506341 h 6065122"/>
                <a:gd name="connsiteX112" fmla="*/ 9671684 w 9688677"/>
                <a:gd name="connsiteY112" fmla="*/ 4616928 h 6065122"/>
                <a:gd name="connsiteX113" fmla="*/ 9651598 w 9688677"/>
                <a:gd name="connsiteY113" fmla="*/ 4700508 h 6065122"/>
                <a:gd name="connsiteX114" fmla="*/ 9595401 w 9688677"/>
                <a:gd name="connsiteY114" fmla="*/ 4729321 h 6065122"/>
                <a:gd name="connsiteX115" fmla="*/ 9542816 w 9688677"/>
                <a:gd name="connsiteY115" fmla="*/ 4701787 h 6065122"/>
                <a:gd name="connsiteX116" fmla="*/ 9523933 w 9688677"/>
                <a:gd name="connsiteY116" fmla="*/ 4622194 h 6065122"/>
                <a:gd name="connsiteX117" fmla="*/ 9543643 w 9688677"/>
                <a:gd name="connsiteY117" fmla="*/ 4535680 h 6065122"/>
                <a:gd name="connsiteX118" fmla="*/ 9600517 w 9688677"/>
                <a:gd name="connsiteY118" fmla="*/ 4506341 h 6065122"/>
                <a:gd name="connsiteX119" fmla="*/ 9247122 w 9688677"/>
                <a:gd name="connsiteY119" fmla="*/ 4506341 h 6065122"/>
                <a:gd name="connsiteX120" fmla="*/ 9318289 w 9688677"/>
                <a:gd name="connsiteY120" fmla="*/ 4616928 h 6065122"/>
                <a:gd name="connsiteX121" fmla="*/ 9298203 w 9688677"/>
                <a:gd name="connsiteY121" fmla="*/ 4700508 h 6065122"/>
                <a:gd name="connsiteX122" fmla="*/ 9242006 w 9688677"/>
                <a:gd name="connsiteY122" fmla="*/ 4729321 h 6065122"/>
                <a:gd name="connsiteX123" fmla="*/ 9189421 w 9688677"/>
                <a:gd name="connsiteY123" fmla="*/ 4701787 h 6065122"/>
                <a:gd name="connsiteX124" fmla="*/ 9170538 w 9688677"/>
                <a:gd name="connsiteY124" fmla="*/ 4622194 h 6065122"/>
                <a:gd name="connsiteX125" fmla="*/ 9190248 w 9688677"/>
                <a:gd name="connsiteY125" fmla="*/ 4535680 h 6065122"/>
                <a:gd name="connsiteX126" fmla="*/ 9247122 w 9688677"/>
                <a:gd name="connsiteY126" fmla="*/ 4506341 h 6065122"/>
                <a:gd name="connsiteX127" fmla="*/ 3502999 w 9688677"/>
                <a:gd name="connsiteY127" fmla="*/ 4506341 h 6065122"/>
                <a:gd name="connsiteX128" fmla="*/ 3574166 w 9688677"/>
                <a:gd name="connsiteY128" fmla="*/ 4616928 h 6065122"/>
                <a:gd name="connsiteX129" fmla="*/ 3554080 w 9688677"/>
                <a:gd name="connsiteY129" fmla="*/ 4700508 h 6065122"/>
                <a:gd name="connsiteX130" fmla="*/ 3497883 w 9688677"/>
                <a:gd name="connsiteY130" fmla="*/ 4729321 h 6065122"/>
                <a:gd name="connsiteX131" fmla="*/ 3445298 w 9688677"/>
                <a:gd name="connsiteY131" fmla="*/ 4701787 h 6065122"/>
                <a:gd name="connsiteX132" fmla="*/ 3426415 w 9688677"/>
                <a:gd name="connsiteY132" fmla="*/ 4622194 h 6065122"/>
                <a:gd name="connsiteX133" fmla="*/ 3446125 w 9688677"/>
                <a:gd name="connsiteY133" fmla="*/ 4535680 h 6065122"/>
                <a:gd name="connsiteX134" fmla="*/ 3502999 w 9688677"/>
                <a:gd name="connsiteY134" fmla="*/ 4506341 h 6065122"/>
                <a:gd name="connsiteX135" fmla="*/ 3146057 w 9688677"/>
                <a:gd name="connsiteY135" fmla="*/ 4506341 h 6065122"/>
                <a:gd name="connsiteX136" fmla="*/ 3217224 w 9688677"/>
                <a:gd name="connsiteY136" fmla="*/ 4616928 h 6065122"/>
                <a:gd name="connsiteX137" fmla="*/ 3197138 w 9688677"/>
                <a:gd name="connsiteY137" fmla="*/ 4700508 h 6065122"/>
                <a:gd name="connsiteX138" fmla="*/ 3140941 w 9688677"/>
                <a:gd name="connsiteY138" fmla="*/ 4729321 h 6065122"/>
                <a:gd name="connsiteX139" fmla="*/ 3088356 w 9688677"/>
                <a:gd name="connsiteY139" fmla="*/ 4701787 h 6065122"/>
                <a:gd name="connsiteX140" fmla="*/ 3069473 w 9688677"/>
                <a:gd name="connsiteY140" fmla="*/ 4622194 h 6065122"/>
                <a:gd name="connsiteX141" fmla="*/ 3089183 w 9688677"/>
                <a:gd name="connsiteY141" fmla="*/ 4535680 h 6065122"/>
                <a:gd name="connsiteX142" fmla="*/ 3146057 w 9688677"/>
                <a:gd name="connsiteY142" fmla="*/ 4506341 h 6065122"/>
                <a:gd name="connsiteX143" fmla="*/ 9598862 w 9688677"/>
                <a:gd name="connsiteY143" fmla="*/ 4186705 h 6065122"/>
                <a:gd name="connsiteX144" fmla="*/ 9559592 w 9688677"/>
                <a:gd name="connsiteY144" fmla="*/ 4273218 h 6065122"/>
                <a:gd name="connsiteX145" fmla="*/ 9598110 w 9688677"/>
                <a:gd name="connsiteY145" fmla="*/ 4354165 h 6065122"/>
                <a:gd name="connsiteX146" fmla="*/ 9636025 w 9688677"/>
                <a:gd name="connsiteY146" fmla="*/ 4271864 h 6065122"/>
                <a:gd name="connsiteX147" fmla="*/ 9598862 w 9688677"/>
                <a:gd name="connsiteY147" fmla="*/ 4186705 h 6065122"/>
                <a:gd name="connsiteX148" fmla="*/ 9245467 w 9688677"/>
                <a:gd name="connsiteY148" fmla="*/ 4186705 h 6065122"/>
                <a:gd name="connsiteX149" fmla="*/ 9206197 w 9688677"/>
                <a:gd name="connsiteY149" fmla="*/ 4273218 h 6065122"/>
                <a:gd name="connsiteX150" fmla="*/ 9244715 w 9688677"/>
                <a:gd name="connsiteY150" fmla="*/ 4354165 h 6065122"/>
                <a:gd name="connsiteX151" fmla="*/ 9282630 w 9688677"/>
                <a:gd name="connsiteY151" fmla="*/ 4271864 h 6065122"/>
                <a:gd name="connsiteX152" fmla="*/ 9245467 w 9688677"/>
                <a:gd name="connsiteY152" fmla="*/ 4186705 h 6065122"/>
                <a:gd name="connsiteX153" fmla="*/ 3501344 w 9688677"/>
                <a:gd name="connsiteY153" fmla="*/ 4186705 h 6065122"/>
                <a:gd name="connsiteX154" fmla="*/ 3462074 w 9688677"/>
                <a:gd name="connsiteY154" fmla="*/ 4273218 h 6065122"/>
                <a:gd name="connsiteX155" fmla="*/ 3500592 w 9688677"/>
                <a:gd name="connsiteY155" fmla="*/ 4354165 h 6065122"/>
                <a:gd name="connsiteX156" fmla="*/ 3538507 w 9688677"/>
                <a:gd name="connsiteY156" fmla="*/ 4271864 h 6065122"/>
                <a:gd name="connsiteX157" fmla="*/ 3501344 w 9688677"/>
                <a:gd name="connsiteY157" fmla="*/ 4186705 h 6065122"/>
                <a:gd name="connsiteX158" fmla="*/ 3144402 w 9688677"/>
                <a:gd name="connsiteY158" fmla="*/ 4186705 h 6065122"/>
                <a:gd name="connsiteX159" fmla="*/ 3105132 w 9688677"/>
                <a:gd name="connsiteY159" fmla="*/ 4273218 h 6065122"/>
                <a:gd name="connsiteX160" fmla="*/ 3143650 w 9688677"/>
                <a:gd name="connsiteY160" fmla="*/ 4354165 h 6065122"/>
                <a:gd name="connsiteX161" fmla="*/ 3181565 w 9688677"/>
                <a:gd name="connsiteY161" fmla="*/ 4271864 h 6065122"/>
                <a:gd name="connsiteX162" fmla="*/ 3144402 w 9688677"/>
                <a:gd name="connsiteY162" fmla="*/ 4186705 h 6065122"/>
                <a:gd name="connsiteX163" fmla="*/ 9600517 w 9688677"/>
                <a:gd name="connsiteY163" fmla="*/ 4158870 h 6065122"/>
                <a:gd name="connsiteX164" fmla="*/ 9671684 w 9688677"/>
                <a:gd name="connsiteY164" fmla="*/ 4269457 h 6065122"/>
                <a:gd name="connsiteX165" fmla="*/ 9651598 w 9688677"/>
                <a:gd name="connsiteY165" fmla="*/ 4353037 h 6065122"/>
                <a:gd name="connsiteX166" fmla="*/ 9595401 w 9688677"/>
                <a:gd name="connsiteY166" fmla="*/ 4381850 h 6065122"/>
                <a:gd name="connsiteX167" fmla="*/ 9542816 w 9688677"/>
                <a:gd name="connsiteY167" fmla="*/ 4354316 h 6065122"/>
                <a:gd name="connsiteX168" fmla="*/ 9523933 w 9688677"/>
                <a:gd name="connsiteY168" fmla="*/ 4274723 h 6065122"/>
                <a:gd name="connsiteX169" fmla="*/ 9543643 w 9688677"/>
                <a:gd name="connsiteY169" fmla="*/ 4188209 h 6065122"/>
                <a:gd name="connsiteX170" fmla="*/ 9600517 w 9688677"/>
                <a:gd name="connsiteY170" fmla="*/ 4158870 h 6065122"/>
                <a:gd name="connsiteX171" fmla="*/ 9247122 w 9688677"/>
                <a:gd name="connsiteY171" fmla="*/ 4158870 h 6065122"/>
                <a:gd name="connsiteX172" fmla="*/ 9318289 w 9688677"/>
                <a:gd name="connsiteY172" fmla="*/ 4269457 h 6065122"/>
                <a:gd name="connsiteX173" fmla="*/ 9298203 w 9688677"/>
                <a:gd name="connsiteY173" fmla="*/ 4353037 h 6065122"/>
                <a:gd name="connsiteX174" fmla="*/ 9242006 w 9688677"/>
                <a:gd name="connsiteY174" fmla="*/ 4381850 h 6065122"/>
                <a:gd name="connsiteX175" fmla="*/ 9189421 w 9688677"/>
                <a:gd name="connsiteY175" fmla="*/ 4354316 h 6065122"/>
                <a:gd name="connsiteX176" fmla="*/ 9170538 w 9688677"/>
                <a:gd name="connsiteY176" fmla="*/ 4274723 h 6065122"/>
                <a:gd name="connsiteX177" fmla="*/ 9190248 w 9688677"/>
                <a:gd name="connsiteY177" fmla="*/ 4188209 h 6065122"/>
                <a:gd name="connsiteX178" fmla="*/ 9247122 w 9688677"/>
                <a:gd name="connsiteY178" fmla="*/ 4158870 h 6065122"/>
                <a:gd name="connsiteX179" fmla="*/ 3502999 w 9688677"/>
                <a:gd name="connsiteY179" fmla="*/ 4158870 h 6065122"/>
                <a:gd name="connsiteX180" fmla="*/ 3574166 w 9688677"/>
                <a:gd name="connsiteY180" fmla="*/ 4269457 h 6065122"/>
                <a:gd name="connsiteX181" fmla="*/ 3554080 w 9688677"/>
                <a:gd name="connsiteY181" fmla="*/ 4353037 h 6065122"/>
                <a:gd name="connsiteX182" fmla="*/ 3497883 w 9688677"/>
                <a:gd name="connsiteY182" fmla="*/ 4381850 h 6065122"/>
                <a:gd name="connsiteX183" fmla="*/ 3445298 w 9688677"/>
                <a:gd name="connsiteY183" fmla="*/ 4354316 h 6065122"/>
                <a:gd name="connsiteX184" fmla="*/ 3426415 w 9688677"/>
                <a:gd name="connsiteY184" fmla="*/ 4274723 h 6065122"/>
                <a:gd name="connsiteX185" fmla="*/ 3446125 w 9688677"/>
                <a:gd name="connsiteY185" fmla="*/ 4188209 h 6065122"/>
                <a:gd name="connsiteX186" fmla="*/ 3502999 w 9688677"/>
                <a:gd name="connsiteY186" fmla="*/ 4158870 h 6065122"/>
                <a:gd name="connsiteX187" fmla="*/ 3146057 w 9688677"/>
                <a:gd name="connsiteY187" fmla="*/ 4158870 h 6065122"/>
                <a:gd name="connsiteX188" fmla="*/ 3217224 w 9688677"/>
                <a:gd name="connsiteY188" fmla="*/ 4269457 h 6065122"/>
                <a:gd name="connsiteX189" fmla="*/ 3197138 w 9688677"/>
                <a:gd name="connsiteY189" fmla="*/ 4353037 h 6065122"/>
                <a:gd name="connsiteX190" fmla="*/ 3140941 w 9688677"/>
                <a:gd name="connsiteY190" fmla="*/ 4381850 h 6065122"/>
                <a:gd name="connsiteX191" fmla="*/ 3088356 w 9688677"/>
                <a:gd name="connsiteY191" fmla="*/ 4354316 h 6065122"/>
                <a:gd name="connsiteX192" fmla="*/ 3069473 w 9688677"/>
                <a:gd name="connsiteY192" fmla="*/ 4274723 h 6065122"/>
                <a:gd name="connsiteX193" fmla="*/ 3089183 w 9688677"/>
                <a:gd name="connsiteY193" fmla="*/ 4188209 h 6065122"/>
                <a:gd name="connsiteX194" fmla="*/ 3146057 w 9688677"/>
                <a:gd name="connsiteY194" fmla="*/ 4158870 h 6065122"/>
                <a:gd name="connsiteX195" fmla="*/ 9598862 w 9688677"/>
                <a:gd name="connsiteY195" fmla="*/ 3839234 h 6065122"/>
                <a:gd name="connsiteX196" fmla="*/ 9559592 w 9688677"/>
                <a:gd name="connsiteY196" fmla="*/ 3925748 h 6065122"/>
                <a:gd name="connsiteX197" fmla="*/ 9598110 w 9688677"/>
                <a:gd name="connsiteY197" fmla="*/ 4006694 h 6065122"/>
                <a:gd name="connsiteX198" fmla="*/ 9636025 w 9688677"/>
                <a:gd name="connsiteY198" fmla="*/ 3924393 h 6065122"/>
                <a:gd name="connsiteX199" fmla="*/ 9598862 w 9688677"/>
                <a:gd name="connsiteY199" fmla="*/ 3839234 h 6065122"/>
                <a:gd name="connsiteX200" fmla="*/ 9245467 w 9688677"/>
                <a:gd name="connsiteY200" fmla="*/ 3839234 h 6065122"/>
                <a:gd name="connsiteX201" fmla="*/ 9206197 w 9688677"/>
                <a:gd name="connsiteY201" fmla="*/ 3925748 h 6065122"/>
                <a:gd name="connsiteX202" fmla="*/ 9244715 w 9688677"/>
                <a:gd name="connsiteY202" fmla="*/ 4006694 h 6065122"/>
                <a:gd name="connsiteX203" fmla="*/ 9282630 w 9688677"/>
                <a:gd name="connsiteY203" fmla="*/ 3924393 h 6065122"/>
                <a:gd name="connsiteX204" fmla="*/ 9245467 w 9688677"/>
                <a:gd name="connsiteY204" fmla="*/ 3839234 h 6065122"/>
                <a:gd name="connsiteX205" fmla="*/ 3501344 w 9688677"/>
                <a:gd name="connsiteY205" fmla="*/ 3839234 h 6065122"/>
                <a:gd name="connsiteX206" fmla="*/ 3462074 w 9688677"/>
                <a:gd name="connsiteY206" fmla="*/ 3925748 h 6065122"/>
                <a:gd name="connsiteX207" fmla="*/ 3500592 w 9688677"/>
                <a:gd name="connsiteY207" fmla="*/ 4006694 h 6065122"/>
                <a:gd name="connsiteX208" fmla="*/ 3538507 w 9688677"/>
                <a:gd name="connsiteY208" fmla="*/ 3924393 h 6065122"/>
                <a:gd name="connsiteX209" fmla="*/ 3501344 w 9688677"/>
                <a:gd name="connsiteY209" fmla="*/ 3839234 h 6065122"/>
                <a:gd name="connsiteX210" fmla="*/ 3144402 w 9688677"/>
                <a:gd name="connsiteY210" fmla="*/ 3839234 h 6065122"/>
                <a:gd name="connsiteX211" fmla="*/ 3105132 w 9688677"/>
                <a:gd name="connsiteY211" fmla="*/ 3925748 h 6065122"/>
                <a:gd name="connsiteX212" fmla="*/ 3143650 w 9688677"/>
                <a:gd name="connsiteY212" fmla="*/ 4006694 h 6065122"/>
                <a:gd name="connsiteX213" fmla="*/ 3181565 w 9688677"/>
                <a:gd name="connsiteY213" fmla="*/ 3924393 h 6065122"/>
                <a:gd name="connsiteX214" fmla="*/ 3144402 w 9688677"/>
                <a:gd name="connsiteY214" fmla="*/ 3839234 h 6065122"/>
                <a:gd name="connsiteX215" fmla="*/ 9600517 w 9688677"/>
                <a:gd name="connsiteY215" fmla="*/ 3811399 h 6065122"/>
                <a:gd name="connsiteX216" fmla="*/ 9671684 w 9688677"/>
                <a:gd name="connsiteY216" fmla="*/ 3921986 h 6065122"/>
                <a:gd name="connsiteX217" fmla="*/ 9651598 w 9688677"/>
                <a:gd name="connsiteY217" fmla="*/ 4005566 h 6065122"/>
                <a:gd name="connsiteX218" fmla="*/ 9595401 w 9688677"/>
                <a:gd name="connsiteY218" fmla="*/ 4034379 h 6065122"/>
                <a:gd name="connsiteX219" fmla="*/ 9542816 w 9688677"/>
                <a:gd name="connsiteY219" fmla="*/ 4006845 h 6065122"/>
                <a:gd name="connsiteX220" fmla="*/ 9523933 w 9688677"/>
                <a:gd name="connsiteY220" fmla="*/ 3927252 h 6065122"/>
                <a:gd name="connsiteX221" fmla="*/ 9543643 w 9688677"/>
                <a:gd name="connsiteY221" fmla="*/ 3840738 h 6065122"/>
                <a:gd name="connsiteX222" fmla="*/ 9600517 w 9688677"/>
                <a:gd name="connsiteY222" fmla="*/ 3811399 h 6065122"/>
                <a:gd name="connsiteX223" fmla="*/ 9247122 w 9688677"/>
                <a:gd name="connsiteY223" fmla="*/ 3811399 h 6065122"/>
                <a:gd name="connsiteX224" fmla="*/ 9318289 w 9688677"/>
                <a:gd name="connsiteY224" fmla="*/ 3921986 h 6065122"/>
                <a:gd name="connsiteX225" fmla="*/ 9298203 w 9688677"/>
                <a:gd name="connsiteY225" fmla="*/ 4005566 h 6065122"/>
                <a:gd name="connsiteX226" fmla="*/ 9242006 w 9688677"/>
                <a:gd name="connsiteY226" fmla="*/ 4034379 h 6065122"/>
                <a:gd name="connsiteX227" fmla="*/ 9189421 w 9688677"/>
                <a:gd name="connsiteY227" fmla="*/ 4006845 h 6065122"/>
                <a:gd name="connsiteX228" fmla="*/ 9170538 w 9688677"/>
                <a:gd name="connsiteY228" fmla="*/ 3927252 h 6065122"/>
                <a:gd name="connsiteX229" fmla="*/ 9190248 w 9688677"/>
                <a:gd name="connsiteY229" fmla="*/ 3840738 h 6065122"/>
                <a:gd name="connsiteX230" fmla="*/ 9247122 w 9688677"/>
                <a:gd name="connsiteY230" fmla="*/ 3811399 h 6065122"/>
                <a:gd name="connsiteX231" fmla="*/ 3502999 w 9688677"/>
                <a:gd name="connsiteY231" fmla="*/ 3811399 h 6065122"/>
                <a:gd name="connsiteX232" fmla="*/ 3574166 w 9688677"/>
                <a:gd name="connsiteY232" fmla="*/ 3921986 h 6065122"/>
                <a:gd name="connsiteX233" fmla="*/ 3554080 w 9688677"/>
                <a:gd name="connsiteY233" fmla="*/ 4005566 h 6065122"/>
                <a:gd name="connsiteX234" fmla="*/ 3497883 w 9688677"/>
                <a:gd name="connsiteY234" fmla="*/ 4034379 h 6065122"/>
                <a:gd name="connsiteX235" fmla="*/ 3445298 w 9688677"/>
                <a:gd name="connsiteY235" fmla="*/ 4006845 h 6065122"/>
                <a:gd name="connsiteX236" fmla="*/ 3426415 w 9688677"/>
                <a:gd name="connsiteY236" fmla="*/ 3927252 h 6065122"/>
                <a:gd name="connsiteX237" fmla="*/ 3446125 w 9688677"/>
                <a:gd name="connsiteY237" fmla="*/ 3840738 h 6065122"/>
                <a:gd name="connsiteX238" fmla="*/ 3502999 w 9688677"/>
                <a:gd name="connsiteY238" fmla="*/ 3811399 h 6065122"/>
                <a:gd name="connsiteX239" fmla="*/ 3146057 w 9688677"/>
                <a:gd name="connsiteY239" fmla="*/ 3811399 h 6065122"/>
                <a:gd name="connsiteX240" fmla="*/ 3217224 w 9688677"/>
                <a:gd name="connsiteY240" fmla="*/ 3921986 h 6065122"/>
                <a:gd name="connsiteX241" fmla="*/ 3197138 w 9688677"/>
                <a:gd name="connsiteY241" fmla="*/ 4005566 h 6065122"/>
                <a:gd name="connsiteX242" fmla="*/ 3140941 w 9688677"/>
                <a:gd name="connsiteY242" fmla="*/ 4034379 h 6065122"/>
                <a:gd name="connsiteX243" fmla="*/ 3088356 w 9688677"/>
                <a:gd name="connsiteY243" fmla="*/ 4006845 h 6065122"/>
                <a:gd name="connsiteX244" fmla="*/ 3069473 w 9688677"/>
                <a:gd name="connsiteY244" fmla="*/ 3927252 h 6065122"/>
                <a:gd name="connsiteX245" fmla="*/ 3089183 w 9688677"/>
                <a:gd name="connsiteY245" fmla="*/ 3840738 h 6065122"/>
                <a:gd name="connsiteX246" fmla="*/ 3146057 w 9688677"/>
                <a:gd name="connsiteY246" fmla="*/ 3811399 h 6065122"/>
                <a:gd name="connsiteX247" fmla="*/ 9598862 w 9688677"/>
                <a:gd name="connsiteY247" fmla="*/ 3510987 h 6065122"/>
                <a:gd name="connsiteX248" fmla="*/ 9559592 w 9688677"/>
                <a:gd name="connsiteY248" fmla="*/ 3597501 h 6065122"/>
                <a:gd name="connsiteX249" fmla="*/ 9598110 w 9688677"/>
                <a:gd name="connsiteY249" fmla="*/ 3678447 h 6065122"/>
                <a:gd name="connsiteX250" fmla="*/ 9636025 w 9688677"/>
                <a:gd name="connsiteY250" fmla="*/ 3596146 h 6065122"/>
                <a:gd name="connsiteX251" fmla="*/ 9598862 w 9688677"/>
                <a:gd name="connsiteY251" fmla="*/ 3510987 h 6065122"/>
                <a:gd name="connsiteX252" fmla="*/ 9245467 w 9688677"/>
                <a:gd name="connsiteY252" fmla="*/ 3510987 h 6065122"/>
                <a:gd name="connsiteX253" fmla="*/ 9206197 w 9688677"/>
                <a:gd name="connsiteY253" fmla="*/ 3597501 h 6065122"/>
                <a:gd name="connsiteX254" fmla="*/ 9244715 w 9688677"/>
                <a:gd name="connsiteY254" fmla="*/ 3678447 h 6065122"/>
                <a:gd name="connsiteX255" fmla="*/ 9282630 w 9688677"/>
                <a:gd name="connsiteY255" fmla="*/ 3596146 h 6065122"/>
                <a:gd name="connsiteX256" fmla="*/ 9245467 w 9688677"/>
                <a:gd name="connsiteY256" fmla="*/ 3510987 h 6065122"/>
                <a:gd name="connsiteX257" fmla="*/ 3501344 w 9688677"/>
                <a:gd name="connsiteY257" fmla="*/ 3510987 h 6065122"/>
                <a:gd name="connsiteX258" fmla="*/ 3462074 w 9688677"/>
                <a:gd name="connsiteY258" fmla="*/ 3597501 h 6065122"/>
                <a:gd name="connsiteX259" fmla="*/ 3500592 w 9688677"/>
                <a:gd name="connsiteY259" fmla="*/ 3678447 h 6065122"/>
                <a:gd name="connsiteX260" fmla="*/ 3538507 w 9688677"/>
                <a:gd name="connsiteY260" fmla="*/ 3596146 h 6065122"/>
                <a:gd name="connsiteX261" fmla="*/ 3501344 w 9688677"/>
                <a:gd name="connsiteY261" fmla="*/ 3510987 h 6065122"/>
                <a:gd name="connsiteX262" fmla="*/ 3144402 w 9688677"/>
                <a:gd name="connsiteY262" fmla="*/ 3510987 h 6065122"/>
                <a:gd name="connsiteX263" fmla="*/ 3105132 w 9688677"/>
                <a:gd name="connsiteY263" fmla="*/ 3597501 h 6065122"/>
                <a:gd name="connsiteX264" fmla="*/ 3143650 w 9688677"/>
                <a:gd name="connsiteY264" fmla="*/ 3678447 h 6065122"/>
                <a:gd name="connsiteX265" fmla="*/ 3181565 w 9688677"/>
                <a:gd name="connsiteY265" fmla="*/ 3596146 h 6065122"/>
                <a:gd name="connsiteX266" fmla="*/ 3144402 w 9688677"/>
                <a:gd name="connsiteY266" fmla="*/ 3510987 h 6065122"/>
                <a:gd name="connsiteX267" fmla="*/ 9600517 w 9688677"/>
                <a:gd name="connsiteY267" fmla="*/ 3483152 h 6065122"/>
                <a:gd name="connsiteX268" fmla="*/ 9671684 w 9688677"/>
                <a:gd name="connsiteY268" fmla="*/ 3593739 h 6065122"/>
                <a:gd name="connsiteX269" fmla="*/ 9651598 w 9688677"/>
                <a:gd name="connsiteY269" fmla="*/ 3677319 h 6065122"/>
                <a:gd name="connsiteX270" fmla="*/ 9595401 w 9688677"/>
                <a:gd name="connsiteY270" fmla="*/ 3706132 h 6065122"/>
                <a:gd name="connsiteX271" fmla="*/ 9542816 w 9688677"/>
                <a:gd name="connsiteY271" fmla="*/ 3678598 h 6065122"/>
                <a:gd name="connsiteX272" fmla="*/ 9523933 w 9688677"/>
                <a:gd name="connsiteY272" fmla="*/ 3599005 h 6065122"/>
                <a:gd name="connsiteX273" fmla="*/ 9543643 w 9688677"/>
                <a:gd name="connsiteY273" fmla="*/ 3512491 h 6065122"/>
                <a:gd name="connsiteX274" fmla="*/ 9600517 w 9688677"/>
                <a:gd name="connsiteY274" fmla="*/ 3483152 h 6065122"/>
                <a:gd name="connsiteX275" fmla="*/ 9247122 w 9688677"/>
                <a:gd name="connsiteY275" fmla="*/ 3483152 h 6065122"/>
                <a:gd name="connsiteX276" fmla="*/ 9318289 w 9688677"/>
                <a:gd name="connsiteY276" fmla="*/ 3593739 h 6065122"/>
                <a:gd name="connsiteX277" fmla="*/ 9298203 w 9688677"/>
                <a:gd name="connsiteY277" fmla="*/ 3677319 h 6065122"/>
                <a:gd name="connsiteX278" fmla="*/ 9242006 w 9688677"/>
                <a:gd name="connsiteY278" fmla="*/ 3706132 h 6065122"/>
                <a:gd name="connsiteX279" fmla="*/ 9189421 w 9688677"/>
                <a:gd name="connsiteY279" fmla="*/ 3678598 h 6065122"/>
                <a:gd name="connsiteX280" fmla="*/ 9170538 w 9688677"/>
                <a:gd name="connsiteY280" fmla="*/ 3599005 h 6065122"/>
                <a:gd name="connsiteX281" fmla="*/ 9190248 w 9688677"/>
                <a:gd name="connsiteY281" fmla="*/ 3512491 h 6065122"/>
                <a:gd name="connsiteX282" fmla="*/ 9247122 w 9688677"/>
                <a:gd name="connsiteY282" fmla="*/ 3483152 h 6065122"/>
                <a:gd name="connsiteX283" fmla="*/ 3502999 w 9688677"/>
                <a:gd name="connsiteY283" fmla="*/ 3483152 h 6065122"/>
                <a:gd name="connsiteX284" fmla="*/ 3574166 w 9688677"/>
                <a:gd name="connsiteY284" fmla="*/ 3593739 h 6065122"/>
                <a:gd name="connsiteX285" fmla="*/ 3554080 w 9688677"/>
                <a:gd name="connsiteY285" fmla="*/ 3677319 h 6065122"/>
                <a:gd name="connsiteX286" fmla="*/ 3497883 w 9688677"/>
                <a:gd name="connsiteY286" fmla="*/ 3706132 h 6065122"/>
                <a:gd name="connsiteX287" fmla="*/ 3445298 w 9688677"/>
                <a:gd name="connsiteY287" fmla="*/ 3678598 h 6065122"/>
                <a:gd name="connsiteX288" fmla="*/ 3426415 w 9688677"/>
                <a:gd name="connsiteY288" fmla="*/ 3599005 h 6065122"/>
                <a:gd name="connsiteX289" fmla="*/ 3446125 w 9688677"/>
                <a:gd name="connsiteY289" fmla="*/ 3512491 h 6065122"/>
                <a:gd name="connsiteX290" fmla="*/ 3502999 w 9688677"/>
                <a:gd name="connsiteY290" fmla="*/ 3483152 h 6065122"/>
                <a:gd name="connsiteX291" fmla="*/ 3146057 w 9688677"/>
                <a:gd name="connsiteY291" fmla="*/ 3483152 h 6065122"/>
                <a:gd name="connsiteX292" fmla="*/ 3217224 w 9688677"/>
                <a:gd name="connsiteY292" fmla="*/ 3593739 h 6065122"/>
                <a:gd name="connsiteX293" fmla="*/ 3197138 w 9688677"/>
                <a:gd name="connsiteY293" fmla="*/ 3677319 h 6065122"/>
                <a:gd name="connsiteX294" fmla="*/ 3140941 w 9688677"/>
                <a:gd name="connsiteY294" fmla="*/ 3706132 h 6065122"/>
                <a:gd name="connsiteX295" fmla="*/ 3088356 w 9688677"/>
                <a:gd name="connsiteY295" fmla="*/ 3678598 h 6065122"/>
                <a:gd name="connsiteX296" fmla="*/ 3069473 w 9688677"/>
                <a:gd name="connsiteY296" fmla="*/ 3599005 h 6065122"/>
                <a:gd name="connsiteX297" fmla="*/ 3089183 w 9688677"/>
                <a:gd name="connsiteY297" fmla="*/ 3512491 h 6065122"/>
                <a:gd name="connsiteX298" fmla="*/ 3146057 w 9688677"/>
                <a:gd name="connsiteY298" fmla="*/ 3483152 h 6065122"/>
                <a:gd name="connsiteX299" fmla="*/ 9596984 w 9688677"/>
                <a:gd name="connsiteY299" fmla="*/ 3137996 h 6065122"/>
                <a:gd name="connsiteX300" fmla="*/ 9557714 w 9688677"/>
                <a:gd name="connsiteY300" fmla="*/ 3224510 h 6065122"/>
                <a:gd name="connsiteX301" fmla="*/ 9596232 w 9688677"/>
                <a:gd name="connsiteY301" fmla="*/ 3305457 h 6065122"/>
                <a:gd name="connsiteX302" fmla="*/ 9634147 w 9688677"/>
                <a:gd name="connsiteY302" fmla="*/ 3223156 h 6065122"/>
                <a:gd name="connsiteX303" fmla="*/ 9596984 w 9688677"/>
                <a:gd name="connsiteY303" fmla="*/ 3137996 h 6065122"/>
                <a:gd name="connsiteX304" fmla="*/ 9218596 w 9688677"/>
                <a:gd name="connsiteY304" fmla="*/ 3137996 h 6065122"/>
                <a:gd name="connsiteX305" fmla="*/ 9179326 w 9688677"/>
                <a:gd name="connsiteY305" fmla="*/ 3224510 h 6065122"/>
                <a:gd name="connsiteX306" fmla="*/ 9217844 w 9688677"/>
                <a:gd name="connsiteY306" fmla="*/ 3305457 h 6065122"/>
                <a:gd name="connsiteX307" fmla="*/ 9255759 w 9688677"/>
                <a:gd name="connsiteY307" fmla="*/ 3223156 h 6065122"/>
                <a:gd name="connsiteX308" fmla="*/ 9218596 w 9688677"/>
                <a:gd name="connsiteY308" fmla="*/ 3137996 h 6065122"/>
                <a:gd name="connsiteX309" fmla="*/ 3533077 w 9688677"/>
                <a:gd name="connsiteY309" fmla="*/ 3137996 h 6065122"/>
                <a:gd name="connsiteX310" fmla="*/ 3493807 w 9688677"/>
                <a:gd name="connsiteY310" fmla="*/ 3224510 h 6065122"/>
                <a:gd name="connsiteX311" fmla="*/ 3532325 w 9688677"/>
                <a:gd name="connsiteY311" fmla="*/ 3305457 h 6065122"/>
                <a:gd name="connsiteX312" fmla="*/ 3570240 w 9688677"/>
                <a:gd name="connsiteY312" fmla="*/ 3223156 h 6065122"/>
                <a:gd name="connsiteX313" fmla="*/ 3533077 w 9688677"/>
                <a:gd name="connsiteY313" fmla="*/ 3137996 h 6065122"/>
                <a:gd name="connsiteX314" fmla="*/ 3151998 w 9688677"/>
                <a:gd name="connsiteY314" fmla="*/ 3137996 h 6065122"/>
                <a:gd name="connsiteX315" fmla="*/ 3112728 w 9688677"/>
                <a:gd name="connsiteY315" fmla="*/ 3224510 h 6065122"/>
                <a:gd name="connsiteX316" fmla="*/ 3151246 w 9688677"/>
                <a:gd name="connsiteY316" fmla="*/ 3305457 h 6065122"/>
                <a:gd name="connsiteX317" fmla="*/ 3189161 w 9688677"/>
                <a:gd name="connsiteY317" fmla="*/ 3223156 h 6065122"/>
                <a:gd name="connsiteX318" fmla="*/ 3151998 w 9688677"/>
                <a:gd name="connsiteY318" fmla="*/ 3137996 h 6065122"/>
                <a:gd name="connsiteX319" fmla="*/ 9598639 w 9688677"/>
                <a:gd name="connsiteY319" fmla="*/ 3110161 h 6065122"/>
                <a:gd name="connsiteX320" fmla="*/ 9669806 w 9688677"/>
                <a:gd name="connsiteY320" fmla="*/ 3220749 h 6065122"/>
                <a:gd name="connsiteX321" fmla="*/ 9649720 w 9688677"/>
                <a:gd name="connsiteY321" fmla="*/ 3304328 h 6065122"/>
                <a:gd name="connsiteX322" fmla="*/ 9593523 w 9688677"/>
                <a:gd name="connsiteY322" fmla="*/ 3333141 h 6065122"/>
                <a:gd name="connsiteX323" fmla="*/ 9540938 w 9688677"/>
                <a:gd name="connsiteY323" fmla="*/ 3305607 h 6065122"/>
                <a:gd name="connsiteX324" fmla="*/ 9522055 w 9688677"/>
                <a:gd name="connsiteY324" fmla="*/ 3226015 h 6065122"/>
                <a:gd name="connsiteX325" fmla="*/ 9541765 w 9688677"/>
                <a:gd name="connsiteY325" fmla="*/ 3139501 h 6065122"/>
                <a:gd name="connsiteX326" fmla="*/ 9598639 w 9688677"/>
                <a:gd name="connsiteY326" fmla="*/ 3110161 h 6065122"/>
                <a:gd name="connsiteX327" fmla="*/ 9220251 w 9688677"/>
                <a:gd name="connsiteY327" fmla="*/ 3110161 h 6065122"/>
                <a:gd name="connsiteX328" fmla="*/ 9291418 w 9688677"/>
                <a:gd name="connsiteY328" fmla="*/ 3220749 h 6065122"/>
                <a:gd name="connsiteX329" fmla="*/ 9271332 w 9688677"/>
                <a:gd name="connsiteY329" fmla="*/ 3304328 h 6065122"/>
                <a:gd name="connsiteX330" fmla="*/ 9215135 w 9688677"/>
                <a:gd name="connsiteY330" fmla="*/ 3333141 h 6065122"/>
                <a:gd name="connsiteX331" fmla="*/ 9162550 w 9688677"/>
                <a:gd name="connsiteY331" fmla="*/ 3305607 h 6065122"/>
                <a:gd name="connsiteX332" fmla="*/ 9143667 w 9688677"/>
                <a:gd name="connsiteY332" fmla="*/ 3226015 h 6065122"/>
                <a:gd name="connsiteX333" fmla="*/ 9163377 w 9688677"/>
                <a:gd name="connsiteY333" fmla="*/ 3139501 h 6065122"/>
                <a:gd name="connsiteX334" fmla="*/ 9220251 w 9688677"/>
                <a:gd name="connsiteY334" fmla="*/ 3110161 h 6065122"/>
                <a:gd name="connsiteX335" fmla="*/ 3534732 w 9688677"/>
                <a:gd name="connsiteY335" fmla="*/ 3110161 h 6065122"/>
                <a:gd name="connsiteX336" fmla="*/ 3605899 w 9688677"/>
                <a:gd name="connsiteY336" fmla="*/ 3220749 h 6065122"/>
                <a:gd name="connsiteX337" fmla="*/ 3585813 w 9688677"/>
                <a:gd name="connsiteY337" fmla="*/ 3304328 h 6065122"/>
                <a:gd name="connsiteX338" fmla="*/ 3529616 w 9688677"/>
                <a:gd name="connsiteY338" fmla="*/ 3333141 h 6065122"/>
                <a:gd name="connsiteX339" fmla="*/ 3477031 w 9688677"/>
                <a:gd name="connsiteY339" fmla="*/ 3305607 h 6065122"/>
                <a:gd name="connsiteX340" fmla="*/ 3458148 w 9688677"/>
                <a:gd name="connsiteY340" fmla="*/ 3226015 h 6065122"/>
                <a:gd name="connsiteX341" fmla="*/ 3477858 w 9688677"/>
                <a:gd name="connsiteY341" fmla="*/ 3139501 h 6065122"/>
                <a:gd name="connsiteX342" fmla="*/ 3534732 w 9688677"/>
                <a:gd name="connsiteY342" fmla="*/ 3110161 h 6065122"/>
                <a:gd name="connsiteX343" fmla="*/ 3153653 w 9688677"/>
                <a:gd name="connsiteY343" fmla="*/ 3110161 h 6065122"/>
                <a:gd name="connsiteX344" fmla="*/ 3224820 w 9688677"/>
                <a:gd name="connsiteY344" fmla="*/ 3220749 h 6065122"/>
                <a:gd name="connsiteX345" fmla="*/ 3204734 w 9688677"/>
                <a:gd name="connsiteY345" fmla="*/ 3304328 h 6065122"/>
                <a:gd name="connsiteX346" fmla="*/ 3148537 w 9688677"/>
                <a:gd name="connsiteY346" fmla="*/ 3333141 h 6065122"/>
                <a:gd name="connsiteX347" fmla="*/ 3095952 w 9688677"/>
                <a:gd name="connsiteY347" fmla="*/ 3305607 h 6065122"/>
                <a:gd name="connsiteX348" fmla="*/ 3077069 w 9688677"/>
                <a:gd name="connsiteY348" fmla="*/ 3226015 h 6065122"/>
                <a:gd name="connsiteX349" fmla="*/ 3096779 w 9688677"/>
                <a:gd name="connsiteY349" fmla="*/ 3139501 h 6065122"/>
                <a:gd name="connsiteX350" fmla="*/ 3153653 w 9688677"/>
                <a:gd name="connsiteY350" fmla="*/ 3110161 h 6065122"/>
                <a:gd name="connsiteX351" fmla="*/ 9365121 w 9688677"/>
                <a:gd name="connsiteY351" fmla="*/ 2836964 h 6065122"/>
                <a:gd name="connsiteX352" fmla="*/ 9325851 w 9688677"/>
                <a:gd name="connsiteY352" fmla="*/ 2923478 h 6065122"/>
                <a:gd name="connsiteX353" fmla="*/ 9364369 w 9688677"/>
                <a:gd name="connsiteY353" fmla="*/ 3004425 h 6065122"/>
                <a:gd name="connsiteX354" fmla="*/ 9402284 w 9688677"/>
                <a:gd name="connsiteY354" fmla="*/ 2922124 h 6065122"/>
                <a:gd name="connsiteX355" fmla="*/ 9365121 w 9688677"/>
                <a:gd name="connsiteY355" fmla="*/ 2836964 h 6065122"/>
                <a:gd name="connsiteX356" fmla="*/ 3309068 w 9688677"/>
                <a:gd name="connsiteY356" fmla="*/ 2836964 h 6065122"/>
                <a:gd name="connsiteX357" fmla="*/ 3269798 w 9688677"/>
                <a:gd name="connsiteY357" fmla="*/ 2923478 h 6065122"/>
                <a:gd name="connsiteX358" fmla="*/ 3308316 w 9688677"/>
                <a:gd name="connsiteY358" fmla="*/ 3004425 h 6065122"/>
                <a:gd name="connsiteX359" fmla="*/ 3346231 w 9688677"/>
                <a:gd name="connsiteY359" fmla="*/ 2922124 h 6065122"/>
                <a:gd name="connsiteX360" fmla="*/ 3309068 w 9688677"/>
                <a:gd name="connsiteY360" fmla="*/ 2836964 h 6065122"/>
                <a:gd name="connsiteX361" fmla="*/ 9366776 w 9688677"/>
                <a:gd name="connsiteY361" fmla="*/ 2809129 h 6065122"/>
                <a:gd name="connsiteX362" fmla="*/ 9437943 w 9688677"/>
                <a:gd name="connsiteY362" fmla="*/ 2919717 h 6065122"/>
                <a:gd name="connsiteX363" fmla="*/ 9417857 w 9688677"/>
                <a:gd name="connsiteY363" fmla="*/ 3003296 h 6065122"/>
                <a:gd name="connsiteX364" fmla="*/ 9361660 w 9688677"/>
                <a:gd name="connsiteY364" fmla="*/ 3032109 h 6065122"/>
                <a:gd name="connsiteX365" fmla="*/ 9309075 w 9688677"/>
                <a:gd name="connsiteY365" fmla="*/ 3004575 h 6065122"/>
                <a:gd name="connsiteX366" fmla="*/ 9290192 w 9688677"/>
                <a:gd name="connsiteY366" fmla="*/ 2924983 h 6065122"/>
                <a:gd name="connsiteX367" fmla="*/ 9309902 w 9688677"/>
                <a:gd name="connsiteY367" fmla="*/ 2838469 h 6065122"/>
                <a:gd name="connsiteX368" fmla="*/ 9366776 w 9688677"/>
                <a:gd name="connsiteY368" fmla="*/ 2809129 h 6065122"/>
                <a:gd name="connsiteX369" fmla="*/ 3310723 w 9688677"/>
                <a:gd name="connsiteY369" fmla="*/ 2809129 h 6065122"/>
                <a:gd name="connsiteX370" fmla="*/ 3381890 w 9688677"/>
                <a:gd name="connsiteY370" fmla="*/ 2919717 h 6065122"/>
                <a:gd name="connsiteX371" fmla="*/ 3361804 w 9688677"/>
                <a:gd name="connsiteY371" fmla="*/ 3003296 h 6065122"/>
                <a:gd name="connsiteX372" fmla="*/ 3305607 w 9688677"/>
                <a:gd name="connsiteY372" fmla="*/ 3032109 h 6065122"/>
                <a:gd name="connsiteX373" fmla="*/ 3253022 w 9688677"/>
                <a:gd name="connsiteY373" fmla="*/ 3004575 h 6065122"/>
                <a:gd name="connsiteX374" fmla="*/ 3234139 w 9688677"/>
                <a:gd name="connsiteY374" fmla="*/ 2924983 h 6065122"/>
                <a:gd name="connsiteX375" fmla="*/ 3253849 w 9688677"/>
                <a:gd name="connsiteY375" fmla="*/ 2838469 h 6065122"/>
                <a:gd name="connsiteX376" fmla="*/ 3310723 w 9688677"/>
                <a:gd name="connsiteY376" fmla="*/ 2809129 h 6065122"/>
                <a:gd name="connsiteX377" fmla="*/ 6505937 w 9688677"/>
                <a:gd name="connsiteY377" fmla="*/ 2508571 h 6065122"/>
                <a:gd name="connsiteX378" fmla="*/ 6466667 w 9688677"/>
                <a:gd name="connsiteY378" fmla="*/ 2595085 h 6065122"/>
                <a:gd name="connsiteX379" fmla="*/ 6505185 w 9688677"/>
                <a:gd name="connsiteY379" fmla="*/ 2676032 h 6065122"/>
                <a:gd name="connsiteX380" fmla="*/ 6543100 w 9688677"/>
                <a:gd name="connsiteY380" fmla="*/ 2593731 h 6065122"/>
                <a:gd name="connsiteX381" fmla="*/ 6505937 w 9688677"/>
                <a:gd name="connsiteY381" fmla="*/ 2508571 h 6065122"/>
                <a:gd name="connsiteX382" fmla="*/ 6134901 w 9688677"/>
                <a:gd name="connsiteY382" fmla="*/ 2508571 h 6065122"/>
                <a:gd name="connsiteX383" fmla="*/ 6095631 w 9688677"/>
                <a:gd name="connsiteY383" fmla="*/ 2595085 h 6065122"/>
                <a:gd name="connsiteX384" fmla="*/ 6134149 w 9688677"/>
                <a:gd name="connsiteY384" fmla="*/ 2676032 h 6065122"/>
                <a:gd name="connsiteX385" fmla="*/ 6172064 w 9688677"/>
                <a:gd name="connsiteY385" fmla="*/ 2593731 h 6065122"/>
                <a:gd name="connsiteX386" fmla="*/ 6134901 w 9688677"/>
                <a:gd name="connsiteY386" fmla="*/ 2508571 h 6065122"/>
                <a:gd name="connsiteX387" fmla="*/ 450509 w 9688677"/>
                <a:gd name="connsiteY387" fmla="*/ 2508571 h 6065122"/>
                <a:gd name="connsiteX388" fmla="*/ 411240 w 9688677"/>
                <a:gd name="connsiteY388" fmla="*/ 2595085 h 6065122"/>
                <a:gd name="connsiteX389" fmla="*/ 449758 w 9688677"/>
                <a:gd name="connsiteY389" fmla="*/ 2676032 h 6065122"/>
                <a:gd name="connsiteX390" fmla="*/ 487673 w 9688677"/>
                <a:gd name="connsiteY390" fmla="*/ 2593731 h 6065122"/>
                <a:gd name="connsiteX391" fmla="*/ 450509 w 9688677"/>
                <a:gd name="connsiteY391" fmla="*/ 2508571 h 6065122"/>
                <a:gd name="connsiteX392" fmla="*/ 74929 w 9688677"/>
                <a:gd name="connsiteY392" fmla="*/ 2508571 h 6065122"/>
                <a:gd name="connsiteX393" fmla="*/ 35659 w 9688677"/>
                <a:gd name="connsiteY393" fmla="*/ 2595085 h 6065122"/>
                <a:gd name="connsiteX394" fmla="*/ 74177 w 9688677"/>
                <a:gd name="connsiteY394" fmla="*/ 2676032 h 6065122"/>
                <a:gd name="connsiteX395" fmla="*/ 112092 w 9688677"/>
                <a:gd name="connsiteY395" fmla="*/ 2593731 h 6065122"/>
                <a:gd name="connsiteX396" fmla="*/ 74929 w 9688677"/>
                <a:gd name="connsiteY396" fmla="*/ 2508571 h 6065122"/>
                <a:gd name="connsiteX397" fmla="*/ 6507592 w 9688677"/>
                <a:gd name="connsiteY397" fmla="*/ 2480736 h 6065122"/>
                <a:gd name="connsiteX398" fmla="*/ 6578759 w 9688677"/>
                <a:gd name="connsiteY398" fmla="*/ 2591324 h 6065122"/>
                <a:gd name="connsiteX399" fmla="*/ 6558673 w 9688677"/>
                <a:gd name="connsiteY399" fmla="*/ 2674903 h 6065122"/>
                <a:gd name="connsiteX400" fmla="*/ 6502476 w 9688677"/>
                <a:gd name="connsiteY400" fmla="*/ 2703716 h 6065122"/>
                <a:gd name="connsiteX401" fmla="*/ 6449891 w 9688677"/>
                <a:gd name="connsiteY401" fmla="*/ 2676182 h 6065122"/>
                <a:gd name="connsiteX402" fmla="*/ 6431008 w 9688677"/>
                <a:gd name="connsiteY402" fmla="*/ 2596590 h 6065122"/>
                <a:gd name="connsiteX403" fmla="*/ 6450718 w 9688677"/>
                <a:gd name="connsiteY403" fmla="*/ 2510075 h 6065122"/>
                <a:gd name="connsiteX404" fmla="*/ 6507592 w 9688677"/>
                <a:gd name="connsiteY404" fmla="*/ 2480736 h 6065122"/>
                <a:gd name="connsiteX405" fmla="*/ 6136556 w 9688677"/>
                <a:gd name="connsiteY405" fmla="*/ 2480736 h 6065122"/>
                <a:gd name="connsiteX406" fmla="*/ 6207723 w 9688677"/>
                <a:gd name="connsiteY406" fmla="*/ 2591324 h 6065122"/>
                <a:gd name="connsiteX407" fmla="*/ 6187637 w 9688677"/>
                <a:gd name="connsiteY407" fmla="*/ 2674903 h 6065122"/>
                <a:gd name="connsiteX408" fmla="*/ 6131440 w 9688677"/>
                <a:gd name="connsiteY408" fmla="*/ 2703716 h 6065122"/>
                <a:gd name="connsiteX409" fmla="*/ 6078855 w 9688677"/>
                <a:gd name="connsiteY409" fmla="*/ 2676182 h 6065122"/>
                <a:gd name="connsiteX410" fmla="*/ 6059972 w 9688677"/>
                <a:gd name="connsiteY410" fmla="*/ 2596590 h 6065122"/>
                <a:gd name="connsiteX411" fmla="*/ 6079682 w 9688677"/>
                <a:gd name="connsiteY411" fmla="*/ 2510075 h 6065122"/>
                <a:gd name="connsiteX412" fmla="*/ 6136556 w 9688677"/>
                <a:gd name="connsiteY412" fmla="*/ 2480736 h 6065122"/>
                <a:gd name="connsiteX413" fmla="*/ 452165 w 9688677"/>
                <a:gd name="connsiteY413" fmla="*/ 2480736 h 6065122"/>
                <a:gd name="connsiteX414" fmla="*/ 523332 w 9688677"/>
                <a:gd name="connsiteY414" fmla="*/ 2591324 h 6065122"/>
                <a:gd name="connsiteX415" fmla="*/ 503246 w 9688677"/>
                <a:gd name="connsiteY415" fmla="*/ 2674903 h 6065122"/>
                <a:gd name="connsiteX416" fmla="*/ 447049 w 9688677"/>
                <a:gd name="connsiteY416" fmla="*/ 2703716 h 6065122"/>
                <a:gd name="connsiteX417" fmla="*/ 394463 w 9688677"/>
                <a:gd name="connsiteY417" fmla="*/ 2676182 h 6065122"/>
                <a:gd name="connsiteX418" fmla="*/ 375581 w 9688677"/>
                <a:gd name="connsiteY418" fmla="*/ 2596590 h 6065122"/>
                <a:gd name="connsiteX419" fmla="*/ 395291 w 9688677"/>
                <a:gd name="connsiteY419" fmla="*/ 2510075 h 6065122"/>
                <a:gd name="connsiteX420" fmla="*/ 452165 w 9688677"/>
                <a:gd name="connsiteY420" fmla="*/ 2480736 h 6065122"/>
                <a:gd name="connsiteX421" fmla="*/ 76584 w 9688677"/>
                <a:gd name="connsiteY421" fmla="*/ 2480736 h 6065122"/>
                <a:gd name="connsiteX422" fmla="*/ 147751 w 9688677"/>
                <a:gd name="connsiteY422" fmla="*/ 2591324 h 6065122"/>
                <a:gd name="connsiteX423" fmla="*/ 127665 w 9688677"/>
                <a:gd name="connsiteY423" fmla="*/ 2674903 h 6065122"/>
                <a:gd name="connsiteX424" fmla="*/ 71468 w 9688677"/>
                <a:gd name="connsiteY424" fmla="*/ 2703716 h 6065122"/>
                <a:gd name="connsiteX425" fmla="*/ 18883 w 9688677"/>
                <a:gd name="connsiteY425" fmla="*/ 2676182 h 6065122"/>
                <a:gd name="connsiteX426" fmla="*/ 0 w 9688677"/>
                <a:gd name="connsiteY426" fmla="*/ 2596590 h 6065122"/>
                <a:gd name="connsiteX427" fmla="*/ 19710 w 9688677"/>
                <a:gd name="connsiteY427" fmla="*/ 2510075 h 6065122"/>
                <a:gd name="connsiteX428" fmla="*/ 76584 w 9688677"/>
                <a:gd name="connsiteY428" fmla="*/ 2480736 h 6065122"/>
                <a:gd name="connsiteX429" fmla="*/ 6278828 w 9688677"/>
                <a:gd name="connsiteY429" fmla="*/ 2204600 h 6065122"/>
                <a:gd name="connsiteX430" fmla="*/ 6239558 w 9688677"/>
                <a:gd name="connsiteY430" fmla="*/ 2291114 h 6065122"/>
                <a:gd name="connsiteX431" fmla="*/ 6278076 w 9688677"/>
                <a:gd name="connsiteY431" fmla="*/ 2372061 h 6065122"/>
                <a:gd name="connsiteX432" fmla="*/ 6315991 w 9688677"/>
                <a:gd name="connsiteY432" fmla="*/ 2289760 h 6065122"/>
                <a:gd name="connsiteX433" fmla="*/ 6278828 w 9688677"/>
                <a:gd name="connsiteY433" fmla="*/ 2204600 h 6065122"/>
                <a:gd name="connsiteX434" fmla="*/ 215417 w 9688677"/>
                <a:gd name="connsiteY434" fmla="*/ 2204600 h 6065122"/>
                <a:gd name="connsiteX435" fmla="*/ 176147 w 9688677"/>
                <a:gd name="connsiteY435" fmla="*/ 2291114 h 6065122"/>
                <a:gd name="connsiteX436" fmla="*/ 214665 w 9688677"/>
                <a:gd name="connsiteY436" fmla="*/ 2372061 h 6065122"/>
                <a:gd name="connsiteX437" fmla="*/ 252580 w 9688677"/>
                <a:gd name="connsiteY437" fmla="*/ 2289760 h 6065122"/>
                <a:gd name="connsiteX438" fmla="*/ 215417 w 9688677"/>
                <a:gd name="connsiteY438" fmla="*/ 2204600 h 6065122"/>
                <a:gd name="connsiteX439" fmla="*/ 6280483 w 9688677"/>
                <a:gd name="connsiteY439" fmla="*/ 2176765 h 6065122"/>
                <a:gd name="connsiteX440" fmla="*/ 6351650 w 9688677"/>
                <a:gd name="connsiteY440" fmla="*/ 2287352 h 6065122"/>
                <a:gd name="connsiteX441" fmla="*/ 6331564 w 9688677"/>
                <a:gd name="connsiteY441" fmla="*/ 2370932 h 6065122"/>
                <a:gd name="connsiteX442" fmla="*/ 6275367 w 9688677"/>
                <a:gd name="connsiteY442" fmla="*/ 2399745 h 6065122"/>
                <a:gd name="connsiteX443" fmla="*/ 6222782 w 9688677"/>
                <a:gd name="connsiteY443" fmla="*/ 2372211 h 6065122"/>
                <a:gd name="connsiteX444" fmla="*/ 6203899 w 9688677"/>
                <a:gd name="connsiteY444" fmla="*/ 2292619 h 6065122"/>
                <a:gd name="connsiteX445" fmla="*/ 6223609 w 9688677"/>
                <a:gd name="connsiteY445" fmla="*/ 2206104 h 6065122"/>
                <a:gd name="connsiteX446" fmla="*/ 6280483 w 9688677"/>
                <a:gd name="connsiteY446" fmla="*/ 2176765 h 6065122"/>
                <a:gd name="connsiteX447" fmla="*/ 217072 w 9688677"/>
                <a:gd name="connsiteY447" fmla="*/ 2176765 h 6065122"/>
                <a:gd name="connsiteX448" fmla="*/ 288239 w 9688677"/>
                <a:gd name="connsiteY448" fmla="*/ 2287352 h 6065122"/>
                <a:gd name="connsiteX449" fmla="*/ 268153 w 9688677"/>
                <a:gd name="connsiteY449" fmla="*/ 2370932 h 6065122"/>
                <a:gd name="connsiteX450" fmla="*/ 211956 w 9688677"/>
                <a:gd name="connsiteY450" fmla="*/ 2399745 h 6065122"/>
                <a:gd name="connsiteX451" fmla="*/ 159371 w 9688677"/>
                <a:gd name="connsiteY451" fmla="*/ 2372211 h 6065122"/>
                <a:gd name="connsiteX452" fmla="*/ 140488 w 9688677"/>
                <a:gd name="connsiteY452" fmla="*/ 2292619 h 6065122"/>
                <a:gd name="connsiteX453" fmla="*/ 160198 w 9688677"/>
                <a:gd name="connsiteY453" fmla="*/ 2206104 h 6065122"/>
                <a:gd name="connsiteX454" fmla="*/ 217072 w 9688677"/>
                <a:gd name="connsiteY454" fmla="*/ 2176765 h 6065122"/>
                <a:gd name="connsiteX455" fmla="*/ 9601339 w 9688677"/>
                <a:gd name="connsiteY455" fmla="*/ 1870182 h 6065122"/>
                <a:gd name="connsiteX456" fmla="*/ 9562069 w 9688677"/>
                <a:gd name="connsiteY456" fmla="*/ 1956696 h 6065122"/>
                <a:gd name="connsiteX457" fmla="*/ 9600587 w 9688677"/>
                <a:gd name="connsiteY457" fmla="*/ 2037642 h 6065122"/>
                <a:gd name="connsiteX458" fmla="*/ 9638502 w 9688677"/>
                <a:gd name="connsiteY458" fmla="*/ 1955342 h 6065122"/>
                <a:gd name="connsiteX459" fmla="*/ 9601339 w 9688677"/>
                <a:gd name="connsiteY459" fmla="*/ 1870182 h 6065122"/>
                <a:gd name="connsiteX460" fmla="*/ 9240737 w 9688677"/>
                <a:gd name="connsiteY460" fmla="*/ 1870182 h 6065122"/>
                <a:gd name="connsiteX461" fmla="*/ 9201467 w 9688677"/>
                <a:gd name="connsiteY461" fmla="*/ 1956696 h 6065122"/>
                <a:gd name="connsiteX462" fmla="*/ 9239985 w 9688677"/>
                <a:gd name="connsiteY462" fmla="*/ 2037642 h 6065122"/>
                <a:gd name="connsiteX463" fmla="*/ 9277900 w 9688677"/>
                <a:gd name="connsiteY463" fmla="*/ 1955342 h 6065122"/>
                <a:gd name="connsiteX464" fmla="*/ 9240737 w 9688677"/>
                <a:gd name="connsiteY464" fmla="*/ 1870182 h 6065122"/>
                <a:gd name="connsiteX465" fmla="*/ 3546994 w 9688677"/>
                <a:gd name="connsiteY465" fmla="*/ 1870182 h 6065122"/>
                <a:gd name="connsiteX466" fmla="*/ 3507725 w 9688677"/>
                <a:gd name="connsiteY466" fmla="*/ 1956696 h 6065122"/>
                <a:gd name="connsiteX467" fmla="*/ 3546242 w 9688677"/>
                <a:gd name="connsiteY467" fmla="*/ 2037642 h 6065122"/>
                <a:gd name="connsiteX468" fmla="*/ 3584158 w 9688677"/>
                <a:gd name="connsiteY468" fmla="*/ 1955342 h 6065122"/>
                <a:gd name="connsiteX469" fmla="*/ 3546994 w 9688677"/>
                <a:gd name="connsiteY469" fmla="*/ 1870182 h 6065122"/>
                <a:gd name="connsiteX470" fmla="*/ 3181981 w 9688677"/>
                <a:gd name="connsiteY470" fmla="*/ 1870182 h 6065122"/>
                <a:gd name="connsiteX471" fmla="*/ 3142712 w 9688677"/>
                <a:gd name="connsiteY471" fmla="*/ 1956696 h 6065122"/>
                <a:gd name="connsiteX472" fmla="*/ 3181229 w 9688677"/>
                <a:gd name="connsiteY472" fmla="*/ 2037642 h 6065122"/>
                <a:gd name="connsiteX473" fmla="*/ 3219145 w 9688677"/>
                <a:gd name="connsiteY473" fmla="*/ 1955342 h 6065122"/>
                <a:gd name="connsiteX474" fmla="*/ 3181981 w 9688677"/>
                <a:gd name="connsiteY474" fmla="*/ 1870182 h 6065122"/>
                <a:gd name="connsiteX475" fmla="*/ 9602994 w 9688677"/>
                <a:gd name="connsiteY475" fmla="*/ 1842347 h 6065122"/>
                <a:gd name="connsiteX476" fmla="*/ 9674161 w 9688677"/>
                <a:gd name="connsiteY476" fmla="*/ 1952934 h 6065122"/>
                <a:gd name="connsiteX477" fmla="*/ 9654075 w 9688677"/>
                <a:gd name="connsiteY477" fmla="*/ 2036514 h 6065122"/>
                <a:gd name="connsiteX478" fmla="*/ 9597878 w 9688677"/>
                <a:gd name="connsiteY478" fmla="*/ 2065327 h 6065122"/>
                <a:gd name="connsiteX479" fmla="*/ 9545293 w 9688677"/>
                <a:gd name="connsiteY479" fmla="*/ 2037793 h 6065122"/>
                <a:gd name="connsiteX480" fmla="*/ 9526410 w 9688677"/>
                <a:gd name="connsiteY480" fmla="*/ 1958201 h 6065122"/>
                <a:gd name="connsiteX481" fmla="*/ 9546120 w 9688677"/>
                <a:gd name="connsiteY481" fmla="*/ 1871686 h 6065122"/>
                <a:gd name="connsiteX482" fmla="*/ 9602994 w 9688677"/>
                <a:gd name="connsiteY482" fmla="*/ 1842347 h 6065122"/>
                <a:gd name="connsiteX483" fmla="*/ 9242392 w 9688677"/>
                <a:gd name="connsiteY483" fmla="*/ 1842347 h 6065122"/>
                <a:gd name="connsiteX484" fmla="*/ 9313559 w 9688677"/>
                <a:gd name="connsiteY484" fmla="*/ 1952934 h 6065122"/>
                <a:gd name="connsiteX485" fmla="*/ 9293473 w 9688677"/>
                <a:gd name="connsiteY485" fmla="*/ 2036514 h 6065122"/>
                <a:gd name="connsiteX486" fmla="*/ 9237276 w 9688677"/>
                <a:gd name="connsiteY486" fmla="*/ 2065327 h 6065122"/>
                <a:gd name="connsiteX487" fmla="*/ 9184691 w 9688677"/>
                <a:gd name="connsiteY487" fmla="*/ 2037793 h 6065122"/>
                <a:gd name="connsiteX488" fmla="*/ 9165808 w 9688677"/>
                <a:gd name="connsiteY488" fmla="*/ 1958201 h 6065122"/>
                <a:gd name="connsiteX489" fmla="*/ 9185518 w 9688677"/>
                <a:gd name="connsiteY489" fmla="*/ 1871686 h 6065122"/>
                <a:gd name="connsiteX490" fmla="*/ 9242392 w 9688677"/>
                <a:gd name="connsiteY490" fmla="*/ 1842347 h 6065122"/>
                <a:gd name="connsiteX491" fmla="*/ 3548649 w 9688677"/>
                <a:gd name="connsiteY491" fmla="*/ 1842347 h 6065122"/>
                <a:gd name="connsiteX492" fmla="*/ 3619817 w 9688677"/>
                <a:gd name="connsiteY492" fmla="*/ 1952934 h 6065122"/>
                <a:gd name="connsiteX493" fmla="*/ 3599731 w 9688677"/>
                <a:gd name="connsiteY493" fmla="*/ 2036514 h 6065122"/>
                <a:gd name="connsiteX494" fmla="*/ 3543534 w 9688677"/>
                <a:gd name="connsiteY494" fmla="*/ 2065327 h 6065122"/>
                <a:gd name="connsiteX495" fmla="*/ 3490948 w 9688677"/>
                <a:gd name="connsiteY495" fmla="*/ 2037793 h 6065122"/>
                <a:gd name="connsiteX496" fmla="*/ 3472066 w 9688677"/>
                <a:gd name="connsiteY496" fmla="*/ 1958201 h 6065122"/>
                <a:gd name="connsiteX497" fmla="*/ 3491776 w 9688677"/>
                <a:gd name="connsiteY497" fmla="*/ 1871686 h 6065122"/>
                <a:gd name="connsiteX498" fmla="*/ 3548649 w 9688677"/>
                <a:gd name="connsiteY498" fmla="*/ 1842347 h 6065122"/>
                <a:gd name="connsiteX499" fmla="*/ 3183636 w 9688677"/>
                <a:gd name="connsiteY499" fmla="*/ 1842347 h 6065122"/>
                <a:gd name="connsiteX500" fmla="*/ 3254804 w 9688677"/>
                <a:gd name="connsiteY500" fmla="*/ 1952934 h 6065122"/>
                <a:gd name="connsiteX501" fmla="*/ 3234718 w 9688677"/>
                <a:gd name="connsiteY501" fmla="*/ 2036514 h 6065122"/>
                <a:gd name="connsiteX502" fmla="*/ 3178521 w 9688677"/>
                <a:gd name="connsiteY502" fmla="*/ 2065327 h 6065122"/>
                <a:gd name="connsiteX503" fmla="*/ 3125935 w 9688677"/>
                <a:gd name="connsiteY503" fmla="*/ 2037793 h 6065122"/>
                <a:gd name="connsiteX504" fmla="*/ 3107053 w 9688677"/>
                <a:gd name="connsiteY504" fmla="*/ 1958201 h 6065122"/>
                <a:gd name="connsiteX505" fmla="*/ 3126763 w 9688677"/>
                <a:gd name="connsiteY505" fmla="*/ 1871686 h 6065122"/>
                <a:gd name="connsiteX506" fmla="*/ 3183636 w 9688677"/>
                <a:gd name="connsiteY506" fmla="*/ 1842347 h 6065122"/>
                <a:gd name="connsiteX507" fmla="*/ 9365121 w 9688677"/>
                <a:gd name="connsiteY507" fmla="*/ 1549837 h 6065122"/>
                <a:gd name="connsiteX508" fmla="*/ 9325851 w 9688677"/>
                <a:gd name="connsiteY508" fmla="*/ 1636351 h 6065122"/>
                <a:gd name="connsiteX509" fmla="*/ 9364369 w 9688677"/>
                <a:gd name="connsiteY509" fmla="*/ 1717298 h 6065122"/>
                <a:gd name="connsiteX510" fmla="*/ 9402284 w 9688677"/>
                <a:gd name="connsiteY510" fmla="*/ 1634997 h 6065122"/>
                <a:gd name="connsiteX511" fmla="*/ 9365121 w 9688677"/>
                <a:gd name="connsiteY511" fmla="*/ 1549837 h 6065122"/>
                <a:gd name="connsiteX512" fmla="*/ 3309068 w 9688677"/>
                <a:gd name="connsiteY512" fmla="*/ 1549837 h 6065122"/>
                <a:gd name="connsiteX513" fmla="*/ 3269798 w 9688677"/>
                <a:gd name="connsiteY513" fmla="*/ 1636351 h 6065122"/>
                <a:gd name="connsiteX514" fmla="*/ 3308316 w 9688677"/>
                <a:gd name="connsiteY514" fmla="*/ 1717298 h 6065122"/>
                <a:gd name="connsiteX515" fmla="*/ 3346231 w 9688677"/>
                <a:gd name="connsiteY515" fmla="*/ 1634997 h 6065122"/>
                <a:gd name="connsiteX516" fmla="*/ 3309068 w 9688677"/>
                <a:gd name="connsiteY516" fmla="*/ 1549837 h 6065122"/>
                <a:gd name="connsiteX517" fmla="*/ 9366776 w 9688677"/>
                <a:gd name="connsiteY517" fmla="*/ 1522002 h 6065122"/>
                <a:gd name="connsiteX518" fmla="*/ 9437943 w 9688677"/>
                <a:gd name="connsiteY518" fmla="*/ 1632590 h 6065122"/>
                <a:gd name="connsiteX519" fmla="*/ 9417857 w 9688677"/>
                <a:gd name="connsiteY519" fmla="*/ 1716169 h 6065122"/>
                <a:gd name="connsiteX520" fmla="*/ 9361660 w 9688677"/>
                <a:gd name="connsiteY520" fmla="*/ 1744982 h 6065122"/>
                <a:gd name="connsiteX521" fmla="*/ 9309075 w 9688677"/>
                <a:gd name="connsiteY521" fmla="*/ 1717448 h 6065122"/>
                <a:gd name="connsiteX522" fmla="*/ 9290192 w 9688677"/>
                <a:gd name="connsiteY522" fmla="*/ 1637856 h 6065122"/>
                <a:gd name="connsiteX523" fmla="*/ 9309902 w 9688677"/>
                <a:gd name="connsiteY523" fmla="*/ 1551342 h 6065122"/>
                <a:gd name="connsiteX524" fmla="*/ 9366776 w 9688677"/>
                <a:gd name="connsiteY524" fmla="*/ 1522002 h 6065122"/>
                <a:gd name="connsiteX525" fmla="*/ 3310723 w 9688677"/>
                <a:gd name="connsiteY525" fmla="*/ 1522002 h 6065122"/>
                <a:gd name="connsiteX526" fmla="*/ 3381890 w 9688677"/>
                <a:gd name="connsiteY526" fmla="*/ 1632590 h 6065122"/>
                <a:gd name="connsiteX527" fmla="*/ 3361804 w 9688677"/>
                <a:gd name="connsiteY527" fmla="*/ 1716169 h 6065122"/>
                <a:gd name="connsiteX528" fmla="*/ 3305607 w 9688677"/>
                <a:gd name="connsiteY528" fmla="*/ 1744982 h 6065122"/>
                <a:gd name="connsiteX529" fmla="*/ 3253022 w 9688677"/>
                <a:gd name="connsiteY529" fmla="*/ 1717448 h 6065122"/>
                <a:gd name="connsiteX530" fmla="*/ 3234139 w 9688677"/>
                <a:gd name="connsiteY530" fmla="*/ 1637856 h 6065122"/>
                <a:gd name="connsiteX531" fmla="*/ 3253849 w 9688677"/>
                <a:gd name="connsiteY531" fmla="*/ 1551342 h 6065122"/>
                <a:gd name="connsiteX532" fmla="*/ 3310723 w 9688677"/>
                <a:gd name="connsiteY532" fmla="*/ 1522002 h 6065122"/>
                <a:gd name="connsiteX533" fmla="*/ 6512446 w 9688677"/>
                <a:gd name="connsiteY533" fmla="*/ 1236534 h 6065122"/>
                <a:gd name="connsiteX534" fmla="*/ 6473176 w 9688677"/>
                <a:gd name="connsiteY534" fmla="*/ 1323048 h 6065122"/>
                <a:gd name="connsiteX535" fmla="*/ 6511694 w 9688677"/>
                <a:gd name="connsiteY535" fmla="*/ 1403995 h 6065122"/>
                <a:gd name="connsiteX536" fmla="*/ 6549609 w 9688677"/>
                <a:gd name="connsiteY536" fmla="*/ 1321694 h 6065122"/>
                <a:gd name="connsiteX537" fmla="*/ 6512446 w 9688677"/>
                <a:gd name="connsiteY537" fmla="*/ 1236534 h 6065122"/>
                <a:gd name="connsiteX538" fmla="*/ 6141410 w 9688677"/>
                <a:gd name="connsiteY538" fmla="*/ 1236534 h 6065122"/>
                <a:gd name="connsiteX539" fmla="*/ 6102140 w 9688677"/>
                <a:gd name="connsiteY539" fmla="*/ 1323048 h 6065122"/>
                <a:gd name="connsiteX540" fmla="*/ 6140658 w 9688677"/>
                <a:gd name="connsiteY540" fmla="*/ 1403995 h 6065122"/>
                <a:gd name="connsiteX541" fmla="*/ 6178573 w 9688677"/>
                <a:gd name="connsiteY541" fmla="*/ 1321694 h 6065122"/>
                <a:gd name="connsiteX542" fmla="*/ 6141410 w 9688677"/>
                <a:gd name="connsiteY542" fmla="*/ 1236534 h 6065122"/>
                <a:gd name="connsiteX543" fmla="*/ 457019 w 9688677"/>
                <a:gd name="connsiteY543" fmla="*/ 1236534 h 6065122"/>
                <a:gd name="connsiteX544" fmla="*/ 417749 w 9688677"/>
                <a:gd name="connsiteY544" fmla="*/ 1323048 h 6065122"/>
                <a:gd name="connsiteX545" fmla="*/ 456267 w 9688677"/>
                <a:gd name="connsiteY545" fmla="*/ 1403995 h 6065122"/>
                <a:gd name="connsiteX546" fmla="*/ 494182 w 9688677"/>
                <a:gd name="connsiteY546" fmla="*/ 1321694 h 6065122"/>
                <a:gd name="connsiteX547" fmla="*/ 457019 w 9688677"/>
                <a:gd name="connsiteY547" fmla="*/ 1236534 h 6065122"/>
                <a:gd name="connsiteX548" fmla="*/ 81439 w 9688677"/>
                <a:gd name="connsiteY548" fmla="*/ 1236534 h 6065122"/>
                <a:gd name="connsiteX549" fmla="*/ 42169 w 9688677"/>
                <a:gd name="connsiteY549" fmla="*/ 1323048 h 6065122"/>
                <a:gd name="connsiteX550" fmla="*/ 80687 w 9688677"/>
                <a:gd name="connsiteY550" fmla="*/ 1403995 h 6065122"/>
                <a:gd name="connsiteX551" fmla="*/ 118602 w 9688677"/>
                <a:gd name="connsiteY551" fmla="*/ 1321694 h 6065122"/>
                <a:gd name="connsiteX552" fmla="*/ 81439 w 9688677"/>
                <a:gd name="connsiteY552" fmla="*/ 1236534 h 6065122"/>
                <a:gd name="connsiteX553" fmla="*/ 6514101 w 9688677"/>
                <a:gd name="connsiteY553" fmla="*/ 1208699 h 6065122"/>
                <a:gd name="connsiteX554" fmla="*/ 6585268 w 9688677"/>
                <a:gd name="connsiteY554" fmla="*/ 1319287 h 6065122"/>
                <a:gd name="connsiteX555" fmla="*/ 6565182 w 9688677"/>
                <a:gd name="connsiteY555" fmla="*/ 1402866 h 6065122"/>
                <a:gd name="connsiteX556" fmla="*/ 6508985 w 9688677"/>
                <a:gd name="connsiteY556" fmla="*/ 1431679 h 6065122"/>
                <a:gd name="connsiteX557" fmla="*/ 6456400 w 9688677"/>
                <a:gd name="connsiteY557" fmla="*/ 1404145 h 6065122"/>
                <a:gd name="connsiteX558" fmla="*/ 6437517 w 9688677"/>
                <a:gd name="connsiteY558" fmla="*/ 1324553 h 6065122"/>
                <a:gd name="connsiteX559" fmla="*/ 6457227 w 9688677"/>
                <a:gd name="connsiteY559" fmla="*/ 1238038 h 6065122"/>
                <a:gd name="connsiteX560" fmla="*/ 6514101 w 9688677"/>
                <a:gd name="connsiteY560" fmla="*/ 1208699 h 6065122"/>
                <a:gd name="connsiteX561" fmla="*/ 6143065 w 9688677"/>
                <a:gd name="connsiteY561" fmla="*/ 1208699 h 6065122"/>
                <a:gd name="connsiteX562" fmla="*/ 6214232 w 9688677"/>
                <a:gd name="connsiteY562" fmla="*/ 1319287 h 6065122"/>
                <a:gd name="connsiteX563" fmla="*/ 6194146 w 9688677"/>
                <a:gd name="connsiteY563" fmla="*/ 1402866 h 6065122"/>
                <a:gd name="connsiteX564" fmla="*/ 6137949 w 9688677"/>
                <a:gd name="connsiteY564" fmla="*/ 1431679 h 6065122"/>
                <a:gd name="connsiteX565" fmla="*/ 6085364 w 9688677"/>
                <a:gd name="connsiteY565" fmla="*/ 1404145 h 6065122"/>
                <a:gd name="connsiteX566" fmla="*/ 6066481 w 9688677"/>
                <a:gd name="connsiteY566" fmla="*/ 1324553 h 6065122"/>
                <a:gd name="connsiteX567" fmla="*/ 6086191 w 9688677"/>
                <a:gd name="connsiteY567" fmla="*/ 1238038 h 6065122"/>
                <a:gd name="connsiteX568" fmla="*/ 6143065 w 9688677"/>
                <a:gd name="connsiteY568" fmla="*/ 1208699 h 6065122"/>
                <a:gd name="connsiteX569" fmla="*/ 458674 w 9688677"/>
                <a:gd name="connsiteY569" fmla="*/ 1208699 h 6065122"/>
                <a:gd name="connsiteX570" fmla="*/ 529841 w 9688677"/>
                <a:gd name="connsiteY570" fmla="*/ 1319287 h 6065122"/>
                <a:gd name="connsiteX571" fmla="*/ 509755 w 9688677"/>
                <a:gd name="connsiteY571" fmla="*/ 1402866 h 6065122"/>
                <a:gd name="connsiteX572" fmla="*/ 453558 w 9688677"/>
                <a:gd name="connsiteY572" fmla="*/ 1431679 h 6065122"/>
                <a:gd name="connsiteX573" fmla="*/ 400973 w 9688677"/>
                <a:gd name="connsiteY573" fmla="*/ 1404145 h 6065122"/>
                <a:gd name="connsiteX574" fmla="*/ 382090 w 9688677"/>
                <a:gd name="connsiteY574" fmla="*/ 1324553 h 6065122"/>
                <a:gd name="connsiteX575" fmla="*/ 401800 w 9688677"/>
                <a:gd name="connsiteY575" fmla="*/ 1238038 h 6065122"/>
                <a:gd name="connsiteX576" fmla="*/ 458674 w 9688677"/>
                <a:gd name="connsiteY576" fmla="*/ 1208699 h 6065122"/>
                <a:gd name="connsiteX577" fmla="*/ 83094 w 9688677"/>
                <a:gd name="connsiteY577" fmla="*/ 1208699 h 6065122"/>
                <a:gd name="connsiteX578" fmla="*/ 154261 w 9688677"/>
                <a:gd name="connsiteY578" fmla="*/ 1319287 h 6065122"/>
                <a:gd name="connsiteX579" fmla="*/ 134175 w 9688677"/>
                <a:gd name="connsiteY579" fmla="*/ 1402866 h 6065122"/>
                <a:gd name="connsiteX580" fmla="*/ 77978 w 9688677"/>
                <a:gd name="connsiteY580" fmla="*/ 1431679 h 6065122"/>
                <a:gd name="connsiteX581" fmla="*/ 25393 w 9688677"/>
                <a:gd name="connsiteY581" fmla="*/ 1404145 h 6065122"/>
                <a:gd name="connsiteX582" fmla="*/ 6510 w 9688677"/>
                <a:gd name="connsiteY582" fmla="*/ 1324553 h 6065122"/>
                <a:gd name="connsiteX583" fmla="*/ 26220 w 9688677"/>
                <a:gd name="connsiteY583" fmla="*/ 1238038 h 6065122"/>
                <a:gd name="connsiteX584" fmla="*/ 83094 w 9688677"/>
                <a:gd name="connsiteY584" fmla="*/ 1208699 h 6065122"/>
                <a:gd name="connsiteX585" fmla="*/ 6281383 w 9688677"/>
                <a:gd name="connsiteY585" fmla="*/ 942895 h 6065122"/>
                <a:gd name="connsiteX586" fmla="*/ 6242113 w 9688677"/>
                <a:gd name="connsiteY586" fmla="*/ 1029409 h 6065122"/>
                <a:gd name="connsiteX587" fmla="*/ 6280631 w 9688677"/>
                <a:gd name="connsiteY587" fmla="*/ 1110356 h 6065122"/>
                <a:gd name="connsiteX588" fmla="*/ 6318546 w 9688677"/>
                <a:gd name="connsiteY588" fmla="*/ 1028055 h 6065122"/>
                <a:gd name="connsiteX589" fmla="*/ 6281383 w 9688677"/>
                <a:gd name="connsiteY589" fmla="*/ 942895 h 6065122"/>
                <a:gd name="connsiteX590" fmla="*/ 217972 w 9688677"/>
                <a:gd name="connsiteY590" fmla="*/ 942895 h 6065122"/>
                <a:gd name="connsiteX591" fmla="*/ 178702 w 9688677"/>
                <a:gd name="connsiteY591" fmla="*/ 1029409 h 6065122"/>
                <a:gd name="connsiteX592" fmla="*/ 217220 w 9688677"/>
                <a:gd name="connsiteY592" fmla="*/ 1110356 h 6065122"/>
                <a:gd name="connsiteX593" fmla="*/ 255135 w 9688677"/>
                <a:gd name="connsiteY593" fmla="*/ 1028055 h 6065122"/>
                <a:gd name="connsiteX594" fmla="*/ 217972 w 9688677"/>
                <a:gd name="connsiteY594" fmla="*/ 942895 h 6065122"/>
                <a:gd name="connsiteX595" fmla="*/ 6283038 w 9688677"/>
                <a:gd name="connsiteY595" fmla="*/ 915060 h 6065122"/>
                <a:gd name="connsiteX596" fmla="*/ 6354205 w 9688677"/>
                <a:gd name="connsiteY596" fmla="*/ 1025647 h 6065122"/>
                <a:gd name="connsiteX597" fmla="*/ 6334119 w 9688677"/>
                <a:gd name="connsiteY597" fmla="*/ 1109227 h 6065122"/>
                <a:gd name="connsiteX598" fmla="*/ 6277922 w 9688677"/>
                <a:gd name="connsiteY598" fmla="*/ 1138040 h 6065122"/>
                <a:gd name="connsiteX599" fmla="*/ 6225337 w 9688677"/>
                <a:gd name="connsiteY599" fmla="*/ 1110506 h 6065122"/>
                <a:gd name="connsiteX600" fmla="*/ 6206454 w 9688677"/>
                <a:gd name="connsiteY600" fmla="*/ 1030914 h 6065122"/>
                <a:gd name="connsiteX601" fmla="*/ 6226164 w 9688677"/>
                <a:gd name="connsiteY601" fmla="*/ 944399 h 6065122"/>
                <a:gd name="connsiteX602" fmla="*/ 6283038 w 9688677"/>
                <a:gd name="connsiteY602" fmla="*/ 915060 h 6065122"/>
                <a:gd name="connsiteX603" fmla="*/ 219627 w 9688677"/>
                <a:gd name="connsiteY603" fmla="*/ 915060 h 6065122"/>
                <a:gd name="connsiteX604" fmla="*/ 290794 w 9688677"/>
                <a:gd name="connsiteY604" fmla="*/ 1025647 h 6065122"/>
                <a:gd name="connsiteX605" fmla="*/ 270708 w 9688677"/>
                <a:gd name="connsiteY605" fmla="*/ 1109227 h 6065122"/>
                <a:gd name="connsiteX606" fmla="*/ 214511 w 9688677"/>
                <a:gd name="connsiteY606" fmla="*/ 1138040 h 6065122"/>
                <a:gd name="connsiteX607" fmla="*/ 161926 w 9688677"/>
                <a:gd name="connsiteY607" fmla="*/ 1110506 h 6065122"/>
                <a:gd name="connsiteX608" fmla="*/ 143043 w 9688677"/>
                <a:gd name="connsiteY608" fmla="*/ 1030914 h 6065122"/>
                <a:gd name="connsiteX609" fmla="*/ 162753 w 9688677"/>
                <a:gd name="connsiteY609" fmla="*/ 944399 h 6065122"/>
                <a:gd name="connsiteX610" fmla="*/ 219627 w 9688677"/>
                <a:gd name="connsiteY610" fmla="*/ 915060 h 6065122"/>
                <a:gd name="connsiteX611" fmla="*/ 6518038 w 9688677"/>
                <a:gd name="connsiteY611" fmla="*/ 660590 h 6065122"/>
                <a:gd name="connsiteX612" fmla="*/ 6478768 w 9688677"/>
                <a:gd name="connsiteY612" fmla="*/ 747104 h 6065122"/>
                <a:gd name="connsiteX613" fmla="*/ 6517286 w 9688677"/>
                <a:gd name="connsiteY613" fmla="*/ 828051 h 6065122"/>
                <a:gd name="connsiteX614" fmla="*/ 6555201 w 9688677"/>
                <a:gd name="connsiteY614" fmla="*/ 745750 h 6065122"/>
                <a:gd name="connsiteX615" fmla="*/ 6518038 w 9688677"/>
                <a:gd name="connsiteY615" fmla="*/ 660590 h 6065122"/>
                <a:gd name="connsiteX616" fmla="*/ 6147002 w 9688677"/>
                <a:gd name="connsiteY616" fmla="*/ 660590 h 6065122"/>
                <a:gd name="connsiteX617" fmla="*/ 6107732 w 9688677"/>
                <a:gd name="connsiteY617" fmla="*/ 747104 h 6065122"/>
                <a:gd name="connsiteX618" fmla="*/ 6146250 w 9688677"/>
                <a:gd name="connsiteY618" fmla="*/ 828051 h 6065122"/>
                <a:gd name="connsiteX619" fmla="*/ 6184165 w 9688677"/>
                <a:gd name="connsiteY619" fmla="*/ 745750 h 6065122"/>
                <a:gd name="connsiteX620" fmla="*/ 6147002 w 9688677"/>
                <a:gd name="connsiteY620" fmla="*/ 660590 h 6065122"/>
                <a:gd name="connsiteX621" fmla="*/ 462611 w 9688677"/>
                <a:gd name="connsiteY621" fmla="*/ 660590 h 6065122"/>
                <a:gd name="connsiteX622" fmla="*/ 423341 w 9688677"/>
                <a:gd name="connsiteY622" fmla="*/ 747104 h 6065122"/>
                <a:gd name="connsiteX623" fmla="*/ 461859 w 9688677"/>
                <a:gd name="connsiteY623" fmla="*/ 828051 h 6065122"/>
                <a:gd name="connsiteX624" fmla="*/ 499774 w 9688677"/>
                <a:gd name="connsiteY624" fmla="*/ 745750 h 6065122"/>
                <a:gd name="connsiteX625" fmla="*/ 462611 w 9688677"/>
                <a:gd name="connsiteY625" fmla="*/ 660590 h 6065122"/>
                <a:gd name="connsiteX626" fmla="*/ 87031 w 9688677"/>
                <a:gd name="connsiteY626" fmla="*/ 660590 h 6065122"/>
                <a:gd name="connsiteX627" fmla="*/ 47761 w 9688677"/>
                <a:gd name="connsiteY627" fmla="*/ 747104 h 6065122"/>
                <a:gd name="connsiteX628" fmla="*/ 86279 w 9688677"/>
                <a:gd name="connsiteY628" fmla="*/ 828051 h 6065122"/>
                <a:gd name="connsiteX629" fmla="*/ 124194 w 9688677"/>
                <a:gd name="connsiteY629" fmla="*/ 745750 h 6065122"/>
                <a:gd name="connsiteX630" fmla="*/ 87031 w 9688677"/>
                <a:gd name="connsiteY630" fmla="*/ 660590 h 6065122"/>
                <a:gd name="connsiteX631" fmla="*/ 6519693 w 9688677"/>
                <a:gd name="connsiteY631" fmla="*/ 632755 h 6065122"/>
                <a:gd name="connsiteX632" fmla="*/ 6590860 w 9688677"/>
                <a:gd name="connsiteY632" fmla="*/ 743343 h 6065122"/>
                <a:gd name="connsiteX633" fmla="*/ 6570774 w 9688677"/>
                <a:gd name="connsiteY633" fmla="*/ 826922 h 6065122"/>
                <a:gd name="connsiteX634" fmla="*/ 6514577 w 9688677"/>
                <a:gd name="connsiteY634" fmla="*/ 855735 h 6065122"/>
                <a:gd name="connsiteX635" fmla="*/ 6461992 w 9688677"/>
                <a:gd name="connsiteY635" fmla="*/ 828201 h 6065122"/>
                <a:gd name="connsiteX636" fmla="*/ 6443109 w 9688677"/>
                <a:gd name="connsiteY636" fmla="*/ 748609 h 6065122"/>
                <a:gd name="connsiteX637" fmla="*/ 6462819 w 9688677"/>
                <a:gd name="connsiteY637" fmla="*/ 662094 h 6065122"/>
                <a:gd name="connsiteX638" fmla="*/ 6519693 w 9688677"/>
                <a:gd name="connsiteY638" fmla="*/ 632755 h 6065122"/>
                <a:gd name="connsiteX639" fmla="*/ 6148657 w 9688677"/>
                <a:gd name="connsiteY639" fmla="*/ 632755 h 6065122"/>
                <a:gd name="connsiteX640" fmla="*/ 6219824 w 9688677"/>
                <a:gd name="connsiteY640" fmla="*/ 743343 h 6065122"/>
                <a:gd name="connsiteX641" fmla="*/ 6199738 w 9688677"/>
                <a:gd name="connsiteY641" fmla="*/ 826922 h 6065122"/>
                <a:gd name="connsiteX642" fmla="*/ 6143541 w 9688677"/>
                <a:gd name="connsiteY642" fmla="*/ 855735 h 6065122"/>
                <a:gd name="connsiteX643" fmla="*/ 6090956 w 9688677"/>
                <a:gd name="connsiteY643" fmla="*/ 828201 h 6065122"/>
                <a:gd name="connsiteX644" fmla="*/ 6072073 w 9688677"/>
                <a:gd name="connsiteY644" fmla="*/ 748609 h 6065122"/>
                <a:gd name="connsiteX645" fmla="*/ 6091783 w 9688677"/>
                <a:gd name="connsiteY645" fmla="*/ 662094 h 6065122"/>
                <a:gd name="connsiteX646" fmla="*/ 6148657 w 9688677"/>
                <a:gd name="connsiteY646" fmla="*/ 632755 h 6065122"/>
                <a:gd name="connsiteX647" fmla="*/ 464267 w 9688677"/>
                <a:gd name="connsiteY647" fmla="*/ 632755 h 6065122"/>
                <a:gd name="connsiteX648" fmla="*/ 535434 w 9688677"/>
                <a:gd name="connsiteY648" fmla="*/ 743343 h 6065122"/>
                <a:gd name="connsiteX649" fmla="*/ 515347 w 9688677"/>
                <a:gd name="connsiteY649" fmla="*/ 826922 h 6065122"/>
                <a:gd name="connsiteX650" fmla="*/ 459150 w 9688677"/>
                <a:gd name="connsiteY650" fmla="*/ 855735 h 6065122"/>
                <a:gd name="connsiteX651" fmla="*/ 406565 w 9688677"/>
                <a:gd name="connsiteY651" fmla="*/ 828201 h 6065122"/>
                <a:gd name="connsiteX652" fmla="*/ 387682 w 9688677"/>
                <a:gd name="connsiteY652" fmla="*/ 748609 h 6065122"/>
                <a:gd name="connsiteX653" fmla="*/ 407392 w 9688677"/>
                <a:gd name="connsiteY653" fmla="*/ 662094 h 6065122"/>
                <a:gd name="connsiteX654" fmla="*/ 464267 w 9688677"/>
                <a:gd name="connsiteY654" fmla="*/ 632755 h 6065122"/>
                <a:gd name="connsiteX655" fmla="*/ 88686 w 9688677"/>
                <a:gd name="connsiteY655" fmla="*/ 632755 h 6065122"/>
                <a:gd name="connsiteX656" fmla="*/ 159853 w 9688677"/>
                <a:gd name="connsiteY656" fmla="*/ 743343 h 6065122"/>
                <a:gd name="connsiteX657" fmla="*/ 139767 w 9688677"/>
                <a:gd name="connsiteY657" fmla="*/ 826922 h 6065122"/>
                <a:gd name="connsiteX658" fmla="*/ 83570 w 9688677"/>
                <a:gd name="connsiteY658" fmla="*/ 855735 h 6065122"/>
                <a:gd name="connsiteX659" fmla="*/ 30985 w 9688677"/>
                <a:gd name="connsiteY659" fmla="*/ 828201 h 6065122"/>
                <a:gd name="connsiteX660" fmla="*/ 12102 w 9688677"/>
                <a:gd name="connsiteY660" fmla="*/ 748609 h 6065122"/>
                <a:gd name="connsiteX661" fmla="*/ 31812 w 9688677"/>
                <a:gd name="connsiteY661" fmla="*/ 662094 h 6065122"/>
                <a:gd name="connsiteX662" fmla="*/ 88686 w 9688677"/>
                <a:gd name="connsiteY662" fmla="*/ 632755 h 6065122"/>
                <a:gd name="connsiteX663" fmla="*/ 6288641 w 9688677"/>
                <a:gd name="connsiteY663" fmla="*/ 356082 h 6065122"/>
                <a:gd name="connsiteX664" fmla="*/ 6249371 w 9688677"/>
                <a:gd name="connsiteY664" fmla="*/ 442596 h 6065122"/>
                <a:gd name="connsiteX665" fmla="*/ 6287889 w 9688677"/>
                <a:gd name="connsiteY665" fmla="*/ 523543 h 6065122"/>
                <a:gd name="connsiteX666" fmla="*/ 6325804 w 9688677"/>
                <a:gd name="connsiteY666" fmla="*/ 441242 h 6065122"/>
                <a:gd name="connsiteX667" fmla="*/ 6288641 w 9688677"/>
                <a:gd name="connsiteY667" fmla="*/ 356082 h 6065122"/>
                <a:gd name="connsiteX668" fmla="*/ 225230 w 9688677"/>
                <a:gd name="connsiteY668" fmla="*/ 356082 h 6065122"/>
                <a:gd name="connsiteX669" fmla="*/ 185960 w 9688677"/>
                <a:gd name="connsiteY669" fmla="*/ 442596 h 6065122"/>
                <a:gd name="connsiteX670" fmla="*/ 224478 w 9688677"/>
                <a:gd name="connsiteY670" fmla="*/ 523543 h 6065122"/>
                <a:gd name="connsiteX671" fmla="*/ 262394 w 9688677"/>
                <a:gd name="connsiteY671" fmla="*/ 441242 h 6065122"/>
                <a:gd name="connsiteX672" fmla="*/ 225230 w 9688677"/>
                <a:gd name="connsiteY672" fmla="*/ 356082 h 6065122"/>
                <a:gd name="connsiteX673" fmla="*/ 6290296 w 9688677"/>
                <a:gd name="connsiteY673" fmla="*/ 328247 h 6065122"/>
                <a:gd name="connsiteX674" fmla="*/ 6361463 w 9688677"/>
                <a:gd name="connsiteY674" fmla="*/ 438834 h 6065122"/>
                <a:gd name="connsiteX675" fmla="*/ 6341377 w 9688677"/>
                <a:gd name="connsiteY675" fmla="*/ 522414 h 6065122"/>
                <a:gd name="connsiteX676" fmla="*/ 6285180 w 9688677"/>
                <a:gd name="connsiteY676" fmla="*/ 551227 h 6065122"/>
                <a:gd name="connsiteX677" fmla="*/ 6232595 w 9688677"/>
                <a:gd name="connsiteY677" fmla="*/ 523693 h 6065122"/>
                <a:gd name="connsiteX678" fmla="*/ 6213712 w 9688677"/>
                <a:gd name="connsiteY678" fmla="*/ 444101 h 6065122"/>
                <a:gd name="connsiteX679" fmla="*/ 6233422 w 9688677"/>
                <a:gd name="connsiteY679" fmla="*/ 357586 h 6065122"/>
                <a:gd name="connsiteX680" fmla="*/ 6290296 w 9688677"/>
                <a:gd name="connsiteY680" fmla="*/ 328247 h 6065122"/>
                <a:gd name="connsiteX681" fmla="*/ 226885 w 9688677"/>
                <a:gd name="connsiteY681" fmla="*/ 328247 h 6065122"/>
                <a:gd name="connsiteX682" fmla="*/ 298052 w 9688677"/>
                <a:gd name="connsiteY682" fmla="*/ 438834 h 6065122"/>
                <a:gd name="connsiteX683" fmla="*/ 277966 w 9688677"/>
                <a:gd name="connsiteY683" fmla="*/ 522414 h 6065122"/>
                <a:gd name="connsiteX684" fmla="*/ 221770 w 9688677"/>
                <a:gd name="connsiteY684" fmla="*/ 551227 h 6065122"/>
                <a:gd name="connsiteX685" fmla="*/ 169185 w 9688677"/>
                <a:gd name="connsiteY685" fmla="*/ 523693 h 6065122"/>
                <a:gd name="connsiteX686" fmla="*/ 150302 w 9688677"/>
                <a:gd name="connsiteY686" fmla="*/ 444101 h 6065122"/>
                <a:gd name="connsiteX687" fmla="*/ 170011 w 9688677"/>
                <a:gd name="connsiteY687" fmla="*/ 357586 h 6065122"/>
                <a:gd name="connsiteX688" fmla="*/ 226885 w 9688677"/>
                <a:gd name="connsiteY688" fmla="*/ 328247 h 6065122"/>
                <a:gd name="connsiteX689" fmla="*/ 9615855 w 9688677"/>
                <a:gd name="connsiteY689" fmla="*/ 27835 h 6065122"/>
                <a:gd name="connsiteX690" fmla="*/ 9576585 w 9688677"/>
                <a:gd name="connsiteY690" fmla="*/ 114349 h 6065122"/>
                <a:gd name="connsiteX691" fmla="*/ 9615103 w 9688677"/>
                <a:gd name="connsiteY691" fmla="*/ 195295 h 6065122"/>
                <a:gd name="connsiteX692" fmla="*/ 9653018 w 9688677"/>
                <a:gd name="connsiteY692" fmla="*/ 112995 h 6065122"/>
                <a:gd name="connsiteX693" fmla="*/ 9615855 w 9688677"/>
                <a:gd name="connsiteY693" fmla="*/ 27835 h 6065122"/>
                <a:gd name="connsiteX694" fmla="*/ 9255253 w 9688677"/>
                <a:gd name="connsiteY694" fmla="*/ 27835 h 6065122"/>
                <a:gd name="connsiteX695" fmla="*/ 9215983 w 9688677"/>
                <a:gd name="connsiteY695" fmla="*/ 114349 h 6065122"/>
                <a:gd name="connsiteX696" fmla="*/ 9254501 w 9688677"/>
                <a:gd name="connsiteY696" fmla="*/ 195295 h 6065122"/>
                <a:gd name="connsiteX697" fmla="*/ 9292416 w 9688677"/>
                <a:gd name="connsiteY697" fmla="*/ 112995 h 6065122"/>
                <a:gd name="connsiteX698" fmla="*/ 9255253 w 9688677"/>
                <a:gd name="connsiteY698" fmla="*/ 27835 h 6065122"/>
                <a:gd name="connsiteX699" fmla="*/ 3561510 w 9688677"/>
                <a:gd name="connsiteY699" fmla="*/ 27835 h 6065122"/>
                <a:gd name="connsiteX700" fmla="*/ 3522241 w 9688677"/>
                <a:gd name="connsiteY700" fmla="*/ 114349 h 6065122"/>
                <a:gd name="connsiteX701" fmla="*/ 3560758 w 9688677"/>
                <a:gd name="connsiteY701" fmla="*/ 195295 h 6065122"/>
                <a:gd name="connsiteX702" fmla="*/ 3598674 w 9688677"/>
                <a:gd name="connsiteY702" fmla="*/ 112995 h 6065122"/>
                <a:gd name="connsiteX703" fmla="*/ 3561510 w 9688677"/>
                <a:gd name="connsiteY703" fmla="*/ 27835 h 6065122"/>
                <a:gd name="connsiteX704" fmla="*/ 3196497 w 9688677"/>
                <a:gd name="connsiteY704" fmla="*/ 27835 h 6065122"/>
                <a:gd name="connsiteX705" fmla="*/ 3157228 w 9688677"/>
                <a:gd name="connsiteY705" fmla="*/ 114349 h 6065122"/>
                <a:gd name="connsiteX706" fmla="*/ 3195745 w 9688677"/>
                <a:gd name="connsiteY706" fmla="*/ 195295 h 6065122"/>
                <a:gd name="connsiteX707" fmla="*/ 3233661 w 9688677"/>
                <a:gd name="connsiteY707" fmla="*/ 112995 h 6065122"/>
                <a:gd name="connsiteX708" fmla="*/ 3196497 w 9688677"/>
                <a:gd name="connsiteY708" fmla="*/ 27835 h 6065122"/>
                <a:gd name="connsiteX709" fmla="*/ 9617510 w 9688677"/>
                <a:gd name="connsiteY709" fmla="*/ 0 h 6065122"/>
                <a:gd name="connsiteX710" fmla="*/ 9688677 w 9688677"/>
                <a:gd name="connsiteY710" fmla="*/ 110587 h 6065122"/>
                <a:gd name="connsiteX711" fmla="*/ 9668591 w 9688677"/>
                <a:gd name="connsiteY711" fmla="*/ 194167 h 6065122"/>
                <a:gd name="connsiteX712" fmla="*/ 9612394 w 9688677"/>
                <a:gd name="connsiteY712" fmla="*/ 222980 h 6065122"/>
                <a:gd name="connsiteX713" fmla="*/ 9559809 w 9688677"/>
                <a:gd name="connsiteY713" fmla="*/ 195446 h 6065122"/>
                <a:gd name="connsiteX714" fmla="*/ 9540926 w 9688677"/>
                <a:gd name="connsiteY714" fmla="*/ 115854 h 6065122"/>
                <a:gd name="connsiteX715" fmla="*/ 9560636 w 9688677"/>
                <a:gd name="connsiteY715" fmla="*/ 29339 h 6065122"/>
                <a:gd name="connsiteX716" fmla="*/ 9617510 w 9688677"/>
                <a:gd name="connsiteY716" fmla="*/ 0 h 6065122"/>
                <a:gd name="connsiteX717" fmla="*/ 9256908 w 9688677"/>
                <a:gd name="connsiteY717" fmla="*/ 0 h 6065122"/>
                <a:gd name="connsiteX718" fmla="*/ 9328075 w 9688677"/>
                <a:gd name="connsiteY718" fmla="*/ 110587 h 6065122"/>
                <a:gd name="connsiteX719" fmla="*/ 9307989 w 9688677"/>
                <a:gd name="connsiteY719" fmla="*/ 194167 h 6065122"/>
                <a:gd name="connsiteX720" fmla="*/ 9251792 w 9688677"/>
                <a:gd name="connsiteY720" fmla="*/ 222980 h 6065122"/>
                <a:gd name="connsiteX721" fmla="*/ 9199207 w 9688677"/>
                <a:gd name="connsiteY721" fmla="*/ 195446 h 6065122"/>
                <a:gd name="connsiteX722" fmla="*/ 9180324 w 9688677"/>
                <a:gd name="connsiteY722" fmla="*/ 115854 h 6065122"/>
                <a:gd name="connsiteX723" fmla="*/ 9200034 w 9688677"/>
                <a:gd name="connsiteY723" fmla="*/ 29339 h 6065122"/>
                <a:gd name="connsiteX724" fmla="*/ 9256908 w 9688677"/>
                <a:gd name="connsiteY724" fmla="*/ 0 h 6065122"/>
                <a:gd name="connsiteX725" fmla="*/ 3563165 w 9688677"/>
                <a:gd name="connsiteY725" fmla="*/ 0 h 6065122"/>
                <a:gd name="connsiteX726" fmla="*/ 3634333 w 9688677"/>
                <a:gd name="connsiteY726" fmla="*/ 110587 h 6065122"/>
                <a:gd name="connsiteX727" fmla="*/ 3614247 w 9688677"/>
                <a:gd name="connsiteY727" fmla="*/ 194167 h 6065122"/>
                <a:gd name="connsiteX728" fmla="*/ 3558050 w 9688677"/>
                <a:gd name="connsiteY728" fmla="*/ 222980 h 6065122"/>
                <a:gd name="connsiteX729" fmla="*/ 3505464 w 9688677"/>
                <a:gd name="connsiteY729" fmla="*/ 195446 h 6065122"/>
                <a:gd name="connsiteX730" fmla="*/ 3486582 w 9688677"/>
                <a:gd name="connsiteY730" fmla="*/ 115854 h 6065122"/>
                <a:gd name="connsiteX731" fmla="*/ 3506292 w 9688677"/>
                <a:gd name="connsiteY731" fmla="*/ 29339 h 6065122"/>
                <a:gd name="connsiteX732" fmla="*/ 3563165 w 9688677"/>
                <a:gd name="connsiteY732" fmla="*/ 0 h 6065122"/>
                <a:gd name="connsiteX733" fmla="*/ 3198152 w 9688677"/>
                <a:gd name="connsiteY733" fmla="*/ 0 h 6065122"/>
                <a:gd name="connsiteX734" fmla="*/ 3269320 w 9688677"/>
                <a:gd name="connsiteY734" fmla="*/ 110587 h 6065122"/>
                <a:gd name="connsiteX735" fmla="*/ 3249234 w 9688677"/>
                <a:gd name="connsiteY735" fmla="*/ 194167 h 6065122"/>
                <a:gd name="connsiteX736" fmla="*/ 3193037 w 9688677"/>
                <a:gd name="connsiteY736" fmla="*/ 222980 h 6065122"/>
                <a:gd name="connsiteX737" fmla="*/ 3140451 w 9688677"/>
                <a:gd name="connsiteY737" fmla="*/ 195446 h 6065122"/>
                <a:gd name="connsiteX738" fmla="*/ 3121569 w 9688677"/>
                <a:gd name="connsiteY738" fmla="*/ 115854 h 6065122"/>
                <a:gd name="connsiteX739" fmla="*/ 3141279 w 9688677"/>
                <a:gd name="connsiteY739" fmla="*/ 29339 h 6065122"/>
                <a:gd name="connsiteX740" fmla="*/ 3198152 w 9688677"/>
                <a:gd name="connsiteY740" fmla="*/ 0 h 606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Lst>
              <a:rect l="l" t="t" r="r" b="b"/>
              <a:pathLst>
                <a:path w="9688677" h="6065122">
                  <a:moveTo>
                    <a:pt x="3144402" y="5869977"/>
                  </a:moveTo>
                  <a:cubicBezTo>
                    <a:pt x="3118222" y="5869977"/>
                    <a:pt x="3105132" y="5898815"/>
                    <a:pt x="3105132" y="5956491"/>
                  </a:cubicBezTo>
                  <a:cubicBezTo>
                    <a:pt x="3105132" y="6010455"/>
                    <a:pt x="3117971" y="6037438"/>
                    <a:pt x="3143650" y="6037438"/>
                  </a:cubicBezTo>
                  <a:cubicBezTo>
                    <a:pt x="3168927" y="6037438"/>
                    <a:pt x="3181565" y="6010004"/>
                    <a:pt x="3181565" y="5955137"/>
                  </a:cubicBezTo>
                  <a:cubicBezTo>
                    <a:pt x="3181565" y="5898364"/>
                    <a:pt x="3169177" y="5869977"/>
                    <a:pt x="3144402" y="5869977"/>
                  </a:cubicBezTo>
                  <a:close/>
                  <a:moveTo>
                    <a:pt x="3146057" y="5842142"/>
                  </a:moveTo>
                  <a:cubicBezTo>
                    <a:pt x="3193502" y="5842142"/>
                    <a:pt x="3217224" y="5879005"/>
                    <a:pt x="3217224" y="5952730"/>
                  </a:cubicBezTo>
                  <a:cubicBezTo>
                    <a:pt x="3217224" y="5989241"/>
                    <a:pt x="3210529" y="6017101"/>
                    <a:pt x="3197138" y="6036309"/>
                  </a:cubicBezTo>
                  <a:cubicBezTo>
                    <a:pt x="3183747" y="6055518"/>
                    <a:pt x="3165015" y="6065122"/>
                    <a:pt x="3140941" y="6065122"/>
                  </a:cubicBezTo>
                  <a:cubicBezTo>
                    <a:pt x="3118473" y="6065122"/>
                    <a:pt x="3100944" y="6055944"/>
                    <a:pt x="3088356" y="6037588"/>
                  </a:cubicBezTo>
                  <a:cubicBezTo>
                    <a:pt x="3075767" y="6019232"/>
                    <a:pt x="3069473" y="5992701"/>
                    <a:pt x="3069473" y="5957996"/>
                  </a:cubicBezTo>
                  <a:cubicBezTo>
                    <a:pt x="3069473" y="5919879"/>
                    <a:pt x="3076043" y="5891042"/>
                    <a:pt x="3089183" y="5871482"/>
                  </a:cubicBezTo>
                  <a:cubicBezTo>
                    <a:pt x="3102324" y="5851922"/>
                    <a:pt x="3121281" y="5842142"/>
                    <a:pt x="3146057" y="5842142"/>
                  </a:cubicBezTo>
                  <a:close/>
                  <a:moveTo>
                    <a:pt x="9245467" y="5532347"/>
                  </a:moveTo>
                  <a:cubicBezTo>
                    <a:pt x="9219287" y="5532347"/>
                    <a:pt x="9206197" y="5561185"/>
                    <a:pt x="9206197" y="5618861"/>
                  </a:cubicBezTo>
                  <a:cubicBezTo>
                    <a:pt x="9206197" y="5672825"/>
                    <a:pt x="9219036" y="5699808"/>
                    <a:pt x="9244715" y="5699808"/>
                  </a:cubicBezTo>
                  <a:cubicBezTo>
                    <a:pt x="9269991" y="5699808"/>
                    <a:pt x="9282630" y="5672374"/>
                    <a:pt x="9282630" y="5617507"/>
                  </a:cubicBezTo>
                  <a:cubicBezTo>
                    <a:pt x="9282630" y="5560734"/>
                    <a:pt x="9270242" y="5532347"/>
                    <a:pt x="9245467" y="5532347"/>
                  </a:cubicBezTo>
                  <a:close/>
                  <a:moveTo>
                    <a:pt x="3144402" y="5532347"/>
                  </a:moveTo>
                  <a:cubicBezTo>
                    <a:pt x="3118222" y="5532347"/>
                    <a:pt x="3105132" y="5561184"/>
                    <a:pt x="3105132" y="5618860"/>
                  </a:cubicBezTo>
                  <a:cubicBezTo>
                    <a:pt x="3105132" y="5672825"/>
                    <a:pt x="3117971" y="5699807"/>
                    <a:pt x="3143650" y="5699807"/>
                  </a:cubicBezTo>
                  <a:cubicBezTo>
                    <a:pt x="3168927" y="5699807"/>
                    <a:pt x="3181565" y="5672373"/>
                    <a:pt x="3181565" y="5617506"/>
                  </a:cubicBezTo>
                  <a:cubicBezTo>
                    <a:pt x="3181565" y="5560733"/>
                    <a:pt x="3169177" y="5532347"/>
                    <a:pt x="3144402" y="5532347"/>
                  </a:cubicBezTo>
                  <a:close/>
                  <a:moveTo>
                    <a:pt x="9247122" y="5504512"/>
                  </a:moveTo>
                  <a:cubicBezTo>
                    <a:pt x="9294566" y="5504512"/>
                    <a:pt x="9318289" y="5541375"/>
                    <a:pt x="9318289" y="5615100"/>
                  </a:cubicBezTo>
                  <a:cubicBezTo>
                    <a:pt x="9318289" y="5651611"/>
                    <a:pt x="9311593" y="5679471"/>
                    <a:pt x="9298203" y="5698679"/>
                  </a:cubicBezTo>
                  <a:cubicBezTo>
                    <a:pt x="9284812" y="5717888"/>
                    <a:pt x="9266080" y="5727492"/>
                    <a:pt x="9242006" y="5727492"/>
                  </a:cubicBezTo>
                  <a:cubicBezTo>
                    <a:pt x="9219538" y="5727492"/>
                    <a:pt x="9202009" y="5718314"/>
                    <a:pt x="9189421" y="5699958"/>
                  </a:cubicBezTo>
                  <a:cubicBezTo>
                    <a:pt x="9176832" y="5681602"/>
                    <a:pt x="9170538" y="5655071"/>
                    <a:pt x="9170538" y="5620366"/>
                  </a:cubicBezTo>
                  <a:cubicBezTo>
                    <a:pt x="9170538" y="5582249"/>
                    <a:pt x="9177108" y="5553412"/>
                    <a:pt x="9190248" y="5533852"/>
                  </a:cubicBezTo>
                  <a:cubicBezTo>
                    <a:pt x="9203389" y="5514292"/>
                    <a:pt x="9222346" y="5504512"/>
                    <a:pt x="9247122" y="5504512"/>
                  </a:cubicBezTo>
                  <a:close/>
                  <a:moveTo>
                    <a:pt x="3146057" y="5504512"/>
                  </a:moveTo>
                  <a:cubicBezTo>
                    <a:pt x="3193502" y="5504512"/>
                    <a:pt x="3217224" y="5541374"/>
                    <a:pt x="3217224" y="5615099"/>
                  </a:cubicBezTo>
                  <a:cubicBezTo>
                    <a:pt x="3217224" y="5651610"/>
                    <a:pt x="3210529" y="5679470"/>
                    <a:pt x="3197138" y="5698679"/>
                  </a:cubicBezTo>
                  <a:cubicBezTo>
                    <a:pt x="3183747" y="5717887"/>
                    <a:pt x="3165015" y="5727492"/>
                    <a:pt x="3140941" y="5727492"/>
                  </a:cubicBezTo>
                  <a:cubicBezTo>
                    <a:pt x="3118473" y="5727492"/>
                    <a:pt x="3100944" y="5718314"/>
                    <a:pt x="3088356" y="5699958"/>
                  </a:cubicBezTo>
                  <a:cubicBezTo>
                    <a:pt x="3075767" y="5681602"/>
                    <a:pt x="3069473" y="5655071"/>
                    <a:pt x="3069473" y="5620365"/>
                  </a:cubicBezTo>
                  <a:cubicBezTo>
                    <a:pt x="3069473" y="5582249"/>
                    <a:pt x="3076043" y="5553411"/>
                    <a:pt x="3089183" y="5533851"/>
                  </a:cubicBezTo>
                  <a:cubicBezTo>
                    <a:pt x="3102324" y="5514292"/>
                    <a:pt x="3121281" y="5504512"/>
                    <a:pt x="3146057" y="5504512"/>
                  </a:cubicBezTo>
                  <a:close/>
                  <a:moveTo>
                    <a:pt x="9245467" y="5184876"/>
                  </a:moveTo>
                  <a:cubicBezTo>
                    <a:pt x="9219287" y="5184876"/>
                    <a:pt x="9206197" y="5213714"/>
                    <a:pt x="9206197" y="5271390"/>
                  </a:cubicBezTo>
                  <a:cubicBezTo>
                    <a:pt x="9206197" y="5325354"/>
                    <a:pt x="9219036" y="5352337"/>
                    <a:pt x="9244715" y="5352337"/>
                  </a:cubicBezTo>
                  <a:cubicBezTo>
                    <a:pt x="9269991" y="5352337"/>
                    <a:pt x="9282630" y="5324903"/>
                    <a:pt x="9282630" y="5270036"/>
                  </a:cubicBezTo>
                  <a:cubicBezTo>
                    <a:pt x="9282630" y="5213263"/>
                    <a:pt x="9270242" y="5184876"/>
                    <a:pt x="9245467" y="5184876"/>
                  </a:cubicBezTo>
                  <a:close/>
                  <a:moveTo>
                    <a:pt x="3144402" y="5184876"/>
                  </a:moveTo>
                  <a:cubicBezTo>
                    <a:pt x="3118222" y="5184876"/>
                    <a:pt x="3105132" y="5213713"/>
                    <a:pt x="3105132" y="5271389"/>
                  </a:cubicBezTo>
                  <a:cubicBezTo>
                    <a:pt x="3105132" y="5325354"/>
                    <a:pt x="3117971" y="5352336"/>
                    <a:pt x="3143650" y="5352336"/>
                  </a:cubicBezTo>
                  <a:cubicBezTo>
                    <a:pt x="3168927" y="5352336"/>
                    <a:pt x="3181565" y="5324902"/>
                    <a:pt x="3181565" y="5270035"/>
                  </a:cubicBezTo>
                  <a:cubicBezTo>
                    <a:pt x="3181565" y="5213262"/>
                    <a:pt x="3169177" y="5184876"/>
                    <a:pt x="3144402" y="5184876"/>
                  </a:cubicBezTo>
                  <a:close/>
                  <a:moveTo>
                    <a:pt x="9247122" y="5157041"/>
                  </a:moveTo>
                  <a:cubicBezTo>
                    <a:pt x="9294566" y="5157041"/>
                    <a:pt x="9318289" y="5193904"/>
                    <a:pt x="9318289" y="5267629"/>
                  </a:cubicBezTo>
                  <a:cubicBezTo>
                    <a:pt x="9318289" y="5304140"/>
                    <a:pt x="9311593" y="5332000"/>
                    <a:pt x="9298203" y="5351208"/>
                  </a:cubicBezTo>
                  <a:cubicBezTo>
                    <a:pt x="9284812" y="5370417"/>
                    <a:pt x="9266080" y="5380021"/>
                    <a:pt x="9242006" y="5380021"/>
                  </a:cubicBezTo>
                  <a:cubicBezTo>
                    <a:pt x="9219538" y="5380021"/>
                    <a:pt x="9202009" y="5370843"/>
                    <a:pt x="9189421" y="5352487"/>
                  </a:cubicBezTo>
                  <a:cubicBezTo>
                    <a:pt x="9176832" y="5334131"/>
                    <a:pt x="9170538" y="5307600"/>
                    <a:pt x="9170538" y="5272895"/>
                  </a:cubicBezTo>
                  <a:cubicBezTo>
                    <a:pt x="9170538" y="5234778"/>
                    <a:pt x="9177108" y="5205941"/>
                    <a:pt x="9190248" y="5186381"/>
                  </a:cubicBezTo>
                  <a:cubicBezTo>
                    <a:pt x="9203389" y="5166821"/>
                    <a:pt x="9222346" y="5157041"/>
                    <a:pt x="9247122" y="5157041"/>
                  </a:cubicBezTo>
                  <a:close/>
                  <a:moveTo>
                    <a:pt x="3146057" y="5157041"/>
                  </a:moveTo>
                  <a:cubicBezTo>
                    <a:pt x="3193502" y="5157041"/>
                    <a:pt x="3217224" y="5193903"/>
                    <a:pt x="3217224" y="5267628"/>
                  </a:cubicBezTo>
                  <a:cubicBezTo>
                    <a:pt x="3217224" y="5304139"/>
                    <a:pt x="3210529" y="5331999"/>
                    <a:pt x="3197138" y="5351208"/>
                  </a:cubicBezTo>
                  <a:cubicBezTo>
                    <a:pt x="3183747" y="5370416"/>
                    <a:pt x="3165015" y="5380021"/>
                    <a:pt x="3140941" y="5380021"/>
                  </a:cubicBezTo>
                  <a:cubicBezTo>
                    <a:pt x="3118473" y="5380021"/>
                    <a:pt x="3100944" y="5370843"/>
                    <a:pt x="3088356" y="5352487"/>
                  </a:cubicBezTo>
                  <a:cubicBezTo>
                    <a:pt x="3075767" y="5334131"/>
                    <a:pt x="3069473" y="5307600"/>
                    <a:pt x="3069473" y="5272894"/>
                  </a:cubicBezTo>
                  <a:cubicBezTo>
                    <a:pt x="3069473" y="5234778"/>
                    <a:pt x="3076043" y="5205940"/>
                    <a:pt x="3089183" y="5186380"/>
                  </a:cubicBezTo>
                  <a:cubicBezTo>
                    <a:pt x="3102324" y="5166821"/>
                    <a:pt x="3121281" y="5157041"/>
                    <a:pt x="3146057" y="5157041"/>
                  </a:cubicBezTo>
                  <a:close/>
                  <a:moveTo>
                    <a:pt x="9245467" y="4871806"/>
                  </a:moveTo>
                  <a:cubicBezTo>
                    <a:pt x="9219287" y="4871806"/>
                    <a:pt x="9206197" y="4900643"/>
                    <a:pt x="9206197" y="4958319"/>
                  </a:cubicBezTo>
                  <a:cubicBezTo>
                    <a:pt x="9206197" y="5012284"/>
                    <a:pt x="9219036" y="5039266"/>
                    <a:pt x="9244715" y="5039266"/>
                  </a:cubicBezTo>
                  <a:cubicBezTo>
                    <a:pt x="9269991" y="5039266"/>
                    <a:pt x="9282630" y="5011832"/>
                    <a:pt x="9282630" y="4956965"/>
                  </a:cubicBezTo>
                  <a:cubicBezTo>
                    <a:pt x="9282630" y="4900192"/>
                    <a:pt x="9270242" y="4871806"/>
                    <a:pt x="9245467" y="4871806"/>
                  </a:cubicBezTo>
                  <a:close/>
                  <a:moveTo>
                    <a:pt x="3144402" y="4871806"/>
                  </a:moveTo>
                  <a:cubicBezTo>
                    <a:pt x="3118222" y="4871806"/>
                    <a:pt x="3105132" y="4900643"/>
                    <a:pt x="3105132" y="4958319"/>
                  </a:cubicBezTo>
                  <a:cubicBezTo>
                    <a:pt x="3105132" y="5012284"/>
                    <a:pt x="3117971" y="5039266"/>
                    <a:pt x="3143650" y="5039266"/>
                  </a:cubicBezTo>
                  <a:cubicBezTo>
                    <a:pt x="3168927" y="5039266"/>
                    <a:pt x="3181565" y="5011832"/>
                    <a:pt x="3181565" y="4956965"/>
                  </a:cubicBezTo>
                  <a:cubicBezTo>
                    <a:pt x="3181565" y="4900192"/>
                    <a:pt x="3169177" y="4871806"/>
                    <a:pt x="3144402" y="4871806"/>
                  </a:cubicBezTo>
                  <a:close/>
                  <a:moveTo>
                    <a:pt x="9247122" y="4843971"/>
                  </a:moveTo>
                  <a:cubicBezTo>
                    <a:pt x="9294566" y="4843971"/>
                    <a:pt x="9318289" y="4880833"/>
                    <a:pt x="9318289" y="4954558"/>
                  </a:cubicBezTo>
                  <a:cubicBezTo>
                    <a:pt x="9318289" y="4991069"/>
                    <a:pt x="9311593" y="5018929"/>
                    <a:pt x="9298203" y="5038138"/>
                  </a:cubicBezTo>
                  <a:cubicBezTo>
                    <a:pt x="9284812" y="5057346"/>
                    <a:pt x="9266080" y="5066951"/>
                    <a:pt x="9242006" y="5066951"/>
                  </a:cubicBezTo>
                  <a:cubicBezTo>
                    <a:pt x="9219538" y="5066951"/>
                    <a:pt x="9202009" y="5057773"/>
                    <a:pt x="9189421" y="5039417"/>
                  </a:cubicBezTo>
                  <a:cubicBezTo>
                    <a:pt x="9176832" y="5021061"/>
                    <a:pt x="9170538" y="4994530"/>
                    <a:pt x="9170538" y="4959824"/>
                  </a:cubicBezTo>
                  <a:cubicBezTo>
                    <a:pt x="9170538" y="4921708"/>
                    <a:pt x="9177108" y="4892870"/>
                    <a:pt x="9190248" y="4873310"/>
                  </a:cubicBezTo>
                  <a:cubicBezTo>
                    <a:pt x="9203389" y="4853751"/>
                    <a:pt x="9222346" y="4843971"/>
                    <a:pt x="9247122" y="4843971"/>
                  </a:cubicBezTo>
                  <a:close/>
                  <a:moveTo>
                    <a:pt x="3146057" y="4843971"/>
                  </a:moveTo>
                  <a:cubicBezTo>
                    <a:pt x="3193502" y="4843971"/>
                    <a:pt x="3217224" y="4880833"/>
                    <a:pt x="3217224" y="4954558"/>
                  </a:cubicBezTo>
                  <a:cubicBezTo>
                    <a:pt x="3217224" y="4991069"/>
                    <a:pt x="3210529" y="5018929"/>
                    <a:pt x="3197138" y="5038138"/>
                  </a:cubicBezTo>
                  <a:cubicBezTo>
                    <a:pt x="3183747" y="5057346"/>
                    <a:pt x="3165015" y="5066951"/>
                    <a:pt x="3140941" y="5066951"/>
                  </a:cubicBezTo>
                  <a:cubicBezTo>
                    <a:pt x="3118473" y="5066951"/>
                    <a:pt x="3100944" y="5057773"/>
                    <a:pt x="3088356" y="5039417"/>
                  </a:cubicBezTo>
                  <a:cubicBezTo>
                    <a:pt x="3075767" y="5021061"/>
                    <a:pt x="3069473" y="4994530"/>
                    <a:pt x="3069473" y="4959824"/>
                  </a:cubicBezTo>
                  <a:cubicBezTo>
                    <a:pt x="3069473" y="4921708"/>
                    <a:pt x="3076043" y="4892870"/>
                    <a:pt x="3089183" y="4873310"/>
                  </a:cubicBezTo>
                  <a:cubicBezTo>
                    <a:pt x="3102324" y="4853751"/>
                    <a:pt x="3121281" y="4843971"/>
                    <a:pt x="3146057" y="4843971"/>
                  </a:cubicBezTo>
                  <a:close/>
                  <a:moveTo>
                    <a:pt x="9598862" y="4534176"/>
                  </a:moveTo>
                  <a:cubicBezTo>
                    <a:pt x="9572682" y="4534176"/>
                    <a:pt x="9559592" y="4563013"/>
                    <a:pt x="9559592" y="4620689"/>
                  </a:cubicBezTo>
                  <a:cubicBezTo>
                    <a:pt x="9559592" y="4674654"/>
                    <a:pt x="9572431" y="4701636"/>
                    <a:pt x="9598110" y="4701636"/>
                  </a:cubicBezTo>
                  <a:cubicBezTo>
                    <a:pt x="9623386" y="4701636"/>
                    <a:pt x="9636025" y="4674202"/>
                    <a:pt x="9636025" y="4619335"/>
                  </a:cubicBezTo>
                  <a:cubicBezTo>
                    <a:pt x="9636025" y="4562562"/>
                    <a:pt x="9623637" y="4534176"/>
                    <a:pt x="9598862" y="4534176"/>
                  </a:cubicBezTo>
                  <a:close/>
                  <a:moveTo>
                    <a:pt x="9245467" y="4534176"/>
                  </a:moveTo>
                  <a:cubicBezTo>
                    <a:pt x="9219287" y="4534176"/>
                    <a:pt x="9206197" y="4563013"/>
                    <a:pt x="9206197" y="4620689"/>
                  </a:cubicBezTo>
                  <a:cubicBezTo>
                    <a:pt x="9206197" y="4674654"/>
                    <a:pt x="9219036" y="4701636"/>
                    <a:pt x="9244715" y="4701636"/>
                  </a:cubicBezTo>
                  <a:cubicBezTo>
                    <a:pt x="9269991" y="4701636"/>
                    <a:pt x="9282630" y="4674202"/>
                    <a:pt x="9282630" y="4619335"/>
                  </a:cubicBezTo>
                  <a:cubicBezTo>
                    <a:pt x="9282630" y="4562562"/>
                    <a:pt x="9270242" y="4534176"/>
                    <a:pt x="9245467" y="4534176"/>
                  </a:cubicBezTo>
                  <a:close/>
                  <a:moveTo>
                    <a:pt x="3501344" y="4534176"/>
                  </a:moveTo>
                  <a:cubicBezTo>
                    <a:pt x="3475164" y="4534176"/>
                    <a:pt x="3462074" y="4563013"/>
                    <a:pt x="3462074" y="4620689"/>
                  </a:cubicBezTo>
                  <a:cubicBezTo>
                    <a:pt x="3462074" y="4674654"/>
                    <a:pt x="3474913" y="4701636"/>
                    <a:pt x="3500592" y="4701636"/>
                  </a:cubicBezTo>
                  <a:cubicBezTo>
                    <a:pt x="3525869" y="4701636"/>
                    <a:pt x="3538507" y="4674202"/>
                    <a:pt x="3538507" y="4619335"/>
                  </a:cubicBezTo>
                  <a:cubicBezTo>
                    <a:pt x="3538507" y="4562562"/>
                    <a:pt x="3526119" y="4534176"/>
                    <a:pt x="3501344" y="4534176"/>
                  </a:cubicBezTo>
                  <a:close/>
                  <a:moveTo>
                    <a:pt x="3144402" y="4534176"/>
                  </a:moveTo>
                  <a:cubicBezTo>
                    <a:pt x="3118222" y="4534176"/>
                    <a:pt x="3105132" y="4563013"/>
                    <a:pt x="3105132" y="4620689"/>
                  </a:cubicBezTo>
                  <a:cubicBezTo>
                    <a:pt x="3105132" y="4674654"/>
                    <a:pt x="3117971" y="4701636"/>
                    <a:pt x="3143650" y="4701636"/>
                  </a:cubicBezTo>
                  <a:cubicBezTo>
                    <a:pt x="3168927" y="4701636"/>
                    <a:pt x="3181565" y="4674202"/>
                    <a:pt x="3181565" y="4619335"/>
                  </a:cubicBezTo>
                  <a:cubicBezTo>
                    <a:pt x="3181565" y="4562562"/>
                    <a:pt x="3169177" y="4534176"/>
                    <a:pt x="3144402" y="4534176"/>
                  </a:cubicBezTo>
                  <a:close/>
                  <a:moveTo>
                    <a:pt x="9600517" y="4506341"/>
                  </a:moveTo>
                  <a:cubicBezTo>
                    <a:pt x="9647961" y="4506341"/>
                    <a:pt x="9671684" y="4543203"/>
                    <a:pt x="9671684" y="4616928"/>
                  </a:cubicBezTo>
                  <a:cubicBezTo>
                    <a:pt x="9671684" y="4653439"/>
                    <a:pt x="9664988" y="4681299"/>
                    <a:pt x="9651598" y="4700508"/>
                  </a:cubicBezTo>
                  <a:cubicBezTo>
                    <a:pt x="9638207" y="4719716"/>
                    <a:pt x="9619475" y="4729321"/>
                    <a:pt x="9595401" y="4729321"/>
                  </a:cubicBezTo>
                  <a:cubicBezTo>
                    <a:pt x="9572933" y="4729321"/>
                    <a:pt x="9555404" y="4720143"/>
                    <a:pt x="9542816" y="4701787"/>
                  </a:cubicBezTo>
                  <a:cubicBezTo>
                    <a:pt x="9530227" y="4683431"/>
                    <a:pt x="9523933" y="4656900"/>
                    <a:pt x="9523933" y="4622194"/>
                  </a:cubicBezTo>
                  <a:cubicBezTo>
                    <a:pt x="9523933" y="4584078"/>
                    <a:pt x="9530503" y="4555240"/>
                    <a:pt x="9543643" y="4535680"/>
                  </a:cubicBezTo>
                  <a:cubicBezTo>
                    <a:pt x="9556784" y="4516121"/>
                    <a:pt x="9575741" y="4506341"/>
                    <a:pt x="9600517" y="4506341"/>
                  </a:cubicBezTo>
                  <a:close/>
                  <a:moveTo>
                    <a:pt x="9247122" y="4506341"/>
                  </a:moveTo>
                  <a:cubicBezTo>
                    <a:pt x="9294566" y="4506341"/>
                    <a:pt x="9318289" y="4543203"/>
                    <a:pt x="9318289" y="4616928"/>
                  </a:cubicBezTo>
                  <a:cubicBezTo>
                    <a:pt x="9318289" y="4653439"/>
                    <a:pt x="9311593" y="4681299"/>
                    <a:pt x="9298203" y="4700508"/>
                  </a:cubicBezTo>
                  <a:cubicBezTo>
                    <a:pt x="9284812" y="4719716"/>
                    <a:pt x="9266080" y="4729321"/>
                    <a:pt x="9242006" y="4729321"/>
                  </a:cubicBezTo>
                  <a:cubicBezTo>
                    <a:pt x="9219538" y="4729321"/>
                    <a:pt x="9202009" y="4720143"/>
                    <a:pt x="9189421" y="4701787"/>
                  </a:cubicBezTo>
                  <a:cubicBezTo>
                    <a:pt x="9176832" y="4683431"/>
                    <a:pt x="9170538" y="4656900"/>
                    <a:pt x="9170538" y="4622194"/>
                  </a:cubicBezTo>
                  <a:cubicBezTo>
                    <a:pt x="9170538" y="4584078"/>
                    <a:pt x="9177108" y="4555240"/>
                    <a:pt x="9190248" y="4535680"/>
                  </a:cubicBezTo>
                  <a:cubicBezTo>
                    <a:pt x="9203389" y="4516121"/>
                    <a:pt x="9222346" y="4506341"/>
                    <a:pt x="9247122" y="4506341"/>
                  </a:cubicBezTo>
                  <a:close/>
                  <a:moveTo>
                    <a:pt x="3502999" y="4506341"/>
                  </a:moveTo>
                  <a:cubicBezTo>
                    <a:pt x="3550444" y="4506341"/>
                    <a:pt x="3574166" y="4543203"/>
                    <a:pt x="3574166" y="4616928"/>
                  </a:cubicBezTo>
                  <a:cubicBezTo>
                    <a:pt x="3574166" y="4653439"/>
                    <a:pt x="3567471" y="4681299"/>
                    <a:pt x="3554080" y="4700508"/>
                  </a:cubicBezTo>
                  <a:cubicBezTo>
                    <a:pt x="3540689" y="4719716"/>
                    <a:pt x="3521957" y="4729321"/>
                    <a:pt x="3497883" y="4729321"/>
                  </a:cubicBezTo>
                  <a:cubicBezTo>
                    <a:pt x="3475415" y="4729321"/>
                    <a:pt x="3457886" y="4720143"/>
                    <a:pt x="3445298" y="4701787"/>
                  </a:cubicBezTo>
                  <a:cubicBezTo>
                    <a:pt x="3432709" y="4683431"/>
                    <a:pt x="3426415" y="4656900"/>
                    <a:pt x="3426415" y="4622194"/>
                  </a:cubicBezTo>
                  <a:cubicBezTo>
                    <a:pt x="3426415" y="4584078"/>
                    <a:pt x="3432985" y="4555240"/>
                    <a:pt x="3446125" y="4535680"/>
                  </a:cubicBezTo>
                  <a:cubicBezTo>
                    <a:pt x="3459266" y="4516121"/>
                    <a:pt x="3478223" y="4506341"/>
                    <a:pt x="3502999" y="4506341"/>
                  </a:cubicBezTo>
                  <a:close/>
                  <a:moveTo>
                    <a:pt x="3146057" y="4506341"/>
                  </a:moveTo>
                  <a:cubicBezTo>
                    <a:pt x="3193502" y="4506341"/>
                    <a:pt x="3217224" y="4543203"/>
                    <a:pt x="3217224" y="4616928"/>
                  </a:cubicBezTo>
                  <a:cubicBezTo>
                    <a:pt x="3217224" y="4653439"/>
                    <a:pt x="3210529" y="4681299"/>
                    <a:pt x="3197138" y="4700508"/>
                  </a:cubicBezTo>
                  <a:cubicBezTo>
                    <a:pt x="3183747" y="4719716"/>
                    <a:pt x="3165015" y="4729321"/>
                    <a:pt x="3140941" y="4729321"/>
                  </a:cubicBezTo>
                  <a:cubicBezTo>
                    <a:pt x="3118473" y="4729321"/>
                    <a:pt x="3100944" y="4720143"/>
                    <a:pt x="3088356" y="4701787"/>
                  </a:cubicBezTo>
                  <a:cubicBezTo>
                    <a:pt x="3075767" y="4683431"/>
                    <a:pt x="3069473" y="4656900"/>
                    <a:pt x="3069473" y="4622194"/>
                  </a:cubicBezTo>
                  <a:cubicBezTo>
                    <a:pt x="3069473" y="4584078"/>
                    <a:pt x="3076043" y="4555240"/>
                    <a:pt x="3089183" y="4535680"/>
                  </a:cubicBezTo>
                  <a:cubicBezTo>
                    <a:pt x="3102324" y="4516121"/>
                    <a:pt x="3121281" y="4506341"/>
                    <a:pt x="3146057" y="4506341"/>
                  </a:cubicBezTo>
                  <a:close/>
                  <a:moveTo>
                    <a:pt x="9598862" y="4186705"/>
                  </a:moveTo>
                  <a:cubicBezTo>
                    <a:pt x="9572682" y="4186705"/>
                    <a:pt x="9559592" y="4215542"/>
                    <a:pt x="9559592" y="4273218"/>
                  </a:cubicBezTo>
                  <a:cubicBezTo>
                    <a:pt x="9559592" y="4327183"/>
                    <a:pt x="9572431" y="4354165"/>
                    <a:pt x="9598110" y="4354165"/>
                  </a:cubicBezTo>
                  <a:cubicBezTo>
                    <a:pt x="9623386" y="4354165"/>
                    <a:pt x="9636025" y="4326731"/>
                    <a:pt x="9636025" y="4271864"/>
                  </a:cubicBezTo>
                  <a:cubicBezTo>
                    <a:pt x="9636025" y="4215091"/>
                    <a:pt x="9623637" y="4186705"/>
                    <a:pt x="9598862" y="4186705"/>
                  </a:cubicBezTo>
                  <a:close/>
                  <a:moveTo>
                    <a:pt x="9245467" y="4186705"/>
                  </a:moveTo>
                  <a:cubicBezTo>
                    <a:pt x="9219287" y="4186705"/>
                    <a:pt x="9206197" y="4215542"/>
                    <a:pt x="9206197" y="4273218"/>
                  </a:cubicBezTo>
                  <a:cubicBezTo>
                    <a:pt x="9206197" y="4327183"/>
                    <a:pt x="9219036" y="4354165"/>
                    <a:pt x="9244715" y="4354165"/>
                  </a:cubicBezTo>
                  <a:cubicBezTo>
                    <a:pt x="9269991" y="4354165"/>
                    <a:pt x="9282630" y="4326731"/>
                    <a:pt x="9282630" y="4271864"/>
                  </a:cubicBezTo>
                  <a:cubicBezTo>
                    <a:pt x="9282630" y="4215091"/>
                    <a:pt x="9270242" y="4186705"/>
                    <a:pt x="9245467" y="4186705"/>
                  </a:cubicBezTo>
                  <a:close/>
                  <a:moveTo>
                    <a:pt x="3501344" y="4186705"/>
                  </a:moveTo>
                  <a:cubicBezTo>
                    <a:pt x="3475164" y="4186705"/>
                    <a:pt x="3462074" y="4215542"/>
                    <a:pt x="3462074" y="4273218"/>
                  </a:cubicBezTo>
                  <a:cubicBezTo>
                    <a:pt x="3462074" y="4327183"/>
                    <a:pt x="3474913" y="4354165"/>
                    <a:pt x="3500592" y="4354165"/>
                  </a:cubicBezTo>
                  <a:cubicBezTo>
                    <a:pt x="3525869" y="4354165"/>
                    <a:pt x="3538507" y="4326731"/>
                    <a:pt x="3538507" y="4271864"/>
                  </a:cubicBezTo>
                  <a:cubicBezTo>
                    <a:pt x="3538507" y="4215091"/>
                    <a:pt x="3526119" y="4186705"/>
                    <a:pt x="3501344" y="4186705"/>
                  </a:cubicBezTo>
                  <a:close/>
                  <a:moveTo>
                    <a:pt x="3144402" y="4186705"/>
                  </a:moveTo>
                  <a:cubicBezTo>
                    <a:pt x="3118222" y="4186705"/>
                    <a:pt x="3105132" y="4215542"/>
                    <a:pt x="3105132" y="4273218"/>
                  </a:cubicBezTo>
                  <a:cubicBezTo>
                    <a:pt x="3105132" y="4327183"/>
                    <a:pt x="3117971" y="4354165"/>
                    <a:pt x="3143650" y="4354165"/>
                  </a:cubicBezTo>
                  <a:cubicBezTo>
                    <a:pt x="3168927" y="4354165"/>
                    <a:pt x="3181565" y="4326731"/>
                    <a:pt x="3181565" y="4271864"/>
                  </a:cubicBezTo>
                  <a:cubicBezTo>
                    <a:pt x="3181565" y="4215091"/>
                    <a:pt x="3169177" y="4186705"/>
                    <a:pt x="3144402" y="4186705"/>
                  </a:cubicBezTo>
                  <a:close/>
                  <a:moveTo>
                    <a:pt x="9600517" y="4158870"/>
                  </a:moveTo>
                  <a:cubicBezTo>
                    <a:pt x="9647961" y="4158870"/>
                    <a:pt x="9671684" y="4195732"/>
                    <a:pt x="9671684" y="4269457"/>
                  </a:cubicBezTo>
                  <a:cubicBezTo>
                    <a:pt x="9671684" y="4305968"/>
                    <a:pt x="9664988" y="4333828"/>
                    <a:pt x="9651598" y="4353037"/>
                  </a:cubicBezTo>
                  <a:cubicBezTo>
                    <a:pt x="9638207" y="4372245"/>
                    <a:pt x="9619475" y="4381850"/>
                    <a:pt x="9595401" y="4381850"/>
                  </a:cubicBezTo>
                  <a:cubicBezTo>
                    <a:pt x="9572933" y="4381850"/>
                    <a:pt x="9555404" y="4372672"/>
                    <a:pt x="9542816" y="4354316"/>
                  </a:cubicBezTo>
                  <a:cubicBezTo>
                    <a:pt x="9530227" y="4335960"/>
                    <a:pt x="9523933" y="4309429"/>
                    <a:pt x="9523933" y="4274723"/>
                  </a:cubicBezTo>
                  <a:cubicBezTo>
                    <a:pt x="9523933" y="4236607"/>
                    <a:pt x="9530503" y="4207769"/>
                    <a:pt x="9543643" y="4188209"/>
                  </a:cubicBezTo>
                  <a:cubicBezTo>
                    <a:pt x="9556784" y="4168650"/>
                    <a:pt x="9575741" y="4158870"/>
                    <a:pt x="9600517" y="4158870"/>
                  </a:cubicBezTo>
                  <a:close/>
                  <a:moveTo>
                    <a:pt x="9247122" y="4158870"/>
                  </a:moveTo>
                  <a:cubicBezTo>
                    <a:pt x="9294566" y="4158870"/>
                    <a:pt x="9318289" y="4195732"/>
                    <a:pt x="9318289" y="4269457"/>
                  </a:cubicBezTo>
                  <a:cubicBezTo>
                    <a:pt x="9318289" y="4305968"/>
                    <a:pt x="9311593" y="4333828"/>
                    <a:pt x="9298203" y="4353037"/>
                  </a:cubicBezTo>
                  <a:cubicBezTo>
                    <a:pt x="9284812" y="4372245"/>
                    <a:pt x="9266080" y="4381850"/>
                    <a:pt x="9242006" y="4381850"/>
                  </a:cubicBezTo>
                  <a:cubicBezTo>
                    <a:pt x="9219538" y="4381850"/>
                    <a:pt x="9202009" y="4372672"/>
                    <a:pt x="9189421" y="4354316"/>
                  </a:cubicBezTo>
                  <a:cubicBezTo>
                    <a:pt x="9176832" y="4335960"/>
                    <a:pt x="9170538" y="4309429"/>
                    <a:pt x="9170538" y="4274723"/>
                  </a:cubicBezTo>
                  <a:cubicBezTo>
                    <a:pt x="9170538" y="4236607"/>
                    <a:pt x="9177108" y="4207769"/>
                    <a:pt x="9190248" y="4188209"/>
                  </a:cubicBezTo>
                  <a:cubicBezTo>
                    <a:pt x="9203389" y="4168650"/>
                    <a:pt x="9222346" y="4158870"/>
                    <a:pt x="9247122" y="4158870"/>
                  </a:cubicBezTo>
                  <a:close/>
                  <a:moveTo>
                    <a:pt x="3502999" y="4158870"/>
                  </a:moveTo>
                  <a:cubicBezTo>
                    <a:pt x="3550444" y="4158870"/>
                    <a:pt x="3574166" y="4195732"/>
                    <a:pt x="3574166" y="4269457"/>
                  </a:cubicBezTo>
                  <a:cubicBezTo>
                    <a:pt x="3574166" y="4305968"/>
                    <a:pt x="3567471" y="4333828"/>
                    <a:pt x="3554080" y="4353037"/>
                  </a:cubicBezTo>
                  <a:cubicBezTo>
                    <a:pt x="3540689" y="4372245"/>
                    <a:pt x="3521957" y="4381850"/>
                    <a:pt x="3497883" y="4381850"/>
                  </a:cubicBezTo>
                  <a:cubicBezTo>
                    <a:pt x="3475415" y="4381850"/>
                    <a:pt x="3457886" y="4372672"/>
                    <a:pt x="3445298" y="4354316"/>
                  </a:cubicBezTo>
                  <a:cubicBezTo>
                    <a:pt x="3432709" y="4335960"/>
                    <a:pt x="3426415" y="4309429"/>
                    <a:pt x="3426415" y="4274723"/>
                  </a:cubicBezTo>
                  <a:cubicBezTo>
                    <a:pt x="3426415" y="4236607"/>
                    <a:pt x="3432985" y="4207769"/>
                    <a:pt x="3446125" y="4188209"/>
                  </a:cubicBezTo>
                  <a:cubicBezTo>
                    <a:pt x="3459266" y="4168650"/>
                    <a:pt x="3478223" y="4158870"/>
                    <a:pt x="3502999" y="4158870"/>
                  </a:cubicBezTo>
                  <a:close/>
                  <a:moveTo>
                    <a:pt x="3146057" y="4158870"/>
                  </a:moveTo>
                  <a:cubicBezTo>
                    <a:pt x="3193502" y="4158870"/>
                    <a:pt x="3217224" y="4195732"/>
                    <a:pt x="3217224" y="4269457"/>
                  </a:cubicBezTo>
                  <a:cubicBezTo>
                    <a:pt x="3217224" y="4305968"/>
                    <a:pt x="3210529" y="4333828"/>
                    <a:pt x="3197138" y="4353037"/>
                  </a:cubicBezTo>
                  <a:cubicBezTo>
                    <a:pt x="3183747" y="4372245"/>
                    <a:pt x="3165015" y="4381850"/>
                    <a:pt x="3140941" y="4381850"/>
                  </a:cubicBezTo>
                  <a:cubicBezTo>
                    <a:pt x="3118473" y="4381850"/>
                    <a:pt x="3100944" y="4372672"/>
                    <a:pt x="3088356" y="4354316"/>
                  </a:cubicBezTo>
                  <a:cubicBezTo>
                    <a:pt x="3075767" y="4335960"/>
                    <a:pt x="3069473" y="4309429"/>
                    <a:pt x="3069473" y="4274723"/>
                  </a:cubicBezTo>
                  <a:cubicBezTo>
                    <a:pt x="3069473" y="4236607"/>
                    <a:pt x="3076043" y="4207769"/>
                    <a:pt x="3089183" y="4188209"/>
                  </a:cubicBezTo>
                  <a:cubicBezTo>
                    <a:pt x="3102324" y="4168650"/>
                    <a:pt x="3121281" y="4158870"/>
                    <a:pt x="3146057" y="4158870"/>
                  </a:cubicBezTo>
                  <a:close/>
                  <a:moveTo>
                    <a:pt x="9598862" y="3839234"/>
                  </a:moveTo>
                  <a:cubicBezTo>
                    <a:pt x="9572682" y="3839234"/>
                    <a:pt x="9559592" y="3868072"/>
                    <a:pt x="9559592" y="3925748"/>
                  </a:cubicBezTo>
                  <a:cubicBezTo>
                    <a:pt x="9559592" y="3979712"/>
                    <a:pt x="9572431" y="4006694"/>
                    <a:pt x="9598110" y="4006694"/>
                  </a:cubicBezTo>
                  <a:cubicBezTo>
                    <a:pt x="9623386" y="4006694"/>
                    <a:pt x="9636025" y="3979261"/>
                    <a:pt x="9636025" y="3924393"/>
                  </a:cubicBezTo>
                  <a:cubicBezTo>
                    <a:pt x="9636025" y="3867620"/>
                    <a:pt x="9623637" y="3839234"/>
                    <a:pt x="9598862" y="3839234"/>
                  </a:cubicBezTo>
                  <a:close/>
                  <a:moveTo>
                    <a:pt x="9245467" y="3839234"/>
                  </a:moveTo>
                  <a:cubicBezTo>
                    <a:pt x="9219287" y="3839234"/>
                    <a:pt x="9206197" y="3868072"/>
                    <a:pt x="9206197" y="3925748"/>
                  </a:cubicBezTo>
                  <a:cubicBezTo>
                    <a:pt x="9206197" y="3979712"/>
                    <a:pt x="9219036" y="4006694"/>
                    <a:pt x="9244715" y="4006694"/>
                  </a:cubicBezTo>
                  <a:cubicBezTo>
                    <a:pt x="9269991" y="4006694"/>
                    <a:pt x="9282630" y="3979261"/>
                    <a:pt x="9282630" y="3924393"/>
                  </a:cubicBezTo>
                  <a:cubicBezTo>
                    <a:pt x="9282630" y="3867620"/>
                    <a:pt x="9270242" y="3839234"/>
                    <a:pt x="9245467" y="3839234"/>
                  </a:cubicBezTo>
                  <a:close/>
                  <a:moveTo>
                    <a:pt x="3501344" y="3839234"/>
                  </a:moveTo>
                  <a:cubicBezTo>
                    <a:pt x="3475164" y="3839234"/>
                    <a:pt x="3462074" y="3868072"/>
                    <a:pt x="3462074" y="3925748"/>
                  </a:cubicBezTo>
                  <a:cubicBezTo>
                    <a:pt x="3462074" y="3979712"/>
                    <a:pt x="3474913" y="4006694"/>
                    <a:pt x="3500592" y="4006694"/>
                  </a:cubicBezTo>
                  <a:cubicBezTo>
                    <a:pt x="3525869" y="4006694"/>
                    <a:pt x="3538507" y="3979261"/>
                    <a:pt x="3538507" y="3924393"/>
                  </a:cubicBezTo>
                  <a:cubicBezTo>
                    <a:pt x="3538507" y="3867620"/>
                    <a:pt x="3526119" y="3839234"/>
                    <a:pt x="3501344" y="3839234"/>
                  </a:cubicBezTo>
                  <a:close/>
                  <a:moveTo>
                    <a:pt x="3144402" y="3839234"/>
                  </a:moveTo>
                  <a:cubicBezTo>
                    <a:pt x="3118222" y="3839234"/>
                    <a:pt x="3105132" y="3868072"/>
                    <a:pt x="3105132" y="3925748"/>
                  </a:cubicBezTo>
                  <a:cubicBezTo>
                    <a:pt x="3105132" y="3979712"/>
                    <a:pt x="3117971" y="4006694"/>
                    <a:pt x="3143650" y="4006694"/>
                  </a:cubicBezTo>
                  <a:cubicBezTo>
                    <a:pt x="3168927" y="4006694"/>
                    <a:pt x="3181565" y="3979261"/>
                    <a:pt x="3181565" y="3924393"/>
                  </a:cubicBezTo>
                  <a:cubicBezTo>
                    <a:pt x="3181565" y="3867620"/>
                    <a:pt x="3169177" y="3839234"/>
                    <a:pt x="3144402" y="3839234"/>
                  </a:cubicBezTo>
                  <a:close/>
                  <a:moveTo>
                    <a:pt x="9600517" y="3811399"/>
                  </a:moveTo>
                  <a:cubicBezTo>
                    <a:pt x="9647961" y="3811399"/>
                    <a:pt x="9671684" y="3848261"/>
                    <a:pt x="9671684" y="3921986"/>
                  </a:cubicBezTo>
                  <a:cubicBezTo>
                    <a:pt x="9671684" y="3958498"/>
                    <a:pt x="9664988" y="3986357"/>
                    <a:pt x="9651598" y="4005566"/>
                  </a:cubicBezTo>
                  <a:cubicBezTo>
                    <a:pt x="9638207" y="4024774"/>
                    <a:pt x="9619475" y="4034379"/>
                    <a:pt x="9595401" y="4034379"/>
                  </a:cubicBezTo>
                  <a:cubicBezTo>
                    <a:pt x="9572933" y="4034379"/>
                    <a:pt x="9555404" y="4025201"/>
                    <a:pt x="9542816" y="4006845"/>
                  </a:cubicBezTo>
                  <a:cubicBezTo>
                    <a:pt x="9530227" y="3988489"/>
                    <a:pt x="9523933" y="3961958"/>
                    <a:pt x="9523933" y="3927252"/>
                  </a:cubicBezTo>
                  <a:cubicBezTo>
                    <a:pt x="9523933" y="3889136"/>
                    <a:pt x="9530503" y="3860298"/>
                    <a:pt x="9543643" y="3840738"/>
                  </a:cubicBezTo>
                  <a:cubicBezTo>
                    <a:pt x="9556784" y="3821179"/>
                    <a:pt x="9575741" y="3811399"/>
                    <a:pt x="9600517" y="3811399"/>
                  </a:cubicBezTo>
                  <a:close/>
                  <a:moveTo>
                    <a:pt x="9247122" y="3811399"/>
                  </a:moveTo>
                  <a:cubicBezTo>
                    <a:pt x="9294566" y="3811399"/>
                    <a:pt x="9318289" y="3848261"/>
                    <a:pt x="9318289" y="3921986"/>
                  </a:cubicBezTo>
                  <a:cubicBezTo>
                    <a:pt x="9318289" y="3958498"/>
                    <a:pt x="9311593" y="3986357"/>
                    <a:pt x="9298203" y="4005566"/>
                  </a:cubicBezTo>
                  <a:cubicBezTo>
                    <a:pt x="9284812" y="4024774"/>
                    <a:pt x="9266080" y="4034379"/>
                    <a:pt x="9242006" y="4034379"/>
                  </a:cubicBezTo>
                  <a:cubicBezTo>
                    <a:pt x="9219538" y="4034379"/>
                    <a:pt x="9202009" y="4025201"/>
                    <a:pt x="9189421" y="4006845"/>
                  </a:cubicBezTo>
                  <a:cubicBezTo>
                    <a:pt x="9176832" y="3988489"/>
                    <a:pt x="9170538" y="3961958"/>
                    <a:pt x="9170538" y="3927252"/>
                  </a:cubicBezTo>
                  <a:cubicBezTo>
                    <a:pt x="9170538" y="3889136"/>
                    <a:pt x="9177108" y="3860298"/>
                    <a:pt x="9190248" y="3840738"/>
                  </a:cubicBezTo>
                  <a:cubicBezTo>
                    <a:pt x="9203389" y="3821179"/>
                    <a:pt x="9222346" y="3811399"/>
                    <a:pt x="9247122" y="3811399"/>
                  </a:cubicBezTo>
                  <a:close/>
                  <a:moveTo>
                    <a:pt x="3502999" y="3811399"/>
                  </a:moveTo>
                  <a:cubicBezTo>
                    <a:pt x="3550444" y="3811399"/>
                    <a:pt x="3574166" y="3848261"/>
                    <a:pt x="3574166" y="3921986"/>
                  </a:cubicBezTo>
                  <a:cubicBezTo>
                    <a:pt x="3574166" y="3958498"/>
                    <a:pt x="3567471" y="3986357"/>
                    <a:pt x="3554080" y="4005566"/>
                  </a:cubicBezTo>
                  <a:cubicBezTo>
                    <a:pt x="3540689" y="4024774"/>
                    <a:pt x="3521957" y="4034379"/>
                    <a:pt x="3497883" y="4034379"/>
                  </a:cubicBezTo>
                  <a:cubicBezTo>
                    <a:pt x="3475415" y="4034379"/>
                    <a:pt x="3457886" y="4025201"/>
                    <a:pt x="3445298" y="4006845"/>
                  </a:cubicBezTo>
                  <a:cubicBezTo>
                    <a:pt x="3432709" y="3988489"/>
                    <a:pt x="3426415" y="3961958"/>
                    <a:pt x="3426415" y="3927252"/>
                  </a:cubicBezTo>
                  <a:cubicBezTo>
                    <a:pt x="3426415" y="3889136"/>
                    <a:pt x="3432985" y="3860298"/>
                    <a:pt x="3446125" y="3840738"/>
                  </a:cubicBezTo>
                  <a:cubicBezTo>
                    <a:pt x="3459266" y="3821179"/>
                    <a:pt x="3478223" y="3811399"/>
                    <a:pt x="3502999" y="3811399"/>
                  </a:cubicBezTo>
                  <a:close/>
                  <a:moveTo>
                    <a:pt x="3146057" y="3811399"/>
                  </a:moveTo>
                  <a:cubicBezTo>
                    <a:pt x="3193502" y="3811399"/>
                    <a:pt x="3217224" y="3848261"/>
                    <a:pt x="3217224" y="3921986"/>
                  </a:cubicBezTo>
                  <a:cubicBezTo>
                    <a:pt x="3217224" y="3958498"/>
                    <a:pt x="3210529" y="3986357"/>
                    <a:pt x="3197138" y="4005566"/>
                  </a:cubicBezTo>
                  <a:cubicBezTo>
                    <a:pt x="3183747" y="4024774"/>
                    <a:pt x="3165015" y="4034379"/>
                    <a:pt x="3140941" y="4034379"/>
                  </a:cubicBezTo>
                  <a:cubicBezTo>
                    <a:pt x="3118473" y="4034379"/>
                    <a:pt x="3100944" y="4025201"/>
                    <a:pt x="3088356" y="4006845"/>
                  </a:cubicBezTo>
                  <a:cubicBezTo>
                    <a:pt x="3075767" y="3988489"/>
                    <a:pt x="3069473" y="3961958"/>
                    <a:pt x="3069473" y="3927252"/>
                  </a:cubicBezTo>
                  <a:cubicBezTo>
                    <a:pt x="3069473" y="3889136"/>
                    <a:pt x="3076043" y="3860298"/>
                    <a:pt x="3089183" y="3840738"/>
                  </a:cubicBezTo>
                  <a:cubicBezTo>
                    <a:pt x="3102324" y="3821179"/>
                    <a:pt x="3121281" y="3811399"/>
                    <a:pt x="3146057" y="3811399"/>
                  </a:cubicBezTo>
                  <a:close/>
                  <a:moveTo>
                    <a:pt x="9598862" y="3510987"/>
                  </a:moveTo>
                  <a:cubicBezTo>
                    <a:pt x="9572682" y="3510987"/>
                    <a:pt x="9559592" y="3539825"/>
                    <a:pt x="9559592" y="3597501"/>
                  </a:cubicBezTo>
                  <a:cubicBezTo>
                    <a:pt x="9559592" y="3651465"/>
                    <a:pt x="9572431" y="3678447"/>
                    <a:pt x="9598110" y="3678447"/>
                  </a:cubicBezTo>
                  <a:cubicBezTo>
                    <a:pt x="9623386" y="3678447"/>
                    <a:pt x="9636025" y="3651014"/>
                    <a:pt x="9636025" y="3596146"/>
                  </a:cubicBezTo>
                  <a:cubicBezTo>
                    <a:pt x="9636025" y="3539373"/>
                    <a:pt x="9623637" y="3510987"/>
                    <a:pt x="9598862" y="3510987"/>
                  </a:cubicBezTo>
                  <a:close/>
                  <a:moveTo>
                    <a:pt x="9245467" y="3510987"/>
                  </a:moveTo>
                  <a:cubicBezTo>
                    <a:pt x="9219287" y="3510987"/>
                    <a:pt x="9206197" y="3539825"/>
                    <a:pt x="9206197" y="3597501"/>
                  </a:cubicBezTo>
                  <a:cubicBezTo>
                    <a:pt x="9206197" y="3651465"/>
                    <a:pt x="9219036" y="3678447"/>
                    <a:pt x="9244715" y="3678447"/>
                  </a:cubicBezTo>
                  <a:cubicBezTo>
                    <a:pt x="9269991" y="3678447"/>
                    <a:pt x="9282630" y="3651014"/>
                    <a:pt x="9282630" y="3596146"/>
                  </a:cubicBezTo>
                  <a:cubicBezTo>
                    <a:pt x="9282630" y="3539373"/>
                    <a:pt x="9270242" y="3510987"/>
                    <a:pt x="9245467" y="3510987"/>
                  </a:cubicBezTo>
                  <a:close/>
                  <a:moveTo>
                    <a:pt x="3501344" y="3510987"/>
                  </a:moveTo>
                  <a:cubicBezTo>
                    <a:pt x="3475164" y="3510987"/>
                    <a:pt x="3462074" y="3539825"/>
                    <a:pt x="3462074" y="3597501"/>
                  </a:cubicBezTo>
                  <a:cubicBezTo>
                    <a:pt x="3462074" y="3651465"/>
                    <a:pt x="3474913" y="3678447"/>
                    <a:pt x="3500592" y="3678447"/>
                  </a:cubicBezTo>
                  <a:cubicBezTo>
                    <a:pt x="3525869" y="3678447"/>
                    <a:pt x="3538507" y="3651014"/>
                    <a:pt x="3538507" y="3596146"/>
                  </a:cubicBezTo>
                  <a:cubicBezTo>
                    <a:pt x="3538507" y="3539373"/>
                    <a:pt x="3526119" y="3510987"/>
                    <a:pt x="3501344" y="3510987"/>
                  </a:cubicBezTo>
                  <a:close/>
                  <a:moveTo>
                    <a:pt x="3144402" y="3510987"/>
                  </a:moveTo>
                  <a:cubicBezTo>
                    <a:pt x="3118222" y="3510987"/>
                    <a:pt x="3105132" y="3539825"/>
                    <a:pt x="3105132" y="3597501"/>
                  </a:cubicBezTo>
                  <a:cubicBezTo>
                    <a:pt x="3105132" y="3651465"/>
                    <a:pt x="3117971" y="3678447"/>
                    <a:pt x="3143650" y="3678447"/>
                  </a:cubicBezTo>
                  <a:cubicBezTo>
                    <a:pt x="3168927" y="3678447"/>
                    <a:pt x="3181565" y="3651014"/>
                    <a:pt x="3181565" y="3596146"/>
                  </a:cubicBezTo>
                  <a:cubicBezTo>
                    <a:pt x="3181565" y="3539373"/>
                    <a:pt x="3169177" y="3510987"/>
                    <a:pt x="3144402" y="3510987"/>
                  </a:cubicBezTo>
                  <a:close/>
                  <a:moveTo>
                    <a:pt x="9600517" y="3483152"/>
                  </a:moveTo>
                  <a:cubicBezTo>
                    <a:pt x="9647961" y="3483152"/>
                    <a:pt x="9671684" y="3520014"/>
                    <a:pt x="9671684" y="3593739"/>
                  </a:cubicBezTo>
                  <a:cubicBezTo>
                    <a:pt x="9671684" y="3630251"/>
                    <a:pt x="9664988" y="3658110"/>
                    <a:pt x="9651598" y="3677319"/>
                  </a:cubicBezTo>
                  <a:cubicBezTo>
                    <a:pt x="9638207" y="3696527"/>
                    <a:pt x="9619475" y="3706132"/>
                    <a:pt x="9595401" y="3706132"/>
                  </a:cubicBezTo>
                  <a:cubicBezTo>
                    <a:pt x="9572933" y="3706132"/>
                    <a:pt x="9555404" y="3696954"/>
                    <a:pt x="9542816" y="3678598"/>
                  </a:cubicBezTo>
                  <a:cubicBezTo>
                    <a:pt x="9530227" y="3660242"/>
                    <a:pt x="9523933" y="3633711"/>
                    <a:pt x="9523933" y="3599005"/>
                  </a:cubicBezTo>
                  <a:cubicBezTo>
                    <a:pt x="9523933" y="3560889"/>
                    <a:pt x="9530503" y="3532051"/>
                    <a:pt x="9543643" y="3512491"/>
                  </a:cubicBezTo>
                  <a:cubicBezTo>
                    <a:pt x="9556784" y="3492932"/>
                    <a:pt x="9575741" y="3483152"/>
                    <a:pt x="9600517" y="3483152"/>
                  </a:cubicBezTo>
                  <a:close/>
                  <a:moveTo>
                    <a:pt x="9247122" y="3483152"/>
                  </a:moveTo>
                  <a:cubicBezTo>
                    <a:pt x="9294566" y="3483152"/>
                    <a:pt x="9318289" y="3520014"/>
                    <a:pt x="9318289" y="3593739"/>
                  </a:cubicBezTo>
                  <a:cubicBezTo>
                    <a:pt x="9318289" y="3630251"/>
                    <a:pt x="9311593" y="3658110"/>
                    <a:pt x="9298203" y="3677319"/>
                  </a:cubicBezTo>
                  <a:cubicBezTo>
                    <a:pt x="9284812" y="3696527"/>
                    <a:pt x="9266080" y="3706132"/>
                    <a:pt x="9242006" y="3706132"/>
                  </a:cubicBezTo>
                  <a:cubicBezTo>
                    <a:pt x="9219538" y="3706132"/>
                    <a:pt x="9202009" y="3696954"/>
                    <a:pt x="9189421" y="3678598"/>
                  </a:cubicBezTo>
                  <a:cubicBezTo>
                    <a:pt x="9176832" y="3660242"/>
                    <a:pt x="9170538" y="3633711"/>
                    <a:pt x="9170538" y="3599005"/>
                  </a:cubicBezTo>
                  <a:cubicBezTo>
                    <a:pt x="9170538" y="3560889"/>
                    <a:pt x="9177108" y="3532051"/>
                    <a:pt x="9190248" y="3512491"/>
                  </a:cubicBezTo>
                  <a:cubicBezTo>
                    <a:pt x="9203389" y="3492932"/>
                    <a:pt x="9222346" y="3483152"/>
                    <a:pt x="9247122" y="3483152"/>
                  </a:cubicBezTo>
                  <a:close/>
                  <a:moveTo>
                    <a:pt x="3502999" y="3483152"/>
                  </a:moveTo>
                  <a:cubicBezTo>
                    <a:pt x="3550444" y="3483152"/>
                    <a:pt x="3574166" y="3520014"/>
                    <a:pt x="3574166" y="3593739"/>
                  </a:cubicBezTo>
                  <a:cubicBezTo>
                    <a:pt x="3574166" y="3630251"/>
                    <a:pt x="3567471" y="3658110"/>
                    <a:pt x="3554080" y="3677319"/>
                  </a:cubicBezTo>
                  <a:cubicBezTo>
                    <a:pt x="3540689" y="3696527"/>
                    <a:pt x="3521957" y="3706132"/>
                    <a:pt x="3497883" y="3706132"/>
                  </a:cubicBezTo>
                  <a:cubicBezTo>
                    <a:pt x="3475415" y="3706132"/>
                    <a:pt x="3457886" y="3696954"/>
                    <a:pt x="3445298" y="3678598"/>
                  </a:cubicBezTo>
                  <a:cubicBezTo>
                    <a:pt x="3432709" y="3660242"/>
                    <a:pt x="3426415" y="3633711"/>
                    <a:pt x="3426415" y="3599005"/>
                  </a:cubicBezTo>
                  <a:cubicBezTo>
                    <a:pt x="3426415" y="3560889"/>
                    <a:pt x="3432985" y="3532051"/>
                    <a:pt x="3446125" y="3512491"/>
                  </a:cubicBezTo>
                  <a:cubicBezTo>
                    <a:pt x="3459266" y="3492932"/>
                    <a:pt x="3478223" y="3483152"/>
                    <a:pt x="3502999" y="3483152"/>
                  </a:cubicBezTo>
                  <a:close/>
                  <a:moveTo>
                    <a:pt x="3146057" y="3483152"/>
                  </a:moveTo>
                  <a:cubicBezTo>
                    <a:pt x="3193502" y="3483152"/>
                    <a:pt x="3217224" y="3520014"/>
                    <a:pt x="3217224" y="3593739"/>
                  </a:cubicBezTo>
                  <a:cubicBezTo>
                    <a:pt x="3217224" y="3630251"/>
                    <a:pt x="3210529" y="3658110"/>
                    <a:pt x="3197138" y="3677319"/>
                  </a:cubicBezTo>
                  <a:cubicBezTo>
                    <a:pt x="3183747" y="3696527"/>
                    <a:pt x="3165015" y="3706132"/>
                    <a:pt x="3140941" y="3706132"/>
                  </a:cubicBezTo>
                  <a:cubicBezTo>
                    <a:pt x="3118473" y="3706132"/>
                    <a:pt x="3100944" y="3696954"/>
                    <a:pt x="3088356" y="3678598"/>
                  </a:cubicBezTo>
                  <a:cubicBezTo>
                    <a:pt x="3075767" y="3660242"/>
                    <a:pt x="3069473" y="3633711"/>
                    <a:pt x="3069473" y="3599005"/>
                  </a:cubicBezTo>
                  <a:cubicBezTo>
                    <a:pt x="3069473" y="3560889"/>
                    <a:pt x="3076043" y="3532051"/>
                    <a:pt x="3089183" y="3512491"/>
                  </a:cubicBezTo>
                  <a:cubicBezTo>
                    <a:pt x="3102324" y="3492932"/>
                    <a:pt x="3121281" y="3483152"/>
                    <a:pt x="3146057" y="3483152"/>
                  </a:cubicBezTo>
                  <a:close/>
                  <a:moveTo>
                    <a:pt x="9596984" y="3137996"/>
                  </a:moveTo>
                  <a:cubicBezTo>
                    <a:pt x="9570804" y="3137996"/>
                    <a:pt x="9557714" y="3166834"/>
                    <a:pt x="9557714" y="3224510"/>
                  </a:cubicBezTo>
                  <a:cubicBezTo>
                    <a:pt x="9557714" y="3278474"/>
                    <a:pt x="9570553" y="3305457"/>
                    <a:pt x="9596232" y="3305457"/>
                  </a:cubicBezTo>
                  <a:cubicBezTo>
                    <a:pt x="9621508" y="3305457"/>
                    <a:pt x="9634147" y="3278023"/>
                    <a:pt x="9634147" y="3223156"/>
                  </a:cubicBezTo>
                  <a:cubicBezTo>
                    <a:pt x="9634147" y="3166382"/>
                    <a:pt x="9621759" y="3137996"/>
                    <a:pt x="9596984" y="3137996"/>
                  </a:cubicBezTo>
                  <a:close/>
                  <a:moveTo>
                    <a:pt x="9218596" y="3137996"/>
                  </a:moveTo>
                  <a:cubicBezTo>
                    <a:pt x="9192416" y="3137996"/>
                    <a:pt x="9179326" y="3166834"/>
                    <a:pt x="9179326" y="3224510"/>
                  </a:cubicBezTo>
                  <a:cubicBezTo>
                    <a:pt x="9179326" y="3278474"/>
                    <a:pt x="9192165" y="3305457"/>
                    <a:pt x="9217844" y="3305457"/>
                  </a:cubicBezTo>
                  <a:cubicBezTo>
                    <a:pt x="9243120" y="3305457"/>
                    <a:pt x="9255759" y="3278023"/>
                    <a:pt x="9255759" y="3223156"/>
                  </a:cubicBezTo>
                  <a:cubicBezTo>
                    <a:pt x="9255759" y="3166382"/>
                    <a:pt x="9243371" y="3137996"/>
                    <a:pt x="9218596" y="3137996"/>
                  </a:cubicBezTo>
                  <a:close/>
                  <a:moveTo>
                    <a:pt x="3533077" y="3137996"/>
                  </a:moveTo>
                  <a:cubicBezTo>
                    <a:pt x="3506897" y="3137996"/>
                    <a:pt x="3493807" y="3166834"/>
                    <a:pt x="3493807" y="3224510"/>
                  </a:cubicBezTo>
                  <a:cubicBezTo>
                    <a:pt x="3493807" y="3278474"/>
                    <a:pt x="3506646" y="3305457"/>
                    <a:pt x="3532325" y="3305457"/>
                  </a:cubicBezTo>
                  <a:cubicBezTo>
                    <a:pt x="3557602" y="3305457"/>
                    <a:pt x="3570240" y="3278023"/>
                    <a:pt x="3570240" y="3223156"/>
                  </a:cubicBezTo>
                  <a:cubicBezTo>
                    <a:pt x="3570240" y="3166382"/>
                    <a:pt x="3557852" y="3137996"/>
                    <a:pt x="3533077" y="3137996"/>
                  </a:cubicBezTo>
                  <a:close/>
                  <a:moveTo>
                    <a:pt x="3151998" y="3137996"/>
                  </a:moveTo>
                  <a:cubicBezTo>
                    <a:pt x="3125818" y="3137996"/>
                    <a:pt x="3112728" y="3166834"/>
                    <a:pt x="3112728" y="3224510"/>
                  </a:cubicBezTo>
                  <a:cubicBezTo>
                    <a:pt x="3112728" y="3278474"/>
                    <a:pt x="3125567" y="3305457"/>
                    <a:pt x="3151246" y="3305457"/>
                  </a:cubicBezTo>
                  <a:cubicBezTo>
                    <a:pt x="3176523" y="3305457"/>
                    <a:pt x="3189161" y="3278023"/>
                    <a:pt x="3189161" y="3223156"/>
                  </a:cubicBezTo>
                  <a:cubicBezTo>
                    <a:pt x="3189161" y="3166382"/>
                    <a:pt x="3176773" y="3137996"/>
                    <a:pt x="3151998" y="3137996"/>
                  </a:cubicBezTo>
                  <a:close/>
                  <a:moveTo>
                    <a:pt x="9598639" y="3110161"/>
                  </a:moveTo>
                  <a:cubicBezTo>
                    <a:pt x="9646083" y="3110161"/>
                    <a:pt x="9669806" y="3147024"/>
                    <a:pt x="9669806" y="3220749"/>
                  </a:cubicBezTo>
                  <a:cubicBezTo>
                    <a:pt x="9669806" y="3257260"/>
                    <a:pt x="9663110" y="3285120"/>
                    <a:pt x="9649720" y="3304328"/>
                  </a:cubicBezTo>
                  <a:cubicBezTo>
                    <a:pt x="9636329" y="3323537"/>
                    <a:pt x="9617597" y="3333141"/>
                    <a:pt x="9593523" y="3333141"/>
                  </a:cubicBezTo>
                  <a:cubicBezTo>
                    <a:pt x="9571055" y="3333141"/>
                    <a:pt x="9553526" y="3323963"/>
                    <a:pt x="9540938" y="3305607"/>
                  </a:cubicBezTo>
                  <a:cubicBezTo>
                    <a:pt x="9528349" y="3287251"/>
                    <a:pt x="9522055" y="3260720"/>
                    <a:pt x="9522055" y="3226015"/>
                  </a:cubicBezTo>
                  <a:cubicBezTo>
                    <a:pt x="9522055" y="3187898"/>
                    <a:pt x="9528625" y="3159061"/>
                    <a:pt x="9541765" y="3139501"/>
                  </a:cubicBezTo>
                  <a:cubicBezTo>
                    <a:pt x="9554906" y="3119941"/>
                    <a:pt x="9573863" y="3110161"/>
                    <a:pt x="9598639" y="3110161"/>
                  </a:cubicBezTo>
                  <a:close/>
                  <a:moveTo>
                    <a:pt x="9220251" y="3110161"/>
                  </a:moveTo>
                  <a:cubicBezTo>
                    <a:pt x="9267695" y="3110161"/>
                    <a:pt x="9291418" y="3147024"/>
                    <a:pt x="9291418" y="3220749"/>
                  </a:cubicBezTo>
                  <a:cubicBezTo>
                    <a:pt x="9291418" y="3257260"/>
                    <a:pt x="9284722" y="3285120"/>
                    <a:pt x="9271332" y="3304328"/>
                  </a:cubicBezTo>
                  <a:cubicBezTo>
                    <a:pt x="9257941" y="3323537"/>
                    <a:pt x="9239209" y="3333141"/>
                    <a:pt x="9215135" y="3333141"/>
                  </a:cubicBezTo>
                  <a:cubicBezTo>
                    <a:pt x="9192667" y="3333141"/>
                    <a:pt x="9175138" y="3323963"/>
                    <a:pt x="9162550" y="3305607"/>
                  </a:cubicBezTo>
                  <a:cubicBezTo>
                    <a:pt x="9149961" y="3287251"/>
                    <a:pt x="9143667" y="3260720"/>
                    <a:pt x="9143667" y="3226015"/>
                  </a:cubicBezTo>
                  <a:cubicBezTo>
                    <a:pt x="9143667" y="3187898"/>
                    <a:pt x="9150237" y="3159061"/>
                    <a:pt x="9163377" y="3139501"/>
                  </a:cubicBezTo>
                  <a:cubicBezTo>
                    <a:pt x="9176518" y="3119941"/>
                    <a:pt x="9195475" y="3110161"/>
                    <a:pt x="9220251" y="3110161"/>
                  </a:cubicBezTo>
                  <a:close/>
                  <a:moveTo>
                    <a:pt x="3534732" y="3110161"/>
                  </a:moveTo>
                  <a:cubicBezTo>
                    <a:pt x="3582177" y="3110161"/>
                    <a:pt x="3605899" y="3147024"/>
                    <a:pt x="3605899" y="3220749"/>
                  </a:cubicBezTo>
                  <a:cubicBezTo>
                    <a:pt x="3605899" y="3257260"/>
                    <a:pt x="3599204" y="3285120"/>
                    <a:pt x="3585813" y="3304328"/>
                  </a:cubicBezTo>
                  <a:cubicBezTo>
                    <a:pt x="3572422" y="3323537"/>
                    <a:pt x="3553690" y="3333141"/>
                    <a:pt x="3529616" y="3333141"/>
                  </a:cubicBezTo>
                  <a:cubicBezTo>
                    <a:pt x="3507148" y="3333141"/>
                    <a:pt x="3489619" y="3323963"/>
                    <a:pt x="3477031" y="3305607"/>
                  </a:cubicBezTo>
                  <a:cubicBezTo>
                    <a:pt x="3464442" y="3287251"/>
                    <a:pt x="3458148" y="3260720"/>
                    <a:pt x="3458148" y="3226015"/>
                  </a:cubicBezTo>
                  <a:cubicBezTo>
                    <a:pt x="3458148" y="3187898"/>
                    <a:pt x="3464718" y="3159061"/>
                    <a:pt x="3477858" y="3139501"/>
                  </a:cubicBezTo>
                  <a:cubicBezTo>
                    <a:pt x="3490999" y="3119941"/>
                    <a:pt x="3509956" y="3110161"/>
                    <a:pt x="3534732" y="3110161"/>
                  </a:cubicBezTo>
                  <a:close/>
                  <a:moveTo>
                    <a:pt x="3153653" y="3110161"/>
                  </a:moveTo>
                  <a:cubicBezTo>
                    <a:pt x="3201098" y="3110161"/>
                    <a:pt x="3224820" y="3147024"/>
                    <a:pt x="3224820" y="3220749"/>
                  </a:cubicBezTo>
                  <a:cubicBezTo>
                    <a:pt x="3224820" y="3257260"/>
                    <a:pt x="3218125" y="3285120"/>
                    <a:pt x="3204734" y="3304328"/>
                  </a:cubicBezTo>
                  <a:cubicBezTo>
                    <a:pt x="3191343" y="3323537"/>
                    <a:pt x="3172611" y="3333141"/>
                    <a:pt x="3148537" y="3333141"/>
                  </a:cubicBezTo>
                  <a:cubicBezTo>
                    <a:pt x="3126069" y="3333141"/>
                    <a:pt x="3108540" y="3323963"/>
                    <a:pt x="3095952" y="3305607"/>
                  </a:cubicBezTo>
                  <a:cubicBezTo>
                    <a:pt x="3083363" y="3287251"/>
                    <a:pt x="3077069" y="3260720"/>
                    <a:pt x="3077069" y="3226015"/>
                  </a:cubicBezTo>
                  <a:cubicBezTo>
                    <a:pt x="3077069" y="3187898"/>
                    <a:pt x="3083639" y="3159061"/>
                    <a:pt x="3096779" y="3139501"/>
                  </a:cubicBezTo>
                  <a:cubicBezTo>
                    <a:pt x="3109920" y="3119941"/>
                    <a:pt x="3128877" y="3110161"/>
                    <a:pt x="3153653" y="3110161"/>
                  </a:cubicBezTo>
                  <a:close/>
                  <a:moveTo>
                    <a:pt x="9365121" y="2836964"/>
                  </a:moveTo>
                  <a:cubicBezTo>
                    <a:pt x="9338941" y="2836964"/>
                    <a:pt x="9325851" y="2865802"/>
                    <a:pt x="9325851" y="2923478"/>
                  </a:cubicBezTo>
                  <a:cubicBezTo>
                    <a:pt x="9325851" y="2977442"/>
                    <a:pt x="9338690" y="3004425"/>
                    <a:pt x="9364369" y="3004425"/>
                  </a:cubicBezTo>
                  <a:cubicBezTo>
                    <a:pt x="9389645" y="3004425"/>
                    <a:pt x="9402284" y="2976991"/>
                    <a:pt x="9402284" y="2922124"/>
                  </a:cubicBezTo>
                  <a:cubicBezTo>
                    <a:pt x="9402284" y="2865350"/>
                    <a:pt x="9389896" y="2836964"/>
                    <a:pt x="9365121" y="2836964"/>
                  </a:cubicBezTo>
                  <a:close/>
                  <a:moveTo>
                    <a:pt x="3309068" y="2836964"/>
                  </a:moveTo>
                  <a:cubicBezTo>
                    <a:pt x="3282888" y="2836964"/>
                    <a:pt x="3269798" y="2865802"/>
                    <a:pt x="3269798" y="2923478"/>
                  </a:cubicBezTo>
                  <a:cubicBezTo>
                    <a:pt x="3269798" y="2977442"/>
                    <a:pt x="3282637" y="3004425"/>
                    <a:pt x="3308316" y="3004425"/>
                  </a:cubicBezTo>
                  <a:cubicBezTo>
                    <a:pt x="3333593" y="3004425"/>
                    <a:pt x="3346231" y="2976991"/>
                    <a:pt x="3346231" y="2922124"/>
                  </a:cubicBezTo>
                  <a:cubicBezTo>
                    <a:pt x="3346231" y="2865350"/>
                    <a:pt x="3333843" y="2836964"/>
                    <a:pt x="3309068" y="2836964"/>
                  </a:cubicBezTo>
                  <a:close/>
                  <a:moveTo>
                    <a:pt x="9366776" y="2809129"/>
                  </a:moveTo>
                  <a:cubicBezTo>
                    <a:pt x="9414220" y="2809129"/>
                    <a:pt x="9437943" y="2845992"/>
                    <a:pt x="9437943" y="2919717"/>
                  </a:cubicBezTo>
                  <a:cubicBezTo>
                    <a:pt x="9437943" y="2956228"/>
                    <a:pt x="9431247" y="2984088"/>
                    <a:pt x="9417857" y="3003296"/>
                  </a:cubicBezTo>
                  <a:cubicBezTo>
                    <a:pt x="9404466" y="3022505"/>
                    <a:pt x="9385734" y="3032109"/>
                    <a:pt x="9361660" y="3032109"/>
                  </a:cubicBezTo>
                  <a:cubicBezTo>
                    <a:pt x="9339192" y="3032109"/>
                    <a:pt x="9321663" y="3022931"/>
                    <a:pt x="9309075" y="3004575"/>
                  </a:cubicBezTo>
                  <a:cubicBezTo>
                    <a:pt x="9296486" y="2986219"/>
                    <a:pt x="9290192" y="2959688"/>
                    <a:pt x="9290192" y="2924983"/>
                  </a:cubicBezTo>
                  <a:cubicBezTo>
                    <a:pt x="9290192" y="2886866"/>
                    <a:pt x="9296762" y="2858029"/>
                    <a:pt x="9309902" y="2838469"/>
                  </a:cubicBezTo>
                  <a:cubicBezTo>
                    <a:pt x="9323043" y="2818909"/>
                    <a:pt x="9342000" y="2809129"/>
                    <a:pt x="9366776" y="2809129"/>
                  </a:cubicBezTo>
                  <a:close/>
                  <a:moveTo>
                    <a:pt x="3310723" y="2809129"/>
                  </a:moveTo>
                  <a:cubicBezTo>
                    <a:pt x="3358168" y="2809129"/>
                    <a:pt x="3381890" y="2845992"/>
                    <a:pt x="3381890" y="2919717"/>
                  </a:cubicBezTo>
                  <a:cubicBezTo>
                    <a:pt x="3381890" y="2956228"/>
                    <a:pt x="3375195" y="2984088"/>
                    <a:pt x="3361804" y="3003296"/>
                  </a:cubicBezTo>
                  <a:cubicBezTo>
                    <a:pt x="3348413" y="3022505"/>
                    <a:pt x="3329681" y="3032109"/>
                    <a:pt x="3305607" y="3032109"/>
                  </a:cubicBezTo>
                  <a:cubicBezTo>
                    <a:pt x="3283139" y="3032109"/>
                    <a:pt x="3265610" y="3022931"/>
                    <a:pt x="3253022" y="3004575"/>
                  </a:cubicBezTo>
                  <a:cubicBezTo>
                    <a:pt x="3240433" y="2986219"/>
                    <a:pt x="3234139" y="2959688"/>
                    <a:pt x="3234139" y="2924983"/>
                  </a:cubicBezTo>
                  <a:cubicBezTo>
                    <a:pt x="3234139" y="2886866"/>
                    <a:pt x="3240709" y="2858029"/>
                    <a:pt x="3253849" y="2838469"/>
                  </a:cubicBezTo>
                  <a:cubicBezTo>
                    <a:pt x="3266990" y="2818909"/>
                    <a:pt x="3285947" y="2809129"/>
                    <a:pt x="3310723" y="2809129"/>
                  </a:cubicBezTo>
                  <a:close/>
                  <a:moveTo>
                    <a:pt x="6505937" y="2508571"/>
                  </a:moveTo>
                  <a:cubicBezTo>
                    <a:pt x="6479757" y="2508571"/>
                    <a:pt x="6466667" y="2537409"/>
                    <a:pt x="6466667" y="2595085"/>
                  </a:cubicBezTo>
                  <a:cubicBezTo>
                    <a:pt x="6466667" y="2649049"/>
                    <a:pt x="6479506" y="2676032"/>
                    <a:pt x="6505185" y="2676032"/>
                  </a:cubicBezTo>
                  <a:cubicBezTo>
                    <a:pt x="6530462" y="2676032"/>
                    <a:pt x="6543100" y="2648598"/>
                    <a:pt x="6543100" y="2593731"/>
                  </a:cubicBezTo>
                  <a:cubicBezTo>
                    <a:pt x="6543100" y="2536957"/>
                    <a:pt x="6530712" y="2508571"/>
                    <a:pt x="6505937" y="2508571"/>
                  </a:cubicBezTo>
                  <a:close/>
                  <a:moveTo>
                    <a:pt x="6134901" y="2508571"/>
                  </a:moveTo>
                  <a:cubicBezTo>
                    <a:pt x="6108721" y="2508571"/>
                    <a:pt x="6095631" y="2537409"/>
                    <a:pt x="6095631" y="2595085"/>
                  </a:cubicBezTo>
                  <a:cubicBezTo>
                    <a:pt x="6095631" y="2649049"/>
                    <a:pt x="6108470" y="2676032"/>
                    <a:pt x="6134149" y="2676032"/>
                  </a:cubicBezTo>
                  <a:cubicBezTo>
                    <a:pt x="6159426" y="2676032"/>
                    <a:pt x="6172064" y="2648598"/>
                    <a:pt x="6172064" y="2593731"/>
                  </a:cubicBezTo>
                  <a:cubicBezTo>
                    <a:pt x="6172064" y="2536957"/>
                    <a:pt x="6159676" y="2508571"/>
                    <a:pt x="6134901" y="2508571"/>
                  </a:cubicBezTo>
                  <a:close/>
                  <a:moveTo>
                    <a:pt x="450509" y="2508571"/>
                  </a:moveTo>
                  <a:cubicBezTo>
                    <a:pt x="424329" y="2508571"/>
                    <a:pt x="411240" y="2537409"/>
                    <a:pt x="411240" y="2595085"/>
                  </a:cubicBezTo>
                  <a:cubicBezTo>
                    <a:pt x="411240" y="2649049"/>
                    <a:pt x="424078" y="2676032"/>
                    <a:pt x="449758" y="2676032"/>
                  </a:cubicBezTo>
                  <a:cubicBezTo>
                    <a:pt x="475034" y="2676032"/>
                    <a:pt x="487673" y="2648598"/>
                    <a:pt x="487673" y="2593731"/>
                  </a:cubicBezTo>
                  <a:cubicBezTo>
                    <a:pt x="487673" y="2536957"/>
                    <a:pt x="475285" y="2508571"/>
                    <a:pt x="450509" y="2508571"/>
                  </a:cubicBezTo>
                  <a:close/>
                  <a:moveTo>
                    <a:pt x="74929" y="2508571"/>
                  </a:moveTo>
                  <a:cubicBezTo>
                    <a:pt x="48750" y="2508571"/>
                    <a:pt x="35659" y="2537409"/>
                    <a:pt x="35659" y="2595085"/>
                  </a:cubicBezTo>
                  <a:cubicBezTo>
                    <a:pt x="35659" y="2649049"/>
                    <a:pt x="48498" y="2676032"/>
                    <a:pt x="74177" y="2676032"/>
                  </a:cubicBezTo>
                  <a:cubicBezTo>
                    <a:pt x="99454" y="2676032"/>
                    <a:pt x="112092" y="2648598"/>
                    <a:pt x="112092" y="2593731"/>
                  </a:cubicBezTo>
                  <a:cubicBezTo>
                    <a:pt x="112092" y="2536957"/>
                    <a:pt x="99706" y="2508571"/>
                    <a:pt x="74929" y="2508571"/>
                  </a:cubicBezTo>
                  <a:close/>
                  <a:moveTo>
                    <a:pt x="6507592" y="2480736"/>
                  </a:moveTo>
                  <a:cubicBezTo>
                    <a:pt x="6555037" y="2480736"/>
                    <a:pt x="6578759" y="2517599"/>
                    <a:pt x="6578759" y="2591324"/>
                  </a:cubicBezTo>
                  <a:cubicBezTo>
                    <a:pt x="6578759" y="2627835"/>
                    <a:pt x="6572064" y="2655695"/>
                    <a:pt x="6558673" y="2674903"/>
                  </a:cubicBezTo>
                  <a:cubicBezTo>
                    <a:pt x="6545282" y="2694111"/>
                    <a:pt x="6526550" y="2703716"/>
                    <a:pt x="6502476" y="2703716"/>
                  </a:cubicBezTo>
                  <a:cubicBezTo>
                    <a:pt x="6480008" y="2703716"/>
                    <a:pt x="6462479" y="2694538"/>
                    <a:pt x="6449891" y="2676182"/>
                  </a:cubicBezTo>
                  <a:cubicBezTo>
                    <a:pt x="6437302" y="2657826"/>
                    <a:pt x="6431008" y="2631295"/>
                    <a:pt x="6431008" y="2596590"/>
                  </a:cubicBezTo>
                  <a:cubicBezTo>
                    <a:pt x="6431008" y="2558473"/>
                    <a:pt x="6437578" y="2529635"/>
                    <a:pt x="6450718" y="2510075"/>
                  </a:cubicBezTo>
                  <a:cubicBezTo>
                    <a:pt x="6463859" y="2490516"/>
                    <a:pt x="6482816" y="2480736"/>
                    <a:pt x="6507592" y="2480736"/>
                  </a:cubicBezTo>
                  <a:close/>
                  <a:moveTo>
                    <a:pt x="6136556" y="2480736"/>
                  </a:moveTo>
                  <a:cubicBezTo>
                    <a:pt x="6184001" y="2480736"/>
                    <a:pt x="6207723" y="2517599"/>
                    <a:pt x="6207723" y="2591324"/>
                  </a:cubicBezTo>
                  <a:cubicBezTo>
                    <a:pt x="6207723" y="2627835"/>
                    <a:pt x="6201028" y="2655695"/>
                    <a:pt x="6187637" y="2674903"/>
                  </a:cubicBezTo>
                  <a:cubicBezTo>
                    <a:pt x="6174246" y="2694111"/>
                    <a:pt x="6155514" y="2703716"/>
                    <a:pt x="6131440" y="2703716"/>
                  </a:cubicBezTo>
                  <a:cubicBezTo>
                    <a:pt x="6108972" y="2703716"/>
                    <a:pt x="6091443" y="2694538"/>
                    <a:pt x="6078855" y="2676182"/>
                  </a:cubicBezTo>
                  <a:cubicBezTo>
                    <a:pt x="6066266" y="2657826"/>
                    <a:pt x="6059972" y="2631295"/>
                    <a:pt x="6059972" y="2596590"/>
                  </a:cubicBezTo>
                  <a:cubicBezTo>
                    <a:pt x="6059972" y="2558473"/>
                    <a:pt x="6066542" y="2529635"/>
                    <a:pt x="6079682" y="2510075"/>
                  </a:cubicBezTo>
                  <a:cubicBezTo>
                    <a:pt x="6092823" y="2490516"/>
                    <a:pt x="6111780" y="2480736"/>
                    <a:pt x="6136556" y="2480736"/>
                  </a:cubicBezTo>
                  <a:close/>
                  <a:moveTo>
                    <a:pt x="452165" y="2480736"/>
                  </a:moveTo>
                  <a:cubicBezTo>
                    <a:pt x="499610" y="2480736"/>
                    <a:pt x="523332" y="2517599"/>
                    <a:pt x="523332" y="2591324"/>
                  </a:cubicBezTo>
                  <a:cubicBezTo>
                    <a:pt x="523332" y="2627835"/>
                    <a:pt x="516637" y="2655695"/>
                    <a:pt x="503246" y="2674903"/>
                  </a:cubicBezTo>
                  <a:cubicBezTo>
                    <a:pt x="489854" y="2694111"/>
                    <a:pt x="471123" y="2703716"/>
                    <a:pt x="447049" y="2703716"/>
                  </a:cubicBezTo>
                  <a:cubicBezTo>
                    <a:pt x="424580" y="2703716"/>
                    <a:pt x="407051" y="2694538"/>
                    <a:pt x="394463" y="2676182"/>
                  </a:cubicBezTo>
                  <a:cubicBezTo>
                    <a:pt x="381875" y="2657826"/>
                    <a:pt x="375581" y="2631295"/>
                    <a:pt x="375581" y="2596590"/>
                  </a:cubicBezTo>
                  <a:cubicBezTo>
                    <a:pt x="375581" y="2558473"/>
                    <a:pt x="382151" y="2529635"/>
                    <a:pt x="395291" y="2510075"/>
                  </a:cubicBezTo>
                  <a:cubicBezTo>
                    <a:pt x="408431" y="2490516"/>
                    <a:pt x="427388" y="2480736"/>
                    <a:pt x="452165" y="2480736"/>
                  </a:cubicBezTo>
                  <a:close/>
                  <a:moveTo>
                    <a:pt x="76584" y="2480736"/>
                  </a:moveTo>
                  <a:cubicBezTo>
                    <a:pt x="124029" y="2480736"/>
                    <a:pt x="147751" y="2517599"/>
                    <a:pt x="147751" y="2591324"/>
                  </a:cubicBezTo>
                  <a:cubicBezTo>
                    <a:pt x="147751" y="2627835"/>
                    <a:pt x="141056" y="2655695"/>
                    <a:pt x="127665" y="2674903"/>
                  </a:cubicBezTo>
                  <a:cubicBezTo>
                    <a:pt x="114274" y="2694111"/>
                    <a:pt x="95542" y="2703716"/>
                    <a:pt x="71468" y="2703716"/>
                  </a:cubicBezTo>
                  <a:cubicBezTo>
                    <a:pt x="49000" y="2703716"/>
                    <a:pt x="31471" y="2694538"/>
                    <a:pt x="18883" y="2676182"/>
                  </a:cubicBezTo>
                  <a:cubicBezTo>
                    <a:pt x="6295" y="2657826"/>
                    <a:pt x="0" y="2631295"/>
                    <a:pt x="0" y="2596590"/>
                  </a:cubicBezTo>
                  <a:cubicBezTo>
                    <a:pt x="0" y="2558473"/>
                    <a:pt x="6572" y="2529635"/>
                    <a:pt x="19710" y="2510075"/>
                  </a:cubicBezTo>
                  <a:cubicBezTo>
                    <a:pt x="32852" y="2490516"/>
                    <a:pt x="51808" y="2480736"/>
                    <a:pt x="76584" y="2480736"/>
                  </a:cubicBezTo>
                  <a:close/>
                  <a:moveTo>
                    <a:pt x="6278828" y="2204600"/>
                  </a:moveTo>
                  <a:cubicBezTo>
                    <a:pt x="6252648" y="2204600"/>
                    <a:pt x="6239558" y="2233438"/>
                    <a:pt x="6239558" y="2291114"/>
                  </a:cubicBezTo>
                  <a:cubicBezTo>
                    <a:pt x="6239558" y="2345078"/>
                    <a:pt x="6252397" y="2372061"/>
                    <a:pt x="6278076" y="2372061"/>
                  </a:cubicBezTo>
                  <a:cubicBezTo>
                    <a:pt x="6303353" y="2372061"/>
                    <a:pt x="6315991" y="2344627"/>
                    <a:pt x="6315991" y="2289760"/>
                  </a:cubicBezTo>
                  <a:cubicBezTo>
                    <a:pt x="6315991" y="2232986"/>
                    <a:pt x="6303603" y="2204600"/>
                    <a:pt x="6278828" y="2204600"/>
                  </a:cubicBezTo>
                  <a:close/>
                  <a:moveTo>
                    <a:pt x="215417" y="2204600"/>
                  </a:moveTo>
                  <a:cubicBezTo>
                    <a:pt x="189237" y="2204600"/>
                    <a:pt x="176147" y="2233438"/>
                    <a:pt x="176147" y="2291114"/>
                  </a:cubicBezTo>
                  <a:cubicBezTo>
                    <a:pt x="176147" y="2345078"/>
                    <a:pt x="188986" y="2372061"/>
                    <a:pt x="214665" y="2372061"/>
                  </a:cubicBezTo>
                  <a:cubicBezTo>
                    <a:pt x="239942" y="2372061"/>
                    <a:pt x="252580" y="2344627"/>
                    <a:pt x="252580" y="2289760"/>
                  </a:cubicBezTo>
                  <a:cubicBezTo>
                    <a:pt x="252580" y="2232986"/>
                    <a:pt x="240192" y="2204600"/>
                    <a:pt x="215417" y="2204600"/>
                  </a:cubicBezTo>
                  <a:close/>
                  <a:moveTo>
                    <a:pt x="6280483" y="2176765"/>
                  </a:moveTo>
                  <a:cubicBezTo>
                    <a:pt x="6327928" y="2176765"/>
                    <a:pt x="6351650" y="2213628"/>
                    <a:pt x="6351650" y="2287352"/>
                  </a:cubicBezTo>
                  <a:cubicBezTo>
                    <a:pt x="6351650" y="2323864"/>
                    <a:pt x="6344955" y="2351724"/>
                    <a:pt x="6331564" y="2370932"/>
                  </a:cubicBezTo>
                  <a:cubicBezTo>
                    <a:pt x="6318173" y="2390140"/>
                    <a:pt x="6299441" y="2399745"/>
                    <a:pt x="6275367" y="2399745"/>
                  </a:cubicBezTo>
                  <a:cubicBezTo>
                    <a:pt x="6252899" y="2399745"/>
                    <a:pt x="6235370" y="2390567"/>
                    <a:pt x="6222782" y="2372211"/>
                  </a:cubicBezTo>
                  <a:cubicBezTo>
                    <a:pt x="6210193" y="2353855"/>
                    <a:pt x="6203899" y="2327324"/>
                    <a:pt x="6203899" y="2292619"/>
                  </a:cubicBezTo>
                  <a:cubicBezTo>
                    <a:pt x="6203899" y="2254502"/>
                    <a:pt x="6210469" y="2225664"/>
                    <a:pt x="6223609" y="2206104"/>
                  </a:cubicBezTo>
                  <a:cubicBezTo>
                    <a:pt x="6236750" y="2186545"/>
                    <a:pt x="6255707" y="2176765"/>
                    <a:pt x="6280483" y="2176765"/>
                  </a:cubicBezTo>
                  <a:close/>
                  <a:moveTo>
                    <a:pt x="217072" y="2176765"/>
                  </a:moveTo>
                  <a:cubicBezTo>
                    <a:pt x="264517" y="2176765"/>
                    <a:pt x="288239" y="2213628"/>
                    <a:pt x="288239" y="2287352"/>
                  </a:cubicBezTo>
                  <a:cubicBezTo>
                    <a:pt x="288239" y="2323864"/>
                    <a:pt x="281543" y="2351724"/>
                    <a:pt x="268153" y="2370932"/>
                  </a:cubicBezTo>
                  <a:cubicBezTo>
                    <a:pt x="254762" y="2390140"/>
                    <a:pt x="236030" y="2399745"/>
                    <a:pt x="211956" y="2399745"/>
                  </a:cubicBezTo>
                  <a:cubicBezTo>
                    <a:pt x="189488" y="2399745"/>
                    <a:pt x="171959" y="2390567"/>
                    <a:pt x="159371" y="2372211"/>
                  </a:cubicBezTo>
                  <a:cubicBezTo>
                    <a:pt x="146782" y="2353855"/>
                    <a:pt x="140488" y="2327324"/>
                    <a:pt x="140488" y="2292619"/>
                  </a:cubicBezTo>
                  <a:cubicBezTo>
                    <a:pt x="140488" y="2254502"/>
                    <a:pt x="147058" y="2225664"/>
                    <a:pt x="160198" y="2206104"/>
                  </a:cubicBezTo>
                  <a:cubicBezTo>
                    <a:pt x="173339" y="2186545"/>
                    <a:pt x="192296" y="2176765"/>
                    <a:pt x="217072" y="2176765"/>
                  </a:cubicBezTo>
                  <a:close/>
                  <a:moveTo>
                    <a:pt x="9601339" y="1870182"/>
                  </a:moveTo>
                  <a:cubicBezTo>
                    <a:pt x="9575159" y="1870182"/>
                    <a:pt x="9562069" y="1899020"/>
                    <a:pt x="9562069" y="1956696"/>
                  </a:cubicBezTo>
                  <a:cubicBezTo>
                    <a:pt x="9562069" y="2010660"/>
                    <a:pt x="9574908" y="2037642"/>
                    <a:pt x="9600587" y="2037642"/>
                  </a:cubicBezTo>
                  <a:cubicBezTo>
                    <a:pt x="9625863" y="2037642"/>
                    <a:pt x="9638502" y="2010209"/>
                    <a:pt x="9638502" y="1955342"/>
                  </a:cubicBezTo>
                  <a:cubicBezTo>
                    <a:pt x="9638502" y="1898568"/>
                    <a:pt x="9626114" y="1870182"/>
                    <a:pt x="9601339" y="1870182"/>
                  </a:cubicBezTo>
                  <a:close/>
                  <a:moveTo>
                    <a:pt x="9240737" y="1870182"/>
                  </a:moveTo>
                  <a:cubicBezTo>
                    <a:pt x="9214557" y="1870182"/>
                    <a:pt x="9201467" y="1899020"/>
                    <a:pt x="9201467" y="1956696"/>
                  </a:cubicBezTo>
                  <a:cubicBezTo>
                    <a:pt x="9201467" y="2010660"/>
                    <a:pt x="9214306" y="2037642"/>
                    <a:pt x="9239985" y="2037642"/>
                  </a:cubicBezTo>
                  <a:cubicBezTo>
                    <a:pt x="9265261" y="2037642"/>
                    <a:pt x="9277900" y="2010209"/>
                    <a:pt x="9277900" y="1955342"/>
                  </a:cubicBezTo>
                  <a:cubicBezTo>
                    <a:pt x="9277900" y="1898568"/>
                    <a:pt x="9265512" y="1870182"/>
                    <a:pt x="9240737" y="1870182"/>
                  </a:cubicBezTo>
                  <a:close/>
                  <a:moveTo>
                    <a:pt x="3546994" y="1870182"/>
                  </a:moveTo>
                  <a:cubicBezTo>
                    <a:pt x="3520815" y="1870182"/>
                    <a:pt x="3507725" y="1899020"/>
                    <a:pt x="3507725" y="1956696"/>
                  </a:cubicBezTo>
                  <a:cubicBezTo>
                    <a:pt x="3507725" y="2010660"/>
                    <a:pt x="3520564" y="2037642"/>
                    <a:pt x="3546242" y="2037642"/>
                  </a:cubicBezTo>
                  <a:cubicBezTo>
                    <a:pt x="3571519" y="2037642"/>
                    <a:pt x="3584158" y="2010209"/>
                    <a:pt x="3584158" y="1955342"/>
                  </a:cubicBezTo>
                  <a:cubicBezTo>
                    <a:pt x="3584158" y="1898568"/>
                    <a:pt x="3571770" y="1870182"/>
                    <a:pt x="3546994" y="1870182"/>
                  </a:cubicBezTo>
                  <a:close/>
                  <a:moveTo>
                    <a:pt x="3181981" y="1870182"/>
                  </a:moveTo>
                  <a:cubicBezTo>
                    <a:pt x="3155802" y="1870182"/>
                    <a:pt x="3142712" y="1899020"/>
                    <a:pt x="3142712" y="1956696"/>
                  </a:cubicBezTo>
                  <a:cubicBezTo>
                    <a:pt x="3142712" y="2010660"/>
                    <a:pt x="3155551" y="2037642"/>
                    <a:pt x="3181229" y="2037642"/>
                  </a:cubicBezTo>
                  <a:cubicBezTo>
                    <a:pt x="3206506" y="2037642"/>
                    <a:pt x="3219145" y="2010209"/>
                    <a:pt x="3219145" y="1955342"/>
                  </a:cubicBezTo>
                  <a:cubicBezTo>
                    <a:pt x="3219145" y="1898568"/>
                    <a:pt x="3206757" y="1870182"/>
                    <a:pt x="3181981" y="1870182"/>
                  </a:cubicBezTo>
                  <a:close/>
                  <a:moveTo>
                    <a:pt x="9602994" y="1842347"/>
                  </a:moveTo>
                  <a:cubicBezTo>
                    <a:pt x="9650438" y="1842347"/>
                    <a:pt x="9674161" y="1879209"/>
                    <a:pt x="9674161" y="1952934"/>
                  </a:cubicBezTo>
                  <a:cubicBezTo>
                    <a:pt x="9674161" y="1989446"/>
                    <a:pt x="9667465" y="2017306"/>
                    <a:pt x="9654075" y="2036514"/>
                  </a:cubicBezTo>
                  <a:cubicBezTo>
                    <a:pt x="9640684" y="2055722"/>
                    <a:pt x="9621952" y="2065327"/>
                    <a:pt x="9597878" y="2065327"/>
                  </a:cubicBezTo>
                  <a:cubicBezTo>
                    <a:pt x="9575410" y="2065327"/>
                    <a:pt x="9557881" y="2056149"/>
                    <a:pt x="9545293" y="2037793"/>
                  </a:cubicBezTo>
                  <a:cubicBezTo>
                    <a:pt x="9532704" y="2019437"/>
                    <a:pt x="9526410" y="1992906"/>
                    <a:pt x="9526410" y="1958201"/>
                  </a:cubicBezTo>
                  <a:cubicBezTo>
                    <a:pt x="9526410" y="1920084"/>
                    <a:pt x="9532980" y="1891246"/>
                    <a:pt x="9546120" y="1871686"/>
                  </a:cubicBezTo>
                  <a:cubicBezTo>
                    <a:pt x="9559261" y="1852127"/>
                    <a:pt x="9578218" y="1842347"/>
                    <a:pt x="9602994" y="1842347"/>
                  </a:cubicBezTo>
                  <a:close/>
                  <a:moveTo>
                    <a:pt x="9242392" y="1842347"/>
                  </a:moveTo>
                  <a:cubicBezTo>
                    <a:pt x="9289836" y="1842347"/>
                    <a:pt x="9313559" y="1879209"/>
                    <a:pt x="9313559" y="1952934"/>
                  </a:cubicBezTo>
                  <a:cubicBezTo>
                    <a:pt x="9313559" y="1989446"/>
                    <a:pt x="9306863" y="2017306"/>
                    <a:pt x="9293473" y="2036514"/>
                  </a:cubicBezTo>
                  <a:cubicBezTo>
                    <a:pt x="9280082" y="2055722"/>
                    <a:pt x="9261350" y="2065327"/>
                    <a:pt x="9237276" y="2065327"/>
                  </a:cubicBezTo>
                  <a:cubicBezTo>
                    <a:pt x="9214808" y="2065327"/>
                    <a:pt x="9197279" y="2056149"/>
                    <a:pt x="9184691" y="2037793"/>
                  </a:cubicBezTo>
                  <a:cubicBezTo>
                    <a:pt x="9172102" y="2019437"/>
                    <a:pt x="9165808" y="1992906"/>
                    <a:pt x="9165808" y="1958201"/>
                  </a:cubicBezTo>
                  <a:cubicBezTo>
                    <a:pt x="9165808" y="1920084"/>
                    <a:pt x="9172378" y="1891246"/>
                    <a:pt x="9185518" y="1871686"/>
                  </a:cubicBezTo>
                  <a:cubicBezTo>
                    <a:pt x="9198659" y="1852127"/>
                    <a:pt x="9217616" y="1842347"/>
                    <a:pt x="9242392" y="1842347"/>
                  </a:cubicBezTo>
                  <a:close/>
                  <a:moveTo>
                    <a:pt x="3548649" y="1842347"/>
                  </a:moveTo>
                  <a:cubicBezTo>
                    <a:pt x="3596094" y="1842347"/>
                    <a:pt x="3619817" y="1879209"/>
                    <a:pt x="3619817" y="1952934"/>
                  </a:cubicBezTo>
                  <a:cubicBezTo>
                    <a:pt x="3619817" y="1989446"/>
                    <a:pt x="3613121" y="2017306"/>
                    <a:pt x="3599731" y="2036514"/>
                  </a:cubicBezTo>
                  <a:cubicBezTo>
                    <a:pt x="3586339" y="2055722"/>
                    <a:pt x="3567607" y="2065327"/>
                    <a:pt x="3543534" y="2065327"/>
                  </a:cubicBezTo>
                  <a:cubicBezTo>
                    <a:pt x="3521065" y="2065327"/>
                    <a:pt x="3503537" y="2056149"/>
                    <a:pt x="3490948" y="2037793"/>
                  </a:cubicBezTo>
                  <a:cubicBezTo>
                    <a:pt x="3478360" y="2019437"/>
                    <a:pt x="3472066" y="1992906"/>
                    <a:pt x="3472066" y="1958201"/>
                  </a:cubicBezTo>
                  <a:cubicBezTo>
                    <a:pt x="3472066" y="1920084"/>
                    <a:pt x="3478636" y="1891246"/>
                    <a:pt x="3491776" y="1871686"/>
                  </a:cubicBezTo>
                  <a:cubicBezTo>
                    <a:pt x="3504916" y="1852127"/>
                    <a:pt x="3523874" y="1842347"/>
                    <a:pt x="3548649" y="1842347"/>
                  </a:cubicBezTo>
                  <a:close/>
                  <a:moveTo>
                    <a:pt x="3183636" y="1842347"/>
                  </a:moveTo>
                  <a:cubicBezTo>
                    <a:pt x="3231081" y="1842347"/>
                    <a:pt x="3254804" y="1879209"/>
                    <a:pt x="3254804" y="1952934"/>
                  </a:cubicBezTo>
                  <a:cubicBezTo>
                    <a:pt x="3254804" y="1989446"/>
                    <a:pt x="3248108" y="2017306"/>
                    <a:pt x="3234718" y="2036514"/>
                  </a:cubicBezTo>
                  <a:cubicBezTo>
                    <a:pt x="3221326" y="2055722"/>
                    <a:pt x="3202594" y="2065327"/>
                    <a:pt x="3178521" y="2065327"/>
                  </a:cubicBezTo>
                  <a:cubicBezTo>
                    <a:pt x="3156052" y="2065327"/>
                    <a:pt x="3138524" y="2056149"/>
                    <a:pt x="3125935" y="2037793"/>
                  </a:cubicBezTo>
                  <a:cubicBezTo>
                    <a:pt x="3113347" y="2019437"/>
                    <a:pt x="3107053" y="1992906"/>
                    <a:pt x="3107053" y="1958201"/>
                  </a:cubicBezTo>
                  <a:cubicBezTo>
                    <a:pt x="3107053" y="1920084"/>
                    <a:pt x="3113623" y="1891246"/>
                    <a:pt x="3126763" y="1871686"/>
                  </a:cubicBezTo>
                  <a:cubicBezTo>
                    <a:pt x="3139903" y="1852127"/>
                    <a:pt x="3158861" y="1842347"/>
                    <a:pt x="3183636" y="1842347"/>
                  </a:cubicBezTo>
                  <a:close/>
                  <a:moveTo>
                    <a:pt x="9365121" y="1549837"/>
                  </a:moveTo>
                  <a:cubicBezTo>
                    <a:pt x="9338941" y="1549837"/>
                    <a:pt x="9325851" y="1578675"/>
                    <a:pt x="9325851" y="1636351"/>
                  </a:cubicBezTo>
                  <a:cubicBezTo>
                    <a:pt x="9325851" y="1690315"/>
                    <a:pt x="9338690" y="1717298"/>
                    <a:pt x="9364369" y="1717298"/>
                  </a:cubicBezTo>
                  <a:cubicBezTo>
                    <a:pt x="9389645" y="1717298"/>
                    <a:pt x="9402284" y="1689864"/>
                    <a:pt x="9402284" y="1634997"/>
                  </a:cubicBezTo>
                  <a:cubicBezTo>
                    <a:pt x="9402284" y="1578223"/>
                    <a:pt x="9389896" y="1549837"/>
                    <a:pt x="9365121" y="1549837"/>
                  </a:cubicBezTo>
                  <a:close/>
                  <a:moveTo>
                    <a:pt x="3309068" y="1549837"/>
                  </a:moveTo>
                  <a:cubicBezTo>
                    <a:pt x="3282888" y="1549837"/>
                    <a:pt x="3269798" y="1578675"/>
                    <a:pt x="3269798" y="1636351"/>
                  </a:cubicBezTo>
                  <a:cubicBezTo>
                    <a:pt x="3269798" y="1690315"/>
                    <a:pt x="3282637" y="1717298"/>
                    <a:pt x="3308316" y="1717298"/>
                  </a:cubicBezTo>
                  <a:cubicBezTo>
                    <a:pt x="3333593" y="1717298"/>
                    <a:pt x="3346231" y="1689864"/>
                    <a:pt x="3346231" y="1634997"/>
                  </a:cubicBezTo>
                  <a:cubicBezTo>
                    <a:pt x="3346231" y="1578223"/>
                    <a:pt x="3333843" y="1549837"/>
                    <a:pt x="3309068" y="1549837"/>
                  </a:cubicBezTo>
                  <a:close/>
                  <a:moveTo>
                    <a:pt x="9366776" y="1522002"/>
                  </a:moveTo>
                  <a:cubicBezTo>
                    <a:pt x="9414220" y="1522002"/>
                    <a:pt x="9437943" y="1558865"/>
                    <a:pt x="9437943" y="1632590"/>
                  </a:cubicBezTo>
                  <a:cubicBezTo>
                    <a:pt x="9437943" y="1669101"/>
                    <a:pt x="9431247" y="1696961"/>
                    <a:pt x="9417857" y="1716169"/>
                  </a:cubicBezTo>
                  <a:cubicBezTo>
                    <a:pt x="9404466" y="1735377"/>
                    <a:pt x="9385734" y="1744982"/>
                    <a:pt x="9361660" y="1744982"/>
                  </a:cubicBezTo>
                  <a:cubicBezTo>
                    <a:pt x="9339192" y="1744982"/>
                    <a:pt x="9321663" y="1735804"/>
                    <a:pt x="9309075" y="1717448"/>
                  </a:cubicBezTo>
                  <a:cubicBezTo>
                    <a:pt x="9296486" y="1699092"/>
                    <a:pt x="9290192" y="1672561"/>
                    <a:pt x="9290192" y="1637856"/>
                  </a:cubicBezTo>
                  <a:cubicBezTo>
                    <a:pt x="9290192" y="1599739"/>
                    <a:pt x="9296762" y="1570902"/>
                    <a:pt x="9309902" y="1551342"/>
                  </a:cubicBezTo>
                  <a:cubicBezTo>
                    <a:pt x="9323043" y="1531782"/>
                    <a:pt x="9342000" y="1522002"/>
                    <a:pt x="9366776" y="1522002"/>
                  </a:cubicBezTo>
                  <a:close/>
                  <a:moveTo>
                    <a:pt x="3310723" y="1522002"/>
                  </a:moveTo>
                  <a:cubicBezTo>
                    <a:pt x="3358168" y="1522002"/>
                    <a:pt x="3381890" y="1558865"/>
                    <a:pt x="3381890" y="1632590"/>
                  </a:cubicBezTo>
                  <a:cubicBezTo>
                    <a:pt x="3381890" y="1669101"/>
                    <a:pt x="3375195" y="1696961"/>
                    <a:pt x="3361804" y="1716169"/>
                  </a:cubicBezTo>
                  <a:cubicBezTo>
                    <a:pt x="3348413" y="1735377"/>
                    <a:pt x="3329681" y="1744982"/>
                    <a:pt x="3305607" y="1744982"/>
                  </a:cubicBezTo>
                  <a:cubicBezTo>
                    <a:pt x="3283139" y="1744982"/>
                    <a:pt x="3265610" y="1735804"/>
                    <a:pt x="3253022" y="1717448"/>
                  </a:cubicBezTo>
                  <a:cubicBezTo>
                    <a:pt x="3240433" y="1699092"/>
                    <a:pt x="3234139" y="1672561"/>
                    <a:pt x="3234139" y="1637856"/>
                  </a:cubicBezTo>
                  <a:cubicBezTo>
                    <a:pt x="3234139" y="1599739"/>
                    <a:pt x="3240709" y="1570902"/>
                    <a:pt x="3253849" y="1551342"/>
                  </a:cubicBezTo>
                  <a:cubicBezTo>
                    <a:pt x="3266990" y="1531782"/>
                    <a:pt x="3285947" y="1522002"/>
                    <a:pt x="3310723" y="1522002"/>
                  </a:cubicBezTo>
                  <a:close/>
                  <a:moveTo>
                    <a:pt x="6512446" y="1236534"/>
                  </a:moveTo>
                  <a:cubicBezTo>
                    <a:pt x="6486266" y="1236534"/>
                    <a:pt x="6473176" y="1265372"/>
                    <a:pt x="6473176" y="1323048"/>
                  </a:cubicBezTo>
                  <a:cubicBezTo>
                    <a:pt x="6473176" y="1377012"/>
                    <a:pt x="6486015" y="1403995"/>
                    <a:pt x="6511694" y="1403995"/>
                  </a:cubicBezTo>
                  <a:cubicBezTo>
                    <a:pt x="6536971" y="1403995"/>
                    <a:pt x="6549609" y="1376561"/>
                    <a:pt x="6549609" y="1321694"/>
                  </a:cubicBezTo>
                  <a:cubicBezTo>
                    <a:pt x="6549609" y="1264920"/>
                    <a:pt x="6537221" y="1236534"/>
                    <a:pt x="6512446" y="1236534"/>
                  </a:cubicBezTo>
                  <a:close/>
                  <a:moveTo>
                    <a:pt x="6141410" y="1236534"/>
                  </a:moveTo>
                  <a:cubicBezTo>
                    <a:pt x="6115230" y="1236534"/>
                    <a:pt x="6102140" y="1265372"/>
                    <a:pt x="6102140" y="1323048"/>
                  </a:cubicBezTo>
                  <a:cubicBezTo>
                    <a:pt x="6102140" y="1377012"/>
                    <a:pt x="6114979" y="1403995"/>
                    <a:pt x="6140658" y="1403995"/>
                  </a:cubicBezTo>
                  <a:cubicBezTo>
                    <a:pt x="6165935" y="1403995"/>
                    <a:pt x="6178573" y="1376561"/>
                    <a:pt x="6178573" y="1321694"/>
                  </a:cubicBezTo>
                  <a:cubicBezTo>
                    <a:pt x="6178573" y="1264920"/>
                    <a:pt x="6166185" y="1236534"/>
                    <a:pt x="6141410" y="1236534"/>
                  </a:cubicBezTo>
                  <a:close/>
                  <a:moveTo>
                    <a:pt x="457019" y="1236534"/>
                  </a:moveTo>
                  <a:cubicBezTo>
                    <a:pt x="430839" y="1236534"/>
                    <a:pt x="417749" y="1265372"/>
                    <a:pt x="417749" y="1323048"/>
                  </a:cubicBezTo>
                  <a:cubicBezTo>
                    <a:pt x="417749" y="1377012"/>
                    <a:pt x="430588" y="1403995"/>
                    <a:pt x="456267" y="1403995"/>
                  </a:cubicBezTo>
                  <a:cubicBezTo>
                    <a:pt x="481544" y="1403995"/>
                    <a:pt x="494182" y="1376561"/>
                    <a:pt x="494182" y="1321694"/>
                  </a:cubicBezTo>
                  <a:cubicBezTo>
                    <a:pt x="494182" y="1264920"/>
                    <a:pt x="481795" y="1236534"/>
                    <a:pt x="457019" y="1236534"/>
                  </a:cubicBezTo>
                  <a:close/>
                  <a:moveTo>
                    <a:pt x="81439" y="1236534"/>
                  </a:moveTo>
                  <a:cubicBezTo>
                    <a:pt x="55259" y="1236534"/>
                    <a:pt x="42169" y="1265372"/>
                    <a:pt x="42169" y="1323048"/>
                  </a:cubicBezTo>
                  <a:cubicBezTo>
                    <a:pt x="42169" y="1377012"/>
                    <a:pt x="55008" y="1403995"/>
                    <a:pt x="80687" y="1403995"/>
                  </a:cubicBezTo>
                  <a:cubicBezTo>
                    <a:pt x="105964" y="1403995"/>
                    <a:pt x="118602" y="1376561"/>
                    <a:pt x="118602" y="1321694"/>
                  </a:cubicBezTo>
                  <a:cubicBezTo>
                    <a:pt x="118602" y="1264920"/>
                    <a:pt x="106215" y="1236534"/>
                    <a:pt x="81439" y="1236534"/>
                  </a:cubicBezTo>
                  <a:close/>
                  <a:moveTo>
                    <a:pt x="6514101" y="1208699"/>
                  </a:moveTo>
                  <a:cubicBezTo>
                    <a:pt x="6561546" y="1208699"/>
                    <a:pt x="6585268" y="1245562"/>
                    <a:pt x="6585268" y="1319287"/>
                  </a:cubicBezTo>
                  <a:cubicBezTo>
                    <a:pt x="6585268" y="1355798"/>
                    <a:pt x="6578573" y="1383658"/>
                    <a:pt x="6565182" y="1402866"/>
                  </a:cubicBezTo>
                  <a:cubicBezTo>
                    <a:pt x="6551791" y="1422074"/>
                    <a:pt x="6533059" y="1431679"/>
                    <a:pt x="6508985" y="1431679"/>
                  </a:cubicBezTo>
                  <a:cubicBezTo>
                    <a:pt x="6486517" y="1431679"/>
                    <a:pt x="6468988" y="1422501"/>
                    <a:pt x="6456400" y="1404145"/>
                  </a:cubicBezTo>
                  <a:cubicBezTo>
                    <a:pt x="6443811" y="1385789"/>
                    <a:pt x="6437517" y="1359258"/>
                    <a:pt x="6437517" y="1324553"/>
                  </a:cubicBezTo>
                  <a:cubicBezTo>
                    <a:pt x="6437517" y="1286436"/>
                    <a:pt x="6444087" y="1257598"/>
                    <a:pt x="6457227" y="1238038"/>
                  </a:cubicBezTo>
                  <a:cubicBezTo>
                    <a:pt x="6470368" y="1218479"/>
                    <a:pt x="6489325" y="1208699"/>
                    <a:pt x="6514101" y="1208699"/>
                  </a:cubicBezTo>
                  <a:close/>
                  <a:moveTo>
                    <a:pt x="6143065" y="1208699"/>
                  </a:moveTo>
                  <a:cubicBezTo>
                    <a:pt x="6190510" y="1208699"/>
                    <a:pt x="6214232" y="1245562"/>
                    <a:pt x="6214232" y="1319287"/>
                  </a:cubicBezTo>
                  <a:cubicBezTo>
                    <a:pt x="6214232" y="1355798"/>
                    <a:pt x="6207537" y="1383658"/>
                    <a:pt x="6194146" y="1402866"/>
                  </a:cubicBezTo>
                  <a:cubicBezTo>
                    <a:pt x="6180755" y="1422074"/>
                    <a:pt x="6162023" y="1431679"/>
                    <a:pt x="6137949" y="1431679"/>
                  </a:cubicBezTo>
                  <a:cubicBezTo>
                    <a:pt x="6115481" y="1431679"/>
                    <a:pt x="6097952" y="1422501"/>
                    <a:pt x="6085364" y="1404145"/>
                  </a:cubicBezTo>
                  <a:cubicBezTo>
                    <a:pt x="6072775" y="1385789"/>
                    <a:pt x="6066481" y="1359258"/>
                    <a:pt x="6066481" y="1324553"/>
                  </a:cubicBezTo>
                  <a:cubicBezTo>
                    <a:pt x="6066481" y="1286436"/>
                    <a:pt x="6073051" y="1257598"/>
                    <a:pt x="6086191" y="1238038"/>
                  </a:cubicBezTo>
                  <a:cubicBezTo>
                    <a:pt x="6099332" y="1218479"/>
                    <a:pt x="6118289" y="1208699"/>
                    <a:pt x="6143065" y="1208699"/>
                  </a:cubicBezTo>
                  <a:close/>
                  <a:moveTo>
                    <a:pt x="458674" y="1208699"/>
                  </a:moveTo>
                  <a:cubicBezTo>
                    <a:pt x="506119" y="1208699"/>
                    <a:pt x="529841" y="1245562"/>
                    <a:pt x="529841" y="1319287"/>
                  </a:cubicBezTo>
                  <a:cubicBezTo>
                    <a:pt x="529841" y="1355798"/>
                    <a:pt x="523146" y="1383658"/>
                    <a:pt x="509755" y="1402866"/>
                  </a:cubicBezTo>
                  <a:cubicBezTo>
                    <a:pt x="496364" y="1422074"/>
                    <a:pt x="477632" y="1431679"/>
                    <a:pt x="453558" y="1431679"/>
                  </a:cubicBezTo>
                  <a:cubicBezTo>
                    <a:pt x="431090" y="1431679"/>
                    <a:pt x="413561" y="1422501"/>
                    <a:pt x="400973" y="1404145"/>
                  </a:cubicBezTo>
                  <a:cubicBezTo>
                    <a:pt x="388385" y="1385789"/>
                    <a:pt x="382090" y="1359258"/>
                    <a:pt x="382090" y="1324553"/>
                  </a:cubicBezTo>
                  <a:cubicBezTo>
                    <a:pt x="382090" y="1286436"/>
                    <a:pt x="388661" y="1257598"/>
                    <a:pt x="401800" y="1238038"/>
                  </a:cubicBezTo>
                  <a:cubicBezTo>
                    <a:pt x="414941" y="1218479"/>
                    <a:pt x="433898" y="1208699"/>
                    <a:pt x="458674" y="1208699"/>
                  </a:cubicBezTo>
                  <a:close/>
                  <a:moveTo>
                    <a:pt x="83094" y="1208699"/>
                  </a:moveTo>
                  <a:cubicBezTo>
                    <a:pt x="130539" y="1208699"/>
                    <a:pt x="154261" y="1245562"/>
                    <a:pt x="154261" y="1319287"/>
                  </a:cubicBezTo>
                  <a:cubicBezTo>
                    <a:pt x="154261" y="1355798"/>
                    <a:pt x="147566" y="1383658"/>
                    <a:pt x="134175" y="1402866"/>
                  </a:cubicBezTo>
                  <a:cubicBezTo>
                    <a:pt x="120784" y="1422074"/>
                    <a:pt x="102052" y="1431679"/>
                    <a:pt x="77978" y="1431679"/>
                  </a:cubicBezTo>
                  <a:cubicBezTo>
                    <a:pt x="55510" y="1431679"/>
                    <a:pt x="37981" y="1422501"/>
                    <a:pt x="25393" y="1404145"/>
                  </a:cubicBezTo>
                  <a:cubicBezTo>
                    <a:pt x="12805" y="1385789"/>
                    <a:pt x="6510" y="1359258"/>
                    <a:pt x="6510" y="1324553"/>
                  </a:cubicBezTo>
                  <a:cubicBezTo>
                    <a:pt x="6510" y="1286436"/>
                    <a:pt x="13081" y="1257598"/>
                    <a:pt x="26220" y="1238038"/>
                  </a:cubicBezTo>
                  <a:cubicBezTo>
                    <a:pt x="39361" y="1218479"/>
                    <a:pt x="58318" y="1208699"/>
                    <a:pt x="83094" y="1208699"/>
                  </a:cubicBezTo>
                  <a:close/>
                  <a:moveTo>
                    <a:pt x="6281383" y="942895"/>
                  </a:moveTo>
                  <a:cubicBezTo>
                    <a:pt x="6255203" y="942895"/>
                    <a:pt x="6242113" y="971733"/>
                    <a:pt x="6242113" y="1029409"/>
                  </a:cubicBezTo>
                  <a:cubicBezTo>
                    <a:pt x="6242113" y="1083373"/>
                    <a:pt x="6254952" y="1110356"/>
                    <a:pt x="6280631" y="1110356"/>
                  </a:cubicBezTo>
                  <a:cubicBezTo>
                    <a:pt x="6305908" y="1110356"/>
                    <a:pt x="6318546" y="1082922"/>
                    <a:pt x="6318546" y="1028055"/>
                  </a:cubicBezTo>
                  <a:cubicBezTo>
                    <a:pt x="6318546" y="971281"/>
                    <a:pt x="6306158" y="942895"/>
                    <a:pt x="6281383" y="942895"/>
                  </a:cubicBezTo>
                  <a:close/>
                  <a:moveTo>
                    <a:pt x="217972" y="942895"/>
                  </a:moveTo>
                  <a:cubicBezTo>
                    <a:pt x="191792" y="942895"/>
                    <a:pt x="178702" y="971733"/>
                    <a:pt x="178702" y="1029409"/>
                  </a:cubicBezTo>
                  <a:cubicBezTo>
                    <a:pt x="178702" y="1083373"/>
                    <a:pt x="191541" y="1110356"/>
                    <a:pt x="217220" y="1110356"/>
                  </a:cubicBezTo>
                  <a:cubicBezTo>
                    <a:pt x="242497" y="1110356"/>
                    <a:pt x="255135" y="1082922"/>
                    <a:pt x="255135" y="1028055"/>
                  </a:cubicBezTo>
                  <a:cubicBezTo>
                    <a:pt x="255135" y="971281"/>
                    <a:pt x="242747" y="942895"/>
                    <a:pt x="217972" y="942895"/>
                  </a:cubicBezTo>
                  <a:close/>
                  <a:moveTo>
                    <a:pt x="6283038" y="915060"/>
                  </a:moveTo>
                  <a:cubicBezTo>
                    <a:pt x="6330483" y="915060"/>
                    <a:pt x="6354205" y="951923"/>
                    <a:pt x="6354205" y="1025647"/>
                  </a:cubicBezTo>
                  <a:cubicBezTo>
                    <a:pt x="6354205" y="1062159"/>
                    <a:pt x="6347510" y="1090019"/>
                    <a:pt x="6334119" y="1109227"/>
                  </a:cubicBezTo>
                  <a:cubicBezTo>
                    <a:pt x="6320728" y="1128435"/>
                    <a:pt x="6301996" y="1138040"/>
                    <a:pt x="6277922" y="1138040"/>
                  </a:cubicBezTo>
                  <a:cubicBezTo>
                    <a:pt x="6255454" y="1138040"/>
                    <a:pt x="6237925" y="1128862"/>
                    <a:pt x="6225337" y="1110506"/>
                  </a:cubicBezTo>
                  <a:cubicBezTo>
                    <a:pt x="6212748" y="1092150"/>
                    <a:pt x="6206454" y="1065619"/>
                    <a:pt x="6206454" y="1030914"/>
                  </a:cubicBezTo>
                  <a:cubicBezTo>
                    <a:pt x="6206454" y="992797"/>
                    <a:pt x="6213024" y="963959"/>
                    <a:pt x="6226164" y="944399"/>
                  </a:cubicBezTo>
                  <a:cubicBezTo>
                    <a:pt x="6239305" y="924840"/>
                    <a:pt x="6258262" y="915060"/>
                    <a:pt x="6283038" y="915060"/>
                  </a:cubicBezTo>
                  <a:close/>
                  <a:moveTo>
                    <a:pt x="219627" y="915060"/>
                  </a:moveTo>
                  <a:cubicBezTo>
                    <a:pt x="267072" y="915060"/>
                    <a:pt x="290794" y="951923"/>
                    <a:pt x="290794" y="1025647"/>
                  </a:cubicBezTo>
                  <a:cubicBezTo>
                    <a:pt x="290794" y="1062159"/>
                    <a:pt x="284098" y="1090019"/>
                    <a:pt x="270708" y="1109227"/>
                  </a:cubicBezTo>
                  <a:cubicBezTo>
                    <a:pt x="257317" y="1128435"/>
                    <a:pt x="238585" y="1138040"/>
                    <a:pt x="214511" y="1138040"/>
                  </a:cubicBezTo>
                  <a:cubicBezTo>
                    <a:pt x="192043" y="1138040"/>
                    <a:pt x="174514" y="1128862"/>
                    <a:pt x="161926" y="1110506"/>
                  </a:cubicBezTo>
                  <a:cubicBezTo>
                    <a:pt x="149337" y="1092150"/>
                    <a:pt x="143043" y="1065619"/>
                    <a:pt x="143043" y="1030914"/>
                  </a:cubicBezTo>
                  <a:cubicBezTo>
                    <a:pt x="143043" y="992797"/>
                    <a:pt x="149613" y="963959"/>
                    <a:pt x="162753" y="944399"/>
                  </a:cubicBezTo>
                  <a:cubicBezTo>
                    <a:pt x="175894" y="924840"/>
                    <a:pt x="194851" y="915060"/>
                    <a:pt x="219627" y="915060"/>
                  </a:cubicBezTo>
                  <a:close/>
                  <a:moveTo>
                    <a:pt x="6518038" y="660590"/>
                  </a:moveTo>
                  <a:cubicBezTo>
                    <a:pt x="6491858" y="660590"/>
                    <a:pt x="6478768" y="689428"/>
                    <a:pt x="6478768" y="747104"/>
                  </a:cubicBezTo>
                  <a:cubicBezTo>
                    <a:pt x="6478768" y="801068"/>
                    <a:pt x="6491607" y="828051"/>
                    <a:pt x="6517286" y="828051"/>
                  </a:cubicBezTo>
                  <a:cubicBezTo>
                    <a:pt x="6542563" y="828051"/>
                    <a:pt x="6555201" y="800617"/>
                    <a:pt x="6555201" y="745750"/>
                  </a:cubicBezTo>
                  <a:cubicBezTo>
                    <a:pt x="6555201" y="688976"/>
                    <a:pt x="6542813" y="660590"/>
                    <a:pt x="6518038" y="660590"/>
                  </a:cubicBezTo>
                  <a:close/>
                  <a:moveTo>
                    <a:pt x="6147002" y="660590"/>
                  </a:moveTo>
                  <a:cubicBezTo>
                    <a:pt x="6120822" y="660590"/>
                    <a:pt x="6107732" y="689428"/>
                    <a:pt x="6107732" y="747104"/>
                  </a:cubicBezTo>
                  <a:cubicBezTo>
                    <a:pt x="6107732" y="801068"/>
                    <a:pt x="6120571" y="828051"/>
                    <a:pt x="6146250" y="828051"/>
                  </a:cubicBezTo>
                  <a:cubicBezTo>
                    <a:pt x="6171527" y="828051"/>
                    <a:pt x="6184165" y="800617"/>
                    <a:pt x="6184165" y="745750"/>
                  </a:cubicBezTo>
                  <a:cubicBezTo>
                    <a:pt x="6184165" y="688976"/>
                    <a:pt x="6171777" y="660590"/>
                    <a:pt x="6147002" y="660590"/>
                  </a:cubicBezTo>
                  <a:close/>
                  <a:moveTo>
                    <a:pt x="462611" y="660590"/>
                  </a:moveTo>
                  <a:cubicBezTo>
                    <a:pt x="436431" y="660590"/>
                    <a:pt x="423341" y="689428"/>
                    <a:pt x="423341" y="747104"/>
                  </a:cubicBezTo>
                  <a:cubicBezTo>
                    <a:pt x="423341" y="801068"/>
                    <a:pt x="436180" y="828051"/>
                    <a:pt x="461859" y="828051"/>
                  </a:cubicBezTo>
                  <a:cubicBezTo>
                    <a:pt x="487136" y="828051"/>
                    <a:pt x="499774" y="800617"/>
                    <a:pt x="499774" y="745750"/>
                  </a:cubicBezTo>
                  <a:cubicBezTo>
                    <a:pt x="499774" y="688976"/>
                    <a:pt x="487387" y="660590"/>
                    <a:pt x="462611" y="660590"/>
                  </a:cubicBezTo>
                  <a:close/>
                  <a:moveTo>
                    <a:pt x="87031" y="660590"/>
                  </a:moveTo>
                  <a:cubicBezTo>
                    <a:pt x="60851" y="660590"/>
                    <a:pt x="47761" y="689428"/>
                    <a:pt x="47761" y="747104"/>
                  </a:cubicBezTo>
                  <a:cubicBezTo>
                    <a:pt x="47761" y="801068"/>
                    <a:pt x="60600" y="828051"/>
                    <a:pt x="86279" y="828051"/>
                  </a:cubicBezTo>
                  <a:cubicBezTo>
                    <a:pt x="111556" y="828051"/>
                    <a:pt x="124194" y="800617"/>
                    <a:pt x="124194" y="745750"/>
                  </a:cubicBezTo>
                  <a:cubicBezTo>
                    <a:pt x="124194" y="688976"/>
                    <a:pt x="111807" y="660590"/>
                    <a:pt x="87031" y="660590"/>
                  </a:cubicBezTo>
                  <a:close/>
                  <a:moveTo>
                    <a:pt x="6519693" y="632755"/>
                  </a:moveTo>
                  <a:cubicBezTo>
                    <a:pt x="6567138" y="632755"/>
                    <a:pt x="6590860" y="669618"/>
                    <a:pt x="6590860" y="743343"/>
                  </a:cubicBezTo>
                  <a:cubicBezTo>
                    <a:pt x="6590860" y="779854"/>
                    <a:pt x="6584165" y="807714"/>
                    <a:pt x="6570774" y="826922"/>
                  </a:cubicBezTo>
                  <a:cubicBezTo>
                    <a:pt x="6557383" y="846130"/>
                    <a:pt x="6538651" y="855735"/>
                    <a:pt x="6514577" y="855735"/>
                  </a:cubicBezTo>
                  <a:cubicBezTo>
                    <a:pt x="6492109" y="855735"/>
                    <a:pt x="6474580" y="846557"/>
                    <a:pt x="6461992" y="828201"/>
                  </a:cubicBezTo>
                  <a:cubicBezTo>
                    <a:pt x="6449403" y="809845"/>
                    <a:pt x="6443109" y="783314"/>
                    <a:pt x="6443109" y="748609"/>
                  </a:cubicBezTo>
                  <a:cubicBezTo>
                    <a:pt x="6443109" y="710493"/>
                    <a:pt x="6449679" y="681654"/>
                    <a:pt x="6462819" y="662094"/>
                  </a:cubicBezTo>
                  <a:cubicBezTo>
                    <a:pt x="6475960" y="642535"/>
                    <a:pt x="6494917" y="632755"/>
                    <a:pt x="6519693" y="632755"/>
                  </a:cubicBezTo>
                  <a:close/>
                  <a:moveTo>
                    <a:pt x="6148657" y="632755"/>
                  </a:moveTo>
                  <a:cubicBezTo>
                    <a:pt x="6196102" y="632755"/>
                    <a:pt x="6219824" y="669618"/>
                    <a:pt x="6219824" y="743343"/>
                  </a:cubicBezTo>
                  <a:cubicBezTo>
                    <a:pt x="6219824" y="779854"/>
                    <a:pt x="6213129" y="807714"/>
                    <a:pt x="6199738" y="826922"/>
                  </a:cubicBezTo>
                  <a:cubicBezTo>
                    <a:pt x="6186347" y="846130"/>
                    <a:pt x="6167615" y="855735"/>
                    <a:pt x="6143541" y="855735"/>
                  </a:cubicBezTo>
                  <a:cubicBezTo>
                    <a:pt x="6121073" y="855735"/>
                    <a:pt x="6103544" y="846557"/>
                    <a:pt x="6090956" y="828201"/>
                  </a:cubicBezTo>
                  <a:cubicBezTo>
                    <a:pt x="6078367" y="809845"/>
                    <a:pt x="6072073" y="783314"/>
                    <a:pt x="6072073" y="748609"/>
                  </a:cubicBezTo>
                  <a:cubicBezTo>
                    <a:pt x="6072073" y="710493"/>
                    <a:pt x="6078643" y="681654"/>
                    <a:pt x="6091783" y="662094"/>
                  </a:cubicBezTo>
                  <a:cubicBezTo>
                    <a:pt x="6104924" y="642535"/>
                    <a:pt x="6123881" y="632755"/>
                    <a:pt x="6148657" y="632755"/>
                  </a:cubicBezTo>
                  <a:close/>
                  <a:moveTo>
                    <a:pt x="464267" y="632755"/>
                  </a:moveTo>
                  <a:cubicBezTo>
                    <a:pt x="511712" y="632755"/>
                    <a:pt x="535434" y="669618"/>
                    <a:pt x="535434" y="743343"/>
                  </a:cubicBezTo>
                  <a:cubicBezTo>
                    <a:pt x="535434" y="779854"/>
                    <a:pt x="528738" y="807714"/>
                    <a:pt x="515347" y="826922"/>
                  </a:cubicBezTo>
                  <a:cubicBezTo>
                    <a:pt x="501957" y="846130"/>
                    <a:pt x="483224" y="855735"/>
                    <a:pt x="459150" y="855735"/>
                  </a:cubicBezTo>
                  <a:cubicBezTo>
                    <a:pt x="436683" y="855735"/>
                    <a:pt x="419153" y="846557"/>
                    <a:pt x="406565" y="828201"/>
                  </a:cubicBezTo>
                  <a:cubicBezTo>
                    <a:pt x="393977" y="809845"/>
                    <a:pt x="387682" y="783314"/>
                    <a:pt x="387682" y="748609"/>
                  </a:cubicBezTo>
                  <a:cubicBezTo>
                    <a:pt x="387682" y="710493"/>
                    <a:pt x="394254" y="681654"/>
                    <a:pt x="407392" y="662094"/>
                  </a:cubicBezTo>
                  <a:cubicBezTo>
                    <a:pt x="420533" y="642535"/>
                    <a:pt x="439490" y="632755"/>
                    <a:pt x="464267" y="632755"/>
                  </a:cubicBezTo>
                  <a:close/>
                  <a:moveTo>
                    <a:pt x="88686" y="632755"/>
                  </a:moveTo>
                  <a:cubicBezTo>
                    <a:pt x="136131" y="632755"/>
                    <a:pt x="159853" y="669618"/>
                    <a:pt x="159853" y="743343"/>
                  </a:cubicBezTo>
                  <a:cubicBezTo>
                    <a:pt x="159853" y="779854"/>
                    <a:pt x="153158" y="807714"/>
                    <a:pt x="139767" y="826922"/>
                  </a:cubicBezTo>
                  <a:cubicBezTo>
                    <a:pt x="126376" y="846130"/>
                    <a:pt x="107644" y="855735"/>
                    <a:pt x="83570" y="855735"/>
                  </a:cubicBezTo>
                  <a:cubicBezTo>
                    <a:pt x="61102" y="855735"/>
                    <a:pt x="43573" y="846557"/>
                    <a:pt x="30985" y="828201"/>
                  </a:cubicBezTo>
                  <a:cubicBezTo>
                    <a:pt x="18397" y="809845"/>
                    <a:pt x="12102" y="783314"/>
                    <a:pt x="12102" y="748609"/>
                  </a:cubicBezTo>
                  <a:cubicBezTo>
                    <a:pt x="12102" y="710493"/>
                    <a:pt x="18673" y="681654"/>
                    <a:pt x="31812" y="662094"/>
                  </a:cubicBezTo>
                  <a:cubicBezTo>
                    <a:pt x="44953" y="642535"/>
                    <a:pt x="63910" y="632755"/>
                    <a:pt x="88686" y="632755"/>
                  </a:cubicBezTo>
                  <a:close/>
                  <a:moveTo>
                    <a:pt x="6288641" y="356082"/>
                  </a:moveTo>
                  <a:cubicBezTo>
                    <a:pt x="6262461" y="356082"/>
                    <a:pt x="6249371" y="384920"/>
                    <a:pt x="6249371" y="442596"/>
                  </a:cubicBezTo>
                  <a:cubicBezTo>
                    <a:pt x="6249371" y="496560"/>
                    <a:pt x="6262210" y="523543"/>
                    <a:pt x="6287889" y="523543"/>
                  </a:cubicBezTo>
                  <a:cubicBezTo>
                    <a:pt x="6313166" y="523543"/>
                    <a:pt x="6325804" y="496109"/>
                    <a:pt x="6325804" y="441242"/>
                  </a:cubicBezTo>
                  <a:cubicBezTo>
                    <a:pt x="6325804" y="384468"/>
                    <a:pt x="6313416" y="356082"/>
                    <a:pt x="6288641" y="356082"/>
                  </a:cubicBezTo>
                  <a:close/>
                  <a:moveTo>
                    <a:pt x="225230" y="356082"/>
                  </a:moveTo>
                  <a:cubicBezTo>
                    <a:pt x="199050" y="356082"/>
                    <a:pt x="185960" y="384920"/>
                    <a:pt x="185960" y="442596"/>
                  </a:cubicBezTo>
                  <a:cubicBezTo>
                    <a:pt x="185960" y="496560"/>
                    <a:pt x="198800" y="523543"/>
                    <a:pt x="224478" y="523543"/>
                  </a:cubicBezTo>
                  <a:cubicBezTo>
                    <a:pt x="249756" y="523543"/>
                    <a:pt x="262394" y="496109"/>
                    <a:pt x="262394" y="441242"/>
                  </a:cubicBezTo>
                  <a:cubicBezTo>
                    <a:pt x="262394" y="384468"/>
                    <a:pt x="250005" y="356082"/>
                    <a:pt x="225230" y="356082"/>
                  </a:cubicBezTo>
                  <a:close/>
                  <a:moveTo>
                    <a:pt x="6290296" y="328247"/>
                  </a:moveTo>
                  <a:cubicBezTo>
                    <a:pt x="6337741" y="328247"/>
                    <a:pt x="6361463" y="365110"/>
                    <a:pt x="6361463" y="438834"/>
                  </a:cubicBezTo>
                  <a:cubicBezTo>
                    <a:pt x="6361463" y="475346"/>
                    <a:pt x="6354768" y="503206"/>
                    <a:pt x="6341377" y="522414"/>
                  </a:cubicBezTo>
                  <a:cubicBezTo>
                    <a:pt x="6327986" y="541622"/>
                    <a:pt x="6309254" y="551227"/>
                    <a:pt x="6285180" y="551227"/>
                  </a:cubicBezTo>
                  <a:cubicBezTo>
                    <a:pt x="6262712" y="551227"/>
                    <a:pt x="6245183" y="542049"/>
                    <a:pt x="6232595" y="523693"/>
                  </a:cubicBezTo>
                  <a:cubicBezTo>
                    <a:pt x="6220006" y="505337"/>
                    <a:pt x="6213712" y="478806"/>
                    <a:pt x="6213712" y="444101"/>
                  </a:cubicBezTo>
                  <a:cubicBezTo>
                    <a:pt x="6213712" y="405984"/>
                    <a:pt x="6220282" y="377146"/>
                    <a:pt x="6233422" y="357586"/>
                  </a:cubicBezTo>
                  <a:cubicBezTo>
                    <a:pt x="6246563" y="338027"/>
                    <a:pt x="6265520" y="328247"/>
                    <a:pt x="6290296" y="328247"/>
                  </a:cubicBezTo>
                  <a:close/>
                  <a:moveTo>
                    <a:pt x="226885" y="328247"/>
                  </a:moveTo>
                  <a:cubicBezTo>
                    <a:pt x="274330" y="328247"/>
                    <a:pt x="298052" y="365110"/>
                    <a:pt x="298052" y="438834"/>
                  </a:cubicBezTo>
                  <a:cubicBezTo>
                    <a:pt x="298052" y="475346"/>
                    <a:pt x="291357" y="503206"/>
                    <a:pt x="277966" y="522414"/>
                  </a:cubicBezTo>
                  <a:cubicBezTo>
                    <a:pt x="264575" y="541622"/>
                    <a:pt x="245843" y="551227"/>
                    <a:pt x="221770" y="551227"/>
                  </a:cubicBezTo>
                  <a:cubicBezTo>
                    <a:pt x="199302" y="551227"/>
                    <a:pt x="181772" y="542049"/>
                    <a:pt x="169185" y="523693"/>
                  </a:cubicBezTo>
                  <a:cubicBezTo>
                    <a:pt x="156596" y="505337"/>
                    <a:pt x="150302" y="478806"/>
                    <a:pt x="150302" y="444101"/>
                  </a:cubicBezTo>
                  <a:cubicBezTo>
                    <a:pt x="150302" y="405984"/>
                    <a:pt x="156871" y="377146"/>
                    <a:pt x="170011" y="357586"/>
                  </a:cubicBezTo>
                  <a:cubicBezTo>
                    <a:pt x="183152" y="338027"/>
                    <a:pt x="202109" y="328247"/>
                    <a:pt x="226885" y="328247"/>
                  </a:cubicBezTo>
                  <a:close/>
                  <a:moveTo>
                    <a:pt x="9615855" y="27835"/>
                  </a:moveTo>
                  <a:cubicBezTo>
                    <a:pt x="9589675" y="27835"/>
                    <a:pt x="9576585" y="56673"/>
                    <a:pt x="9576585" y="114349"/>
                  </a:cubicBezTo>
                  <a:cubicBezTo>
                    <a:pt x="9576585" y="168313"/>
                    <a:pt x="9589424" y="195295"/>
                    <a:pt x="9615103" y="195295"/>
                  </a:cubicBezTo>
                  <a:cubicBezTo>
                    <a:pt x="9640379" y="195295"/>
                    <a:pt x="9653018" y="167862"/>
                    <a:pt x="9653018" y="112995"/>
                  </a:cubicBezTo>
                  <a:cubicBezTo>
                    <a:pt x="9653018" y="56221"/>
                    <a:pt x="9640630" y="27835"/>
                    <a:pt x="9615855" y="27835"/>
                  </a:cubicBezTo>
                  <a:close/>
                  <a:moveTo>
                    <a:pt x="9255253" y="27835"/>
                  </a:moveTo>
                  <a:cubicBezTo>
                    <a:pt x="9229073" y="27835"/>
                    <a:pt x="9215983" y="56673"/>
                    <a:pt x="9215983" y="114349"/>
                  </a:cubicBezTo>
                  <a:cubicBezTo>
                    <a:pt x="9215983" y="168313"/>
                    <a:pt x="9228822" y="195295"/>
                    <a:pt x="9254501" y="195295"/>
                  </a:cubicBezTo>
                  <a:cubicBezTo>
                    <a:pt x="9279777" y="195295"/>
                    <a:pt x="9292416" y="167862"/>
                    <a:pt x="9292416" y="112995"/>
                  </a:cubicBezTo>
                  <a:cubicBezTo>
                    <a:pt x="9292416" y="56221"/>
                    <a:pt x="9280028" y="27835"/>
                    <a:pt x="9255253" y="27835"/>
                  </a:cubicBezTo>
                  <a:close/>
                  <a:moveTo>
                    <a:pt x="3561510" y="27835"/>
                  </a:moveTo>
                  <a:cubicBezTo>
                    <a:pt x="3535331" y="27835"/>
                    <a:pt x="3522241" y="56673"/>
                    <a:pt x="3522241" y="114349"/>
                  </a:cubicBezTo>
                  <a:cubicBezTo>
                    <a:pt x="3522241" y="168313"/>
                    <a:pt x="3535080" y="195295"/>
                    <a:pt x="3560758" y="195295"/>
                  </a:cubicBezTo>
                  <a:cubicBezTo>
                    <a:pt x="3586035" y="195295"/>
                    <a:pt x="3598674" y="167862"/>
                    <a:pt x="3598674" y="112995"/>
                  </a:cubicBezTo>
                  <a:cubicBezTo>
                    <a:pt x="3598674" y="56221"/>
                    <a:pt x="3586286" y="27835"/>
                    <a:pt x="3561510" y="27835"/>
                  </a:cubicBezTo>
                  <a:close/>
                  <a:moveTo>
                    <a:pt x="3196497" y="27835"/>
                  </a:moveTo>
                  <a:cubicBezTo>
                    <a:pt x="3170318" y="27835"/>
                    <a:pt x="3157228" y="56673"/>
                    <a:pt x="3157228" y="114349"/>
                  </a:cubicBezTo>
                  <a:cubicBezTo>
                    <a:pt x="3157228" y="168313"/>
                    <a:pt x="3170067" y="195295"/>
                    <a:pt x="3195745" y="195295"/>
                  </a:cubicBezTo>
                  <a:cubicBezTo>
                    <a:pt x="3221022" y="195295"/>
                    <a:pt x="3233661" y="167862"/>
                    <a:pt x="3233661" y="112995"/>
                  </a:cubicBezTo>
                  <a:cubicBezTo>
                    <a:pt x="3233661" y="56221"/>
                    <a:pt x="3221273" y="27835"/>
                    <a:pt x="3196497" y="27835"/>
                  </a:cubicBezTo>
                  <a:close/>
                  <a:moveTo>
                    <a:pt x="9617510" y="0"/>
                  </a:moveTo>
                  <a:cubicBezTo>
                    <a:pt x="9664954" y="0"/>
                    <a:pt x="9688677" y="36862"/>
                    <a:pt x="9688677" y="110587"/>
                  </a:cubicBezTo>
                  <a:cubicBezTo>
                    <a:pt x="9688677" y="147099"/>
                    <a:pt x="9681981" y="174959"/>
                    <a:pt x="9668591" y="194167"/>
                  </a:cubicBezTo>
                  <a:cubicBezTo>
                    <a:pt x="9655200" y="213375"/>
                    <a:pt x="9636468" y="222980"/>
                    <a:pt x="9612394" y="222980"/>
                  </a:cubicBezTo>
                  <a:cubicBezTo>
                    <a:pt x="9589926" y="222980"/>
                    <a:pt x="9572397" y="213802"/>
                    <a:pt x="9559809" y="195446"/>
                  </a:cubicBezTo>
                  <a:cubicBezTo>
                    <a:pt x="9547220" y="177090"/>
                    <a:pt x="9540926" y="150559"/>
                    <a:pt x="9540926" y="115854"/>
                  </a:cubicBezTo>
                  <a:cubicBezTo>
                    <a:pt x="9540926" y="77737"/>
                    <a:pt x="9547496" y="48899"/>
                    <a:pt x="9560636" y="29339"/>
                  </a:cubicBezTo>
                  <a:cubicBezTo>
                    <a:pt x="9573777" y="9780"/>
                    <a:pt x="9592734" y="0"/>
                    <a:pt x="9617510" y="0"/>
                  </a:cubicBezTo>
                  <a:close/>
                  <a:moveTo>
                    <a:pt x="9256908" y="0"/>
                  </a:moveTo>
                  <a:cubicBezTo>
                    <a:pt x="9304352" y="0"/>
                    <a:pt x="9328075" y="36862"/>
                    <a:pt x="9328075" y="110587"/>
                  </a:cubicBezTo>
                  <a:cubicBezTo>
                    <a:pt x="9328075" y="147099"/>
                    <a:pt x="9321379" y="174959"/>
                    <a:pt x="9307989" y="194167"/>
                  </a:cubicBezTo>
                  <a:cubicBezTo>
                    <a:pt x="9294598" y="213375"/>
                    <a:pt x="9275866" y="222980"/>
                    <a:pt x="9251792" y="222980"/>
                  </a:cubicBezTo>
                  <a:cubicBezTo>
                    <a:pt x="9229324" y="222980"/>
                    <a:pt x="9211795" y="213802"/>
                    <a:pt x="9199207" y="195446"/>
                  </a:cubicBezTo>
                  <a:cubicBezTo>
                    <a:pt x="9186618" y="177090"/>
                    <a:pt x="9180324" y="150559"/>
                    <a:pt x="9180324" y="115854"/>
                  </a:cubicBezTo>
                  <a:cubicBezTo>
                    <a:pt x="9180324" y="77737"/>
                    <a:pt x="9186894" y="48899"/>
                    <a:pt x="9200034" y="29339"/>
                  </a:cubicBezTo>
                  <a:cubicBezTo>
                    <a:pt x="9213175" y="9780"/>
                    <a:pt x="9232132" y="0"/>
                    <a:pt x="9256908" y="0"/>
                  </a:cubicBezTo>
                  <a:close/>
                  <a:moveTo>
                    <a:pt x="3563165" y="0"/>
                  </a:moveTo>
                  <a:cubicBezTo>
                    <a:pt x="3610610" y="0"/>
                    <a:pt x="3634333" y="36862"/>
                    <a:pt x="3634333" y="110587"/>
                  </a:cubicBezTo>
                  <a:cubicBezTo>
                    <a:pt x="3634333" y="147099"/>
                    <a:pt x="3627637" y="174959"/>
                    <a:pt x="3614247" y="194167"/>
                  </a:cubicBezTo>
                  <a:cubicBezTo>
                    <a:pt x="3600855" y="213375"/>
                    <a:pt x="3582123" y="222980"/>
                    <a:pt x="3558050" y="222980"/>
                  </a:cubicBezTo>
                  <a:cubicBezTo>
                    <a:pt x="3535581" y="222980"/>
                    <a:pt x="3518053" y="213802"/>
                    <a:pt x="3505464" y="195446"/>
                  </a:cubicBezTo>
                  <a:cubicBezTo>
                    <a:pt x="3492876" y="177090"/>
                    <a:pt x="3486582" y="150559"/>
                    <a:pt x="3486582" y="115854"/>
                  </a:cubicBezTo>
                  <a:cubicBezTo>
                    <a:pt x="3486582" y="77737"/>
                    <a:pt x="3493152" y="48899"/>
                    <a:pt x="3506292" y="29339"/>
                  </a:cubicBezTo>
                  <a:cubicBezTo>
                    <a:pt x="3519432" y="9780"/>
                    <a:pt x="3538390" y="0"/>
                    <a:pt x="3563165" y="0"/>
                  </a:cubicBezTo>
                  <a:close/>
                  <a:moveTo>
                    <a:pt x="3198152" y="0"/>
                  </a:moveTo>
                  <a:cubicBezTo>
                    <a:pt x="3245597" y="0"/>
                    <a:pt x="3269320" y="36862"/>
                    <a:pt x="3269320" y="110587"/>
                  </a:cubicBezTo>
                  <a:cubicBezTo>
                    <a:pt x="3269320" y="147099"/>
                    <a:pt x="3262624" y="174959"/>
                    <a:pt x="3249234" y="194167"/>
                  </a:cubicBezTo>
                  <a:cubicBezTo>
                    <a:pt x="3235842" y="213375"/>
                    <a:pt x="3217110" y="222980"/>
                    <a:pt x="3193037" y="222980"/>
                  </a:cubicBezTo>
                  <a:cubicBezTo>
                    <a:pt x="3170568" y="222980"/>
                    <a:pt x="3153040" y="213802"/>
                    <a:pt x="3140451" y="195446"/>
                  </a:cubicBezTo>
                  <a:cubicBezTo>
                    <a:pt x="3127863" y="177090"/>
                    <a:pt x="3121569" y="150559"/>
                    <a:pt x="3121569" y="115854"/>
                  </a:cubicBezTo>
                  <a:cubicBezTo>
                    <a:pt x="3121569" y="77737"/>
                    <a:pt x="3128139" y="48899"/>
                    <a:pt x="3141279" y="29339"/>
                  </a:cubicBezTo>
                  <a:cubicBezTo>
                    <a:pt x="3154419" y="9780"/>
                    <a:pt x="3173377" y="0"/>
                    <a:pt x="3198152"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Freeform 18"/>
            <p:cNvSpPr/>
            <p:nvPr/>
          </p:nvSpPr>
          <p:spPr>
            <a:xfrm>
              <a:off x="34441" y="73882"/>
              <a:ext cx="12117871" cy="6072780"/>
            </a:xfrm>
            <a:custGeom>
              <a:avLst/>
              <a:gdLst>
                <a:gd name="connsiteX0" fmla="*/ 11876198 w 12117871"/>
                <a:gd name="connsiteY0" fmla="*/ 5869975 h 6072780"/>
                <a:gd name="connsiteX1" fmla="*/ 11836928 w 12117871"/>
                <a:gd name="connsiteY1" fmla="*/ 5956489 h 6072780"/>
                <a:gd name="connsiteX2" fmla="*/ 11875446 w 12117871"/>
                <a:gd name="connsiteY2" fmla="*/ 6037436 h 6072780"/>
                <a:gd name="connsiteX3" fmla="*/ 11913361 w 12117871"/>
                <a:gd name="connsiteY3" fmla="*/ 5955135 h 6072780"/>
                <a:gd name="connsiteX4" fmla="*/ 11876198 w 12117871"/>
                <a:gd name="connsiteY4" fmla="*/ 5869975 h 6072780"/>
                <a:gd name="connsiteX5" fmla="*/ 6366335 w 12117871"/>
                <a:gd name="connsiteY5" fmla="*/ 5869975 h 6072780"/>
                <a:gd name="connsiteX6" fmla="*/ 6327065 w 12117871"/>
                <a:gd name="connsiteY6" fmla="*/ 5956489 h 6072780"/>
                <a:gd name="connsiteX7" fmla="*/ 6365583 w 12117871"/>
                <a:gd name="connsiteY7" fmla="*/ 6037436 h 6072780"/>
                <a:gd name="connsiteX8" fmla="*/ 6403498 w 12117871"/>
                <a:gd name="connsiteY8" fmla="*/ 5955135 h 6072780"/>
                <a:gd name="connsiteX9" fmla="*/ 6366335 w 12117871"/>
                <a:gd name="connsiteY9" fmla="*/ 5869975 h 6072780"/>
                <a:gd name="connsiteX10" fmla="*/ 5088792 w 12117871"/>
                <a:gd name="connsiteY10" fmla="*/ 5869975 h 6072780"/>
                <a:gd name="connsiteX11" fmla="*/ 5049522 w 12117871"/>
                <a:gd name="connsiteY11" fmla="*/ 5956489 h 6072780"/>
                <a:gd name="connsiteX12" fmla="*/ 5088041 w 12117871"/>
                <a:gd name="connsiteY12" fmla="*/ 6037436 h 6072780"/>
                <a:gd name="connsiteX13" fmla="*/ 5125957 w 12117871"/>
                <a:gd name="connsiteY13" fmla="*/ 5955135 h 6072780"/>
                <a:gd name="connsiteX14" fmla="*/ 5088792 w 12117871"/>
                <a:gd name="connsiteY14" fmla="*/ 5869975 h 6072780"/>
                <a:gd name="connsiteX15" fmla="*/ 12062430 w 12117871"/>
                <a:gd name="connsiteY15" fmla="*/ 5849800 h 6072780"/>
                <a:gd name="connsiteX16" fmla="*/ 12077336 w 12117871"/>
                <a:gd name="connsiteY16" fmla="*/ 5849800 h 6072780"/>
                <a:gd name="connsiteX17" fmla="*/ 12077336 w 12117871"/>
                <a:gd name="connsiteY17" fmla="*/ 6072780 h 6072780"/>
                <a:gd name="connsiteX18" fmla="*/ 12042048 w 12117871"/>
                <a:gd name="connsiteY18" fmla="*/ 6072780 h 6072780"/>
                <a:gd name="connsiteX19" fmla="*/ 12042048 w 12117871"/>
                <a:gd name="connsiteY19" fmla="*/ 5892997 h 6072780"/>
                <a:gd name="connsiteX20" fmla="*/ 12021439 w 12117871"/>
                <a:gd name="connsiteY20" fmla="*/ 5904633 h 6072780"/>
                <a:gd name="connsiteX21" fmla="*/ 11996266 w 12117871"/>
                <a:gd name="connsiteY21" fmla="*/ 5913074 h 6072780"/>
                <a:gd name="connsiteX22" fmla="*/ 11996266 w 12117871"/>
                <a:gd name="connsiteY22" fmla="*/ 5882958 h 6072780"/>
                <a:gd name="connsiteX23" fmla="*/ 12013301 w 12117871"/>
                <a:gd name="connsiteY23" fmla="*/ 5876874 h 6072780"/>
                <a:gd name="connsiteX24" fmla="*/ 12029500 w 12117871"/>
                <a:gd name="connsiteY24" fmla="*/ 5869725 h 6072780"/>
                <a:gd name="connsiteX25" fmla="*/ 12045623 w 12117871"/>
                <a:gd name="connsiteY25" fmla="*/ 5860904 h 6072780"/>
                <a:gd name="connsiteX26" fmla="*/ 12062430 w 12117871"/>
                <a:gd name="connsiteY26" fmla="*/ 5849800 h 6072780"/>
                <a:gd name="connsiteX27" fmla="*/ 10143427 w 12117871"/>
                <a:gd name="connsiteY27" fmla="*/ 5849800 h 6072780"/>
                <a:gd name="connsiteX28" fmla="*/ 10158333 w 12117871"/>
                <a:gd name="connsiteY28" fmla="*/ 5849800 h 6072780"/>
                <a:gd name="connsiteX29" fmla="*/ 10158333 w 12117871"/>
                <a:gd name="connsiteY29" fmla="*/ 6072780 h 6072780"/>
                <a:gd name="connsiteX30" fmla="*/ 10123045 w 12117871"/>
                <a:gd name="connsiteY30" fmla="*/ 6072780 h 6072780"/>
                <a:gd name="connsiteX31" fmla="*/ 10123045 w 12117871"/>
                <a:gd name="connsiteY31" fmla="*/ 5892997 h 6072780"/>
                <a:gd name="connsiteX32" fmla="*/ 10102436 w 12117871"/>
                <a:gd name="connsiteY32" fmla="*/ 5904633 h 6072780"/>
                <a:gd name="connsiteX33" fmla="*/ 10077263 w 12117871"/>
                <a:gd name="connsiteY33" fmla="*/ 5913074 h 6072780"/>
                <a:gd name="connsiteX34" fmla="*/ 10077263 w 12117871"/>
                <a:gd name="connsiteY34" fmla="*/ 5882958 h 6072780"/>
                <a:gd name="connsiteX35" fmla="*/ 10094298 w 12117871"/>
                <a:gd name="connsiteY35" fmla="*/ 5876874 h 6072780"/>
                <a:gd name="connsiteX36" fmla="*/ 10110497 w 12117871"/>
                <a:gd name="connsiteY36" fmla="*/ 5869725 h 6072780"/>
                <a:gd name="connsiteX37" fmla="*/ 10126620 w 12117871"/>
                <a:gd name="connsiteY37" fmla="*/ 5860904 h 6072780"/>
                <a:gd name="connsiteX38" fmla="*/ 10143427 w 12117871"/>
                <a:gd name="connsiteY38" fmla="*/ 5849800 h 6072780"/>
                <a:gd name="connsiteX39" fmla="*/ 9254256 w 12117871"/>
                <a:gd name="connsiteY39" fmla="*/ 5849800 h 6072780"/>
                <a:gd name="connsiteX40" fmla="*/ 9269162 w 12117871"/>
                <a:gd name="connsiteY40" fmla="*/ 5849800 h 6072780"/>
                <a:gd name="connsiteX41" fmla="*/ 9269162 w 12117871"/>
                <a:gd name="connsiteY41" fmla="*/ 6072780 h 6072780"/>
                <a:gd name="connsiteX42" fmla="*/ 9233874 w 12117871"/>
                <a:gd name="connsiteY42" fmla="*/ 6072780 h 6072780"/>
                <a:gd name="connsiteX43" fmla="*/ 9233874 w 12117871"/>
                <a:gd name="connsiteY43" fmla="*/ 5892997 h 6072780"/>
                <a:gd name="connsiteX44" fmla="*/ 9213265 w 12117871"/>
                <a:gd name="connsiteY44" fmla="*/ 5904633 h 6072780"/>
                <a:gd name="connsiteX45" fmla="*/ 9188092 w 12117871"/>
                <a:gd name="connsiteY45" fmla="*/ 5913074 h 6072780"/>
                <a:gd name="connsiteX46" fmla="*/ 9188092 w 12117871"/>
                <a:gd name="connsiteY46" fmla="*/ 5882958 h 6072780"/>
                <a:gd name="connsiteX47" fmla="*/ 9205127 w 12117871"/>
                <a:gd name="connsiteY47" fmla="*/ 5876874 h 6072780"/>
                <a:gd name="connsiteX48" fmla="*/ 9221326 w 12117871"/>
                <a:gd name="connsiteY48" fmla="*/ 5869725 h 6072780"/>
                <a:gd name="connsiteX49" fmla="*/ 9237449 w 12117871"/>
                <a:gd name="connsiteY49" fmla="*/ 5860904 h 6072780"/>
                <a:gd name="connsiteX50" fmla="*/ 9254256 w 12117871"/>
                <a:gd name="connsiteY50" fmla="*/ 5849800 h 6072780"/>
                <a:gd name="connsiteX51" fmla="*/ 7015147 w 12117871"/>
                <a:gd name="connsiteY51" fmla="*/ 5849800 h 6072780"/>
                <a:gd name="connsiteX52" fmla="*/ 7030053 w 12117871"/>
                <a:gd name="connsiteY52" fmla="*/ 5849800 h 6072780"/>
                <a:gd name="connsiteX53" fmla="*/ 7030053 w 12117871"/>
                <a:gd name="connsiteY53" fmla="*/ 6072780 h 6072780"/>
                <a:gd name="connsiteX54" fmla="*/ 6994765 w 12117871"/>
                <a:gd name="connsiteY54" fmla="*/ 6072780 h 6072780"/>
                <a:gd name="connsiteX55" fmla="*/ 6994765 w 12117871"/>
                <a:gd name="connsiteY55" fmla="*/ 5892997 h 6072780"/>
                <a:gd name="connsiteX56" fmla="*/ 6974156 w 12117871"/>
                <a:gd name="connsiteY56" fmla="*/ 5904633 h 6072780"/>
                <a:gd name="connsiteX57" fmla="*/ 6948983 w 12117871"/>
                <a:gd name="connsiteY57" fmla="*/ 5913074 h 6072780"/>
                <a:gd name="connsiteX58" fmla="*/ 6948983 w 12117871"/>
                <a:gd name="connsiteY58" fmla="*/ 5882958 h 6072780"/>
                <a:gd name="connsiteX59" fmla="*/ 6966018 w 12117871"/>
                <a:gd name="connsiteY59" fmla="*/ 5876874 h 6072780"/>
                <a:gd name="connsiteX60" fmla="*/ 6982217 w 12117871"/>
                <a:gd name="connsiteY60" fmla="*/ 5869725 h 6072780"/>
                <a:gd name="connsiteX61" fmla="*/ 6998340 w 12117871"/>
                <a:gd name="connsiteY61" fmla="*/ 5860904 h 6072780"/>
                <a:gd name="connsiteX62" fmla="*/ 7015147 w 12117871"/>
                <a:gd name="connsiteY62" fmla="*/ 5849800 h 6072780"/>
                <a:gd name="connsiteX63" fmla="*/ 4694968 w 12117871"/>
                <a:gd name="connsiteY63" fmla="*/ 5849800 h 6072780"/>
                <a:gd name="connsiteX64" fmla="*/ 4709876 w 12117871"/>
                <a:gd name="connsiteY64" fmla="*/ 5849800 h 6072780"/>
                <a:gd name="connsiteX65" fmla="*/ 4709876 w 12117871"/>
                <a:gd name="connsiteY65" fmla="*/ 6072780 h 6072780"/>
                <a:gd name="connsiteX66" fmla="*/ 4674589 w 12117871"/>
                <a:gd name="connsiteY66" fmla="*/ 6072780 h 6072780"/>
                <a:gd name="connsiteX67" fmla="*/ 4674589 w 12117871"/>
                <a:gd name="connsiteY67" fmla="*/ 5892997 h 6072780"/>
                <a:gd name="connsiteX68" fmla="*/ 4653978 w 12117871"/>
                <a:gd name="connsiteY68" fmla="*/ 5904633 h 6072780"/>
                <a:gd name="connsiteX69" fmla="*/ 4628805 w 12117871"/>
                <a:gd name="connsiteY69" fmla="*/ 5913074 h 6072780"/>
                <a:gd name="connsiteX70" fmla="*/ 4628805 w 12117871"/>
                <a:gd name="connsiteY70" fmla="*/ 5882958 h 6072780"/>
                <a:gd name="connsiteX71" fmla="*/ 4645841 w 12117871"/>
                <a:gd name="connsiteY71" fmla="*/ 5876874 h 6072780"/>
                <a:gd name="connsiteX72" fmla="*/ 4662040 w 12117871"/>
                <a:gd name="connsiteY72" fmla="*/ 5869725 h 6072780"/>
                <a:gd name="connsiteX73" fmla="*/ 4678162 w 12117871"/>
                <a:gd name="connsiteY73" fmla="*/ 5860904 h 6072780"/>
                <a:gd name="connsiteX74" fmla="*/ 4694968 w 12117871"/>
                <a:gd name="connsiteY74" fmla="*/ 5849800 h 6072780"/>
                <a:gd name="connsiteX75" fmla="*/ 3158682 w 12117871"/>
                <a:gd name="connsiteY75" fmla="*/ 5849800 h 6072780"/>
                <a:gd name="connsiteX76" fmla="*/ 3173587 w 12117871"/>
                <a:gd name="connsiteY76" fmla="*/ 5849800 h 6072780"/>
                <a:gd name="connsiteX77" fmla="*/ 3173587 w 12117871"/>
                <a:gd name="connsiteY77" fmla="*/ 6072780 h 6072780"/>
                <a:gd name="connsiteX78" fmla="*/ 3138299 w 12117871"/>
                <a:gd name="connsiteY78" fmla="*/ 6072780 h 6072780"/>
                <a:gd name="connsiteX79" fmla="*/ 3138299 w 12117871"/>
                <a:gd name="connsiteY79" fmla="*/ 5892997 h 6072780"/>
                <a:gd name="connsiteX80" fmla="*/ 3117690 w 12117871"/>
                <a:gd name="connsiteY80" fmla="*/ 5904633 h 6072780"/>
                <a:gd name="connsiteX81" fmla="*/ 3092517 w 12117871"/>
                <a:gd name="connsiteY81" fmla="*/ 5913074 h 6072780"/>
                <a:gd name="connsiteX82" fmla="*/ 3092517 w 12117871"/>
                <a:gd name="connsiteY82" fmla="*/ 5882958 h 6072780"/>
                <a:gd name="connsiteX83" fmla="*/ 3109553 w 12117871"/>
                <a:gd name="connsiteY83" fmla="*/ 5876874 h 6072780"/>
                <a:gd name="connsiteX84" fmla="*/ 3125751 w 12117871"/>
                <a:gd name="connsiteY84" fmla="*/ 5869725 h 6072780"/>
                <a:gd name="connsiteX85" fmla="*/ 3141875 w 12117871"/>
                <a:gd name="connsiteY85" fmla="*/ 5860904 h 6072780"/>
                <a:gd name="connsiteX86" fmla="*/ 3158682 w 12117871"/>
                <a:gd name="connsiteY86" fmla="*/ 5849800 h 6072780"/>
                <a:gd name="connsiteX87" fmla="*/ 2489154 w 12117871"/>
                <a:gd name="connsiteY87" fmla="*/ 5849800 h 6072780"/>
                <a:gd name="connsiteX88" fmla="*/ 2504060 w 12117871"/>
                <a:gd name="connsiteY88" fmla="*/ 5849800 h 6072780"/>
                <a:gd name="connsiteX89" fmla="*/ 2504060 w 12117871"/>
                <a:gd name="connsiteY89" fmla="*/ 6072780 h 6072780"/>
                <a:gd name="connsiteX90" fmla="*/ 2468772 w 12117871"/>
                <a:gd name="connsiteY90" fmla="*/ 6072780 h 6072780"/>
                <a:gd name="connsiteX91" fmla="*/ 2468772 w 12117871"/>
                <a:gd name="connsiteY91" fmla="*/ 5892997 h 6072780"/>
                <a:gd name="connsiteX92" fmla="*/ 2448163 w 12117871"/>
                <a:gd name="connsiteY92" fmla="*/ 5904633 h 6072780"/>
                <a:gd name="connsiteX93" fmla="*/ 2422990 w 12117871"/>
                <a:gd name="connsiteY93" fmla="*/ 5913074 h 6072780"/>
                <a:gd name="connsiteX94" fmla="*/ 2422990 w 12117871"/>
                <a:gd name="connsiteY94" fmla="*/ 5882958 h 6072780"/>
                <a:gd name="connsiteX95" fmla="*/ 2440025 w 12117871"/>
                <a:gd name="connsiteY95" fmla="*/ 5876874 h 6072780"/>
                <a:gd name="connsiteX96" fmla="*/ 2456224 w 12117871"/>
                <a:gd name="connsiteY96" fmla="*/ 5869725 h 6072780"/>
                <a:gd name="connsiteX97" fmla="*/ 2472346 w 12117871"/>
                <a:gd name="connsiteY97" fmla="*/ 5860904 h 6072780"/>
                <a:gd name="connsiteX98" fmla="*/ 2489154 w 12117871"/>
                <a:gd name="connsiteY98" fmla="*/ 5849800 h 6072780"/>
                <a:gd name="connsiteX99" fmla="*/ 1599916 w 12117871"/>
                <a:gd name="connsiteY99" fmla="*/ 5849800 h 6072780"/>
                <a:gd name="connsiteX100" fmla="*/ 1614822 w 12117871"/>
                <a:gd name="connsiteY100" fmla="*/ 5849800 h 6072780"/>
                <a:gd name="connsiteX101" fmla="*/ 1614822 w 12117871"/>
                <a:gd name="connsiteY101" fmla="*/ 6072780 h 6072780"/>
                <a:gd name="connsiteX102" fmla="*/ 1579534 w 12117871"/>
                <a:gd name="connsiteY102" fmla="*/ 6072780 h 6072780"/>
                <a:gd name="connsiteX103" fmla="*/ 1579534 w 12117871"/>
                <a:gd name="connsiteY103" fmla="*/ 5892997 h 6072780"/>
                <a:gd name="connsiteX104" fmla="*/ 1558925 w 12117871"/>
                <a:gd name="connsiteY104" fmla="*/ 5904633 h 6072780"/>
                <a:gd name="connsiteX105" fmla="*/ 1533752 w 12117871"/>
                <a:gd name="connsiteY105" fmla="*/ 5913074 h 6072780"/>
                <a:gd name="connsiteX106" fmla="*/ 1533752 w 12117871"/>
                <a:gd name="connsiteY106" fmla="*/ 5882958 h 6072780"/>
                <a:gd name="connsiteX107" fmla="*/ 1550787 w 12117871"/>
                <a:gd name="connsiteY107" fmla="*/ 5876874 h 6072780"/>
                <a:gd name="connsiteX108" fmla="*/ 1566986 w 12117871"/>
                <a:gd name="connsiteY108" fmla="*/ 5869725 h 6072780"/>
                <a:gd name="connsiteX109" fmla="*/ 1583109 w 12117871"/>
                <a:gd name="connsiteY109" fmla="*/ 5860904 h 6072780"/>
                <a:gd name="connsiteX110" fmla="*/ 1599916 w 12117871"/>
                <a:gd name="connsiteY110" fmla="*/ 5849800 h 6072780"/>
                <a:gd name="connsiteX111" fmla="*/ 480750 w 12117871"/>
                <a:gd name="connsiteY111" fmla="*/ 5849800 h 6072780"/>
                <a:gd name="connsiteX112" fmla="*/ 495656 w 12117871"/>
                <a:gd name="connsiteY112" fmla="*/ 5849800 h 6072780"/>
                <a:gd name="connsiteX113" fmla="*/ 495656 w 12117871"/>
                <a:gd name="connsiteY113" fmla="*/ 6072780 h 6072780"/>
                <a:gd name="connsiteX114" fmla="*/ 460368 w 12117871"/>
                <a:gd name="connsiteY114" fmla="*/ 6072780 h 6072780"/>
                <a:gd name="connsiteX115" fmla="*/ 460368 w 12117871"/>
                <a:gd name="connsiteY115" fmla="*/ 5892997 h 6072780"/>
                <a:gd name="connsiteX116" fmla="*/ 439759 w 12117871"/>
                <a:gd name="connsiteY116" fmla="*/ 5904633 h 6072780"/>
                <a:gd name="connsiteX117" fmla="*/ 414586 w 12117871"/>
                <a:gd name="connsiteY117" fmla="*/ 5913074 h 6072780"/>
                <a:gd name="connsiteX118" fmla="*/ 414586 w 12117871"/>
                <a:gd name="connsiteY118" fmla="*/ 5882958 h 6072780"/>
                <a:gd name="connsiteX119" fmla="*/ 431621 w 12117871"/>
                <a:gd name="connsiteY119" fmla="*/ 5876874 h 6072780"/>
                <a:gd name="connsiteX120" fmla="*/ 447821 w 12117871"/>
                <a:gd name="connsiteY120" fmla="*/ 5869725 h 6072780"/>
                <a:gd name="connsiteX121" fmla="*/ 463943 w 12117871"/>
                <a:gd name="connsiteY121" fmla="*/ 5860904 h 6072780"/>
                <a:gd name="connsiteX122" fmla="*/ 480750 w 12117871"/>
                <a:gd name="connsiteY122" fmla="*/ 5849800 h 6072780"/>
                <a:gd name="connsiteX123" fmla="*/ 11877853 w 12117871"/>
                <a:gd name="connsiteY123" fmla="*/ 5842140 h 6072780"/>
                <a:gd name="connsiteX124" fmla="*/ 11949020 w 12117871"/>
                <a:gd name="connsiteY124" fmla="*/ 5952728 h 6072780"/>
                <a:gd name="connsiteX125" fmla="*/ 11928934 w 12117871"/>
                <a:gd name="connsiteY125" fmla="*/ 6036307 h 6072780"/>
                <a:gd name="connsiteX126" fmla="*/ 11872737 w 12117871"/>
                <a:gd name="connsiteY126" fmla="*/ 6065120 h 6072780"/>
                <a:gd name="connsiteX127" fmla="*/ 11820152 w 12117871"/>
                <a:gd name="connsiteY127" fmla="*/ 6037586 h 6072780"/>
                <a:gd name="connsiteX128" fmla="*/ 11801269 w 12117871"/>
                <a:gd name="connsiteY128" fmla="*/ 5957994 h 6072780"/>
                <a:gd name="connsiteX129" fmla="*/ 11820979 w 12117871"/>
                <a:gd name="connsiteY129" fmla="*/ 5871480 h 6072780"/>
                <a:gd name="connsiteX130" fmla="*/ 11877853 w 12117871"/>
                <a:gd name="connsiteY130" fmla="*/ 5842140 h 6072780"/>
                <a:gd name="connsiteX131" fmla="*/ 6367990 w 12117871"/>
                <a:gd name="connsiteY131" fmla="*/ 5842140 h 6072780"/>
                <a:gd name="connsiteX132" fmla="*/ 6439157 w 12117871"/>
                <a:gd name="connsiteY132" fmla="*/ 5952728 h 6072780"/>
                <a:gd name="connsiteX133" fmla="*/ 6419071 w 12117871"/>
                <a:gd name="connsiteY133" fmla="*/ 6036307 h 6072780"/>
                <a:gd name="connsiteX134" fmla="*/ 6362874 w 12117871"/>
                <a:gd name="connsiteY134" fmla="*/ 6065120 h 6072780"/>
                <a:gd name="connsiteX135" fmla="*/ 6310289 w 12117871"/>
                <a:gd name="connsiteY135" fmla="*/ 6037586 h 6072780"/>
                <a:gd name="connsiteX136" fmla="*/ 6291406 w 12117871"/>
                <a:gd name="connsiteY136" fmla="*/ 5957994 h 6072780"/>
                <a:gd name="connsiteX137" fmla="*/ 6311116 w 12117871"/>
                <a:gd name="connsiteY137" fmla="*/ 5871480 h 6072780"/>
                <a:gd name="connsiteX138" fmla="*/ 6367990 w 12117871"/>
                <a:gd name="connsiteY138" fmla="*/ 5842140 h 6072780"/>
                <a:gd name="connsiteX139" fmla="*/ 5090447 w 12117871"/>
                <a:gd name="connsiteY139" fmla="*/ 5842140 h 6072780"/>
                <a:gd name="connsiteX140" fmla="*/ 5161614 w 12117871"/>
                <a:gd name="connsiteY140" fmla="*/ 5952728 h 6072780"/>
                <a:gd name="connsiteX141" fmla="*/ 5141528 w 12117871"/>
                <a:gd name="connsiteY141" fmla="*/ 6036307 h 6072780"/>
                <a:gd name="connsiteX142" fmla="*/ 5085331 w 12117871"/>
                <a:gd name="connsiteY142" fmla="*/ 6065120 h 6072780"/>
                <a:gd name="connsiteX143" fmla="*/ 5032746 w 12117871"/>
                <a:gd name="connsiteY143" fmla="*/ 6037586 h 6072780"/>
                <a:gd name="connsiteX144" fmla="*/ 5013863 w 12117871"/>
                <a:gd name="connsiteY144" fmla="*/ 5957994 h 6072780"/>
                <a:gd name="connsiteX145" fmla="*/ 5033573 w 12117871"/>
                <a:gd name="connsiteY145" fmla="*/ 5871480 h 6072780"/>
                <a:gd name="connsiteX146" fmla="*/ 5090447 w 12117871"/>
                <a:gd name="connsiteY146" fmla="*/ 5842140 h 6072780"/>
                <a:gd name="connsiteX147" fmla="*/ 11874294 w 12117871"/>
                <a:gd name="connsiteY147" fmla="*/ 5532345 h 6072780"/>
                <a:gd name="connsiteX148" fmla="*/ 11835024 w 12117871"/>
                <a:gd name="connsiteY148" fmla="*/ 5618858 h 6072780"/>
                <a:gd name="connsiteX149" fmla="*/ 11873542 w 12117871"/>
                <a:gd name="connsiteY149" fmla="*/ 5699805 h 6072780"/>
                <a:gd name="connsiteX150" fmla="*/ 11911457 w 12117871"/>
                <a:gd name="connsiteY150" fmla="*/ 5617504 h 6072780"/>
                <a:gd name="connsiteX151" fmla="*/ 11874294 w 12117871"/>
                <a:gd name="connsiteY151" fmla="*/ 5532345 h 6072780"/>
                <a:gd name="connsiteX152" fmla="*/ 9936214 w 12117871"/>
                <a:gd name="connsiteY152" fmla="*/ 5532345 h 6072780"/>
                <a:gd name="connsiteX153" fmla="*/ 9896944 w 12117871"/>
                <a:gd name="connsiteY153" fmla="*/ 5618859 h 6072780"/>
                <a:gd name="connsiteX154" fmla="*/ 9935462 w 12117871"/>
                <a:gd name="connsiteY154" fmla="*/ 5699806 h 6072780"/>
                <a:gd name="connsiteX155" fmla="*/ 9973377 w 12117871"/>
                <a:gd name="connsiteY155" fmla="*/ 5617505 h 6072780"/>
                <a:gd name="connsiteX156" fmla="*/ 9936214 w 12117871"/>
                <a:gd name="connsiteY156" fmla="*/ 5532345 h 6072780"/>
                <a:gd name="connsiteX157" fmla="*/ 6366335 w 12117871"/>
                <a:gd name="connsiteY157" fmla="*/ 5532345 h 6072780"/>
                <a:gd name="connsiteX158" fmla="*/ 6327065 w 12117871"/>
                <a:gd name="connsiteY158" fmla="*/ 5618858 h 6072780"/>
                <a:gd name="connsiteX159" fmla="*/ 6365583 w 12117871"/>
                <a:gd name="connsiteY159" fmla="*/ 5699805 h 6072780"/>
                <a:gd name="connsiteX160" fmla="*/ 6403498 w 12117871"/>
                <a:gd name="connsiteY160" fmla="*/ 5617504 h 6072780"/>
                <a:gd name="connsiteX161" fmla="*/ 6366335 w 12117871"/>
                <a:gd name="connsiteY161" fmla="*/ 5532345 h 6072780"/>
                <a:gd name="connsiteX162" fmla="*/ 5088792 w 12117871"/>
                <a:gd name="connsiteY162" fmla="*/ 5532345 h 6072780"/>
                <a:gd name="connsiteX163" fmla="*/ 5049522 w 12117871"/>
                <a:gd name="connsiteY163" fmla="*/ 5618858 h 6072780"/>
                <a:gd name="connsiteX164" fmla="*/ 5088041 w 12117871"/>
                <a:gd name="connsiteY164" fmla="*/ 5699805 h 6072780"/>
                <a:gd name="connsiteX165" fmla="*/ 5125957 w 12117871"/>
                <a:gd name="connsiteY165" fmla="*/ 5617504 h 6072780"/>
                <a:gd name="connsiteX166" fmla="*/ 5088792 w 12117871"/>
                <a:gd name="connsiteY166" fmla="*/ 5532345 h 6072780"/>
                <a:gd name="connsiteX167" fmla="*/ 11875949 w 12117871"/>
                <a:gd name="connsiteY167" fmla="*/ 5504510 h 6072780"/>
                <a:gd name="connsiteX168" fmla="*/ 11947116 w 12117871"/>
                <a:gd name="connsiteY168" fmla="*/ 5615097 h 6072780"/>
                <a:gd name="connsiteX169" fmla="*/ 11927030 w 12117871"/>
                <a:gd name="connsiteY169" fmla="*/ 5698677 h 6072780"/>
                <a:gd name="connsiteX170" fmla="*/ 11870833 w 12117871"/>
                <a:gd name="connsiteY170" fmla="*/ 5727490 h 6072780"/>
                <a:gd name="connsiteX171" fmla="*/ 11818248 w 12117871"/>
                <a:gd name="connsiteY171" fmla="*/ 5699956 h 6072780"/>
                <a:gd name="connsiteX172" fmla="*/ 11799365 w 12117871"/>
                <a:gd name="connsiteY172" fmla="*/ 5620363 h 6072780"/>
                <a:gd name="connsiteX173" fmla="*/ 11819075 w 12117871"/>
                <a:gd name="connsiteY173" fmla="*/ 5533849 h 6072780"/>
                <a:gd name="connsiteX174" fmla="*/ 11875949 w 12117871"/>
                <a:gd name="connsiteY174" fmla="*/ 5504510 h 6072780"/>
                <a:gd name="connsiteX175" fmla="*/ 9937869 w 12117871"/>
                <a:gd name="connsiteY175" fmla="*/ 5504510 h 6072780"/>
                <a:gd name="connsiteX176" fmla="*/ 10009036 w 12117871"/>
                <a:gd name="connsiteY176" fmla="*/ 5615098 h 6072780"/>
                <a:gd name="connsiteX177" fmla="*/ 9988950 w 12117871"/>
                <a:gd name="connsiteY177" fmla="*/ 5698677 h 6072780"/>
                <a:gd name="connsiteX178" fmla="*/ 9932753 w 12117871"/>
                <a:gd name="connsiteY178" fmla="*/ 5727490 h 6072780"/>
                <a:gd name="connsiteX179" fmla="*/ 9880168 w 12117871"/>
                <a:gd name="connsiteY179" fmla="*/ 5699956 h 6072780"/>
                <a:gd name="connsiteX180" fmla="*/ 9861285 w 12117871"/>
                <a:gd name="connsiteY180" fmla="*/ 5620364 h 6072780"/>
                <a:gd name="connsiteX181" fmla="*/ 9880995 w 12117871"/>
                <a:gd name="connsiteY181" fmla="*/ 5533850 h 6072780"/>
                <a:gd name="connsiteX182" fmla="*/ 9937869 w 12117871"/>
                <a:gd name="connsiteY182" fmla="*/ 5504510 h 6072780"/>
                <a:gd name="connsiteX183" fmla="*/ 6367990 w 12117871"/>
                <a:gd name="connsiteY183" fmla="*/ 5504510 h 6072780"/>
                <a:gd name="connsiteX184" fmla="*/ 6439157 w 12117871"/>
                <a:gd name="connsiteY184" fmla="*/ 5615097 h 6072780"/>
                <a:gd name="connsiteX185" fmla="*/ 6419071 w 12117871"/>
                <a:gd name="connsiteY185" fmla="*/ 5698677 h 6072780"/>
                <a:gd name="connsiteX186" fmla="*/ 6362874 w 12117871"/>
                <a:gd name="connsiteY186" fmla="*/ 5727490 h 6072780"/>
                <a:gd name="connsiteX187" fmla="*/ 6310289 w 12117871"/>
                <a:gd name="connsiteY187" fmla="*/ 5699956 h 6072780"/>
                <a:gd name="connsiteX188" fmla="*/ 6291406 w 12117871"/>
                <a:gd name="connsiteY188" fmla="*/ 5620363 h 6072780"/>
                <a:gd name="connsiteX189" fmla="*/ 6311116 w 12117871"/>
                <a:gd name="connsiteY189" fmla="*/ 5533849 h 6072780"/>
                <a:gd name="connsiteX190" fmla="*/ 6367990 w 12117871"/>
                <a:gd name="connsiteY190" fmla="*/ 5504510 h 6072780"/>
                <a:gd name="connsiteX191" fmla="*/ 5090447 w 12117871"/>
                <a:gd name="connsiteY191" fmla="*/ 5504510 h 6072780"/>
                <a:gd name="connsiteX192" fmla="*/ 5161614 w 12117871"/>
                <a:gd name="connsiteY192" fmla="*/ 5615097 h 6072780"/>
                <a:gd name="connsiteX193" fmla="*/ 5141528 w 12117871"/>
                <a:gd name="connsiteY193" fmla="*/ 5698677 h 6072780"/>
                <a:gd name="connsiteX194" fmla="*/ 5085331 w 12117871"/>
                <a:gd name="connsiteY194" fmla="*/ 5727490 h 6072780"/>
                <a:gd name="connsiteX195" fmla="*/ 5032746 w 12117871"/>
                <a:gd name="connsiteY195" fmla="*/ 5699956 h 6072780"/>
                <a:gd name="connsiteX196" fmla="*/ 5013863 w 12117871"/>
                <a:gd name="connsiteY196" fmla="*/ 5620363 h 6072780"/>
                <a:gd name="connsiteX197" fmla="*/ 5033573 w 12117871"/>
                <a:gd name="connsiteY197" fmla="*/ 5533849 h 6072780"/>
                <a:gd name="connsiteX198" fmla="*/ 5090447 w 12117871"/>
                <a:gd name="connsiteY198" fmla="*/ 5504510 h 6072780"/>
                <a:gd name="connsiteX199" fmla="*/ 12062430 w 12117871"/>
                <a:gd name="connsiteY199" fmla="*/ 5494669 h 6072780"/>
                <a:gd name="connsiteX200" fmla="*/ 12077336 w 12117871"/>
                <a:gd name="connsiteY200" fmla="*/ 5494669 h 6072780"/>
                <a:gd name="connsiteX201" fmla="*/ 12077336 w 12117871"/>
                <a:gd name="connsiteY201" fmla="*/ 5717649 h 6072780"/>
                <a:gd name="connsiteX202" fmla="*/ 12042048 w 12117871"/>
                <a:gd name="connsiteY202" fmla="*/ 5717649 h 6072780"/>
                <a:gd name="connsiteX203" fmla="*/ 12042048 w 12117871"/>
                <a:gd name="connsiteY203" fmla="*/ 5537865 h 6072780"/>
                <a:gd name="connsiteX204" fmla="*/ 12021439 w 12117871"/>
                <a:gd name="connsiteY204" fmla="*/ 5549501 h 6072780"/>
                <a:gd name="connsiteX205" fmla="*/ 11996266 w 12117871"/>
                <a:gd name="connsiteY205" fmla="*/ 5557943 h 6072780"/>
                <a:gd name="connsiteX206" fmla="*/ 11996266 w 12117871"/>
                <a:gd name="connsiteY206" fmla="*/ 5527827 h 6072780"/>
                <a:gd name="connsiteX207" fmla="*/ 12013301 w 12117871"/>
                <a:gd name="connsiteY207" fmla="*/ 5521743 h 6072780"/>
                <a:gd name="connsiteX208" fmla="*/ 12029500 w 12117871"/>
                <a:gd name="connsiteY208" fmla="*/ 5514594 h 6072780"/>
                <a:gd name="connsiteX209" fmla="*/ 12045623 w 12117871"/>
                <a:gd name="connsiteY209" fmla="*/ 5505772 h 6072780"/>
                <a:gd name="connsiteX210" fmla="*/ 12062430 w 12117871"/>
                <a:gd name="connsiteY210" fmla="*/ 5494669 h 6072780"/>
                <a:gd name="connsiteX211" fmla="*/ 10143427 w 12117871"/>
                <a:gd name="connsiteY211" fmla="*/ 5494669 h 6072780"/>
                <a:gd name="connsiteX212" fmla="*/ 10158333 w 12117871"/>
                <a:gd name="connsiteY212" fmla="*/ 5494669 h 6072780"/>
                <a:gd name="connsiteX213" fmla="*/ 10158333 w 12117871"/>
                <a:gd name="connsiteY213" fmla="*/ 5717649 h 6072780"/>
                <a:gd name="connsiteX214" fmla="*/ 10123045 w 12117871"/>
                <a:gd name="connsiteY214" fmla="*/ 5717649 h 6072780"/>
                <a:gd name="connsiteX215" fmla="*/ 10123045 w 12117871"/>
                <a:gd name="connsiteY215" fmla="*/ 5537866 h 6072780"/>
                <a:gd name="connsiteX216" fmla="*/ 10102436 w 12117871"/>
                <a:gd name="connsiteY216" fmla="*/ 5549502 h 6072780"/>
                <a:gd name="connsiteX217" fmla="*/ 10077263 w 12117871"/>
                <a:gd name="connsiteY217" fmla="*/ 5557943 h 6072780"/>
                <a:gd name="connsiteX218" fmla="*/ 10077263 w 12117871"/>
                <a:gd name="connsiteY218" fmla="*/ 5527827 h 6072780"/>
                <a:gd name="connsiteX219" fmla="*/ 10094298 w 12117871"/>
                <a:gd name="connsiteY219" fmla="*/ 5521743 h 6072780"/>
                <a:gd name="connsiteX220" fmla="*/ 10110497 w 12117871"/>
                <a:gd name="connsiteY220" fmla="*/ 5514594 h 6072780"/>
                <a:gd name="connsiteX221" fmla="*/ 10126620 w 12117871"/>
                <a:gd name="connsiteY221" fmla="*/ 5505773 h 6072780"/>
                <a:gd name="connsiteX222" fmla="*/ 10143427 w 12117871"/>
                <a:gd name="connsiteY222" fmla="*/ 5494669 h 6072780"/>
                <a:gd name="connsiteX223" fmla="*/ 9254256 w 12117871"/>
                <a:gd name="connsiteY223" fmla="*/ 5494669 h 6072780"/>
                <a:gd name="connsiteX224" fmla="*/ 9269162 w 12117871"/>
                <a:gd name="connsiteY224" fmla="*/ 5494669 h 6072780"/>
                <a:gd name="connsiteX225" fmla="*/ 9269162 w 12117871"/>
                <a:gd name="connsiteY225" fmla="*/ 5717649 h 6072780"/>
                <a:gd name="connsiteX226" fmla="*/ 9233874 w 12117871"/>
                <a:gd name="connsiteY226" fmla="*/ 5717649 h 6072780"/>
                <a:gd name="connsiteX227" fmla="*/ 9233874 w 12117871"/>
                <a:gd name="connsiteY227" fmla="*/ 5537865 h 6072780"/>
                <a:gd name="connsiteX228" fmla="*/ 9213265 w 12117871"/>
                <a:gd name="connsiteY228" fmla="*/ 5549501 h 6072780"/>
                <a:gd name="connsiteX229" fmla="*/ 9188092 w 12117871"/>
                <a:gd name="connsiteY229" fmla="*/ 5557943 h 6072780"/>
                <a:gd name="connsiteX230" fmla="*/ 9188092 w 12117871"/>
                <a:gd name="connsiteY230" fmla="*/ 5527827 h 6072780"/>
                <a:gd name="connsiteX231" fmla="*/ 9205127 w 12117871"/>
                <a:gd name="connsiteY231" fmla="*/ 5521743 h 6072780"/>
                <a:gd name="connsiteX232" fmla="*/ 9221326 w 12117871"/>
                <a:gd name="connsiteY232" fmla="*/ 5514594 h 6072780"/>
                <a:gd name="connsiteX233" fmla="*/ 9237449 w 12117871"/>
                <a:gd name="connsiteY233" fmla="*/ 5505772 h 6072780"/>
                <a:gd name="connsiteX234" fmla="*/ 9254256 w 12117871"/>
                <a:gd name="connsiteY234" fmla="*/ 5494669 h 6072780"/>
                <a:gd name="connsiteX235" fmla="*/ 7851748 w 12117871"/>
                <a:gd name="connsiteY235" fmla="*/ 5494669 h 6072780"/>
                <a:gd name="connsiteX236" fmla="*/ 7866654 w 12117871"/>
                <a:gd name="connsiteY236" fmla="*/ 5494669 h 6072780"/>
                <a:gd name="connsiteX237" fmla="*/ 7866654 w 12117871"/>
                <a:gd name="connsiteY237" fmla="*/ 5717649 h 6072780"/>
                <a:gd name="connsiteX238" fmla="*/ 7831366 w 12117871"/>
                <a:gd name="connsiteY238" fmla="*/ 5717649 h 6072780"/>
                <a:gd name="connsiteX239" fmla="*/ 7831366 w 12117871"/>
                <a:gd name="connsiteY239" fmla="*/ 5537866 h 6072780"/>
                <a:gd name="connsiteX240" fmla="*/ 7810757 w 12117871"/>
                <a:gd name="connsiteY240" fmla="*/ 5549502 h 6072780"/>
                <a:gd name="connsiteX241" fmla="*/ 7785584 w 12117871"/>
                <a:gd name="connsiteY241" fmla="*/ 5557943 h 6072780"/>
                <a:gd name="connsiteX242" fmla="*/ 7785584 w 12117871"/>
                <a:gd name="connsiteY242" fmla="*/ 5527827 h 6072780"/>
                <a:gd name="connsiteX243" fmla="*/ 7802619 w 12117871"/>
                <a:gd name="connsiteY243" fmla="*/ 5521743 h 6072780"/>
                <a:gd name="connsiteX244" fmla="*/ 7818818 w 12117871"/>
                <a:gd name="connsiteY244" fmla="*/ 5514594 h 6072780"/>
                <a:gd name="connsiteX245" fmla="*/ 7834941 w 12117871"/>
                <a:gd name="connsiteY245" fmla="*/ 5505773 h 6072780"/>
                <a:gd name="connsiteX246" fmla="*/ 7851748 w 12117871"/>
                <a:gd name="connsiteY246" fmla="*/ 5494669 h 6072780"/>
                <a:gd name="connsiteX247" fmla="*/ 7015147 w 12117871"/>
                <a:gd name="connsiteY247" fmla="*/ 5494669 h 6072780"/>
                <a:gd name="connsiteX248" fmla="*/ 7030053 w 12117871"/>
                <a:gd name="connsiteY248" fmla="*/ 5494669 h 6072780"/>
                <a:gd name="connsiteX249" fmla="*/ 7030053 w 12117871"/>
                <a:gd name="connsiteY249" fmla="*/ 5717649 h 6072780"/>
                <a:gd name="connsiteX250" fmla="*/ 6994765 w 12117871"/>
                <a:gd name="connsiteY250" fmla="*/ 5717649 h 6072780"/>
                <a:gd name="connsiteX251" fmla="*/ 6994765 w 12117871"/>
                <a:gd name="connsiteY251" fmla="*/ 5537865 h 6072780"/>
                <a:gd name="connsiteX252" fmla="*/ 6974156 w 12117871"/>
                <a:gd name="connsiteY252" fmla="*/ 5549501 h 6072780"/>
                <a:gd name="connsiteX253" fmla="*/ 6948983 w 12117871"/>
                <a:gd name="connsiteY253" fmla="*/ 5557943 h 6072780"/>
                <a:gd name="connsiteX254" fmla="*/ 6948983 w 12117871"/>
                <a:gd name="connsiteY254" fmla="*/ 5527827 h 6072780"/>
                <a:gd name="connsiteX255" fmla="*/ 6966018 w 12117871"/>
                <a:gd name="connsiteY255" fmla="*/ 5521743 h 6072780"/>
                <a:gd name="connsiteX256" fmla="*/ 6982217 w 12117871"/>
                <a:gd name="connsiteY256" fmla="*/ 5514594 h 6072780"/>
                <a:gd name="connsiteX257" fmla="*/ 6998340 w 12117871"/>
                <a:gd name="connsiteY257" fmla="*/ 5505772 h 6072780"/>
                <a:gd name="connsiteX258" fmla="*/ 7015147 w 12117871"/>
                <a:gd name="connsiteY258" fmla="*/ 5494669 h 6072780"/>
                <a:gd name="connsiteX259" fmla="*/ 4694968 w 12117871"/>
                <a:gd name="connsiteY259" fmla="*/ 5494669 h 6072780"/>
                <a:gd name="connsiteX260" fmla="*/ 4709876 w 12117871"/>
                <a:gd name="connsiteY260" fmla="*/ 5494669 h 6072780"/>
                <a:gd name="connsiteX261" fmla="*/ 4709876 w 12117871"/>
                <a:gd name="connsiteY261" fmla="*/ 5717649 h 6072780"/>
                <a:gd name="connsiteX262" fmla="*/ 4674589 w 12117871"/>
                <a:gd name="connsiteY262" fmla="*/ 5717649 h 6072780"/>
                <a:gd name="connsiteX263" fmla="*/ 4674589 w 12117871"/>
                <a:gd name="connsiteY263" fmla="*/ 5537865 h 6072780"/>
                <a:gd name="connsiteX264" fmla="*/ 4653978 w 12117871"/>
                <a:gd name="connsiteY264" fmla="*/ 5549501 h 6072780"/>
                <a:gd name="connsiteX265" fmla="*/ 4628805 w 12117871"/>
                <a:gd name="connsiteY265" fmla="*/ 5557943 h 6072780"/>
                <a:gd name="connsiteX266" fmla="*/ 4628805 w 12117871"/>
                <a:gd name="connsiteY266" fmla="*/ 5527827 h 6072780"/>
                <a:gd name="connsiteX267" fmla="*/ 4645841 w 12117871"/>
                <a:gd name="connsiteY267" fmla="*/ 5521743 h 6072780"/>
                <a:gd name="connsiteX268" fmla="*/ 4662040 w 12117871"/>
                <a:gd name="connsiteY268" fmla="*/ 5514594 h 6072780"/>
                <a:gd name="connsiteX269" fmla="*/ 4678162 w 12117871"/>
                <a:gd name="connsiteY269" fmla="*/ 5505772 h 6072780"/>
                <a:gd name="connsiteX270" fmla="*/ 4694968 w 12117871"/>
                <a:gd name="connsiteY270" fmla="*/ 5494669 h 6072780"/>
                <a:gd name="connsiteX271" fmla="*/ 3158682 w 12117871"/>
                <a:gd name="connsiteY271" fmla="*/ 5494669 h 6072780"/>
                <a:gd name="connsiteX272" fmla="*/ 3173587 w 12117871"/>
                <a:gd name="connsiteY272" fmla="*/ 5494669 h 6072780"/>
                <a:gd name="connsiteX273" fmla="*/ 3173587 w 12117871"/>
                <a:gd name="connsiteY273" fmla="*/ 5717649 h 6072780"/>
                <a:gd name="connsiteX274" fmla="*/ 3138299 w 12117871"/>
                <a:gd name="connsiteY274" fmla="*/ 5717649 h 6072780"/>
                <a:gd name="connsiteX275" fmla="*/ 3138299 w 12117871"/>
                <a:gd name="connsiteY275" fmla="*/ 5537866 h 6072780"/>
                <a:gd name="connsiteX276" fmla="*/ 3117690 w 12117871"/>
                <a:gd name="connsiteY276" fmla="*/ 5549502 h 6072780"/>
                <a:gd name="connsiteX277" fmla="*/ 3092517 w 12117871"/>
                <a:gd name="connsiteY277" fmla="*/ 5557943 h 6072780"/>
                <a:gd name="connsiteX278" fmla="*/ 3092517 w 12117871"/>
                <a:gd name="connsiteY278" fmla="*/ 5527827 h 6072780"/>
                <a:gd name="connsiteX279" fmla="*/ 3109553 w 12117871"/>
                <a:gd name="connsiteY279" fmla="*/ 5521743 h 6072780"/>
                <a:gd name="connsiteX280" fmla="*/ 3125751 w 12117871"/>
                <a:gd name="connsiteY280" fmla="*/ 5514594 h 6072780"/>
                <a:gd name="connsiteX281" fmla="*/ 3141875 w 12117871"/>
                <a:gd name="connsiteY281" fmla="*/ 5505773 h 6072780"/>
                <a:gd name="connsiteX282" fmla="*/ 3158682 w 12117871"/>
                <a:gd name="connsiteY282" fmla="*/ 5494669 h 6072780"/>
                <a:gd name="connsiteX283" fmla="*/ 2489154 w 12117871"/>
                <a:gd name="connsiteY283" fmla="*/ 5494669 h 6072780"/>
                <a:gd name="connsiteX284" fmla="*/ 2504060 w 12117871"/>
                <a:gd name="connsiteY284" fmla="*/ 5494669 h 6072780"/>
                <a:gd name="connsiteX285" fmla="*/ 2504060 w 12117871"/>
                <a:gd name="connsiteY285" fmla="*/ 5717649 h 6072780"/>
                <a:gd name="connsiteX286" fmla="*/ 2468772 w 12117871"/>
                <a:gd name="connsiteY286" fmla="*/ 5717649 h 6072780"/>
                <a:gd name="connsiteX287" fmla="*/ 2468772 w 12117871"/>
                <a:gd name="connsiteY287" fmla="*/ 5537866 h 6072780"/>
                <a:gd name="connsiteX288" fmla="*/ 2448163 w 12117871"/>
                <a:gd name="connsiteY288" fmla="*/ 5549502 h 6072780"/>
                <a:gd name="connsiteX289" fmla="*/ 2422990 w 12117871"/>
                <a:gd name="connsiteY289" fmla="*/ 5557943 h 6072780"/>
                <a:gd name="connsiteX290" fmla="*/ 2422990 w 12117871"/>
                <a:gd name="connsiteY290" fmla="*/ 5527827 h 6072780"/>
                <a:gd name="connsiteX291" fmla="*/ 2440025 w 12117871"/>
                <a:gd name="connsiteY291" fmla="*/ 5521743 h 6072780"/>
                <a:gd name="connsiteX292" fmla="*/ 2456224 w 12117871"/>
                <a:gd name="connsiteY292" fmla="*/ 5514594 h 6072780"/>
                <a:gd name="connsiteX293" fmla="*/ 2472346 w 12117871"/>
                <a:gd name="connsiteY293" fmla="*/ 5505773 h 6072780"/>
                <a:gd name="connsiteX294" fmla="*/ 2489154 w 12117871"/>
                <a:gd name="connsiteY294" fmla="*/ 5494669 h 6072780"/>
                <a:gd name="connsiteX295" fmla="*/ 1599916 w 12117871"/>
                <a:gd name="connsiteY295" fmla="*/ 5494669 h 6072780"/>
                <a:gd name="connsiteX296" fmla="*/ 1614822 w 12117871"/>
                <a:gd name="connsiteY296" fmla="*/ 5494669 h 6072780"/>
                <a:gd name="connsiteX297" fmla="*/ 1614822 w 12117871"/>
                <a:gd name="connsiteY297" fmla="*/ 5717649 h 6072780"/>
                <a:gd name="connsiteX298" fmla="*/ 1579534 w 12117871"/>
                <a:gd name="connsiteY298" fmla="*/ 5717649 h 6072780"/>
                <a:gd name="connsiteX299" fmla="*/ 1579534 w 12117871"/>
                <a:gd name="connsiteY299" fmla="*/ 5537866 h 6072780"/>
                <a:gd name="connsiteX300" fmla="*/ 1558925 w 12117871"/>
                <a:gd name="connsiteY300" fmla="*/ 5549502 h 6072780"/>
                <a:gd name="connsiteX301" fmla="*/ 1533752 w 12117871"/>
                <a:gd name="connsiteY301" fmla="*/ 5557943 h 6072780"/>
                <a:gd name="connsiteX302" fmla="*/ 1533752 w 12117871"/>
                <a:gd name="connsiteY302" fmla="*/ 5527827 h 6072780"/>
                <a:gd name="connsiteX303" fmla="*/ 1550787 w 12117871"/>
                <a:gd name="connsiteY303" fmla="*/ 5521743 h 6072780"/>
                <a:gd name="connsiteX304" fmla="*/ 1566986 w 12117871"/>
                <a:gd name="connsiteY304" fmla="*/ 5514594 h 6072780"/>
                <a:gd name="connsiteX305" fmla="*/ 1583109 w 12117871"/>
                <a:gd name="connsiteY305" fmla="*/ 5505773 h 6072780"/>
                <a:gd name="connsiteX306" fmla="*/ 1599916 w 12117871"/>
                <a:gd name="connsiteY306" fmla="*/ 5494669 h 6072780"/>
                <a:gd name="connsiteX307" fmla="*/ 480750 w 12117871"/>
                <a:gd name="connsiteY307" fmla="*/ 5494669 h 6072780"/>
                <a:gd name="connsiteX308" fmla="*/ 495656 w 12117871"/>
                <a:gd name="connsiteY308" fmla="*/ 5494669 h 6072780"/>
                <a:gd name="connsiteX309" fmla="*/ 495656 w 12117871"/>
                <a:gd name="connsiteY309" fmla="*/ 5717649 h 6072780"/>
                <a:gd name="connsiteX310" fmla="*/ 460368 w 12117871"/>
                <a:gd name="connsiteY310" fmla="*/ 5717649 h 6072780"/>
                <a:gd name="connsiteX311" fmla="*/ 460368 w 12117871"/>
                <a:gd name="connsiteY311" fmla="*/ 5537866 h 6072780"/>
                <a:gd name="connsiteX312" fmla="*/ 439759 w 12117871"/>
                <a:gd name="connsiteY312" fmla="*/ 5549502 h 6072780"/>
                <a:gd name="connsiteX313" fmla="*/ 414586 w 12117871"/>
                <a:gd name="connsiteY313" fmla="*/ 5557943 h 6072780"/>
                <a:gd name="connsiteX314" fmla="*/ 414586 w 12117871"/>
                <a:gd name="connsiteY314" fmla="*/ 5527827 h 6072780"/>
                <a:gd name="connsiteX315" fmla="*/ 431621 w 12117871"/>
                <a:gd name="connsiteY315" fmla="*/ 5521743 h 6072780"/>
                <a:gd name="connsiteX316" fmla="*/ 447821 w 12117871"/>
                <a:gd name="connsiteY316" fmla="*/ 5514594 h 6072780"/>
                <a:gd name="connsiteX317" fmla="*/ 463943 w 12117871"/>
                <a:gd name="connsiteY317" fmla="*/ 5505773 h 6072780"/>
                <a:gd name="connsiteX318" fmla="*/ 480750 w 12117871"/>
                <a:gd name="connsiteY318" fmla="*/ 5494669 h 6072780"/>
                <a:gd name="connsiteX319" fmla="*/ 476799 w 12117871"/>
                <a:gd name="connsiteY319" fmla="*/ 5197154 h 6072780"/>
                <a:gd name="connsiteX320" fmla="*/ 437529 w 12117871"/>
                <a:gd name="connsiteY320" fmla="*/ 5283668 h 6072780"/>
                <a:gd name="connsiteX321" fmla="*/ 476046 w 12117871"/>
                <a:gd name="connsiteY321" fmla="*/ 5364615 h 6072780"/>
                <a:gd name="connsiteX322" fmla="*/ 513962 w 12117871"/>
                <a:gd name="connsiteY322" fmla="*/ 5282314 h 6072780"/>
                <a:gd name="connsiteX323" fmla="*/ 476799 w 12117871"/>
                <a:gd name="connsiteY323" fmla="*/ 5197154 h 6072780"/>
                <a:gd name="connsiteX324" fmla="*/ 11874294 w 12117871"/>
                <a:gd name="connsiteY324" fmla="*/ 5184874 h 6072780"/>
                <a:gd name="connsiteX325" fmla="*/ 11835024 w 12117871"/>
                <a:gd name="connsiteY325" fmla="*/ 5271387 h 6072780"/>
                <a:gd name="connsiteX326" fmla="*/ 11873542 w 12117871"/>
                <a:gd name="connsiteY326" fmla="*/ 5352334 h 6072780"/>
                <a:gd name="connsiteX327" fmla="*/ 11911457 w 12117871"/>
                <a:gd name="connsiteY327" fmla="*/ 5270033 h 6072780"/>
                <a:gd name="connsiteX328" fmla="*/ 11874294 w 12117871"/>
                <a:gd name="connsiteY328" fmla="*/ 5184874 h 6072780"/>
                <a:gd name="connsiteX329" fmla="*/ 9936214 w 12117871"/>
                <a:gd name="connsiteY329" fmla="*/ 5184874 h 6072780"/>
                <a:gd name="connsiteX330" fmla="*/ 9896944 w 12117871"/>
                <a:gd name="connsiteY330" fmla="*/ 5271388 h 6072780"/>
                <a:gd name="connsiteX331" fmla="*/ 9935462 w 12117871"/>
                <a:gd name="connsiteY331" fmla="*/ 5352335 h 6072780"/>
                <a:gd name="connsiteX332" fmla="*/ 9973377 w 12117871"/>
                <a:gd name="connsiteY332" fmla="*/ 5270034 h 6072780"/>
                <a:gd name="connsiteX333" fmla="*/ 9936214 w 12117871"/>
                <a:gd name="connsiteY333" fmla="*/ 5184874 h 6072780"/>
                <a:gd name="connsiteX334" fmla="*/ 6366335 w 12117871"/>
                <a:gd name="connsiteY334" fmla="*/ 5184874 h 6072780"/>
                <a:gd name="connsiteX335" fmla="*/ 6327065 w 12117871"/>
                <a:gd name="connsiteY335" fmla="*/ 5271387 h 6072780"/>
                <a:gd name="connsiteX336" fmla="*/ 6365583 w 12117871"/>
                <a:gd name="connsiteY336" fmla="*/ 5352334 h 6072780"/>
                <a:gd name="connsiteX337" fmla="*/ 6403498 w 12117871"/>
                <a:gd name="connsiteY337" fmla="*/ 5270033 h 6072780"/>
                <a:gd name="connsiteX338" fmla="*/ 6366335 w 12117871"/>
                <a:gd name="connsiteY338" fmla="*/ 5184874 h 6072780"/>
                <a:gd name="connsiteX339" fmla="*/ 5088792 w 12117871"/>
                <a:gd name="connsiteY339" fmla="*/ 5184874 h 6072780"/>
                <a:gd name="connsiteX340" fmla="*/ 5049522 w 12117871"/>
                <a:gd name="connsiteY340" fmla="*/ 5271387 h 6072780"/>
                <a:gd name="connsiteX341" fmla="*/ 5088041 w 12117871"/>
                <a:gd name="connsiteY341" fmla="*/ 5352334 h 6072780"/>
                <a:gd name="connsiteX342" fmla="*/ 5125957 w 12117871"/>
                <a:gd name="connsiteY342" fmla="*/ 5270033 h 6072780"/>
                <a:gd name="connsiteX343" fmla="*/ 5088792 w 12117871"/>
                <a:gd name="connsiteY343" fmla="*/ 5184874 h 6072780"/>
                <a:gd name="connsiteX344" fmla="*/ 478454 w 12117871"/>
                <a:gd name="connsiteY344" fmla="*/ 5169319 h 6072780"/>
                <a:gd name="connsiteX345" fmla="*/ 549621 w 12117871"/>
                <a:gd name="connsiteY345" fmla="*/ 5279907 h 6072780"/>
                <a:gd name="connsiteX346" fmla="*/ 529535 w 12117871"/>
                <a:gd name="connsiteY346" fmla="*/ 5363486 h 6072780"/>
                <a:gd name="connsiteX347" fmla="*/ 473338 w 12117871"/>
                <a:gd name="connsiteY347" fmla="*/ 5392299 h 6072780"/>
                <a:gd name="connsiteX348" fmla="*/ 420753 w 12117871"/>
                <a:gd name="connsiteY348" fmla="*/ 5364765 h 6072780"/>
                <a:gd name="connsiteX349" fmla="*/ 401870 w 12117871"/>
                <a:gd name="connsiteY349" fmla="*/ 5285173 h 6072780"/>
                <a:gd name="connsiteX350" fmla="*/ 421580 w 12117871"/>
                <a:gd name="connsiteY350" fmla="*/ 5198659 h 6072780"/>
                <a:gd name="connsiteX351" fmla="*/ 478454 w 12117871"/>
                <a:gd name="connsiteY351" fmla="*/ 5169319 h 6072780"/>
                <a:gd name="connsiteX352" fmla="*/ 12062430 w 12117871"/>
                <a:gd name="connsiteY352" fmla="*/ 5157039 h 6072780"/>
                <a:gd name="connsiteX353" fmla="*/ 12077336 w 12117871"/>
                <a:gd name="connsiteY353" fmla="*/ 5157039 h 6072780"/>
                <a:gd name="connsiteX354" fmla="*/ 12077336 w 12117871"/>
                <a:gd name="connsiteY354" fmla="*/ 5380019 h 6072780"/>
                <a:gd name="connsiteX355" fmla="*/ 12042048 w 12117871"/>
                <a:gd name="connsiteY355" fmla="*/ 5380019 h 6072780"/>
                <a:gd name="connsiteX356" fmla="*/ 12042048 w 12117871"/>
                <a:gd name="connsiteY356" fmla="*/ 5200235 h 6072780"/>
                <a:gd name="connsiteX357" fmla="*/ 12021439 w 12117871"/>
                <a:gd name="connsiteY357" fmla="*/ 5211871 h 6072780"/>
                <a:gd name="connsiteX358" fmla="*/ 11996266 w 12117871"/>
                <a:gd name="connsiteY358" fmla="*/ 5220313 h 6072780"/>
                <a:gd name="connsiteX359" fmla="*/ 11996266 w 12117871"/>
                <a:gd name="connsiteY359" fmla="*/ 5190197 h 6072780"/>
                <a:gd name="connsiteX360" fmla="*/ 12013301 w 12117871"/>
                <a:gd name="connsiteY360" fmla="*/ 5184113 h 6072780"/>
                <a:gd name="connsiteX361" fmla="*/ 12029500 w 12117871"/>
                <a:gd name="connsiteY361" fmla="*/ 5176964 h 6072780"/>
                <a:gd name="connsiteX362" fmla="*/ 12045623 w 12117871"/>
                <a:gd name="connsiteY362" fmla="*/ 5168142 h 6072780"/>
                <a:gd name="connsiteX363" fmla="*/ 12062430 w 12117871"/>
                <a:gd name="connsiteY363" fmla="*/ 5157039 h 6072780"/>
                <a:gd name="connsiteX364" fmla="*/ 11875949 w 12117871"/>
                <a:gd name="connsiteY364" fmla="*/ 5157039 h 6072780"/>
                <a:gd name="connsiteX365" fmla="*/ 11947116 w 12117871"/>
                <a:gd name="connsiteY365" fmla="*/ 5267626 h 6072780"/>
                <a:gd name="connsiteX366" fmla="*/ 11927030 w 12117871"/>
                <a:gd name="connsiteY366" fmla="*/ 5351206 h 6072780"/>
                <a:gd name="connsiteX367" fmla="*/ 11870833 w 12117871"/>
                <a:gd name="connsiteY367" fmla="*/ 5380019 h 6072780"/>
                <a:gd name="connsiteX368" fmla="*/ 11818248 w 12117871"/>
                <a:gd name="connsiteY368" fmla="*/ 5352485 h 6072780"/>
                <a:gd name="connsiteX369" fmla="*/ 11799365 w 12117871"/>
                <a:gd name="connsiteY369" fmla="*/ 5272892 h 6072780"/>
                <a:gd name="connsiteX370" fmla="*/ 11819075 w 12117871"/>
                <a:gd name="connsiteY370" fmla="*/ 5186378 h 6072780"/>
                <a:gd name="connsiteX371" fmla="*/ 11875949 w 12117871"/>
                <a:gd name="connsiteY371" fmla="*/ 5157039 h 6072780"/>
                <a:gd name="connsiteX372" fmla="*/ 10143427 w 12117871"/>
                <a:gd name="connsiteY372" fmla="*/ 5157039 h 6072780"/>
                <a:gd name="connsiteX373" fmla="*/ 10158333 w 12117871"/>
                <a:gd name="connsiteY373" fmla="*/ 5157039 h 6072780"/>
                <a:gd name="connsiteX374" fmla="*/ 10158333 w 12117871"/>
                <a:gd name="connsiteY374" fmla="*/ 5380019 h 6072780"/>
                <a:gd name="connsiteX375" fmla="*/ 10123045 w 12117871"/>
                <a:gd name="connsiteY375" fmla="*/ 5380019 h 6072780"/>
                <a:gd name="connsiteX376" fmla="*/ 10123045 w 12117871"/>
                <a:gd name="connsiteY376" fmla="*/ 5200236 h 6072780"/>
                <a:gd name="connsiteX377" fmla="*/ 10102436 w 12117871"/>
                <a:gd name="connsiteY377" fmla="*/ 5211872 h 6072780"/>
                <a:gd name="connsiteX378" fmla="*/ 10077263 w 12117871"/>
                <a:gd name="connsiteY378" fmla="*/ 5220313 h 6072780"/>
                <a:gd name="connsiteX379" fmla="*/ 10077263 w 12117871"/>
                <a:gd name="connsiteY379" fmla="*/ 5190197 h 6072780"/>
                <a:gd name="connsiteX380" fmla="*/ 10094298 w 12117871"/>
                <a:gd name="connsiteY380" fmla="*/ 5184113 h 6072780"/>
                <a:gd name="connsiteX381" fmla="*/ 10110497 w 12117871"/>
                <a:gd name="connsiteY381" fmla="*/ 5176964 h 6072780"/>
                <a:gd name="connsiteX382" fmla="*/ 10126620 w 12117871"/>
                <a:gd name="connsiteY382" fmla="*/ 5168143 h 6072780"/>
                <a:gd name="connsiteX383" fmla="*/ 10143427 w 12117871"/>
                <a:gd name="connsiteY383" fmla="*/ 5157039 h 6072780"/>
                <a:gd name="connsiteX384" fmla="*/ 9937869 w 12117871"/>
                <a:gd name="connsiteY384" fmla="*/ 5157039 h 6072780"/>
                <a:gd name="connsiteX385" fmla="*/ 10009036 w 12117871"/>
                <a:gd name="connsiteY385" fmla="*/ 5267627 h 6072780"/>
                <a:gd name="connsiteX386" fmla="*/ 9988950 w 12117871"/>
                <a:gd name="connsiteY386" fmla="*/ 5351206 h 6072780"/>
                <a:gd name="connsiteX387" fmla="*/ 9932753 w 12117871"/>
                <a:gd name="connsiteY387" fmla="*/ 5380019 h 6072780"/>
                <a:gd name="connsiteX388" fmla="*/ 9880168 w 12117871"/>
                <a:gd name="connsiteY388" fmla="*/ 5352485 h 6072780"/>
                <a:gd name="connsiteX389" fmla="*/ 9861285 w 12117871"/>
                <a:gd name="connsiteY389" fmla="*/ 5272893 h 6072780"/>
                <a:gd name="connsiteX390" fmla="*/ 9880995 w 12117871"/>
                <a:gd name="connsiteY390" fmla="*/ 5186379 h 6072780"/>
                <a:gd name="connsiteX391" fmla="*/ 9937869 w 12117871"/>
                <a:gd name="connsiteY391" fmla="*/ 5157039 h 6072780"/>
                <a:gd name="connsiteX392" fmla="*/ 9254256 w 12117871"/>
                <a:gd name="connsiteY392" fmla="*/ 5157039 h 6072780"/>
                <a:gd name="connsiteX393" fmla="*/ 9269162 w 12117871"/>
                <a:gd name="connsiteY393" fmla="*/ 5157039 h 6072780"/>
                <a:gd name="connsiteX394" fmla="*/ 9269162 w 12117871"/>
                <a:gd name="connsiteY394" fmla="*/ 5380019 h 6072780"/>
                <a:gd name="connsiteX395" fmla="*/ 9233874 w 12117871"/>
                <a:gd name="connsiteY395" fmla="*/ 5380019 h 6072780"/>
                <a:gd name="connsiteX396" fmla="*/ 9233874 w 12117871"/>
                <a:gd name="connsiteY396" fmla="*/ 5200235 h 6072780"/>
                <a:gd name="connsiteX397" fmla="*/ 9213265 w 12117871"/>
                <a:gd name="connsiteY397" fmla="*/ 5211871 h 6072780"/>
                <a:gd name="connsiteX398" fmla="*/ 9188092 w 12117871"/>
                <a:gd name="connsiteY398" fmla="*/ 5220313 h 6072780"/>
                <a:gd name="connsiteX399" fmla="*/ 9188092 w 12117871"/>
                <a:gd name="connsiteY399" fmla="*/ 5190197 h 6072780"/>
                <a:gd name="connsiteX400" fmla="*/ 9205127 w 12117871"/>
                <a:gd name="connsiteY400" fmla="*/ 5184113 h 6072780"/>
                <a:gd name="connsiteX401" fmla="*/ 9221326 w 12117871"/>
                <a:gd name="connsiteY401" fmla="*/ 5176964 h 6072780"/>
                <a:gd name="connsiteX402" fmla="*/ 9237449 w 12117871"/>
                <a:gd name="connsiteY402" fmla="*/ 5168142 h 6072780"/>
                <a:gd name="connsiteX403" fmla="*/ 9254256 w 12117871"/>
                <a:gd name="connsiteY403" fmla="*/ 5157039 h 6072780"/>
                <a:gd name="connsiteX404" fmla="*/ 7851748 w 12117871"/>
                <a:gd name="connsiteY404" fmla="*/ 5157039 h 6072780"/>
                <a:gd name="connsiteX405" fmla="*/ 7866654 w 12117871"/>
                <a:gd name="connsiteY405" fmla="*/ 5157039 h 6072780"/>
                <a:gd name="connsiteX406" fmla="*/ 7866654 w 12117871"/>
                <a:gd name="connsiteY406" fmla="*/ 5380019 h 6072780"/>
                <a:gd name="connsiteX407" fmla="*/ 7831366 w 12117871"/>
                <a:gd name="connsiteY407" fmla="*/ 5380019 h 6072780"/>
                <a:gd name="connsiteX408" fmla="*/ 7831366 w 12117871"/>
                <a:gd name="connsiteY408" fmla="*/ 5200236 h 6072780"/>
                <a:gd name="connsiteX409" fmla="*/ 7810757 w 12117871"/>
                <a:gd name="connsiteY409" fmla="*/ 5211872 h 6072780"/>
                <a:gd name="connsiteX410" fmla="*/ 7785584 w 12117871"/>
                <a:gd name="connsiteY410" fmla="*/ 5220313 h 6072780"/>
                <a:gd name="connsiteX411" fmla="*/ 7785584 w 12117871"/>
                <a:gd name="connsiteY411" fmla="*/ 5190197 h 6072780"/>
                <a:gd name="connsiteX412" fmla="*/ 7802619 w 12117871"/>
                <a:gd name="connsiteY412" fmla="*/ 5184113 h 6072780"/>
                <a:gd name="connsiteX413" fmla="*/ 7818818 w 12117871"/>
                <a:gd name="connsiteY413" fmla="*/ 5176964 h 6072780"/>
                <a:gd name="connsiteX414" fmla="*/ 7834941 w 12117871"/>
                <a:gd name="connsiteY414" fmla="*/ 5168143 h 6072780"/>
                <a:gd name="connsiteX415" fmla="*/ 7851748 w 12117871"/>
                <a:gd name="connsiteY415" fmla="*/ 5157039 h 6072780"/>
                <a:gd name="connsiteX416" fmla="*/ 7015147 w 12117871"/>
                <a:gd name="connsiteY416" fmla="*/ 5157039 h 6072780"/>
                <a:gd name="connsiteX417" fmla="*/ 7030053 w 12117871"/>
                <a:gd name="connsiteY417" fmla="*/ 5157039 h 6072780"/>
                <a:gd name="connsiteX418" fmla="*/ 7030053 w 12117871"/>
                <a:gd name="connsiteY418" fmla="*/ 5380019 h 6072780"/>
                <a:gd name="connsiteX419" fmla="*/ 6994765 w 12117871"/>
                <a:gd name="connsiteY419" fmla="*/ 5380019 h 6072780"/>
                <a:gd name="connsiteX420" fmla="*/ 6994765 w 12117871"/>
                <a:gd name="connsiteY420" fmla="*/ 5200235 h 6072780"/>
                <a:gd name="connsiteX421" fmla="*/ 6974156 w 12117871"/>
                <a:gd name="connsiteY421" fmla="*/ 5211871 h 6072780"/>
                <a:gd name="connsiteX422" fmla="*/ 6948983 w 12117871"/>
                <a:gd name="connsiteY422" fmla="*/ 5220313 h 6072780"/>
                <a:gd name="connsiteX423" fmla="*/ 6948983 w 12117871"/>
                <a:gd name="connsiteY423" fmla="*/ 5190197 h 6072780"/>
                <a:gd name="connsiteX424" fmla="*/ 6966018 w 12117871"/>
                <a:gd name="connsiteY424" fmla="*/ 5184113 h 6072780"/>
                <a:gd name="connsiteX425" fmla="*/ 6982217 w 12117871"/>
                <a:gd name="connsiteY425" fmla="*/ 5176964 h 6072780"/>
                <a:gd name="connsiteX426" fmla="*/ 6998340 w 12117871"/>
                <a:gd name="connsiteY426" fmla="*/ 5168142 h 6072780"/>
                <a:gd name="connsiteX427" fmla="*/ 7015147 w 12117871"/>
                <a:gd name="connsiteY427" fmla="*/ 5157039 h 6072780"/>
                <a:gd name="connsiteX428" fmla="*/ 6584323 w 12117871"/>
                <a:gd name="connsiteY428" fmla="*/ 5157039 h 6072780"/>
                <a:gd name="connsiteX429" fmla="*/ 6599229 w 12117871"/>
                <a:gd name="connsiteY429" fmla="*/ 5157039 h 6072780"/>
                <a:gd name="connsiteX430" fmla="*/ 6599229 w 12117871"/>
                <a:gd name="connsiteY430" fmla="*/ 5380019 h 6072780"/>
                <a:gd name="connsiteX431" fmla="*/ 6563941 w 12117871"/>
                <a:gd name="connsiteY431" fmla="*/ 5380019 h 6072780"/>
                <a:gd name="connsiteX432" fmla="*/ 6563941 w 12117871"/>
                <a:gd name="connsiteY432" fmla="*/ 5200235 h 6072780"/>
                <a:gd name="connsiteX433" fmla="*/ 6543332 w 12117871"/>
                <a:gd name="connsiteY433" fmla="*/ 5211871 h 6072780"/>
                <a:gd name="connsiteX434" fmla="*/ 6518159 w 12117871"/>
                <a:gd name="connsiteY434" fmla="*/ 5220313 h 6072780"/>
                <a:gd name="connsiteX435" fmla="*/ 6518159 w 12117871"/>
                <a:gd name="connsiteY435" fmla="*/ 5190197 h 6072780"/>
                <a:gd name="connsiteX436" fmla="*/ 6535194 w 12117871"/>
                <a:gd name="connsiteY436" fmla="*/ 5184113 h 6072780"/>
                <a:gd name="connsiteX437" fmla="*/ 6551393 w 12117871"/>
                <a:gd name="connsiteY437" fmla="*/ 5176964 h 6072780"/>
                <a:gd name="connsiteX438" fmla="*/ 6567516 w 12117871"/>
                <a:gd name="connsiteY438" fmla="*/ 5168142 h 6072780"/>
                <a:gd name="connsiteX439" fmla="*/ 6584323 w 12117871"/>
                <a:gd name="connsiteY439" fmla="*/ 5157039 h 6072780"/>
                <a:gd name="connsiteX440" fmla="*/ 6367990 w 12117871"/>
                <a:gd name="connsiteY440" fmla="*/ 5157039 h 6072780"/>
                <a:gd name="connsiteX441" fmla="*/ 6439157 w 12117871"/>
                <a:gd name="connsiteY441" fmla="*/ 5267626 h 6072780"/>
                <a:gd name="connsiteX442" fmla="*/ 6419071 w 12117871"/>
                <a:gd name="connsiteY442" fmla="*/ 5351206 h 6072780"/>
                <a:gd name="connsiteX443" fmla="*/ 6362874 w 12117871"/>
                <a:gd name="connsiteY443" fmla="*/ 5380019 h 6072780"/>
                <a:gd name="connsiteX444" fmla="*/ 6310289 w 12117871"/>
                <a:gd name="connsiteY444" fmla="*/ 5352485 h 6072780"/>
                <a:gd name="connsiteX445" fmla="*/ 6291406 w 12117871"/>
                <a:gd name="connsiteY445" fmla="*/ 5272892 h 6072780"/>
                <a:gd name="connsiteX446" fmla="*/ 6311116 w 12117871"/>
                <a:gd name="connsiteY446" fmla="*/ 5186378 h 6072780"/>
                <a:gd name="connsiteX447" fmla="*/ 6367990 w 12117871"/>
                <a:gd name="connsiteY447" fmla="*/ 5157039 h 6072780"/>
                <a:gd name="connsiteX448" fmla="*/ 5975659 w 12117871"/>
                <a:gd name="connsiteY448" fmla="*/ 5157039 h 6072780"/>
                <a:gd name="connsiteX449" fmla="*/ 5990568 w 12117871"/>
                <a:gd name="connsiteY449" fmla="*/ 5157039 h 6072780"/>
                <a:gd name="connsiteX450" fmla="*/ 5990568 w 12117871"/>
                <a:gd name="connsiteY450" fmla="*/ 5380019 h 6072780"/>
                <a:gd name="connsiteX451" fmla="*/ 5955278 w 12117871"/>
                <a:gd name="connsiteY451" fmla="*/ 5380019 h 6072780"/>
                <a:gd name="connsiteX452" fmla="*/ 5955278 w 12117871"/>
                <a:gd name="connsiteY452" fmla="*/ 5200235 h 6072780"/>
                <a:gd name="connsiteX453" fmla="*/ 5934669 w 12117871"/>
                <a:gd name="connsiteY453" fmla="*/ 5211871 h 6072780"/>
                <a:gd name="connsiteX454" fmla="*/ 5909498 w 12117871"/>
                <a:gd name="connsiteY454" fmla="*/ 5220313 h 6072780"/>
                <a:gd name="connsiteX455" fmla="*/ 5909498 w 12117871"/>
                <a:gd name="connsiteY455" fmla="*/ 5190197 h 6072780"/>
                <a:gd name="connsiteX456" fmla="*/ 5926531 w 12117871"/>
                <a:gd name="connsiteY456" fmla="*/ 5184113 h 6072780"/>
                <a:gd name="connsiteX457" fmla="*/ 5942730 w 12117871"/>
                <a:gd name="connsiteY457" fmla="*/ 5176964 h 6072780"/>
                <a:gd name="connsiteX458" fmla="*/ 5958852 w 12117871"/>
                <a:gd name="connsiteY458" fmla="*/ 5168142 h 6072780"/>
                <a:gd name="connsiteX459" fmla="*/ 5975659 w 12117871"/>
                <a:gd name="connsiteY459" fmla="*/ 5157039 h 6072780"/>
                <a:gd name="connsiteX460" fmla="*/ 5090447 w 12117871"/>
                <a:gd name="connsiteY460" fmla="*/ 5157039 h 6072780"/>
                <a:gd name="connsiteX461" fmla="*/ 5161614 w 12117871"/>
                <a:gd name="connsiteY461" fmla="*/ 5267626 h 6072780"/>
                <a:gd name="connsiteX462" fmla="*/ 5141528 w 12117871"/>
                <a:gd name="connsiteY462" fmla="*/ 5351206 h 6072780"/>
                <a:gd name="connsiteX463" fmla="*/ 5085331 w 12117871"/>
                <a:gd name="connsiteY463" fmla="*/ 5380019 h 6072780"/>
                <a:gd name="connsiteX464" fmla="*/ 5032746 w 12117871"/>
                <a:gd name="connsiteY464" fmla="*/ 5352485 h 6072780"/>
                <a:gd name="connsiteX465" fmla="*/ 5013863 w 12117871"/>
                <a:gd name="connsiteY465" fmla="*/ 5272892 h 6072780"/>
                <a:gd name="connsiteX466" fmla="*/ 5033573 w 12117871"/>
                <a:gd name="connsiteY466" fmla="*/ 5186378 h 6072780"/>
                <a:gd name="connsiteX467" fmla="*/ 5090447 w 12117871"/>
                <a:gd name="connsiteY467" fmla="*/ 5157039 h 6072780"/>
                <a:gd name="connsiteX468" fmla="*/ 4694968 w 12117871"/>
                <a:gd name="connsiteY468" fmla="*/ 5157039 h 6072780"/>
                <a:gd name="connsiteX469" fmla="*/ 4709876 w 12117871"/>
                <a:gd name="connsiteY469" fmla="*/ 5157039 h 6072780"/>
                <a:gd name="connsiteX470" fmla="*/ 4709876 w 12117871"/>
                <a:gd name="connsiteY470" fmla="*/ 5380019 h 6072780"/>
                <a:gd name="connsiteX471" fmla="*/ 4674589 w 12117871"/>
                <a:gd name="connsiteY471" fmla="*/ 5380019 h 6072780"/>
                <a:gd name="connsiteX472" fmla="*/ 4674589 w 12117871"/>
                <a:gd name="connsiteY472" fmla="*/ 5200235 h 6072780"/>
                <a:gd name="connsiteX473" fmla="*/ 4653978 w 12117871"/>
                <a:gd name="connsiteY473" fmla="*/ 5211871 h 6072780"/>
                <a:gd name="connsiteX474" fmla="*/ 4628805 w 12117871"/>
                <a:gd name="connsiteY474" fmla="*/ 5220313 h 6072780"/>
                <a:gd name="connsiteX475" fmla="*/ 4628805 w 12117871"/>
                <a:gd name="connsiteY475" fmla="*/ 5190197 h 6072780"/>
                <a:gd name="connsiteX476" fmla="*/ 4645841 w 12117871"/>
                <a:gd name="connsiteY476" fmla="*/ 5184113 h 6072780"/>
                <a:gd name="connsiteX477" fmla="*/ 4662040 w 12117871"/>
                <a:gd name="connsiteY477" fmla="*/ 5176964 h 6072780"/>
                <a:gd name="connsiteX478" fmla="*/ 4678162 w 12117871"/>
                <a:gd name="connsiteY478" fmla="*/ 5168142 h 6072780"/>
                <a:gd name="connsiteX479" fmla="*/ 4694968 w 12117871"/>
                <a:gd name="connsiteY479" fmla="*/ 5157039 h 6072780"/>
                <a:gd name="connsiteX480" fmla="*/ 3158682 w 12117871"/>
                <a:gd name="connsiteY480" fmla="*/ 5157039 h 6072780"/>
                <a:gd name="connsiteX481" fmla="*/ 3173587 w 12117871"/>
                <a:gd name="connsiteY481" fmla="*/ 5157039 h 6072780"/>
                <a:gd name="connsiteX482" fmla="*/ 3173587 w 12117871"/>
                <a:gd name="connsiteY482" fmla="*/ 5380019 h 6072780"/>
                <a:gd name="connsiteX483" fmla="*/ 3138299 w 12117871"/>
                <a:gd name="connsiteY483" fmla="*/ 5380019 h 6072780"/>
                <a:gd name="connsiteX484" fmla="*/ 3138299 w 12117871"/>
                <a:gd name="connsiteY484" fmla="*/ 5200236 h 6072780"/>
                <a:gd name="connsiteX485" fmla="*/ 3117690 w 12117871"/>
                <a:gd name="connsiteY485" fmla="*/ 5211872 h 6072780"/>
                <a:gd name="connsiteX486" fmla="*/ 3092517 w 12117871"/>
                <a:gd name="connsiteY486" fmla="*/ 5220313 h 6072780"/>
                <a:gd name="connsiteX487" fmla="*/ 3092517 w 12117871"/>
                <a:gd name="connsiteY487" fmla="*/ 5190197 h 6072780"/>
                <a:gd name="connsiteX488" fmla="*/ 3109553 w 12117871"/>
                <a:gd name="connsiteY488" fmla="*/ 5184113 h 6072780"/>
                <a:gd name="connsiteX489" fmla="*/ 3125751 w 12117871"/>
                <a:gd name="connsiteY489" fmla="*/ 5176964 h 6072780"/>
                <a:gd name="connsiteX490" fmla="*/ 3141875 w 12117871"/>
                <a:gd name="connsiteY490" fmla="*/ 5168143 h 6072780"/>
                <a:gd name="connsiteX491" fmla="*/ 3158682 w 12117871"/>
                <a:gd name="connsiteY491" fmla="*/ 5157039 h 6072780"/>
                <a:gd name="connsiteX492" fmla="*/ 2489154 w 12117871"/>
                <a:gd name="connsiteY492" fmla="*/ 5157039 h 6072780"/>
                <a:gd name="connsiteX493" fmla="*/ 2504060 w 12117871"/>
                <a:gd name="connsiteY493" fmla="*/ 5157039 h 6072780"/>
                <a:gd name="connsiteX494" fmla="*/ 2504060 w 12117871"/>
                <a:gd name="connsiteY494" fmla="*/ 5380019 h 6072780"/>
                <a:gd name="connsiteX495" fmla="*/ 2468772 w 12117871"/>
                <a:gd name="connsiteY495" fmla="*/ 5380019 h 6072780"/>
                <a:gd name="connsiteX496" fmla="*/ 2468772 w 12117871"/>
                <a:gd name="connsiteY496" fmla="*/ 5200236 h 6072780"/>
                <a:gd name="connsiteX497" fmla="*/ 2448163 w 12117871"/>
                <a:gd name="connsiteY497" fmla="*/ 5211872 h 6072780"/>
                <a:gd name="connsiteX498" fmla="*/ 2422990 w 12117871"/>
                <a:gd name="connsiteY498" fmla="*/ 5220313 h 6072780"/>
                <a:gd name="connsiteX499" fmla="*/ 2422990 w 12117871"/>
                <a:gd name="connsiteY499" fmla="*/ 5190197 h 6072780"/>
                <a:gd name="connsiteX500" fmla="*/ 2440025 w 12117871"/>
                <a:gd name="connsiteY500" fmla="*/ 5184113 h 6072780"/>
                <a:gd name="connsiteX501" fmla="*/ 2456224 w 12117871"/>
                <a:gd name="connsiteY501" fmla="*/ 5176964 h 6072780"/>
                <a:gd name="connsiteX502" fmla="*/ 2472346 w 12117871"/>
                <a:gd name="connsiteY502" fmla="*/ 5168143 h 6072780"/>
                <a:gd name="connsiteX503" fmla="*/ 2489154 w 12117871"/>
                <a:gd name="connsiteY503" fmla="*/ 5157039 h 6072780"/>
                <a:gd name="connsiteX504" fmla="*/ 1599916 w 12117871"/>
                <a:gd name="connsiteY504" fmla="*/ 5157039 h 6072780"/>
                <a:gd name="connsiteX505" fmla="*/ 1614822 w 12117871"/>
                <a:gd name="connsiteY505" fmla="*/ 5157039 h 6072780"/>
                <a:gd name="connsiteX506" fmla="*/ 1614822 w 12117871"/>
                <a:gd name="connsiteY506" fmla="*/ 5380019 h 6072780"/>
                <a:gd name="connsiteX507" fmla="*/ 1579534 w 12117871"/>
                <a:gd name="connsiteY507" fmla="*/ 5380019 h 6072780"/>
                <a:gd name="connsiteX508" fmla="*/ 1579534 w 12117871"/>
                <a:gd name="connsiteY508" fmla="*/ 5200236 h 6072780"/>
                <a:gd name="connsiteX509" fmla="*/ 1558925 w 12117871"/>
                <a:gd name="connsiteY509" fmla="*/ 5211872 h 6072780"/>
                <a:gd name="connsiteX510" fmla="*/ 1533752 w 12117871"/>
                <a:gd name="connsiteY510" fmla="*/ 5220313 h 6072780"/>
                <a:gd name="connsiteX511" fmla="*/ 1533752 w 12117871"/>
                <a:gd name="connsiteY511" fmla="*/ 5190197 h 6072780"/>
                <a:gd name="connsiteX512" fmla="*/ 1550787 w 12117871"/>
                <a:gd name="connsiteY512" fmla="*/ 5184113 h 6072780"/>
                <a:gd name="connsiteX513" fmla="*/ 1566986 w 12117871"/>
                <a:gd name="connsiteY513" fmla="*/ 5176964 h 6072780"/>
                <a:gd name="connsiteX514" fmla="*/ 1583109 w 12117871"/>
                <a:gd name="connsiteY514" fmla="*/ 5168143 h 6072780"/>
                <a:gd name="connsiteX515" fmla="*/ 1599916 w 12117871"/>
                <a:gd name="connsiteY515" fmla="*/ 5157039 h 6072780"/>
                <a:gd name="connsiteX516" fmla="*/ 11874294 w 12117871"/>
                <a:gd name="connsiteY516" fmla="*/ 4871804 h 6072780"/>
                <a:gd name="connsiteX517" fmla="*/ 11835024 w 12117871"/>
                <a:gd name="connsiteY517" fmla="*/ 4958317 h 6072780"/>
                <a:gd name="connsiteX518" fmla="*/ 11873542 w 12117871"/>
                <a:gd name="connsiteY518" fmla="*/ 5039264 h 6072780"/>
                <a:gd name="connsiteX519" fmla="*/ 11911457 w 12117871"/>
                <a:gd name="connsiteY519" fmla="*/ 4956963 h 6072780"/>
                <a:gd name="connsiteX520" fmla="*/ 11874294 w 12117871"/>
                <a:gd name="connsiteY520" fmla="*/ 4871804 h 6072780"/>
                <a:gd name="connsiteX521" fmla="*/ 11189148 w 12117871"/>
                <a:gd name="connsiteY521" fmla="*/ 4871804 h 6072780"/>
                <a:gd name="connsiteX522" fmla="*/ 11149878 w 12117871"/>
                <a:gd name="connsiteY522" fmla="*/ 4958318 h 6072780"/>
                <a:gd name="connsiteX523" fmla="*/ 11188396 w 12117871"/>
                <a:gd name="connsiteY523" fmla="*/ 5039265 h 6072780"/>
                <a:gd name="connsiteX524" fmla="*/ 11226311 w 12117871"/>
                <a:gd name="connsiteY524" fmla="*/ 4956964 h 6072780"/>
                <a:gd name="connsiteX525" fmla="*/ 11189148 w 12117871"/>
                <a:gd name="connsiteY525" fmla="*/ 4871804 h 6072780"/>
                <a:gd name="connsiteX526" fmla="*/ 9936214 w 12117871"/>
                <a:gd name="connsiteY526" fmla="*/ 4871804 h 6072780"/>
                <a:gd name="connsiteX527" fmla="*/ 9896944 w 12117871"/>
                <a:gd name="connsiteY527" fmla="*/ 4958317 h 6072780"/>
                <a:gd name="connsiteX528" fmla="*/ 9935462 w 12117871"/>
                <a:gd name="connsiteY528" fmla="*/ 5039264 h 6072780"/>
                <a:gd name="connsiteX529" fmla="*/ 9973377 w 12117871"/>
                <a:gd name="connsiteY529" fmla="*/ 4956963 h 6072780"/>
                <a:gd name="connsiteX530" fmla="*/ 9936214 w 12117871"/>
                <a:gd name="connsiteY530" fmla="*/ 4871804 h 6072780"/>
                <a:gd name="connsiteX531" fmla="*/ 6366335 w 12117871"/>
                <a:gd name="connsiteY531" fmla="*/ 4871804 h 6072780"/>
                <a:gd name="connsiteX532" fmla="*/ 6327065 w 12117871"/>
                <a:gd name="connsiteY532" fmla="*/ 4958317 h 6072780"/>
                <a:gd name="connsiteX533" fmla="*/ 6365583 w 12117871"/>
                <a:gd name="connsiteY533" fmla="*/ 5039264 h 6072780"/>
                <a:gd name="connsiteX534" fmla="*/ 6403498 w 12117871"/>
                <a:gd name="connsiteY534" fmla="*/ 4956963 h 6072780"/>
                <a:gd name="connsiteX535" fmla="*/ 6366335 w 12117871"/>
                <a:gd name="connsiteY535" fmla="*/ 4871804 h 6072780"/>
                <a:gd name="connsiteX536" fmla="*/ 5088792 w 12117871"/>
                <a:gd name="connsiteY536" fmla="*/ 4871804 h 6072780"/>
                <a:gd name="connsiteX537" fmla="*/ 5049522 w 12117871"/>
                <a:gd name="connsiteY537" fmla="*/ 4958317 h 6072780"/>
                <a:gd name="connsiteX538" fmla="*/ 5088041 w 12117871"/>
                <a:gd name="connsiteY538" fmla="*/ 5039264 h 6072780"/>
                <a:gd name="connsiteX539" fmla="*/ 5125957 w 12117871"/>
                <a:gd name="connsiteY539" fmla="*/ 4956963 h 6072780"/>
                <a:gd name="connsiteX540" fmla="*/ 5088792 w 12117871"/>
                <a:gd name="connsiteY540" fmla="*/ 4871804 h 6072780"/>
                <a:gd name="connsiteX541" fmla="*/ 3614881 w 12117871"/>
                <a:gd name="connsiteY541" fmla="*/ 4871804 h 6072780"/>
                <a:gd name="connsiteX542" fmla="*/ 3575611 w 12117871"/>
                <a:gd name="connsiteY542" fmla="*/ 4958318 h 6072780"/>
                <a:gd name="connsiteX543" fmla="*/ 3614130 w 12117871"/>
                <a:gd name="connsiteY543" fmla="*/ 5039265 h 6072780"/>
                <a:gd name="connsiteX544" fmla="*/ 3652044 w 12117871"/>
                <a:gd name="connsiteY544" fmla="*/ 4956964 h 6072780"/>
                <a:gd name="connsiteX545" fmla="*/ 3614881 w 12117871"/>
                <a:gd name="connsiteY545" fmla="*/ 4871804 h 6072780"/>
                <a:gd name="connsiteX546" fmla="*/ 12062430 w 12117871"/>
                <a:gd name="connsiteY546" fmla="*/ 4843969 h 6072780"/>
                <a:gd name="connsiteX547" fmla="*/ 12077336 w 12117871"/>
                <a:gd name="connsiteY547" fmla="*/ 4843969 h 6072780"/>
                <a:gd name="connsiteX548" fmla="*/ 12077336 w 12117871"/>
                <a:gd name="connsiteY548" fmla="*/ 5066949 h 6072780"/>
                <a:gd name="connsiteX549" fmla="*/ 12042048 w 12117871"/>
                <a:gd name="connsiteY549" fmla="*/ 5066949 h 6072780"/>
                <a:gd name="connsiteX550" fmla="*/ 12042048 w 12117871"/>
                <a:gd name="connsiteY550" fmla="*/ 4887165 h 6072780"/>
                <a:gd name="connsiteX551" fmla="*/ 12021439 w 12117871"/>
                <a:gd name="connsiteY551" fmla="*/ 4898801 h 6072780"/>
                <a:gd name="connsiteX552" fmla="*/ 11996266 w 12117871"/>
                <a:gd name="connsiteY552" fmla="*/ 4907243 h 6072780"/>
                <a:gd name="connsiteX553" fmla="*/ 11996266 w 12117871"/>
                <a:gd name="connsiteY553" fmla="*/ 4877127 h 6072780"/>
                <a:gd name="connsiteX554" fmla="*/ 12013301 w 12117871"/>
                <a:gd name="connsiteY554" fmla="*/ 4871043 h 6072780"/>
                <a:gd name="connsiteX555" fmla="*/ 12029500 w 12117871"/>
                <a:gd name="connsiteY555" fmla="*/ 4863894 h 6072780"/>
                <a:gd name="connsiteX556" fmla="*/ 12045623 w 12117871"/>
                <a:gd name="connsiteY556" fmla="*/ 4855072 h 6072780"/>
                <a:gd name="connsiteX557" fmla="*/ 12062430 w 12117871"/>
                <a:gd name="connsiteY557" fmla="*/ 4843969 h 6072780"/>
                <a:gd name="connsiteX558" fmla="*/ 11875949 w 12117871"/>
                <a:gd name="connsiteY558" fmla="*/ 4843969 h 6072780"/>
                <a:gd name="connsiteX559" fmla="*/ 11947116 w 12117871"/>
                <a:gd name="connsiteY559" fmla="*/ 4954556 h 6072780"/>
                <a:gd name="connsiteX560" fmla="*/ 11927030 w 12117871"/>
                <a:gd name="connsiteY560" fmla="*/ 5038136 h 6072780"/>
                <a:gd name="connsiteX561" fmla="*/ 11870833 w 12117871"/>
                <a:gd name="connsiteY561" fmla="*/ 5066949 h 6072780"/>
                <a:gd name="connsiteX562" fmla="*/ 11818248 w 12117871"/>
                <a:gd name="connsiteY562" fmla="*/ 5039415 h 6072780"/>
                <a:gd name="connsiteX563" fmla="*/ 11799365 w 12117871"/>
                <a:gd name="connsiteY563" fmla="*/ 4959822 h 6072780"/>
                <a:gd name="connsiteX564" fmla="*/ 11819075 w 12117871"/>
                <a:gd name="connsiteY564" fmla="*/ 4873308 h 6072780"/>
                <a:gd name="connsiteX565" fmla="*/ 11875949 w 12117871"/>
                <a:gd name="connsiteY565" fmla="*/ 4843969 h 6072780"/>
                <a:gd name="connsiteX566" fmla="*/ 11190803 w 12117871"/>
                <a:gd name="connsiteY566" fmla="*/ 4843969 h 6072780"/>
                <a:gd name="connsiteX567" fmla="*/ 11261970 w 12117871"/>
                <a:gd name="connsiteY567" fmla="*/ 4954557 h 6072780"/>
                <a:gd name="connsiteX568" fmla="*/ 11241884 w 12117871"/>
                <a:gd name="connsiteY568" fmla="*/ 5038136 h 6072780"/>
                <a:gd name="connsiteX569" fmla="*/ 11185687 w 12117871"/>
                <a:gd name="connsiteY569" fmla="*/ 5066949 h 6072780"/>
                <a:gd name="connsiteX570" fmla="*/ 11133102 w 12117871"/>
                <a:gd name="connsiteY570" fmla="*/ 5039415 h 6072780"/>
                <a:gd name="connsiteX571" fmla="*/ 11114219 w 12117871"/>
                <a:gd name="connsiteY571" fmla="*/ 4959823 h 6072780"/>
                <a:gd name="connsiteX572" fmla="*/ 11133929 w 12117871"/>
                <a:gd name="connsiteY572" fmla="*/ 4873309 h 6072780"/>
                <a:gd name="connsiteX573" fmla="*/ 11190803 w 12117871"/>
                <a:gd name="connsiteY573" fmla="*/ 4843969 h 6072780"/>
                <a:gd name="connsiteX574" fmla="*/ 10143427 w 12117871"/>
                <a:gd name="connsiteY574" fmla="*/ 4843969 h 6072780"/>
                <a:gd name="connsiteX575" fmla="*/ 10158333 w 12117871"/>
                <a:gd name="connsiteY575" fmla="*/ 4843969 h 6072780"/>
                <a:gd name="connsiteX576" fmla="*/ 10158333 w 12117871"/>
                <a:gd name="connsiteY576" fmla="*/ 5066949 h 6072780"/>
                <a:gd name="connsiteX577" fmla="*/ 10123045 w 12117871"/>
                <a:gd name="connsiteY577" fmla="*/ 5066949 h 6072780"/>
                <a:gd name="connsiteX578" fmla="*/ 10123045 w 12117871"/>
                <a:gd name="connsiteY578" fmla="*/ 4887165 h 6072780"/>
                <a:gd name="connsiteX579" fmla="*/ 10102436 w 12117871"/>
                <a:gd name="connsiteY579" fmla="*/ 4898801 h 6072780"/>
                <a:gd name="connsiteX580" fmla="*/ 10077263 w 12117871"/>
                <a:gd name="connsiteY580" fmla="*/ 4907243 h 6072780"/>
                <a:gd name="connsiteX581" fmla="*/ 10077263 w 12117871"/>
                <a:gd name="connsiteY581" fmla="*/ 4877127 h 6072780"/>
                <a:gd name="connsiteX582" fmla="*/ 10094298 w 12117871"/>
                <a:gd name="connsiteY582" fmla="*/ 4871043 h 6072780"/>
                <a:gd name="connsiteX583" fmla="*/ 10110497 w 12117871"/>
                <a:gd name="connsiteY583" fmla="*/ 4863894 h 6072780"/>
                <a:gd name="connsiteX584" fmla="*/ 10126620 w 12117871"/>
                <a:gd name="connsiteY584" fmla="*/ 4855072 h 6072780"/>
                <a:gd name="connsiteX585" fmla="*/ 10143427 w 12117871"/>
                <a:gd name="connsiteY585" fmla="*/ 4843969 h 6072780"/>
                <a:gd name="connsiteX586" fmla="*/ 9937869 w 12117871"/>
                <a:gd name="connsiteY586" fmla="*/ 4843969 h 6072780"/>
                <a:gd name="connsiteX587" fmla="*/ 10009036 w 12117871"/>
                <a:gd name="connsiteY587" fmla="*/ 4954556 h 6072780"/>
                <a:gd name="connsiteX588" fmla="*/ 9988950 w 12117871"/>
                <a:gd name="connsiteY588" fmla="*/ 5038136 h 6072780"/>
                <a:gd name="connsiteX589" fmla="*/ 9932753 w 12117871"/>
                <a:gd name="connsiteY589" fmla="*/ 5066949 h 6072780"/>
                <a:gd name="connsiteX590" fmla="*/ 9880168 w 12117871"/>
                <a:gd name="connsiteY590" fmla="*/ 5039415 h 6072780"/>
                <a:gd name="connsiteX591" fmla="*/ 9861285 w 12117871"/>
                <a:gd name="connsiteY591" fmla="*/ 4959822 h 6072780"/>
                <a:gd name="connsiteX592" fmla="*/ 9880995 w 12117871"/>
                <a:gd name="connsiteY592" fmla="*/ 4873308 h 6072780"/>
                <a:gd name="connsiteX593" fmla="*/ 9937869 w 12117871"/>
                <a:gd name="connsiteY593" fmla="*/ 4843969 h 6072780"/>
                <a:gd name="connsiteX594" fmla="*/ 9557012 w 12117871"/>
                <a:gd name="connsiteY594" fmla="*/ 4843969 h 6072780"/>
                <a:gd name="connsiteX595" fmla="*/ 9571918 w 12117871"/>
                <a:gd name="connsiteY595" fmla="*/ 4843969 h 6072780"/>
                <a:gd name="connsiteX596" fmla="*/ 9571918 w 12117871"/>
                <a:gd name="connsiteY596" fmla="*/ 5066949 h 6072780"/>
                <a:gd name="connsiteX597" fmla="*/ 9536630 w 12117871"/>
                <a:gd name="connsiteY597" fmla="*/ 5066949 h 6072780"/>
                <a:gd name="connsiteX598" fmla="*/ 9536630 w 12117871"/>
                <a:gd name="connsiteY598" fmla="*/ 4887165 h 6072780"/>
                <a:gd name="connsiteX599" fmla="*/ 9516021 w 12117871"/>
                <a:gd name="connsiteY599" fmla="*/ 4898801 h 6072780"/>
                <a:gd name="connsiteX600" fmla="*/ 9490848 w 12117871"/>
                <a:gd name="connsiteY600" fmla="*/ 4907243 h 6072780"/>
                <a:gd name="connsiteX601" fmla="*/ 9490848 w 12117871"/>
                <a:gd name="connsiteY601" fmla="*/ 4877127 h 6072780"/>
                <a:gd name="connsiteX602" fmla="*/ 9507883 w 12117871"/>
                <a:gd name="connsiteY602" fmla="*/ 4871043 h 6072780"/>
                <a:gd name="connsiteX603" fmla="*/ 9524082 w 12117871"/>
                <a:gd name="connsiteY603" fmla="*/ 4863894 h 6072780"/>
                <a:gd name="connsiteX604" fmla="*/ 9540205 w 12117871"/>
                <a:gd name="connsiteY604" fmla="*/ 4855072 h 6072780"/>
                <a:gd name="connsiteX605" fmla="*/ 9557012 w 12117871"/>
                <a:gd name="connsiteY605" fmla="*/ 4843969 h 6072780"/>
                <a:gd name="connsiteX606" fmla="*/ 9254256 w 12117871"/>
                <a:gd name="connsiteY606" fmla="*/ 4843969 h 6072780"/>
                <a:gd name="connsiteX607" fmla="*/ 9269162 w 12117871"/>
                <a:gd name="connsiteY607" fmla="*/ 4843969 h 6072780"/>
                <a:gd name="connsiteX608" fmla="*/ 9269162 w 12117871"/>
                <a:gd name="connsiteY608" fmla="*/ 5066949 h 6072780"/>
                <a:gd name="connsiteX609" fmla="*/ 9233874 w 12117871"/>
                <a:gd name="connsiteY609" fmla="*/ 5066949 h 6072780"/>
                <a:gd name="connsiteX610" fmla="*/ 9233874 w 12117871"/>
                <a:gd name="connsiteY610" fmla="*/ 4887165 h 6072780"/>
                <a:gd name="connsiteX611" fmla="*/ 9213265 w 12117871"/>
                <a:gd name="connsiteY611" fmla="*/ 4898801 h 6072780"/>
                <a:gd name="connsiteX612" fmla="*/ 9188092 w 12117871"/>
                <a:gd name="connsiteY612" fmla="*/ 4907243 h 6072780"/>
                <a:gd name="connsiteX613" fmla="*/ 9188092 w 12117871"/>
                <a:gd name="connsiteY613" fmla="*/ 4877127 h 6072780"/>
                <a:gd name="connsiteX614" fmla="*/ 9205127 w 12117871"/>
                <a:gd name="connsiteY614" fmla="*/ 4871043 h 6072780"/>
                <a:gd name="connsiteX615" fmla="*/ 9221326 w 12117871"/>
                <a:gd name="connsiteY615" fmla="*/ 4863894 h 6072780"/>
                <a:gd name="connsiteX616" fmla="*/ 9237449 w 12117871"/>
                <a:gd name="connsiteY616" fmla="*/ 4855072 h 6072780"/>
                <a:gd name="connsiteX617" fmla="*/ 9254256 w 12117871"/>
                <a:gd name="connsiteY617" fmla="*/ 4843969 h 6072780"/>
                <a:gd name="connsiteX618" fmla="*/ 7851748 w 12117871"/>
                <a:gd name="connsiteY618" fmla="*/ 4843969 h 6072780"/>
                <a:gd name="connsiteX619" fmla="*/ 7866654 w 12117871"/>
                <a:gd name="connsiteY619" fmla="*/ 4843969 h 6072780"/>
                <a:gd name="connsiteX620" fmla="*/ 7866654 w 12117871"/>
                <a:gd name="connsiteY620" fmla="*/ 5066949 h 6072780"/>
                <a:gd name="connsiteX621" fmla="*/ 7831366 w 12117871"/>
                <a:gd name="connsiteY621" fmla="*/ 5066949 h 6072780"/>
                <a:gd name="connsiteX622" fmla="*/ 7831366 w 12117871"/>
                <a:gd name="connsiteY622" fmla="*/ 4887165 h 6072780"/>
                <a:gd name="connsiteX623" fmla="*/ 7810757 w 12117871"/>
                <a:gd name="connsiteY623" fmla="*/ 4898801 h 6072780"/>
                <a:gd name="connsiteX624" fmla="*/ 7785584 w 12117871"/>
                <a:gd name="connsiteY624" fmla="*/ 4907243 h 6072780"/>
                <a:gd name="connsiteX625" fmla="*/ 7785584 w 12117871"/>
                <a:gd name="connsiteY625" fmla="*/ 4877127 h 6072780"/>
                <a:gd name="connsiteX626" fmla="*/ 7802619 w 12117871"/>
                <a:gd name="connsiteY626" fmla="*/ 4871043 h 6072780"/>
                <a:gd name="connsiteX627" fmla="*/ 7818818 w 12117871"/>
                <a:gd name="connsiteY627" fmla="*/ 4863894 h 6072780"/>
                <a:gd name="connsiteX628" fmla="*/ 7834941 w 12117871"/>
                <a:gd name="connsiteY628" fmla="*/ 4855072 h 6072780"/>
                <a:gd name="connsiteX629" fmla="*/ 7851748 w 12117871"/>
                <a:gd name="connsiteY629" fmla="*/ 4843969 h 6072780"/>
                <a:gd name="connsiteX630" fmla="*/ 7015147 w 12117871"/>
                <a:gd name="connsiteY630" fmla="*/ 4843969 h 6072780"/>
                <a:gd name="connsiteX631" fmla="*/ 7030053 w 12117871"/>
                <a:gd name="connsiteY631" fmla="*/ 4843969 h 6072780"/>
                <a:gd name="connsiteX632" fmla="*/ 7030053 w 12117871"/>
                <a:gd name="connsiteY632" fmla="*/ 5066949 h 6072780"/>
                <a:gd name="connsiteX633" fmla="*/ 6994765 w 12117871"/>
                <a:gd name="connsiteY633" fmla="*/ 5066949 h 6072780"/>
                <a:gd name="connsiteX634" fmla="*/ 6994765 w 12117871"/>
                <a:gd name="connsiteY634" fmla="*/ 4887165 h 6072780"/>
                <a:gd name="connsiteX635" fmla="*/ 6974156 w 12117871"/>
                <a:gd name="connsiteY635" fmla="*/ 4898801 h 6072780"/>
                <a:gd name="connsiteX636" fmla="*/ 6948983 w 12117871"/>
                <a:gd name="connsiteY636" fmla="*/ 4907243 h 6072780"/>
                <a:gd name="connsiteX637" fmla="*/ 6948983 w 12117871"/>
                <a:gd name="connsiteY637" fmla="*/ 4877127 h 6072780"/>
                <a:gd name="connsiteX638" fmla="*/ 6966018 w 12117871"/>
                <a:gd name="connsiteY638" fmla="*/ 4871043 h 6072780"/>
                <a:gd name="connsiteX639" fmla="*/ 6982217 w 12117871"/>
                <a:gd name="connsiteY639" fmla="*/ 4863894 h 6072780"/>
                <a:gd name="connsiteX640" fmla="*/ 6998340 w 12117871"/>
                <a:gd name="connsiteY640" fmla="*/ 4855072 h 6072780"/>
                <a:gd name="connsiteX641" fmla="*/ 7015147 w 12117871"/>
                <a:gd name="connsiteY641" fmla="*/ 4843969 h 6072780"/>
                <a:gd name="connsiteX642" fmla="*/ 6584323 w 12117871"/>
                <a:gd name="connsiteY642" fmla="*/ 4843969 h 6072780"/>
                <a:gd name="connsiteX643" fmla="*/ 6599229 w 12117871"/>
                <a:gd name="connsiteY643" fmla="*/ 4843969 h 6072780"/>
                <a:gd name="connsiteX644" fmla="*/ 6599229 w 12117871"/>
                <a:gd name="connsiteY644" fmla="*/ 5066949 h 6072780"/>
                <a:gd name="connsiteX645" fmla="*/ 6563941 w 12117871"/>
                <a:gd name="connsiteY645" fmla="*/ 5066949 h 6072780"/>
                <a:gd name="connsiteX646" fmla="*/ 6563941 w 12117871"/>
                <a:gd name="connsiteY646" fmla="*/ 4887165 h 6072780"/>
                <a:gd name="connsiteX647" fmla="*/ 6543332 w 12117871"/>
                <a:gd name="connsiteY647" fmla="*/ 4898801 h 6072780"/>
                <a:gd name="connsiteX648" fmla="*/ 6518159 w 12117871"/>
                <a:gd name="connsiteY648" fmla="*/ 4907243 h 6072780"/>
                <a:gd name="connsiteX649" fmla="*/ 6518159 w 12117871"/>
                <a:gd name="connsiteY649" fmla="*/ 4877127 h 6072780"/>
                <a:gd name="connsiteX650" fmla="*/ 6535194 w 12117871"/>
                <a:gd name="connsiteY650" fmla="*/ 4871043 h 6072780"/>
                <a:gd name="connsiteX651" fmla="*/ 6551393 w 12117871"/>
                <a:gd name="connsiteY651" fmla="*/ 4863894 h 6072780"/>
                <a:gd name="connsiteX652" fmla="*/ 6567516 w 12117871"/>
                <a:gd name="connsiteY652" fmla="*/ 4855072 h 6072780"/>
                <a:gd name="connsiteX653" fmla="*/ 6584323 w 12117871"/>
                <a:gd name="connsiteY653" fmla="*/ 4843969 h 6072780"/>
                <a:gd name="connsiteX654" fmla="*/ 6367990 w 12117871"/>
                <a:gd name="connsiteY654" fmla="*/ 4843969 h 6072780"/>
                <a:gd name="connsiteX655" fmla="*/ 6439157 w 12117871"/>
                <a:gd name="connsiteY655" fmla="*/ 4954556 h 6072780"/>
                <a:gd name="connsiteX656" fmla="*/ 6419071 w 12117871"/>
                <a:gd name="connsiteY656" fmla="*/ 5038136 h 6072780"/>
                <a:gd name="connsiteX657" fmla="*/ 6362874 w 12117871"/>
                <a:gd name="connsiteY657" fmla="*/ 5066949 h 6072780"/>
                <a:gd name="connsiteX658" fmla="*/ 6310289 w 12117871"/>
                <a:gd name="connsiteY658" fmla="*/ 5039415 h 6072780"/>
                <a:gd name="connsiteX659" fmla="*/ 6291406 w 12117871"/>
                <a:gd name="connsiteY659" fmla="*/ 4959822 h 6072780"/>
                <a:gd name="connsiteX660" fmla="*/ 6311116 w 12117871"/>
                <a:gd name="connsiteY660" fmla="*/ 4873308 h 6072780"/>
                <a:gd name="connsiteX661" fmla="*/ 6367990 w 12117871"/>
                <a:gd name="connsiteY661" fmla="*/ 4843969 h 6072780"/>
                <a:gd name="connsiteX662" fmla="*/ 5975659 w 12117871"/>
                <a:gd name="connsiteY662" fmla="*/ 4843969 h 6072780"/>
                <a:gd name="connsiteX663" fmla="*/ 5990568 w 12117871"/>
                <a:gd name="connsiteY663" fmla="*/ 4843969 h 6072780"/>
                <a:gd name="connsiteX664" fmla="*/ 5990568 w 12117871"/>
                <a:gd name="connsiteY664" fmla="*/ 5066949 h 6072780"/>
                <a:gd name="connsiteX665" fmla="*/ 5955278 w 12117871"/>
                <a:gd name="connsiteY665" fmla="*/ 5066949 h 6072780"/>
                <a:gd name="connsiteX666" fmla="*/ 5955278 w 12117871"/>
                <a:gd name="connsiteY666" fmla="*/ 4887165 h 6072780"/>
                <a:gd name="connsiteX667" fmla="*/ 5934669 w 12117871"/>
                <a:gd name="connsiteY667" fmla="*/ 4898801 h 6072780"/>
                <a:gd name="connsiteX668" fmla="*/ 5909498 w 12117871"/>
                <a:gd name="connsiteY668" fmla="*/ 4907243 h 6072780"/>
                <a:gd name="connsiteX669" fmla="*/ 5909498 w 12117871"/>
                <a:gd name="connsiteY669" fmla="*/ 4877127 h 6072780"/>
                <a:gd name="connsiteX670" fmla="*/ 5926531 w 12117871"/>
                <a:gd name="connsiteY670" fmla="*/ 4871043 h 6072780"/>
                <a:gd name="connsiteX671" fmla="*/ 5942730 w 12117871"/>
                <a:gd name="connsiteY671" fmla="*/ 4863894 h 6072780"/>
                <a:gd name="connsiteX672" fmla="*/ 5958852 w 12117871"/>
                <a:gd name="connsiteY672" fmla="*/ 4855072 h 6072780"/>
                <a:gd name="connsiteX673" fmla="*/ 5975659 w 12117871"/>
                <a:gd name="connsiteY673" fmla="*/ 4843969 h 6072780"/>
                <a:gd name="connsiteX674" fmla="*/ 5090447 w 12117871"/>
                <a:gd name="connsiteY674" fmla="*/ 4843969 h 6072780"/>
                <a:gd name="connsiteX675" fmla="*/ 5161614 w 12117871"/>
                <a:gd name="connsiteY675" fmla="*/ 4954556 h 6072780"/>
                <a:gd name="connsiteX676" fmla="*/ 5141528 w 12117871"/>
                <a:gd name="connsiteY676" fmla="*/ 5038136 h 6072780"/>
                <a:gd name="connsiteX677" fmla="*/ 5085331 w 12117871"/>
                <a:gd name="connsiteY677" fmla="*/ 5066949 h 6072780"/>
                <a:gd name="connsiteX678" fmla="*/ 5032746 w 12117871"/>
                <a:gd name="connsiteY678" fmla="*/ 5039415 h 6072780"/>
                <a:gd name="connsiteX679" fmla="*/ 5013863 w 12117871"/>
                <a:gd name="connsiteY679" fmla="*/ 4959822 h 6072780"/>
                <a:gd name="connsiteX680" fmla="*/ 5033573 w 12117871"/>
                <a:gd name="connsiteY680" fmla="*/ 4873308 h 6072780"/>
                <a:gd name="connsiteX681" fmla="*/ 5090447 w 12117871"/>
                <a:gd name="connsiteY681" fmla="*/ 4843969 h 6072780"/>
                <a:gd name="connsiteX682" fmla="*/ 4694968 w 12117871"/>
                <a:gd name="connsiteY682" fmla="*/ 4843969 h 6072780"/>
                <a:gd name="connsiteX683" fmla="*/ 4709876 w 12117871"/>
                <a:gd name="connsiteY683" fmla="*/ 4843969 h 6072780"/>
                <a:gd name="connsiteX684" fmla="*/ 4709876 w 12117871"/>
                <a:gd name="connsiteY684" fmla="*/ 5066949 h 6072780"/>
                <a:gd name="connsiteX685" fmla="*/ 4674589 w 12117871"/>
                <a:gd name="connsiteY685" fmla="*/ 5066949 h 6072780"/>
                <a:gd name="connsiteX686" fmla="*/ 4674589 w 12117871"/>
                <a:gd name="connsiteY686" fmla="*/ 4887165 h 6072780"/>
                <a:gd name="connsiteX687" fmla="*/ 4653978 w 12117871"/>
                <a:gd name="connsiteY687" fmla="*/ 4898801 h 6072780"/>
                <a:gd name="connsiteX688" fmla="*/ 4628805 w 12117871"/>
                <a:gd name="connsiteY688" fmla="*/ 4907243 h 6072780"/>
                <a:gd name="connsiteX689" fmla="*/ 4628805 w 12117871"/>
                <a:gd name="connsiteY689" fmla="*/ 4877127 h 6072780"/>
                <a:gd name="connsiteX690" fmla="*/ 4645841 w 12117871"/>
                <a:gd name="connsiteY690" fmla="*/ 4871043 h 6072780"/>
                <a:gd name="connsiteX691" fmla="*/ 4662040 w 12117871"/>
                <a:gd name="connsiteY691" fmla="*/ 4863894 h 6072780"/>
                <a:gd name="connsiteX692" fmla="*/ 4678162 w 12117871"/>
                <a:gd name="connsiteY692" fmla="*/ 4855072 h 6072780"/>
                <a:gd name="connsiteX693" fmla="*/ 4694968 w 12117871"/>
                <a:gd name="connsiteY693" fmla="*/ 4843969 h 6072780"/>
                <a:gd name="connsiteX694" fmla="*/ 4345906 w 12117871"/>
                <a:gd name="connsiteY694" fmla="*/ 4843969 h 6072780"/>
                <a:gd name="connsiteX695" fmla="*/ 4360813 w 12117871"/>
                <a:gd name="connsiteY695" fmla="*/ 4843969 h 6072780"/>
                <a:gd name="connsiteX696" fmla="*/ 4360813 w 12117871"/>
                <a:gd name="connsiteY696" fmla="*/ 5066949 h 6072780"/>
                <a:gd name="connsiteX697" fmla="*/ 4325525 w 12117871"/>
                <a:gd name="connsiteY697" fmla="*/ 5066949 h 6072780"/>
                <a:gd name="connsiteX698" fmla="*/ 4325525 w 12117871"/>
                <a:gd name="connsiteY698" fmla="*/ 4887165 h 6072780"/>
                <a:gd name="connsiteX699" fmla="*/ 4304915 w 12117871"/>
                <a:gd name="connsiteY699" fmla="*/ 4898801 h 6072780"/>
                <a:gd name="connsiteX700" fmla="*/ 4279743 w 12117871"/>
                <a:gd name="connsiteY700" fmla="*/ 4907243 h 6072780"/>
                <a:gd name="connsiteX701" fmla="*/ 4279743 w 12117871"/>
                <a:gd name="connsiteY701" fmla="*/ 4877127 h 6072780"/>
                <a:gd name="connsiteX702" fmla="*/ 4296778 w 12117871"/>
                <a:gd name="connsiteY702" fmla="*/ 4871043 h 6072780"/>
                <a:gd name="connsiteX703" fmla="*/ 4312977 w 12117871"/>
                <a:gd name="connsiteY703" fmla="*/ 4863894 h 6072780"/>
                <a:gd name="connsiteX704" fmla="*/ 4329099 w 12117871"/>
                <a:gd name="connsiteY704" fmla="*/ 4855072 h 6072780"/>
                <a:gd name="connsiteX705" fmla="*/ 4345906 w 12117871"/>
                <a:gd name="connsiteY705" fmla="*/ 4843969 h 6072780"/>
                <a:gd name="connsiteX706" fmla="*/ 3616537 w 12117871"/>
                <a:gd name="connsiteY706" fmla="*/ 4843969 h 6072780"/>
                <a:gd name="connsiteX707" fmla="*/ 3687703 w 12117871"/>
                <a:gd name="connsiteY707" fmla="*/ 4954557 h 6072780"/>
                <a:gd name="connsiteX708" fmla="*/ 3667617 w 12117871"/>
                <a:gd name="connsiteY708" fmla="*/ 5038136 h 6072780"/>
                <a:gd name="connsiteX709" fmla="*/ 3611420 w 12117871"/>
                <a:gd name="connsiteY709" fmla="*/ 5066949 h 6072780"/>
                <a:gd name="connsiteX710" fmla="*/ 3558835 w 12117871"/>
                <a:gd name="connsiteY710" fmla="*/ 5039415 h 6072780"/>
                <a:gd name="connsiteX711" fmla="*/ 3539952 w 12117871"/>
                <a:gd name="connsiteY711" fmla="*/ 4959823 h 6072780"/>
                <a:gd name="connsiteX712" fmla="*/ 3559662 w 12117871"/>
                <a:gd name="connsiteY712" fmla="*/ 4873309 h 6072780"/>
                <a:gd name="connsiteX713" fmla="*/ 3616537 w 12117871"/>
                <a:gd name="connsiteY713" fmla="*/ 4843969 h 6072780"/>
                <a:gd name="connsiteX714" fmla="*/ 3454863 w 12117871"/>
                <a:gd name="connsiteY714" fmla="*/ 4843969 h 6072780"/>
                <a:gd name="connsiteX715" fmla="*/ 3469768 w 12117871"/>
                <a:gd name="connsiteY715" fmla="*/ 4843969 h 6072780"/>
                <a:gd name="connsiteX716" fmla="*/ 3469768 w 12117871"/>
                <a:gd name="connsiteY716" fmla="*/ 5066949 h 6072780"/>
                <a:gd name="connsiteX717" fmla="*/ 3434481 w 12117871"/>
                <a:gd name="connsiteY717" fmla="*/ 5066949 h 6072780"/>
                <a:gd name="connsiteX718" fmla="*/ 3434481 w 12117871"/>
                <a:gd name="connsiteY718" fmla="*/ 4887166 h 6072780"/>
                <a:gd name="connsiteX719" fmla="*/ 3413872 w 12117871"/>
                <a:gd name="connsiteY719" fmla="*/ 4898802 h 6072780"/>
                <a:gd name="connsiteX720" fmla="*/ 3388698 w 12117871"/>
                <a:gd name="connsiteY720" fmla="*/ 4907243 h 6072780"/>
                <a:gd name="connsiteX721" fmla="*/ 3388698 w 12117871"/>
                <a:gd name="connsiteY721" fmla="*/ 4877127 h 6072780"/>
                <a:gd name="connsiteX722" fmla="*/ 3405734 w 12117871"/>
                <a:gd name="connsiteY722" fmla="*/ 4871043 h 6072780"/>
                <a:gd name="connsiteX723" fmla="*/ 3421933 w 12117871"/>
                <a:gd name="connsiteY723" fmla="*/ 4863894 h 6072780"/>
                <a:gd name="connsiteX724" fmla="*/ 3438054 w 12117871"/>
                <a:gd name="connsiteY724" fmla="*/ 4855073 h 6072780"/>
                <a:gd name="connsiteX725" fmla="*/ 3454863 w 12117871"/>
                <a:gd name="connsiteY725" fmla="*/ 4843969 h 6072780"/>
                <a:gd name="connsiteX726" fmla="*/ 3158682 w 12117871"/>
                <a:gd name="connsiteY726" fmla="*/ 4843969 h 6072780"/>
                <a:gd name="connsiteX727" fmla="*/ 3173587 w 12117871"/>
                <a:gd name="connsiteY727" fmla="*/ 4843969 h 6072780"/>
                <a:gd name="connsiteX728" fmla="*/ 3173587 w 12117871"/>
                <a:gd name="connsiteY728" fmla="*/ 5066949 h 6072780"/>
                <a:gd name="connsiteX729" fmla="*/ 3138299 w 12117871"/>
                <a:gd name="connsiteY729" fmla="*/ 5066949 h 6072780"/>
                <a:gd name="connsiteX730" fmla="*/ 3138299 w 12117871"/>
                <a:gd name="connsiteY730" fmla="*/ 4887166 h 6072780"/>
                <a:gd name="connsiteX731" fmla="*/ 3117690 w 12117871"/>
                <a:gd name="connsiteY731" fmla="*/ 4898802 h 6072780"/>
                <a:gd name="connsiteX732" fmla="*/ 3092517 w 12117871"/>
                <a:gd name="connsiteY732" fmla="*/ 4907243 h 6072780"/>
                <a:gd name="connsiteX733" fmla="*/ 3092517 w 12117871"/>
                <a:gd name="connsiteY733" fmla="*/ 4877127 h 6072780"/>
                <a:gd name="connsiteX734" fmla="*/ 3109553 w 12117871"/>
                <a:gd name="connsiteY734" fmla="*/ 4871043 h 6072780"/>
                <a:gd name="connsiteX735" fmla="*/ 3125751 w 12117871"/>
                <a:gd name="connsiteY735" fmla="*/ 4863894 h 6072780"/>
                <a:gd name="connsiteX736" fmla="*/ 3141875 w 12117871"/>
                <a:gd name="connsiteY736" fmla="*/ 4855073 h 6072780"/>
                <a:gd name="connsiteX737" fmla="*/ 3158682 w 12117871"/>
                <a:gd name="connsiteY737" fmla="*/ 4843969 h 6072780"/>
                <a:gd name="connsiteX738" fmla="*/ 2489154 w 12117871"/>
                <a:gd name="connsiteY738" fmla="*/ 4843969 h 6072780"/>
                <a:gd name="connsiteX739" fmla="*/ 2504060 w 12117871"/>
                <a:gd name="connsiteY739" fmla="*/ 4843969 h 6072780"/>
                <a:gd name="connsiteX740" fmla="*/ 2504060 w 12117871"/>
                <a:gd name="connsiteY740" fmla="*/ 5066949 h 6072780"/>
                <a:gd name="connsiteX741" fmla="*/ 2468772 w 12117871"/>
                <a:gd name="connsiteY741" fmla="*/ 5066949 h 6072780"/>
                <a:gd name="connsiteX742" fmla="*/ 2468772 w 12117871"/>
                <a:gd name="connsiteY742" fmla="*/ 4887166 h 6072780"/>
                <a:gd name="connsiteX743" fmla="*/ 2448163 w 12117871"/>
                <a:gd name="connsiteY743" fmla="*/ 4898802 h 6072780"/>
                <a:gd name="connsiteX744" fmla="*/ 2422990 w 12117871"/>
                <a:gd name="connsiteY744" fmla="*/ 4907243 h 6072780"/>
                <a:gd name="connsiteX745" fmla="*/ 2422990 w 12117871"/>
                <a:gd name="connsiteY745" fmla="*/ 4877127 h 6072780"/>
                <a:gd name="connsiteX746" fmla="*/ 2440025 w 12117871"/>
                <a:gd name="connsiteY746" fmla="*/ 4871043 h 6072780"/>
                <a:gd name="connsiteX747" fmla="*/ 2456224 w 12117871"/>
                <a:gd name="connsiteY747" fmla="*/ 4863894 h 6072780"/>
                <a:gd name="connsiteX748" fmla="*/ 2472346 w 12117871"/>
                <a:gd name="connsiteY748" fmla="*/ 4855073 h 6072780"/>
                <a:gd name="connsiteX749" fmla="*/ 2489154 w 12117871"/>
                <a:gd name="connsiteY749" fmla="*/ 4843969 h 6072780"/>
                <a:gd name="connsiteX750" fmla="*/ 1599916 w 12117871"/>
                <a:gd name="connsiteY750" fmla="*/ 4843969 h 6072780"/>
                <a:gd name="connsiteX751" fmla="*/ 1614822 w 12117871"/>
                <a:gd name="connsiteY751" fmla="*/ 4843969 h 6072780"/>
                <a:gd name="connsiteX752" fmla="*/ 1614822 w 12117871"/>
                <a:gd name="connsiteY752" fmla="*/ 5066949 h 6072780"/>
                <a:gd name="connsiteX753" fmla="*/ 1579534 w 12117871"/>
                <a:gd name="connsiteY753" fmla="*/ 5066949 h 6072780"/>
                <a:gd name="connsiteX754" fmla="*/ 1579534 w 12117871"/>
                <a:gd name="connsiteY754" fmla="*/ 4887166 h 6072780"/>
                <a:gd name="connsiteX755" fmla="*/ 1558925 w 12117871"/>
                <a:gd name="connsiteY755" fmla="*/ 4898802 h 6072780"/>
                <a:gd name="connsiteX756" fmla="*/ 1533752 w 12117871"/>
                <a:gd name="connsiteY756" fmla="*/ 4907243 h 6072780"/>
                <a:gd name="connsiteX757" fmla="*/ 1533752 w 12117871"/>
                <a:gd name="connsiteY757" fmla="*/ 4877127 h 6072780"/>
                <a:gd name="connsiteX758" fmla="*/ 1550787 w 12117871"/>
                <a:gd name="connsiteY758" fmla="*/ 4871043 h 6072780"/>
                <a:gd name="connsiteX759" fmla="*/ 1566986 w 12117871"/>
                <a:gd name="connsiteY759" fmla="*/ 4863894 h 6072780"/>
                <a:gd name="connsiteX760" fmla="*/ 1583109 w 12117871"/>
                <a:gd name="connsiteY760" fmla="*/ 4855073 h 6072780"/>
                <a:gd name="connsiteX761" fmla="*/ 1599916 w 12117871"/>
                <a:gd name="connsiteY761" fmla="*/ 4843969 h 6072780"/>
                <a:gd name="connsiteX762" fmla="*/ 1302202 w 12117871"/>
                <a:gd name="connsiteY762" fmla="*/ 4843969 h 6072780"/>
                <a:gd name="connsiteX763" fmla="*/ 1317108 w 12117871"/>
                <a:gd name="connsiteY763" fmla="*/ 4843969 h 6072780"/>
                <a:gd name="connsiteX764" fmla="*/ 1317108 w 12117871"/>
                <a:gd name="connsiteY764" fmla="*/ 5066949 h 6072780"/>
                <a:gd name="connsiteX765" fmla="*/ 1281820 w 12117871"/>
                <a:gd name="connsiteY765" fmla="*/ 5066949 h 6072780"/>
                <a:gd name="connsiteX766" fmla="*/ 1281820 w 12117871"/>
                <a:gd name="connsiteY766" fmla="*/ 4887166 h 6072780"/>
                <a:gd name="connsiteX767" fmla="*/ 1261211 w 12117871"/>
                <a:gd name="connsiteY767" fmla="*/ 4898802 h 6072780"/>
                <a:gd name="connsiteX768" fmla="*/ 1236038 w 12117871"/>
                <a:gd name="connsiteY768" fmla="*/ 4907243 h 6072780"/>
                <a:gd name="connsiteX769" fmla="*/ 1236038 w 12117871"/>
                <a:gd name="connsiteY769" fmla="*/ 4877127 h 6072780"/>
                <a:gd name="connsiteX770" fmla="*/ 1253073 w 12117871"/>
                <a:gd name="connsiteY770" fmla="*/ 4871043 h 6072780"/>
                <a:gd name="connsiteX771" fmla="*/ 1269272 w 12117871"/>
                <a:gd name="connsiteY771" fmla="*/ 4863894 h 6072780"/>
                <a:gd name="connsiteX772" fmla="*/ 1285395 w 12117871"/>
                <a:gd name="connsiteY772" fmla="*/ 4855073 h 6072780"/>
                <a:gd name="connsiteX773" fmla="*/ 1302202 w 12117871"/>
                <a:gd name="connsiteY773" fmla="*/ 4843969 h 6072780"/>
                <a:gd name="connsiteX774" fmla="*/ 927321 w 12117871"/>
                <a:gd name="connsiteY774" fmla="*/ 4843969 h 6072780"/>
                <a:gd name="connsiteX775" fmla="*/ 942227 w 12117871"/>
                <a:gd name="connsiteY775" fmla="*/ 4843969 h 6072780"/>
                <a:gd name="connsiteX776" fmla="*/ 942227 w 12117871"/>
                <a:gd name="connsiteY776" fmla="*/ 5066949 h 6072780"/>
                <a:gd name="connsiteX777" fmla="*/ 906939 w 12117871"/>
                <a:gd name="connsiteY777" fmla="*/ 5066949 h 6072780"/>
                <a:gd name="connsiteX778" fmla="*/ 906939 w 12117871"/>
                <a:gd name="connsiteY778" fmla="*/ 4887166 h 6072780"/>
                <a:gd name="connsiteX779" fmla="*/ 886330 w 12117871"/>
                <a:gd name="connsiteY779" fmla="*/ 4898802 h 6072780"/>
                <a:gd name="connsiteX780" fmla="*/ 861157 w 12117871"/>
                <a:gd name="connsiteY780" fmla="*/ 4907243 h 6072780"/>
                <a:gd name="connsiteX781" fmla="*/ 861157 w 12117871"/>
                <a:gd name="connsiteY781" fmla="*/ 4877127 h 6072780"/>
                <a:gd name="connsiteX782" fmla="*/ 878192 w 12117871"/>
                <a:gd name="connsiteY782" fmla="*/ 4871043 h 6072780"/>
                <a:gd name="connsiteX783" fmla="*/ 894391 w 12117871"/>
                <a:gd name="connsiteY783" fmla="*/ 4863894 h 6072780"/>
                <a:gd name="connsiteX784" fmla="*/ 910514 w 12117871"/>
                <a:gd name="connsiteY784" fmla="*/ 4855073 h 6072780"/>
                <a:gd name="connsiteX785" fmla="*/ 927321 w 12117871"/>
                <a:gd name="connsiteY785" fmla="*/ 4843969 h 6072780"/>
                <a:gd name="connsiteX786" fmla="*/ 778464 w 12117871"/>
                <a:gd name="connsiteY786" fmla="*/ 4843969 h 6072780"/>
                <a:gd name="connsiteX787" fmla="*/ 793370 w 12117871"/>
                <a:gd name="connsiteY787" fmla="*/ 4843969 h 6072780"/>
                <a:gd name="connsiteX788" fmla="*/ 793370 w 12117871"/>
                <a:gd name="connsiteY788" fmla="*/ 5066949 h 6072780"/>
                <a:gd name="connsiteX789" fmla="*/ 758082 w 12117871"/>
                <a:gd name="connsiteY789" fmla="*/ 5066949 h 6072780"/>
                <a:gd name="connsiteX790" fmla="*/ 758082 w 12117871"/>
                <a:gd name="connsiteY790" fmla="*/ 4887166 h 6072780"/>
                <a:gd name="connsiteX791" fmla="*/ 737473 w 12117871"/>
                <a:gd name="connsiteY791" fmla="*/ 4898802 h 6072780"/>
                <a:gd name="connsiteX792" fmla="*/ 712300 w 12117871"/>
                <a:gd name="connsiteY792" fmla="*/ 4907243 h 6072780"/>
                <a:gd name="connsiteX793" fmla="*/ 712300 w 12117871"/>
                <a:gd name="connsiteY793" fmla="*/ 4877127 h 6072780"/>
                <a:gd name="connsiteX794" fmla="*/ 729335 w 12117871"/>
                <a:gd name="connsiteY794" fmla="*/ 4871043 h 6072780"/>
                <a:gd name="connsiteX795" fmla="*/ 745535 w 12117871"/>
                <a:gd name="connsiteY795" fmla="*/ 4863894 h 6072780"/>
                <a:gd name="connsiteX796" fmla="*/ 761657 w 12117871"/>
                <a:gd name="connsiteY796" fmla="*/ 4855073 h 6072780"/>
                <a:gd name="connsiteX797" fmla="*/ 778464 w 12117871"/>
                <a:gd name="connsiteY797" fmla="*/ 4843969 h 6072780"/>
                <a:gd name="connsiteX798" fmla="*/ 629607 w 12117871"/>
                <a:gd name="connsiteY798" fmla="*/ 4843969 h 6072780"/>
                <a:gd name="connsiteX799" fmla="*/ 644513 w 12117871"/>
                <a:gd name="connsiteY799" fmla="*/ 4843969 h 6072780"/>
                <a:gd name="connsiteX800" fmla="*/ 644513 w 12117871"/>
                <a:gd name="connsiteY800" fmla="*/ 5066949 h 6072780"/>
                <a:gd name="connsiteX801" fmla="*/ 609225 w 12117871"/>
                <a:gd name="connsiteY801" fmla="*/ 5066949 h 6072780"/>
                <a:gd name="connsiteX802" fmla="*/ 609225 w 12117871"/>
                <a:gd name="connsiteY802" fmla="*/ 4887166 h 6072780"/>
                <a:gd name="connsiteX803" fmla="*/ 588616 w 12117871"/>
                <a:gd name="connsiteY803" fmla="*/ 4898802 h 6072780"/>
                <a:gd name="connsiteX804" fmla="*/ 563443 w 12117871"/>
                <a:gd name="connsiteY804" fmla="*/ 4907243 h 6072780"/>
                <a:gd name="connsiteX805" fmla="*/ 563443 w 12117871"/>
                <a:gd name="connsiteY805" fmla="*/ 4877127 h 6072780"/>
                <a:gd name="connsiteX806" fmla="*/ 580478 w 12117871"/>
                <a:gd name="connsiteY806" fmla="*/ 4871043 h 6072780"/>
                <a:gd name="connsiteX807" fmla="*/ 596677 w 12117871"/>
                <a:gd name="connsiteY807" fmla="*/ 4863894 h 6072780"/>
                <a:gd name="connsiteX808" fmla="*/ 612800 w 12117871"/>
                <a:gd name="connsiteY808" fmla="*/ 4855073 h 6072780"/>
                <a:gd name="connsiteX809" fmla="*/ 629607 w 12117871"/>
                <a:gd name="connsiteY809" fmla="*/ 4843969 h 6072780"/>
                <a:gd name="connsiteX810" fmla="*/ 480750 w 12117871"/>
                <a:gd name="connsiteY810" fmla="*/ 4843969 h 6072780"/>
                <a:gd name="connsiteX811" fmla="*/ 495656 w 12117871"/>
                <a:gd name="connsiteY811" fmla="*/ 4843969 h 6072780"/>
                <a:gd name="connsiteX812" fmla="*/ 495656 w 12117871"/>
                <a:gd name="connsiteY812" fmla="*/ 5066949 h 6072780"/>
                <a:gd name="connsiteX813" fmla="*/ 460368 w 12117871"/>
                <a:gd name="connsiteY813" fmla="*/ 5066949 h 6072780"/>
                <a:gd name="connsiteX814" fmla="*/ 460368 w 12117871"/>
                <a:gd name="connsiteY814" fmla="*/ 4887166 h 6072780"/>
                <a:gd name="connsiteX815" fmla="*/ 439759 w 12117871"/>
                <a:gd name="connsiteY815" fmla="*/ 4898802 h 6072780"/>
                <a:gd name="connsiteX816" fmla="*/ 414586 w 12117871"/>
                <a:gd name="connsiteY816" fmla="*/ 4907243 h 6072780"/>
                <a:gd name="connsiteX817" fmla="*/ 414586 w 12117871"/>
                <a:gd name="connsiteY817" fmla="*/ 4877127 h 6072780"/>
                <a:gd name="connsiteX818" fmla="*/ 431621 w 12117871"/>
                <a:gd name="connsiteY818" fmla="*/ 4871043 h 6072780"/>
                <a:gd name="connsiteX819" fmla="*/ 447821 w 12117871"/>
                <a:gd name="connsiteY819" fmla="*/ 4863894 h 6072780"/>
                <a:gd name="connsiteX820" fmla="*/ 463943 w 12117871"/>
                <a:gd name="connsiteY820" fmla="*/ 4855073 h 6072780"/>
                <a:gd name="connsiteX821" fmla="*/ 480750 w 12117871"/>
                <a:gd name="connsiteY821" fmla="*/ 4843969 h 6072780"/>
                <a:gd name="connsiteX822" fmla="*/ 11874294 w 12117871"/>
                <a:gd name="connsiteY822" fmla="*/ 4534174 h 6072780"/>
                <a:gd name="connsiteX823" fmla="*/ 11835024 w 12117871"/>
                <a:gd name="connsiteY823" fmla="*/ 4620687 h 6072780"/>
                <a:gd name="connsiteX824" fmla="*/ 11873542 w 12117871"/>
                <a:gd name="connsiteY824" fmla="*/ 4701634 h 6072780"/>
                <a:gd name="connsiteX825" fmla="*/ 11911457 w 12117871"/>
                <a:gd name="connsiteY825" fmla="*/ 4619333 h 6072780"/>
                <a:gd name="connsiteX826" fmla="*/ 11874294 w 12117871"/>
                <a:gd name="connsiteY826" fmla="*/ 4534174 h 6072780"/>
                <a:gd name="connsiteX827" fmla="*/ 11189148 w 12117871"/>
                <a:gd name="connsiteY827" fmla="*/ 4534174 h 6072780"/>
                <a:gd name="connsiteX828" fmla="*/ 11149878 w 12117871"/>
                <a:gd name="connsiteY828" fmla="*/ 4620687 h 6072780"/>
                <a:gd name="connsiteX829" fmla="*/ 11188396 w 12117871"/>
                <a:gd name="connsiteY829" fmla="*/ 4701634 h 6072780"/>
                <a:gd name="connsiteX830" fmla="*/ 11226311 w 12117871"/>
                <a:gd name="connsiteY830" fmla="*/ 4619333 h 6072780"/>
                <a:gd name="connsiteX831" fmla="*/ 11189148 w 12117871"/>
                <a:gd name="connsiteY831" fmla="*/ 4534174 h 6072780"/>
                <a:gd name="connsiteX832" fmla="*/ 9936214 w 12117871"/>
                <a:gd name="connsiteY832" fmla="*/ 4534174 h 6072780"/>
                <a:gd name="connsiteX833" fmla="*/ 9896944 w 12117871"/>
                <a:gd name="connsiteY833" fmla="*/ 4620687 h 6072780"/>
                <a:gd name="connsiteX834" fmla="*/ 9935462 w 12117871"/>
                <a:gd name="connsiteY834" fmla="*/ 4701634 h 6072780"/>
                <a:gd name="connsiteX835" fmla="*/ 9973377 w 12117871"/>
                <a:gd name="connsiteY835" fmla="*/ 4619333 h 6072780"/>
                <a:gd name="connsiteX836" fmla="*/ 9936214 w 12117871"/>
                <a:gd name="connsiteY836" fmla="*/ 4534174 h 6072780"/>
                <a:gd name="connsiteX837" fmla="*/ 9713703 w 12117871"/>
                <a:gd name="connsiteY837" fmla="*/ 4534174 h 6072780"/>
                <a:gd name="connsiteX838" fmla="*/ 9674433 w 12117871"/>
                <a:gd name="connsiteY838" fmla="*/ 4620687 h 6072780"/>
                <a:gd name="connsiteX839" fmla="*/ 9712951 w 12117871"/>
                <a:gd name="connsiteY839" fmla="*/ 4701634 h 6072780"/>
                <a:gd name="connsiteX840" fmla="*/ 9750866 w 12117871"/>
                <a:gd name="connsiteY840" fmla="*/ 4619333 h 6072780"/>
                <a:gd name="connsiteX841" fmla="*/ 9713703 w 12117871"/>
                <a:gd name="connsiteY841" fmla="*/ 4534174 h 6072780"/>
                <a:gd name="connsiteX842" fmla="*/ 6372301 w 12117871"/>
                <a:gd name="connsiteY842" fmla="*/ 4534174 h 6072780"/>
                <a:gd name="connsiteX843" fmla="*/ 6333031 w 12117871"/>
                <a:gd name="connsiteY843" fmla="*/ 4620687 h 6072780"/>
                <a:gd name="connsiteX844" fmla="*/ 6371549 w 12117871"/>
                <a:gd name="connsiteY844" fmla="*/ 4701634 h 6072780"/>
                <a:gd name="connsiteX845" fmla="*/ 6409464 w 12117871"/>
                <a:gd name="connsiteY845" fmla="*/ 4619333 h 6072780"/>
                <a:gd name="connsiteX846" fmla="*/ 6372301 w 12117871"/>
                <a:gd name="connsiteY846" fmla="*/ 4534174 h 6072780"/>
                <a:gd name="connsiteX847" fmla="*/ 5784617 w 12117871"/>
                <a:gd name="connsiteY847" fmla="*/ 4534174 h 6072780"/>
                <a:gd name="connsiteX848" fmla="*/ 5745350 w 12117871"/>
                <a:gd name="connsiteY848" fmla="*/ 4620687 h 6072780"/>
                <a:gd name="connsiteX849" fmla="*/ 5783865 w 12117871"/>
                <a:gd name="connsiteY849" fmla="*/ 4701634 h 6072780"/>
                <a:gd name="connsiteX850" fmla="*/ 5821781 w 12117871"/>
                <a:gd name="connsiteY850" fmla="*/ 4619333 h 6072780"/>
                <a:gd name="connsiteX851" fmla="*/ 5784617 w 12117871"/>
                <a:gd name="connsiteY851" fmla="*/ 4534174 h 6072780"/>
                <a:gd name="connsiteX852" fmla="*/ 5091629 w 12117871"/>
                <a:gd name="connsiteY852" fmla="*/ 4534174 h 6072780"/>
                <a:gd name="connsiteX853" fmla="*/ 5052358 w 12117871"/>
                <a:gd name="connsiteY853" fmla="*/ 4620687 h 6072780"/>
                <a:gd name="connsiteX854" fmla="*/ 5090877 w 12117871"/>
                <a:gd name="connsiteY854" fmla="*/ 4701634 h 6072780"/>
                <a:gd name="connsiteX855" fmla="*/ 5128792 w 12117871"/>
                <a:gd name="connsiteY855" fmla="*/ 4619333 h 6072780"/>
                <a:gd name="connsiteX856" fmla="*/ 5091629 w 12117871"/>
                <a:gd name="connsiteY856" fmla="*/ 4534174 h 6072780"/>
                <a:gd name="connsiteX857" fmla="*/ 3837392 w 12117871"/>
                <a:gd name="connsiteY857" fmla="*/ 4534174 h 6072780"/>
                <a:gd name="connsiteX858" fmla="*/ 3798122 w 12117871"/>
                <a:gd name="connsiteY858" fmla="*/ 4620687 h 6072780"/>
                <a:gd name="connsiteX859" fmla="*/ 3836640 w 12117871"/>
                <a:gd name="connsiteY859" fmla="*/ 4701634 h 6072780"/>
                <a:gd name="connsiteX860" fmla="*/ 3874555 w 12117871"/>
                <a:gd name="connsiteY860" fmla="*/ 4619333 h 6072780"/>
                <a:gd name="connsiteX861" fmla="*/ 3837392 w 12117871"/>
                <a:gd name="connsiteY861" fmla="*/ 4534174 h 6072780"/>
                <a:gd name="connsiteX862" fmla="*/ 3614881 w 12117871"/>
                <a:gd name="connsiteY862" fmla="*/ 4534174 h 6072780"/>
                <a:gd name="connsiteX863" fmla="*/ 3575611 w 12117871"/>
                <a:gd name="connsiteY863" fmla="*/ 4620687 h 6072780"/>
                <a:gd name="connsiteX864" fmla="*/ 3614130 w 12117871"/>
                <a:gd name="connsiteY864" fmla="*/ 4701634 h 6072780"/>
                <a:gd name="connsiteX865" fmla="*/ 3652044 w 12117871"/>
                <a:gd name="connsiteY865" fmla="*/ 4619333 h 6072780"/>
                <a:gd name="connsiteX866" fmla="*/ 3614881 w 12117871"/>
                <a:gd name="connsiteY866" fmla="*/ 4534174 h 6072780"/>
                <a:gd name="connsiteX867" fmla="*/ 954478 w 12117871"/>
                <a:gd name="connsiteY867" fmla="*/ 4534174 h 6072780"/>
                <a:gd name="connsiteX868" fmla="*/ 915208 w 12117871"/>
                <a:gd name="connsiteY868" fmla="*/ 4620688 h 6072780"/>
                <a:gd name="connsiteX869" fmla="*/ 953726 w 12117871"/>
                <a:gd name="connsiteY869" fmla="*/ 4701635 h 6072780"/>
                <a:gd name="connsiteX870" fmla="*/ 991641 w 12117871"/>
                <a:gd name="connsiteY870" fmla="*/ 4619334 h 6072780"/>
                <a:gd name="connsiteX871" fmla="*/ 954478 w 12117871"/>
                <a:gd name="connsiteY871" fmla="*/ 4534174 h 6072780"/>
                <a:gd name="connsiteX872" fmla="*/ 778131 w 12117871"/>
                <a:gd name="connsiteY872" fmla="*/ 4534174 h 6072780"/>
                <a:gd name="connsiteX873" fmla="*/ 738861 w 12117871"/>
                <a:gd name="connsiteY873" fmla="*/ 4620688 h 6072780"/>
                <a:gd name="connsiteX874" fmla="*/ 777378 w 12117871"/>
                <a:gd name="connsiteY874" fmla="*/ 4701635 h 6072780"/>
                <a:gd name="connsiteX875" fmla="*/ 815294 w 12117871"/>
                <a:gd name="connsiteY875" fmla="*/ 4619334 h 6072780"/>
                <a:gd name="connsiteX876" fmla="*/ 778131 w 12117871"/>
                <a:gd name="connsiteY876" fmla="*/ 4534174 h 6072780"/>
                <a:gd name="connsiteX877" fmla="*/ 141104 w 12117871"/>
                <a:gd name="connsiteY877" fmla="*/ 4534174 h 6072780"/>
                <a:gd name="connsiteX878" fmla="*/ 101834 w 12117871"/>
                <a:gd name="connsiteY878" fmla="*/ 4620688 h 6072780"/>
                <a:gd name="connsiteX879" fmla="*/ 140352 w 12117871"/>
                <a:gd name="connsiteY879" fmla="*/ 4701635 h 6072780"/>
                <a:gd name="connsiteX880" fmla="*/ 178267 w 12117871"/>
                <a:gd name="connsiteY880" fmla="*/ 4619334 h 6072780"/>
                <a:gd name="connsiteX881" fmla="*/ 141104 w 12117871"/>
                <a:gd name="connsiteY881" fmla="*/ 4534174 h 6072780"/>
                <a:gd name="connsiteX882" fmla="*/ 12062430 w 12117871"/>
                <a:gd name="connsiteY882" fmla="*/ 4506339 h 6072780"/>
                <a:gd name="connsiteX883" fmla="*/ 12077336 w 12117871"/>
                <a:gd name="connsiteY883" fmla="*/ 4506339 h 6072780"/>
                <a:gd name="connsiteX884" fmla="*/ 12077336 w 12117871"/>
                <a:gd name="connsiteY884" fmla="*/ 4729319 h 6072780"/>
                <a:gd name="connsiteX885" fmla="*/ 12042048 w 12117871"/>
                <a:gd name="connsiteY885" fmla="*/ 4729319 h 6072780"/>
                <a:gd name="connsiteX886" fmla="*/ 12042048 w 12117871"/>
                <a:gd name="connsiteY886" fmla="*/ 4549535 h 6072780"/>
                <a:gd name="connsiteX887" fmla="*/ 12021439 w 12117871"/>
                <a:gd name="connsiteY887" fmla="*/ 4561171 h 6072780"/>
                <a:gd name="connsiteX888" fmla="*/ 11996266 w 12117871"/>
                <a:gd name="connsiteY888" fmla="*/ 4569613 h 6072780"/>
                <a:gd name="connsiteX889" fmla="*/ 11996266 w 12117871"/>
                <a:gd name="connsiteY889" fmla="*/ 4539497 h 6072780"/>
                <a:gd name="connsiteX890" fmla="*/ 12013301 w 12117871"/>
                <a:gd name="connsiteY890" fmla="*/ 4533413 h 6072780"/>
                <a:gd name="connsiteX891" fmla="*/ 12029500 w 12117871"/>
                <a:gd name="connsiteY891" fmla="*/ 4526264 h 6072780"/>
                <a:gd name="connsiteX892" fmla="*/ 12045623 w 12117871"/>
                <a:gd name="connsiteY892" fmla="*/ 4517442 h 6072780"/>
                <a:gd name="connsiteX893" fmla="*/ 12062430 w 12117871"/>
                <a:gd name="connsiteY893" fmla="*/ 4506339 h 6072780"/>
                <a:gd name="connsiteX894" fmla="*/ 11875949 w 12117871"/>
                <a:gd name="connsiteY894" fmla="*/ 4506339 h 6072780"/>
                <a:gd name="connsiteX895" fmla="*/ 11947116 w 12117871"/>
                <a:gd name="connsiteY895" fmla="*/ 4616926 h 6072780"/>
                <a:gd name="connsiteX896" fmla="*/ 11927030 w 12117871"/>
                <a:gd name="connsiteY896" fmla="*/ 4700506 h 6072780"/>
                <a:gd name="connsiteX897" fmla="*/ 11870833 w 12117871"/>
                <a:gd name="connsiteY897" fmla="*/ 4729319 h 6072780"/>
                <a:gd name="connsiteX898" fmla="*/ 11818248 w 12117871"/>
                <a:gd name="connsiteY898" fmla="*/ 4701785 h 6072780"/>
                <a:gd name="connsiteX899" fmla="*/ 11799365 w 12117871"/>
                <a:gd name="connsiteY899" fmla="*/ 4622192 h 6072780"/>
                <a:gd name="connsiteX900" fmla="*/ 11819075 w 12117871"/>
                <a:gd name="connsiteY900" fmla="*/ 4535678 h 6072780"/>
                <a:gd name="connsiteX901" fmla="*/ 11875949 w 12117871"/>
                <a:gd name="connsiteY901" fmla="*/ 4506339 h 6072780"/>
                <a:gd name="connsiteX902" fmla="*/ 11190803 w 12117871"/>
                <a:gd name="connsiteY902" fmla="*/ 4506339 h 6072780"/>
                <a:gd name="connsiteX903" fmla="*/ 11261970 w 12117871"/>
                <a:gd name="connsiteY903" fmla="*/ 4616926 h 6072780"/>
                <a:gd name="connsiteX904" fmla="*/ 11241884 w 12117871"/>
                <a:gd name="connsiteY904" fmla="*/ 4700506 h 6072780"/>
                <a:gd name="connsiteX905" fmla="*/ 11185687 w 12117871"/>
                <a:gd name="connsiteY905" fmla="*/ 4729319 h 6072780"/>
                <a:gd name="connsiteX906" fmla="*/ 11133102 w 12117871"/>
                <a:gd name="connsiteY906" fmla="*/ 4701785 h 6072780"/>
                <a:gd name="connsiteX907" fmla="*/ 11114219 w 12117871"/>
                <a:gd name="connsiteY907" fmla="*/ 4622192 h 6072780"/>
                <a:gd name="connsiteX908" fmla="*/ 11133929 w 12117871"/>
                <a:gd name="connsiteY908" fmla="*/ 4535678 h 6072780"/>
                <a:gd name="connsiteX909" fmla="*/ 11190803 w 12117871"/>
                <a:gd name="connsiteY909" fmla="*/ 4506339 h 6072780"/>
                <a:gd name="connsiteX910" fmla="*/ 10143427 w 12117871"/>
                <a:gd name="connsiteY910" fmla="*/ 4506339 h 6072780"/>
                <a:gd name="connsiteX911" fmla="*/ 10158333 w 12117871"/>
                <a:gd name="connsiteY911" fmla="*/ 4506339 h 6072780"/>
                <a:gd name="connsiteX912" fmla="*/ 10158333 w 12117871"/>
                <a:gd name="connsiteY912" fmla="*/ 4729319 h 6072780"/>
                <a:gd name="connsiteX913" fmla="*/ 10123045 w 12117871"/>
                <a:gd name="connsiteY913" fmla="*/ 4729319 h 6072780"/>
                <a:gd name="connsiteX914" fmla="*/ 10123045 w 12117871"/>
                <a:gd name="connsiteY914" fmla="*/ 4549535 h 6072780"/>
                <a:gd name="connsiteX915" fmla="*/ 10102436 w 12117871"/>
                <a:gd name="connsiteY915" fmla="*/ 4561171 h 6072780"/>
                <a:gd name="connsiteX916" fmla="*/ 10077263 w 12117871"/>
                <a:gd name="connsiteY916" fmla="*/ 4569613 h 6072780"/>
                <a:gd name="connsiteX917" fmla="*/ 10077263 w 12117871"/>
                <a:gd name="connsiteY917" fmla="*/ 4539497 h 6072780"/>
                <a:gd name="connsiteX918" fmla="*/ 10094298 w 12117871"/>
                <a:gd name="connsiteY918" fmla="*/ 4533413 h 6072780"/>
                <a:gd name="connsiteX919" fmla="*/ 10110497 w 12117871"/>
                <a:gd name="connsiteY919" fmla="*/ 4526264 h 6072780"/>
                <a:gd name="connsiteX920" fmla="*/ 10126620 w 12117871"/>
                <a:gd name="connsiteY920" fmla="*/ 4517442 h 6072780"/>
                <a:gd name="connsiteX921" fmla="*/ 10143427 w 12117871"/>
                <a:gd name="connsiteY921" fmla="*/ 4506339 h 6072780"/>
                <a:gd name="connsiteX922" fmla="*/ 9937869 w 12117871"/>
                <a:gd name="connsiteY922" fmla="*/ 4506339 h 6072780"/>
                <a:gd name="connsiteX923" fmla="*/ 10009036 w 12117871"/>
                <a:gd name="connsiteY923" fmla="*/ 4616926 h 6072780"/>
                <a:gd name="connsiteX924" fmla="*/ 9988950 w 12117871"/>
                <a:gd name="connsiteY924" fmla="*/ 4700506 h 6072780"/>
                <a:gd name="connsiteX925" fmla="*/ 9932753 w 12117871"/>
                <a:gd name="connsiteY925" fmla="*/ 4729319 h 6072780"/>
                <a:gd name="connsiteX926" fmla="*/ 9880168 w 12117871"/>
                <a:gd name="connsiteY926" fmla="*/ 4701785 h 6072780"/>
                <a:gd name="connsiteX927" fmla="*/ 9861285 w 12117871"/>
                <a:gd name="connsiteY927" fmla="*/ 4622192 h 6072780"/>
                <a:gd name="connsiteX928" fmla="*/ 9880995 w 12117871"/>
                <a:gd name="connsiteY928" fmla="*/ 4535678 h 6072780"/>
                <a:gd name="connsiteX929" fmla="*/ 9937869 w 12117871"/>
                <a:gd name="connsiteY929" fmla="*/ 4506339 h 6072780"/>
                <a:gd name="connsiteX930" fmla="*/ 9715358 w 12117871"/>
                <a:gd name="connsiteY930" fmla="*/ 4506339 h 6072780"/>
                <a:gd name="connsiteX931" fmla="*/ 9786525 w 12117871"/>
                <a:gd name="connsiteY931" fmla="*/ 4616926 h 6072780"/>
                <a:gd name="connsiteX932" fmla="*/ 9766439 w 12117871"/>
                <a:gd name="connsiteY932" fmla="*/ 4700506 h 6072780"/>
                <a:gd name="connsiteX933" fmla="*/ 9710242 w 12117871"/>
                <a:gd name="connsiteY933" fmla="*/ 4729319 h 6072780"/>
                <a:gd name="connsiteX934" fmla="*/ 9657657 w 12117871"/>
                <a:gd name="connsiteY934" fmla="*/ 4701785 h 6072780"/>
                <a:gd name="connsiteX935" fmla="*/ 9638774 w 12117871"/>
                <a:gd name="connsiteY935" fmla="*/ 4622192 h 6072780"/>
                <a:gd name="connsiteX936" fmla="*/ 9658484 w 12117871"/>
                <a:gd name="connsiteY936" fmla="*/ 4535678 h 6072780"/>
                <a:gd name="connsiteX937" fmla="*/ 9715358 w 12117871"/>
                <a:gd name="connsiteY937" fmla="*/ 4506339 h 6072780"/>
                <a:gd name="connsiteX938" fmla="*/ 9557012 w 12117871"/>
                <a:gd name="connsiteY938" fmla="*/ 4506339 h 6072780"/>
                <a:gd name="connsiteX939" fmla="*/ 9571918 w 12117871"/>
                <a:gd name="connsiteY939" fmla="*/ 4506339 h 6072780"/>
                <a:gd name="connsiteX940" fmla="*/ 9571918 w 12117871"/>
                <a:gd name="connsiteY940" fmla="*/ 4729319 h 6072780"/>
                <a:gd name="connsiteX941" fmla="*/ 9536630 w 12117871"/>
                <a:gd name="connsiteY941" fmla="*/ 4729319 h 6072780"/>
                <a:gd name="connsiteX942" fmla="*/ 9536630 w 12117871"/>
                <a:gd name="connsiteY942" fmla="*/ 4549535 h 6072780"/>
                <a:gd name="connsiteX943" fmla="*/ 9516021 w 12117871"/>
                <a:gd name="connsiteY943" fmla="*/ 4561171 h 6072780"/>
                <a:gd name="connsiteX944" fmla="*/ 9490848 w 12117871"/>
                <a:gd name="connsiteY944" fmla="*/ 4569613 h 6072780"/>
                <a:gd name="connsiteX945" fmla="*/ 9490848 w 12117871"/>
                <a:gd name="connsiteY945" fmla="*/ 4539497 h 6072780"/>
                <a:gd name="connsiteX946" fmla="*/ 9507883 w 12117871"/>
                <a:gd name="connsiteY946" fmla="*/ 4533413 h 6072780"/>
                <a:gd name="connsiteX947" fmla="*/ 9524082 w 12117871"/>
                <a:gd name="connsiteY947" fmla="*/ 4526264 h 6072780"/>
                <a:gd name="connsiteX948" fmla="*/ 9540205 w 12117871"/>
                <a:gd name="connsiteY948" fmla="*/ 4517442 h 6072780"/>
                <a:gd name="connsiteX949" fmla="*/ 9557012 w 12117871"/>
                <a:gd name="connsiteY949" fmla="*/ 4506339 h 6072780"/>
                <a:gd name="connsiteX950" fmla="*/ 9254256 w 12117871"/>
                <a:gd name="connsiteY950" fmla="*/ 4506339 h 6072780"/>
                <a:gd name="connsiteX951" fmla="*/ 9269162 w 12117871"/>
                <a:gd name="connsiteY951" fmla="*/ 4506339 h 6072780"/>
                <a:gd name="connsiteX952" fmla="*/ 9269162 w 12117871"/>
                <a:gd name="connsiteY952" fmla="*/ 4729319 h 6072780"/>
                <a:gd name="connsiteX953" fmla="*/ 9233874 w 12117871"/>
                <a:gd name="connsiteY953" fmla="*/ 4729319 h 6072780"/>
                <a:gd name="connsiteX954" fmla="*/ 9233874 w 12117871"/>
                <a:gd name="connsiteY954" fmla="*/ 4549535 h 6072780"/>
                <a:gd name="connsiteX955" fmla="*/ 9213265 w 12117871"/>
                <a:gd name="connsiteY955" fmla="*/ 4561171 h 6072780"/>
                <a:gd name="connsiteX956" fmla="*/ 9188092 w 12117871"/>
                <a:gd name="connsiteY956" fmla="*/ 4569613 h 6072780"/>
                <a:gd name="connsiteX957" fmla="*/ 9188092 w 12117871"/>
                <a:gd name="connsiteY957" fmla="*/ 4539497 h 6072780"/>
                <a:gd name="connsiteX958" fmla="*/ 9205127 w 12117871"/>
                <a:gd name="connsiteY958" fmla="*/ 4533413 h 6072780"/>
                <a:gd name="connsiteX959" fmla="*/ 9221326 w 12117871"/>
                <a:gd name="connsiteY959" fmla="*/ 4526264 h 6072780"/>
                <a:gd name="connsiteX960" fmla="*/ 9237449 w 12117871"/>
                <a:gd name="connsiteY960" fmla="*/ 4517442 h 6072780"/>
                <a:gd name="connsiteX961" fmla="*/ 9254256 w 12117871"/>
                <a:gd name="connsiteY961" fmla="*/ 4506339 h 6072780"/>
                <a:gd name="connsiteX962" fmla="*/ 7851748 w 12117871"/>
                <a:gd name="connsiteY962" fmla="*/ 4506339 h 6072780"/>
                <a:gd name="connsiteX963" fmla="*/ 7866654 w 12117871"/>
                <a:gd name="connsiteY963" fmla="*/ 4506339 h 6072780"/>
                <a:gd name="connsiteX964" fmla="*/ 7866654 w 12117871"/>
                <a:gd name="connsiteY964" fmla="*/ 4729319 h 6072780"/>
                <a:gd name="connsiteX965" fmla="*/ 7831366 w 12117871"/>
                <a:gd name="connsiteY965" fmla="*/ 4729319 h 6072780"/>
                <a:gd name="connsiteX966" fmla="*/ 7831366 w 12117871"/>
                <a:gd name="connsiteY966" fmla="*/ 4549535 h 6072780"/>
                <a:gd name="connsiteX967" fmla="*/ 7810757 w 12117871"/>
                <a:gd name="connsiteY967" fmla="*/ 4561171 h 6072780"/>
                <a:gd name="connsiteX968" fmla="*/ 7785584 w 12117871"/>
                <a:gd name="connsiteY968" fmla="*/ 4569613 h 6072780"/>
                <a:gd name="connsiteX969" fmla="*/ 7785584 w 12117871"/>
                <a:gd name="connsiteY969" fmla="*/ 4539497 h 6072780"/>
                <a:gd name="connsiteX970" fmla="*/ 7802619 w 12117871"/>
                <a:gd name="connsiteY970" fmla="*/ 4533413 h 6072780"/>
                <a:gd name="connsiteX971" fmla="*/ 7818818 w 12117871"/>
                <a:gd name="connsiteY971" fmla="*/ 4526264 h 6072780"/>
                <a:gd name="connsiteX972" fmla="*/ 7834941 w 12117871"/>
                <a:gd name="connsiteY972" fmla="*/ 4517442 h 6072780"/>
                <a:gd name="connsiteX973" fmla="*/ 7851748 w 12117871"/>
                <a:gd name="connsiteY973" fmla="*/ 4506339 h 6072780"/>
                <a:gd name="connsiteX974" fmla="*/ 7413731 w 12117871"/>
                <a:gd name="connsiteY974" fmla="*/ 4506339 h 6072780"/>
                <a:gd name="connsiteX975" fmla="*/ 7428637 w 12117871"/>
                <a:gd name="connsiteY975" fmla="*/ 4506339 h 6072780"/>
                <a:gd name="connsiteX976" fmla="*/ 7428637 w 12117871"/>
                <a:gd name="connsiteY976" fmla="*/ 4729319 h 6072780"/>
                <a:gd name="connsiteX977" fmla="*/ 7393349 w 12117871"/>
                <a:gd name="connsiteY977" fmla="*/ 4729319 h 6072780"/>
                <a:gd name="connsiteX978" fmla="*/ 7393349 w 12117871"/>
                <a:gd name="connsiteY978" fmla="*/ 4549535 h 6072780"/>
                <a:gd name="connsiteX979" fmla="*/ 7372740 w 12117871"/>
                <a:gd name="connsiteY979" fmla="*/ 4561171 h 6072780"/>
                <a:gd name="connsiteX980" fmla="*/ 7347567 w 12117871"/>
                <a:gd name="connsiteY980" fmla="*/ 4569613 h 6072780"/>
                <a:gd name="connsiteX981" fmla="*/ 7347567 w 12117871"/>
                <a:gd name="connsiteY981" fmla="*/ 4539497 h 6072780"/>
                <a:gd name="connsiteX982" fmla="*/ 7364602 w 12117871"/>
                <a:gd name="connsiteY982" fmla="*/ 4533413 h 6072780"/>
                <a:gd name="connsiteX983" fmla="*/ 7380801 w 12117871"/>
                <a:gd name="connsiteY983" fmla="*/ 4526264 h 6072780"/>
                <a:gd name="connsiteX984" fmla="*/ 7396924 w 12117871"/>
                <a:gd name="connsiteY984" fmla="*/ 4517442 h 6072780"/>
                <a:gd name="connsiteX985" fmla="*/ 7413731 w 12117871"/>
                <a:gd name="connsiteY985" fmla="*/ 4506339 h 6072780"/>
                <a:gd name="connsiteX986" fmla="*/ 7015147 w 12117871"/>
                <a:gd name="connsiteY986" fmla="*/ 4506339 h 6072780"/>
                <a:gd name="connsiteX987" fmla="*/ 7030053 w 12117871"/>
                <a:gd name="connsiteY987" fmla="*/ 4506339 h 6072780"/>
                <a:gd name="connsiteX988" fmla="*/ 7030053 w 12117871"/>
                <a:gd name="connsiteY988" fmla="*/ 4729319 h 6072780"/>
                <a:gd name="connsiteX989" fmla="*/ 6994765 w 12117871"/>
                <a:gd name="connsiteY989" fmla="*/ 4729319 h 6072780"/>
                <a:gd name="connsiteX990" fmla="*/ 6994765 w 12117871"/>
                <a:gd name="connsiteY990" fmla="*/ 4549535 h 6072780"/>
                <a:gd name="connsiteX991" fmla="*/ 6974156 w 12117871"/>
                <a:gd name="connsiteY991" fmla="*/ 4561171 h 6072780"/>
                <a:gd name="connsiteX992" fmla="*/ 6948983 w 12117871"/>
                <a:gd name="connsiteY992" fmla="*/ 4569613 h 6072780"/>
                <a:gd name="connsiteX993" fmla="*/ 6948983 w 12117871"/>
                <a:gd name="connsiteY993" fmla="*/ 4539497 h 6072780"/>
                <a:gd name="connsiteX994" fmla="*/ 6966018 w 12117871"/>
                <a:gd name="connsiteY994" fmla="*/ 4533413 h 6072780"/>
                <a:gd name="connsiteX995" fmla="*/ 6982217 w 12117871"/>
                <a:gd name="connsiteY995" fmla="*/ 4526264 h 6072780"/>
                <a:gd name="connsiteX996" fmla="*/ 6998340 w 12117871"/>
                <a:gd name="connsiteY996" fmla="*/ 4517442 h 6072780"/>
                <a:gd name="connsiteX997" fmla="*/ 7015147 w 12117871"/>
                <a:gd name="connsiteY997" fmla="*/ 4506339 h 6072780"/>
                <a:gd name="connsiteX998" fmla="*/ 6727931 w 12117871"/>
                <a:gd name="connsiteY998" fmla="*/ 4506339 h 6072780"/>
                <a:gd name="connsiteX999" fmla="*/ 6742837 w 12117871"/>
                <a:gd name="connsiteY999" fmla="*/ 4506339 h 6072780"/>
                <a:gd name="connsiteX1000" fmla="*/ 6742837 w 12117871"/>
                <a:gd name="connsiteY1000" fmla="*/ 4729319 h 6072780"/>
                <a:gd name="connsiteX1001" fmla="*/ 6707549 w 12117871"/>
                <a:gd name="connsiteY1001" fmla="*/ 4729319 h 6072780"/>
                <a:gd name="connsiteX1002" fmla="*/ 6707549 w 12117871"/>
                <a:gd name="connsiteY1002" fmla="*/ 4549535 h 6072780"/>
                <a:gd name="connsiteX1003" fmla="*/ 6686940 w 12117871"/>
                <a:gd name="connsiteY1003" fmla="*/ 4561171 h 6072780"/>
                <a:gd name="connsiteX1004" fmla="*/ 6661767 w 12117871"/>
                <a:gd name="connsiteY1004" fmla="*/ 4569613 h 6072780"/>
                <a:gd name="connsiteX1005" fmla="*/ 6661767 w 12117871"/>
                <a:gd name="connsiteY1005" fmla="*/ 4539497 h 6072780"/>
                <a:gd name="connsiteX1006" fmla="*/ 6678802 w 12117871"/>
                <a:gd name="connsiteY1006" fmla="*/ 4533413 h 6072780"/>
                <a:gd name="connsiteX1007" fmla="*/ 6695001 w 12117871"/>
                <a:gd name="connsiteY1007" fmla="*/ 4526264 h 6072780"/>
                <a:gd name="connsiteX1008" fmla="*/ 6711124 w 12117871"/>
                <a:gd name="connsiteY1008" fmla="*/ 4517442 h 6072780"/>
                <a:gd name="connsiteX1009" fmla="*/ 6727931 w 12117871"/>
                <a:gd name="connsiteY1009" fmla="*/ 4506339 h 6072780"/>
                <a:gd name="connsiteX1010" fmla="*/ 6584323 w 12117871"/>
                <a:gd name="connsiteY1010" fmla="*/ 4506339 h 6072780"/>
                <a:gd name="connsiteX1011" fmla="*/ 6599229 w 12117871"/>
                <a:gd name="connsiteY1011" fmla="*/ 4506339 h 6072780"/>
                <a:gd name="connsiteX1012" fmla="*/ 6599229 w 12117871"/>
                <a:gd name="connsiteY1012" fmla="*/ 4729319 h 6072780"/>
                <a:gd name="connsiteX1013" fmla="*/ 6563941 w 12117871"/>
                <a:gd name="connsiteY1013" fmla="*/ 4729319 h 6072780"/>
                <a:gd name="connsiteX1014" fmla="*/ 6563941 w 12117871"/>
                <a:gd name="connsiteY1014" fmla="*/ 4549535 h 6072780"/>
                <a:gd name="connsiteX1015" fmla="*/ 6543332 w 12117871"/>
                <a:gd name="connsiteY1015" fmla="*/ 4561171 h 6072780"/>
                <a:gd name="connsiteX1016" fmla="*/ 6518159 w 12117871"/>
                <a:gd name="connsiteY1016" fmla="*/ 4569613 h 6072780"/>
                <a:gd name="connsiteX1017" fmla="*/ 6518159 w 12117871"/>
                <a:gd name="connsiteY1017" fmla="*/ 4539497 h 6072780"/>
                <a:gd name="connsiteX1018" fmla="*/ 6535194 w 12117871"/>
                <a:gd name="connsiteY1018" fmla="*/ 4533413 h 6072780"/>
                <a:gd name="connsiteX1019" fmla="*/ 6551393 w 12117871"/>
                <a:gd name="connsiteY1019" fmla="*/ 4526264 h 6072780"/>
                <a:gd name="connsiteX1020" fmla="*/ 6567516 w 12117871"/>
                <a:gd name="connsiteY1020" fmla="*/ 4517442 h 6072780"/>
                <a:gd name="connsiteX1021" fmla="*/ 6584323 w 12117871"/>
                <a:gd name="connsiteY1021" fmla="*/ 4506339 h 6072780"/>
                <a:gd name="connsiteX1022" fmla="*/ 6373956 w 12117871"/>
                <a:gd name="connsiteY1022" fmla="*/ 4506339 h 6072780"/>
                <a:gd name="connsiteX1023" fmla="*/ 6445123 w 12117871"/>
                <a:gd name="connsiteY1023" fmla="*/ 4616926 h 6072780"/>
                <a:gd name="connsiteX1024" fmla="*/ 6425037 w 12117871"/>
                <a:gd name="connsiteY1024" fmla="*/ 4700506 h 6072780"/>
                <a:gd name="connsiteX1025" fmla="*/ 6368840 w 12117871"/>
                <a:gd name="connsiteY1025" fmla="*/ 4729319 h 6072780"/>
                <a:gd name="connsiteX1026" fmla="*/ 6316255 w 12117871"/>
                <a:gd name="connsiteY1026" fmla="*/ 4701785 h 6072780"/>
                <a:gd name="connsiteX1027" fmla="*/ 6297372 w 12117871"/>
                <a:gd name="connsiteY1027" fmla="*/ 4622192 h 6072780"/>
                <a:gd name="connsiteX1028" fmla="*/ 6317082 w 12117871"/>
                <a:gd name="connsiteY1028" fmla="*/ 4535678 h 6072780"/>
                <a:gd name="connsiteX1029" fmla="*/ 6373956 w 12117871"/>
                <a:gd name="connsiteY1029" fmla="*/ 4506339 h 6072780"/>
                <a:gd name="connsiteX1030" fmla="*/ 5975659 w 12117871"/>
                <a:gd name="connsiteY1030" fmla="*/ 4506339 h 6072780"/>
                <a:gd name="connsiteX1031" fmla="*/ 5990568 w 12117871"/>
                <a:gd name="connsiteY1031" fmla="*/ 4506339 h 6072780"/>
                <a:gd name="connsiteX1032" fmla="*/ 5990568 w 12117871"/>
                <a:gd name="connsiteY1032" fmla="*/ 4729319 h 6072780"/>
                <a:gd name="connsiteX1033" fmla="*/ 5955278 w 12117871"/>
                <a:gd name="connsiteY1033" fmla="*/ 4729319 h 6072780"/>
                <a:gd name="connsiteX1034" fmla="*/ 5955278 w 12117871"/>
                <a:gd name="connsiteY1034" fmla="*/ 4549535 h 6072780"/>
                <a:gd name="connsiteX1035" fmla="*/ 5934669 w 12117871"/>
                <a:gd name="connsiteY1035" fmla="*/ 4561171 h 6072780"/>
                <a:gd name="connsiteX1036" fmla="*/ 5909498 w 12117871"/>
                <a:gd name="connsiteY1036" fmla="*/ 4569613 h 6072780"/>
                <a:gd name="connsiteX1037" fmla="*/ 5909498 w 12117871"/>
                <a:gd name="connsiteY1037" fmla="*/ 4539497 h 6072780"/>
                <a:gd name="connsiteX1038" fmla="*/ 5926531 w 12117871"/>
                <a:gd name="connsiteY1038" fmla="*/ 4533413 h 6072780"/>
                <a:gd name="connsiteX1039" fmla="*/ 5942730 w 12117871"/>
                <a:gd name="connsiteY1039" fmla="*/ 4526264 h 6072780"/>
                <a:gd name="connsiteX1040" fmla="*/ 5958852 w 12117871"/>
                <a:gd name="connsiteY1040" fmla="*/ 4517442 h 6072780"/>
                <a:gd name="connsiteX1041" fmla="*/ 5975659 w 12117871"/>
                <a:gd name="connsiteY1041" fmla="*/ 4506339 h 6072780"/>
                <a:gd name="connsiteX1042" fmla="*/ 5786272 w 12117871"/>
                <a:gd name="connsiteY1042" fmla="*/ 4506339 h 6072780"/>
                <a:gd name="connsiteX1043" fmla="*/ 5857440 w 12117871"/>
                <a:gd name="connsiteY1043" fmla="*/ 4616926 h 6072780"/>
                <a:gd name="connsiteX1044" fmla="*/ 5837355 w 12117871"/>
                <a:gd name="connsiteY1044" fmla="*/ 4700506 h 6072780"/>
                <a:gd name="connsiteX1045" fmla="*/ 5781158 w 12117871"/>
                <a:gd name="connsiteY1045" fmla="*/ 4729319 h 6072780"/>
                <a:gd name="connsiteX1046" fmla="*/ 5728572 w 12117871"/>
                <a:gd name="connsiteY1046" fmla="*/ 4701785 h 6072780"/>
                <a:gd name="connsiteX1047" fmla="*/ 5709690 w 12117871"/>
                <a:gd name="connsiteY1047" fmla="*/ 4622192 h 6072780"/>
                <a:gd name="connsiteX1048" fmla="*/ 5729400 w 12117871"/>
                <a:gd name="connsiteY1048" fmla="*/ 4535678 h 6072780"/>
                <a:gd name="connsiteX1049" fmla="*/ 5786272 w 12117871"/>
                <a:gd name="connsiteY1049" fmla="*/ 4506339 h 6072780"/>
                <a:gd name="connsiteX1050" fmla="*/ 5093284 w 12117871"/>
                <a:gd name="connsiteY1050" fmla="*/ 4506339 h 6072780"/>
                <a:gd name="connsiteX1051" fmla="*/ 5164451 w 12117871"/>
                <a:gd name="connsiteY1051" fmla="*/ 4616926 h 6072780"/>
                <a:gd name="connsiteX1052" fmla="*/ 5144364 w 12117871"/>
                <a:gd name="connsiteY1052" fmla="*/ 4700506 h 6072780"/>
                <a:gd name="connsiteX1053" fmla="*/ 5088168 w 12117871"/>
                <a:gd name="connsiteY1053" fmla="*/ 4729319 h 6072780"/>
                <a:gd name="connsiteX1054" fmla="*/ 5035583 w 12117871"/>
                <a:gd name="connsiteY1054" fmla="*/ 4701785 h 6072780"/>
                <a:gd name="connsiteX1055" fmla="*/ 5016700 w 12117871"/>
                <a:gd name="connsiteY1055" fmla="*/ 4622192 h 6072780"/>
                <a:gd name="connsiteX1056" fmla="*/ 5036410 w 12117871"/>
                <a:gd name="connsiteY1056" fmla="*/ 4535678 h 6072780"/>
                <a:gd name="connsiteX1057" fmla="*/ 5093284 w 12117871"/>
                <a:gd name="connsiteY1057" fmla="*/ 4506339 h 6072780"/>
                <a:gd name="connsiteX1058" fmla="*/ 4694968 w 12117871"/>
                <a:gd name="connsiteY1058" fmla="*/ 4506339 h 6072780"/>
                <a:gd name="connsiteX1059" fmla="*/ 4709876 w 12117871"/>
                <a:gd name="connsiteY1059" fmla="*/ 4506339 h 6072780"/>
                <a:gd name="connsiteX1060" fmla="*/ 4709876 w 12117871"/>
                <a:gd name="connsiteY1060" fmla="*/ 4729319 h 6072780"/>
                <a:gd name="connsiteX1061" fmla="*/ 4674589 w 12117871"/>
                <a:gd name="connsiteY1061" fmla="*/ 4729319 h 6072780"/>
                <a:gd name="connsiteX1062" fmla="*/ 4674589 w 12117871"/>
                <a:gd name="connsiteY1062" fmla="*/ 4549535 h 6072780"/>
                <a:gd name="connsiteX1063" fmla="*/ 4653978 w 12117871"/>
                <a:gd name="connsiteY1063" fmla="*/ 4561171 h 6072780"/>
                <a:gd name="connsiteX1064" fmla="*/ 4628805 w 12117871"/>
                <a:gd name="connsiteY1064" fmla="*/ 4569613 h 6072780"/>
                <a:gd name="connsiteX1065" fmla="*/ 4628805 w 12117871"/>
                <a:gd name="connsiteY1065" fmla="*/ 4539497 h 6072780"/>
                <a:gd name="connsiteX1066" fmla="*/ 4645841 w 12117871"/>
                <a:gd name="connsiteY1066" fmla="*/ 4533413 h 6072780"/>
                <a:gd name="connsiteX1067" fmla="*/ 4662040 w 12117871"/>
                <a:gd name="connsiteY1067" fmla="*/ 4526264 h 6072780"/>
                <a:gd name="connsiteX1068" fmla="*/ 4678162 w 12117871"/>
                <a:gd name="connsiteY1068" fmla="*/ 4517442 h 6072780"/>
                <a:gd name="connsiteX1069" fmla="*/ 4694968 w 12117871"/>
                <a:gd name="connsiteY1069" fmla="*/ 4506339 h 6072780"/>
                <a:gd name="connsiteX1070" fmla="*/ 4345906 w 12117871"/>
                <a:gd name="connsiteY1070" fmla="*/ 4506339 h 6072780"/>
                <a:gd name="connsiteX1071" fmla="*/ 4360813 w 12117871"/>
                <a:gd name="connsiteY1071" fmla="*/ 4506339 h 6072780"/>
                <a:gd name="connsiteX1072" fmla="*/ 4360813 w 12117871"/>
                <a:gd name="connsiteY1072" fmla="*/ 4729319 h 6072780"/>
                <a:gd name="connsiteX1073" fmla="*/ 4325525 w 12117871"/>
                <a:gd name="connsiteY1073" fmla="*/ 4729319 h 6072780"/>
                <a:gd name="connsiteX1074" fmla="*/ 4325525 w 12117871"/>
                <a:gd name="connsiteY1074" fmla="*/ 4549535 h 6072780"/>
                <a:gd name="connsiteX1075" fmla="*/ 4304915 w 12117871"/>
                <a:gd name="connsiteY1075" fmla="*/ 4561171 h 6072780"/>
                <a:gd name="connsiteX1076" fmla="*/ 4279743 w 12117871"/>
                <a:gd name="connsiteY1076" fmla="*/ 4569613 h 6072780"/>
                <a:gd name="connsiteX1077" fmla="*/ 4279743 w 12117871"/>
                <a:gd name="connsiteY1077" fmla="*/ 4539497 h 6072780"/>
                <a:gd name="connsiteX1078" fmla="*/ 4296778 w 12117871"/>
                <a:gd name="connsiteY1078" fmla="*/ 4533413 h 6072780"/>
                <a:gd name="connsiteX1079" fmla="*/ 4312977 w 12117871"/>
                <a:gd name="connsiteY1079" fmla="*/ 4526264 h 6072780"/>
                <a:gd name="connsiteX1080" fmla="*/ 4329099 w 12117871"/>
                <a:gd name="connsiteY1080" fmla="*/ 4517442 h 6072780"/>
                <a:gd name="connsiteX1081" fmla="*/ 4345906 w 12117871"/>
                <a:gd name="connsiteY1081" fmla="*/ 4506339 h 6072780"/>
                <a:gd name="connsiteX1082" fmla="*/ 3839047 w 12117871"/>
                <a:gd name="connsiteY1082" fmla="*/ 4506339 h 6072780"/>
                <a:gd name="connsiteX1083" fmla="*/ 3910214 w 12117871"/>
                <a:gd name="connsiteY1083" fmla="*/ 4616926 h 6072780"/>
                <a:gd name="connsiteX1084" fmla="*/ 3890128 w 12117871"/>
                <a:gd name="connsiteY1084" fmla="*/ 4700506 h 6072780"/>
                <a:gd name="connsiteX1085" fmla="*/ 3833931 w 12117871"/>
                <a:gd name="connsiteY1085" fmla="*/ 4729319 h 6072780"/>
                <a:gd name="connsiteX1086" fmla="*/ 3781346 w 12117871"/>
                <a:gd name="connsiteY1086" fmla="*/ 4701785 h 6072780"/>
                <a:gd name="connsiteX1087" fmla="*/ 3762464 w 12117871"/>
                <a:gd name="connsiteY1087" fmla="*/ 4622192 h 6072780"/>
                <a:gd name="connsiteX1088" fmla="*/ 3782173 w 12117871"/>
                <a:gd name="connsiteY1088" fmla="*/ 4535678 h 6072780"/>
                <a:gd name="connsiteX1089" fmla="*/ 3839047 w 12117871"/>
                <a:gd name="connsiteY1089" fmla="*/ 4506339 h 6072780"/>
                <a:gd name="connsiteX1090" fmla="*/ 3616537 w 12117871"/>
                <a:gd name="connsiteY1090" fmla="*/ 4506339 h 6072780"/>
                <a:gd name="connsiteX1091" fmla="*/ 3687703 w 12117871"/>
                <a:gd name="connsiteY1091" fmla="*/ 4616926 h 6072780"/>
                <a:gd name="connsiteX1092" fmla="*/ 3667617 w 12117871"/>
                <a:gd name="connsiteY1092" fmla="*/ 4700506 h 6072780"/>
                <a:gd name="connsiteX1093" fmla="*/ 3611420 w 12117871"/>
                <a:gd name="connsiteY1093" fmla="*/ 4729319 h 6072780"/>
                <a:gd name="connsiteX1094" fmla="*/ 3558835 w 12117871"/>
                <a:gd name="connsiteY1094" fmla="*/ 4701785 h 6072780"/>
                <a:gd name="connsiteX1095" fmla="*/ 3539952 w 12117871"/>
                <a:gd name="connsiteY1095" fmla="*/ 4622192 h 6072780"/>
                <a:gd name="connsiteX1096" fmla="*/ 3559662 w 12117871"/>
                <a:gd name="connsiteY1096" fmla="*/ 4535678 h 6072780"/>
                <a:gd name="connsiteX1097" fmla="*/ 3616537 w 12117871"/>
                <a:gd name="connsiteY1097" fmla="*/ 4506339 h 6072780"/>
                <a:gd name="connsiteX1098" fmla="*/ 3454863 w 12117871"/>
                <a:gd name="connsiteY1098" fmla="*/ 4506339 h 6072780"/>
                <a:gd name="connsiteX1099" fmla="*/ 3469768 w 12117871"/>
                <a:gd name="connsiteY1099" fmla="*/ 4506339 h 6072780"/>
                <a:gd name="connsiteX1100" fmla="*/ 3469768 w 12117871"/>
                <a:gd name="connsiteY1100" fmla="*/ 4729319 h 6072780"/>
                <a:gd name="connsiteX1101" fmla="*/ 3434481 w 12117871"/>
                <a:gd name="connsiteY1101" fmla="*/ 4729319 h 6072780"/>
                <a:gd name="connsiteX1102" fmla="*/ 3434481 w 12117871"/>
                <a:gd name="connsiteY1102" fmla="*/ 4549535 h 6072780"/>
                <a:gd name="connsiteX1103" fmla="*/ 3413872 w 12117871"/>
                <a:gd name="connsiteY1103" fmla="*/ 4561171 h 6072780"/>
                <a:gd name="connsiteX1104" fmla="*/ 3388698 w 12117871"/>
                <a:gd name="connsiteY1104" fmla="*/ 4569613 h 6072780"/>
                <a:gd name="connsiteX1105" fmla="*/ 3388698 w 12117871"/>
                <a:gd name="connsiteY1105" fmla="*/ 4539497 h 6072780"/>
                <a:gd name="connsiteX1106" fmla="*/ 3405734 w 12117871"/>
                <a:gd name="connsiteY1106" fmla="*/ 4533413 h 6072780"/>
                <a:gd name="connsiteX1107" fmla="*/ 3421933 w 12117871"/>
                <a:gd name="connsiteY1107" fmla="*/ 4526264 h 6072780"/>
                <a:gd name="connsiteX1108" fmla="*/ 3438054 w 12117871"/>
                <a:gd name="connsiteY1108" fmla="*/ 4517442 h 6072780"/>
                <a:gd name="connsiteX1109" fmla="*/ 3454863 w 12117871"/>
                <a:gd name="connsiteY1109" fmla="*/ 4506339 h 6072780"/>
                <a:gd name="connsiteX1110" fmla="*/ 3158682 w 12117871"/>
                <a:gd name="connsiteY1110" fmla="*/ 4506339 h 6072780"/>
                <a:gd name="connsiteX1111" fmla="*/ 3173587 w 12117871"/>
                <a:gd name="connsiteY1111" fmla="*/ 4506339 h 6072780"/>
                <a:gd name="connsiteX1112" fmla="*/ 3173587 w 12117871"/>
                <a:gd name="connsiteY1112" fmla="*/ 4729319 h 6072780"/>
                <a:gd name="connsiteX1113" fmla="*/ 3138299 w 12117871"/>
                <a:gd name="connsiteY1113" fmla="*/ 4729319 h 6072780"/>
                <a:gd name="connsiteX1114" fmla="*/ 3138299 w 12117871"/>
                <a:gd name="connsiteY1114" fmla="*/ 4549536 h 6072780"/>
                <a:gd name="connsiteX1115" fmla="*/ 3117690 w 12117871"/>
                <a:gd name="connsiteY1115" fmla="*/ 4561172 h 6072780"/>
                <a:gd name="connsiteX1116" fmla="*/ 3092517 w 12117871"/>
                <a:gd name="connsiteY1116" fmla="*/ 4569613 h 6072780"/>
                <a:gd name="connsiteX1117" fmla="*/ 3092517 w 12117871"/>
                <a:gd name="connsiteY1117" fmla="*/ 4539497 h 6072780"/>
                <a:gd name="connsiteX1118" fmla="*/ 3109553 w 12117871"/>
                <a:gd name="connsiteY1118" fmla="*/ 4533413 h 6072780"/>
                <a:gd name="connsiteX1119" fmla="*/ 3125751 w 12117871"/>
                <a:gd name="connsiteY1119" fmla="*/ 4526264 h 6072780"/>
                <a:gd name="connsiteX1120" fmla="*/ 3141875 w 12117871"/>
                <a:gd name="connsiteY1120" fmla="*/ 4517443 h 6072780"/>
                <a:gd name="connsiteX1121" fmla="*/ 3158682 w 12117871"/>
                <a:gd name="connsiteY1121" fmla="*/ 4506339 h 6072780"/>
                <a:gd name="connsiteX1122" fmla="*/ 2489154 w 12117871"/>
                <a:gd name="connsiteY1122" fmla="*/ 4506339 h 6072780"/>
                <a:gd name="connsiteX1123" fmla="*/ 2504060 w 12117871"/>
                <a:gd name="connsiteY1123" fmla="*/ 4506339 h 6072780"/>
                <a:gd name="connsiteX1124" fmla="*/ 2504060 w 12117871"/>
                <a:gd name="connsiteY1124" fmla="*/ 4729319 h 6072780"/>
                <a:gd name="connsiteX1125" fmla="*/ 2468772 w 12117871"/>
                <a:gd name="connsiteY1125" fmla="*/ 4729319 h 6072780"/>
                <a:gd name="connsiteX1126" fmla="*/ 2468772 w 12117871"/>
                <a:gd name="connsiteY1126" fmla="*/ 4549536 h 6072780"/>
                <a:gd name="connsiteX1127" fmla="*/ 2448163 w 12117871"/>
                <a:gd name="connsiteY1127" fmla="*/ 4561172 h 6072780"/>
                <a:gd name="connsiteX1128" fmla="*/ 2422990 w 12117871"/>
                <a:gd name="connsiteY1128" fmla="*/ 4569613 h 6072780"/>
                <a:gd name="connsiteX1129" fmla="*/ 2422990 w 12117871"/>
                <a:gd name="connsiteY1129" fmla="*/ 4539497 h 6072780"/>
                <a:gd name="connsiteX1130" fmla="*/ 2440025 w 12117871"/>
                <a:gd name="connsiteY1130" fmla="*/ 4533413 h 6072780"/>
                <a:gd name="connsiteX1131" fmla="*/ 2456224 w 12117871"/>
                <a:gd name="connsiteY1131" fmla="*/ 4526264 h 6072780"/>
                <a:gd name="connsiteX1132" fmla="*/ 2472346 w 12117871"/>
                <a:gd name="connsiteY1132" fmla="*/ 4517443 h 6072780"/>
                <a:gd name="connsiteX1133" fmla="*/ 2489154 w 12117871"/>
                <a:gd name="connsiteY1133" fmla="*/ 4506339 h 6072780"/>
                <a:gd name="connsiteX1134" fmla="*/ 1599916 w 12117871"/>
                <a:gd name="connsiteY1134" fmla="*/ 4506339 h 6072780"/>
                <a:gd name="connsiteX1135" fmla="*/ 1614822 w 12117871"/>
                <a:gd name="connsiteY1135" fmla="*/ 4506339 h 6072780"/>
                <a:gd name="connsiteX1136" fmla="*/ 1614822 w 12117871"/>
                <a:gd name="connsiteY1136" fmla="*/ 4729319 h 6072780"/>
                <a:gd name="connsiteX1137" fmla="*/ 1579534 w 12117871"/>
                <a:gd name="connsiteY1137" fmla="*/ 4729319 h 6072780"/>
                <a:gd name="connsiteX1138" fmla="*/ 1579534 w 12117871"/>
                <a:gd name="connsiteY1138" fmla="*/ 4549536 h 6072780"/>
                <a:gd name="connsiteX1139" fmla="*/ 1558925 w 12117871"/>
                <a:gd name="connsiteY1139" fmla="*/ 4561172 h 6072780"/>
                <a:gd name="connsiteX1140" fmla="*/ 1533752 w 12117871"/>
                <a:gd name="connsiteY1140" fmla="*/ 4569613 h 6072780"/>
                <a:gd name="connsiteX1141" fmla="*/ 1533752 w 12117871"/>
                <a:gd name="connsiteY1141" fmla="*/ 4539497 h 6072780"/>
                <a:gd name="connsiteX1142" fmla="*/ 1550787 w 12117871"/>
                <a:gd name="connsiteY1142" fmla="*/ 4533413 h 6072780"/>
                <a:gd name="connsiteX1143" fmla="*/ 1566986 w 12117871"/>
                <a:gd name="connsiteY1143" fmla="*/ 4526264 h 6072780"/>
                <a:gd name="connsiteX1144" fmla="*/ 1583109 w 12117871"/>
                <a:gd name="connsiteY1144" fmla="*/ 4517443 h 6072780"/>
                <a:gd name="connsiteX1145" fmla="*/ 1599916 w 12117871"/>
                <a:gd name="connsiteY1145" fmla="*/ 4506339 h 6072780"/>
                <a:gd name="connsiteX1146" fmla="*/ 1302202 w 12117871"/>
                <a:gd name="connsiteY1146" fmla="*/ 4506339 h 6072780"/>
                <a:gd name="connsiteX1147" fmla="*/ 1317108 w 12117871"/>
                <a:gd name="connsiteY1147" fmla="*/ 4506339 h 6072780"/>
                <a:gd name="connsiteX1148" fmla="*/ 1317108 w 12117871"/>
                <a:gd name="connsiteY1148" fmla="*/ 4729319 h 6072780"/>
                <a:gd name="connsiteX1149" fmla="*/ 1281820 w 12117871"/>
                <a:gd name="connsiteY1149" fmla="*/ 4729319 h 6072780"/>
                <a:gd name="connsiteX1150" fmla="*/ 1281820 w 12117871"/>
                <a:gd name="connsiteY1150" fmla="*/ 4549536 h 6072780"/>
                <a:gd name="connsiteX1151" fmla="*/ 1261211 w 12117871"/>
                <a:gd name="connsiteY1151" fmla="*/ 4561172 h 6072780"/>
                <a:gd name="connsiteX1152" fmla="*/ 1236038 w 12117871"/>
                <a:gd name="connsiteY1152" fmla="*/ 4569613 h 6072780"/>
                <a:gd name="connsiteX1153" fmla="*/ 1236038 w 12117871"/>
                <a:gd name="connsiteY1153" fmla="*/ 4539497 h 6072780"/>
                <a:gd name="connsiteX1154" fmla="*/ 1253073 w 12117871"/>
                <a:gd name="connsiteY1154" fmla="*/ 4533413 h 6072780"/>
                <a:gd name="connsiteX1155" fmla="*/ 1269272 w 12117871"/>
                <a:gd name="connsiteY1155" fmla="*/ 4526264 h 6072780"/>
                <a:gd name="connsiteX1156" fmla="*/ 1285395 w 12117871"/>
                <a:gd name="connsiteY1156" fmla="*/ 4517443 h 6072780"/>
                <a:gd name="connsiteX1157" fmla="*/ 1302202 w 12117871"/>
                <a:gd name="connsiteY1157" fmla="*/ 4506339 h 6072780"/>
                <a:gd name="connsiteX1158" fmla="*/ 956133 w 12117871"/>
                <a:gd name="connsiteY1158" fmla="*/ 4506339 h 6072780"/>
                <a:gd name="connsiteX1159" fmla="*/ 1027300 w 12117871"/>
                <a:gd name="connsiteY1159" fmla="*/ 4616927 h 6072780"/>
                <a:gd name="connsiteX1160" fmla="*/ 1007214 w 12117871"/>
                <a:gd name="connsiteY1160" fmla="*/ 4700506 h 6072780"/>
                <a:gd name="connsiteX1161" fmla="*/ 951017 w 12117871"/>
                <a:gd name="connsiteY1161" fmla="*/ 4729319 h 6072780"/>
                <a:gd name="connsiteX1162" fmla="*/ 898432 w 12117871"/>
                <a:gd name="connsiteY1162" fmla="*/ 4701785 h 6072780"/>
                <a:gd name="connsiteX1163" fmla="*/ 879549 w 12117871"/>
                <a:gd name="connsiteY1163" fmla="*/ 4622193 h 6072780"/>
                <a:gd name="connsiteX1164" fmla="*/ 899259 w 12117871"/>
                <a:gd name="connsiteY1164" fmla="*/ 4535679 h 6072780"/>
                <a:gd name="connsiteX1165" fmla="*/ 956133 w 12117871"/>
                <a:gd name="connsiteY1165" fmla="*/ 4506339 h 6072780"/>
                <a:gd name="connsiteX1166" fmla="*/ 779786 w 12117871"/>
                <a:gd name="connsiteY1166" fmla="*/ 4506339 h 6072780"/>
                <a:gd name="connsiteX1167" fmla="*/ 850953 w 12117871"/>
                <a:gd name="connsiteY1167" fmla="*/ 4616927 h 6072780"/>
                <a:gd name="connsiteX1168" fmla="*/ 830867 w 12117871"/>
                <a:gd name="connsiteY1168" fmla="*/ 4700506 h 6072780"/>
                <a:gd name="connsiteX1169" fmla="*/ 774670 w 12117871"/>
                <a:gd name="connsiteY1169" fmla="*/ 4729319 h 6072780"/>
                <a:gd name="connsiteX1170" fmla="*/ 722085 w 12117871"/>
                <a:gd name="connsiteY1170" fmla="*/ 4701785 h 6072780"/>
                <a:gd name="connsiteX1171" fmla="*/ 703202 w 12117871"/>
                <a:gd name="connsiteY1171" fmla="*/ 4622193 h 6072780"/>
                <a:gd name="connsiteX1172" fmla="*/ 722912 w 12117871"/>
                <a:gd name="connsiteY1172" fmla="*/ 4535679 h 6072780"/>
                <a:gd name="connsiteX1173" fmla="*/ 779786 w 12117871"/>
                <a:gd name="connsiteY1173" fmla="*/ 4506339 h 6072780"/>
                <a:gd name="connsiteX1174" fmla="*/ 629607 w 12117871"/>
                <a:gd name="connsiteY1174" fmla="*/ 4506339 h 6072780"/>
                <a:gd name="connsiteX1175" fmla="*/ 644513 w 12117871"/>
                <a:gd name="connsiteY1175" fmla="*/ 4506339 h 6072780"/>
                <a:gd name="connsiteX1176" fmla="*/ 644513 w 12117871"/>
                <a:gd name="connsiteY1176" fmla="*/ 4729319 h 6072780"/>
                <a:gd name="connsiteX1177" fmla="*/ 609225 w 12117871"/>
                <a:gd name="connsiteY1177" fmla="*/ 4729319 h 6072780"/>
                <a:gd name="connsiteX1178" fmla="*/ 609225 w 12117871"/>
                <a:gd name="connsiteY1178" fmla="*/ 4549536 h 6072780"/>
                <a:gd name="connsiteX1179" fmla="*/ 588616 w 12117871"/>
                <a:gd name="connsiteY1179" fmla="*/ 4561172 h 6072780"/>
                <a:gd name="connsiteX1180" fmla="*/ 563443 w 12117871"/>
                <a:gd name="connsiteY1180" fmla="*/ 4569613 h 6072780"/>
                <a:gd name="connsiteX1181" fmla="*/ 563443 w 12117871"/>
                <a:gd name="connsiteY1181" fmla="*/ 4539497 h 6072780"/>
                <a:gd name="connsiteX1182" fmla="*/ 580478 w 12117871"/>
                <a:gd name="connsiteY1182" fmla="*/ 4533413 h 6072780"/>
                <a:gd name="connsiteX1183" fmla="*/ 596677 w 12117871"/>
                <a:gd name="connsiteY1183" fmla="*/ 4526264 h 6072780"/>
                <a:gd name="connsiteX1184" fmla="*/ 612800 w 12117871"/>
                <a:gd name="connsiteY1184" fmla="*/ 4517443 h 6072780"/>
                <a:gd name="connsiteX1185" fmla="*/ 629607 w 12117871"/>
                <a:gd name="connsiteY1185" fmla="*/ 4506339 h 6072780"/>
                <a:gd name="connsiteX1186" fmla="*/ 480750 w 12117871"/>
                <a:gd name="connsiteY1186" fmla="*/ 4506339 h 6072780"/>
                <a:gd name="connsiteX1187" fmla="*/ 495656 w 12117871"/>
                <a:gd name="connsiteY1187" fmla="*/ 4506339 h 6072780"/>
                <a:gd name="connsiteX1188" fmla="*/ 495656 w 12117871"/>
                <a:gd name="connsiteY1188" fmla="*/ 4729319 h 6072780"/>
                <a:gd name="connsiteX1189" fmla="*/ 460368 w 12117871"/>
                <a:gd name="connsiteY1189" fmla="*/ 4729319 h 6072780"/>
                <a:gd name="connsiteX1190" fmla="*/ 460368 w 12117871"/>
                <a:gd name="connsiteY1190" fmla="*/ 4549536 h 6072780"/>
                <a:gd name="connsiteX1191" fmla="*/ 439759 w 12117871"/>
                <a:gd name="connsiteY1191" fmla="*/ 4561172 h 6072780"/>
                <a:gd name="connsiteX1192" fmla="*/ 414586 w 12117871"/>
                <a:gd name="connsiteY1192" fmla="*/ 4569613 h 6072780"/>
                <a:gd name="connsiteX1193" fmla="*/ 414586 w 12117871"/>
                <a:gd name="connsiteY1193" fmla="*/ 4539497 h 6072780"/>
                <a:gd name="connsiteX1194" fmla="*/ 431621 w 12117871"/>
                <a:gd name="connsiteY1194" fmla="*/ 4533413 h 6072780"/>
                <a:gd name="connsiteX1195" fmla="*/ 447821 w 12117871"/>
                <a:gd name="connsiteY1195" fmla="*/ 4526264 h 6072780"/>
                <a:gd name="connsiteX1196" fmla="*/ 463943 w 12117871"/>
                <a:gd name="connsiteY1196" fmla="*/ 4517443 h 6072780"/>
                <a:gd name="connsiteX1197" fmla="*/ 480750 w 12117871"/>
                <a:gd name="connsiteY1197" fmla="*/ 4506339 h 6072780"/>
                <a:gd name="connsiteX1198" fmla="*/ 142759 w 12117871"/>
                <a:gd name="connsiteY1198" fmla="*/ 4506339 h 6072780"/>
                <a:gd name="connsiteX1199" fmla="*/ 213926 w 12117871"/>
                <a:gd name="connsiteY1199" fmla="*/ 4616927 h 6072780"/>
                <a:gd name="connsiteX1200" fmla="*/ 193840 w 12117871"/>
                <a:gd name="connsiteY1200" fmla="*/ 4700506 h 6072780"/>
                <a:gd name="connsiteX1201" fmla="*/ 137643 w 12117871"/>
                <a:gd name="connsiteY1201" fmla="*/ 4729319 h 6072780"/>
                <a:gd name="connsiteX1202" fmla="*/ 85058 w 12117871"/>
                <a:gd name="connsiteY1202" fmla="*/ 4701785 h 6072780"/>
                <a:gd name="connsiteX1203" fmla="*/ 66175 w 12117871"/>
                <a:gd name="connsiteY1203" fmla="*/ 4622193 h 6072780"/>
                <a:gd name="connsiteX1204" fmla="*/ 85885 w 12117871"/>
                <a:gd name="connsiteY1204" fmla="*/ 4535679 h 6072780"/>
                <a:gd name="connsiteX1205" fmla="*/ 142759 w 12117871"/>
                <a:gd name="connsiteY1205" fmla="*/ 4506339 h 6072780"/>
                <a:gd name="connsiteX1206" fmla="*/ 11874294 w 12117871"/>
                <a:gd name="connsiteY1206" fmla="*/ 4186703 h 6072780"/>
                <a:gd name="connsiteX1207" fmla="*/ 11835024 w 12117871"/>
                <a:gd name="connsiteY1207" fmla="*/ 4273216 h 6072780"/>
                <a:gd name="connsiteX1208" fmla="*/ 11873542 w 12117871"/>
                <a:gd name="connsiteY1208" fmla="*/ 4354163 h 6072780"/>
                <a:gd name="connsiteX1209" fmla="*/ 11911457 w 12117871"/>
                <a:gd name="connsiteY1209" fmla="*/ 4271862 h 6072780"/>
                <a:gd name="connsiteX1210" fmla="*/ 11874294 w 12117871"/>
                <a:gd name="connsiteY1210" fmla="*/ 4186703 h 6072780"/>
                <a:gd name="connsiteX1211" fmla="*/ 11189148 w 12117871"/>
                <a:gd name="connsiteY1211" fmla="*/ 4186703 h 6072780"/>
                <a:gd name="connsiteX1212" fmla="*/ 11149878 w 12117871"/>
                <a:gd name="connsiteY1212" fmla="*/ 4273216 h 6072780"/>
                <a:gd name="connsiteX1213" fmla="*/ 11188396 w 12117871"/>
                <a:gd name="connsiteY1213" fmla="*/ 4354163 h 6072780"/>
                <a:gd name="connsiteX1214" fmla="*/ 11226311 w 12117871"/>
                <a:gd name="connsiteY1214" fmla="*/ 4271862 h 6072780"/>
                <a:gd name="connsiteX1215" fmla="*/ 11189148 w 12117871"/>
                <a:gd name="connsiteY1215" fmla="*/ 4186703 h 6072780"/>
                <a:gd name="connsiteX1216" fmla="*/ 9936214 w 12117871"/>
                <a:gd name="connsiteY1216" fmla="*/ 4186703 h 6072780"/>
                <a:gd name="connsiteX1217" fmla="*/ 9896944 w 12117871"/>
                <a:gd name="connsiteY1217" fmla="*/ 4273216 h 6072780"/>
                <a:gd name="connsiteX1218" fmla="*/ 9935462 w 12117871"/>
                <a:gd name="connsiteY1218" fmla="*/ 4354163 h 6072780"/>
                <a:gd name="connsiteX1219" fmla="*/ 9973377 w 12117871"/>
                <a:gd name="connsiteY1219" fmla="*/ 4271862 h 6072780"/>
                <a:gd name="connsiteX1220" fmla="*/ 9936214 w 12117871"/>
                <a:gd name="connsiteY1220" fmla="*/ 4186703 h 6072780"/>
                <a:gd name="connsiteX1221" fmla="*/ 9713703 w 12117871"/>
                <a:gd name="connsiteY1221" fmla="*/ 4186703 h 6072780"/>
                <a:gd name="connsiteX1222" fmla="*/ 9674433 w 12117871"/>
                <a:gd name="connsiteY1222" fmla="*/ 4273216 h 6072780"/>
                <a:gd name="connsiteX1223" fmla="*/ 9712951 w 12117871"/>
                <a:gd name="connsiteY1223" fmla="*/ 4354163 h 6072780"/>
                <a:gd name="connsiteX1224" fmla="*/ 9750866 w 12117871"/>
                <a:gd name="connsiteY1224" fmla="*/ 4271862 h 6072780"/>
                <a:gd name="connsiteX1225" fmla="*/ 9713703 w 12117871"/>
                <a:gd name="connsiteY1225" fmla="*/ 4186703 h 6072780"/>
                <a:gd name="connsiteX1226" fmla="*/ 6372301 w 12117871"/>
                <a:gd name="connsiteY1226" fmla="*/ 4186703 h 6072780"/>
                <a:gd name="connsiteX1227" fmla="*/ 6333031 w 12117871"/>
                <a:gd name="connsiteY1227" fmla="*/ 4273216 h 6072780"/>
                <a:gd name="connsiteX1228" fmla="*/ 6371549 w 12117871"/>
                <a:gd name="connsiteY1228" fmla="*/ 4354163 h 6072780"/>
                <a:gd name="connsiteX1229" fmla="*/ 6409464 w 12117871"/>
                <a:gd name="connsiteY1229" fmla="*/ 4271862 h 6072780"/>
                <a:gd name="connsiteX1230" fmla="*/ 6372301 w 12117871"/>
                <a:gd name="connsiteY1230" fmla="*/ 4186703 h 6072780"/>
                <a:gd name="connsiteX1231" fmla="*/ 5784617 w 12117871"/>
                <a:gd name="connsiteY1231" fmla="*/ 4186703 h 6072780"/>
                <a:gd name="connsiteX1232" fmla="*/ 5745350 w 12117871"/>
                <a:gd name="connsiteY1232" fmla="*/ 4273216 h 6072780"/>
                <a:gd name="connsiteX1233" fmla="*/ 5783865 w 12117871"/>
                <a:gd name="connsiteY1233" fmla="*/ 4354163 h 6072780"/>
                <a:gd name="connsiteX1234" fmla="*/ 5821781 w 12117871"/>
                <a:gd name="connsiteY1234" fmla="*/ 4271862 h 6072780"/>
                <a:gd name="connsiteX1235" fmla="*/ 5784617 w 12117871"/>
                <a:gd name="connsiteY1235" fmla="*/ 4186703 h 6072780"/>
                <a:gd name="connsiteX1236" fmla="*/ 5091629 w 12117871"/>
                <a:gd name="connsiteY1236" fmla="*/ 4186703 h 6072780"/>
                <a:gd name="connsiteX1237" fmla="*/ 5052358 w 12117871"/>
                <a:gd name="connsiteY1237" fmla="*/ 4273216 h 6072780"/>
                <a:gd name="connsiteX1238" fmla="*/ 5090877 w 12117871"/>
                <a:gd name="connsiteY1238" fmla="*/ 4354163 h 6072780"/>
                <a:gd name="connsiteX1239" fmla="*/ 5128792 w 12117871"/>
                <a:gd name="connsiteY1239" fmla="*/ 4271862 h 6072780"/>
                <a:gd name="connsiteX1240" fmla="*/ 5091629 w 12117871"/>
                <a:gd name="connsiteY1240" fmla="*/ 4186703 h 6072780"/>
                <a:gd name="connsiteX1241" fmla="*/ 3837392 w 12117871"/>
                <a:gd name="connsiteY1241" fmla="*/ 4186703 h 6072780"/>
                <a:gd name="connsiteX1242" fmla="*/ 3798122 w 12117871"/>
                <a:gd name="connsiteY1242" fmla="*/ 4273216 h 6072780"/>
                <a:gd name="connsiteX1243" fmla="*/ 3836640 w 12117871"/>
                <a:gd name="connsiteY1243" fmla="*/ 4354163 h 6072780"/>
                <a:gd name="connsiteX1244" fmla="*/ 3874555 w 12117871"/>
                <a:gd name="connsiteY1244" fmla="*/ 4271862 h 6072780"/>
                <a:gd name="connsiteX1245" fmla="*/ 3837392 w 12117871"/>
                <a:gd name="connsiteY1245" fmla="*/ 4186703 h 6072780"/>
                <a:gd name="connsiteX1246" fmla="*/ 3614881 w 12117871"/>
                <a:gd name="connsiteY1246" fmla="*/ 4186703 h 6072780"/>
                <a:gd name="connsiteX1247" fmla="*/ 3575611 w 12117871"/>
                <a:gd name="connsiteY1247" fmla="*/ 4273216 h 6072780"/>
                <a:gd name="connsiteX1248" fmla="*/ 3614130 w 12117871"/>
                <a:gd name="connsiteY1248" fmla="*/ 4354163 h 6072780"/>
                <a:gd name="connsiteX1249" fmla="*/ 3652044 w 12117871"/>
                <a:gd name="connsiteY1249" fmla="*/ 4271862 h 6072780"/>
                <a:gd name="connsiteX1250" fmla="*/ 3614881 w 12117871"/>
                <a:gd name="connsiteY1250" fmla="*/ 4186703 h 6072780"/>
                <a:gd name="connsiteX1251" fmla="*/ 10438235 w 12117871"/>
                <a:gd name="connsiteY1251" fmla="*/ 4158869 h 6072780"/>
                <a:gd name="connsiteX1252" fmla="*/ 10453141 w 12117871"/>
                <a:gd name="connsiteY1252" fmla="*/ 4158869 h 6072780"/>
                <a:gd name="connsiteX1253" fmla="*/ 10453141 w 12117871"/>
                <a:gd name="connsiteY1253" fmla="*/ 4381849 h 6072780"/>
                <a:gd name="connsiteX1254" fmla="*/ 10417853 w 12117871"/>
                <a:gd name="connsiteY1254" fmla="*/ 4381849 h 6072780"/>
                <a:gd name="connsiteX1255" fmla="*/ 10417853 w 12117871"/>
                <a:gd name="connsiteY1255" fmla="*/ 4202066 h 6072780"/>
                <a:gd name="connsiteX1256" fmla="*/ 10397244 w 12117871"/>
                <a:gd name="connsiteY1256" fmla="*/ 4213702 h 6072780"/>
                <a:gd name="connsiteX1257" fmla="*/ 10372071 w 12117871"/>
                <a:gd name="connsiteY1257" fmla="*/ 4222143 h 6072780"/>
                <a:gd name="connsiteX1258" fmla="*/ 10372071 w 12117871"/>
                <a:gd name="connsiteY1258" fmla="*/ 4192027 h 6072780"/>
                <a:gd name="connsiteX1259" fmla="*/ 10389106 w 12117871"/>
                <a:gd name="connsiteY1259" fmla="*/ 4185943 h 6072780"/>
                <a:gd name="connsiteX1260" fmla="*/ 10405305 w 12117871"/>
                <a:gd name="connsiteY1260" fmla="*/ 4178794 h 6072780"/>
                <a:gd name="connsiteX1261" fmla="*/ 10421428 w 12117871"/>
                <a:gd name="connsiteY1261" fmla="*/ 4169973 h 6072780"/>
                <a:gd name="connsiteX1262" fmla="*/ 10438235 w 12117871"/>
                <a:gd name="connsiteY1262" fmla="*/ 4158869 h 6072780"/>
                <a:gd name="connsiteX1263" fmla="*/ 12062430 w 12117871"/>
                <a:gd name="connsiteY1263" fmla="*/ 4158868 h 6072780"/>
                <a:gd name="connsiteX1264" fmla="*/ 12077336 w 12117871"/>
                <a:gd name="connsiteY1264" fmla="*/ 4158868 h 6072780"/>
                <a:gd name="connsiteX1265" fmla="*/ 12077336 w 12117871"/>
                <a:gd name="connsiteY1265" fmla="*/ 4381848 h 6072780"/>
                <a:gd name="connsiteX1266" fmla="*/ 12042048 w 12117871"/>
                <a:gd name="connsiteY1266" fmla="*/ 4381848 h 6072780"/>
                <a:gd name="connsiteX1267" fmla="*/ 12042048 w 12117871"/>
                <a:gd name="connsiteY1267" fmla="*/ 4202064 h 6072780"/>
                <a:gd name="connsiteX1268" fmla="*/ 12021439 w 12117871"/>
                <a:gd name="connsiteY1268" fmla="*/ 4213700 h 6072780"/>
                <a:gd name="connsiteX1269" fmla="*/ 11996266 w 12117871"/>
                <a:gd name="connsiteY1269" fmla="*/ 4222142 h 6072780"/>
                <a:gd name="connsiteX1270" fmla="*/ 11996266 w 12117871"/>
                <a:gd name="connsiteY1270" fmla="*/ 4192026 h 6072780"/>
                <a:gd name="connsiteX1271" fmla="*/ 12013301 w 12117871"/>
                <a:gd name="connsiteY1271" fmla="*/ 4185942 h 6072780"/>
                <a:gd name="connsiteX1272" fmla="*/ 12029500 w 12117871"/>
                <a:gd name="connsiteY1272" fmla="*/ 4178793 h 6072780"/>
                <a:gd name="connsiteX1273" fmla="*/ 12045623 w 12117871"/>
                <a:gd name="connsiteY1273" fmla="*/ 4169971 h 6072780"/>
                <a:gd name="connsiteX1274" fmla="*/ 12062430 w 12117871"/>
                <a:gd name="connsiteY1274" fmla="*/ 4158868 h 6072780"/>
                <a:gd name="connsiteX1275" fmla="*/ 11875949 w 12117871"/>
                <a:gd name="connsiteY1275" fmla="*/ 4158868 h 6072780"/>
                <a:gd name="connsiteX1276" fmla="*/ 11947116 w 12117871"/>
                <a:gd name="connsiteY1276" fmla="*/ 4269455 h 6072780"/>
                <a:gd name="connsiteX1277" fmla="*/ 11927030 w 12117871"/>
                <a:gd name="connsiteY1277" fmla="*/ 4353035 h 6072780"/>
                <a:gd name="connsiteX1278" fmla="*/ 11870833 w 12117871"/>
                <a:gd name="connsiteY1278" fmla="*/ 4381848 h 6072780"/>
                <a:gd name="connsiteX1279" fmla="*/ 11818248 w 12117871"/>
                <a:gd name="connsiteY1279" fmla="*/ 4354314 h 6072780"/>
                <a:gd name="connsiteX1280" fmla="*/ 11799365 w 12117871"/>
                <a:gd name="connsiteY1280" fmla="*/ 4274721 h 6072780"/>
                <a:gd name="connsiteX1281" fmla="*/ 11819075 w 12117871"/>
                <a:gd name="connsiteY1281" fmla="*/ 4188207 h 6072780"/>
                <a:gd name="connsiteX1282" fmla="*/ 11875949 w 12117871"/>
                <a:gd name="connsiteY1282" fmla="*/ 4158868 h 6072780"/>
                <a:gd name="connsiteX1283" fmla="*/ 11190803 w 12117871"/>
                <a:gd name="connsiteY1283" fmla="*/ 4158868 h 6072780"/>
                <a:gd name="connsiteX1284" fmla="*/ 11261970 w 12117871"/>
                <a:gd name="connsiteY1284" fmla="*/ 4269455 h 6072780"/>
                <a:gd name="connsiteX1285" fmla="*/ 11241884 w 12117871"/>
                <a:gd name="connsiteY1285" fmla="*/ 4353035 h 6072780"/>
                <a:gd name="connsiteX1286" fmla="*/ 11185687 w 12117871"/>
                <a:gd name="connsiteY1286" fmla="*/ 4381848 h 6072780"/>
                <a:gd name="connsiteX1287" fmla="*/ 11133102 w 12117871"/>
                <a:gd name="connsiteY1287" fmla="*/ 4354314 h 6072780"/>
                <a:gd name="connsiteX1288" fmla="*/ 11114219 w 12117871"/>
                <a:gd name="connsiteY1288" fmla="*/ 4274721 h 6072780"/>
                <a:gd name="connsiteX1289" fmla="*/ 11133929 w 12117871"/>
                <a:gd name="connsiteY1289" fmla="*/ 4188207 h 6072780"/>
                <a:gd name="connsiteX1290" fmla="*/ 11190803 w 12117871"/>
                <a:gd name="connsiteY1290" fmla="*/ 4158868 h 6072780"/>
                <a:gd name="connsiteX1291" fmla="*/ 10143427 w 12117871"/>
                <a:gd name="connsiteY1291" fmla="*/ 4158868 h 6072780"/>
                <a:gd name="connsiteX1292" fmla="*/ 10158333 w 12117871"/>
                <a:gd name="connsiteY1292" fmla="*/ 4158868 h 6072780"/>
                <a:gd name="connsiteX1293" fmla="*/ 10158333 w 12117871"/>
                <a:gd name="connsiteY1293" fmla="*/ 4381848 h 6072780"/>
                <a:gd name="connsiteX1294" fmla="*/ 10123045 w 12117871"/>
                <a:gd name="connsiteY1294" fmla="*/ 4381848 h 6072780"/>
                <a:gd name="connsiteX1295" fmla="*/ 10123045 w 12117871"/>
                <a:gd name="connsiteY1295" fmla="*/ 4202064 h 6072780"/>
                <a:gd name="connsiteX1296" fmla="*/ 10102436 w 12117871"/>
                <a:gd name="connsiteY1296" fmla="*/ 4213700 h 6072780"/>
                <a:gd name="connsiteX1297" fmla="*/ 10077263 w 12117871"/>
                <a:gd name="connsiteY1297" fmla="*/ 4222142 h 6072780"/>
                <a:gd name="connsiteX1298" fmla="*/ 10077263 w 12117871"/>
                <a:gd name="connsiteY1298" fmla="*/ 4192026 h 6072780"/>
                <a:gd name="connsiteX1299" fmla="*/ 10094298 w 12117871"/>
                <a:gd name="connsiteY1299" fmla="*/ 4185942 h 6072780"/>
                <a:gd name="connsiteX1300" fmla="*/ 10110497 w 12117871"/>
                <a:gd name="connsiteY1300" fmla="*/ 4178793 h 6072780"/>
                <a:gd name="connsiteX1301" fmla="*/ 10126620 w 12117871"/>
                <a:gd name="connsiteY1301" fmla="*/ 4169971 h 6072780"/>
                <a:gd name="connsiteX1302" fmla="*/ 10143427 w 12117871"/>
                <a:gd name="connsiteY1302" fmla="*/ 4158868 h 6072780"/>
                <a:gd name="connsiteX1303" fmla="*/ 9937869 w 12117871"/>
                <a:gd name="connsiteY1303" fmla="*/ 4158868 h 6072780"/>
                <a:gd name="connsiteX1304" fmla="*/ 10009036 w 12117871"/>
                <a:gd name="connsiteY1304" fmla="*/ 4269455 h 6072780"/>
                <a:gd name="connsiteX1305" fmla="*/ 9988950 w 12117871"/>
                <a:gd name="connsiteY1305" fmla="*/ 4353035 h 6072780"/>
                <a:gd name="connsiteX1306" fmla="*/ 9932753 w 12117871"/>
                <a:gd name="connsiteY1306" fmla="*/ 4381848 h 6072780"/>
                <a:gd name="connsiteX1307" fmla="*/ 9880168 w 12117871"/>
                <a:gd name="connsiteY1307" fmla="*/ 4354314 h 6072780"/>
                <a:gd name="connsiteX1308" fmla="*/ 9861285 w 12117871"/>
                <a:gd name="connsiteY1308" fmla="*/ 4274721 h 6072780"/>
                <a:gd name="connsiteX1309" fmla="*/ 9880995 w 12117871"/>
                <a:gd name="connsiteY1309" fmla="*/ 4188207 h 6072780"/>
                <a:gd name="connsiteX1310" fmla="*/ 9937869 w 12117871"/>
                <a:gd name="connsiteY1310" fmla="*/ 4158868 h 6072780"/>
                <a:gd name="connsiteX1311" fmla="*/ 9715358 w 12117871"/>
                <a:gd name="connsiteY1311" fmla="*/ 4158868 h 6072780"/>
                <a:gd name="connsiteX1312" fmla="*/ 9786525 w 12117871"/>
                <a:gd name="connsiteY1312" fmla="*/ 4269455 h 6072780"/>
                <a:gd name="connsiteX1313" fmla="*/ 9766439 w 12117871"/>
                <a:gd name="connsiteY1313" fmla="*/ 4353035 h 6072780"/>
                <a:gd name="connsiteX1314" fmla="*/ 9710242 w 12117871"/>
                <a:gd name="connsiteY1314" fmla="*/ 4381848 h 6072780"/>
                <a:gd name="connsiteX1315" fmla="*/ 9657657 w 12117871"/>
                <a:gd name="connsiteY1315" fmla="*/ 4354314 h 6072780"/>
                <a:gd name="connsiteX1316" fmla="*/ 9638774 w 12117871"/>
                <a:gd name="connsiteY1316" fmla="*/ 4274721 h 6072780"/>
                <a:gd name="connsiteX1317" fmla="*/ 9658484 w 12117871"/>
                <a:gd name="connsiteY1317" fmla="*/ 4188207 h 6072780"/>
                <a:gd name="connsiteX1318" fmla="*/ 9715358 w 12117871"/>
                <a:gd name="connsiteY1318" fmla="*/ 4158868 h 6072780"/>
                <a:gd name="connsiteX1319" fmla="*/ 9557012 w 12117871"/>
                <a:gd name="connsiteY1319" fmla="*/ 4158868 h 6072780"/>
                <a:gd name="connsiteX1320" fmla="*/ 9571918 w 12117871"/>
                <a:gd name="connsiteY1320" fmla="*/ 4158868 h 6072780"/>
                <a:gd name="connsiteX1321" fmla="*/ 9571918 w 12117871"/>
                <a:gd name="connsiteY1321" fmla="*/ 4381848 h 6072780"/>
                <a:gd name="connsiteX1322" fmla="*/ 9536630 w 12117871"/>
                <a:gd name="connsiteY1322" fmla="*/ 4381848 h 6072780"/>
                <a:gd name="connsiteX1323" fmla="*/ 9536630 w 12117871"/>
                <a:gd name="connsiteY1323" fmla="*/ 4202064 h 6072780"/>
                <a:gd name="connsiteX1324" fmla="*/ 9516021 w 12117871"/>
                <a:gd name="connsiteY1324" fmla="*/ 4213700 h 6072780"/>
                <a:gd name="connsiteX1325" fmla="*/ 9490848 w 12117871"/>
                <a:gd name="connsiteY1325" fmla="*/ 4222142 h 6072780"/>
                <a:gd name="connsiteX1326" fmla="*/ 9490848 w 12117871"/>
                <a:gd name="connsiteY1326" fmla="*/ 4192026 h 6072780"/>
                <a:gd name="connsiteX1327" fmla="*/ 9507883 w 12117871"/>
                <a:gd name="connsiteY1327" fmla="*/ 4185942 h 6072780"/>
                <a:gd name="connsiteX1328" fmla="*/ 9524082 w 12117871"/>
                <a:gd name="connsiteY1328" fmla="*/ 4178793 h 6072780"/>
                <a:gd name="connsiteX1329" fmla="*/ 9540205 w 12117871"/>
                <a:gd name="connsiteY1329" fmla="*/ 4169971 h 6072780"/>
                <a:gd name="connsiteX1330" fmla="*/ 9557012 w 12117871"/>
                <a:gd name="connsiteY1330" fmla="*/ 4158868 h 6072780"/>
                <a:gd name="connsiteX1331" fmla="*/ 9254256 w 12117871"/>
                <a:gd name="connsiteY1331" fmla="*/ 4158868 h 6072780"/>
                <a:gd name="connsiteX1332" fmla="*/ 9269162 w 12117871"/>
                <a:gd name="connsiteY1332" fmla="*/ 4158868 h 6072780"/>
                <a:gd name="connsiteX1333" fmla="*/ 9269162 w 12117871"/>
                <a:gd name="connsiteY1333" fmla="*/ 4381848 h 6072780"/>
                <a:gd name="connsiteX1334" fmla="*/ 9233874 w 12117871"/>
                <a:gd name="connsiteY1334" fmla="*/ 4381848 h 6072780"/>
                <a:gd name="connsiteX1335" fmla="*/ 9233874 w 12117871"/>
                <a:gd name="connsiteY1335" fmla="*/ 4202064 h 6072780"/>
                <a:gd name="connsiteX1336" fmla="*/ 9213265 w 12117871"/>
                <a:gd name="connsiteY1336" fmla="*/ 4213700 h 6072780"/>
                <a:gd name="connsiteX1337" fmla="*/ 9188092 w 12117871"/>
                <a:gd name="connsiteY1337" fmla="*/ 4222142 h 6072780"/>
                <a:gd name="connsiteX1338" fmla="*/ 9188092 w 12117871"/>
                <a:gd name="connsiteY1338" fmla="*/ 4192026 h 6072780"/>
                <a:gd name="connsiteX1339" fmla="*/ 9205127 w 12117871"/>
                <a:gd name="connsiteY1339" fmla="*/ 4185942 h 6072780"/>
                <a:gd name="connsiteX1340" fmla="*/ 9221326 w 12117871"/>
                <a:gd name="connsiteY1340" fmla="*/ 4178793 h 6072780"/>
                <a:gd name="connsiteX1341" fmla="*/ 9237449 w 12117871"/>
                <a:gd name="connsiteY1341" fmla="*/ 4169971 h 6072780"/>
                <a:gd name="connsiteX1342" fmla="*/ 9254256 w 12117871"/>
                <a:gd name="connsiteY1342" fmla="*/ 4158868 h 6072780"/>
                <a:gd name="connsiteX1343" fmla="*/ 8744915 w 12117871"/>
                <a:gd name="connsiteY1343" fmla="*/ 4158868 h 6072780"/>
                <a:gd name="connsiteX1344" fmla="*/ 8759821 w 12117871"/>
                <a:gd name="connsiteY1344" fmla="*/ 4158868 h 6072780"/>
                <a:gd name="connsiteX1345" fmla="*/ 8759821 w 12117871"/>
                <a:gd name="connsiteY1345" fmla="*/ 4381848 h 6072780"/>
                <a:gd name="connsiteX1346" fmla="*/ 8724533 w 12117871"/>
                <a:gd name="connsiteY1346" fmla="*/ 4381848 h 6072780"/>
                <a:gd name="connsiteX1347" fmla="*/ 8724533 w 12117871"/>
                <a:gd name="connsiteY1347" fmla="*/ 4202065 h 6072780"/>
                <a:gd name="connsiteX1348" fmla="*/ 8703924 w 12117871"/>
                <a:gd name="connsiteY1348" fmla="*/ 4213701 h 6072780"/>
                <a:gd name="connsiteX1349" fmla="*/ 8678751 w 12117871"/>
                <a:gd name="connsiteY1349" fmla="*/ 4222142 h 6072780"/>
                <a:gd name="connsiteX1350" fmla="*/ 8678751 w 12117871"/>
                <a:gd name="connsiteY1350" fmla="*/ 4192026 h 6072780"/>
                <a:gd name="connsiteX1351" fmla="*/ 8695786 w 12117871"/>
                <a:gd name="connsiteY1351" fmla="*/ 4185942 h 6072780"/>
                <a:gd name="connsiteX1352" fmla="*/ 8711985 w 12117871"/>
                <a:gd name="connsiteY1352" fmla="*/ 4178793 h 6072780"/>
                <a:gd name="connsiteX1353" fmla="*/ 8728108 w 12117871"/>
                <a:gd name="connsiteY1353" fmla="*/ 4169972 h 6072780"/>
                <a:gd name="connsiteX1354" fmla="*/ 8744915 w 12117871"/>
                <a:gd name="connsiteY1354" fmla="*/ 4158868 h 6072780"/>
                <a:gd name="connsiteX1355" fmla="*/ 7851748 w 12117871"/>
                <a:gd name="connsiteY1355" fmla="*/ 4158868 h 6072780"/>
                <a:gd name="connsiteX1356" fmla="*/ 7866654 w 12117871"/>
                <a:gd name="connsiteY1356" fmla="*/ 4158868 h 6072780"/>
                <a:gd name="connsiteX1357" fmla="*/ 7866654 w 12117871"/>
                <a:gd name="connsiteY1357" fmla="*/ 4381848 h 6072780"/>
                <a:gd name="connsiteX1358" fmla="*/ 7831366 w 12117871"/>
                <a:gd name="connsiteY1358" fmla="*/ 4381848 h 6072780"/>
                <a:gd name="connsiteX1359" fmla="*/ 7831366 w 12117871"/>
                <a:gd name="connsiteY1359" fmla="*/ 4202064 h 6072780"/>
                <a:gd name="connsiteX1360" fmla="*/ 7810757 w 12117871"/>
                <a:gd name="connsiteY1360" fmla="*/ 4213700 h 6072780"/>
                <a:gd name="connsiteX1361" fmla="*/ 7785584 w 12117871"/>
                <a:gd name="connsiteY1361" fmla="*/ 4222142 h 6072780"/>
                <a:gd name="connsiteX1362" fmla="*/ 7785584 w 12117871"/>
                <a:gd name="connsiteY1362" fmla="*/ 4192026 h 6072780"/>
                <a:gd name="connsiteX1363" fmla="*/ 7802619 w 12117871"/>
                <a:gd name="connsiteY1363" fmla="*/ 4185942 h 6072780"/>
                <a:gd name="connsiteX1364" fmla="*/ 7818818 w 12117871"/>
                <a:gd name="connsiteY1364" fmla="*/ 4178793 h 6072780"/>
                <a:gd name="connsiteX1365" fmla="*/ 7834941 w 12117871"/>
                <a:gd name="connsiteY1365" fmla="*/ 4169971 h 6072780"/>
                <a:gd name="connsiteX1366" fmla="*/ 7851748 w 12117871"/>
                <a:gd name="connsiteY1366" fmla="*/ 4158868 h 6072780"/>
                <a:gd name="connsiteX1367" fmla="*/ 7413731 w 12117871"/>
                <a:gd name="connsiteY1367" fmla="*/ 4158868 h 6072780"/>
                <a:gd name="connsiteX1368" fmla="*/ 7428637 w 12117871"/>
                <a:gd name="connsiteY1368" fmla="*/ 4158868 h 6072780"/>
                <a:gd name="connsiteX1369" fmla="*/ 7428637 w 12117871"/>
                <a:gd name="connsiteY1369" fmla="*/ 4381848 h 6072780"/>
                <a:gd name="connsiteX1370" fmla="*/ 7393349 w 12117871"/>
                <a:gd name="connsiteY1370" fmla="*/ 4381848 h 6072780"/>
                <a:gd name="connsiteX1371" fmla="*/ 7393349 w 12117871"/>
                <a:gd name="connsiteY1371" fmla="*/ 4202064 h 6072780"/>
                <a:gd name="connsiteX1372" fmla="*/ 7372740 w 12117871"/>
                <a:gd name="connsiteY1372" fmla="*/ 4213700 h 6072780"/>
                <a:gd name="connsiteX1373" fmla="*/ 7347567 w 12117871"/>
                <a:gd name="connsiteY1373" fmla="*/ 4222142 h 6072780"/>
                <a:gd name="connsiteX1374" fmla="*/ 7347567 w 12117871"/>
                <a:gd name="connsiteY1374" fmla="*/ 4192026 h 6072780"/>
                <a:gd name="connsiteX1375" fmla="*/ 7364602 w 12117871"/>
                <a:gd name="connsiteY1375" fmla="*/ 4185942 h 6072780"/>
                <a:gd name="connsiteX1376" fmla="*/ 7380801 w 12117871"/>
                <a:gd name="connsiteY1376" fmla="*/ 4178793 h 6072780"/>
                <a:gd name="connsiteX1377" fmla="*/ 7396924 w 12117871"/>
                <a:gd name="connsiteY1377" fmla="*/ 4169971 h 6072780"/>
                <a:gd name="connsiteX1378" fmla="*/ 7413731 w 12117871"/>
                <a:gd name="connsiteY1378" fmla="*/ 4158868 h 6072780"/>
                <a:gd name="connsiteX1379" fmla="*/ 7015147 w 12117871"/>
                <a:gd name="connsiteY1379" fmla="*/ 4158868 h 6072780"/>
                <a:gd name="connsiteX1380" fmla="*/ 7030053 w 12117871"/>
                <a:gd name="connsiteY1380" fmla="*/ 4158868 h 6072780"/>
                <a:gd name="connsiteX1381" fmla="*/ 7030053 w 12117871"/>
                <a:gd name="connsiteY1381" fmla="*/ 4381848 h 6072780"/>
                <a:gd name="connsiteX1382" fmla="*/ 6994765 w 12117871"/>
                <a:gd name="connsiteY1382" fmla="*/ 4381848 h 6072780"/>
                <a:gd name="connsiteX1383" fmla="*/ 6994765 w 12117871"/>
                <a:gd name="connsiteY1383" fmla="*/ 4202064 h 6072780"/>
                <a:gd name="connsiteX1384" fmla="*/ 6974156 w 12117871"/>
                <a:gd name="connsiteY1384" fmla="*/ 4213700 h 6072780"/>
                <a:gd name="connsiteX1385" fmla="*/ 6948983 w 12117871"/>
                <a:gd name="connsiteY1385" fmla="*/ 4222142 h 6072780"/>
                <a:gd name="connsiteX1386" fmla="*/ 6948983 w 12117871"/>
                <a:gd name="connsiteY1386" fmla="*/ 4192026 h 6072780"/>
                <a:gd name="connsiteX1387" fmla="*/ 6966018 w 12117871"/>
                <a:gd name="connsiteY1387" fmla="*/ 4185942 h 6072780"/>
                <a:gd name="connsiteX1388" fmla="*/ 6982217 w 12117871"/>
                <a:gd name="connsiteY1388" fmla="*/ 4178793 h 6072780"/>
                <a:gd name="connsiteX1389" fmla="*/ 6998340 w 12117871"/>
                <a:gd name="connsiteY1389" fmla="*/ 4169971 h 6072780"/>
                <a:gd name="connsiteX1390" fmla="*/ 7015147 w 12117871"/>
                <a:gd name="connsiteY1390" fmla="*/ 4158868 h 6072780"/>
                <a:gd name="connsiteX1391" fmla="*/ 6727931 w 12117871"/>
                <a:gd name="connsiteY1391" fmla="*/ 4158868 h 6072780"/>
                <a:gd name="connsiteX1392" fmla="*/ 6742837 w 12117871"/>
                <a:gd name="connsiteY1392" fmla="*/ 4158868 h 6072780"/>
                <a:gd name="connsiteX1393" fmla="*/ 6742837 w 12117871"/>
                <a:gd name="connsiteY1393" fmla="*/ 4381848 h 6072780"/>
                <a:gd name="connsiteX1394" fmla="*/ 6707549 w 12117871"/>
                <a:gd name="connsiteY1394" fmla="*/ 4381848 h 6072780"/>
                <a:gd name="connsiteX1395" fmla="*/ 6707549 w 12117871"/>
                <a:gd name="connsiteY1395" fmla="*/ 4202064 h 6072780"/>
                <a:gd name="connsiteX1396" fmla="*/ 6686940 w 12117871"/>
                <a:gd name="connsiteY1396" fmla="*/ 4213700 h 6072780"/>
                <a:gd name="connsiteX1397" fmla="*/ 6661767 w 12117871"/>
                <a:gd name="connsiteY1397" fmla="*/ 4222142 h 6072780"/>
                <a:gd name="connsiteX1398" fmla="*/ 6661767 w 12117871"/>
                <a:gd name="connsiteY1398" fmla="*/ 4192026 h 6072780"/>
                <a:gd name="connsiteX1399" fmla="*/ 6678802 w 12117871"/>
                <a:gd name="connsiteY1399" fmla="*/ 4185942 h 6072780"/>
                <a:gd name="connsiteX1400" fmla="*/ 6695001 w 12117871"/>
                <a:gd name="connsiteY1400" fmla="*/ 4178793 h 6072780"/>
                <a:gd name="connsiteX1401" fmla="*/ 6711124 w 12117871"/>
                <a:gd name="connsiteY1401" fmla="*/ 4169971 h 6072780"/>
                <a:gd name="connsiteX1402" fmla="*/ 6727931 w 12117871"/>
                <a:gd name="connsiteY1402" fmla="*/ 4158868 h 6072780"/>
                <a:gd name="connsiteX1403" fmla="*/ 6584323 w 12117871"/>
                <a:gd name="connsiteY1403" fmla="*/ 4158868 h 6072780"/>
                <a:gd name="connsiteX1404" fmla="*/ 6599229 w 12117871"/>
                <a:gd name="connsiteY1404" fmla="*/ 4158868 h 6072780"/>
                <a:gd name="connsiteX1405" fmla="*/ 6599229 w 12117871"/>
                <a:gd name="connsiteY1405" fmla="*/ 4381848 h 6072780"/>
                <a:gd name="connsiteX1406" fmla="*/ 6563941 w 12117871"/>
                <a:gd name="connsiteY1406" fmla="*/ 4381848 h 6072780"/>
                <a:gd name="connsiteX1407" fmla="*/ 6563941 w 12117871"/>
                <a:gd name="connsiteY1407" fmla="*/ 4202064 h 6072780"/>
                <a:gd name="connsiteX1408" fmla="*/ 6543332 w 12117871"/>
                <a:gd name="connsiteY1408" fmla="*/ 4213700 h 6072780"/>
                <a:gd name="connsiteX1409" fmla="*/ 6518159 w 12117871"/>
                <a:gd name="connsiteY1409" fmla="*/ 4222142 h 6072780"/>
                <a:gd name="connsiteX1410" fmla="*/ 6518159 w 12117871"/>
                <a:gd name="connsiteY1410" fmla="*/ 4192026 h 6072780"/>
                <a:gd name="connsiteX1411" fmla="*/ 6535194 w 12117871"/>
                <a:gd name="connsiteY1411" fmla="*/ 4185942 h 6072780"/>
                <a:gd name="connsiteX1412" fmla="*/ 6551393 w 12117871"/>
                <a:gd name="connsiteY1412" fmla="*/ 4178793 h 6072780"/>
                <a:gd name="connsiteX1413" fmla="*/ 6567516 w 12117871"/>
                <a:gd name="connsiteY1413" fmla="*/ 4169971 h 6072780"/>
                <a:gd name="connsiteX1414" fmla="*/ 6584323 w 12117871"/>
                <a:gd name="connsiteY1414" fmla="*/ 4158868 h 6072780"/>
                <a:gd name="connsiteX1415" fmla="*/ 6373956 w 12117871"/>
                <a:gd name="connsiteY1415" fmla="*/ 4158868 h 6072780"/>
                <a:gd name="connsiteX1416" fmla="*/ 6445123 w 12117871"/>
                <a:gd name="connsiteY1416" fmla="*/ 4269455 h 6072780"/>
                <a:gd name="connsiteX1417" fmla="*/ 6425037 w 12117871"/>
                <a:gd name="connsiteY1417" fmla="*/ 4353035 h 6072780"/>
                <a:gd name="connsiteX1418" fmla="*/ 6368840 w 12117871"/>
                <a:gd name="connsiteY1418" fmla="*/ 4381848 h 6072780"/>
                <a:gd name="connsiteX1419" fmla="*/ 6316255 w 12117871"/>
                <a:gd name="connsiteY1419" fmla="*/ 4354314 h 6072780"/>
                <a:gd name="connsiteX1420" fmla="*/ 6297372 w 12117871"/>
                <a:gd name="connsiteY1420" fmla="*/ 4274721 h 6072780"/>
                <a:gd name="connsiteX1421" fmla="*/ 6317082 w 12117871"/>
                <a:gd name="connsiteY1421" fmla="*/ 4188207 h 6072780"/>
                <a:gd name="connsiteX1422" fmla="*/ 6373956 w 12117871"/>
                <a:gd name="connsiteY1422" fmla="*/ 4158868 h 6072780"/>
                <a:gd name="connsiteX1423" fmla="*/ 5975659 w 12117871"/>
                <a:gd name="connsiteY1423" fmla="*/ 4158868 h 6072780"/>
                <a:gd name="connsiteX1424" fmla="*/ 5990568 w 12117871"/>
                <a:gd name="connsiteY1424" fmla="*/ 4158868 h 6072780"/>
                <a:gd name="connsiteX1425" fmla="*/ 5990568 w 12117871"/>
                <a:gd name="connsiteY1425" fmla="*/ 4381848 h 6072780"/>
                <a:gd name="connsiteX1426" fmla="*/ 5955278 w 12117871"/>
                <a:gd name="connsiteY1426" fmla="*/ 4381848 h 6072780"/>
                <a:gd name="connsiteX1427" fmla="*/ 5955278 w 12117871"/>
                <a:gd name="connsiteY1427" fmla="*/ 4202064 h 6072780"/>
                <a:gd name="connsiteX1428" fmla="*/ 5934669 w 12117871"/>
                <a:gd name="connsiteY1428" fmla="*/ 4213700 h 6072780"/>
                <a:gd name="connsiteX1429" fmla="*/ 5909498 w 12117871"/>
                <a:gd name="connsiteY1429" fmla="*/ 4222142 h 6072780"/>
                <a:gd name="connsiteX1430" fmla="*/ 5909498 w 12117871"/>
                <a:gd name="connsiteY1430" fmla="*/ 4192026 h 6072780"/>
                <a:gd name="connsiteX1431" fmla="*/ 5926531 w 12117871"/>
                <a:gd name="connsiteY1431" fmla="*/ 4185942 h 6072780"/>
                <a:gd name="connsiteX1432" fmla="*/ 5942730 w 12117871"/>
                <a:gd name="connsiteY1432" fmla="*/ 4178793 h 6072780"/>
                <a:gd name="connsiteX1433" fmla="*/ 5958852 w 12117871"/>
                <a:gd name="connsiteY1433" fmla="*/ 4169971 h 6072780"/>
                <a:gd name="connsiteX1434" fmla="*/ 5975659 w 12117871"/>
                <a:gd name="connsiteY1434" fmla="*/ 4158868 h 6072780"/>
                <a:gd name="connsiteX1435" fmla="*/ 5786272 w 12117871"/>
                <a:gd name="connsiteY1435" fmla="*/ 4158868 h 6072780"/>
                <a:gd name="connsiteX1436" fmla="*/ 5857440 w 12117871"/>
                <a:gd name="connsiteY1436" fmla="*/ 4269455 h 6072780"/>
                <a:gd name="connsiteX1437" fmla="*/ 5837355 w 12117871"/>
                <a:gd name="connsiteY1437" fmla="*/ 4353035 h 6072780"/>
                <a:gd name="connsiteX1438" fmla="*/ 5781158 w 12117871"/>
                <a:gd name="connsiteY1438" fmla="*/ 4381848 h 6072780"/>
                <a:gd name="connsiteX1439" fmla="*/ 5728572 w 12117871"/>
                <a:gd name="connsiteY1439" fmla="*/ 4354314 h 6072780"/>
                <a:gd name="connsiteX1440" fmla="*/ 5709690 w 12117871"/>
                <a:gd name="connsiteY1440" fmla="*/ 4274721 h 6072780"/>
                <a:gd name="connsiteX1441" fmla="*/ 5729400 w 12117871"/>
                <a:gd name="connsiteY1441" fmla="*/ 4188207 h 6072780"/>
                <a:gd name="connsiteX1442" fmla="*/ 5786272 w 12117871"/>
                <a:gd name="connsiteY1442" fmla="*/ 4158868 h 6072780"/>
                <a:gd name="connsiteX1443" fmla="*/ 5093284 w 12117871"/>
                <a:gd name="connsiteY1443" fmla="*/ 4158868 h 6072780"/>
                <a:gd name="connsiteX1444" fmla="*/ 5164451 w 12117871"/>
                <a:gd name="connsiteY1444" fmla="*/ 4269455 h 6072780"/>
                <a:gd name="connsiteX1445" fmla="*/ 5144364 w 12117871"/>
                <a:gd name="connsiteY1445" fmla="*/ 4353035 h 6072780"/>
                <a:gd name="connsiteX1446" fmla="*/ 5088168 w 12117871"/>
                <a:gd name="connsiteY1446" fmla="*/ 4381848 h 6072780"/>
                <a:gd name="connsiteX1447" fmla="*/ 5035583 w 12117871"/>
                <a:gd name="connsiteY1447" fmla="*/ 4354314 h 6072780"/>
                <a:gd name="connsiteX1448" fmla="*/ 5016700 w 12117871"/>
                <a:gd name="connsiteY1448" fmla="*/ 4274721 h 6072780"/>
                <a:gd name="connsiteX1449" fmla="*/ 5036410 w 12117871"/>
                <a:gd name="connsiteY1449" fmla="*/ 4188207 h 6072780"/>
                <a:gd name="connsiteX1450" fmla="*/ 5093284 w 12117871"/>
                <a:gd name="connsiteY1450" fmla="*/ 4158868 h 6072780"/>
                <a:gd name="connsiteX1451" fmla="*/ 4694968 w 12117871"/>
                <a:gd name="connsiteY1451" fmla="*/ 4158868 h 6072780"/>
                <a:gd name="connsiteX1452" fmla="*/ 4709876 w 12117871"/>
                <a:gd name="connsiteY1452" fmla="*/ 4158868 h 6072780"/>
                <a:gd name="connsiteX1453" fmla="*/ 4709876 w 12117871"/>
                <a:gd name="connsiteY1453" fmla="*/ 4381848 h 6072780"/>
                <a:gd name="connsiteX1454" fmla="*/ 4674589 w 12117871"/>
                <a:gd name="connsiteY1454" fmla="*/ 4381848 h 6072780"/>
                <a:gd name="connsiteX1455" fmla="*/ 4674589 w 12117871"/>
                <a:gd name="connsiteY1455" fmla="*/ 4202064 h 6072780"/>
                <a:gd name="connsiteX1456" fmla="*/ 4653978 w 12117871"/>
                <a:gd name="connsiteY1456" fmla="*/ 4213700 h 6072780"/>
                <a:gd name="connsiteX1457" fmla="*/ 4628805 w 12117871"/>
                <a:gd name="connsiteY1457" fmla="*/ 4222142 h 6072780"/>
                <a:gd name="connsiteX1458" fmla="*/ 4628805 w 12117871"/>
                <a:gd name="connsiteY1458" fmla="*/ 4192026 h 6072780"/>
                <a:gd name="connsiteX1459" fmla="*/ 4645841 w 12117871"/>
                <a:gd name="connsiteY1459" fmla="*/ 4185942 h 6072780"/>
                <a:gd name="connsiteX1460" fmla="*/ 4662040 w 12117871"/>
                <a:gd name="connsiteY1460" fmla="*/ 4178793 h 6072780"/>
                <a:gd name="connsiteX1461" fmla="*/ 4678162 w 12117871"/>
                <a:gd name="connsiteY1461" fmla="*/ 4169971 h 6072780"/>
                <a:gd name="connsiteX1462" fmla="*/ 4694968 w 12117871"/>
                <a:gd name="connsiteY1462" fmla="*/ 4158868 h 6072780"/>
                <a:gd name="connsiteX1463" fmla="*/ 4345906 w 12117871"/>
                <a:gd name="connsiteY1463" fmla="*/ 4158868 h 6072780"/>
                <a:gd name="connsiteX1464" fmla="*/ 4360813 w 12117871"/>
                <a:gd name="connsiteY1464" fmla="*/ 4158868 h 6072780"/>
                <a:gd name="connsiteX1465" fmla="*/ 4360813 w 12117871"/>
                <a:gd name="connsiteY1465" fmla="*/ 4381848 h 6072780"/>
                <a:gd name="connsiteX1466" fmla="*/ 4325525 w 12117871"/>
                <a:gd name="connsiteY1466" fmla="*/ 4381848 h 6072780"/>
                <a:gd name="connsiteX1467" fmla="*/ 4325525 w 12117871"/>
                <a:gd name="connsiteY1467" fmla="*/ 4202064 h 6072780"/>
                <a:gd name="connsiteX1468" fmla="*/ 4304915 w 12117871"/>
                <a:gd name="connsiteY1468" fmla="*/ 4213700 h 6072780"/>
                <a:gd name="connsiteX1469" fmla="*/ 4279743 w 12117871"/>
                <a:gd name="connsiteY1469" fmla="*/ 4222142 h 6072780"/>
                <a:gd name="connsiteX1470" fmla="*/ 4279743 w 12117871"/>
                <a:gd name="connsiteY1470" fmla="*/ 4192026 h 6072780"/>
                <a:gd name="connsiteX1471" fmla="*/ 4296778 w 12117871"/>
                <a:gd name="connsiteY1471" fmla="*/ 4185942 h 6072780"/>
                <a:gd name="connsiteX1472" fmla="*/ 4312977 w 12117871"/>
                <a:gd name="connsiteY1472" fmla="*/ 4178793 h 6072780"/>
                <a:gd name="connsiteX1473" fmla="*/ 4329099 w 12117871"/>
                <a:gd name="connsiteY1473" fmla="*/ 4169971 h 6072780"/>
                <a:gd name="connsiteX1474" fmla="*/ 4345906 w 12117871"/>
                <a:gd name="connsiteY1474" fmla="*/ 4158868 h 6072780"/>
                <a:gd name="connsiteX1475" fmla="*/ 3839047 w 12117871"/>
                <a:gd name="connsiteY1475" fmla="*/ 4158868 h 6072780"/>
                <a:gd name="connsiteX1476" fmla="*/ 3910214 w 12117871"/>
                <a:gd name="connsiteY1476" fmla="*/ 4269455 h 6072780"/>
                <a:gd name="connsiteX1477" fmla="*/ 3890128 w 12117871"/>
                <a:gd name="connsiteY1477" fmla="*/ 4353035 h 6072780"/>
                <a:gd name="connsiteX1478" fmla="*/ 3833931 w 12117871"/>
                <a:gd name="connsiteY1478" fmla="*/ 4381848 h 6072780"/>
                <a:gd name="connsiteX1479" fmla="*/ 3781346 w 12117871"/>
                <a:gd name="connsiteY1479" fmla="*/ 4354314 h 6072780"/>
                <a:gd name="connsiteX1480" fmla="*/ 3762464 w 12117871"/>
                <a:gd name="connsiteY1480" fmla="*/ 4274721 h 6072780"/>
                <a:gd name="connsiteX1481" fmla="*/ 3782173 w 12117871"/>
                <a:gd name="connsiteY1481" fmla="*/ 4188207 h 6072780"/>
                <a:gd name="connsiteX1482" fmla="*/ 3839047 w 12117871"/>
                <a:gd name="connsiteY1482" fmla="*/ 4158868 h 6072780"/>
                <a:gd name="connsiteX1483" fmla="*/ 3616537 w 12117871"/>
                <a:gd name="connsiteY1483" fmla="*/ 4158868 h 6072780"/>
                <a:gd name="connsiteX1484" fmla="*/ 3687703 w 12117871"/>
                <a:gd name="connsiteY1484" fmla="*/ 4269455 h 6072780"/>
                <a:gd name="connsiteX1485" fmla="*/ 3667617 w 12117871"/>
                <a:gd name="connsiteY1485" fmla="*/ 4353035 h 6072780"/>
                <a:gd name="connsiteX1486" fmla="*/ 3611420 w 12117871"/>
                <a:gd name="connsiteY1486" fmla="*/ 4381848 h 6072780"/>
                <a:gd name="connsiteX1487" fmla="*/ 3558835 w 12117871"/>
                <a:gd name="connsiteY1487" fmla="*/ 4354314 h 6072780"/>
                <a:gd name="connsiteX1488" fmla="*/ 3539952 w 12117871"/>
                <a:gd name="connsiteY1488" fmla="*/ 4274721 h 6072780"/>
                <a:gd name="connsiteX1489" fmla="*/ 3559662 w 12117871"/>
                <a:gd name="connsiteY1489" fmla="*/ 4188207 h 6072780"/>
                <a:gd name="connsiteX1490" fmla="*/ 3616537 w 12117871"/>
                <a:gd name="connsiteY1490" fmla="*/ 4158868 h 6072780"/>
                <a:gd name="connsiteX1491" fmla="*/ 3454863 w 12117871"/>
                <a:gd name="connsiteY1491" fmla="*/ 4158868 h 6072780"/>
                <a:gd name="connsiteX1492" fmla="*/ 3469768 w 12117871"/>
                <a:gd name="connsiteY1492" fmla="*/ 4158868 h 6072780"/>
                <a:gd name="connsiteX1493" fmla="*/ 3469768 w 12117871"/>
                <a:gd name="connsiteY1493" fmla="*/ 4381848 h 6072780"/>
                <a:gd name="connsiteX1494" fmla="*/ 3434481 w 12117871"/>
                <a:gd name="connsiteY1494" fmla="*/ 4381848 h 6072780"/>
                <a:gd name="connsiteX1495" fmla="*/ 3434481 w 12117871"/>
                <a:gd name="connsiteY1495" fmla="*/ 4202064 h 6072780"/>
                <a:gd name="connsiteX1496" fmla="*/ 3413872 w 12117871"/>
                <a:gd name="connsiteY1496" fmla="*/ 4213700 h 6072780"/>
                <a:gd name="connsiteX1497" fmla="*/ 3388698 w 12117871"/>
                <a:gd name="connsiteY1497" fmla="*/ 4222142 h 6072780"/>
                <a:gd name="connsiteX1498" fmla="*/ 3388698 w 12117871"/>
                <a:gd name="connsiteY1498" fmla="*/ 4192026 h 6072780"/>
                <a:gd name="connsiteX1499" fmla="*/ 3405734 w 12117871"/>
                <a:gd name="connsiteY1499" fmla="*/ 4185942 h 6072780"/>
                <a:gd name="connsiteX1500" fmla="*/ 3421933 w 12117871"/>
                <a:gd name="connsiteY1500" fmla="*/ 4178793 h 6072780"/>
                <a:gd name="connsiteX1501" fmla="*/ 3438054 w 12117871"/>
                <a:gd name="connsiteY1501" fmla="*/ 4169971 h 6072780"/>
                <a:gd name="connsiteX1502" fmla="*/ 3454863 w 12117871"/>
                <a:gd name="connsiteY1502" fmla="*/ 4158868 h 6072780"/>
                <a:gd name="connsiteX1503" fmla="*/ 3158682 w 12117871"/>
                <a:gd name="connsiteY1503" fmla="*/ 4158868 h 6072780"/>
                <a:gd name="connsiteX1504" fmla="*/ 3173587 w 12117871"/>
                <a:gd name="connsiteY1504" fmla="*/ 4158868 h 6072780"/>
                <a:gd name="connsiteX1505" fmla="*/ 3173587 w 12117871"/>
                <a:gd name="connsiteY1505" fmla="*/ 4381848 h 6072780"/>
                <a:gd name="connsiteX1506" fmla="*/ 3138299 w 12117871"/>
                <a:gd name="connsiteY1506" fmla="*/ 4381848 h 6072780"/>
                <a:gd name="connsiteX1507" fmla="*/ 3138299 w 12117871"/>
                <a:gd name="connsiteY1507" fmla="*/ 4202065 h 6072780"/>
                <a:gd name="connsiteX1508" fmla="*/ 3117690 w 12117871"/>
                <a:gd name="connsiteY1508" fmla="*/ 4213701 h 6072780"/>
                <a:gd name="connsiteX1509" fmla="*/ 3092517 w 12117871"/>
                <a:gd name="connsiteY1509" fmla="*/ 4222142 h 6072780"/>
                <a:gd name="connsiteX1510" fmla="*/ 3092517 w 12117871"/>
                <a:gd name="connsiteY1510" fmla="*/ 4192026 h 6072780"/>
                <a:gd name="connsiteX1511" fmla="*/ 3109553 w 12117871"/>
                <a:gd name="connsiteY1511" fmla="*/ 4185942 h 6072780"/>
                <a:gd name="connsiteX1512" fmla="*/ 3125751 w 12117871"/>
                <a:gd name="connsiteY1512" fmla="*/ 4178793 h 6072780"/>
                <a:gd name="connsiteX1513" fmla="*/ 3141875 w 12117871"/>
                <a:gd name="connsiteY1513" fmla="*/ 4169972 h 6072780"/>
                <a:gd name="connsiteX1514" fmla="*/ 3158682 w 12117871"/>
                <a:gd name="connsiteY1514" fmla="*/ 4158868 h 6072780"/>
                <a:gd name="connsiteX1515" fmla="*/ 2783382 w 12117871"/>
                <a:gd name="connsiteY1515" fmla="*/ 4158868 h 6072780"/>
                <a:gd name="connsiteX1516" fmla="*/ 2798288 w 12117871"/>
                <a:gd name="connsiteY1516" fmla="*/ 4158868 h 6072780"/>
                <a:gd name="connsiteX1517" fmla="*/ 2798288 w 12117871"/>
                <a:gd name="connsiteY1517" fmla="*/ 4381848 h 6072780"/>
                <a:gd name="connsiteX1518" fmla="*/ 2763000 w 12117871"/>
                <a:gd name="connsiteY1518" fmla="*/ 4381848 h 6072780"/>
                <a:gd name="connsiteX1519" fmla="*/ 2763000 w 12117871"/>
                <a:gd name="connsiteY1519" fmla="*/ 4202065 h 6072780"/>
                <a:gd name="connsiteX1520" fmla="*/ 2742391 w 12117871"/>
                <a:gd name="connsiteY1520" fmla="*/ 4213701 h 6072780"/>
                <a:gd name="connsiteX1521" fmla="*/ 2717219 w 12117871"/>
                <a:gd name="connsiteY1521" fmla="*/ 4222142 h 6072780"/>
                <a:gd name="connsiteX1522" fmla="*/ 2717219 w 12117871"/>
                <a:gd name="connsiteY1522" fmla="*/ 4192026 h 6072780"/>
                <a:gd name="connsiteX1523" fmla="*/ 2734253 w 12117871"/>
                <a:gd name="connsiteY1523" fmla="*/ 4185942 h 6072780"/>
                <a:gd name="connsiteX1524" fmla="*/ 2750453 w 12117871"/>
                <a:gd name="connsiteY1524" fmla="*/ 4178793 h 6072780"/>
                <a:gd name="connsiteX1525" fmla="*/ 2766576 w 12117871"/>
                <a:gd name="connsiteY1525" fmla="*/ 4169972 h 6072780"/>
                <a:gd name="connsiteX1526" fmla="*/ 2783382 w 12117871"/>
                <a:gd name="connsiteY1526" fmla="*/ 4158868 h 6072780"/>
                <a:gd name="connsiteX1527" fmla="*/ 2489154 w 12117871"/>
                <a:gd name="connsiteY1527" fmla="*/ 4158868 h 6072780"/>
                <a:gd name="connsiteX1528" fmla="*/ 2504060 w 12117871"/>
                <a:gd name="connsiteY1528" fmla="*/ 4158868 h 6072780"/>
                <a:gd name="connsiteX1529" fmla="*/ 2504060 w 12117871"/>
                <a:gd name="connsiteY1529" fmla="*/ 4381848 h 6072780"/>
                <a:gd name="connsiteX1530" fmla="*/ 2468772 w 12117871"/>
                <a:gd name="connsiteY1530" fmla="*/ 4381848 h 6072780"/>
                <a:gd name="connsiteX1531" fmla="*/ 2468772 w 12117871"/>
                <a:gd name="connsiteY1531" fmla="*/ 4202065 h 6072780"/>
                <a:gd name="connsiteX1532" fmla="*/ 2448163 w 12117871"/>
                <a:gd name="connsiteY1532" fmla="*/ 4213701 h 6072780"/>
                <a:gd name="connsiteX1533" fmla="*/ 2422990 w 12117871"/>
                <a:gd name="connsiteY1533" fmla="*/ 4222142 h 6072780"/>
                <a:gd name="connsiteX1534" fmla="*/ 2422990 w 12117871"/>
                <a:gd name="connsiteY1534" fmla="*/ 4192026 h 6072780"/>
                <a:gd name="connsiteX1535" fmla="*/ 2440025 w 12117871"/>
                <a:gd name="connsiteY1535" fmla="*/ 4185942 h 6072780"/>
                <a:gd name="connsiteX1536" fmla="*/ 2456224 w 12117871"/>
                <a:gd name="connsiteY1536" fmla="*/ 4178793 h 6072780"/>
                <a:gd name="connsiteX1537" fmla="*/ 2472346 w 12117871"/>
                <a:gd name="connsiteY1537" fmla="*/ 4169972 h 6072780"/>
                <a:gd name="connsiteX1538" fmla="*/ 2489154 w 12117871"/>
                <a:gd name="connsiteY1538" fmla="*/ 4158868 h 6072780"/>
                <a:gd name="connsiteX1539" fmla="*/ 1599916 w 12117871"/>
                <a:gd name="connsiteY1539" fmla="*/ 4158868 h 6072780"/>
                <a:gd name="connsiteX1540" fmla="*/ 1614822 w 12117871"/>
                <a:gd name="connsiteY1540" fmla="*/ 4158868 h 6072780"/>
                <a:gd name="connsiteX1541" fmla="*/ 1614822 w 12117871"/>
                <a:gd name="connsiteY1541" fmla="*/ 4381848 h 6072780"/>
                <a:gd name="connsiteX1542" fmla="*/ 1579534 w 12117871"/>
                <a:gd name="connsiteY1542" fmla="*/ 4381848 h 6072780"/>
                <a:gd name="connsiteX1543" fmla="*/ 1579534 w 12117871"/>
                <a:gd name="connsiteY1543" fmla="*/ 4202064 h 6072780"/>
                <a:gd name="connsiteX1544" fmla="*/ 1558925 w 12117871"/>
                <a:gd name="connsiteY1544" fmla="*/ 4213700 h 6072780"/>
                <a:gd name="connsiteX1545" fmla="*/ 1533752 w 12117871"/>
                <a:gd name="connsiteY1545" fmla="*/ 4222142 h 6072780"/>
                <a:gd name="connsiteX1546" fmla="*/ 1533752 w 12117871"/>
                <a:gd name="connsiteY1546" fmla="*/ 4192026 h 6072780"/>
                <a:gd name="connsiteX1547" fmla="*/ 1550787 w 12117871"/>
                <a:gd name="connsiteY1547" fmla="*/ 4185942 h 6072780"/>
                <a:gd name="connsiteX1548" fmla="*/ 1566986 w 12117871"/>
                <a:gd name="connsiteY1548" fmla="*/ 4178793 h 6072780"/>
                <a:gd name="connsiteX1549" fmla="*/ 1583109 w 12117871"/>
                <a:gd name="connsiteY1549" fmla="*/ 4169971 h 6072780"/>
                <a:gd name="connsiteX1550" fmla="*/ 1599916 w 12117871"/>
                <a:gd name="connsiteY1550" fmla="*/ 4158868 h 6072780"/>
                <a:gd name="connsiteX1551" fmla="*/ 1302202 w 12117871"/>
                <a:gd name="connsiteY1551" fmla="*/ 4158868 h 6072780"/>
                <a:gd name="connsiteX1552" fmla="*/ 1317108 w 12117871"/>
                <a:gd name="connsiteY1552" fmla="*/ 4158868 h 6072780"/>
                <a:gd name="connsiteX1553" fmla="*/ 1317108 w 12117871"/>
                <a:gd name="connsiteY1553" fmla="*/ 4381848 h 6072780"/>
                <a:gd name="connsiteX1554" fmla="*/ 1281820 w 12117871"/>
                <a:gd name="connsiteY1554" fmla="*/ 4381848 h 6072780"/>
                <a:gd name="connsiteX1555" fmla="*/ 1281820 w 12117871"/>
                <a:gd name="connsiteY1555" fmla="*/ 4202064 h 6072780"/>
                <a:gd name="connsiteX1556" fmla="*/ 1261211 w 12117871"/>
                <a:gd name="connsiteY1556" fmla="*/ 4213700 h 6072780"/>
                <a:gd name="connsiteX1557" fmla="*/ 1236038 w 12117871"/>
                <a:gd name="connsiteY1557" fmla="*/ 4222142 h 6072780"/>
                <a:gd name="connsiteX1558" fmla="*/ 1236038 w 12117871"/>
                <a:gd name="connsiteY1558" fmla="*/ 4192026 h 6072780"/>
                <a:gd name="connsiteX1559" fmla="*/ 1253073 w 12117871"/>
                <a:gd name="connsiteY1559" fmla="*/ 4185942 h 6072780"/>
                <a:gd name="connsiteX1560" fmla="*/ 1269272 w 12117871"/>
                <a:gd name="connsiteY1560" fmla="*/ 4178793 h 6072780"/>
                <a:gd name="connsiteX1561" fmla="*/ 1285395 w 12117871"/>
                <a:gd name="connsiteY1561" fmla="*/ 4169971 h 6072780"/>
                <a:gd name="connsiteX1562" fmla="*/ 1302202 w 12117871"/>
                <a:gd name="connsiteY1562" fmla="*/ 4158868 h 6072780"/>
                <a:gd name="connsiteX1563" fmla="*/ 927321 w 12117871"/>
                <a:gd name="connsiteY1563" fmla="*/ 4158868 h 6072780"/>
                <a:gd name="connsiteX1564" fmla="*/ 942227 w 12117871"/>
                <a:gd name="connsiteY1564" fmla="*/ 4158868 h 6072780"/>
                <a:gd name="connsiteX1565" fmla="*/ 942227 w 12117871"/>
                <a:gd name="connsiteY1565" fmla="*/ 4381848 h 6072780"/>
                <a:gd name="connsiteX1566" fmla="*/ 906939 w 12117871"/>
                <a:gd name="connsiteY1566" fmla="*/ 4381848 h 6072780"/>
                <a:gd name="connsiteX1567" fmla="*/ 906939 w 12117871"/>
                <a:gd name="connsiteY1567" fmla="*/ 4202064 h 6072780"/>
                <a:gd name="connsiteX1568" fmla="*/ 886330 w 12117871"/>
                <a:gd name="connsiteY1568" fmla="*/ 4213700 h 6072780"/>
                <a:gd name="connsiteX1569" fmla="*/ 861157 w 12117871"/>
                <a:gd name="connsiteY1569" fmla="*/ 4222142 h 6072780"/>
                <a:gd name="connsiteX1570" fmla="*/ 861157 w 12117871"/>
                <a:gd name="connsiteY1570" fmla="*/ 4192026 h 6072780"/>
                <a:gd name="connsiteX1571" fmla="*/ 878192 w 12117871"/>
                <a:gd name="connsiteY1571" fmla="*/ 4185942 h 6072780"/>
                <a:gd name="connsiteX1572" fmla="*/ 894391 w 12117871"/>
                <a:gd name="connsiteY1572" fmla="*/ 4178793 h 6072780"/>
                <a:gd name="connsiteX1573" fmla="*/ 910514 w 12117871"/>
                <a:gd name="connsiteY1573" fmla="*/ 4169971 h 6072780"/>
                <a:gd name="connsiteX1574" fmla="*/ 927321 w 12117871"/>
                <a:gd name="connsiteY1574" fmla="*/ 4158868 h 6072780"/>
                <a:gd name="connsiteX1575" fmla="*/ 778464 w 12117871"/>
                <a:gd name="connsiteY1575" fmla="*/ 4158868 h 6072780"/>
                <a:gd name="connsiteX1576" fmla="*/ 793370 w 12117871"/>
                <a:gd name="connsiteY1576" fmla="*/ 4158868 h 6072780"/>
                <a:gd name="connsiteX1577" fmla="*/ 793370 w 12117871"/>
                <a:gd name="connsiteY1577" fmla="*/ 4381848 h 6072780"/>
                <a:gd name="connsiteX1578" fmla="*/ 758082 w 12117871"/>
                <a:gd name="connsiteY1578" fmla="*/ 4381848 h 6072780"/>
                <a:gd name="connsiteX1579" fmla="*/ 758082 w 12117871"/>
                <a:gd name="connsiteY1579" fmla="*/ 4202064 h 6072780"/>
                <a:gd name="connsiteX1580" fmla="*/ 737473 w 12117871"/>
                <a:gd name="connsiteY1580" fmla="*/ 4213700 h 6072780"/>
                <a:gd name="connsiteX1581" fmla="*/ 712300 w 12117871"/>
                <a:gd name="connsiteY1581" fmla="*/ 4222142 h 6072780"/>
                <a:gd name="connsiteX1582" fmla="*/ 712300 w 12117871"/>
                <a:gd name="connsiteY1582" fmla="*/ 4192026 h 6072780"/>
                <a:gd name="connsiteX1583" fmla="*/ 729335 w 12117871"/>
                <a:gd name="connsiteY1583" fmla="*/ 4185942 h 6072780"/>
                <a:gd name="connsiteX1584" fmla="*/ 745535 w 12117871"/>
                <a:gd name="connsiteY1584" fmla="*/ 4178793 h 6072780"/>
                <a:gd name="connsiteX1585" fmla="*/ 761657 w 12117871"/>
                <a:gd name="connsiteY1585" fmla="*/ 4169971 h 6072780"/>
                <a:gd name="connsiteX1586" fmla="*/ 778464 w 12117871"/>
                <a:gd name="connsiteY1586" fmla="*/ 4158868 h 6072780"/>
                <a:gd name="connsiteX1587" fmla="*/ 629607 w 12117871"/>
                <a:gd name="connsiteY1587" fmla="*/ 4158868 h 6072780"/>
                <a:gd name="connsiteX1588" fmla="*/ 644513 w 12117871"/>
                <a:gd name="connsiteY1588" fmla="*/ 4158868 h 6072780"/>
                <a:gd name="connsiteX1589" fmla="*/ 644513 w 12117871"/>
                <a:gd name="connsiteY1589" fmla="*/ 4381848 h 6072780"/>
                <a:gd name="connsiteX1590" fmla="*/ 609225 w 12117871"/>
                <a:gd name="connsiteY1590" fmla="*/ 4381848 h 6072780"/>
                <a:gd name="connsiteX1591" fmla="*/ 609225 w 12117871"/>
                <a:gd name="connsiteY1591" fmla="*/ 4202064 h 6072780"/>
                <a:gd name="connsiteX1592" fmla="*/ 588616 w 12117871"/>
                <a:gd name="connsiteY1592" fmla="*/ 4213700 h 6072780"/>
                <a:gd name="connsiteX1593" fmla="*/ 563443 w 12117871"/>
                <a:gd name="connsiteY1593" fmla="*/ 4222142 h 6072780"/>
                <a:gd name="connsiteX1594" fmla="*/ 563443 w 12117871"/>
                <a:gd name="connsiteY1594" fmla="*/ 4192026 h 6072780"/>
                <a:gd name="connsiteX1595" fmla="*/ 580478 w 12117871"/>
                <a:gd name="connsiteY1595" fmla="*/ 4185942 h 6072780"/>
                <a:gd name="connsiteX1596" fmla="*/ 596677 w 12117871"/>
                <a:gd name="connsiteY1596" fmla="*/ 4178793 h 6072780"/>
                <a:gd name="connsiteX1597" fmla="*/ 612800 w 12117871"/>
                <a:gd name="connsiteY1597" fmla="*/ 4169971 h 6072780"/>
                <a:gd name="connsiteX1598" fmla="*/ 629607 w 12117871"/>
                <a:gd name="connsiteY1598" fmla="*/ 4158868 h 6072780"/>
                <a:gd name="connsiteX1599" fmla="*/ 480750 w 12117871"/>
                <a:gd name="connsiteY1599" fmla="*/ 4158868 h 6072780"/>
                <a:gd name="connsiteX1600" fmla="*/ 495656 w 12117871"/>
                <a:gd name="connsiteY1600" fmla="*/ 4158868 h 6072780"/>
                <a:gd name="connsiteX1601" fmla="*/ 495656 w 12117871"/>
                <a:gd name="connsiteY1601" fmla="*/ 4381848 h 6072780"/>
                <a:gd name="connsiteX1602" fmla="*/ 460368 w 12117871"/>
                <a:gd name="connsiteY1602" fmla="*/ 4381848 h 6072780"/>
                <a:gd name="connsiteX1603" fmla="*/ 460368 w 12117871"/>
                <a:gd name="connsiteY1603" fmla="*/ 4202064 h 6072780"/>
                <a:gd name="connsiteX1604" fmla="*/ 439759 w 12117871"/>
                <a:gd name="connsiteY1604" fmla="*/ 4213700 h 6072780"/>
                <a:gd name="connsiteX1605" fmla="*/ 414586 w 12117871"/>
                <a:gd name="connsiteY1605" fmla="*/ 4222142 h 6072780"/>
                <a:gd name="connsiteX1606" fmla="*/ 414586 w 12117871"/>
                <a:gd name="connsiteY1606" fmla="*/ 4192026 h 6072780"/>
                <a:gd name="connsiteX1607" fmla="*/ 431621 w 12117871"/>
                <a:gd name="connsiteY1607" fmla="*/ 4185942 h 6072780"/>
                <a:gd name="connsiteX1608" fmla="*/ 447821 w 12117871"/>
                <a:gd name="connsiteY1608" fmla="*/ 4178793 h 6072780"/>
                <a:gd name="connsiteX1609" fmla="*/ 463943 w 12117871"/>
                <a:gd name="connsiteY1609" fmla="*/ 4169971 h 6072780"/>
                <a:gd name="connsiteX1610" fmla="*/ 480750 w 12117871"/>
                <a:gd name="connsiteY1610" fmla="*/ 4158868 h 6072780"/>
                <a:gd name="connsiteX1611" fmla="*/ 11874294 w 12117871"/>
                <a:gd name="connsiteY1611" fmla="*/ 3839232 h 6072780"/>
                <a:gd name="connsiteX1612" fmla="*/ 11835024 w 12117871"/>
                <a:gd name="connsiteY1612" fmla="*/ 3925746 h 6072780"/>
                <a:gd name="connsiteX1613" fmla="*/ 11873542 w 12117871"/>
                <a:gd name="connsiteY1613" fmla="*/ 4006692 h 6072780"/>
                <a:gd name="connsiteX1614" fmla="*/ 11911457 w 12117871"/>
                <a:gd name="connsiteY1614" fmla="*/ 3924391 h 6072780"/>
                <a:gd name="connsiteX1615" fmla="*/ 11874294 w 12117871"/>
                <a:gd name="connsiteY1615" fmla="*/ 3839232 h 6072780"/>
                <a:gd name="connsiteX1616" fmla="*/ 11189148 w 12117871"/>
                <a:gd name="connsiteY1616" fmla="*/ 3839232 h 6072780"/>
                <a:gd name="connsiteX1617" fmla="*/ 11149878 w 12117871"/>
                <a:gd name="connsiteY1617" fmla="*/ 3925746 h 6072780"/>
                <a:gd name="connsiteX1618" fmla="*/ 11188396 w 12117871"/>
                <a:gd name="connsiteY1618" fmla="*/ 4006692 h 6072780"/>
                <a:gd name="connsiteX1619" fmla="*/ 11226311 w 12117871"/>
                <a:gd name="connsiteY1619" fmla="*/ 3924391 h 6072780"/>
                <a:gd name="connsiteX1620" fmla="*/ 11189148 w 12117871"/>
                <a:gd name="connsiteY1620" fmla="*/ 3839232 h 6072780"/>
                <a:gd name="connsiteX1621" fmla="*/ 9936214 w 12117871"/>
                <a:gd name="connsiteY1621" fmla="*/ 3839232 h 6072780"/>
                <a:gd name="connsiteX1622" fmla="*/ 9896944 w 12117871"/>
                <a:gd name="connsiteY1622" fmla="*/ 3925746 h 6072780"/>
                <a:gd name="connsiteX1623" fmla="*/ 9935462 w 12117871"/>
                <a:gd name="connsiteY1623" fmla="*/ 4006692 h 6072780"/>
                <a:gd name="connsiteX1624" fmla="*/ 9973377 w 12117871"/>
                <a:gd name="connsiteY1624" fmla="*/ 3924391 h 6072780"/>
                <a:gd name="connsiteX1625" fmla="*/ 9936214 w 12117871"/>
                <a:gd name="connsiteY1625" fmla="*/ 3839232 h 6072780"/>
                <a:gd name="connsiteX1626" fmla="*/ 9713703 w 12117871"/>
                <a:gd name="connsiteY1626" fmla="*/ 3839232 h 6072780"/>
                <a:gd name="connsiteX1627" fmla="*/ 9674433 w 12117871"/>
                <a:gd name="connsiteY1627" fmla="*/ 3925746 h 6072780"/>
                <a:gd name="connsiteX1628" fmla="*/ 9712951 w 12117871"/>
                <a:gd name="connsiteY1628" fmla="*/ 4006692 h 6072780"/>
                <a:gd name="connsiteX1629" fmla="*/ 9750866 w 12117871"/>
                <a:gd name="connsiteY1629" fmla="*/ 3924391 h 6072780"/>
                <a:gd name="connsiteX1630" fmla="*/ 9713703 w 12117871"/>
                <a:gd name="connsiteY1630" fmla="*/ 3839232 h 6072780"/>
                <a:gd name="connsiteX1631" fmla="*/ 6372301 w 12117871"/>
                <a:gd name="connsiteY1631" fmla="*/ 3839232 h 6072780"/>
                <a:gd name="connsiteX1632" fmla="*/ 6333031 w 12117871"/>
                <a:gd name="connsiteY1632" fmla="*/ 3925746 h 6072780"/>
                <a:gd name="connsiteX1633" fmla="*/ 6371549 w 12117871"/>
                <a:gd name="connsiteY1633" fmla="*/ 4006692 h 6072780"/>
                <a:gd name="connsiteX1634" fmla="*/ 6409464 w 12117871"/>
                <a:gd name="connsiteY1634" fmla="*/ 3924391 h 6072780"/>
                <a:gd name="connsiteX1635" fmla="*/ 6372301 w 12117871"/>
                <a:gd name="connsiteY1635" fmla="*/ 3839232 h 6072780"/>
                <a:gd name="connsiteX1636" fmla="*/ 5784617 w 12117871"/>
                <a:gd name="connsiteY1636" fmla="*/ 3839232 h 6072780"/>
                <a:gd name="connsiteX1637" fmla="*/ 5745350 w 12117871"/>
                <a:gd name="connsiteY1637" fmla="*/ 3925746 h 6072780"/>
                <a:gd name="connsiteX1638" fmla="*/ 5783865 w 12117871"/>
                <a:gd name="connsiteY1638" fmla="*/ 4006692 h 6072780"/>
                <a:gd name="connsiteX1639" fmla="*/ 5821781 w 12117871"/>
                <a:gd name="connsiteY1639" fmla="*/ 3924391 h 6072780"/>
                <a:gd name="connsiteX1640" fmla="*/ 5784617 w 12117871"/>
                <a:gd name="connsiteY1640" fmla="*/ 3839232 h 6072780"/>
                <a:gd name="connsiteX1641" fmla="*/ 5091629 w 12117871"/>
                <a:gd name="connsiteY1641" fmla="*/ 3839232 h 6072780"/>
                <a:gd name="connsiteX1642" fmla="*/ 5052358 w 12117871"/>
                <a:gd name="connsiteY1642" fmla="*/ 3925746 h 6072780"/>
                <a:gd name="connsiteX1643" fmla="*/ 5090877 w 12117871"/>
                <a:gd name="connsiteY1643" fmla="*/ 4006692 h 6072780"/>
                <a:gd name="connsiteX1644" fmla="*/ 5128792 w 12117871"/>
                <a:gd name="connsiteY1644" fmla="*/ 3924391 h 6072780"/>
                <a:gd name="connsiteX1645" fmla="*/ 5091629 w 12117871"/>
                <a:gd name="connsiteY1645" fmla="*/ 3839232 h 6072780"/>
                <a:gd name="connsiteX1646" fmla="*/ 3837392 w 12117871"/>
                <a:gd name="connsiteY1646" fmla="*/ 3839232 h 6072780"/>
                <a:gd name="connsiteX1647" fmla="*/ 3798122 w 12117871"/>
                <a:gd name="connsiteY1647" fmla="*/ 3925746 h 6072780"/>
                <a:gd name="connsiteX1648" fmla="*/ 3836640 w 12117871"/>
                <a:gd name="connsiteY1648" fmla="*/ 4006692 h 6072780"/>
                <a:gd name="connsiteX1649" fmla="*/ 3874555 w 12117871"/>
                <a:gd name="connsiteY1649" fmla="*/ 3924391 h 6072780"/>
                <a:gd name="connsiteX1650" fmla="*/ 3837392 w 12117871"/>
                <a:gd name="connsiteY1650" fmla="*/ 3839232 h 6072780"/>
                <a:gd name="connsiteX1651" fmla="*/ 3614881 w 12117871"/>
                <a:gd name="connsiteY1651" fmla="*/ 3839232 h 6072780"/>
                <a:gd name="connsiteX1652" fmla="*/ 3575611 w 12117871"/>
                <a:gd name="connsiteY1652" fmla="*/ 3925746 h 6072780"/>
                <a:gd name="connsiteX1653" fmla="*/ 3614130 w 12117871"/>
                <a:gd name="connsiteY1653" fmla="*/ 4006692 h 6072780"/>
                <a:gd name="connsiteX1654" fmla="*/ 3652044 w 12117871"/>
                <a:gd name="connsiteY1654" fmla="*/ 3924391 h 6072780"/>
                <a:gd name="connsiteX1655" fmla="*/ 3614881 w 12117871"/>
                <a:gd name="connsiteY1655" fmla="*/ 3839232 h 6072780"/>
                <a:gd name="connsiteX1656" fmla="*/ 10438235 w 12117871"/>
                <a:gd name="connsiteY1656" fmla="*/ 3811398 h 6072780"/>
                <a:gd name="connsiteX1657" fmla="*/ 10453141 w 12117871"/>
                <a:gd name="connsiteY1657" fmla="*/ 3811398 h 6072780"/>
                <a:gd name="connsiteX1658" fmla="*/ 10453141 w 12117871"/>
                <a:gd name="connsiteY1658" fmla="*/ 4034378 h 6072780"/>
                <a:gd name="connsiteX1659" fmla="*/ 10417853 w 12117871"/>
                <a:gd name="connsiteY1659" fmla="*/ 4034378 h 6072780"/>
                <a:gd name="connsiteX1660" fmla="*/ 10417853 w 12117871"/>
                <a:gd name="connsiteY1660" fmla="*/ 3854594 h 6072780"/>
                <a:gd name="connsiteX1661" fmla="*/ 10397244 w 12117871"/>
                <a:gd name="connsiteY1661" fmla="*/ 3866230 h 6072780"/>
                <a:gd name="connsiteX1662" fmla="*/ 10372071 w 12117871"/>
                <a:gd name="connsiteY1662" fmla="*/ 3874672 h 6072780"/>
                <a:gd name="connsiteX1663" fmla="*/ 10372071 w 12117871"/>
                <a:gd name="connsiteY1663" fmla="*/ 3844556 h 6072780"/>
                <a:gd name="connsiteX1664" fmla="*/ 10389106 w 12117871"/>
                <a:gd name="connsiteY1664" fmla="*/ 3838472 h 6072780"/>
                <a:gd name="connsiteX1665" fmla="*/ 10405305 w 12117871"/>
                <a:gd name="connsiteY1665" fmla="*/ 3831323 h 6072780"/>
                <a:gd name="connsiteX1666" fmla="*/ 10421428 w 12117871"/>
                <a:gd name="connsiteY1666" fmla="*/ 3822501 h 6072780"/>
                <a:gd name="connsiteX1667" fmla="*/ 10438235 w 12117871"/>
                <a:gd name="connsiteY1667" fmla="*/ 3811398 h 6072780"/>
                <a:gd name="connsiteX1668" fmla="*/ 12062430 w 12117871"/>
                <a:gd name="connsiteY1668" fmla="*/ 3811397 h 6072780"/>
                <a:gd name="connsiteX1669" fmla="*/ 12077336 w 12117871"/>
                <a:gd name="connsiteY1669" fmla="*/ 3811397 h 6072780"/>
                <a:gd name="connsiteX1670" fmla="*/ 12077336 w 12117871"/>
                <a:gd name="connsiteY1670" fmla="*/ 4034377 h 6072780"/>
                <a:gd name="connsiteX1671" fmla="*/ 12042048 w 12117871"/>
                <a:gd name="connsiteY1671" fmla="*/ 4034377 h 6072780"/>
                <a:gd name="connsiteX1672" fmla="*/ 12042048 w 12117871"/>
                <a:gd name="connsiteY1672" fmla="*/ 3854593 h 6072780"/>
                <a:gd name="connsiteX1673" fmla="*/ 12021439 w 12117871"/>
                <a:gd name="connsiteY1673" fmla="*/ 3866229 h 6072780"/>
                <a:gd name="connsiteX1674" fmla="*/ 11996266 w 12117871"/>
                <a:gd name="connsiteY1674" fmla="*/ 3874671 h 6072780"/>
                <a:gd name="connsiteX1675" fmla="*/ 11996266 w 12117871"/>
                <a:gd name="connsiteY1675" fmla="*/ 3844555 h 6072780"/>
                <a:gd name="connsiteX1676" fmla="*/ 12013301 w 12117871"/>
                <a:gd name="connsiteY1676" fmla="*/ 3838471 h 6072780"/>
                <a:gd name="connsiteX1677" fmla="*/ 12029500 w 12117871"/>
                <a:gd name="connsiteY1677" fmla="*/ 3831322 h 6072780"/>
                <a:gd name="connsiteX1678" fmla="*/ 12045623 w 12117871"/>
                <a:gd name="connsiteY1678" fmla="*/ 3822500 h 6072780"/>
                <a:gd name="connsiteX1679" fmla="*/ 12062430 w 12117871"/>
                <a:gd name="connsiteY1679" fmla="*/ 3811397 h 6072780"/>
                <a:gd name="connsiteX1680" fmla="*/ 11875949 w 12117871"/>
                <a:gd name="connsiteY1680" fmla="*/ 3811397 h 6072780"/>
                <a:gd name="connsiteX1681" fmla="*/ 11947116 w 12117871"/>
                <a:gd name="connsiteY1681" fmla="*/ 3921984 h 6072780"/>
                <a:gd name="connsiteX1682" fmla="*/ 11927030 w 12117871"/>
                <a:gd name="connsiteY1682" fmla="*/ 4005564 h 6072780"/>
                <a:gd name="connsiteX1683" fmla="*/ 11870833 w 12117871"/>
                <a:gd name="connsiteY1683" fmla="*/ 4034377 h 6072780"/>
                <a:gd name="connsiteX1684" fmla="*/ 11818248 w 12117871"/>
                <a:gd name="connsiteY1684" fmla="*/ 4006843 h 6072780"/>
                <a:gd name="connsiteX1685" fmla="*/ 11799365 w 12117871"/>
                <a:gd name="connsiteY1685" fmla="*/ 3927250 h 6072780"/>
                <a:gd name="connsiteX1686" fmla="*/ 11819075 w 12117871"/>
                <a:gd name="connsiteY1686" fmla="*/ 3840736 h 6072780"/>
                <a:gd name="connsiteX1687" fmla="*/ 11875949 w 12117871"/>
                <a:gd name="connsiteY1687" fmla="*/ 3811397 h 6072780"/>
                <a:gd name="connsiteX1688" fmla="*/ 11190803 w 12117871"/>
                <a:gd name="connsiteY1688" fmla="*/ 3811397 h 6072780"/>
                <a:gd name="connsiteX1689" fmla="*/ 11261970 w 12117871"/>
                <a:gd name="connsiteY1689" fmla="*/ 3921984 h 6072780"/>
                <a:gd name="connsiteX1690" fmla="*/ 11241884 w 12117871"/>
                <a:gd name="connsiteY1690" fmla="*/ 4005564 h 6072780"/>
                <a:gd name="connsiteX1691" fmla="*/ 11185687 w 12117871"/>
                <a:gd name="connsiteY1691" fmla="*/ 4034377 h 6072780"/>
                <a:gd name="connsiteX1692" fmla="*/ 11133102 w 12117871"/>
                <a:gd name="connsiteY1692" fmla="*/ 4006843 h 6072780"/>
                <a:gd name="connsiteX1693" fmla="*/ 11114219 w 12117871"/>
                <a:gd name="connsiteY1693" fmla="*/ 3927250 h 6072780"/>
                <a:gd name="connsiteX1694" fmla="*/ 11133929 w 12117871"/>
                <a:gd name="connsiteY1694" fmla="*/ 3840736 h 6072780"/>
                <a:gd name="connsiteX1695" fmla="*/ 11190803 w 12117871"/>
                <a:gd name="connsiteY1695" fmla="*/ 3811397 h 6072780"/>
                <a:gd name="connsiteX1696" fmla="*/ 10143427 w 12117871"/>
                <a:gd name="connsiteY1696" fmla="*/ 3811397 h 6072780"/>
                <a:gd name="connsiteX1697" fmla="*/ 10158333 w 12117871"/>
                <a:gd name="connsiteY1697" fmla="*/ 3811397 h 6072780"/>
                <a:gd name="connsiteX1698" fmla="*/ 10158333 w 12117871"/>
                <a:gd name="connsiteY1698" fmla="*/ 4034377 h 6072780"/>
                <a:gd name="connsiteX1699" fmla="*/ 10123045 w 12117871"/>
                <a:gd name="connsiteY1699" fmla="*/ 4034377 h 6072780"/>
                <a:gd name="connsiteX1700" fmla="*/ 10123045 w 12117871"/>
                <a:gd name="connsiteY1700" fmla="*/ 3854593 h 6072780"/>
                <a:gd name="connsiteX1701" fmla="*/ 10102436 w 12117871"/>
                <a:gd name="connsiteY1701" fmla="*/ 3866229 h 6072780"/>
                <a:gd name="connsiteX1702" fmla="*/ 10077263 w 12117871"/>
                <a:gd name="connsiteY1702" fmla="*/ 3874671 h 6072780"/>
                <a:gd name="connsiteX1703" fmla="*/ 10077263 w 12117871"/>
                <a:gd name="connsiteY1703" fmla="*/ 3844555 h 6072780"/>
                <a:gd name="connsiteX1704" fmla="*/ 10094298 w 12117871"/>
                <a:gd name="connsiteY1704" fmla="*/ 3838471 h 6072780"/>
                <a:gd name="connsiteX1705" fmla="*/ 10110497 w 12117871"/>
                <a:gd name="connsiteY1705" fmla="*/ 3831322 h 6072780"/>
                <a:gd name="connsiteX1706" fmla="*/ 10126620 w 12117871"/>
                <a:gd name="connsiteY1706" fmla="*/ 3822500 h 6072780"/>
                <a:gd name="connsiteX1707" fmla="*/ 10143427 w 12117871"/>
                <a:gd name="connsiteY1707" fmla="*/ 3811397 h 6072780"/>
                <a:gd name="connsiteX1708" fmla="*/ 9937869 w 12117871"/>
                <a:gd name="connsiteY1708" fmla="*/ 3811397 h 6072780"/>
                <a:gd name="connsiteX1709" fmla="*/ 10009036 w 12117871"/>
                <a:gd name="connsiteY1709" fmla="*/ 3921984 h 6072780"/>
                <a:gd name="connsiteX1710" fmla="*/ 9988950 w 12117871"/>
                <a:gd name="connsiteY1710" fmla="*/ 4005564 h 6072780"/>
                <a:gd name="connsiteX1711" fmla="*/ 9932753 w 12117871"/>
                <a:gd name="connsiteY1711" fmla="*/ 4034377 h 6072780"/>
                <a:gd name="connsiteX1712" fmla="*/ 9880168 w 12117871"/>
                <a:gd name="connsiteY1712" fmla="*/ 4006843 h 6072780"/>
                <a:gd name="connsiteX1713" fmla="*/ 9861285 w 12117871"/>
                <a:gd name="connsiteY1713" fmla="*/ 3927250 h 6072780"/>
                <a:gd name="connsiteX1714" fmla="*/ 9880995 w 12117871"/>
                <a:gd name="connsiteY1714" fmla="*/ 3840736 h 6072780"/>
                <a:gd name="connsiteX1715" fmla="*/ 9937869 w 12117871"/>
                <a:gd name="connsiteY1715" fmla="*/ 3811397 h 6072780"/>
                <a:gd name="connsiteX1716" fmla="*/ 9715358 w 12117871"/>
                <a:gd name="connsiteY1716" fmla="*/ 3811397 h 6072780"/>
                <a:gd name="connsiteX1717" fmla="*/ 9786525 w 12117871"/>
                <a:gd name="connsiteY1717" fmla="*/ 3921984 h 6072780"/>
                <a:gd name="connsiteX1718" fmla="*/ 9766439 w 12117871"/>
                <a:gd name="connsiteY1718" fmla="*/ 4005564 h 6072780"/>
                <a:gd name="connsiteX1719" fmla="*/ 9710242 w 12117871"/>
                <a:gd name="connsiteY1719" fmla="*/ 4034377 h 6072780"/>
                <a:gd name="connsiteX1720" fmla="*/ 9657657 w 12117871"/>
                <a:gd name="connsiteY1720" fmla="*/ 4006843 h 6072780"/>
                <a:gd name="connsiteX1721" fmla="*/ 9638774 w 12117871"/>
                <a:gd name="connsiteY1721" fmla="*/ 3927250 h 6072780"/>
                <a:gd name="connsiteX1722" fmla="*/ 9658484 w 12117871"/>
                <a:gd name="connsiteY1722" fmla="*/ 3840736 h 6072780"/>
                <a:gd name="connsiteX1723" fmla="*/ 9715358 w 12117871"/>
                <a:gd name="connsiteY1723" fmla="*/ 3811397 h 6072780"/>
                <a:gd name="connsiteX1724" fmla="*/ 9557012 w 12117871"/>
                <a:gd name="connsiteY1724" fmla="*/ 3811397 h 6072780"/>
                <a:gd name="connsiteX1725" fmla="*/ 9571918 w 12117871"/>
                <a:gd name="connsiteY1725" fmla="*/ 3811397 h 6072780"/>
                <a:gd name="connsiteX1726" fmla="*/ 9571918 w 12117871"/>
                <a:gd name="connsiteY1726" fmla="*/ 4034377 h 6072780"/>
                <a:gd name="connsiteX1727" fmla="*/ 9536630 w 12117871"/>
                <a:gd name="connsiteY1727" fmla="*/ 4034377 h 6072780"/>
                <a:gd name="connsiteX1728" fmla="*/ 9536630 w 12117871"/>
                <a:gd name="connsiteY1728" fmla="*/ 3854593 h 6072780"/>
                <a:gd name="connsiteX1729" fmla="*/ 9516021 w 12117871"/>
                <a:gd name="connsiteY1729" fmla="*/ 3866229 h 6072780"/>
                <a:gd name="connsiteX1730" fmla="*/ 9490848 w 12117871"/>
                <a:gd name="connsiteY1730" fmla="*/ 3874671 h 6072780"/>
                <a:gd name="connsiteX1731" fmla="*/ 9490848 w 12117871"/>
                <a:gd name="connsiteY1731" fmla="*/ 3844555 h 6072780"/>
                <a:gd name="connsiteX1732" fmla="*/ 9507883 w 12117871"/>
                <a:gd name="connsiteY1732" fmla="*/ 3838471 h 6072780"/>
                <a:gd name="connsiteX1733" fmla="*/ 9524082 w 12117871"/>
                <a:gd name="connsiteY1733" fmla="*/ 3831322 h 6072780"/>
                <a:gd name="connsiteX1734" fmla="*/ 9540205 w 12117871"/>
                <a:gd name="connsiteY1734" fmla="*/ 3822500 h 6072780"/>
                <a:gd name="connsiteX1735" fmla="*/ 9557012 w 12117871"/>
                <a:gd name="connsiteY1735" fmla="*/ 3811397 h 6072780"/>
                <a:gd name="connsiteX1736" fmla="*/ 9254256 w 12117871"/>
                <a:gd name="connsiteY1736" fmla="*/ 3811397 h 6072780"/>
                <a:gd name="connsiteX1737" fmla="*/ 9269162 w 12117871"/>
                <a:gd name="connsiteY1737" fmla="*/ 3811397 h 6072780"/>
                <a:gd name="connsiteX1738" fmla="*/ 9269162 w 12117871"/>
                <a:gd name="connsiteY1738" fmla="*/ 4034377 h 6072780"/>
                <a:gd name="connsiteX1739" fmla="*/ 9233874 w 12117871"/>
                <a:gd name="connsiteY1739" fmla="*/ 4034377 h 6072780"/>
                <a:gd name="connsiteX1740" fmla="*/ 9233874 w 12117871"/>
                <a:gd name="connsiteY1740" fmla="*/ 3854593 h 6072780"/>
                <a:gd name="connsiteX1741" fmla="*/ 9213265 w 12117871"/>
                <a:gd name="connsiteY1741" fmla="*/ 3866229 h 6072780"/>
                <a:gd name="connsiteX1742" fmla="*/ 9188092 w 12117871"/>
                <a:gd name="connsiteY1742" fmla="*/ 3874671 h 6072780"/>
                <a:gd name="connsiteX1743" fmla="*/ 9188092 w 12117871"/>
                <a:gd name="connsiteY1743" fmla="*/ 3844555 h 6072780"/>
                <a:gd name="connsiteX1744" fmla="*/ 9205127 w 12117871"/>
                <a:gd name="connsiteY1744" fmla="*/ 3838471 h 6072780"/>
                <a:gd name="connsiteX1745" fmla="*/ 9221326 w 12117871"/>
                <a:gd name="connsiteY1745" fmla="*/ 3831322 h 6072780"/>
                <a:gd name="connsiteX1746" fmla="*/ 9237449 w 12117871"/>
                <a:gd name="connsiteY1746" fmla="*/ 3822500 h 6072780"/>
                <a:gd name="connsiteX1747" fmla="*/ 9254256 w 12117871"/>
                <a:gd name="connsiteY1747" fmla="*/ 3811397 h 6072780"/>
                <a:gd name="connsiteX1748" fmla="*/ 8744915 w 12117871"/>
                <a:gd name="connsiteY1748" fmla="*/ 3811397 h 6072780"/>
                <a:gd name="connsiteX1749" fmla="*/ 8759821 w 12117871"/>
                <a:gd name="connsiteY1749" fmla="*/ 3811397 h 6072780"/>
                <a:gd name="connsiteX1750" fmla="*/ 8759821 w 12117871"/>
                <a:gd name="connsiteY1750" fmla="*/ 4034377 h 6072780"/>
                <a:gd name="connsiteX1751" fmla="*/ 8724533 w 12117871"/>
                <a:gd name="connsiteY1751" fmla="*/ 4034377 h 6072780"/>
                <a:gd name="connsiteX1752" fmla="*/ 8724533 w 12117871"/>
                <a:gd name="connsiteY1752" fmla="*/ 3854593 h 6072780"/>
                <a:gd name="connsiteX1753" fmla="*/ 8703924 w 12117871"/>
                <a:gd name="connsiteY1753" fmla="*/ 3866229 h 6072780"/>
                <a:gd name="connsiteX1754" fmla="*/ 8678751 w 12117871"/>
                <a:gd name="connsiteY1754" fmla="*/ 3874671 h 6072780"/>
                <a:gd name="connsiteX1755" fmla="*/ 8678751 w 12117871"/>
                <a:gd name="connsiteY1755" fmla="*/ 3844555 h 6072780"/>
                <a:gd name="connsiteX1756" fmla="*/ 8695786 w 12117871"/>
                <a:gd name="connsiteY1756" fmla="*/ 3838471 h 6072780"/>
                <a:gd name="connsiteX1757" fmla="*/ 8711985 w 12117871"/>
                <a:gd name="connsiteY1757" fmla="*/ 3831322 h 6072780"/>
                <a:gd name="connsiteX1758" fmla="*/ 8728108 w 12117871"/>
                <a:gd name="connsiteY1758" fmla="*/ 3822500 h 6072780"/>
                <a:gd name="connsiteX1759" fmla="*/ 8744915 w 12117871"/>
                <a:gd name="connsiteY1759" fmla="*/ 3811397 h 6072780"/>
                <a:gd name="connsiteX1760" fmla="*/ 7851748 w 12117871"/>
                <a:gd name="connsiteY1760" fmla="*/ 3811397 h 6072780"/>
                <a:gd name="connsiteX1761" fmla="*/ 7866654 w 12117871"/>
                <a:gd name="connsiteY1761" fmla="*/ 3811397 h 6072780"/>
                <a:gd name="connsiteX1762" fmla="*/ 7866654 w 12117871"/>
                <a:gd name="connsiteY1762" fmla="*/ 4034377 h 6072780"/>
                <a:gd name="connsiteX1763" fmla="*/ 7831366 w 12117871"/>
                <a:gd name="connsiteY1763" fmla="*/ 4034377 h 6072780"/>
                <a:gd name="connsiteX1764" fmla="*/ 7831366 w 12117871"/>
                <a:gd name="connsiteY1764" fmla="*/ 3854593 h 6072780"/>
                <a:gd name="connsiteX1765" fmla="*/ 7810757 w 12117871"/>
                <a:gd name="connsiteY1765" fmla="*/ 3866229 h 6072780"/>
                <a:gd name="connsiteX1766" fmla="*/ 7785584 w 12117871"/>
                <a:gd name="connsiteY1766" fmla="*/ 3874671 h 6072780"/>
                <a:gd name="connsiteX1767" fmla="*/ 7785584 w 12117871"/>
                <a:gd name="connsiteY1767" fmla="*/ 3844555 h 6072780"/>
                <a:gd name="connsiteX1768" fmla="*/ 7802619 w 12117871"/>
                <a:gd name="connsiteY1768" fmla="*/ 3838471 h 6072780"/>
                <a:gd name="connsiteX1769" fmla="*/ 7818818 w 12117871"/>
                <a:gd name="connsiteY1769" fmla="*/ 3831322 h 6072780"/>
                <a:gd name="connsiteX1770" fmla="*/ 7834941 w 12117871"/>
                <a:gd name="connsiteY1770" fmla="*/ 3822500 h 6072780"/>
                <a:gd name="connsiteX1771" fmla="*/ 7851748 w 12117871"/>
                <a:gd name="connsiteY1771" fmla="*/ 3811397 h 6072780"/>
                <a:gd name="connsiteX1772" fmla="*/ 7413731 w 12117871"/>
                <a:gd name="connsiteY1772" fmla="*/ 3811397 h 6072780"/>
                <a:gd name="connsiteX1773" fmla="*/ 7428637 w 12117871"/>
                <a:gd name="connsiteY1773" fmla="*/ 3811397 h 6072780"/>
                <a:gd name="connsiteX1774" fmla="*/ 7428637 w 12117871"/>
                <a:gd name="connsiteY1774" fmla="*/ 4034377 h 6072780"/>
                <a:gd name="connsiteX1775" fmla="*/ 7393349 w 12117871"/>
                <a:gd name="connsiteY1775" fmla="*/ 4034377 h 6072780"/>
                <a:gd name="connsiteX1776" fmla="*/ 7393349 w 12117871"/>
                <a:gd name="connsiteY1776" fmla="*/ 3854593 h 6072780"/>
                <a:gd name="connsiteX1777" fmla="*/ 7372740 w 12117871"/>
                <a:gd name="connsiteY1777" fmla="*/ 3866229 h 6072780"/>
                <a:gd name="connsiteX1778" fmla="*/ 7347567 w 12117871"/>
                <a:gd name="connsiteY1778" fmla="*/ 3874671 h 6072780"/>
                <a:gd name="connsiteX1779" fmla="*/ 7347567 w 12117871"/>
                <a:gd name="connsiteY1779" fmla="*/ 3844555 h 6072780"/>
                <a:gd name="connsiteX1780" fmla="*/ 7364602 w 12117871"/>
                <a:gd name="connsiteY1780" fmla="*/ 3838471 h 6072780"/>
                <a:gd name="connsiteX1781" fmla="*/ 7380801 w 12117871"/>
                <a:gd name="connsiteY1781" fmla="*/ 3831322 h 6072780"/>
                <a:gd name="connsiteX1782" fmla="*/ 7396924 w 12117871"/>
                <a:gd name="connsiteY1782" fmla="*/ 3822500 h 6072780"/>
                <a:gd name="connsiteX1783" fmla="*/ 7413731 w 12117871"/>
                <a:gd name="connsiteY1783" fmla="*/ 3811397 h 6072780"/>
                <a:gd name="connsiteX1784" fmla="*/ 7015147 w 12117871"/>
                <a:gd name="connsiteY1784" fmla="*/ 3811397 h 6072780"/>
                <a:gd name="connsiteX1785" fmla="*/ 7030053 w 12117871"/>
                <a:gd name="connsiteY1785" fmla="*/ 3811397 h 6072780"/>
                <a:gd name="connsiteX1786" fmla="*/ 7030053 w 12117871"/>
                <a:gd name="connsiteY1786" fmla="*/ 4034377 h 6072780"/>
                <a:gd name="connsiteX1787" fmla="*/ 6994765 w 12117871"/>
                <a:gd name="connsiteY1787" fmla="*/ 4034377 h 6072780"/>
                <a:gd name="connsiteX1788" fmla="*/ 6994765 w 12117871"/>
                <a:gd name="connsiteY1788" fmla="*/ 3854593 h 6072780"/>
                <a:gd name="connsiteX1789" fmla="*/ 6974156 w 12117871"/>
                <a:gd name="connsiteY1789" fmla="*/ 3866229 h 6072780"/>
                <a:gd name="connsiteX1790" fmla="*/ 6948983 w 12117871"/>
                <a:gd name="connsiteY1790" fmla="*/ 3874671 h 6072780"/>
                <a:gd name="connsiteX1791" fmla="*/ 6948983 w 12117871"/>
                <a:gd name="connsiteY1791" fmla="*/ 3844555 h 6072780"/>
                <a:gd name="connsiteX1792" fmla="*/ 6966018 w 12117871"/>
                <a:gd name="connsiteY1792" fmla="*/ 3838471 h 6072780"/>
                <a:gd name="connsiteX1793" fmla="*/ 6982217 w 12117871"/>
                <a:gd name="connsiteY1793" fmla="*/ 3831322 h 6072780"/>
                <a:gd name="connsiteX1794" fmla="*/ 6998340 w 12117871"/>
                <a:gd name="connsiteY1794" fmla="*/ 3822500 h 6072780"/>
                <a:gd name="connsiteX1795" fmla="*/ 7015147 w 12117871"/>
                <a:gd name="connsiteY1795" fmla="*/ 3811397 h 6072780"/>
                <a:gd name="connsiteX1796" fmla="*/ 6727931 w 12117871"/>
                <a:gd name="connsiteY1796" fmla="*/ 3811397 h 6072780"/>
                <a:gd name="connsiteX1797" fmla="*/ 6742837 w 12117871"/>
                <a:gd name="connsiteY1797" fmla="*/ 3811397 h 6072780"/>
                <a:gd name="connsiteX1798" fmla="*/ 6742837 w 12117871"/>
                <a:gd name="connsiteY1798" fmla="*/ 4034377 h 6072780"/>
                <a:gd name="connsiteX1799" fmla="*/ 6707549 w 12117871"/>
                <a:gd name="connsiteY1799" fmla="*/ 4034377 h 6072780"/>
                <a:gd name="connsiteX1800" fmla="*/ 6707549 w 12117871"/>
                <a:gd name="connsiteY1800" fmla="*/ 3854593 h 6072780"/>
                <a:gd name="connsiteX1801" fmla="*/ 6686940 w 12117871"/>
                <a:gd name="connsiteY1801" fmla="*/ 3866229 h 6072780"/>
                <a:gd name="connsiteX1802" fmla="*/ 6661767 w 12117871"/>
                <a:gd name="connsiteY1802" fmla="*/ 3874671 h 6072780"/>
                <a:gd name="connsiteX1803" fmla="*/ 6661767 w 12117871"/>
                <a:gd name="connsiteY1803" fmla="*/ 3844555 h 6072780"/>
                <a:gd name="connsiteX1804" fmla="*/ 6678802 w 12117871"/>
                <a:gd name="connsiteY1804" fmla="*/ 3838471 h 6072780"/>
                <a:gd name="connsiteX1805" fmla="*/ 6695001 w 12117871"/>
                <a:gd name="connsiteY1805" fmla="*/ 3831322 h 6072780"/>
                <a:gd name="connsiteX1806" fmla="*/ 6711124 w 12117871"/>
                <a:gd name="connsiteY1806" fmla="*/ 3822500 h 6072780"/>
                <a:gd name="connsiteX1807" fmla="*/ 6727931 w 12117871"/>
                <a:gd name="connsiteY1807" fmla="*/ 3811397 h 6072780"/>
                <a:gd name="connsiteX1808" fmla="*/ 6584323 w 12117871"/>
                <a:gd name="connsiteY1808" fmla="*/ 3811397 h 6072780"/>
                <a:gd name="connsiteX1809" fmla="*/ 6599229 w 12117871"/>
                <a:gd name="connsiteY1809" fmla="*/ 3811397 h 6072780"/>
                <a:gd name="connsiteX1810" fmla="*/ 6599229 w 12117871"/>
                <a:gd name="connsiteY1810" fmla="*/ 4034377 h 6072780"/>
                <a:gd name="connsiteX1811" fmla="*/ 6563941 w 12117871"/>
                <a:gd name="connsiteY1811" fmla="*/ 4034377 h 6072780"/>
                <a:gd name="connsiteX1812" fmla="*/ 6563941 w 12117871"/>
                <a:gd name="connsiteY1812" fmla="*/ 3854593 h 6072780"/>
                <a:gd name="connsiteX1813" fmla="*/ 6543332 w 12117871"/>
                <a:gd name="connsiteY1813" fmla="*/ 3866229 h 6072780"/>
                <a:gd name="connsiteX1814" fmla="*/ 6518159 w 12117871"/>
                <a:gd name="connsiteY1814" fmla="*/ 3874671 h 6072780"/>
                <a:gd name="connsiteX1815" fmla="*/ 6518159 w 12117871"/>
                <a:gd name="connsiteY1815" fmla="*/ 3844555 h 6072780"/>
                <a:gd name="connsiteX1816" fmla="*/ 6535194 w 12117871"/>
                <a:gd name="connsiteY1816" fmla="*/ 3838471 h 6072780"/>
                <a:gd name="connsiteX1817" fmla="*/ 6551393 w 12117871"/>
                <a:gd name="connsiteY1817" fmla="*/ 3831322 h 6072780"/>
                <a:gd name="connsiteX1818" fmla="*/ 6567516 w 12117871"/>
                <a:gd name="connsiteY1818" fmla="*/ 3822500 h 6072780"/>
                <a:gd name="connsiteX1819" fmla="*/ 6584323 w 12117871"/>
                <a:gd name="connsiteY1819" fmla="*/ 3811397 h 6072780"/>
                <a:gd name="connsiteX1820" fmla="*/ 6373956 w 12117871"/>
                <a:gd name="connsiteY1820" fmla="*/ 3811397 h 6072780"/>
                <a:gd name="connsiteX1821" fmla="*/ 6445123 w 12117871"/>
                <a:gd name="connsiteY1821" fmla="*/ 3921984 h 6072780"/>
                <a:gd name="connsiteX1822" fmla="*/ 6425037 w 12117871"/>
                <a:gd name="connsiteY1822" fmla="*/ 4005564 h 6072780"/>
                <a:gd name="connsiteX1823" fmla="*/ 6368840 w 12117871"/>
                <a:gd name="connsiteY1823" fmla="*/ 4034377 h 6072780"/>
                <a:gd name="connsiteX1824" fmla="*/ 6316255 w 12117871"/>
                <a:gd name="connsiteY1824" fmla="*/ 4006843 h 6072780"/>
                <a:gd name="connsiteX1825" fmla="*/ 6297372 w 12117871"/>
                <a:gd name="connsiteY1825" fmla="*/ 3927250 h 6072780"/>
                <a:gd name="connsiteX1826" fmla="*/ 6317082 w 12117871"/>
                <a:gd name="connsiteY1826" fmla="*/ 3840736 h 6072780"/>
                <a:gd name="connsiteX1827" fmla="*/ 6373956 w 12117871"/>
                <a:gd name="connsiteY1827" fmla="*/ 3811397 h 6072780"/>
                <a:gd name="connsiteX1828" fmla="*/ 5975659 w 12117871"/>
                <a:gd name="connsiteY1828" fmla="*/ 3811397 h 6072780"/>
                <a:gd name="connsiteX1829" fmla="*/ 5990568 w 12117871"/>
                <a:gd name="connsiteY1829" fmla="*/ 3811397 h 6072780"/>
                <a:gd name="connsiteX1830" fmla="*/ 5990568 w 12117871"/>
                <a:gd name="connsiteY1830" fmla="*/ 4034377 h 6072780"/>
                <a:gd name="connsiteX1831" fmla="*/ 5955278 w 12117871"/>
                <a:gd name="connsiteY1831" fmla="*/ 4034377 h 6072780"/>
                <a:gd name="connsiteX1832" fmla="*/ 5955278 w 12117871"/>
                <a:gd name="connsiteY1832" fmla="*/ 3854593 h 6072780"/>
                <a:gd name="connsiteX1833" fmla="*/ 5934669 w 12117871"/>
                <a:gd name="connsiteY1833" fmla="*/ 3866229 h 6072780"/>
                <a:gd name="connsiteX1834" fmla="*/ 5909498 w 12117871"/>
                <a:gd name="connsiteY1834" fmla="*/ 3874671 h 6072780"/>
                <a:gd name="connsiteX1835" fmla="*/ 5909498 w 12117871"/>
                <a:gd name="connsiteY1835" fmla="*/ 3844555 h 6072780"/>
                <a:gd name="connsiteX1836" fmla="*/ 5926531 w 12117871"/>
                <a:gd name="connsiteY1836" fmla="*/ 3838471 h 6072780"/>
                <a:gd name="connsiteX1837" fmla="*/ 5942730 w 12117871"/>
                <a:gd name="connsiteY1837" fmla="*/ 3831322 h 6072780"/>
                <a:gd name="connsiteX1838" fmla="*/ 5958852 w 12117871"/>
                <a:gd name="connsiteY1838" fmla="*/ 3822500 h 6072780"/>
                <a:gd name="connsiteX1839" fmla="*/ 5975659 w 12117871"/>
                <a:gd name="connsiteY1839" fmla="*/ 3811397 h 6072780"/>
                <a:gd name="connsiteX1840" fmla="*/ 5786272 w 12117871"/>
                <a:gd name="connsiteY1840" fmla="*/ 3811397 h 6072780"/>
                <a:gd name="connsiteX1841" fmla="*/ 5857440 w 12117871"/>
                <a:gd name="connsiteY1841" fmla="*/ 3921984 h 6072780"/>
                <a:gd name="connsiteX1842" fmla="*/ 5837355 w 12117871"/>
                <a:gd name="connsiteY1842" fmla="*/ 4005564 h 6072780"/>
                <a:gd name="connsiteX1843" fmla="*/ 5781158 w 12117871"/>
                <a:gd name="connsiteY1843" fmla="*/ 4034377 h 6072780"/>
                <a:gd name="connsiteX1844" fmla="*/ 5728572 w 12117871"/>
                <a:gd name="connsiteY1844" fmla="*/ 4006843 h 6072780"/>
                <a:gd name="connsiteX1845" fmla="*/ 5709690 w 12117871"/>
                <a:gd name="connsiteY1845" fmla="*/ 3927250 h 6072780"/>
                <a:gd name="connsiteX1846" fmla="*/ 5729400 w 12117871"/>
                <a:gd name="connsiteY1846" fmla="*/ 3840736 h 6072780"/>
                <a:gd name="connsiteX1847" fmla="*/ 5786272 w 12117871"/>
                <a:gd name="connsiteY1847" fmla="*/ 3811397 h 6072780"/>
                <a:gd name="connsiteX1848" fmla="*/ 5093284 w 12117871"/>
                <a:gd name="connsiteY1848" fmla="*/ 3811397 h 6072780"/>
                <a:gd name="connsiteX1849" fmla="*/ 5164451 w 12117871"/>
                <a:gd name="connsiteY1849" fmla="*/ 3921984 h 6072780"/>
                <a:gd name="connsiteX1850" fmla="*/ 5144364 w 12117871"/>
                <a:gd name="connsiteY1850" fmla="*/ 4005564 h 6072780"/>
                <a:gd name="connsiteX1851" fmla="*/ 5088168 w 12117871"/>
                <a:gd name="connsiteY1851" fmla="*/ 4034377 h 6072780"/>
                <a:gd name="connsiteX1852" fmla="*/ 5035583 w 12117871"/>
                <a:gd name="connsiteY1852" fmla="*/ 4006843 h 6072780"/>
                <a:gd name="connsiteX1853" fmla="*/ 5016700 w 12117871"/>
                <a:gd name="connsiteY1853" fmla="*/ 3927250 h 6072780"/>
                <a:gd name="connsiteX1854" fmla="*/ 5036410 w 12117871"/>
                <a:gd name="connsiteY1854" fmla="*/ 3840736 h 6072780"/>
                <a:gd name="connsiteX1855" fmla="*/ 5093284 w 12117871"/>
                <a:gd name="connsiteY1855" fmla="*/ 3811397 h 6072780"/>
                <a:gd name="connsiteX1856" fmla="*/ 4694968 w 12117871"/>
                <a:gd name="connsiteY1856" fmla="*/ 3811397 h 6072780"/>
                <a:gd name="connsiteX1857" fmla="*/ 4709876 w 12117871"/>
                <a:gd name="connsiteY1857" fmla="*/ 3811397 h 6072780"/>
                <a:gd name="connsiteX1858" fmla="*/ 4709876 w 12117871"/>
                <a:gd name="connsiteY1858" fmla="*/ 4034377 h 6072780"/>
                <a:gd name="connsiteX1859" fmla="*/ 4674589 w 12117871"/>
                <a:gd name="connsiteY1859" fmla="*/ 4034377 h 6072780"/>
                <a:gd name="connsiteX1860" fmla="*/ 4674589 w 12117871"/>
                <a:gd name="connsiteY1860" fmla="*/ 3854593 h 6072780"/>
                <a:gd name="connsiteX1861" fmla="*/ 4653978 w 12117871"/>
                <a:gd name="connsiteY1861" fmla="*/ 3866229 h 6072780"/>
                <a:gd name="connsiteX1862" fmla="*/ 4628805 w 12117871"/>
                <a:gd name="connsiteY1862" fmla="*/ 3874671 h 6072780"/>
                <a:gd name="connsiteX1863" fmla="*/ 4628805 w 12117871"/>
                <a:gd name="connsiteY1863" fmla="*/ 3844555 h 6072780"/>
                <a:gd name="connsiteX1864" fmla="*/ 4645841 w 12117871"/>
                <a:gd name="connsiteY1864" fmla="*/ 3838471 h 6072780"/>
                <a:gd name="connsiteX1865" fmla="*/ 4662040 w 12117871"/>
                <a:gd name="connsiteY1865" fmla="*/ 3831322 h 6072780"/>
                <a:gd name="connsiteX1866" fmla="*/ 4678162 w 12117871"/>
                <a:gd name="connsiteY1866" fmla="*/ 3822500 h 6072780"/>
                <a:gd name="connsiteX1867" fmla="*/ 4694968 w 12117871"/>
                <a:gd name="connsiteY1867" fmla="*/ 3811397 h 6072780"/>
                <a:gd name="connsiteX1868" fmla="*/ 4345906 w 12117871"/>
                <a:gd name="connsiteY1868" fmla="*/ 3811397 h 6072780"/>
                <a:gd name="connsiteX1869" fmla="*/ 4360813 w 12117871"/>
                <a:gd name="connsiteY1869" fmla="*/ 3811397 h 6072780"/>
                <a:gd name="connsiteX1870" fmla="*/ 4360813 w 12117871"/>
                <a:gd name="connsiteY1870" fmla="*/ 4034377 h 6072780"/>
                <a:gd name="connsiteX1871" fmla="*/ 4325525 w 12117871"/>
                <a:gd name="connsiteY1871" fmla="*/ 4034377 h 6072780"/>
                <a:gd name="connsiteX1872" fmla="*/ 4325525 w 12117871"/>
                <a:gd name="connsiteY1872" fmla="*/ 3854593 h 6072780"/>
                <a:gd name="connsiteX1873" fmla="*/ 4304915 w 12117871"/>
                <a:gd name="connsiteY1873" fmla="*/ 3866229 h 6072780"/>
                <a:gd name="connsiteX1874" fmla="*/ 4279743 w 12117871"/>
                <a:gd name="connsiteY1874" fmla="*/ 3874671 h 6072780"/>
                <a:gd name="connsiteX1875" fmla="*/ 4279743 w 12117871"/>
                <a:gd name="connsiteY1875" fmla="*/ 3844555 h 6072780"/>
                <a:gd name="connsiteX1876" fmla="*/ 4296778 w 12117871"/>
                <a:gd name="connsiteY1876" fmla="*/ 3838471 h 6072780"/>
                <a:gd name="connsiteX1877" fmla="*/ 4312977 w 12117871"/>
                <a:gd name="connsiteY1877" fmla="*/ 3831322 h 6072780"/>
                <a:gd name="connsiteX1878" fmla="*/ 4329099 w 12117871"/>
                <a:gd name="connsiteY1878" fmla="*/ 3822500 h 6072780"/>
                <a:gd name="connsiteX1879" fmla="*/ 4345906 w 12117871"/>
                <a:gd name="connsiteY1879" fmla="*/ 3811397 h 6072780"/>
                <a:gd name="connsiteX1880" fmla="*/ 3839047 w 12117871"/>
                <a:gd name="connsiteY1880" fmla="*/ 3811397 h 6072780"/>
                <a:gd name="connsiteX1881" fmla="*/ 3910214 w 12117871"/>
                <a:gd name="connsiteY1881" fmla="*/ 3921984 h 6072780"/>
                <a:gd name="connsiteX1882" fmla="*/ 3890128 w 12117871"/>
                <a:gd name="connsiteY1882" fmla="*/ 4005564 h 6072780"/>
                <a:gd name="connsiteX1883" fmla="*/ 3833931 w 12117871"/>
                <a:gd name="connsiteY1883" fmla="*/ 4034377 h 6072780"/>
                <a:gd name="connsiteX1884" fmla="*/ 3781346 w 12117871"/>
                <a:gd name="connsiteY1884" fmla="*/ 4006843 h 6072780"/>
                <a:gd name="connsiteX1885" fmla="*/ 3762464 w 12117871"/>
                <a:gd name="connsiteY1885" fmla="*/ 3927250 h 6072780"/>
                <a:gd name="connsiteX1886" fmla="*/ 3782173 w 12117871"/>
                <a:gd name="connsiteY1886" fmla="*/ 3840736 h 6072780"/>
                <a:gd name="connsiteX1887" fmla="*/ 3839047 w 12117871"/>
                <a:gd name="connsiteY1887" fmla="*/ 3811397 h 6072780"/>
                <a:gd name="connsiteX1888" fmla="*/ 3616537 w 12117871"/>
                <a:gd name="connsiteY1888" fmla="*/ 3811397 h 6072780"/>
                <a:gd name="connsiteX1889" fmla="*/ 3687703 w 12117871"/>
                <a:gd name="connsiteY1889" fmla="*/ 3921984 h 6072780"/>
                <a:gd name="connsiteX1890" fmla="*/ 3667617 w 12117871"/>
                <a:gd name="connsiteY1890" fmla="*/ 4005564 h 6072780"/>
                <a:gd name="connsiteX1891" fmla="*/ 3611420 w 12117871"/>
                <a:gd name="connsiteY1891" fmla="*/ 4034377 h 6072780"/>
                <a:gd name="connsiteX1892" fmla="*/ 3558835 w 12117871"/>
                <a:gd name="connsiteY1892" fmla="*/ 4006843 h 6072780"/>
                <a:gd name="connsiteX1893" fmla="*/ 3539952 w 12117871"/>
                <a:gd name="connsiteY1893" fmla="*/ 3927250 h 6072780"/>
                <a:gd name="connsiteX1894" fmla="*/ 3559662 w 12117871"/>
                <a:gd name="connsiteY1894" fmla="*/ 3840736 h 6072780"/>
                <a:gd name="connsiteX1895" fmla="*/ 3616537 w 12117871"/>
                <a:gd name="connsiteY1895" fmla="*/ 3811397 h 6072780"/>
                <a:gd name="connsiteX1896" fmla="*/ 3454863 w 12117871"/>
                <a:gd name="connsiteY1896" fmla="*/ 3811397 h 6072780"/>
                <a:gd name="connsiteX1897" fmla="*/ 3469768 w 12117871"/>
                <a:gd name="connsiteY1897" fmla="*/ 3811397 h 6072780"/>
                <a:gd name="connsiteX1898" fmla="*/ 3469768 w 12117871"/>
                <a:gd name="connsiteY1898" fmla="*/ 4034377 h 6072780"/>
                <a:gd name="connsiteX1899" fmla="*/ 3434481 w 12117871"/>
                <a:gd name="connsiteY1899" fmla="*/ 4034377 h 6072780"/>
                <a:gd name="connsiteX1900" fmla="*/ 3434481 w 12117871"/>
                <a:gd name="connsiteY1900" fmla="*/ 3854593 h 6072780"/>
                <a:gd name="connsiteX1901" fmla="*/ 3413872 w 12117871"/>
                <a:gd name="connsiteY1901" fmla="*/ 3866229 h 6072780"/>
                <a:gd name="connsiteX1902" fmla="*/ 3388698 w 12117871"/>
                <a:gd name="connsiteY1902" fmla="*/ 3874671 h 6072780"/>
                <a:gd name="connsiteX1903" fmla="*/ 3388698 w 12117871"/>
                <a:gd name="connsiteY1903" fmla="*/ 3844555 h 6072780"/>
                <a:gd name="connsiteX1904" fmla="*/ 3405734 w 12117871"/>
                <a:gd name="connsiteY1904" fmla="*/ 3838471 h 6072780"/>
                <a:gd name="connsiteX1905" fmla="*/ 3421933 w 12117871"/>
                <a:gd name="connsiteY1905" fmla="*/ 3831322 h 6072780"/>
                <a:gd name="connsiteX1906" fmla="*/ 3438054 w 12117871"/>
                <a:gd name="connsiteY1906" fmla="*/ 3822500 h 6072780"/>
                <a:gd name="connsiteX1907" fmla="*/ 3454863 w 12117871"/>
                <a:gd name="connsiteY1907" fmla="*/ 3811397 h 6072780"/>
                <a:gd name="connsiteX1908" fmla="*/ 3158682 w 12117871"/>
                <a:gd name="connsiteY1908" fmla="*/ 3811397 h 6072780"/>
                <a:gd name="connsiteX1909" fmla="*/ 3173587 w 12117871"/>
                <a:gd name="connsiteY1909" fmla="*/ 3811397 h 6072780"/>
                <a:gd name="connsiteX1910" fmla="*/ 3173587 w 12117871"/>
                <a:gd name="connsiteY1910" fmla="*/ 4034377 h 6072780"/>
                <a:gd name="connsiteX1911" fmla="*/ 3138299 w 12117871"/>
                <a:gd name="connsiteY1911" fmla="*/ 4034377 h 6072780"/>
                <a:gd name="connsiteX1912" fmla="*/ 3138299 w 12117871"/>
                <a:gd name="connsiteY1912" fmla="*/ 3854593 h 6072780"/>
                <a:gd name="connsiteX1913" fmla="*/ 3117690 w 12117871"/>
                <a:gd name="connsiteY1913" fmla="*/ 3866229 h 6072780"/>
                <a:gd name="connsiteX1914" fmla="*/ 3092517 w 12117871"/>
                <a:gd name="connsiteY1914" fmla="*/ 3874671 h 6072780"/>
                <a:gd name="connsiteX1915" fmla="*/ 3092517 w 12117871"/>
                <a:gd name="connsiteY1915" fmla="*/ 3844555 h 6072780"/>
                <a:gd name="connsiteX1916" fmla="*/ 3109553 w 12117871"/>
                <a:gd name="connsiteY1916" fmla="*/ 3838471 h 6072780"/>
                <a:gd name="connsiteX1917" fmla="*/ 3125751 w 12117871"/>
                <a:gd name="connsiteY1917" fmla="*/ 3831322 h 6072780"/>
                <a:gd name="connsiteX1918" fmla="*/ 3141875 w 12117871"/>
                <a:gd name="connsiteY1918" fmla="*/ 3822500 h 6072780"/>
                <a:gd name="connsiteX1919" fmla="*/ 3158682 w 12117871"/>
                <a:gd name="connsiteY1919" fmla="*/ 3811397 h 6072780"/>
                <a:gd name="connsiteX1920" fmla="*/ 2783382 w 12117871"/>
                <a:gd name="connsiteY1920" fmla="*/ 3811397 h 6072780"/>
                <a:gd name="connsiteX1921" fmla="*/ 2798288 w 12117871"/>
                <a:gd name="connsiteY1921" fmla="*/ 3811397 h 6072780"/>
                <a:gd name="connsiteX1922" fmla="*/ 2798288 w 12117871"/>
                <a:gd name="connsiteY1922" fmla="*/ 4034377 h 6072780"/>
                <a:gd name="connsiteX1923" fmla="*/ 2763000 w 12117871"/>
                <a:gd name="connsiteY1923" fmla="*/ 4034377 h 6072780"/>
                <a:gd name="connsiteX1924" fmla="*/ 2763000 w 12117871"/>
                <a:gd name="connsiteY1924" fmla="*/ 3854593 h 6072780"/>
                <a:gd name="connsiteX1925" fmla="*/ 2742391 w 12117871"/>
                <a:gd name="connsiteY1925" fmla="*/ 3866229 h 6072780"/>
                <a:gd name="connsiteX1926" fmla="*/ 2717219 w 12117871"/>
                <a:gd name="connsiteY1926" fmla="*/ 3874671 h 6072780"/>
                <a:gd name="connsiteX1927" fmla="*/ 2717219 w 12117871"/>
                <a:gd name="connsiteY1927" fmla="*/ 3844555 h 6072780"/>
                <a:gd name="connsiteX1928" fmla="*/ 2734253 w 12117871"/>
                <a:gd name="connsiteY1928" fmla="*/ 3838471 h 6072780"/>
                <a:gd name="connsiteX1929" fmla="*/ 2750453 w 12117871"/>
                <a:gd name="connsiteY1929" fmla="*/ 3831322 h 6072780"/>
                <a:gd name="connsiteX1930" fmla="*/ 2766576 w 12117871"/>
                <a:gd name="connsiteY1930" fmla="*/ 3822500 h 6072780"/>
                <a:gd name="connsiteX1931" fmla="*/ 2783382 w 12117871"/>
                <a:gd name="connsiteY1931" fmla="*/ 3811397 h 6072780"/>
                <a:gd name="connsiteX1932" fmla="*/ 2489154 w 12117871"/>
                <a:gd name="connsiteY1932" fmla="*/ 3811397 h 6072780"/>
                <a:gd name="connsiteX1933" fmla="*/ 2504060 w 12117871"/>
                <a:gd name="connsiteY1933" fmla="*/ 3811397 h 6072780"/>
                <a:gd name="connsiteX1934" fmla="*/ 2504060 w 12117871"/>
                <a:gd name="connsiteY1934" fmla="*/ 4034377 h 6072780"/>
                <a:gd name="connsiteX1935" fmla="*/ 2468772 w 12117871"/>
                <a:gd name="connsiteY1935" fmla="*/ 4034377 h 6072780"/>
                <a:gd name="connsiteX1936" fmla="*/ 2468772 w 12117871"/>
                <a:gd name="connsiteY1936" fmla="*/ 3854593 h 6072780"/>
                <a:gd name="connsiteX1937" fmla="*/ 2448163 w 12117871"/>
                <a:gd name="connsiteY1937" fmla="*/ 3866229 h 6072780"/>
                <a:gd name="connsiteX1938" fmla="*/ 2422990 w 12117871"/>
                <a:gd name="connsiteY1938" fmla="*/ 3874671 h 6072780"/>
                <a:gd name="connsiteX1939" fmla="*/ 2422990 w 12117871"/>
                <a:gd name="connsiteY1939" fmla="*/ 3844555 h 6072780"/>
                <a:gd name="connsiteX1940" fmla="*/ 2440025 w 12117871"/>
                <a:gd name="connsiteY1940" fmla="*/ 3838471 h 6072780"/>
                <a:gd name="connsiteX1941" fmla="*/ 2456224 w 12117871"/>
                <a:gd name="connsiteY1941" fmla="*/ 3831322 h 6072780"/>
                <a:gd name="connsiteX1942" fmla="*/ 2472346 w 12117871"/>
                <a:gd name="connsiteY1942" fmla="*/ 3822500 h 6072780"/>
                <a:gd name="connsiteX1943" fmla="*/ 2489154 w 12117871"/>
                <a:gd name="connsiteY1943" fmla="*/ 3811397 h 6072780"/>
                <a:gd name="connsiteX1944" fmla="*/ 1599916 w 12117871"/>
                <a:gd name="connsiteY1944" fmla="*/ 3811397 h 6072780"/>
                <a:gd name="connsiteX1945" fmla="*/ 1614822 w 12117871"/>
                <a:gd name="connsiteY1945" fmla="*/ 3811397 h 6072780"/>
                <a:gd name="connsiteX1946" fmla="*/ 1614822 w 12117871"/>
                <a:gd name="connsiteY1946" fmla="*/ 4034377 h 6072780"/>
                <a:gd name="connsiteX1947" fmla="*/ 1579534 w 12117871"/>
                <a:gd name="connsiteY1947" fmla="*/ 4034377 h 6072780"/>
                <a:gd name="connsiteX1948" fmla="*/ 1579534 w 12117871"/>
                <a:gd name="connsiteY1948" fmla="*/ 3854593 h 6072780"/>
                <a:gd name="connsiteX1949" fmla="*/ 1558925 w 12117871"/>
                <a:gd name="connsiteY1949" fmla="*/ 3866229 h 6072780"/>
                <a:gd name="connsiteX1950" fmla="*/ 1533752 w 12117871"/>
                <a:gd name="connsiteY1950" fmla="*/ 3874671 h 6072780"/>
                <a:gd name="connsiteX1951" fmla="*/ 1533752 w 12117871"/>
                <a:gd name="connsiteY1951" fmla="*/ 3844555 h 6072780"/>
                <a:gd name="connsiteX1952" fmla="*/ 1550787 w 12117871"/>
                <a:gd name="connsiteY1952" fmla="*/ 3838471 h 6072780"/>
                <a:gd name="connsiteX1953" fmla="*/ 1566986 w 12117871"/>
                <a:gd name="connsiteY1953" fmla="*/ 3831322 h 6072780"/>
                <a:gd name="connsiteX1954" fmla="*/ 1583109 w 12117871"/>
                <a:gd name="connsiteY1954" fmla="*/ 3822500 h 6072780"/>
                <a:gd name="connsiteX1955" fmla="*/ 1599916 w 12117871"/>
                <a:gd name="connsiteY1955" fmla="*/ 3811397 h 6072780"/>
                <a:gd name="connsiteX1956" fmla="*/ 1302202 w 12117871"/>
                <a:gd name="connsiteY1956" fmla="*/ 3811397 h 6072780"/>
                <a:gd name="connsiteX1957" fmla="*/ 1317108 w 12117871"/>
                <a:gd name="connsiteY1957" fmla="*/ 3811397 h 6072780"/>
                <a:gd name="connsiteX1958" fmla="*/ 1317108 w 12117871"/>
                <a:gd name="connsiteY1958" fmla="*/ 4034377 h 6072780"/>
                <a:gd name="connsiteX1959" fmla="*/ 1281820 w 12117871"/>
                <a:gd name="connsiteY1959" fmla="*/ 4034377 h 6072780"/>
                <a:gd name="connsiteX1960" fmla="*/ 1281820 w 12117871"/>
                <a:gd name="connsiteY1960" fmla="*/ 3854593 h 6072780"/>
                <a:gd name="connsiteX1961" fmla="*/ 1261211 w 12117871"/>
                <a:gd name="connsiteY1961" fmla="*/ 3866229 h 6072780"/>
                <a:gd name="connsiteX1962" fmla="*/ 1236038 w 12117871"/>
                <a:gd name="connsiteY1962" fmla="*/ 3874671 h 6072780"/>
                <a:gd name="connsiteX1963" fmla="*/ 1236038 w 12117871"/>
                <a:gd name="connsiteY1963" fmla="*/ 3844555 h 6072780"/>
                <a:gd name="connsiteX1964" fmla="*/ 1253073 w 12117871"/>
                <a:gd name="connsiteY1964" fmla="*/ 3838471 h 6072780"/>
                <a:gd name="connsiteX1965" fmla="*/ 1269272 w 12117871"/>
                <a:gd name="connsiteY1965" fmla="*/ 3831322 h 6072780"/>
                <a:gd name="connsiteX1966" fmla="*/ 1285395 w 12117871"/>
                <a:gd name="connsiteY1966" fmla="*/ 3822500 h 6072780"/>
                <a:gd name="connsiteX1967" fmla="*/ 1302202 w 12117871"/>
                <a:gd name="connsiteY1967" fmla="*/ 3811397 h 6072780"/>
                <a:gd name="connsiteX1968" fmla="*/ 927321 w 12117871"/>
                <a:gd name="connsiteY1968" fmla="*/ 3811397 h 6072780"/>
                <a:gd name="connsiteX1969" fmla="*/ 942227 w 12117871"/>
                <a:gd name="connsiteY1969" fmla="*/ 3811397 h 6072780"/>
                <a:gd name="connsiteX1970" fmla="*/ 942227 w 12117871"/>
                <a:gd name="connsiteY1970" fmla="*/ 4034377 h 6072780"/>
                <a:gd name="connsiteX1971" fmla="*/ 906939 w 12117871"/>
                <a:gd name="connsiteY1971" fmla="*/ 4034377 h 6072780"/>
                <a:gd name="connsiteX1972" fmla="*/ 906939 w 12117871"/>
                <a:gd name="connsiteY1972" fmla="*/ 3854593 h 6072780"/>
                <a:gd name="connsiteX1973" fmla="*/ 886330 w 12117871"/>
                <a:gd name="connsiteY1973" fmla="*/ 3866229 h 6072780"/>
                <a:gd name="connsiteX1974" fmla="*/ 861157 w 12117871"/>
                <a:gd name="connsiteY1974" fmla="*/ 3874671 h 6072780"/>
                <a:gd name="connsiteX1975" fmla="*/ 861157 w 12117871"/>
                <a:gd name="connsiteY1975" fmla="*/ 3844555 h 6072780"/>
                <a:gd name="connsiteX1976" fmla="*/ 878192 w 12117871"/>
                <a:gd name="connsiteY1976" fmla="*/ 3838471 h 6072780"/>
                <a:gd name="connsiteX1977" fmla="*/ 894391 w 12117871"/>
                <a:gd name="connsiteY1977" fmla="*/ 3831322 h 6072780"/>
                <a:gd name="connsiteX1978" fmla="*/ 910514 w 12117871"/>
                <a:gd name="connsiteY1978" fmla="*/ 3822500 h 6072780"/>
                <a:gd name="connsiteX1979" fmla="*/ 927321 w 12117871"/>
                <a:gd name="connsiteY1979" fmla="*/ 3811397 h 6072780"/>
                <a:gd name="connsiteX1980" fmla="*/ 778464 w 12117871"/>
                <a:gd name="connsiteY1980" fmla="*/ 3811397 h 6072780"/>
                <a:gd name="connsiteX1981" fmla="*/ 793370 w 12117871"/>
                <a:gd name="connsiteY1981" fmla="*/ 3811397 h 6072780"/>
                <a:gd name="connsiteX1982" fmla="*/ 793370 w 12117871"/>
                <a:gd name="connsiteY1982" fmla="*/ 4034377 h 6072780"/>
                <a:gd name="connsiteX1983" fmla="*/ 758082 w 12117871"/>
                <a:gd name="connsiteY1983" fmla="*/ 4034377 h 6072780"/>
                <a:gd name="connsiteX1984" fmla="*/ 758082 w 12117871"/>
                <a:gd name="connsiteY1984" fmla="*/ 3854593 h 6072780"/>
                <a:gd name="connsiteX1985" fmla="*/ 737473 w 12117871"/>
                <a:gd name="connsiteY1985" fmla="*/ 3866229 h 6072780"/>
                <a:gd name="connsiteX1986" fmla="*/ 712300 w 12117871"/>
                <a:gd name="connsiteY1986" fmla="*/ 3874671 h 6072780"/>
                <a:gd name="connsiteX1987" fmla="*/ 712300 w 12117871"/>
                <a:gd name="connsiteY1987" fmla="*/ 3844555 h 6072780"/>
                <a:gd name="connsiteX1988" fmla="*/ 729335 w 12117871"/>
                <a:gd name="connsiteY1988" fmla="*/ 3838471 h 6072780"/>
                <a:gd name="connsiteX1989" fmla="*/ 745535 w 12117871"/>
                <a:gd name="connsiteY1989" fmla="*/ 3831322 h 6072780"/>
                <a:gd name="connsiteX1990" fmla="*/ 761657 w 12117871"/>
                <a:gd name="connsiteY1990" fmla="*/ 3822500 h 6072780"/>
                <a:gd name="connsiteX1991" fmla="*/ 778464 w 12117871"/>
                <a:gd name="connsiteY1991" fmla="*/ 3811397 h 6072780"/>
                <a:gd name="connsiteX1992" fmla="*/ 629607 w 12117871"/>
                <a:gd name="connsiteY1992" fmla="*/ 3811397 h 6072780"/>
                <a:gd name="connsiteX1993" fmla="*/ 644513 w 12117871"/>
                <a:gd name="connsiteY1993" fmla="*/ 3811397 h 6072780"/>
                <a:gd name="connsiteX1994" fmla="*/ 644513 w 12117871"/>
                <a:gd name="connsiteY1994" fmla="*/ 4034377 h 6072780"/>
                <a:gd name="connsiteX1995" fmla="*/ 609225 w 12117871"/>
                <a:gd name="connsiteY1995" fmla="*/ 4034377 h 6072780"/>
                <a:gd name="connsiteX1996" fmla="*/ 609225 w 12117871"/>
                <a:gd name="connsiteY1996" fmla="*/ 3854593 h 6072780"/>
                <a:gd name="connsiteX1997" fmla="*/ 588616 w 12117871"/>
                <a:gd name="connsiteY1997" fmla="*/ 3866229 h 6072780"/>
                <a:gd name="connsiteX1998" fmla="*/ 563443 w 12117871"/>
                <a:gd name="connsiteY1998" fmla="*/ 3874671 h 6072780"/>
                <a:gd name="connsiteX1999" fmla="*/ 563443 w 12117871"/>
                <a:gd name="connsiteY1999" fmla="*/ 3844555 h 6072780"/>
                <a:gd name="connsiteX2000" fmla="*/ 580478 w 12117871"/>
                <a:gd name="connsiteY2000" fmla="*/ 3838471 h 6072780"/>
                <a:gd name="connsiteX2001" fmla="*/ 596677 w 12117871"/>
                <a:gd name="connsiteY2001" fmla="*/ 3831322 h 6072780"/>
                <a:gd name="connsiteX2002" fmla="*/ 612800 w 12117871"/>
                <a:gd name="connsiteY2002" fmla="*/ 3822500 h 6072780"/>
                <a:gd name="connsiteX2003" fmla="*/ 629607 w 12117871"/>
                <a:gd name="connsiteY2003" fmla="*/ 3811397 h 6072780"/>
                <a:gd name="connsiteX2004" fmla="*/ 480750 w 12117871"/>
                <a:gd name="connsiteY2004" fmla="*/ 3811397 h 6072780"/>
                <a:gd name="connsiteX2005" fmla="*/ 495656 w 12117871"/>
                <a:gd name="connsiteY2005" fmla="*/ 3811397 h 6072780"/>
                <a:gd name="connsiteX2006" fmla="*/ 495656 w 12117871"/>
                <a:gd name="connsiteY2006" fmla="*/ 4034377 h 6072780"/>
                <a:gd name="connsiteX2007" fmla="*/ 460368 w 12117871"/>
                <a:gd name="connsiteY2007" fmla="*/ 4034377 h 6072780"/>
                <a:gd name="connsiteX2008" fmla="*/ 460368 w 12117871"/>
                <a:gd name="connsiteY2008" fmla="*/ 3854593 h 6072780"/>
                <a:gd name="connsiteX2009" fmla="*/ 439759 w 12117871"/>
                <a:gd name="connsiteY2009" fmla="*/ 3866229 h 6072780"/>
                <a:gd name="connsiteX2010" fmla="*/ 414586 w 12117871"/>
                <a:gd name="connsiteY2010" fmla="*/ 3874671 h 6072780"/>
                <a:gd name="connsiteX2011" fmla="*/ 414586 w 12117871"/>
                <a:gd name="connsiteY2011" fmla="*/ 3844555 h 6072780"/>
                <a:gd name="connsiteX2012" fmla="*/ 431621 w 12117871"/>
                <a:gd name="connsiteY2012" fmla="*/ 3838471 h 6072780"/>
                <a:gd name="connsiteX2013" fmla="*/ 447821 w 12117871"/>
                <a:gd name="connsiteY2013" fmla="*/ 3831322 h 6072780"/>
                <a:gd name="connsiteX2014" fmla="*/ 463943 w 12117871"/>
                <a:gd name="connsiteY2014" fmla="*/ 3822500 h 6072780"/>
                <a:gd name="connsiteX2015" fmla="*/ 480750 w 12117871"/>
                <a:gd name="connsiteY2015" fmla="*/ 3811397 h 6072780"/>
                <a:gd name="connsiteX2016" fmla="*/ 11874294 w 12117871"/>
                <a:gd name="connsiteY2016" fmla="*/ 3510985 h 6072780"/>
                <a:gd name="connsiteX2017" fmla="*/ 11835024 w 12117871"/>
                <a:gd name="connsiteY2017" fmla="*/ 3597499 h 6072780"/>
                <a:gd name="connsiteX2018" fmla="*/ 11873542 w 12117871"/>
                <a:gd name="connsiteY2018" fmla="*/ 3678445 h 6072780"/>
                <a:gd name="connsiteX2019" fmla="*/ 11911457 w 12117871"/>
                <a:gd name="connsiteY2019" fmla="*/ 3596144 h 6072780"/>
                <a:gd name="connsiteX2020" fmla="*/ 11874294 w 12117871"/>
                <a:gd name="connsiteY2020" fmla="*/ 3510985 h 6072780"/>
                <a:gd name="connsiteX2021" fmla="*/ 11189148 w 12117871"/>
                <a:gd name="connsiteY2021" fmla="*/ 3510985 h 6072780"/>
                <a:gd name="connsiteX2022" fmla="*/ 11149878 w 12117871"/>
                <a:gd name="connsiteY2022" fmla="*/ 3597499 h 6072780"/>
                <a:gd name="connsiteX2023" fmla="*/ 11188396 w 12117871"/>
                <a:gd name="connsiteY2023" fmla="*/ 3678445 h 6072780"/>
                <a:gd name="connsiteX2024" fmla="*/ 11226311 w 12117871"/>
                <a:gd name="connsiteY2024" fmla="*/ 3596144 h 6072780"/>
                <a:gd name="connsiteX2025" fmla="*/ 11189148 w 12117871"/>
                <a:gd name="connsiteY2025" fmla="*/ 3510985 h 6072780"/>
                <a:gd name="connsiteX2026" fmla="*/ 9936214 w 12117871"/>
                <a:gd name="connsiteY2026" fmla="*/ 3510985 h 6072780"/>
                <a:gd name="connsiteX2027" fmla="*/ 9896944 w 12117871"/>
                <a:gd name="connsiteY2027" fmla="*/ 3597499 h 6072780"/>
                <a:gd name="connsiteX2028" fmla="*/ 9935462 w 12117871"/>
                <a:gd name="connsiteY2028" fmla="*/ 3678445 h 6072780"/>
                <a:gd name="connsiteX2029" fmla="*/ 9973377 w 12117871"/>
                <a:gd name="connsiteY2029" fmla="*/ 3596144 h 6072780"/>
                <a:gd name="connsiteX2030" fmla="*/ 9936214 w 12117871"/>
                <a:gd name="connsiteY2030" fmla="*/ 3510985 h 6072780"/>
                <a:gd name="connsiteX2031" fmla="*/ 9713703 w 12117871"/>
                <a:gd name="connsiteY2031" fmla="*/ 3510985 h 6072780"/>
                <a:gd name="connsiteX2032" fmla="*/ 9674433 w 12117871"/>
                <a:gd name="connsiteY2032" fmla="*/ 3597499 h 6072780"/>
                <a:gd name="connsiteX2033" fmla="*/ 9712951 w 12117871"/>
                <a:gd name="connsiteY2033" fmla="*/ 3678445 h 6072780"/>
                <a:gd name="connsiteX2034" fmla="*/ 9750866 w 12117871"/>
                <a:gd name="connsiteY2034" fmla="*/ 3596144 h 6072780"/>
                <a:gd name="connsiteX2035" fmla="*/ 9713703 w 12117871"/>
                <a:gd name="connsiteY2035" fmla="*/ 3510985 h 6072780"/>
                <a:gd name="connsiteX2036" fmla="*/ 6372301 w 12117871"/>
                <a:gd name="connsiteY2036" fmla="*/ 3510985 h 6072780"/>
                <a:gd name="connsiteX2037" fmla="*/ 6333031 w 12117871"/>
                <a:gd name="connsiteY2037" fmla="*/ 3597499 h 6072780"/>
                <a:gd name="connsiteX2038" fmla="*/ 6371549 w 12117871"/>
                <a:gd name="connsiteY2038" fmla="*/ 3678445 h 6072780"/>
                <a:gd name="connsiteX2039" fmla="*/ 6409464 w 12117871"/>
                <a:gd name="connsiteY2039" fmla="*/ 3596144 h 6072780"/>
                <a:gd name="connsiteX2040" fmla="*/ 6372301 w 12117871"/>
                <a:gd name="connsiteY2040" fmla="*/ 3510985 h 6072780"/>
                <a:gd name="connsiteX2041" fmla="*/ 5784617 w 12117871"/>
                <a:gd name="connsiteY2041" fmla="*/ 3510985 h 6072780"/>
                <a:gd name="connsiteX2042" fmla="*/ 5745350 w 12117871"/>
                <a:gd name="connsiteY2042" fmla="*/ 3597499 h 6072780"/>
                <a:gd name="connsiteX2043" fmla="*/ 5783865 w 12117871"/>
                <a:gd name="connsiteY2043" fmla="*/ 3678445 h 6072780"/>
                <a:gd name="connsiteX2044" fmla="*/ 5821781 w 12117871"/>
                <a:gd name="connsiteY2044" fmla="*/ 3596144 h 6072780"/>
                <a:gd name="connsiteX2045" fmla="*/ 5784617 w 12117871"/>
                <a:gd name="connsiteY2045" fmla="*/ 3510985 h 6072780"/>
                <a:gd name="connsiteX2046" fmla="*/ 5091629 w 12117871"/>
                <a:gd name="connsiteY2046" fmla="*/ 3510985 h 6072780"/>
                <a:gd name="connsiteX2047" fmla="*/ 5052358 w 12117871"/>
                <a:gd name="connsiteY2047" fmla="*/ 3597499 h 6072780"/>
                <a:gd name="connsiteX2048" fmla="*/ 5090877 w 12117871"/>
                <a:gd name="connsiteY2048" fmla="*/ 3678445 h 6072780"/>
                <a:gd name="connsiteX2049" fmla="*/ 5128792 w 12117871"/>
                <a:gd name="connsiteY2049" fmla="*/ 3596144 h 6072780"/>
                <a:gd name="connsiteX2050" fmla="*/ 5091629 w 12117871"/>
                <a:gd name="connsiteY2050" fmla="*/ 3510985 h 6072780"/>
                <a:gd name="connsiteX2051" fmla="*/ 3837392 w 12117871"/>
                <a:gd name="connsiteY2051" fmla="*/ 3510985 h 6072780"/>
                <a:gd name="connsiteX2052" fmla="*/ 3798122 w 12117871"/>
                <a:gd name="connsiteY2052" fmla="*/ 3597499 h 6072780"/>
                <a:gd name="connsiteX2053" fmla="*/ 3836640 w 12117871"/>
                <a:gd name="connsiteY2053" fmla="*/ 3678445 h 6072780"/>
                <a:gd name="connsiteX2054" fmla="*/ 3874555 w 12117871"/>
                <a:gd name="connsiteY2054" fmla="*/ 3596144 h 6072780"/>
                <a:gd name="connsiteX2055" fmla="*/ 3837392 w 12117871"/>
                <a:gd name="connsiteY2055" fmla="*/ 3510985 h 6072780"/>
                <a:gd name="connsiteX2056" fmla="*/ 3614881 w 12117871"/>
                <a:gd name="connsiteY2056" fmla="*/ 3510985 h 6072780"/>
                <a:gd name="connsiteX2057" fmla="*/ 3575611 w 12117871"/>
                <a:gd name="connsiteY2057" fmla="*/ 3597499 h 6072780"/>
                <a:gd name="connsiteX2058" fmla="*/ 3614130 w 12117871"/>
                <a:gd name="connsiteY2058" fmla="*/ 3678445 h 6072780"/>
                <a:gd name="connsiteX2059" fmla="*/ 3652044 w 12117871"/>
                <a:gd name="connsiteY2059" fmla="*/ 3596144 h 6072780"/>
                <a:gd name="connsiteX2060" fmla="*/ 3614881 w 12117871"/>
                <a:gd name="connsiteY2060" fmla="*/ 3510985 h 6072780"/>
                <a:gd name="connsiteX2061" fmla="*/ 10438235 w 12117871"/>
                <a:gd name="connsiteY2061" fmla="*/ 3487024 h 6072780"/>
                <a:gd name="connsiteX2062" fmla="*/ 10453141 w 12117871"/>
                <a:gd name="connsiteY2062" fmla="*/ 3487024 h 6072780"/>
                <a:gd name="connsiteX2063" fmla="*/ 10453141 w 12117871"/>
                <a:gd name="connsiteY2063" fmla="*/ 3710004 h 6072780"/>
                <a:gd name="connsiteX2064" fmla="*/ 10417853 w 12117871"/>
                <a:gd name="connsiteY2064" fmla="*/ 3710004 h 6072780"/>
                <a:gd name="connsiteX2065" fmla="*/ 10417853 w 12117871"/>
                <a:gd name="connsiteY2065" fmla="*/ 3530220 h 6072780"/>
                <a:gd name="connsiteX2066" fmla="*/ 10397244 w 12117871"/>
                <a:gd name="connsiteY2066" fmla="*/ 3541856 h 6072780"/>
                <a:gd name="connsiteX2067" fmla="*/ 10372071 w 12117871"/>
                <a:gd name="connsiteY2067" fmla="*/ 3550298 h 6072780"/>
                <a:gd name="connsiteX2068" fmla="*/ 10372071 w 12117871"/>
                <a:gd name="connsiteY2068" fmla="*/ 3520182 h 6072780"/>
                <a:gd name="connsiteX2069" fmla="*/ 10389106 w 12117871"/>
                <a:gd name="connsiteY2069" fmla="*/ 3514098 h 6072780"/>
                <a:gd name="connsiteX2070" fmla="*/ 10405305 w 12117871"/>
                <a:gd name="connsiteY2070" fmla="*/ 3506949 h 6072780"/>
                <a:gd name="connsiteX2071" fmla="*/ 10421428 w 12117871"/>
                <a:gd name="connsiteY2071" fmla="*/ 3498127 h 6072780"/>
                <a:gd name="connsiteX2072" fmla="*/ 10438235 w 12117871"/>
                <a:gd name="connsiteY2072" fmla="*/ 3487024 h 6072780"/>
                <a:gd name="connsiteX2073" fmla="*/ 12062430 w 12117871"/>
                <a:gd name="connsiteY2073" fmla="*/ 3487023 h 6072780"/>
                <a:gd name="connsiteX2074" fmla="*/ 12077336 w 12117871"/>
                <a:gd name="connsiteY2074" fmla="*/ 3487023 h 6072780"/>
                <a:gd name="connsiteX2075" fmla="*/ 12077336 w 12117871"/>
                <a:gd name="connsiteY2075" fmla="*/ 3710003 h 6072780"/>
                <a:gd name="connsiteX2076" fmla="*/ 12042048 w 12117871"/>
                <a:gd name="connsiteY2076" fmla="*/ 3710003 h 6072780"/>
                <a:gd name="connsiteX2077" fmla="*/ 12042048 w 12117871"/>
                <a:gd name="connsiteY2077" fmla="*/ 3530219 h 6072780"/>
                <a:gd name="connsiteX2078" fmla="*/ 12021439 w 12117871"/>
                <a:gd name="connsiteY2078" fmla="*/ 3541855 h 6072780"/>
                <a:gd name="connsiteX2079" fmla="*/ 11996266 w 12117871"/>
                <a:gd name="connsiteY2079" fmla="*/ 3550297 h 6072780"/>
                <a:gd name="connsiteX2080" fmla="*/ 11996266 w 12117871"/>
                <a:gd name="connsiteY2080" fmla="*/ 3520181 h 6072780"/>
                <a:gd name="connsiteX2081" fmla="*/ 12013301 w 12117871"/>
                <a:gd name="connsiteY2081" fmla="*/ 3514097 h 6072780"/>
                <a:gd name="connsiteX2082" fmla="*/ 12029500 w 12117871"/>
                <a:gd name="connsiteY2082" fmla="*/ 3506948 h 6072780"/>
                <a:gd name="connsiteX2083" fmla="*/ 12045623 w 12117871"/>
                <a:gd name="connsiteY2083" fmla="*/ 3498126 h 6072780"/>
                <a:gd name="connsiteX2084" fmla="*/ 12062430 w 12117871"/>
                <a:gd name="connsiteY2084" fmla="*/ 3487023 h 6072780"/>
                <a:gd name="connsiteX2085" fmla="*/ 10143427 w 12117871"/>
                <a:gd name="connsiteY2085" fmla="*/ 3487023 h 6072780"/>
                <a:gd name="connsiteX2086" fmla="*/ 10158333 w 12117871"/>
                <a:gd name="connsiteY2086" fmla="*/ 3487023 h 6072780"/>
                <a:gd name="connsiteX2087" fmla="*/ 10158333 w 12117871"/>
                <a:gd name="connsiteY2087" fmla="*/ 3710003 h 6072780"/>
                <a:gd name="connsiteX2088" fmla="*/ 10123045 w 12117871"/>
                <a:gd name="connsiteY2088" fmla="*/ 3710003 h 6072780"/>
                <a:gd name="connsiteX2089" fmla="*/ 10123045 w 12117871"/>
                <a:gd name="connsiteY2089" fmla="*/ 3530219 h 6072780"/>
                <a:gd name="connsiteX2090" fmla="*/ 10102436 w 12117871"/>
                <a:gd name="connsiteY2090" fmla="*/ 3541855 h 6072780"/>
                <a:gd name="connsiteX2091" fmla="*/ 10077263 w 12117871"/>
                <a:gd name="connsiteY2091" fmla="*/ 3550297 h 6072780"/>
                <a:gd name="connsiteX2092" fmla="*/ 10077263 w 12117871"/>
                <a:gd name="connsiteY2092" fmla="*/ 3520181 h 6072780"/>
                <a:gd name="connsiteX2093" fmla="*/ 10094298 w 12117871"/>
                <a:gd name="connsiteY2093" fmla="*/ 3514097 h 6072780"/>
                <a:gd name="connsiteX2094" fmla="*/ 10110497 w 12117871"/>
                <a:gd name="connsiteY2094" fmla="*/ 3506948 h 6072780"/>
                <a:gd name="connsiteX2095" fmla="*/ 10126620 w 12117871"/>
                <a:gd name="connsiteY2095" fmla="*/ 3498126 h 6072780"/>
                <a:gd name="connsiteX2096" fmla="*/ 10143427 w 12117871"/>
                <a:gd name="connsiteY2096" fmla="*/ 3487023 h 6072780"/>
                <a:gd name="connsiteX2097" fmla="*/ 9557012 w 12117871"/>
                <a:gd name="connsiteY2097" fmla="*/ 3487023 h 6072780"/>
                <a:gd name="connsiteX2098" fmla="*/ 9571918 w 12117871"/>
                <a:gd name="connsiteY2098" fmla="*/ 3487023 h 6072780"/>
                <a:gd name="connsiteX2099" fmla="*/ 9571918 w 12117871"/>
                <a:gd name="connsiteY2099" fmla="*/ 3710003 h 6072780"/>
                <a:gd name="connsiteX2100" fmla="*/ 9536630 w 12117871"/>
                <a:gd name="connsiteY2100" fmla="*/ 3710003 h 6072780"/>
                <a:gd name="connsiteX2101" fmla="*/ 9536630 w 12117871"/>
                <a:gd name="connsiteY2101" fmla="*/ 3530219 h 6072780"/>
                <a:gd name="connsiteX2102" fmla="*/ 9516021 w 12117871"/>
                <a:gd name="connsiteY2102" fmla="*/ 3541855 h 6072780"/>
                <a:gd name="connsiteX2103" fmla="*/ 9490848 w 12117871"/>
                <a:gd name="connsiteY2103" fmla="*/ 3550297 h 6072780"/>
                <a:gd name="connsiteX2104" fmla="*/ 9490848 w 12117871"/>
                <a:gd name="connsiteY2104" fmla="*/ 3520181 h 6072780"/>
                <a:gd name="connsiteX2105" fmla="*/ 9507883 w 12117871"/>
                <a:gd name="connsiteY2105" fmla="*/ 3514097 h 6072780"/>
                <a:gd name="connsiteX2106" fmla="*/ 9524082 w 12117871"/>
                <a:gd name="connsiteY2106" fmla="*/ 3506948 h 6072780"/>
                <a:gd name="connsiteX2107" fmla="*/ 9540205 w 12117871"/>
                <a:gd name="connsiteY2107" fmla="*/ 3498126 h 6072780"/>
                <a:gd name="connsiteX2108" fmla="*/ 9557012 w 12117871"/>
                <a:gd name="connsiteY2108" fmla="*/ 3487023 h 6072780"/>
                <a:gd name="connsiteX2109" fmla="*/ 9254256 w 12117871"/>
                <a:gd name="connsiteY2109" fmla="*/ 3487023 h 6072780"/>
                <a:gd name="connsiteX2110" fmla="*/ 9269162 w 12117871"/>
                <a:gd name="connsiteY2110" fmla="*/ 3487023 h 6072780"/>
                <a:gd name="connsiteX2111" fmla="*/ 9269162 w 12117871"/>
                <a:gd name="connsiteY2111" fmla="*/ 3710003 h 6072780"/>
                <a:gd name="connsiteX2112" fmla="*/ 9233874 w 12117871"/>
                <a:gd name="connsiteY2112" fmla="*/ 3710003 h 6072780"/>
                <a:gd name="connsiteX2113" fmla="*/ 9233874 w 12117871"/>
                <a:gd name="connsiteY2113" fmla="*/ 3530219 h 6072780"/>
                <a:gd name="connsiteX2114" fmla="*/ 9213265 w 12117871"/>
                <a:gd name="connsiteY2114" fmla="*/ 3541855 h 6072780"/>
                <a:gd name="connsiteX2115" fmla="*/ 9188092 w 12117871"/>
                <a:gd name="connsiteY2115" fmla="*/ 3550297 h 6072780"/>
                <a:gd name="connsiteX2116" fmla="*/ 9188092 w 12117871"/>
                <a:gd name="connsiteY2116" fmla="*/ 3520181 h 6072780"/>
                <a:gd name="connsiteX2117" fmla="*/ 9205127 w 12117871"/>
                <a:gd name="connsiteY2117" fmla="*/ 3514097 h 6072780"/>
                <a:gd name="connsiteX2118" fmla="*/ 9221326 w 12117871"/>
                <a:gd name="connsiteY2118" fmla="*/ 3506948 h 6072780"/>
                <a:gd name="connsiteX2119" fmla="*/ 9237449 w 12117871"/>
                <a:gd name="connsiteY2119" fmla="*/ 3498126 h 6072780"/>
                <a:gd name="connsiteX2120" fmla="*/ 9254256 w 12117871"/>
                <a:gd name="connsiteY2120" fmla="*/ 3487023 h 6072780"/>
                <a:gd name="connsiteX2121" fmla="*/ 8744915 w 12117871"/>
                <a:gd name="connsiteY2121" fmla="*/ 3487023 h 6072780"/>
                <a:gd name="connsiteX2122" fmla="*/ 8759821 w 12117871"/>
                <a:gd name="connsiteY2122" fmla="*/ 3487023 h 6072780"/>
                <a:gd name="connsiteX2123" fmla="*/ 8759821 w 12117871"/>
                <a:gd name="connsiteY2123" fmla="*/ 3710003 h 6072780"/>
                <a:gd name="connsiteX2124" fmla="*/ 8724533 w 12117871"/>
                <a:gd name="connsiteY2124" fmla="*/ 3710003 h 6072780"/>
                <a:gd name="connsiteX2125" fmla="*/ 8724533 w 12117871"/>
                <a:gd name="connsiteY2125" fmla="*/ 3530219 h 6072780"/>
                <a:gd name="connsiteX2126" fmla="*/ 8703924 w 12117871"/>
                <a:gd name="connsiteY2126" fmla="*/ 3541855 h 6072780"/>
                <a:gd name="connsiteX2127" fmla="*/ 8678751 w 12117871"/>
                <a:gd name="connsiteY2127" fmla="*/ 3550297 h 6072780"/>
                <a:gd name="connsiteX2128" fmla="*/ 8678751 w 12117871"/>
                <a:gd name="connsiteY2128" fmla="*/ 3520181 h 6072780"/>
                <a:gd name="connsiteX2129" fmla="*/ 8695786 w 12117871"/>
                <a:gd name="connsiteY2129" fmla="*/ 3514097 h 6072780"/>
                <a:gd name="connsiteX2130" fmla="*/ 8711985 w 12117871"/>
                <a:gd name="connsiteY2130" fmla="*/ 3506948 h 6072780"/>
                <a:gd name="connsiteX2131" fmla="*/ 8728108 w 12117871"/>
                <a:gd name="connsiteY2131" fmla="*/ 3498126 h 6072780"/>
                <a:gd name="connsiteX2132" fmla="*/ 8744915 w 12117871"/>
                <a:gd name="connsiteY2132" fmla="*/ 3487023 h 6072780"/>
                <a:gd name="connsiteX2133" fmla="*/ 7851748 w 12117871"/>
                <a:gd name="connsiteY2133" fmla="*/ 3487023 h 6072780"/>
                <a:gd name="connsiteX2134" fmla="*/ 7866654 w 12117871"/>
                <a:gd name="connsiteY2134" fmla="*/ 3487023 h 6072780"/>
                <a:gd name="connsiteX2135" fmla="*/ 7866654 w 12117871"/>
                <a:gd name="connsiteY2135" fmla="*/ 3710003 h 6072780"/>
                <a:gd name="connsiteX2136" fmla="*/ 7831366 w 12117871"/>
                <a:gd name="connsiteY2136" fmla="*/ 3710003 h 6072780"/>
                <a:gd name="connsiteX2137" fmla="*/ 7831366 w 12117871"/>
                <a:gd name="connsiteY2137" fmla="*/ 3530219 h 6072780"/>
                <a:gd name="connsiteX2138" fmla="*/ 7810757 w 12117871"/>
                <a:gd name="connsiteY2138" fmla="*/ 3541855 h 6072780"/>
                <a:gd name="connsiteX2139" fmla="*/ 7785584 w 12117871"/>
                <a:gd name="connsiteY2139" fmla="*/ 3550297 h 6072780"/>
                <a:gd name="connsiteX2140" fmla="*/ 7785584 w 12117871"/>
                <a:gd name="connsiteY2140" fmla="*/ 3520181 h 6072780"/>
                <a:gd name="connsiteX2141" fmla="*/ 7802619 w 12117871"/>
                <a:gd name="connsiteY2141" fmla="*/ 3514097 h 6072780"/>
                <a:gd name="connsiteX2142" fmla="*/ 7818818 w 12117871"/>
                <a:gd name="connsiteY2142" fmla="*/ 3506948 h 6072780"/>
                <a:gd name="connsiteX2143" fmla="*/ 7834941 w 12117871"/>
                <a:gd name="connsiteY2143" fmla="*/ 3498126 h 6072780"/>
                <a:gd name="connsiteX2144" fmla="*/ 7851748 w 12117871"/>
                <a:gd name="connsiteY2144" fmla="*/ 3487023 h 6072780"/>
                <a:gd name="connsiteX2145" fmla="*/ 7413731 w 12117871"/>
                <a:gd name="connsiteY2145" fmla="*/ 3487023 h 6072780"/>
                <a:gd name="connsiteX2146" fmla="*/ 7428637 w 12117871"/>
                <a:gd name="connsiteY2146" fmla="*/ 3487023 h 6072780"/>
                <a:gd name="connsiteX2147" fmla="*/ 7428637 w 12117871"/>
                <a:gd name="connsiteY2147" fmla="*/ 3710003 h 6072780"/>
                <a:gd name="connsiteX2148" fmla="*/ 7393349 w 12117871"/>
                <a:gd name="connsiteY2148" fmla="*/ 3710003 h 6072780"/>
                <a:gd name="connsiteX2149" fmla="*/ 7393349 w 12117871"/>
                <a:gd name="connsiteY2149" fmla="*/ 3530219 h 6072780"/>
                <a:gd name="connsiteX2150" fmla="*/ 7372740 w 12117871"/>
                <a:gd name="connsiteY2150" fmla="*/ 3541855 h 6072780"/>
                <a:gd name="connsiteX2151" fmla="*/ 7347567 w 12117871"/>
                <a:gd name="connsiteY2151" fmla="*/ 3550297 h 6072780"/>
                <a:gd name="connsiteX2152" fmla="*/ 7347567 w 12117871"/>
                <a:gd name="connsiteY2152" fmla="*/ 3520181 h 6072780"/>
                <a:gd name="connsiteX2153" fmla="*/ 7364602 w 12117871"/>
                <a:gd name="connsiteY2153" fmla="*/ 3514097 h 6072780"/>
                <a:gd name="connsiteX2154" fmla="*/ 7380801 w 12117871"/>
                <a:gd name="connsiteY2154" fmla="*/ 3506948 h 6072780"/>
                <a:gd name="connsiteX2155" fmla="*/ 7396924 w 12117871"/>
                <a:gd name="connsiteY2155" fmla="*/ 3498126 h 6072780"/>
                <a:gd name="connsiteX2156" fmla="*/ 7413731 w 12117871"/>
                <a:gd name="connsiteY2156" fmla="*/ 3487023 h 6072780"/>
                <a:gd name="connsiteX2157" fmla="*/ 7015147 w 12117871"/>
                <a:gd name="connsiteY2157" fmla="*/ 3487023 h 6072780"/>
                <a:gd name="connsiteX2158" fmla="*/ 7030053 w 12117871"/>
                <a:gd name="connsiteY2158" fmla="*/ 3487023 h 6072780"/>
                <a:gd name="connsiteX2159" fmla="*/ 7030053 w 12117871"/>
                <a:gd name="connsiteY2159" fmla="*/ 3710003 h 6072780"/>
                <a:gd name="connsiteX2160" fmla="*/ 6994765 w 12117871"/>
                <a:gd name="connsiteY2160" fmla="*/ 3710003 h 6072780"/>
                <a:gd name="connsiteX2161" fmla="*/ 6994765 w 12117871"/>
                <a:gd name="connsiteY2161" fmla="*/ 3530219 h 6072780"/>
                <a:gd name="connsiteX2162" fmla="*/ 6974156 w 12117871"/>
                <a:gd name="connsiteY2162" fmla="*/ 3541855 h 6072780"/>
                <a:gd name="connsiteX2163" fmla="*/ 6948983 w 12117871"/>
                <a:gd name="connsiteY2163" fmla="*/ 3550297 h 6072780"/>
                <a:gd name="connsiteX2164" fmla="*/ 6948983 w 12117871"/>
                <a:gd name="connsiteY2164" fmla="*/ 3520181 h 6072780"/>
                <a:gd name="connsiteX2165" fmla="*/ 6966018 w 12117871"/>
                <a:gd name="connsiteY2165" fmla="*/ 3514097 h 6072780"/>
                <a:gd name="connsiteX2166" fmla="*/ 6982217 w 12117871"/>
                <a:gd name="connsiteY2166" fmla="*/ 3506948 h 6072780"/>
                <a:gd name="connsiteX2167" fmla="*/ 6998340 w 12117871"/>
                <a:gd name="connsiteY2167" fmla="*/ 3498126 h 6072780"/>
                <a:gd name="connsiteX2168" fmla="*/ 7015147 w 12117871"/>
                <a:gd name="connsiteY2168" fmla="*/ 3487023 h 6072780"/>
                <a:gd name="connsiteX2169" fmla="*/ 6727931 w 12117871"/>
                <a:gd name="connsiteY2169" fmla="*/ 3487023 h 6072780"/>
                <a:gd name="connsiteX2170" fmla="*/ 6742837 w 12117871"/>
                <a:gd name="connsiteY2170" fmla="*/ 3487023 h 6072780"/>
                <a:gd name="connsiteX2171" fmla="*/ 6742837 w 12117871"/>
                <a:gd name="connsiteY2171" fmla="*/ 3710003 h 6072780"/>
                <a:gd name="connsiteX2172" fmla="*/ 6707549 w 12117871"/>
                <a:gd name="connsiteY2172" fmla="*/ 3710003 h 6072780"/>
                <a:gd name="connsiteX2173" fmla="*/ 6707549 w 12117871"/>
                <a:gd name="connsiteY2173" fmla="*/ 3530219 h 6072780"/>
                <a:gd name="connsiteX2174" fmla="*/ 6686940 w 12117871"/>
                <a:gd name="connsiteY2174" fmla="*/ 3541855 h 6072780"/>
                <a:gd name="connsiteX2175" fmla="*/ 6661767 w 12117871"/>
                <a:gd name="connsiteY2175" fmla="*/ 3550297 h 6072780"/>
                <a:gd name="connsiteX2176" fmla="*/ 6661767 w 12117871"/>
                <a:gd name="connsiteY2176" fmla="*/ 3520181 h 6072780"/>
                <a:gd name="connsiteX2177" fmla="*/ 6678802 w 12117871"/>
                <a:gd name="connsiteY2177" fmla="*/ 3514097 h 6072780"/>
                <a:gd name="connsiteX2178" fmla="*/ 6695001 w 12117871"/>
                <a:gd name="connsiteY2178" fmla="*/ 3506948 h 6072780"/>
                <a:gd name="connsiteX2179" fmla="*/ 6711124 w 12117871"/>
                <a:gd name="connsiteY2179" fmla="*/ 3498126 h 6072780"/>
                <a:gd name="connsiteX2180" fmla="*/ 6727931 w 12117871"/>
                <a:gd name="connsiteY2180" fmla="*/ 3487023 h 6072780"/>
                <a:gd name="connsiteX2181" fmla="*/ 6584323 w 12117871"/>
                <a:gd name="connsiteY2181" fmla="*/ 3487023 h 6072780"/>
                <a:gd name="connsiteX2182" fmla="*/ 6599229 w 12117871"/>
                <a:gd name="connsiteY2182" fmla="*/ 3487023 h 6072780"/>
                <a:gd name="connsiteX2183" fmla="*/ 6599229 w 12117871"/>
                <a:gd name="connsiteY2183" fmla="*/ 3710003 h 6072780"/>
                <a:gd name="connsiteX2184" fmla="*/ 6563941 w 12117871"/>
                <a:gd name="connsiteY2184" fmla="*/ 3710003 h 6072780"/>
                <a:gd name="connsiteX2185" fmla="*/ 6563941 w 12117871"/>
                <a:gd name="connsiteY2185" fmla="*/ 3530219 h 6072780"/>
                <a:gd name="connsiteX2186" fmla="*/ 6543332 w 12117871"/>
                <a:gd name="connsiteY2186" fmla="*/ 3541855 h 6072780"/>
                <a:gd name="connsiteX2187" fmla="*/ 6518159 w 12117871"/>
                <a:gd name="connsiteY2187" fmla="*/ 3550297 h 6072780"/>
                <a:gd name="connsiteX2188" fmla="*/ 6518159 w 12117871"/>
                <a:gd name="connsiteY2188" fmla="*/ 3520181 h 6072780"/>
                <a:gd name="connsiteX2189" fmla="*/ 6535194 w 12117871"/>
                <a:gd name="connsiteY2189" fmla="*/ 3514097 h 6072780"/>
                <a:gd name="connsiteX2190" fmla="*/ 6551393 w 12117871"/>
                <a:gd name="connsiteY2190" fmla="*/ 3506948 h 6072780"/>
                <a:gd name="connsiteX2191" fmla="*/ 6567516 w 12117871"/>
                <a:gd name="connsiteY2191" fmla="*/ 3498126 h 6072780"/>
                <a:gd name="connsiteX2192" fmla="*/ 6584323 w 12117871"/>
                <a:gd name="connsiteY2192" fmla="*/ 3487023 h 6072780"/>
                <a:gd name="connsiteX2193" fmla="*/ 5975659 w 12117871"/>
                <a:gd name="connsiteY2193" fmla="*/ 3487023 h 6072780"/>
                <a:gd name="connsiteX2194" fmla="*/ 5990568 w 12117871"/>
                <a:gd name="connsiteY2194" fmla="*/ 3487023 h 6072780"/>
                <a:gd name="connsiteX2195" fmla="*/ 5990568 w 12117871"/>
                <a:gd name="connsiteY2195" fmla="*/ 3710003 h 6072780"/>
                <a:gd name="connsiteX2196" fmla="*/ 5955278 w 12117871"/>
                <a:gd name="connsiteY2196" fmla="*/ 3710003 h 6072780"/>
                <a:gd name="connsiteX2197" fmla="*/ 5955278 w 12117871"/>
                <a:gd name="connsiteY2197" fmla="*/ 3530219 h 6072780"/>
                <a:gd name="connsiteX2198" fmla="*/ 5934669 w 12117871"/>
                <a:gd name="connsiteY2198" fmla="*/ 3541855 h 6072780"/>
                <a:gd name="connsiteX2199" fmla="*/ 5909498 w 12117871"/>
                <a:gd name="connsiteY2199" fmla="*/ 3550297 h 6072780"/>
                <a:gd name="connsiteX2200" fmla="*/ 5909498 w 12117871"/>
                <a:gd name="connsiteY2200" fmla="*/ 3520181 h 6072780"/>
                <a:gd name="connsiteX2201" fmla="*/ 5926531 w 12117871"/>
                <a:gd name="connsiteY2201" fmla="*/ 3514097 h 6072780"/>
                <a:gd name="connsiteX2202" fmla="*/ 5942730 w 12117871"/>
                <a:gd name="connsiteY2202" fmla="*/ 3506948 h 6072780"/>
                <a:gd name="connsiteX2203" fmla="*/ 5958852 w 12117871"/>
                <a:gd name="connsiteY2203" fmla="*/ 3498126 h 6072780"/>
                <a:gd name="connsiteX2204" fmla="*/ 5975659 w 12117871"/>
                <a:gd name="connsiteY2204" fmla="*/ 3487023 h 6072780"/>
                <a:gd name="connsiteX2205" fmla="*/ 4694968 w 12117871"/>
                <a:gd name="connsiteY2205" fmla="*/ 3487023 h 6072780"/>
                <a:gd name="connsiteX2206" fmla="*/ 4709876 w 12117871"/>
                <a:gd name="connsiteY2206" fmla="*/ 3487023 h 6072780"/>
                <a:gd name="connsiteX2207" fmla="*/ 4709876 w 12117871"/>
                <a:gd name="connsiteY2207" fmla="*/ 3710003 h 6072780"/>
                <a:gd name="connsiteX2208" fmla="*/ 4674589 w 12117871"/>
                <a:gd name="connsiteY2208" fmla="*/ 3710003 h 6072780"/>
                <a:gd name="connsiteX2209" fmla="*/ 4674589 w 12117871"/>
                <a:gd name="connsiteY2209" fmla="*/ 3530219 h 6072780"/>
                <a:gd name="connsiteX2210" fmla="*/ 4653978 w 12117871"/>
                <a:gd name="connsiteY2210" fmla="*/ 3541855 h 6072780"/>
                <a:gd name="connsiteX2211" fmla="*/ 4628805 w 12117871"/>
                <a:gd name="connsiteY2211" fmla="*/ 3550297 h 6072780"/>
                <a:gd name="connsiteX2212" fmla="*/ 4628805 w 12117871"/>
                <a:gd name="connsiteY2212" fmla="*/ 3520181 h 6072780"/>
                <a:gd name="connsiteX2213" fmla="*/ 4645841 w 12117871"/>
                <a:gd name="connsiteY2213" fmla="*/ 3514097 h 6072780"/>
                <a:gd name="connsiteX2214" fmla="*/ 4662040 w 12117871"/>
                <a:gd name="connsiteY2214" fmla="*/ 3506948 h 6072780"/>
                <a:gd name="connsiteX2215" fmla="*/ 4678162 w 12117871"/>
                <a:gd name="connsiteY2215" fmla="*/ 3498126 h 6072780"/>
                <a:gd name="connsiteX2216" fmla="*/ 4694968 w 12117871"/>
                <a:gd name="connsiteY2216" fmla="*/ 3487023 h 6072780"/>
                <a:gd name="connsiteX2217" fmla="*/ 4345906 w 12117871"/>
                <a:gd name="connsiteY2217" fmla="*/ 3487023 h 6072780"/>
                <a:gd name="connsiteX2218" fmla="*/ 4360813 w 12117871"/>
                <a:gd name="connsiteY2218" fmla="*/ 3487023 h 6072780"/>
                <a:gd name="connsiteX2219" fmla="*/ 4360813 w 12117871"/>
                <a:gd name="connsiteY2219" fmla="*/ 3710003 h 6072780"/>
                <a:gd name="connsiteX2220" fmla="*/ 4325525 w 12117871"/>
                <a:gd name="connsiteY2220" fmla="*/ 3710003 h 6072780"/>
                <a:gd name="connsiteX2221" fmla="*/ 4325525 w 12117871"/>
                <a:gd name="connsiteY2221" fmla="*/ 3530219 h 6072780"/>
                <a:gd name="connsiteX2222" fmla="*/ 4304915 w 12117871"/>
                <a:gd name="connsiteY2222" fmla="*/ 3541855 h 6072780"/>
                <a:gd name="connsiteX2223" fmla="*/ 4279743 w 12117871"/>
                <a:gd name="connsiteY2223" fmla="*/ 3550297 h 6072780"/>
                <a:gd name="connsiteX2224" fmla="*/ 4279743 w 12117871"/>
                <a:gd name="connsiteY2224" fmla="*/ 3520181 h 6072780"/>
                <a:gd name="connsiteX2225" fmla="*/ 4296778 w 12117871"/>
                <a:gd name="connsiteY2225" fmla="*/ 3514097 h 6072780"/>
                <a:gd name="connsiteX2226" fmla="*/ 4312977 w 12117871"/>
                <a:gd name="connsiteY2226" fmla="*/ 3506948 h 6072780"/>
                <a:gd name="connsiteX2227" fmla="*/ 4329099 w 12117871"/>
                <a:gd name="connsiteY2227" fmla="*/ 3498126 h 6072780"/>
                <a:gd name="connsiteX2228" fmla="*/ 4345906 w 12117871"/>
                <a:gd name="connsiteY2228" fmla="*/ 3487023 h 6072780"/>
                <a:gd name="connsiteX2229" fmla="*/ 3454863 w 12117871"/>
                <a:gd name="connsiteY2229" fmla="*/ 3487023 h 6072780"/>
                <a:gd name="connsiteX2230" fmla="*/ 3469768 w 12117871"/>
                <a:gd name="connsiteY2230" fmla="*/ 3487023 h 6072780"/>
                <a:gd name="connsiteX2231" fmla="*/ 3469768 w 12117871"/>
                <a:gd name="connsiteY2231" fmla="*/ 3710003 h 6072780"/>
                <a:gd name="connsiteX2232" fmla="*/ 3434481 w 12117871"/>
                <a:gd name="connsiteY2232" fmla="*/ 3710003 h 6072780"/>
                <a:gd name="connsiteX2233" fmla="*/ 3434481 w 12117871"/>
                <a:gd name="connsiteY2233" fmla="*/ 3530219 h 6072780"/>
                <a:gd name="connsiteX2234" fmla="*/ 3413872 w 12117871"/>
                <a:gd name="connsiteY2234" fmla="*/ 3541855 h 6072780"/>
                <a:gd name="connsiteX2235" fmla="*/ 3388698 w 12117871"/>
                <a:gd name="connsiteY2235" fmla="*/ 3550297 h 6072780"/>
                <a:gd name="connsiteX2236" fmla="*/ 3388698 w 12117871"/>
                <a:gd name="connsiteY2236" fmla="*/ 3520181 h 6072780"/>
                <a:gd name="connsiteX2237" fmla="*/ 3405734 w 12117871"/>
                <a:gd name="connsiteY2237" fmla="*/ 3514097 h 6072780"/>
                <a:gd name="connsiteX2238" fmla="*/ 3421933 w 12117871"/>
                <a:gd name="connsiteY2238" fmla="*/ 3506948 h 6072780"/>
                <a:gd name="connsiteX2239" fmla="*/ 3438054 w 12117871"/>
                <a:gd name="connsiteY2239" fmla="*/ 3498126 h 6072780"/>
                <a:gd name="connsiteX2240" fmla="*/ 3454863 w 12117871"/>
                <a:gd name="connsiteY2240" fmla="*/ 3487023 h 6072780"/>
                <a:gd name="connsiteX2241" fmla="*/ 3158682 w 12117871"/>
                <a:gd name="connsiteY2241" fmla="*/ 3487023 h 6072780"/>
                <a:gd name="connsiteX2242" fmla="*/ 3173587 w 12117871"/>
                <a:gd name="connsiteY2242" fmla="*/ 3487023 h 6072780"/>
                <a:gd name="connsiteX2243" fmla="*/ 3173587 w 12117871"/>
                <a:gd name="connsiteY2243" fmla="*/ 3710003 h 6072780"/>
                <a:gd name="connsiteX2244" fmla="*/ 3138299 w 12117871"/>
                <a:gd name="connsiteY2244" fmla="*/ 3710003 h 6072780"/>
                <a:gd name="connsiteX2245" fmla="*/ 3138299 w 12117871"/>
                <a:gd name="connsiteY2245" fmla="*/ 3530219 h 6072780"/>
                <a:gd name="connsiteX2246" fmla="*/ 3117690 w 12117871"/>
                <a:gd name="connsiteY2246" fmla="*/ 3541855 h 6072780"/>
                <a:gd name="connsiteX2247" fmla="*/ 3092517 w 12117871"/>
                <a:gd name="connsiteY2247" fmla="*/ 3550297 h 6072780"/>
                <a:gd name="connsiteX2248" fmla="*/ 3092517 w 12117871"/>
                <a:gd name="connsiteY2248" fmla="*/ 3520181 h 6072780"/>
                <a:gd name="connsiteX2249" fmla="*/ 3109553 w 12117871"/>
                <a:gd name="connsiteY2249" fmla="*/ 3514097 h 6072780"/>
                <a:gd name="connsiteX2250" fmla="*/ 3125751 w 12117871"/>
                <a:gd name="connsiteY2250" fmla="*/ 3506948 h 6072780"/>
                <a:gd name="connsiteX2251" fmla="*/ 3141875 w 12117871"/>
                <a:gd name="connsiteY2251" fmla="*/ 3498126 h 6072780"/>
                <a:gd name="connsiteX2252" fmla="*/ 3158682 w 12117871"/>
                <a:gd name="connsiteY2252" fmla="*/ 3487023 h 6072780"/>
                <a:gd name="connsiteX2253" fmla="*/ 2783382 w 12117871"/>
                <a:gd name="connsiteY2253" fmla="*/ 3487023 h 6072780"/>
                <a:gd name="connsiteX2254" fmla="*/ 2798288 w 12117871"/>
                <a:gd name="connsiteY2254" fmla="*/ 3487023 h 6072780"/>
                <a:gd name="connsiteX2255" fmla="*/ 2798288 w 12117871"/>
                <a:gd name="connsiteY2255" fmla="*/ 3710003 h 6072780"/>
                <a:gd name="connsiteX2256" fmla="*/ 2763000 w 12117871"/>
                <a:gd name="connsiteY2256" fmla="*/ 3710003 h 6072780"/>
                <a:gd name="connsiteX2257" fmla="*/ 2763000 w 12117871"/>
                <a:gd name="connsiteY2257" fmla="*/ 3530219 h 6072780"/>
                <a:gd name="connsiteX2258" fmla="*/ 2742391 w 12117871"/>
                <a:gd name="connsiteY2258" fmla="*/ 3541855 h 6072780"/>
                <a:gd name="connsiteX2259" fmla="*/ 2717219 w 12117871"/>
                <a:gd name="connsiteY2259" fmla="*/ 3550297 h 6072780"/>
                <a:gd name="connsiteX2260" fmla="*/ 2717219 w 12117871"/>
                <a:gd name="connsiteY2260" fmla="*/ 3520181 h 6072780"/>
                <a:gd name="connsiteX2261" fmla="*/ 2734253 w 12117871"/>
                <a:gd name="connsiteY2261" fmla="*/ 3514097 h 6072780"/>
                <a:gd name="connsiteX2262" fmla="*/ 2750453 w 12117871"/>
                <a:gd name="connsiteY2262" fmla="*/ 3506948 h 6072780"/>
                <a:gd name="connsiteX2263" fmla="*/ 2766576 w 12117871"/>
                <a:gd name="connsiteY2263" fmla="*/ 3498126 h 6072780"/>
                <a:gd name="connsiteX2264" fmla="*/ 2783382 w 12117871"/>
                <a:gd name="connsiteY2264" fmla="*/ 3487023 h 6072780"/>
                <a:gd name="connsiteX2265" fmla="*/ 2489154 w 12117871"/>
                <a:gd name="connsiteY2265" fmla="*/ 3487023 h 6072780"/>
                <a:gd name="connsiteX2266" fmla="*/ 2504060 w 12117871"/>
                <a:gd name="connsiteY2266" fmla="*/ 3487023 h 6072780"/>
                <a:gd name="connsiteX2267" fmla="*/ 2504060 w 12117871"/>
                <a:gd name="connsiteY2267" fmla="*/ 3710003 h 6072780"/>
                <a:gd name="connsiteX2268" fmla="*/ 2468772 w 12117871"/>
                <a:gd name="connsiteY2268" fmla="*/ 3710003 h 6072780"/>
                <a:gd name="connsiteX2269" fmla="*/ 2468772 w 12117871"/>
                <a:gd name="connsiteY2269" fmla="*/ 3530219 h 6072780"/>
                <a:gd name="connsiteX2270" fmla="*/ 2448163 w 12117871"/>
                <a:gd name="connsiteY2270" fmla="*/ 3541855 h 6072780"/>
                <a:gd name="connsiteX2271" fmla="*/ 2422990 w 12117871"/>
                <a:gd name="connsiteY2271" fmla="*/ 3550297 h 6072780"/>
                <a:gd name="connsiteX2272" fmla="*/ 2422990 w 12117871"/>
                <a:gd name="connsiteY2272" fmla="*/ 3520181 h 6072780"/>
                <a:gd name="connsiteX2273" fmla="*/ 2440025 w 12117871"/>
                <a:gd name="connsiteY2273" fmla="*/ 3514097 h 6072780"/>
                <a:gd name="connsiteX2274" fmla="*/ 2456224 w 12117871"/>
                <a:gd name="connsiteY2274" fmla="*/ 3506948 h 6072780"/>
                <a:gd name="connsiteX2275" fmla="*/ 2472346 w 12117871"/>
                <a:gd name="connsiteY2275" fmla="*/ 3498126 h 6072780"/>
                <a:gd name="connsiteX2276" fmla="*/ 2489154 w 12117871"/>
                <a:gd name="connsiteY2276" fmla="*/ 3487023 h 6072780"/>
                <a:gd name="connsiteX2277" fmla="*/ 1599916 w 12117871"/>
                <a:gd name="connsiteY2277" fmla="*/ 3487023 h 6072780"/>
                <a:gd name="connsiteX2278" fmla="*/ 1614822 w 12117871"/>
                <a:gd name="connsiteY2278" fmla="*/ 3487023 h 6072780"/>
                <a:gd name="connsiteX2279" fmla="*/ 1614822 w 12117871"/>
                <a:gd name="connsiteY2279" fmla="*/ 3710003 h 6072780"/>
                <a:gd name="connsiteX2280" fmla="*/ 1579534 w 12117871"/>
                <a:gd name="connsiteY2280" fmla="*/ 3710003 h 6072780"/>
                <a:gd name="connsiteX2281" fmla="*/ 1579534 w 12117871"/>
                <a:gd name="connsiteY2281" fmla="*/ 3530219 h 6072780"/>
                <a:gd name="connsiteX2282" fmla="*/ 1558925 w 12117871"/>
                <a:gd name="connsiteY2282" fmla="*/ 3541855 h 6072780"/>
                <a:gd name="connsiteX2283" fmla="*/ 1533752 w 12117871"/>
                <a:gd name="connsiteY2283" fmla="*/ 3550297 h 6072780"/>
                <a:gd name="connsiteX2284" fmla="*/ 1533752 w 12117871"/>
                <a:gd name="connsiteY2284" fmla="*/ 3520181 h 6072780"/>
                <a:gd name="connsiteX2285" fmla="*/ 1550787 w 12117871"/>
                <a:gd name="connsiteY2285" fmla="*/ 3514097 h 6072780"/>
                <a:gd name="connsiteX2286" fmla="*/ 1566986 w 12117871"/>
                <a:gd name="connsiteY2286" fmla="*/ 3506948 h 6072780"/>
                <a:gd name="connsiteX2287" fmla="*/ 1583109 w 12117871"/>
                <a:gd name="connsiteY2287" fmla="*/ 3498126 h 6072780"/>
                <a:gd name="connsiteX2288" fmla="*/ 1599916 w 12117871"/>
                <a:gd name="connsiteY2288" fmla="*/ 3487023 h 6072780"/>
                <a:gd name="connsiteX2289" fmla="*/ 1302202 w 12117871"/>
                <a:gd name="connsiteY2289" fmla="*/ 3487023 h 6072780"/>
                <a:gd name="connsiteX2290" fmla="*/ 1317108 w 12117871"/>
                <a:gd name="connsiteY2290" fmla="*/ 3487023 h 6072780"/>
                <a:gd name="connsiteX2291" fmla="*/ 1317108 w 12117871"/>
                <a:gd name="connsiteY2291" fmla="*/ 3710003 h 6072780"/>
                <a:gd name="connsiteX2292" fmla="*/ 1281820 w 12117871"/>
                <a:gd name="connsiteY2292" fmla="*/ 3710003 h 6072780"/>
                <a:gd name="connsiteX2293" fmla="*/ 1281820 w 12117871"/>
                <a:gd name="connsiteY2293" fmla="*/ 3530219 h 6072780"/>
                <a:gd name="connsiteX2294" fmla="*/ 1261211 w 12117871"/>
                <a:gd name="connsiteY2294" fmla="*/ 3541855 h 6072780"/>
                <a:gd name="connsiteX2295" fmla="*/ 1236038 w 12117871"/>
                <a:gd name="connsiteY2295" fmla="*/ 3550297 h 6072780"/>
                <a:gd name="connsiteX2296" fmla="*/ 1236038 w 12117871"/>
                <a:gd name="connsiteY2296" fmla="*/ 3520181 h 6072780"/>
                <a:gd name="connsiteX2297" fmla="*/ 1253073 w 12117871"/>
                <a:gd name="connsiteY2297" fmla="*/ 3514097 h 6072780"/>
                <a:gd name="connsiteX2298" fmla="*/ 1269272 w 12117871"/>
                <a:gd name="connsiteY2298" fmla="*/ 3506948 h 6072780"/>
                <a:gd name="connsiteX2299" fmla="*/ 1285395 w 12117871"/>
                <a:gd name="connsiteY2299" fmla="*/ 3498126 h 6072780"/>
                <a:gd name="connsiteX2300" fmla="*/ 1302202 w 12117871"/>
                <a:gd name="connsiteY2300" fmla="*/ 3487023 h 6072780"/>
                <a:gd name="connsiteX2301" fmla="*/ 927321 w 12117871"/>
                <a:gd name="connsiteY2301" fmla="*/ 3487023 h 6072780"/>
                <a:gd name="connsiteX2302" fmla="*/ 942227 w 12117871"/>
                <a:gd name="connsiteY2302" fmla="*/ 3487023 h 6072780"/>
                <a:gd name="connsiteX2303" fmla="*/ 942227 w 12117871"/>
                <a:gd name="connsiteY2303" fmla="*/ 3710003 h 6072780"/>
                <a:gd name="connsiteX2304" fmla="*/ 906939 w 12117871"/>
                <a:gd name="connsiteY2304" fmla="*/ 3710003 h 6072780"/>
                <a:gd name="connsiteX2305" fmla="*/ 906939 w 12117871"/>
                <a:gd name="connsiteY2305" fmla="*/ 3530219 h 6072780"/>
                <a:gd name="connsiteX2306" fmla="*/ 886330 w 12117871"/>
                <a:gd name="connsiteY2306" fmla="*/ 3541855 h 6072780"/>
                <a:gd name="connsiteX2307" fmla="*/ 861157 w 12117871"/>
                <a:gd name="connsiteY2307" fmla="*/ 3550297 h 6072780"/>
                <a:gd name="connsiteX2308" fmla="*/ 861157 w 12117871"/>
                <a:gd name="connsiteY2308" fmla="*/ 3520181 h 6072780"/>
                <a:gd name="connsiteX2309" fmla="*/ 878192 w 12117871"/>
                <a:gd name="connsiteY2309" fmla="*/ 3514097 h 6072780"/>
                <a:gd name="connsiteX2310" fmla="*/ 894391 w 12117871"/>
                <a:gd name="connsiteY2310" fmla="*/ 3506948 h 6072780"/>
                <a:gd name="connsiteX2311" fmla="*/ 910514 w 12117871"/>
                <a:gd name="connsiteY2311" fmla="*/ 3498126 h 6072780"/>
                <a:gd name="connsiteX2312" fmla="*/ 927321 w 12117871"/>
                <a:gd name="connsiteY2312" fmla="*/ 3487023 h 6072780"/>
                <a:gd name="connsiteX2313" fmla="*/ 778464 w 12117871"/>
                <a:gd name="connsiteY2313" fmla="*/ 3487023 h 6072780"/>
                <a:gd name="connsiteX2314" fmla="*/ 793370 w 12117871"/>
                <a:gd name="connsiteY2314" fmla="*/ 3487023 h 6072780"/>
                <a:gd name="connsiteX2315" fmla="*/ 793370 w 12117871"/>
                <a:gd name="connsiteY2315" fmla="*/ 3710003 h 6072780"/>
                <a:gd name="connsiteX2316" fmla="*/ 758082 w 12117871"/>
                <a:gd name="connsiteY2316" fmla="*/ 3710003 h 6072780"/>
                <a:gd name="connsiteX2317" fmla="*/ 758082 w 12117871"/>
                <a:gd name="connsiteY2317" fmla="*/ 3530219 h 6072780"/>
                <a:gd name="connsiteX2318" fmla="*/ 737473 w 12117871"/>
                <a:gd name="connsiteY2318" fmla="*/ 3541855 h 6072780"/>
                <a:gd name="connsiteX2319" fmla="*/ 712300 w 12117871"/>
                <a:gd name="connsiteY2319" fmla="*/ 3550297 h 6072780"/>
                <a:gd name="connsiteX2320" fmla="*/ 712300 w 12117871"/>
                <a:gd name="connsiteY2320" fmla="*/ 3520181 h 6072780"/>
                <a:gd name="connsiteX2321" fmla="*/ 729335 w 12117871"/>
                <a:gd name="connsiteY2321" fmla="*/ 3514097 h 6072780"/>
                <a:gd name="connsiteX2322" fmla="*/ 745535 w 12117871"/>
                <a:gd name="connsiteY2322" fmla="*/ 3506948 h 6072780"/>
                <a:gd name="connsiteX2323" fmla="*/ 761657 w 12117871"/>
                <a:gd name="connsiteY2323" fmla="*/ 3498126 h 6072780"/>
                <a:gd name="connsiteX2324" fmla="*/ 778464 w 12117871"/>
                <a:gd name="connsiteY2324" fmla="*/ 3487023 h 6072780"/>
                <a:gd name="connsiteX2325" fmla="*/ 629607 w 12117871"/>
                <a:gd name="connsiteY2325" fmla="*/ 3487023 h 6072780"/>
                <a:gd name="connsiteX2326" fmla="*/ 644513 w 12117871"/>
                <a:gd name="connsiteY2326" fmla="*/ 3487023 h 6072780"/>
                <a:gd name="connsiteX2327" fmla="*/ 644513 w 12117871"/>
                <a:gd name="connsiteY2327" fmla="*/ 3710003 h 6072780"/>
                <a:gd name="connsiteX2328" fmla="*/ 609225 w 12117871"/>
                <a:gd name="connsiteY2328" fmla="*/ 3710003 h 6072780"/>
                <a:gd name="connsiteX2329" fmla="*/ 609225 w 12117871"/>
                <a:gd name="connsiteY2329" fmla="*/ 3530219 h 6072780"/>
                <a:gd name="connsiteX2330" fmla="*/ 588616 w 12117871"/>
                <a:gd name="connsiteY2330" fmla="*/ 3541855 h 6072780"/>
                <a:gd name="connsiteX2331" fmla="*/ 563443 w 12117871"/>
                <a:gd name="connsiteY2331" fmla="*/ 3550297 h 6072780"/>
                <a:gd name="connsiteX2332" fmla="*/ 563443 w 12117871"/>
                <a:gd name="connsiteY2332" fmla="*/ 3520181 h 6072780"/>
                <a:gd name="connsiteX2333" fmla="*/ 580478 w 12117871"/>
                <a:gd name="connsiteY2333" fmla="*/ 3514097 h 6072780"/>
                <a:gd name="connsiteX2334" fmla="*/ 596677 w 12117871"/>
                <a:gd name="connsiteY2334" fmla="*/ 3506948 h 6072780"/>
                <a:gd name="connsiteX2335" fmla="*/ 612800 w 12117871"/>
                <a:gd name="connsiteY2335" fmla="*/ 3498126 h 6072780"/>
                <a:gd name="connsiteX2336" fmla="*/ 629607 w 12117871"/>
                <a:gd name="connsiteY2336" fmla="*/ 3487023 h 6072780"/>
                <a:gd name="connsiteX2337" fmla="*/ 480750 w 12117871"/>
                <a:gd name="connsiteY2337" fmla="*/ 3487023 h 6072780"/>
                <a:gd name="connsiteX2338" fmla="*/ 495656 w 12117871"/>
                <a:gd name="connsiteY2338" fmla="*/ 3487023 h 6072780"/>
                <a:gd name="connsiteX2339" fmla="*/ 495656 w 12117871"/>
                <a:gd name="connsiteY2339" fmla="*/ 3710003 h 6072780"/>
                <a:gd name="connsiteX2340" fmla="*/ 460368 w 12117871"/>
                <a:gd name="connsiteY2340" fmla="*/ 3710003 h 6072780"/>
                <a:gd name="connsiteX2341" fmla="*/ 460368 w 12117871"/>
                <a:gd name="connsiteY2341" fmla="*/ 3530219 h 6072780"/>
                <a:gd name="connsiteX2342" fmla="*/ 439759 w 12117871"/>
                <a:gd name="connsiteY2342" fmla="*/ 3541855 h 6072780"/>
                <a:gd name="connsiteX2343" fmla="*/ 414586 w 12117871"/>
                <a:gd name="connsiteY2343" fmla="*/ 3550297 h 6072780"/>
                <a:gd name="connsiteX2344" fmla="*/ 414586 w 12117871"/>
                <a:gd name="connsiteY2344" fmla="*/ 3520181 h 6072780"/>
                <a:gd name="connsiteX2345" fmla="*/ 431621 w 12117871"/>
                <a:gd name="connsiteY2345" fmla="*/ 3514097 h 6072780"/>
                <a:gd name="connsiteX2346" fmla="*/ 447821 w 12117871"/>
                <a:gd name="connsiteY2346" fmla="*/ 3506948 h 6072780"/>
                <a:gd name="connsiteX2347" fmla="*/ 463943 w 12117871"/>
                <a:gd name="connsiteY2347" fmla="*/ 3498126 h 6072780"/>
                <a:gd name="connsiteX2348" fmla="*/ 480750 w 12117871"/>
                <a:gd name="connsiteY2348" fmla="*/ 3487023 h 6072780"/>
                <a:gd name="connsiteX2349" fmla="*/ 11875949 w 12117871"/>
                <a:gd name="connsiteY2349" fmla="*/ 3483150 h 6072780"/>
                <a:gd name="connsiteX2350" fmla="*/ 11947116 w 12117871"/>
                <a:gd name="connsiteY2350" fmla="*/ 3593737 h 6072780"/>
                <a:gd name="connsiteX2351" fmla="*/ 11927030 w 12117871"/>
                <a:gd name="connsiteY2351" fmla="*/ 3677317 h 6072780"/>
                <a:gd name="connsiteX2352" fmla="*/ 11870833 w 12117871"/>
                <a:gd name="connsiteY2352" fmla="*/ 3706130 h 6072780"/>
                <a:gd name="connsiteX2353" fmla="*/ 11818248 w 12117871"/>
                <a:gd name="connsiteY2353" fmla="*/ 3678596 h 6072780"/>
                <a:gd name="connsiteX2354" fmla="*/ 11799365 w 12117871"/>
                <a:gd name="connsiteY2354" fmla="*/ 3599003 h 6072780"/>
                <a:gd name="connsiteX2355" fmla="*/ 11819075 w 12117871"/>
                <a:gd name="connsiteY2355" fmla="*/ 3512489 h 6072780"/>
                <a:gd name="connsiteX2356" fmla="*/ 11875949 w 12117871"/>
                <a:gd name="connsiteY2356" fmla="*/ 3483150 h 6072780"/>
                <a:gd name="connsiteX2357" fmla="*/ 11190803 w 12117871"/>
                <a:gd name="connsiteY2357" fmla="*/ 3483150 h 6072780"/>
                <a:gd name="connsiteX2358" fmla="*/ 11261970 w 12117871"/>
                <a:gd name="connsiteY2358" fmla="*/ 3593737 h 6072780"/>
                <a:gd name="connsiteX2359" fmla="*/ 11241884 w 12117871"/>
                <a:gd name="connsiteY2359" fmla="*/ 3677317 h 6072780"/>
                <a:gd name="connsiteX2360" fmla="*/ 11185687 w 12117871"/>
                <a:gd name="connsiteY2360" fmla="*/ 3706130 h 6072780"/>
                <a:gd name="connsiteX2361" fmla="*/ 11133102 w 12117871"/>
                <a:gd name="connsiteY2361" fmla="*/ 3678596 h 6072780"/>
                <a:gd name="connsiteX2362" fmla="*/ 11114219 w 12117871"/>
                <a:gd name="connsiteY2362" fmla="*/ 3599003 h 6072780"/>
                <a:gd name="connsiteX2363" fmla="*/ 11133929 w 12117871"/>
                <a:gd name="connsiteY2363" fmla="*/ 3512489 h 6072780"/>
                <a:gd name="connsiteX2364" fmla="*/ 11190803 w 12117871"/>
                <a:gd name="connsiteY2364" fmla="*/ 3483150 h 6072780"/>
                <a:gd name="connsiteX2365" fmla="*/ 9937869 w 12117871"/>
                <a:gd name="connsiteY2365" fmla="*/ 3483150 h 6072780"/>
                <a:gd name="connsiteX2366" fmla="*/ 10009036 w 12117871"/>
                <a:gd name="connsiteY2366" fmla="*/ 3593737 h 6072780"/>
                <a:gd name="connsiteX2367" fmla="*/ 9988950 w 12117871"/>
                <a:gd name="connsiteY2367" fmla="*/ 3677317 h 6072780"/>
                <a:gd name="connsiteX2368" fmla="*/ 9932753 w 12117871"/>
                <a:gd name="connsiteY2368" fmla="*/ 3706130 h 6072780"/>
                <a:gd name="connsiteX2369" fmla="*/ 9880168 w 12117871"/>
                <a:gd name="connsiteY2369" fmla="*/ 3678596 h 6072780"/>
                <a:gd name="connsiteX2370" fmla="*/ 9861285 w 12117871"/>
                <a:gd name="connsiteY2370" fmla="*/ 3599003 h 6072780"/>
                <a:gd name="connsiteX2371" fmla="*/ 9880995 w 12117871"/>
                <a:gd name="connsiteY2371" fmla="*/ 3512489 h 6072780"/>
                <a:gd name="connsiteX2372" fmla="*/ 9937869 w 12117871"/>
                <a:gd name="connsiteY2372" fmla="*/ 3483150 h 6072780"/>
                <a:gd name="connsiteX2373" fmla="*/ 9715358 w 12117871"/>
                <a:gd name="connsiteY2373" fmla="*/ 3483150 h 6072780"/>
                <a:gd name="connsiteX2374" fmla="*/ 9786525 w 12117871"/>
                <a:gd name="connsiteY2374" fmla="*/ 3593737 h 6072780"/>
                <a:gd name="connsiteX2375" fmla="*/ 9766439 w 12117871"/>
                <a:gd name="connsiteY2375" fmla="*/ 3677317 h 6072780"/>
                <a:gd name="connsiteX2376" fmla="*/ 9710242 w 12117871"/>
                <a:gd name="connsiteY2376" fmla="*/ 3706130 h 6072780"/>
                <a:gd name="connsiteX2377" fmla="*/ 9657657 w 12117871"/>
                <a:gd name="connsiteY2377" fmla="*/ 3678596 h 6072780"/>
                <a:gd name="connsiteX2378" fmla="*/ 9638774 w 12117871"/>
                <a:gd name="connsiteY2378" fmla="*/ 3599003 h 6072780"/>
                <a:gd name="connsiteX2379" fmla="*/ 9658484 w 12117871"/>
                <a:gd name="connsiteY2379" fmla="*/ 3512489 h 6072780"/>
                <a:gd name="connsiteX2380" fmla="*/ 9715358 w 12117871"/>
                <a:gd name="connsiteY2380" fmla="*/ 3483150 h 6072780"/>
                <a:gd name="connsiteX2381" fmla="*/ 6373956 w 12117871"/>
                <a:gd name="connsiteY2381" fmla="*/ 3483150 h 6072780"/>
                <a:gd name="connsiteX2382" fmla="*/ 6445123 w 12117871"/>
                <a:gd name="connsiteY2382" fmla="*/ 3593737 h 6072780"/>
                <a:gd name="connsiteX2383" fmla="*/ 6425037 w 12117871"/>
                <a:gd name="connsiteY2383" fmla="*/ 3677317 h 6072780"/>
                <a:gd name="connsiteX2384" fmla="*/ 6368840 w 12117871"/>
                <a:gd name="connsiteY2384" fmla="*/ 3706130 h 6072780"/>
                <a:gd name="connsiteX2385" fmla="*/ 6316255 w 12117871"/>
                <a:gd name="connsiteY2385" fmla="*/ 3678596 h 6072780"/>
                <a:gd name="connsiteX2386" fmla="*/ 6297372 w 12117871"/>
                <a:gd name="connsiteY2386" fmla="*/ 3599003 h 6072780"/>
                <a:gd name="connsiteX2387" fmla="*/ 6317082 w 12117871"/>
                <a:gd name="connsiteY2387" fmla="*/ 3512489 h 6072780"/>
                <a:gd name="connsiteX2388" fmla="*/ 6373956 w 12117871"/>
                <a:gd name="connsiteY2388" fmla="*/ 3483150 h 6072780"/>
                <a:gd name="connsiteX2389" fmla="*/ 5786272 w 12117871"/>
                <a:gd name="connsiteY2389" fmla="*/ 3483150 h 6072780"/>
                <a:gd name="connsiteX2390" fmla="*/ 5857440 w 12117871"/>
                <a:gd name="connsiteY2390" fmla="*/ 3593737 h 6072780"/>
                <a:gd name="connsiteX2391" fmla="*/ 5837355 w 12117871"/>
                <a:gd name="connsiteY2391" fmla="*/ 3677317 h 6072780"/>
                <a:gd name="connsiteX2392" fmla="*/ 5781158 w 12117871"/>
                <a:gd name="connsiteY2392" fmla="*/ 3706130 h 6072780"/>
                <a:gd name="connsiteX2393" fmla="*/ 5728572 w 12117871"/>
                <a:gd name="connsiteY2393" fmla="*/ 3678596 h 6072780"/>
                <a:gd name="connsiteX2394" fmla="*/ 5709690 w 12117871"/>
                <a:gd name="connsiteY2394" fmla="*/ 3599003 h 6072780"/>
                <a:gd name="connsiteX2395" fmla="*/ 5729400 w 12117871"/>
                <a:gd name="connsiteY2395" fmla="*/ 3512489 h 6072780"/>
                <a:gd name="connsiteX2396" fmla="*/ 5786272 w 12117871"/>
                <a:gd name="connsiteY2396" fmla="*/ 3483150 h 6072780"/>
                <a:gd name="connsiteX2397" fmla="*/ 5093284 w 12117871"/>
                <a:gd name="connsiteY2397" fmla="*/ 3483150 h 6072780"/>
                <a:gd name="connsiteX2398" fmla="*/ 5164451 w 12117871"/>
                <a:gd name="connsiteY2398" fmla="*/ 3593737 h 6072780"/>
                <a:gd name="connsiteX2399" fmla="*/ 5144364 w 12117871"/>
                <a:gd name="connsiteY2399" fmla="*/ 3677317 h 6072780"/>
                <a:gd name="connsiteX2400" fmla="*/ 5088168 w 12117871"/>
                <a:gd name="connsiteY2400" fmla="*/ 3706130 h 6072780"/>
                <a:gd name="connsiteX2401" fmla="*/ 5035583 w 12117871"/>
                <a:gd name="connsiteY2401" fmla="*/ 3678596 h 6072780"/>
                <a:gd name="connsiteX2402" fmla="*/ 5016700 w 12117871"/>
                <a:gd name="connsiteY2402" fmla="*/ 3599003 h 6072780"/>
                <a:gd name="connsiteX2403" fmla="*/ 5036410 w 12117871"/>
                <a:gd name="connsiteY2403" fmla="*/ 3512489 h 6072780"/>
                <a:gd name="connsiteX2404" fmla="*/ 5093284 w 12117871"/>
                <a:gd name="connsiteY2404" fmla="*/ 3483150 h 6072780"/>
                <a:gd name="connsiteX2405" fmla="*/ 3839047 w 12117871"/>
                <a:gd name="connsiteY2405" fmla="*/ 3483150 h 6072780"/>
                <a:gd name="connsiteX2406" fmla="*/ 3910214 w 12117871"/>
                <a:gd name="connsiteY2406" fmla="*/ 3593737 h 6072780"/>
                <a:gd name="connsiteX2407" fmla="*/ 3890128 w 12117871"/>
                <a:gd name="connsiteY2407" fmla="*/ 3677317 h 6072780"/>
                <a:gd name="connsiteX2408" fmla="*/ 3833931 w 12117871"/>
                <a:gd name="connsiteY2408" fmla="*/ 3706130 h 6072780"/>
                <a:gd name="connsiteX2409" fmla="*/ 3781346 w 12117871"/>
                <a:gd name="connsiteY2409" fmla="*/ 3678596 h 6072780"/>
                <a:gd name="connsiteX2410" fmla="*/ 3762464 w 12117871"/>
                <a:gd name="connsiteY2410" fmla="*/ 3599003 h 6072780"/>
                <a:gd name="connsiteX2411" fmla="*/ 3782173 w 12117871"/>
                <a:gd name="connsiteY2411" fmla="*/ 3512489 h 6072780"/>
                <a:gd name="connsiteX2412" fmla="*/ 3839047 w 12117871"/>
                <a:gd name="connsiteY2412" fmla="*/ 3483150 h 6072780"/>
                <a:gd name="connsiteX2413" fmla="*/ 3616537 w 12117871"/>
                <a:gd name="connsiteY2413" fmla="*/ 3483150 h 6072780"/>
                <a:gd name="connsiteX2414" fmla="*/ 3687703 w 12117871"/>
                <a:gd name="connsiteY2414" fmla="*/ 3593737 h 6072780"/>
                <a:gd name="connsiteX2415" fmla="*/ 3667617 w 12117871"/>
                <a:gd name="connsiteY2415" fmla="*/ 3677317 h 6072780"/>
                <a:gd name="connsiteX2416" fmla="*/ 3611420 w 12117871"/>
                <a:gd name="connsiteY2416" fmla="*/ 3706130 h 6072780"/>
                <a:gd name="connsiteX2417" fmla="*/ 3558835 w 12117871"/>
                <a:gd name="connsiteY2417" fmla="*/ 3678596 h 6072780"/>
                <a:gd name="connsiteX2418" fmla="*/ 3539952 w 12117871"/>
                <a:gd name="connsiteY2418" fmla="*/ 3599003 h 6072780"/>
                <a:gd name="connsiteX2419" fmla="*/ 3559662 w 12117871"/>
                <a:gd name="connsiteY2419" fmla="*/ 3512489 h 6072780"/>
                <a:gd name="connsiteX2420" fmla="*/ 3616537 w 12117871"/>
                <a:gd name="connsiteY2420" fmla="*/ 3483150 h 6072780"/>
                <a:gd name="connsiteX2421" fmla="*/ 11868817 w 12117871"/>
                <a:gd name="connsiteY2421" fmla="*/ 3137996 h 6072780"/>
                <a:gd name="connsiteX2422" fmla="*/ 11829547 w 12117871"/>
                <a:gd name="connsiteY2422" fmla="*/ 3224510 h 6072780"/>
                <a:gd name="connsiteX2423" fmla="*/ 11868065 w 12117871"/>
                <a:gd name="connsiteY2423" fmla="*/ 3305457 h 6072780"/>
                <a:gd name="connsiteX2424" fmla="*/ 11905980 w 12117871"/>
                <a:gd name="connsiteY2424" fmla="*/ 3223156 h 6072780"/>
                <a:gd name="connsiteX2425" fmla="*/ 11868817 w 12117871"/>
                <a:gd name="connsiteY2425" fmla="*/ 3137996 h 6072780"/>
                <a:gd name="connsiteX2426" fmla="*/ 11181652 w 12117871"/>
                <a:gd name="connsiteY2426" fmla="*/ 3137996 h 6072780"/>
                <a:gd name="connsiteX2427" fmla="*/ 11142382 w 12117871"/>
                <a:gd name="connsiteY2427" fmla="*/ 3224510 h 6072780"/>
                <a:gd name="connsiteX2428" fmla="*/ 11180900 w 12117871"/>
                <a:gd name="connsiteY2428" fmla="*/ 3305457 h 6072780"/>
                <a:gd name="connsiteX2429" fmla="*/ 11218815 w 12117871"/>
                <a:gd name="connsiteY2429" fmla="*/ 3223156 h 6072780"/>
                <a:gd name="connsiteX2430" fmla="*/ 11181652 w 12117871"/>
                <a:gd name="connsiteY2430" fmla="*/ 3137996 h 6072780"/>
                <a:gd name="connsiteX2431" fmla="*/ 9924166 w 12117871"/>
                <a:gd name="connsiteY2431" fmla="*/ 3137996 h 6072780"/>
                <a:gd name="connsiteX2432" fmla="*/ 9884896 w 12117871"/>
                <a:gd name="connsiteY2432" fmla="*/ 3224510 h 6072780"/>
                <a:gd name="connsiteX2433" fmla="*/ 9923414 w 12117871"/>
                <a:gd name="connsiteY2433" fmla="*/ 3305457 h 6072780"/>
                <a:gd name="connsiteX2434" fmla="*/ 9961329 w 12117871"/>
                <a:gd name="connsiteY2434" fmla="*/ 3223156 h 6072780"/>
                <a:gd name="connsiteX2435" fmla="*/ 9924166 w 12117871"/>
                <a:gd name="connsiteY2435" fmla="*/ 3137996 h 6072780"/>
                <a:gd name="connsiteX2436" fmla="*/ 9707272 w 12117871"/>
                <a:gd name="connsiteY2436" fmla="*/ 3137996 h 6072780"/>
                <a:gd name="connsiteX2437" fmla="*/ 9668002 w 12117871"/>
                <a:gd name="connsiteY2437" fmla="*/ 3224510 h 6072780"/>
                <a:gd name="connsiteX2438" fmla="*/ 9706520 w 12117871"/>
                <a:gd name="connsiteY2438" fmla="*/ 3305457 h 6072780"/>
                <a:gd name="connsiteX2439" fmla="*/ 9744435 w 12117871"/>
                <a:gd name="connsiteY2439" fmla="*/ 3223156 h 6072780"/>
                <a:gd name="connsiteX2440" fmla="*/ 9707272 w 12117871"/>
                <a:gd name="connsiteY2440" fmla="*/ 3137996 h 6072780"/>
                <a:gd name="connsiteX2441" fmla="*/ 6330265 w 12117871"/>
                <a:gd name="connsiteY2441" fmla="*/ 3137996 h 6072780"/>
                <a:gd name="connsiteX2442" fmla="*/ 6290995 w 12117871"/>
                <a:gd name="connsiteY2442" fmla="*/ 3224510 h 6072780"/>
                <a:gd name="connsiteX2443" fmla="*/ 6329513 w 12117871"/>
                <a:gd name="connsiteY2443" fmla="*/ 3305457 h 6072780"/>
                <a:gd name="connsiteX2444" fmla="*/ 6367428 w 12117871"/>
                <a:gd name="connsiteY2444" fmla="*/ 3223156 h 6072780"/>
                <a:gd name="connsiteX2445" fmla="*/ 6330265 w 12117871"/>
                <a:gd name="connsiteY2445" fmla="*/ 3137996 h 6072780"/>
                <a:gd name="connsiteX2446" fmla="*/ 6148770 w 12117871"/>
                <a:gd name="connsiteY2446" fmla="*/ 3137996 h 6072780"/>
                <a:gd name="connsiteX2447" fmla="*/ 6109500 w 12117871"/>
                <a:gd name="connsiteY2447" fmla="*/ 3224510 h 6072780"/>
                <a:gd name="connsiteX2448" fmla="*/ 6148018 w 12117871"/>
                <a:gd name="connsiteY2448" fmla="*/ 3305457 h 6072780"/>
                <a:gd name="connsiteX2449" fmla="*/ 6185933 w 12117871"/>
                <a:gd name="connsiteY2449" fmla="*/ 3223156 h 6072780"/>
                <a:gd name="connsiteX2450" fmla="*/ 6148770 w 12117871"/>
                <a:gd name="connsiteY2450" fmla="*/ 3137996 h 6072780"/>
                <a:gd name="connsiteX2451" fmla="*/ 5817313 w 12117871"/>
                <a:gd name="connsiteY2451" fmla="*/ 3137996 h 6072780"/>
                <a:gd name="connsiteX2452" fmla="*/ 5778043 w 12117871"/>
                <a:gd name="connsiteY2452" fmla="*/ 3224510 h 6072780"/>
                <a:gd name="connsiteX2453" fmla="*/ 5816561 w 12117871"/>
                <a:gd name="connsiteY2453" fmla="*/ 3305457 h 6072780"/>
                <a:gd name="connsiteX2454" fmla="*/ 5854477 w 12117871"/>
                <a:gd name="connsiteY2454" fmla="*/ 3223156 h 6072780"/>
                <a:gd name="connsiteX2455" fmla="*/ 5817313 w 12117871"/>
                <a:gd name="connsiteY2455" fmla="*/ 3137996 h 6072780"/>
                <a:gd name="connsiteX2456" fmla="*/ 5117746 w 12117871"/>
                <a:gd name="connsiteY2456" fmla="*/ 3137996 h 6072780"/>
                <a:gd name="connsiteX2457" fmla="*/ 5078476 w 12117871"/>
                <a:gd name="connsiteY2457" fmla="*/ 3224510 h 6072780"/>
                <a:gd name="connsiteX2458" fmla="*/ 5116994 w 12117871"/>
                <a:gd name="connsiteY2458" fmla="*/ 3305457 h 6072780"/>
                <a:gd name="connsiteX2459" fmla="*/ 5154909 w 12117871"/>
                <a:gd name="connsiteY2459" fmla="*/ 3223156 h 6072780"/>
                <a:gd name="connsiteX2460" fmla="*/ 5117746 w 12117871"/>
                <a:gd name="connsiteY2460" fmla="*/ 3137996 h 6072780"/>
                <a:gd name="connsiteX2461" fmla="*/ 3857235 w 12117871"/>
                <a:gd name="connsiteY2461" fmla="*/ 3137996 h 6072780"/>
                <a:gd name="connsiteX2462" fmla="*/ 3817965 w 12117871"/>
                <a:gd name="connsiteY2462" fmla="*/ 3224510 h 6072780"/>
                <a:gd name="connsiteX2463" fmla="*/ 3856483 w 12117871"/>
                <a:gd name="connsiteY2463" fmla="*/ 3305457 h 6072780"/>
                <a:gd name="connsiteX2464" fmla="*/ 3894397 w 12117871"/>
                <a:gd name="connsiteY2464" fmla="*/ 3223156 h 6072780"/>
                <a:gd name="connsiteX2465" fmla="*/ 3857235 w 12117871"/>
                <a:gd name="connsiteY2465" fmla="*/ 3137996 h 6072780"/>
                <a:gd name="connsiteX2466" fmla="*/ 3640341 w 12117871"/>
                <a:gd name="connsiteY2466" fmla="*/ 3137996 h 6072780"/>
                <a:gd name="connsiteX2467" fmla="*/ 3601072 w 12117871"/>
                <a:gd name="connsiteY2467" fmla="*/ 3224510 h 6072780"/>
                <a:gd name="connsiteX2468" fmla="*/ 3639589 w 12117871"/>
                <a:gd name="connsiteY2468" fmla="*/ 3305457 h 6072780"/>
                <a:gd name="connsiteX2469" fmla="*/ 3677504 w 12117871"/>
                <a:gd name="connsiteY2469" fmla="*/ 3223156 h 6072780"/>
                <a:gd name="connsiteX2470" fmla="*/ 3640341 w 12117871"/>
                <a:gd name="connsiteY2470" fmla="*/ 3137996 h 6072780"/>
                <a:gd name="connsiteX2471" fmla="*/ 273451 w 12117871"/>
                <a:gd name="connsiteY2471" fmla="*/ 3137996 h 6072780"/>
                <a:gd name="connsiteX2472" fmla="*/ 234181 w 12117871"/>
                <a:gd name="connsiteY2472" fmla="*/ 3224510 h 6072780"/>
                <a:gd name="connsiteX2473" fmla="*/ 272699 w 12117871"/>
                <a:gd name="connsiteY2473" fmla="*/ 3305457 h 6072780"/>
                <a:gd name="connsiteX2474" fmla="*/ 310614 w 12117871"/>
                <a:gd name="connsiteY2474" fmla="*/ 3223156 h 6072780"/>
                <a:gd name="connsiteX2475" fmla="*/ 273451 w 12117871"/>
                <a:gd name="connsiteY2475" fmla="*/ 3137996 h 6072780"/>
                <a:gd name="connsiteX2476" fmla="*/ 74929 w 12117871"/>
                <a:gd name="connsiteY2476" fmla="*/ 3137996 h 6072780"/>
                <a:gd name="connsiteX2477" fmla="*/ 35659 w 12117871"/>
                <a:gd name="connsiteY2477" fmla="*/ 3224510 h 6072780"/>
                <a:gd name="connsiteX2478" fmla="*/ 74177 w 12117871"/>
                <a:gd name="connsiteY2478" fmla="*/ 3305457 h 6072780"/>
                <a:gd name="connsiteX2479" fmla="*/ 112092 w 12117871"/>
                <a:gd name="connsiteY2479" fmla="*/ 3223156 h 6072780"/>
                <a:gd name="connsiteX2480" fmla="*/ 74929 w 12117871"/>
                <a:gd name="connsiteY2480" fmla="*/ 3137996 h 6072780"/>
                <a:gd name="connsiteX2481" fmla="*/ 12088449 w 12117871"/>
                <a:gd name="connsiteY2481" fmla="*/ 3110161 h 6072780"/>
                <a:gd name="connsiteX2482" fmla="*/ 12103355 w 12117871"/>
                <a:gd name="connsiteY2482" fmla="*/ 3110161 h 6072780"/>
                <a:gd name="connsiteX2483" fmla="*/ 12103355 w 12117871"/>
                <a:gd name="connsiteY2483" fmla="*/ 3333141 h 6072780"/>
                <a:gd name="connsiteX2484" fmla="*/ 12068067 w 12117871"/>
                <a:gd name="connsiteY2484" fmla="*/ 3333141 h 6072780"/>
                <a:gd name="connsiteX2485" fmla="*/ 12068067 w 12117871"/>
                <a:gd name="connsiteY2485" fmla="*/ 3153358 h 6072780"/>
                <a:gd name="connsiteX2486" fmla="*/ 12047458 w 12117871"/>
                <a:gd name="connsiteY2486" fmla="*/ 3164993 h 6072780"/>
                <a:gd name="connsiteX2487" fmla="*/ 12022285 w 12117871"/>
                <a:gd name="connsiteY2487" fmla="*/ 3173435 h 6072780"/>
                <a:gd name="connsiteX2488" fmla="*/ 12022285 w 12117871"/>
                <a:gd name="connsiteY2488" fmla="*/ 3143319 h 6072780"/>
                <a:gd name="connsiteX2489" fmla="*/ 12039320 w 12117871"/>
                <a:gd name="connsiteY2489" fmla="*/ 3137235 h 6072780"/>
                <a:gd name="connsiteX2490" fmla="*/ 12055519 w 12117871"/>
                <a:gd name="connsiteY2490" fmla="*/ 3130086 h 6072780"/>
                <a:gd name="connsiteX2491" fmla="*/ 12071642 w 12117871"/>
                <a:gd name="connsiteY2491" fmla="*/ 3121265 h 6072780"/>
                <a:gd name="connsiteX2492" fmla="*/ 12088449 w 12117871"/>
                <a:gd name="connsiteY2492" fmla="*/ 3110161 h 6072780"/>
                <a:gd name="connsiteX2493" fmla="*/ 11870472 w 12117871"/>
                <a:gd name="connsiteY2493" fmla="*/ 3110161 h 6072780"/>
                <a:gd name="connsiteX2494" fmla="*/ 11941639 w 12117871"/>
                <a:gd name="connsiteY2494" fmla="*/ 3220749 h 6072780"/>
                <a:gd name="connsiteX2495" fmla="*/ 11921553 w 12117871"/>
                <a:gd name="connsiteY2495" fmla="*/ 3304328 h 6072780"/>
                <a:gd name="connsiteX2496" fmla="*/ 11865356 w 12117871"/>
                <a:gd name="connsiteY2496" fmla="*/ 3333141 h 6072780"/>
                <a:gd name="connsiteX2497" fmla="*/ 11812771 w 12117871"/>
                <a:gd name="connsiteY2497" fmla="*/ 3305607 h 6072780"/>
                <a:gd name="connsiteX2498" fmla="*/ 11793888 w 12117871"/>
                <a:gd name="connsiteY2498" fmla="*/ 3226015 h 6072780"/>
                <a:gd name="connsiteX2499" fmla="*/ 11813598 w 12117871"/>
                <a:gd name="connsiteY2499" fmla="*/ 3139501 h 6072780"/>
                <a:gd name="connsiteX2500" fmla="*/ 11870472 w 12117871"/>
                <a:gd name="connsiteY2500" fmla="*/ 3110161 h 6072780"/>
                <a:gd name="connsiteX2501" fmla="*/ 11183307 w 12117871"/>
                <a:gd name="connsiteY2501" fmla="*/ 3110161 h 6072780"/>
                <a:gd name="connsiteX2502" fmla="*/ 11254474 w 12117871"/>
                <a:gd name="connsiteY2502" fmla="*/ 3220749 h 6072780"/>
                <a:gd name="connsiteX2503" fmla="*/ 11234388 w 12117871"/>
                <a:gd name="connsiteY2503" fmla="*/ 3304328 h 6072780"/>
                <a:gd name="connsiteX2504" fmla="*/ 11178191 w 12117871"/>
                <a:gd name="connsiteY2504" fmla="*/ 3333141 h 6072780"/>
                <a:gd name="connsiteX2505" fmla="*/ 11125606 w 12117871"/>
                <a:gd name="connsiteY2505" fmla="*/ 3305607 h 6072780"/>
                <a:gd name="connsiteX2506" fmla="*/ 11106723 w 12117871"/>
                <a:gd name="connsiteY2506" fmla="*/ 3226015 h 6072780"/>
                <a:gd name="connsiteX2507" fmla="*/ 11126433 w 12117871"/>
                <a:gd name="connsiteY2507" fmla="*/ 3139501 h 6072780"/>
                <a:gd name="connsiteX2508" fmla="*/ 11183307 w 12117871"/>
                <a:gd name="connsiteY2508" fmla="*/ 3110161 h 6072780"/>
                <a:gd name="connsiteX2509" fmla="*/ 10794576 w 12117871"/>
                <a:gd name="connsiteY2509" fmla="*/ 3110161 h 6072780"/>
                <a:gd name="connsiteX2510" fmla="*/ 10809482 w 12117871"/>
                <a:gd name="connsiteY2510" fmla="*/ 3110161 h 6072780"/>
                <a:gd name="connsiteX2511" fmla="*/ 10809482 w 12117871"/>
                <a:gd name="connsiteY2511" fmla="*/ 3333141 h 6072780"/>
                <a:gd name="connsiteX2512" fmla="*/ 10774194 w 12117871"/>
                <a:gd name="connsiteY2512" fmla="*/ 3333141 h 6072780"/>
                <a:gd name="connsiteX2513" fmla="*/ 10774194 w 12117871"/>
                <a:gd name="connsiteY2513" fmla="*/ 3153358 h 6072780"/>
                <a:gd name="connsiteX2514" fmla="*/ 10753585 w 12117871"/>
                <a:gd name="connsiteY2514" fmla="*/ 3164993 h 6072780"/>
                <a:gd name="connsiteX2515" fmla="*/ 10728412 w 12117871"/>
                <a:gd name="connsiteY2515" fmla="*/ 3173435 h 6072780"/>
                <a:gd name="connsiteX2516" fmla="*/ 10728412 w 12117871"/>
                <a:gd name="connsiteY2516" fmla="*/ 3143319 h 6072780"/>
                <a:gd name="connsiteX2517" fmla="*/ 10745447 w 12117871"/>
                <a:gd name="connsiteY2517" fmla="*/ 3137235 h 6072780"/>
                <a:gd name="connsiteX2518" fmla="*/ 10761646 w 12117871"/>
                <a:gd name="connsiteY2518" fmla="*/ 3130086 h 6072780"/>
                <a:gd name="connsiteX2519" fmla="*/ 10777769 w 12117871"/>
                <a:gd name="connsiteY2519" fmla="*/ 3121265 h 6072780"/>
                <a:gd name="connsiteX2520" fmla="*/ 10794576 w 12117871"/>
                <a:gd name="connsiteY2520" fmla="*/ 3110161 h 6072780"/>
                <a:gd name="connsiteX2521" fmla="*/ 10431054 w 12117871"/>
                <a:gd name="connsiteY2521" fmla="*/ 3110161 h 6072780"/>
                <a:gd name="connsiteX2522" fmla="*/ 10445960 w 12117871"/>
                <a:gd name="connsiteY2522" fmla="*/ 3110161 h 6072780"/>
                <a:gd name="connsiteX2523" fmla="*/ 10445960 w 12117871"/>
                <a:gd name="connsiteY2523" fmla="*/ 3333141 h 6072780"/>
                <a:gd name="connsiteX2524" fmla="*/ 10410672 w 12117871"/>
                <a:gd name="connsiteY2524" fmla="*/ 3333141 h 6072780"/>
                <a:gd name="connsiteX2525" fmla="*/ 10410672 w 12117871"/>
                <a:gd name="connsiteY2525" fmla="*/ 3153358 h 6072780"/>
                <a:gd name="connsiteX2526" fmla="*/ 10390063 w 12117871"/>
                <a:gd name="connsiteY2526" fmla="*/ 3164993 h 6072780"/>
                <a:gd name="connsiteX2527" fmla="*/ 10364890 w 12117871"/>
                <a:gd name="connsiteY2527" fmla="*/ 3173435 h 6072780"/>
                <a:gd name="connsiteX2528" fmla="*/ 10364890 w 12117871"/>
                <a:gd name="connsiteY2528" fmla="*/ 3143319 h 6072780"/>
                <a:gd name="connsiteX2529" fmla="*/ 10381925 w 12117871"/>
                <a:gd name="connsiteY2529" fmla="*/ 3137235 h 6072780"/>
                <a:gd name="connsiteX2530" fmla="*/ 10398124 w 12117871"/>
                <a:gd name="connsiteY2530" fmla="*/ 3130086 h 6072780"/>
                <a:gd name="connsiteX2531" fmla="*/ 10414247 w 12117871"/>
                <a:gd name="connsiteY2531" fmla="*/ 3121265 h 6072780"/>
                <a:gd name="connsiteX2532" fmla="*/ 10431054 w 12117871"/>
                <a:gd name="connsiteY2532" fmla="*/ 3110161 h 6072780"/>
                <a:gd name="connsiteX2533" fmla="*/ 10132191 w 12117871"/>
                <a:gd name="connsiteY2533" fmla="*/ 3110161 h 6072780"/>
                <a:gd name="connsiteX2534" fmla="*/ 10147097 w 12117871"/>
                <a:gd name="connsiteY2534" fmla="*/ 3110161 h 6072780"/>
                <a:gd name="connsiteX2535" fmla="*/ 10147097 w 12117871"/>
                <a:gd name="connsiteY2535" fmla="*/ 3333141 h 6072780"/>
                <a:gd name="connsiteX2536" fmla="*/ 10111809 w 12117871"/>
                <a:gd name="connsiteY2536" fmla="*/ 3333141 h 6072780"/>
                <a:gd name="connsiteX2537" fmla="*/ 10111809 w 12117871"/>
                <a:gd name="connsiteY2537" fmla="*/ 3153358 h 6072780"/>
                <a:gd name="connsiteX2538" fmla="*/ 10091200 w 12117871"/>
                <a:gd name="connsiteY2538" fmla="*/ 3164993 h 6072780"/>
                <a:gd name="connsiteX2539" fmla="*/ 10066027 w 12117871"/>
                <a:gd name="connsiteY2539" fmla="*/ 3173435 h 6072780"/>
                <a:gd name="connsiteX2540" fmla="*/ 10066027 w 12117871"/>
                <a:gd name="connsiteY2540" fmla="*/ 3143319 h 6072780"/>
                <a:gd name="connsiteX2541" fmla="*/ 10083062 w 12117871"/>
                <a:gd name="connsiteY2541" fmla="*/ 3137235 h 6072780"/>
                <a:gd name="connsiteX2542" fmla="*/ 10099261 w 12117871"/>
                <a:gd name="connsiteY2542" fmla="*/ 3130086 h 6072780"/>
                <a:gd name="connsiteX2543" fmla="*/ 10115384 w 12117871"/>
                <a:gd name="connsiteY2543" fmla="*/ 3121265 h 6072780"/>
                <a:gd name="connsiteX2544" fmla="*/ 10132191 w 12117871"/>
                <a:gd name="connsiteY2544" fmla="*/ 3110161 h 6072780"/>
                <a:gd name="connsiteX2545" fmla="*/ 9925821 w 12117871"/>
                <a:gd name="connsiteY2545" fmla="*/ 3110161 h 6072780"/>
                <a:gd name="connsiteX2546" fmla="*/ 9996988 w 12117871"/>
                <a:gd name="connsiteY2546" fmla="*/ 3220749 h 6072780"/>
                <a:gd name="connsiteX2547" fmla="*/ 9976902 w 12117871"/>
                <a:gd name="connsiteY2547" fmla="*/ 3304328 h 6072780"/>
                <a:gd name="connsiteX2548" fmla="*/ 9920705 w 12117871"/>
                <a:gd name="connsiteY2548" fmla="*/ 3333141 h 6072780"/>
                <a:gd name="connsiteX2549" fmla="*/ 9868120 w 12117871"/>
                <a:gd name="connsiteY2549" fmla="*/ 3305607 h 6072780"/>
                <a:gd name="connsiteX2550" fmla="*/ 9849237 w 12117871"/>
                <a:gd name="connsiteY2550" fmla="*/ 3226015 h 6072780"/>
                <a:gd name="connsiteX2551" fmla="*/ 9868947 w 12117871"/>
                <a:gd name="connsiteY2551" fmla="*/ 3139501 h 6072780"/>
                <a:gd name="connsiteX2552" fmla="*/ 9925821 w 12117871"/>
                <a:gd name="connsiteY2552" fmla="*/ 3110161 h 6072780"/>
                <a:gd name="connsiteX2553" fmla="*/ 9708927 w 12117871"/>
                <a:gd name="connsiteY2553" fmla="*/ 3110161 h 6072780"/>
                <a:gd name="connsiteX2554" fmla="*/ 9780094 w 12117871"/>
                <a:gd name="connsiteY2554" fmla="*/ 3220749 h 6072780"/>
                <a:gd name="connsiteX2555" fmla="*/ 9760008 w 12117871"/>
                <a:gd name="connsiteY2555" fmla="*/ 3304328 h 6072780"/>
                <a:gd name="connsiteX2556" fmla="*/ 9703811 w 12117871"/>
                <a:gd name="connsiteY2556" fmla="*/ 3333141 h 6072780"/>
                <a:gd name="connsiteX2557" fmla="*/ 9651226 w 12117871"/>
                <a:gd name="connsiteY2557" fmla="*/ 3305607 h 6072780"/>
                <a:gd name="connsiteX2558" fmla="*/ 9632343 w 12117871"/>
                <a:gd name="connsiteY2558" fmla="*/ 3226015 h 6072780"/>
                <a:gd name="connsiteX2559" fmla="*/ 9652053 w 12117871"/>
                <a:gd name="connsiteY2559" fmla="*/ 3139501 h 6072780"/>
                <a:gd name="connsiteX2560" fmla="*/ 9708927 w 12117871"/>
                <a:gd name="connsiteY2560" fmla="*/ 3110161 h 6072780"/>
                <a:gd name="connsiteX2561" fmla="*/ 9539026 w 12117871"/>
                <a:gd name="connsiteY2561" fmla="*/ 3110161 h 6072780"/>
                <a:gd name="connsiteX2562" fmla="*/ 9553932 w 12117871"/>
                <a:gd name="connsiteY2562" fmla="*/ 3110161 h 6072780"/>
                <a:gd name="connsiteX2563" fmla="*/ 9553932 w 12117871"/>
                <a:gd name="connsiteY2563" fmla="*/ 3333141 h 6072780"/>
                <a:gd name="connsiteX2564" fmla="*/ 9518644 w 12117871"/>
                <a:gd name="connsiteY2564" fmla="*/ 3333141 h 6072780"/>
                <a:gd name="connsiteX2565" fmla="*/ 9518644 w 12117871"/>
                <a:gd name="connsiteY2565" fmla="*/ 3153358 h 6072780"/>
                <a:gd name="connsiteX2566" fmla="*/ 9498035 w 12117871"/>
                <a:gd name="connsiteY2566" fmla="*/ 3164993 h 6072780"/>
                <a:gd name="connsiteX2567" fmla="*/ 9472862 w 12117871"/>
                <a:gd name="connsiteY2567" fmla="*/ 3173435 h 6072780"/>
                <a:gd name="connsiteX2568" fmla="*/ 9472862 w 12117871"/>
                <a:gd name="connsiteY2568" fmla="*/ 3143319 h 6072780"/>
                <a:gd name="connsiteX2569" fmla="*/ 9489897 w 12117871"/>
                <a:gd name="connsiteY2569" fmla="*/ 3137235 h 6072780"/>
                <a:gd name="connsiteX2570" fmla="*/ 9506096 w 12117871"/>
                <a:gd name="connsiteY2570" fmla="*/ 3130086 h 6072780"/>
                <a:gd name="connsiteX2571" fmla="*/ 9522219 w 12117871"/>
                <a:gd name="connsiteY2571" fmla="*/ 3121265 h 6072780"/>
                <a:gd name="connsiteX2572" fmla="*/ 9539026 w 12117871"/>
                <a:gd name="connsiteY2572" fmla="*/ 3110161 h 6072780"/>
                <a:gd name="connsiteX2573" fmla="*/ 9240163 w 12117871"/>
                <a:gd name="connsiteY2573" fmla="*/ 3110161 h 6072780"/>
                <a:gd name="connsiteX2574" fmla="*/ 9255069 w 12117871"/>
                <a:gd name="connsiteY2574" fmla="*/ 3110161 h 6072780"/>
                <a:gd name="connsiteX2575" fmla="*/ 9255069 w 12117871"/>
                <a:gd name="connsiteY2575" fmla="*/ 3333141 h 6072780"/>
                <a:gd name="connsiteX2576" fmla="*/ 9219781 w 12117871"/>
                <a:gd name="connsiteY2576" fmla="*/ 3333141 h 6072780"/>
                <a:gd name="connsiteX2577" fmla="*/ 9219781 w 12117871"/>
                <a:gd name="connsiteY2577" fmla="*/ 3153358 h 6072780"/>
                <a:gd name="connsiteX2578" fmla="*/ 9199172 w 12117871"/>
                <a:gd name="connsiteY2578" fmla="*/ 3164993 h 6072780"/>
                <a:gd name="connsiteX2579" fmla="*/ 9173999 w 12117871"/>
                <a:gd name="connsiteY2579" fmla="*/ 3173435 h 6072780"/>
                <a:gd name="connsiteX2580" fmla="*/ 9173999 w 12117871"/>
                <a:gd name="connsiteY2580" fmla="*/ 3143319 h 6072780"/>
                <a:gd name="connsiteX2581" fmla="*/ 9191034 w 12117871"/>
                <a:gd name="connsiteY2581" fmla="*/ 3137235 h 6072780"/>
                <a:gd name="connsiteX2582" fmla="*/ 9207233 w 12117871"/>
                <a:gd name="connsiteY2582" fmla="*/ 3130086 h 6072780"/>
                <a:gd name="connsiteX2583" fmla="*/ 9223356 w 12117871"/>
                <a:gd name="connsiteY2583" fmla="*/ 3121265 h 6072780"/>
                <a:gd name="connsiteX2584" fmla="*/ 9240163 w 12117871"/>
                <a:gd name="connsiteY2584" fmla="*/ 3110161 h 6072780"/>
                <a:gd name="connsiteX2585" fmla="*/ 8864744 w 12117871"/>
                <a:gd name="connsiteY2585" fmla="*/ 3110161 h 6072780"/>
                <a:gd name="connsiteX2586" fmla="*/ 8879650 w 12117871"/>
                <a:gd name="connsiteY2586" fmla="*/ 3110161 h 6072780"/>
                <a:gd name="connsiteX2587" fmla="*/ 8879650 w 12117871"/>
                <a:gd name="connsiteY2587" fmla="*/ 3333141 h 6072780"/>
                <a:gd name="connsiteX2588" fmla="*/ 8844362 w 12117871"/>
                <a:gd name="connsiteY2588" fmla="*/ 3333141 h 6072780"/>
                <a:gd name="connsiteX2589" fmla="*/ 8844362 w 12117871"/>
                <a:gd name="connsiteY2589" fmla="*/ 3153358 h 6072780"/>
                <a:gd name="connsiteX2590" fmla="*/ 8823753 w 12117871"/>
                <a:gd name="connsiteY2590" fmla="*/ 3164993 h 6072780"/>
                <a:gd name="connsiteX2591" fmla="*/ 8798580 w 12117871"/>
                <a:gd name="connsiteY2591" fmla="*/ 3173435 h 6072780"/>
                <a:gd name="connsiteX2592" fmla="*/ 8798580 w 12117871"/>
                <a:gd name="connsiteY2592" fmla="*/ 3143319 h 6072780"/>
                <a:gd name="connsiteX2593" fmla="*/ 8815615 w 12117871"/>
                <a:gd name="connsiteY2593" fmla="*/ 3137235 h 6072780"/>
                <a:gd name="connsiteX2594" fmla="*/ 8831814 w 12117871"/>
                <a:gd name="connsiteY2594" fmla="*/ 3130086 h 6072780"/>
                <a:gd name="connsiteX2595" fmla="*/ 8847937 w 12117871"/>
                <a:gd name="connsiteY2595" fmla="*/ 3121265 h 6072780"/>
                <a:gd name="connsiteX2596" fmla="*/ 8864744 w 12117871"/>
                <a:gd name="connsiteY2596" fmla="*/ 3110161 h 6072780"/>
                <a:gd name="connsiteX2597" fmla="*/ 8714738 w 12117871"/>
                <a:gd name="connsiteY2597" fmla="*/ 3110161 h 6072780"/>
                <a:gd name="connsiteX2598" fmla="*/ 8729644 w 12117871"/>
                <a:gd name="connsiteY2598" fmla="*/ 3110161 h 6072780"/>
                <a:gd name="connsiteX2599" fmla="*/ 8729644 w 12117871"/>
                <a:gd name="connsiteY2599" fmla="*/ 3333141 h 6072780"/>
                <a:gd name="connsiteX2600" fmla="*/ 8694356 w 12117871"/>
                <a:gd name="connsiteY2600" fmla="*/ 3333141 h 6072780"/>
                <a:gd name="connsiteX2601" fmla="*/ 8694356 w 12117871"/>
                <a:gd name="connsiteY2601" fmla="*/ 3153358 h 6072780"/>
                <a:gd name="connsiteX2602" fmla="*/ 8673747 w 12117871"/>
                <a:gd name="connsiteY2602" fmla="*/ 3164993 h 6072780"/>
                <a:gd name="connsiteX2603" fmla="*/ 8648574 w 12117871"/>
                <a:gd name="connsiteY2603" fmla="*/ 3173435 h 6072780"/>
                <a:gd name="connsiteX2604" fmla="*/ 8648574 w 12117871"/>
                <a:gd name="connsiteY2604" fmla="*/ 3143319 h 6072780"/>
                <a:gd name="connsiteX2605" fmla="*/ 8665609 w 12117871"/>
                <a:gd name="connsiteY2605" fmla="*/ 3137235 h 6072780"/>
                <a:gd name="connsiteX2606" fmla="*/ 8681808 w 12117871"/>
                <a:gd name="connsiteY2606" fmla="*/ 3130086 h 6072780"/>
                <a:gd name="connsiteX2607" fmla="*/ 8697931 w 12117871"/>
                <a:gd name="connsiteY2607" fmla="*/ 3121265 h 6072780"/>
                <a:gd name="connsiteX2608" fmla="*/ 8714738 w 12117871"/>
                <a:gd name="connsiteY2608" fmla="*/ 3110161 h 6072780"/>
                <a:gd name="connsiteX2609" fmla="*/ 8565881 w 12117871"/>
                <a:gd name="connsiteY2609" fmla="*/ 3110161 h 6072780"/>
                <a:gd name="connsiteX2610" fmla="*/ 8580787 w 12117871"/>
                <a:gd name="connsiteY2610" fmla="*/ 3110161 h 6072780"/>
                <a:gd name="connsiteX2611" fmla="*/ 8580787 w 12117871"/>
                <a:gd name="connsiteY2611" fmla="*/ 3333141 h 6072780"/>
                <a:gd name="connsiteX2612" fmla="*/ 8545499 w 12117871"/>
                <a:gd name="connsiteY2612" fmla="*/ 3333141 h 6072780"/>
                <a:gd name="connsiteX2613" fmla="*/ 8545499 w 12117871"/>
                <a:gd name="connsiteY2613" fmla="*/ 3153358 h 6072780"/>
                <a:gd name="connsiteX2614" fmla="*/ 8524890 w 12117871"/>
                <a:gd name="connsiteY2614" fmla="*/ 3164993 h 6072780"/>
                <a:gd name="connsiteX2615" fmla="*/ 8499717 w 12117871"/>
                <a:gd name="connsiteY2615" fmla="*/ 3173435 h 6072780"/>
                <a:gd name="connsiteX2616" fmla="*/ 8499717 w 12117871"/>
                <a:gd name="connsiteY2616" fmla="*/ 3143319 h 6072780"/>
                <a:gd name="connsiteX2617" fmla="*/ 8516752 w 12117871"/>
                <a:gd name="connsiteY2617" fmla="*/ 3137235 h 6072780"/>
                <a:gd name="connsiteX2618" fmla="*/ 8532951 w 12117871"/>
                <a:gd name="connsiteY2618" fmla="*/ 3130086 h 6072780"/>
                <a:gd name="connsiteX2619" fmla="*/ 8549074 w 12117871"/>
                <a:gd name="connsiteY2619" fmla="*/ 3121265 h 6072780"/>
                <a:gd name="connsiteX2620" fmla="*/ 8565881 w 12117871"/>
                <a:gd name="connsiteY2620" fmla="*/ 3110161 h 6072780"/>
                <a:gd name="connsiteX2621" fmla="*/ 7821713 w 12117871"/>
                <a:gd name="connsiteY2621" fmla="*/ 3110161 h 6072780"/>
                <a:gd name="connsiteX2622" fmla="*/ 7836619 w 12117871"/>
                <a:gd name="connsiteY2622" fmla="*/ 3110161 h 6072780"/>
                <a:gd name="connsiteX2623" fmla="*/ 7836619 w 12117871"/>
                <a:gd name="connsiteY2623" fmla="*/ 3333141 h 6072780"/>
                <a:gd name="connsiteX2624" fmla="*/ 7801331 w 12117871"/>
                <a:gd name="connsiteY2624" fmla="*/ 3333141 h 6072780"/>
                <a:gd name="connsiteX2625" fmla="*/ 7801331 w 12117871"/>
                <a:gd name="connsiteY2625" fmla="*/ 3153358 h 6072780"/>
                <a:gd name="connsiteX2626" fmla="*/ 7780722 w 12117871"/>
                <a:gd name="connsiteY2626" fmla="*/ 3164993 h 6072780"/>
                <a:gd name="connsiteX2627" fmla="*/ 7755549 w 12117871"/>
                <a:gd name="connsiteY2627" fmla="*/ 3173435 h 6072780"/>
                <a:gd name="connsiteX2628" fmla="*/ 7755549 w 12117871"/>
                <a:gd name="connsiteY2628" fmla="*/ 3143319 h 6072780"/>
                <a:gd name="connsiteX2629" fmla="*/ 7772584 w 12117871"/>
                <a:gd name="connsiteY2629" fmla="*/ 3137235 h 6072780"/>
                <a:gd name="connsiteX2630" fmla="*/ 7788783 w 12117871"/>
                <a:gd name="connsiteY2630" fmla="*/ 3130086 h 6072780"/>
                <a:gd name="connsiteX2631" fmla="*/ 7804906 w 12117871"/>
                <a:gd name="connsiteY2631" fmla="*/ 3121265 h 6072780"/>
                <a:gd name="connsiteX2632" fmla="*/ 7821713 w 12117871"/>
                <a:gd name="connsiteY2632" fmla="*/ 3110161 h 6072780"/>
                <a:gd name="connsiteX2633" fmla="*/ 7671707 w 12117871"/>
                <a:gd name="connsiteY2633" fmla="*/ 3110161 h 6072780"/>
                <a:gd name="connsiteX2634" fmla="*/ 7686613 w 12117871"/>
                <a:gd name="connsiteY2634" fmla="*/ 3110161 h 6072780"/>
                <a:gd name="connsiteX2635" fmla="*/ 7686613 w 12117871"/>
                <a:gd name="connsiteY2635" fmla="*/ 3333141 h 6072780"/>
                <a:gd name="connsiteX2636" fmla="*/ 7651325 w 12117871"/>
                <a:gd name="connsiteY2636" fmla="*/ 3333141 h 6072780"/>
                <a:gd name="connsiteX2637" fmla="*/ 7651325 w 12117871"/>
                <a:gd name="connsiteY2637" fmla="*/ 3153358 h 6072780"/>
                <a:gd name="connsiteX2638" fmla="*/ 7630716 w 12117871"/>
                <a:gd name="connsiteY2638" fmla="*/ 3164993 h 6072780"/>
                <a:gd name="connsiteX2639" fmla="*/ 7605543 w 12117871"/>
                <a:gd name="connsiteY2639" fmla="*/ 3173435 h 6072780"/>
                <a:gd name="connsiteX2640" fmla="*/ 7605543 w 12117871"/>
                <a:gd name="connsiteY2640" fmla="*/ 3143319 h 6072780"/>
                <a:gd name="connsiteX2641" fmla="*/ 7622578 w 12117871"/>
                <a:gd name="connsiteY2641" fmla="*/ 3137235 h 6072780"/>
                <a:gd name="connsiteX2642" fmla="*/ 7638777 w 12117871"/>
                <a:gd name="connsiteY2642" fmla="*/ 3130086 h 6072780"/>
                <a:gd name="connsiteX2643" fmla="*/ 7654900 w 12117871"/>
                <a:gd name="connsiteY2643" fmla="*/ 3121265 h 6072780"/>
                <a:gd name="connsiteX2644" fmla="*/ 7671707 w 12117871"/>
                <a:gd name="connsiteY2644" fmla="*/ 3110161 h 6072780"/>
                <a:gd name="connsiteX2645" fmla="*/ 7373993 w 12117871"/>
                <a:gd name="connsiteY2645" fmla="*/ 3110161 h 6072780"/>
                <a:gd name="connsiteX2646" fmla="*/ 7388899 w 12117871"/>
                <a:gd name="connsiteY2646" fmla="*/ 3110161 h 6072780"/>
                <a:gd name="connsiteX2647" fmla="*/ 7388899 w 12117871"/>
                <a:gd name="connsiteY2647" fmla="*/ 3333141 h 6072780"/>
                <a:gd name="connsiteX2648" fmla="*/ 7353611 w 12117871"/>
                <a:gd name="connsiteY2648" fmla="*/ 3333141 h 6072780"/>
                <a:gd name="connsiteX2649" fmla="*/ 7353611 w 12117871"/>
                <a:gd name="connsiteY2649" fmla="*/ 3153358 h 6072780"/>
                <a:gd name="connsiteX2650" fmla="*/ 7333002 w 12117871"/>
                <a:gd name="connsiteY2650" fmla="*/ 3164993 h 6072780"/>
                <a:gd name="connsiteX2651" fmla="*/ 7307829 w 12117871"/>
                <a:gd name="connsiteY2651" fmla="*/ 3173435 h 6072780"/>
                <a:gd name="connsiteX2652" fmla="*/ 7307829 w 12117871"/>
                <a:gd name="connsiteY2652" fmla="*/ 3143319 h 6072780"/>
                <a:gd name="connsiteX2653" fmla="*/ 7324864 w 12117871"/>
                <a:gd name="connsiteY2653" fmla="*/ 3137235 h 6072780"/>
                <a:gd name="connsiteX2654" fmla="*/ 7341063 w 12117871"/>
                <a:gd name="connsiteY2654" fmla="*/ 3130086 h 6072780"/>
                <a:gd name="connsiteX2655" fmla="*/ 7357186 w 12117871"/>
                <a:gd name="connsiteY2655" fmla="*/ 3121265 h 6072780"/>
                <a:gd name="connsiteX2656" fmla="*/ 7373993 w 12117871"/>
                <a:gd name="connsiteY2656" fmla="*/ 3110161 h 6072780"/>
                <a:gd name="connsiteX2657" fmla="*/ 6993038 w 12117871"/>
                <a:gd name="connsiteY2657" fmla="*/ 3110161 h 6072780"/>
                <a:gd name="connsiteX2658" fmla="*/ 7007944 w 12117871"/>
                <a:gd name="connsiteY2658" fmla="*/ 3110161 h 6072780"/>
                <a:gd name="connsiteX2659" fmla="*/ 7007944 w 12117871"/>
                <a:gd name="connsiteY2659" fmla="*/ 3333141 h 6072780"/>
                <a:gd name="connsiteX2660" fmla="*/ 6972656 w 12117871"/>
                <a:gd name="connsiteY2660" fmla="*/ 3333141 h 6072780"/>
                <a:gd name="connsiteX2661" fmla="*/ 6972656 w 12117871"/>
                <a:gd name="connsiteY2661" fmla="*/ 3153358 h 6072780"/>
                <a:gd name="connsiteX2662" fmla="*/ 6952047 w 12117871"/>
                <a:gd name="connsiteY2662" fmla="*/ 3164993 h 6072780"/>
                <a:gd name="connsiteX2663" fmla="*/ 6926874 w 12117871"/>
                <a:gd name="connsiteY2663" fmla="*/ 3173435 h 6072780"/>
                <a:gd name="connsiteX2664" fmla="*/ 6926874 w 12117871"/>
                <a:gd name="connsiteY2664" fmla="*/ 3143319 h 6072780"/>
                <a:gd name="connsiteX2665" fmla="*/ 6943909 w 12117871"/>
                <a:gd name="connsiteY2665" fmla="*/ 3137235 h 6072780"/>
                <a:gd name="connsiteX2666" fmla="*/ 6960108 w 12117871"/>
                <a:gd name="connsiteY2666" fmla="*/ 3130086 h 6072780"/>
                <a:gd name="connsiteX2667" fmla="*/ 6976231 w 12117871"/>
                <a:gd name="connsiteY2667" fmla="*/ 3121265 h 6072780"/>
                <a:gd name="connsiteX2668" fmla="*/ 6993038 w 12117871"/>
                <a:gd name="connsiteY2668" fmla="*/ 3110161 h 6072780"/>
                <a:gd name="connsiteX2669" fmla="*/ 6843032 w 12117871"/>
                <a:gd name="connsiteY2669" fmla="*/ 3110161 h 6072780"/>
                <a:gd name="connsiteX2670" fmla="*/ 6857938 w 12117871"/>
                <a:gd name="connsiteY2670" fmla="*/ 3110161 h 6072780"/>
                <a:gd name="connsiteX2671" fmla="*/ 6857938 w 12117871"/>
                <a:gd name="connsiteY2671" fmla="*/ 3333141 h 6072780"/>
                <a:gd name="connsiteX2672" fmla="*/ 6822650 w 12117871"/>
                <a:gd name="connsiteY2672" fmla="*/ 3333141 h 6072780"/>
                <a:gd name="connsiteX2673" fmla="*/ 6822650 w 12117871"/>
                <a:gd name="connsiteY2673" fmla="*/ 3153358 h 6072780"/>
                <a:gd name="connsiteX2674" fmla="*/ 6802041 w 12117871"/>
                <a:gd name="connsiteY2674" fmla="*/ 3164993 h 6072780"/>
                <a:gd name="connsiteX2675" fmla="*/ 6776868 w 12117871"/>
                <a:gd name="connsiteY2675" fmla="*/ 3173435 h 6072780"/>
                <a:gd name="connsiteX2676" fmla="*/ 6776868 w 12117871"/>
                <a:gd name="connsiteY2676" fmla="*/ 3143319 h 6072780"/>
                <a:gd name="connsiteX2677" fmla="*/ 6793903 w 12117871"/>
                <a:gd name="connsiteY2677" fmla="*/ 3137235 h 6072780"/>
                <a:gd name="connsiteX2678" fmla="*/ 6810102 w 12117871"/>
                <a:gd name="connsiteY2678" fmla="*/ 3130086 h 6072780"/>
                <a:gd name="connsiteX2679" fmla="*/ 6826225 w 12117871"/>
                <a:gd name="connsiteY2679" fmla="*/ 3121265 h 6072780"/>
                <a:gd name="connsiteX2680" fmla="*/ 6843032 w 12117871"/>
                <a:gd name="connsiteY2680" fmla="*/ 3110161 h 6072780"/>
                <a:gd name="connsiteX2681" fmla="*/ 6694175 w 12117871"/>
                <a:gd name="connsiteY2681" fmla="*/ 3110161 h 6072780"/>
                <a:gd name="connsiteX2682" fmla="*/ 6709081 w 12117871"/>
                <a:gd name="connsiteY2682" fmla="*/ 3110161 h 6072780"/>
                <a:gd name="connsiteX2683" fmla="*/ 6709081 w 12117871"/>
                <a:gd name="connsiteY2683" fmla="*/ 3333141 h 6072780"/>
                <a:gd name="connsiteX2684" fmla="*/ 6673793 w 12117871"/>
                <a:gd name="connsiteY2684" fmla="*/ 3333141 h 6072780"/>
                <a:gd name="connsiteX2685" fmla="*/ 6673793 w 12117871"/>
                <a:gd name="connsiteY2685" fmla="*/ 3153358 h 6072780"/>
                <a:gd name="connsiteX2686" fmla="*/ 6653184 w 12117871"/>
                <a:gd name="connsiteY2686" fmla="*/ 3164993 h 6072780"/>
                <a:gd name="connsiteX2687" fmla="*/ 6628011 w 12117871"/>
                <a:gd name="connsiteY2687" fmla="*/ 3173435 h 6072780"/>
                <a:gd name="connsiteX2688" fmla="*/ 6628011 w 12117871"/>
                <a:gd name="connsiteY2688" fmla="*/ 3143319 h 6072780"/>
                <a:gd name="connsiteX2689" fmla="*/ 6645046 w 12117871"/>
                <a:gd name="connsiteY2689" fmla="*/ 3137235 h 6072780"/>
                <a:gd name="connsiteX2690" fmla="*/ 6661245 w 12117871"/>
                <a:gd name="connsiteY2690" fmla="*/ 3130086 h 6072780"/>
                <a:gd name="connsiteX2691" fmla="*/ 6677368 w 12117871"/>
                <a:gd name="connsiteY2691" fmla="*/ 3121265 h 6072780"/>
                <a:gd name="connsiteX2692" fmla="*/ 6694175 w 12117871"/>
                <a:gd name="connsiteY2692" fmla="*/ 3110161 h 6072780"/>
                <a:gd name="connsiteX2693" fmla="*/ 6545318 w 12117871"/>
                <a:gd name="connsiteY2693" fmla="*/ 3110161 h 6072780"/>
                <a:gd name="connsiteX2694" fmla="*/ 6560224 w 12117871"/>
                <a:gd name="connsiteY2694" fmla="*/ 3110161 h 6072780"/>
                <a:gd name="connsiteX2695" fmla="*/ 6560224 w 12117871"/>
                <a:gd name="connsiteY2695" fmla="*/ 3333141 h 6072780"/>
                <a:gd name="connsiteX2696" fmla="*/ 6524936 w 12117871"/>
                <a:gd name="connsiteY2696" fmla="*/ 3333141 h 6072780"/>
                <a:gd name="connsiteX2697" fmla="*/ 6524936 w 12117871"/>
                <a:gd name="connsiteY2697" fmla="*/ 3153358 h 6072780"/>
                <a:gd name="connsiteX2698" fmla="*/ 6504327 w 12117871"/>
                <a:gd name="connsiteY2698" fmla="*/ 3164993 h 6072780"/>
                <a:gd name="connsiteX2699" fmla="*/ 6479154 w 12117871"/>
                <a:gd name="connsiteY2699" fmla="*/ 3173435 h 6072780"/>
                <a:gd name="connsiteX2700" fmla="*/ 6479154 w 12117871"/>
                <a:gd name="connsiteY2700" fmla="*/ 3143319 h 6072780"/>
                <a:gd name="connsiteX2701" fmla="*/ 6496189 w 12117871"/>
                <a:gd name="connsiteY2701" fmla="*/ 3137235 h 6072780"/>
                <a:gd name="connsiteX2702" fmla="*/ 6512388 w 12117871"/>
                <a:gd name="connsiteY2702" fmla="*/ 3130086 h 6072780"/>
                <a:gd name="connsiteX2703" fmla="*/ 6528511 w 12117871"/>
                <a:gd name="connsiteY2703" fmla="*/ 3121265 h 6072780"/>
                <a:gd name="connsiteX2704" fmla="*/ 6545318 w 12117871"/>
                <a:gd name="connsiteY2704" fmla="*/ 3110161 h 6072780"/>
                <a:gd name="connsiteX2705" fmla="*/ 6331920 w 12117871"/>
                <a:gd name="connsiteY2705" fmla="*/ 3110161 h 6072780"/>
                <a:gd name="connsiteX2706" fmla="*/ 6403087 w 12117871"/>
                <a:gd name="connsiteY2706" fmla="*/ 3220749 h 6072780"/>
                <a:gd name="connsiteX2707" fmla="*/ 6383001 w 12117871"/>
                <a:gd name="connsiteY2707" fmla="*/ 3304328 h 6072780"/>
                <a:gd name="connsiteX2708" fmla="*/ 6326804 w 12117871"/>
                <a:gd name="connsiteY2708" fmla="*/ 3333141 h 6072780"/>
                <a:gd name="connsiteX2709" fmla="*/ 6274219 w 12117871"/>
                <a:gd name="connsiteY2709" fmla="*/ 3305607 h 6072780"/>
                <a:gd name="connsiteX2710" fmla="*/ 6255336 w 12117871"/>
                <a:gd name="connsiteY2710" fmla="*/ 3226015 h 6072780"/>
                <a:gd name="connsiteX2711" fmla="*/ 6275046 w 12117871"/>
                <a:gd name="connsiteY2711" fmla="*/ 3139501 h 6072780"/>
                <a:gd name="connsiteX2712" fmla="*/ 6331920 w 12117871"/>
                <a:gd name="connsiteY2712" fmla="*/ 3110161 h 6072780"/>
                <a:gd name="connsiteX2713" fmla="*/ 6150425 w 12117871"/>
                <a:gd name="connsiteY2713" fmla="*/ 3110161 h 6072780"/>
                <a:gd name="connsiteX2714" fmla="*/ 6221592 w 12117871"/>
                <a:gd name="connsiteY2714" fmla="*/ 3220749 h 6072780"/>
                <a:gd name="connsiteX2715" fmla="*/ 6201506 w 12117871"/>
                <a:gd name="connsiteY2715" fmla="*/ 3304328 h 6072780"/>
                <a:gd name="connsiteX2716" fmla="*/ 6145309 w 12117871"/>
                <a:gd name="connsiteY2716" fmla="*/ 3333141 h 6072780"/>
                <a:gd name="connsiteX2717" fmla="*/ 6092724 w 12117871"/>
                <a:gd name="connsiteY2717" fmla="*/ 3305607 h 6072780"/>
                <a:gd name="connsiteX2718" fmla="*/ 6073841 w 12117871"/>
                <a:gd name="connsiteY2718" fmla="*/ 3226015 h 6072780"/>
                <a:gd name="connsiteX2719" fmla="*/ 6093551 w 12117871"/>
                <a:gd name="connsiteY2719" fmla="*/ 3139501 h 6072780"/>
                <a:gd name="connsiteX2720" fmla="*/ 6150425 w 12117871"/>
                <a:gd name="connsiteY2720" fmla="*/ 3110161 h 6072780"/>
                <a:gd name="connsiteX2721" fmla="*/ 6019293 w 12117871"/>
                <a:gd name="connsiteY2721" fmla="*/ 3110161 h 6072780"/>
                <a:gd name="connsiteX2722" fmla="*/ 6034201 w 12117871"/>
                <a:gd name="connsiteY2722" fmla="*/ 3110161 h 6072780"/>
                <a:gd name="connsiteX2723" fmla="*/ 6034201 w 12117871"/>
                <a:gd name="connsiteY2723" fmla="*/ 3333141 h 6072780"/>
                <a:gd name="connsiteX2724" fmla="*/ 5998911 w 12117871"/>
                <a:gd name="connsiteY2724" fmla="*/ 3333141 h 6072780"/>
                <a:gd name="connsiteX2725" fmla="*/ 5998911 w 12117871"/>
                <a:gd name="connsiteY2725" fmla="*/ 3153358 h 6072780"/>
                <a:gd name="connsiteX2726" fmla="*/ 5978302 w 12117871"/>
                <a:gd name="connsiteY2726" fmla="*/ 3164993 h 6072780"/>
                <a:gd name="connsiteX2727" fmla="*/ 5953129 w 12117871"/>
                <a:gd name="connsiteY2727" fmla="*/ 3173435 h 6072780"/>
                <a:gd name="connsiteX2728" fmla="*/ 5953129 w 12117871"/>
                <a:gd name="connsiteY2728" fmla="*/ 3143319 h 6072780"/>
                <a:gd name="connsiteX2729" fmla="*/ 5970164 w 12117871"/>
                <a:gd name="connsiteY2729" fmla="*/ 3137235 h 6072780"/>
                <a:gd name="connsiteX2730" fmla="*/ 5986363 w 12117871"/>
                <a:gd name="connsiteY2730" fmla="*/ 3130086 h 6072780"/>
                <a:gd name="connsiteX2731" fmla="*/ 6002488 w 12117871"/>
                <a:gd name="connsiteY2731" fmla="*/ 3121265 h 6072780"/>
                <a:gd name="connsiteX2732" fmla="*/ 6019293 w 12117871"/>
                <a:gd name="connsiteY2732" fmla="*/ 3110161 h 6072780"/>
                <a:gd name="connsiteX2733" fmla="*/ 5818968 w 12117871"/>
                <a:gd name="connsiteY2733" fmla="*/ 3110161 h 6072780"/>
                <a:gd name="connsiteX2734" fmla="*/ 5890135 w 12117871"/>
                <a:gd name="connsiteY2734" fmla="*/ 3220749 h 6072780"/>
                <a:gd name="connsiteX2735" fmla="*/ 5870048 w 12117871"/>
                <a:gd name="connsiteY2735" fmla="*/ 3304328 h 6072780"/>
                <a:gd name="connsiteX2736" fmla="*/ 5813852 w 12117871"/>
                <a:gd name="connsiteY2736" fmla="*/ 3333141 h 6072780"/>
                <a:gd name="connsiteX2737" fmla="*/ 5761266 w 12117871"/>
                <a:gd name="connsiteY2737" fmla="*/ 3305607 h 6072780"/>
                <a:gd name="connsiteX2738" fmla="*/ 5742384 w 12117871"/>
                <a:gd name="connsiteY2738" fmla="*/ 3226015 h 6072780"/>
                <a:gd name="connsiteX2739" fmla="*/ 5762094 w 12117871"/>
                <a:gd name="connsiteY2739" fmla="*/ 3139501 h 6072780"/>
                <a:gd name="connsiteX2740" fmla="*/ 5818968 w 12117871"/>
                <a:gd name="connsiteY2740" fmla="*/ 3110161 h 6072780"/>
                <a:gd name="connsiteX2741" fmla="*/ 5119401 w 12117871"/>
                <a:gd name="connsiteY2741" fmla="*/ 3110161 h 6072780"/>
                <a:gd name="connsiteX2742" fmla="*/ 5190567 w 12117871"/>
                <a:gd name="connsiteY2742" fmla="*/ 3220749 h 6072780"/>
                <a:gd name="connsiteX2743" fmla="*/ 5170483 w 12117871"/>
                <a:gd name="connsiteY2743" fmla="*/ 3304328 h 6072780"/>
                <a:gd name="connsiteX2744" fmla="*/ 5114285 w 12117871"/>
                <a:gd name="connsiteY2744" fmla="*/ 3333141 h 6072780"/>
                <a:gd name="connsiteX2745" fmla="*/ 5061701 w 12117871"/>
                <a:gd name="connsiteY2745" fmla="*/ 3305607 h 6072780"/>
                <a:gd name="connsiteX2746" fmla="*/ 5042817 w 12117871"/>
                <a:gd name="connsiteY2746" fmla="*/ 3226015 h 6072780"/>
                <a:gd name="connsiteX2747" fmla="*/ 5062526 w 12117871"/>
                <a:gd name="connsiteY2747" fmla="*/ 3139501 h 6072780"/>
                <a:gd name="connsiteX2748" fmla="*/ 5119401 w 12117871"/>
                <a:gd name="connsiteY2748" fmla="*/ 3110161 h 6072780"/>
                <a:gd name="connsiteX2749" fmla="*/ 4734951 w 12117871"/>
                <a:gd name="connsiteY2749" fmla="*/ 3110161 h 6072780"/>
                <a:gd name="connsiteX2750" fmla="*/ 4749856 w 12117871"/>
                <a:gd name="connsiteY2750" fmla="*/ 3110161 h 6072780"/>
                <a:gd name="connsiteX2751" fmla="*/ 4749856 w 12117871"/>
                <a:gd name="connsiteY2751" fmla="*/ 3333141 h 6072780"/>
                <a:gd name="connsiteX2752" fmla="*/ 4714569 w 12117871"/>
                <a:gd name="connsiteY2752" fmla="*/ 3333141 h 6072780"/>
                <a:gd name="connsiteX2753" fmla="*/ 4714569 w 12117871"/>
                <a:gd name="connsiteY2753" fmla="*/ 3153358 h 6072780"/>
                <a:gd name="connsiteX2754" fmla="*/ 4693960 w 12117871"/>
                <a:gd name="connsiteY2754" fmla="*/ 3164993 h 6072780"/>
                <a:gd name="connsiteX2755" fmla="*/ 4668786 w 12117871"/>
                <a:gd name="connsiteY2755" fmla="*/ 3173435 h 6072780"/>
                <a:gd name="connsiteX2756" fmla="*/ 4668786 w 12117871"/>
                <a:gd name="connsiteY2756" fmla="*/ 3143319 h 6072780"/>
                <a:gd name="connsiteX2757" fmla="*/ 4685822 w 12117871"/>
                <a:gd name="connsiteY2757" fmla="*/ 3137235 h 6072780"/>
                <a:gd name="connsiteX2758" fmla="*/ 4702020 w 12117871"/>
                <a:gd name="connsiteY2758" fmla="*/ 3130086 h 6072780"/>
                <a:gd name="connsiteX2759" fmla="*/ 4718143 w 12117871"/>
                <a:gd name="connsiteY2759" fmla="*/ 3121265 h 6072780"/>
                <a:gd name="connsiteX2760" fmla="*/ 4734951 w 12117871"/>
                <a:gd name="connsiteY2760" fmla="*/ 3110161 h 6072780"/>
                <a:gd name="connsiteX2761" fmla="*/ 4377441 w 12117871"/>
                <a:gd name="connsiteY2761" fmla="*/ 3110161 h 6072780"/>
                <a:gd name="connsiteX2762" fmla="*/ 4392346 w 12117871"/>
                <a:gd name="connsiteY2762" fmla="*/ 3110161 h 6072780"/>
                <a:gd name="connsiteX2763" fmla="*/ 4392346 w 12117871"/>
                <a:gd name="connsiteY2763" fmla="*/ 3333141 h 6072780"/>
                <a:gd name="connsiteX2764" fmla="*/ 4357058 w 12117871"/>
                <a:gd name="connsiteY2764" fmla="*/ 3333141 h 6072780"/>
                <a:gd name="connsiteX2765" fmla="*/ 4357058 w 12117871"/>
                <a:gd name="connsiteY2765" fmla="*/ 3153358 h 6072780"/>
                <a:gd name="connsiteX2766" fmla="*/ 4336449 w 12117871"/>
                <a:gd name="connsiteY2766" fmla="*/ 3164993 h 6072780"/>
                <a:gd name="connsiteX2767" fmla="*/ 4311276 w 12117871"/>
                <a:gd name="connsiteY2767" fmla="*/ 3173435 h 6072780"/>
                <a:gd name="connsiteX2768" fmla="*/ 4311276 w 12117871"/>
                <a:gd name="connsiteY2768" fmla="*/ 3143319 h 6072780"/>
                <a:gd name="connsiteX2769" fmla="*/ 4328311 w 12117871"/>
                <a:gd name="connsiteY2769" fmla="*/ 3137235 h 6072780"/>
                <a:gd name="connsiteX2770" fmla="*/ 4344510 w 12117871"/>
                <a:gd name="connsiteY2770" fmla="*/ 3130086 h 6072780"/>
                <a:gd name="connsiteX2771" fmla="*/ 4360634 w 12117871"/>
                <a:gd name="connsiteY2771" fmla="*/ 3121265 h 6072780"/>
                <a:gd name="connsiteX2772" fmla="*/ 4377441 w 12117871"/>
                <a:gd name="connsiteY2772" fmla="*/ 3110161 h 6072780"/>
                <a:gd name="connsiteX2773" fmla="*/ 4078579 w 12117871"/>
                <a:gd name="connsiteY2773" fmla="*/ 3110161 h 6072780"/>
                <a:gd name="connsiteX2774" fmla="*/ 4093484 w 12117871"/>
                <a:gd name="connsiteY2774" fmla="*/ 3110161 h 6072780"/>
                <a:gd name="connsiteX2775" fmla="*/ 4093484 w 12117871"/>
                <a:gd name="connsiteY2775" fmla="*/ 3333141 h 6072780"/>
                <a:gd name="connsiteX2776" fmla="*/ 4058197 w 12117871"/>
                <a:gd name="connsiteY2776" fmla="*/ 3333141 h 6072780"/>
                <a:gd name="connsiteX2777" fmla="*/ 4058197 w 12117871"/>
                <a:gd name="connsiteY2777" fmla="*/ 3153358 h 6072780"/>
                <a:gd name="connsiteX2778" fmla="*/ 4037588 w 12117871"/>
                <a:gd name="connsiteY2778" fmla="*/ 3164993 h 6072780"/>
                <a:gd name="connsiteX2779" fmla="*/ 4012416 w 12117871"/>
                <a:gd name="connsiteY2779" fmla="*/ 3173435 h 6072780"/>
                <a:gd name="connsiteX2780" fmla="*/ 4012416 w 12117871"/>
                <a:gd name="connsiteY2780" fmla="*/ 3143319 h 6072780"/>
                <a:gd name="connsiteX2781" fmla="*/ 4029449 w 12117871"/>
                <a:gd name="connsiteY2781" fmla="*/ 3137235 h 6072780"/>
                <a:gd name="connsiteX2782" fmla="*/ 4045649 w 12117871"/>
                <a:gd name="connsiteY2782" fmla="*/ 3130086 h 6072780"/>
                <a:gd name="connsiteX2783" fmla="*/ 4061772 w 12117871"/>
                <a:gd name="connsiteY2783" fmla="*/ 3121265 h 6072780"/>
                <a:gd name="connsiteX2784" fmla="*/ 4078579 w 12117871"/>
                <a:gd name="connsiteY2784" fmla="*/ 3110161 h 6072780"/>
                <a:gd name="connsiteX2785" fmla="*/ 3858890 w 12117871"/>
                <a:gd name="connsiteY2785" fmla="*/ 3110161 h 6072780"/>
                <a:gd name="connsiteX2786" fmla="*/ 3930057 w 12117871"/>
                <a:gd name="connsiteY2786" fmla="*/ 3220749 h 6072780"/>
                <a:gd name="connsiteX2787" fmla="*/ 3909971 w 12117871"/>
                <a:gd name="connsiteY2787" fmla="*/ 3304328 h 6072780"/>
                <a:gd name="connsiteX2788" fmla="*/ 3853774 w 12117871"/>
                <a:gd name="connsiteY2788" fmla="*/ 3333141 h 6072780"/>
                <a:gd name="connsiteX2789" fmla="*/ 3801189 w 12117871"/>
                <a:gd name="connsiteY2789" fmla="*/ 3305607 h 6072780"/>
                <a:gd name="connsiteX2790" fmla="*/ 3782306 w 12117871"/>
                <a:gd name="connsiteY2790" fmla="*/ 3226015 h 6072780"/>
                <a:gd name="connsiteX2791" fmla="*/ 3802016 w 12117871"/>
                <a:gd name="connsiteY2791" fmla="*/ 3139501 h 6072780"/>
                <a:gd name="connsiteX2792" fmla="*/ 3858890 w 12117871"/>
                <a:gd name="connsiteY2792" fmla="*/ 3110161 h 6072780"/>
                <a:gd name="connsiteX2793" fmla="*/ 3641996 w 12117871"/>
                <a:gd name="connsiteY2793" fmla="*/ 3110161 h 6072780"/>
                <a:gd name="connsiteX2794" fmla="*/ 3713163 w 12117871"/>
                <a:gd name="connsiteY2794" fmla="*/ 3220749 h 6072780"/>
                <a:gd name="connsiteX2795" fmla="*/ 3693077 w 12117871"/>
                <a:gd name="connsiteY2795" fmla="*/ 3304328 h 6072780"/>
                <a:gd name="connsiteX2796" fmla="*/ 3636881 w 12117871"/>
                <a:gd name="connsiteY2796" fmla="*/ 3333141 h 6072780"/>
                <a:gd name="connsiteX2797" fmla="*/ 3584295 w 12117871"/>
                <a:gd name="connsiteY2797" fmla="*/ 3305607 h 6072780"/>
                <a:gd name="connsiteX2798" fmla="*/ 3565413 w 12117871"/>
                <a:gd name="connsiteY2798" fmla="*/ 3226015 h 6072780"/>
                <a:gd name="connsiteX2799" fmla="*/ 3585122 w 12117871"/>
                <a:gd name="connsiteY2799" fmla="*/ 3139501 h 6072780"/>
                <a:gd name="connsiteX2800" fmla="*/ 3641996 w 12117871"/>
                <a:gd name="connsiteY2800" fmla="*/ 3110161 h 6072780"/>
                <a:gd name="connsiteX2801" fmla="*/ 3482114 w 12117871"/>
                <a:gd name="connsiteY2801" fmla="*/ 3110161 h 6072780"/>
                <a:gd name="connsiteX2802" fmla="*/ 3497021 w 12117871"/>
                <a:gd name="connsiteY2802" fmla="*/ 3110161 h 6072780"/>
                <a:gd name="connsiteX2803" fmla="*/ 3497021 w 12117871"/>
                <a:gd name="connsiteY2803" fmla="*/ 3333141 h 6072780"/>
                <a:gd name="connsiteX2804" fmla="*/ 3461732 w 12117871"/>
                <a:gd name="connsiteY2804" fmla="*/ 3333141 h 6072780"/>
                <a:gd name="connsiteX2805" fmla="*/ 3461732 w 12117871"/>
                <a:gd name="connsiteY2805" fmla="*/ 3153358 h 6072780"/>
                <a:gd name="connsiteX2806" fmla="*/ 3441123 w 12117871"/>
                <a:gd name="connsiteY2806" fmla="*/ 3164993 h 6072780"/>
                <a:gd name="connsiteX2807" fmla="*/ 3415951 w 12117871"/>
                <a:gd name="connsiteY2807" fmla="*/ 3173435 h 6072780"/>
                <a:gd name="connsiteX2808" fmla="*/ 3415951 w 12117871"/>
                <a:gd name="connsiteY2808" fmla="*/ 3143319 h 6072780"/>
                <a:gd name="connsiteX2809" fmla="*/ 3432986 w 12117871"/>
                <a:gd name="connsiteY2809" fmla="*/ 3137235 h 6072780"/>
                <a:gd name="connsiteX2810" fmla="*/ 3449184 w 12117871"/>
                <a:gd name="connsiteY2810" fmla="*/ 3130086 h 6072780"/>
                <a:gd name="connsiteX2811" fmla="*/ 3465307 w 12117871"/>
                <a:gd name="connsiteY2811" fmla="*/ 3121265 h 6072780"/>
                <a:gd name="connsiteX2812" fmla="*/ 3482114 w 12117871"/>
                <a:gd name="connsiteY2812" fmla="*/ 3110161 h 6072780"/>
                <a:gd name="connsiteX2813" fmla="*/ 3183252 w 12117871"/>
                <a:gd name="connsiteY2813" fmla="*/ 3110161 h 6072780"/>
                <a:gd name="connsiteX2814" fmla="*/ 3198157 w 12117871"/>
                <a:gd name="connsiteY2814" fmla="*/ 3110161 h 6072780"/>
                <a:gd name="connsiteX2815" fmla="*/ 3198157 w 12117871"/>
                <a:gd name="connsiteY2815" fmla="*/ 3333141 h 6072780"/>
                <a:gd name="connsiteX2816" fmla="*/ 3162870 w 12117871"/>
                <a:gd name="connsiteY2816" fmla="*/ 3333141 h 6072780"/>
                <a:gd name="connsiteX2817" fmla="*/ 3162870 w 12117871"/>
                <a:gd name="connsiteY2817" fmla="*/ 3153358 h 6072780"/>
                <a:gd name="connsiteX2818" fmla="*/ 3142260 w 12117871"/>
                <a:gd name="connsiteY2818" fmla="*/ 3164993 h 6072780"/>
                <a:gd name="connsiteX2819" fmla="*/ 3117087 w 12117871"/>
                <a:gd name="connsiteY2819" fmla="*/ 3173435 h 6072780"/>
                <a:gd name="connsiteX2820" fmla="*/ 3117087 w 12117871"/>
                <a:gd name="connsiteY2820" fmla="*/ 3143319 h 6072780"/>
                <a:gd name="connsiteX2821" fmla="*/ 3134122 w 12117871"/>
                <a:gd name="connsiteY2821" fmla="*/ 3137235 h 6072780"/>
                <a:gd name="connsiteX2822" fmla="*/ 3150322 w 12117871"/>
                <a:gd name="connsiteY2822" fmla="*/ 3130086 h 6072780"/>
                <a:gd name="connsiteX2823" fmla="*/ 3166445 w 12117871"/>
                <a:gd name="connsiteY2823" fmla="*/ 3121265 h 6072780"/>
                <a:gd name="connsiteX2824" fmla="*/ 3183252 w 12117871"/>
                <a:gd name="connsiteY2824" fmla="*/ 3110161 h 6072780"/>
                <a:gd name="connsiteX2825" fmla="*/ 2804036 w 12117871"/>
                <a:gd name="connsiteY2825" fmla="*/ 3110161 h 6072780"/>
                <a:gd name="connsiteX2826" fmla="*/ 2818942 w 12117871"/>
                <a:gd name="connsiteY2826" fmla="*/ 3110161 h 6072780"/>
                <a:gd name="connsiteX2827" fmla="*/ 2818942 w 12117871"/>
                <a:gd name="connsiteY2827" fmla="*/ 3333141 h 6072780"/>
                <a:gd name="connsiteX2828" fmla="*/ 2783655 w 12117871"/>
                <a:gd name="connsiteY2828" fmla="*/ 3333141 h 6072780"/>
                <a:gd name="connsiteX2829" fmla="*/ 2783655 w 12117871"/>
                <a:gd name="connsiteY2829" fmla="*/ 3153358 h 6072780"/>
                <a:gd name="connsiteX2830" fmla="*/ 2763045 w 12117871"/>
                <a:gd name="connsiteY2830" fmla="*/ 3164993 h 6072780"/>
                <a:gd name="connsiteX2831" fmla="*/ 2737872 w 12117871"/>
                <a:gd name="connsiteY2831" fmla="*/ 3173435 h 6072780"/>
                <a:gd name="connsiteX2832" fmla="*/ 2737872 w 12117871"/>
                <a:gd name="connsiteY2832" fmla="*/ 3143319 h 6072780"/>
                <a:gd name="connsiteX2833" fmla="*/ 2754907 w 12117871"/>
                <a:gd name="connsiteY2833" fmla="*/ 3137235 h 6072780"/>
                <a:gd name="connsiteX2834" fmla="*/ 2771106 w 12117871"/>
                <a:gd name="connsiteY2834" fmla="*/ 3130086 h 6072780"/>
                <a:gd name="connsiteX2835" fmla="*/ 2787229 w 12117871"/>
                <a:gd name="connsiteY2835" fmla="*/ 3121265 h 6072780"/>
                <a:gd name="connsiteX2836" fmla="*/ 2804036 w 12117871"/>
                <a:gd name="connsiteY2836" fmla="*/ 3110161 h 6072780"/>
                <a:gd name="connsiteX2837" fmla="*/ 2654030 w 12117871"/>
                <a:gd name="connsiteY2837" fmla="*/ 3110161 h 6072780"/>
                <a:gd name="connsiteX2838" fmla="*/ 2668936 w 12117871"/>
                <a:gd name="connsiteY2838" fmla="*/ 3110161 h 6072780"/>
                <a:gd name="connsiteX2839" fmla="*/ 2668936 w 12117871"/>
                <a:gd name="connsiteY2839" fmla="*/ 3333141 h 6072780"/>
                <a:gd name="connsiteX2840" fmla="*/ 2633648 w 12117871"/>
                <a:gd name="connsiteY2840" fmla="*/ 3333141 h 6072780"/>
                <a:gd name="connsiteX2841" fmla="*/ 2633648 w 12117871"/>
                <a:gd name="connsiteY2841" fmla="*/ 3153358 h 6072780"/>
                <a:gd name="connsiteX2842" fmla="*/ 2613039 w 12117871"/>
                <a:gd name="connsiteY2842" fmla="*/ 3164993 h 6072780"/>
                <a:gd name="connsiteX2843" fmla="*/ 2587866 w 12117871"/>
                <a:gd name="connsiteY2843" fmla="*/ 3173435 h 6072780"/>
                <a:gd name="connsiteX2844" fmla="*/ 2587866 w 12117871"/>
                <a:gd name="connsiteY2844" fmla="*/ 3143319 h 6072780"/>
                <a:gd name="connsiteX2845" fmla="*/ 2604901 w 12117871"/>
                <a:gd name="connsiteY2845" fmla="*/ 3137235 h 6072780"/>
                <a:gd name="connsiteX2846" fmla="*/ 2621100 w 12117871"/>
                <a:gd name="connsiteY2846" fmla="*/ 3130086 h 6072780"/>
                <a:gd name="connsiteX2847" fmla="*/ 2637223 w 12117871"/>
                <a:gd name="connsiteY2847" fmla="*/ 3121265 h 6072780"/>
                <a:gd name="connsiteX2848" fmla="*/ 2654030 w 12117871"/>
                <a:gd name="connsiteY2848" fmla="*/ 3110161 h 6072780"/>
                <a:gd name="connsiteX2849" fmla="*/ 2505173 w 12117871"/>
                <a:gd name="connsiteY2849" fmla="*/ 3110161 h 6072780"/>
                <a:gd name="connsiteX2850" fmla="*/ 2520079 w 12117871"/>
                <a:gd name="connsiteY2850" fmla="*/ 3110161 h 6072780"/>
                <a:gd name="connsiteX2851" fmla="*/ 2520079 w 12117871"/>
                <a:gd name="connsiteY2851" fmla="*/ 3333141 h 6072780"/>
                <a:gd name="connsiteX2852" fmla="*/ 2484791 w 12117871"/>
                <a:gd name="connsiteY2852" fmla="*/ 3333141 h 6072780"/>
                <a:gd name="connsiteX2853" fmla="*/ 2484791 w 12117871"/>
                <a:gd name="connsiteY2853" fmla="*/ 3153358 h 6072780"/>
                <a:gd name="connsiteX2854" fmla="*/ 2464183 w 12117871"/>
                <a:gd name="connsiteY2854" fmla="*/ 3164993 h 6072780"/>
                <a:gd name="connsiteX2855" fmla="*/ 2439009 w 12117871"/>
                <a:gd name="connsiteY2855" fmla="*/ 3173435 h 6072780"/>
                <a:gd name="connsiteX2856" fmla="*/ 2439009 w 12117871"/>
                <a:gd name="connsiteY2856" fmla="*/ 3143319 h 6072780"/>
                <a:gd name="connsiteX2857" fmla="*/ 2456044 w 12117871"/>
                <a:gd name="connsiteY2857" fmla="*/ 3137235 h 6072780"/>
                <a:gd name="connsiteX2858" fmla="*/ 2472243 w 12117871"/>
                <a:gd name="connsiteY2858" fmla="*/ 3130086 h 6072780"/>
                <a:gd name="connsiteX2859" fmla="*/ 2488366 w 12117871"/>
                <a:gd name="connsiteY2859" fmla="*/ 3121265 h 6072780"/>
                <a:gd name="connsiteX2860" fmla="*/ 2505173 w 12117871"/>
                <a:gd name="connsiteY2860" fmla="*/ 3110161 h 6072780"/>
                <a:gd name="connsiteX2861" fmla="*/ 1749921 w 12117871"/>
                <a:gd name="connsiteY2861" fmla="*/ 3110161 h 6072780"/>
                <a:gd name="connsiteX2862" fmla="*/ 1764827 w 12117871"/>
                <a:gd name="connsiteY2862" fmla="*/ 3110161 h 6072780"/>
                <a:gd name="connsiteX2863" fmla="*/ 1764827 w 12117871"/>
                <a:gd name="connsiteY2863" fmla="*/ 3333141 h 6072780"/>
                <a:gd name="connsiteX2864" fmla="*/ 1729539 w 12117871"/>
                <a:gd name="connsiteY2864" fmla="*/ 3333141 h 6072780"/>
                <a:gd name="connsiteX2865" fmla="*/ 1729539 w 12117871"/>
                <a:gd name="connsiteY2865" fmla="*/ 3153358 h 6072780"/>
                <a:gd name="connsiteX2866" fmla="*/ 1708930 w 12117871"/>
                <a:gd name="connsiteY2866" fmla="*/ 3164993 h 6072780"/>
                <a:gd name="connsiteX2867" fmla="*/ 1683757 w 12117871"/>
                <a:gd name="connsiteY2867" fmla="*/ 3173435 h 6072780"/>
                <a:gd name="connsiteX2868" fmla="*/ 1683757 w 12117871"/>
                <a:gd name="connsiteY2868" fmla="*/ 3143319 h 6072780"/>
                <a:gd name="connsiteX2869" fmla="*/ 1700792 w 12117871"/>
                <a:gd name="connsiteY2869" fmla="*/ 3137235 h 6072780"/>
                <a:gd name="connsiteX2870" fmla="*/ 1716991 w 12117871"/>
                <a:gd name="connsiteY2870" fmla="*/ 3130086 h 6072780"/>
                <a:gd name="connsiteX2871" fmla="*/ 1733114 w 12117871"/>
                <a:gd name="connsiteY2871" fmla="*/ 3121265 h 6072780"/>
                <a:gd name="connsiteX2872" fmla="*/ 1749921 w 12117871"/>
                <a:gd name="connsiteY2872" fmla="*/ 3110161 h 6072780"/>
                <a:gd name="connsiteX2873" fmla="*/ 1599915 w 12117871"/>
                <a:gd name="connsiteY2873" fmla="*/ 3110161 h 6072780"/>
                <a:gd name="connsiteX2874" fmla="*/ 1614821 w 12117871"/>
                <a:gd name="connsiteY2874" fmla="*/ 3110161 h 6072780"/>
                <a:gd name="connsiteX2875" fmla="*/ 1614821 w 12117871"/>
                <a:gd name="connsiteY2875" fmla="*/ 3333141 h 6072780"/>
                <a:gd name="connsiteX2876" fmla="*/ 1579533 w 12117871"/>
                <a:gd name="connsiteY2876" fmla="*/ 3333141 h 6072780"/>
                <a:gd name="connsiteX2877" fmla="*/ 1579533 w 12117871"/>
                <a:gd name="connsiteY2877" fmla="*/ 3153358 h 6072780"/>
                <a:gd name="connsiteX2878" fmla="*/ 1558924 w 12117871"/>
                <a:gd name="connsiteY2878" fmla="*/ 3164993 h 6072780"/>
                <a:gd name="connsiteX2879" fmla="*/ 1533751 w 12117871"/>
                <a:gd name="connsiteY2879" fmla="*/ 3173435 h 6072780"/>
                <a:gd name="connsiteX2880" fmla="*/ 1533751 w 12117871"/>
                <a:gd name="connsiteY2880" fmla="*/ 3143319 h 6072780"/>
                <a:gd name="connsiteX2881" fmla="*/ 1550786 w 12117871"/>
                <a:gd name="connsiteY2881" fmla="*/ 3137235 h 6072780"/>
                <a:gd name="connsiteX2882" fmla="*/ 1566985 w 12117871"/>
                <a:gd name="connsiteY2882" fmla="*/ 3130086 h 6072780"/>
                <a:gd name="connsiteX2883" fmla="*/ 1583108 w 12117871"/>
                <a:gd name="connsiteY2883" fmla="*/ 3121265 h 6072780"/>
                <a:gd name="connsiteX2884" fmla="*/ 1599915 w 12117871"/>
                <a:gd name="connsiteY2884" fmla="*/ 3110161 h 6072780"/>
                <a:gd name="connsiteX2885" fmla="*/ 1302201 w 12117871"/>
                <a:gd name="connsiteY2885" fmla="*/ 3110161 h 6072780"/>
                <a:gd name="connsiteX2886" fmla="*/ 1317107 w 12117871"/>
                <a:gd name="connsiteY2886" fmla="*/ 3110161 h 6072780"/>
                <a:gd name="connsiteX2887" fmla="*/ 1317107 w 12117871"/>
                <a:gd name="connsiteY2887" fmla="*/ 3333141 h 6072780"/>
                <a:gd name="connsiteX2888" fmla="*/ 1281819 w 12117871"/>
                <a:gd name="connsiteY2888" fmla="*/ 3333141 h 6072780"/>
                <a:gd name="connsiteX2889" fmla="*/ 1281819 w 12117871"/>
                <a:gd name="connsiteY2889" fmla="*/ 3153358 h 6072780"/>
                <a:gd name="connsiteX2890" fmla="*/ 1261210 w 12117871"/>
                <a:gd name="connsiteY2890" fmla="*/ 3164993 h 6072780"/>
                <a:gd name="connsiteX2891" fmla="*/ 1236037 w 12117871"/>
                <a:gd name="connsiteY2891" fmla="*/ 3173435 h 6072780"/>
                <a:gd name="connsiteX2892" fmla="*/ 1236037 w 12117871"/>
                <a:gd name="connsiteY2892" fmla="*/ 3143319 h 6072780"/>
                <a:gd name="connsiteX2893" fmla="*/ 1253072 w 12117871"/>
                <a:gd name="connsiteY2893" fmla="*/ 3137235 h 6072780"/>
                <a:gd name="connsiteX2894" fmla="*/ 1269271 w 12117871"/>
                <a:gd name="connsiteY2894" fmla="*/ 3130086 h 6072780"/>
                <a:gd name="connsiteX2895" fmla="*/ 1285394 w 12117871"/>
                <a:gd name="connsiteY2895" fmla="*/ 3121265 h 6072780"/>
                <a:gd name="connsiteX2896" fmla="*/ 1302201 w 12117871"/>
                <a:gd name="connsiteY2896" fmla="*/ 3110161 h 6072780"/>
                <a:gd name="connsiteX2897" fmla="*/ 927321 w 12117871"/>
                <a:gd name="connsiteY2897" fmla="*/ 3110161 h 6072780"/>
                <a:gd name="connsiteX2898" fmla="*/ 942227 w 12117871"/>
                <a:gd name="connsiteY2898" fmla="*/ 3110161 h 6072780"/>
                <a:gd name="connsiteX2899" fmla="*/ 942227 w 12117871"/>
                <a:gd name="connsiteY2899" fmla="*/ 3333141 h 6072780"/>
                <a:gd name="connsiteX2900" fmla="*/ 906939 w 12117871"/>
                <a:gd name="connsiteY2900" fmla="*/ 3333141 h 6072780"/>
                <a:gd name="connsiteX2901" fmla="*/ 906939 w 12117871"/>
                <a:gd name="connsiteY2901" fmla="*/ 3153358 h 6072780"/>
                <a:gd name="connsiteX2902" fmla="*/ 886330 w 12117871"/>
                <a:gd name="connsiteY2902" fmla="*/ 3164993 h 6072780"/>
                <a:gd name="connsiteX2903" fmla="*/ 861157 w 12117871"/>
                <a:gd name="connsiteY2903" fmla="*/ 3173435 h 6072780"/>
                <a:gd name="connsiteX2904" fmla="*/ 861157 w 12117871"/>
                <a:gd name="connsiteY2904" fmla="*/ 3143319 h 6072780"/>
                <a:gd name="connsiteX2905" fmla="*/ 878192 w 12117871"/>
                <a:gd name="connsiteY2905" fmla="*/ 3137235 h 6072780"/>
                <a:gd name="connsiteX2906" fmla="*/ 894391 w 12117871"/>
                <a:gd name="connsiteY2906" fmla="*/ 3130086 h 6072780"/>
                <a:gd name="connsiteX2907" fmla="*/ 910514 w 12117871"/>
                <a:gd name="connsiteY2907" fmla="*/ 3121265 h 6072780"/>
                <a:gd name="connsiteX2908" fmla="*/ 927321 w 12117871"/>
                <a:gd name="connsiteY2908" fmla="*/ 3110161 h 6072780"/>
                <a:gd name="connsiteX2909" fmla="*/ 778464 w 12117871"/>
                <a:gd name="connsiteY2909" fmla="*/ 3110161 h 6072780"/>
                <a:gd name="connsiteX2910" fmla="*/ 793370 w 12117871"/>
                <a:gd name="connsiteY2910" fmla="*/ 3110161 h 6072780"/>
                <a:gd name="connsiteX2911" fmla="*/ 793370 w 12117871"/>
                <a:gd name="connsiteY2911" fmla="*/ 3333141 h 6072780"/>
                <a:gd name="connsiteX2912" fmla="*/ 758082 w 12117871"/>
                <a:gd name="connsiteY2912" fmla="*/ 3333141 h 6072780"/>
                <a:gd name="connsiteX2913" fmla="*/ 758082 w 12117871"/>
                <a:gd name="connsiteY2913" fmla="*/ 3153358 h 6072780"/>
                <a:gd name="connsiteX2914" fmla="*/ 737473 w 12117871"/>
                <a:gd name="connsiteY2914" fmla="*/ 3164993 h 6072780"/>
                <a:gd name="connsiteX2915" fmla="*/ 712300 w 12117871"/>
                <a:gd name="connsiteY2915" fmla="*/ 3173435 h 6072780"/>
                <a:gd name="connsiteX2916" fmla="*/ 712300 w 12117871"/>
                <a:gd name="connsiteY2916" fmla="*/ 3143319 h 6072780"/>
                <a:gd name="connsiteX2917" fmla="*/ 729335 w 12117871"/>
                <a:gd name="connsiteY2917" fmla="*/ 3137235 h 6072780"/>
                <a:gd name="connsiteX2918" fmla="*/ 745534 w 12117871"/>
                <a:gd name="connsiteY2918" fmla="*/ 3130086 h 6072780"/>
                <a:gd name="connsiteX2919" fmla="*/ 761657 w 12117871"/>
                <a:gd name="connsiteY2919" fmla="*/ 3121265 h 6072780"/>
                <a:gd name="connsiteX2920" fmla="*/ 778464 w 12117871"/>
                <a:gd name="connsiteY2920" fmla="*/ 3110161 h 6072780"/>
                <a:gd name="connsiteX2921" fmla="*/ 629607 w 12117871"/>
                <a:gd name="connsiteY2921" fmla="*/ 3110161 h 6072780"/>
                <a:gd name="connsiteX2922" fmla="*/ 644513 w 12117871"/>
                <a:gd name="connsiteY2922" fmla="*/ 3110161 h 6072780"/>
                <a:gd name="connsiteX2923" fmla="*/ 644513 w 12117871"/>
                <a:gd name="connsiteY2923" fmla="*/ 3333141 h 6072780"/>
                <a:gd name="connsiteX2924" fmla="*/ 609225 w 12117871"/>
                <a:gd name="connsiteY2924" fmla="*/ 3333141 h 6072780"/>
                <a:gd name="connsiteX2925" fmla="*/ 609225 w 12117871"/>
                <a:gd name="connsiteY2925" fmla="*/ 3153358 h 6072780"/>
                <a:gd name="connsiteX2926" fmla="*/ 588616 w 12117871"/>
                <a:gd name="connsiteY2926" fmla="*/ 3164993 h 6072780"/>
                <a:gd name="connsiteX2927" fmla="*/ 563443 w 12117871"/>
                <a:gd name="connsiteY2927" fmla="*/ 3173435 h 6072780"/>
                <a:gd name="connsiteX2928" fmla="*/ 563443 w 12117871"/>
                <a:gd name="connsiteY2928" fmla="*/ 3143319 h 6072780"/>
                <a:gd name="connsiteX2929" fmla="*/ 580478 w 12117871"/>
                <a:gd name="connsiteY2929" fmla="*/ 3137235 h 6072780"/>
                <a:gd name="connsiteX2930" fmla="*/ 596677 w 12117871"/>
                <a:gd name="connsiteY2930" fmla="*/ 3130086 h 6072780"/>
                <a:gd name="connsiteX2931" fmla="*/ 612800 w 12117871"/>
                <a:gd name="connsiteY2931" fmla="*/ 3121265 h 6072780"/>
                <a:gd name="connsiteX2932" fmla="*/ 629607 w 12117871"/>
                <a:gd name="connsiteY2932" fmla="*/ 3110161 h 6072780"/>
                <a:gd name="connsiteX2933" fmla="*/ 480750 w 12117871"/>
                <a:gd name="connsiteY2933" fmla="*/ 3110161 h 6072780"/>
                <a:gd name="connsiteX2934" fmla="*/ 495656 w 12117871"/>
                <a:gd name="connsiteY2934" fmla="*/ 3110161 h 6072780"/>
                <a:gd name="connsiteX2935" fmla="*/ 495656 w 12117871"/>
                <a:gd name="connsiteY2935" fmla="*/ 3333141 h 6072780"/>
                <a:gd name="connsiteX2936" fmla="*/ 460368 w 12117871"/>
                <a:gd name="connsiteY2936" fmla="*/ 3333141 h 6072780"/>
                <a:gd name="connsiteX2937" fmla="*/ 460368 w 12117871"/>
                <a:gd name="connsiteY2937" fmla="*/ 3153358 h 6072780"/>
                <a:gd name="connsiteX2938" fmla="*/ 439759 w 12117871"/>
                <a:gd name="connsiteY2938" fmla="*/ 3164993 h 6072780"/>
                <a:gd name="connsiteX2939" fmla="*/ 414586 w 12117871"/>
                <a:gd name="connsiteY2939" fmla="*/ 3173435 h 6072780"/>
                <a:gd name="connsiteX2940" fmla="*/ 414586 w 12117871"/>
                <a:gd name="connsiteY2940" fmla="*/ 3143319 h 6072780"/>
                <a:gd name="connsiteX2941" fmla="*/ 431621 w 12117871"/>
                <a:gd name="connsiteY2941" fmla="*/ 3137235 h 6072780"/>
                <a:gd name="connsiteX2942" fmla="*/ 447820 w 12117871"/>
                <a:gd name="connsiteY2942" fmla="*/ 3130086 h 6072780"/>
                <a:gd name="connsiteX2943" fmla="*/ 463943 w 12117871"/>
                <a:gd name="connsiteY2943" fmla="*/ 3121265 h 6072780"/>
                <a:gd name="connsiteX2944" fmla="*/ 480750 w 12117871"/>
                <a:gd name="connsiteY2944" fmla="*/ 3110161 h 6072780"/>
                <a:gd name="connsiteX2945" fmla="*/ 275106 w 12117871"/>
                <a:gd name="connsiteY2945" fmla="*/ 3110161 h 6072780"/>
                <a:gd name="connsiteX2946" fmla="*/ 346273 w 12117871"/>
                <a:gd name="connsiteY2946" fmla="*/ 3220749 h 6072780"/>
                <a:gd name="connsiteX2947" fmla="*/ 326187 w 12117871"/>
                <a:gd name="connsiteY2947" fmla="*/ 3304328 h 6072780"/>
                <a:gd name="connsiteX2948" fmla="*/ 269990 w 12117871"/>
                <a:gd name="connsiteY2948" fmla="*/ 3333141 h 6072780"/>
                <a:gd name="connsiteX2949" fmla="*/ 217405 w 12117871"/>
                <a:gd name="connsiteY2949" fmla="*/ 3305607 h 6072780"/>
                <a:gd name="connsiteX2950" fmla="*/ 198522 w 12117871"/>
                <a:gd name="connsiteY2950" fmla="*/ 3226015 h 6072780"/>
                <a:gd name="connsiteX2951" fmla="*/ 218232 w 12117871"/>
                <a:gd name="connsiteY2951" fmla="*/ 3139501 h 6072780"/>
                <a:gd name="connsiteX2952" fmla="*/ 275106 w 12117871"/>
                <a:gd name="connsiteY2952" fmla="*/ 3110161 h 6072780"/>
                <a:gd name="connsiteX2953" fmla="*/ 76584 w 12117871"/>
                <a:gd name="connsiteY2953" fmla="*/ 3110161 h 6072780"/>
                <a:gd name="connsiteX2954" fmla="*/ 147751 w 12117871"/>
                <a:gd name="connsiteY2954" fmla="*/ 3220749 h 6072780"/>
                <a:gd name="connsiteX2955" fmla="*/ 127665 w 12117871"/>
                <a:gd name="connsiteY2955" fmla="*/ 3304328 h 6072780"/>
                <a:gd name="connsiteX2956" fmla="*/ 71468 w 12117871"/>
                <a:gd name="connsiteY2956" fmla="*/ 3333141 h 6072780"/>
                <a:gd name="connsiteX2957" fmla="*/ 18883 w 12117871"/>
                <a:gd name="connsiteY2957" fmla="*/ 3305607 h 6072780"/>
                <a:gd name="connsiteX2958" fmla="*/ 0 w 12117871"/>
                <a:gd name="connsiteY2958" fmla="*/ 3226015 h 6072780"/>
                <a:gd name="connsiteX2959" fmla="*/ 19710 w 12117871"/>
                <a:gd name="connsiteY2959" fmla="*/ 3139501 h 6072780"/>
                <a:gd name="connsiteX2960" fmla="*/ 76584 w 12117871"/>
                <a:gd name="connsiteY2960" fmla="*/ 3110161 h 6072780"/>
                <a:gd name="connsiteX2961" fmla="*/ 10090194 w 12117871"/>
                <a:gd name="connsiteY2961" fmla="*/ 2836964 h 6072780"/>
                <a:gd name="connsiteX2962" fmla="*/ 10050924 w 12117871"/>
                <a:gd name="connsiteY2962" fmla="*/ 2923478 h 6072780"/>
                <a:gd name="connsiteX2963" fmla="*/ 10089442 w 12117871"/>
                <a:gd name="connsiteY2963" fmla="*/ 3004425 h 6072780"/>
                <a:gd name="connsiteX2964" fmla="*/ 10127357 w 12117871"/>
                <a:gd name="connsiteY2964" fmla="*/ 2922124 h 6072780"/>
                <a:gd name="connsiteX2965" fmla="*/ 10090194 w 12117871"/>
                <a:gd name="connsiteY2965" fmla="*/ 2836964 h 6072780"/>
                <a:gd name="connsiteX2966" fmla="*/ 9869271 w 12117871"/>
                <a:gd name="connsiteY2966" fmla="*/ 2836964 h 6072780"/>
                <a:gd name="connsiteX2967" fmla="*/ 9830001 w 12117871"/>
                <a:gd name="connsiteY2967" fmla="*/ 2923478 h 6072780"/>
                <a:gd name="connsiteX2968" fmla="*/ 9868519 w 12117871"/>
                <a:gd name="connsiteY2968" fmla="*/ 3004425 h 6072780"/>
                <a:gd name="connsiteX2969" fmla="*/ 9906434 w 12117871"/>
                <a:gd name="connsiteY2969" fmla="*/ 2922124 h 6072780"/>
                <a:gd name="connsiteX2970" fmla="*/ 9869271 w 12117871"/>
                <a:gd name="connsiteY2970" fmla="*/ 2836964 h 6072780"/>
                <a:gd name="connsiteX2971" fmla="*/ 9207610 w 12117871"/>
                <a:gd name="connsiteY2971" fmla="*/ 2836964 h 6072780"/>
                <a:gd name="connsiteX2972" fmla="*/ 9168340 w 12117871"/>
                <a:gd name="connsiteY2972" fmla="*/ 2923478 h 6072780"/>
                <a:gd name="connsiteX2973" fmla="*/ 9206858 w 12117871"/>
                <a:gd name="connsiteY2973" fmla="*/ 3004425 h 6072780"/>
                <a:gd name="connsiteX2974" fmla="*/ 9244773 w 12117871"/>
                <a:gd name="connsiteY2974" fmla="*/ 2922124 h 6072780"/>
                <a:gd name="connsiteX2975" fmla="*/ 9207610 w 12117871"/>
                <a:gd name="connsiteY2975" fmla="*/ 2836964 h 6072780"/>
                <a:gd name="connsiteX2976" fmla="*/ 8986687 w 12117871"/>
                <a:gd name="connsiteY2976" fmla="*/ 2836964 h 6072780"/>
                <a:gd name="connsiteX2977" fmla="*/ 8947417 w 12117871"/>
                <a:gd name="connsiteY2977" fmla="*/ 2923478 h 6072780"/>
                <a:gd name="connsiteX2978" fmla="*/ 8985935 w 12117871"/>
                <a:gd name="connsiteY2978" fmla="*/ 3004425 h 6072780"/>
                <a:gd name="connsiteX2979" fmla="*/ 9023850 w 12117871"/>
                <a:gd name="connsiteY2979" fmla="*/ 2922124 h 6072780"/>
                <a:gd name="connsiteX2980" fmla="*/ 8986687 w 12117871"/>
                <a:gd name="connsiteY2980" fmla="*/ 2836964 h 6072780"/>
                <a:gd name="connsiteX2981" fmla="*/ 6137225 w 12117871"/>
                <a:gd name="connsiteY2981" fmla="*/ 2836964 h 6072780"/>
                <a:gd name="connsiteX2982" fmla="*/ 6097955 w 12117871"/>
                <a:gd name="connsiteY2982" fmla="*/ 2923478 h 6072780"/>
                <a:gd name="connsiteX2983" fmla="*/ 6136473 w 12117871"/>
                <a:gd name="connsiteY2983" fmla="*/ 3004425 h 6072780"/>
                <a:gd name="connsiteX2984" fmla="*/ 6174388 w 12117871"/>
                <a:gd name="connsiteY2984" fmla="*/ 2922124 h 6072780"/>
                <a:gd name="connsiteX2985" fmla="*/ 6137225 w 12117871"/>
                <a:gd name="connsiteY2985" fmla="*/ 2836964 h 6072780"/>
                <a:gd name="connsiteX2986" fmla="*/ 4034143 w 12117871"/>
                <a:gd name="connsiteY2986" fmla="*/ 2836964 h 6072780"/>
                <a:gd name="connsiteX2987" fmla="*/ 3994873 w 12117871"/>
                <a:gd name="connsiteY2987" fmla="*/ 2923478 h 6072780"/>
                <a:gd name="connsiteX2988" fmla="*/ 4033391 w 12117871"/>
                <a:gd name="connsiteY2988" fmla="*/ 3004425 h 6072780"/>
                <a:gd name="connsiteX2989" fmla="*/ 4071306 w 12117871"/>
                <a:gd name="connsiteY2989" fmla="*/ 2922124 h 6072780"/>
                <a:gd name="connsiteX2990" fmla="*/ 4034143 w 12117871"/>
                <a:gd name="connsiteY2990" fmla="*/ 2836964 h 6072780"/>
                <a:gd name="connsiteX2991" fmla="*/ 3813220 w 12117871"/>
                <a:gd name="connsiteY2991" fmla="*/ 2836964 h 6072780"/>
                <a:gd name="connsiteX2992" fmla="*/ 3773950 w 12117871"/>
                <a:gd name="connsiteY2992" fmla="*/ 2923478 h 6072780"/>
                <a:gd name="connsiteX2993" fmla="*/ 3812467 w 12117871"/>
                <a:gd name="connsiteY2993" fmla="*/ 3004425 h 6072780"/>
                <a:gd name="connsiteX2994" fmla="*/ 3850383 w 12117871"/>
                <a:gd name="connsiteY2994" fmla="*/ 2922124 h 6072780"/>
                <a:gd name="connsiteX2995" fmla="*/ 3813220 w 12117871"/>
                <a:gd name="connsiteY2995" fmla="*/ 2836964 h 6072780"/>
                <a:gd name="connsiteX2996" fmla="*/ 3151560 w 12117871"/>
                <a:gd name="connsiteY2996" fmla="*/ 2836964 h 6072780"/>
                <a:gd name="connsiteX2997" fmla="*/ 3112290 w 12117871"/>
                <a:gd name="connsiteY2997" fmla="*/ 2923478 h 6072780"/>
                <a:gd name="connsiteX2998" fmla="*/ 3150807 w 12117871"/>
                <a:gd name="connsiteY2998" fmla="*/ 3004425 h 6072780"/>
                <a:gd name="connsiteX2999" fmla="*/ 3188723 w 12117871"/>
                <a:gd name="connsiteY2999" fmla="*/ 2922124 h 6072780"/>
                <a:gd name="connsiteX3000" fmla="*/ 3151560 w 12117871"/>
                <a:gd name="connsiteY3000" fmla="*/ 2836964 h 6072780"/>
                <a:gd name="connsiteX3001" fmla="*/ 2930637 w 12117871"/>
                <a:gd name="connsiteY3001" fmla="*/ 2836964 h 6072780"/>
                <a:gd name="connsiteX3002" fmla="*/ 2891367 w 12117871"/>
                <a:gd name="connsiteY3002" fmla="*/ 2923478 h 6072780"/>
                <a:gd name="connsiteX3003" fmla="*/ 2929884 w 12117871"/>
                <a:gd name="connsiteY3003" fmla="*/ 3004425 h 6072780"/>
                <a:gd name="connsiteX3004" fmla="*/ 2967800 w 12117871"/>
                <a:gd name="connsiteY3004" fmla="*/ 2922124 h 6072780"/>
                <a:gd name="connsiteX3005" fmla="*/ 2930637 w 12117871"/>
                <a:gd name="connsiteY3005" fmla="*/ 2836964 h 6072780"/>
                <a:gd name="connsiteX3006" fmla="*/ 78039 w 12117871"/>
                <a:gd name="connsiteY3006" fmla="*/ 2834954 h 6072780"/>
                <a:gd name="connsiteX3007" fmla="*/ 38769 w 12117871"/>
                <a:gd name="connsiteY3007" fmla="*/ 2921468 h 6072780"/>
                <a:gd name="connsiteX3008" fmla="*/ 77287 w 12117871"/>
                <a:gd name="connsiteY3008" fmla="*/ 3002415 h 6072780"/>
                <a:gd name="connsiteX3009" fmla="*/ 115202 w 12117871"/>
                <a:gd name="connsiteY3009" fmla="*/ 2920114 h 6072780"/>
                <a:gd name="connsiteX3010" fmla="*/ 78039 w 12117871"/>
                <a:gd name="connsiteY3010" fmla="*/ 2834954 h 6072780"/>
                <a:gd name="connsiteX3011" fmla="*/ 11918627 w 12117871"/>
                <a:gd name="connsiteY3011" fmla="*/ 2809130 h 6072780"/>
                <a:gd name="connsiteX3012" fmla="*/ 11933533 w 12117871"/>
                <a:gd name="connsiteY3012" fmla="*/ 2809130 h 6072780"/>
                <a:gd name="connsiteX3013" fmla="*/ 11933533 w 12117871"/>
                <a:gd name="connsiteY3013" fmla="*/ 3032110 h 6072780"/>
                <a:gd name="connsiteX3014" fmla="*/ 11898245 w 12117871"/>
                <a:gd name="connsiteY3014" fmla="*/ 3032110 h 6072780"/>
                <a:gd name="connsiteX3015" fmla="*/ 11898245 w 12117871"/>
                <a:gd name="connsiteY3015" fmla="*/ 2852327 h 6072780"/>
                <a:gd name="connsiteX3016" fmla="*/ 11877636 w 12117871"/>
                <a:gd name="connsiteY3016" fmla="*/ 2863962 h 6072780"/>
                <a:gd name="connsiteX3017" fmla="*/ 11852463 w 12117871"/>
                <a:gd name="connsiteY3017" fmla="*/ 2872404 h 6072780"/>
                <a:gd name="connsiteX3018" fmla="*/ 11852463 w 12117871"/>
                <a:gd name="connsiteY3018" fmla="*/ 2842288 h 6072780"/>
                <a:gd name="connsiteX3019" fmla="*/ 11869498 w 12117871"/>
                <a:gd name="connsiteY3019" fmla="*/ 2836204 h 6072780"/>
                <a:gd name="connsiteX3020" fmla="*/ 11885697 w 12117871"/>
                <a:gd name="connsiteY3020" fmla="*/ 2829055 h 6072780"/>
                <a:gd name="connsiteX3021" fmla="*/ 11901820 w 12117871"/>
                <a:gd name="connsiteY3021" fmla="*/ 2820234 h 6072780"/>
                <a:gd name="connsiteX3022" fmla="*/ 11918627 w 12117871"/>
                <a:gd name="connsiteY3022" fmla="*/ 2809130 h 6072780"/>
                <a:gd name="connsiteX3023" fmla="*/ 11535759 w 12117871"/>
                <a:gd name="connsiteY3023" fmla="*/ 2809130 h 6072780"/>
                <a:gd name="connsiteX3024" fmla="*/ 11550665 w 12117871"/>
                <a:gd name="connsiteY3024" fmla="*/ 2809130 h 6072780"/>
                <a:gd name="connsiteX3025" fmla="*/ 11550665 w 12117871"/>
                <a:gd name="connsiteY3025" fmla="*/ 3032110 h 6072780"/>
                <a:gd name="connsiteX3026" fmla="*/ 11515377 w 12117871"/>
                <a:gd name="connsiteY3026" fmla="*/ 3032110 h 6072780"/>
                <a:gd name="connsiteX3027" fmla="*/ 11515377 w 12117871"/>
                <a:gd name="connsiteY3027" fmla="*/ 2852327 h 6072780"/>
                <a:gd name="connsiteX3028" fmla="*/ 11494768 w 12117871"/>
                <a:gd name="connsiteY3028" fmla="*/ 2863962 h 6072780"/>
                <a:gd name="connsiteX3029" fmla="*/ 11469595 w 12117871"/>
                <a:gd name="connsiteY3029" fmla="*/ 2872404 h 6072780"/>
                <a:gd name="connsiteX3030" fmla="*/ 11469595 w 12117871"/>
                <a:gd name="connsiteY3030" fmla="*/ 2842288 h 6072780"/>
                <a:gd name="connsiteX3031" fmla="*/ 11486630 w 12117871"/>
                <a:gd name="connsiteY3031" fmla="*/ 2836204 h 6072780"/>
                <a:gd name="connsiteX3032" fmla="*/ 11502829 w 12117871"/>
                <a:gd name="connsiteY3032" fmla="*/ 2829055 h 6072780"/>
                <a:gd name="connsiteX3033" fmla="*/ 11518952 w 12117871"/>
                <a:gd name="connsiteY3033" fmla="*/ 2820234 h 6072780"/>
                <a:gd name="connsiteX3034" fmla="*/ 11535759 w 12117871"/>
                <a:gd name="connsiteY3034" fmla="*/ 2809130 h 6072780"/>
                <a:gd name="connsiteX3035" fmla="*/ 11391633 w 12117871"/>
                <a:gd name="connsiteY3035" fmla="*/ 2809130 h 6072780"/>
                <a:gd name="connsiteX3036" fmla="*/ 11406539 w 12117871"/>
                <a:gd name="connsiteY3036" fmla="*/ 2809130 h 6072780"/>
                <a:gd name="connsiteX3037" fmla="*/ 11406539 w 12117871"/>
                <a:gd name="connsiteY3037" fmla="*/ 3032110 h 6072780"/>
                <a:gd name="connsiteX3038" fmla="*/ 11371251 w 12117871"/>
                <a:gd name="connsiteY3038" fmla="*/ 3032110 h 6072780"/>
                <a:gd name="connsiteX3039" fmla="*/ 11371251 w 12117871"/>
                <a:gd name="connsiteY3039" fmla="*/ 2852327 h 6072780"/>
                <a:gd name="connsiteX3040" fmla="*/ 11350642 w 12117871"/>
                <a:gd name="connsiteY3040" fmla="*/ 2863962 h 6072780"/>
                <a:gd name="connsiteX3041" fmla="*/ 11325469 w 12117871"/>
                <a:gd name="connsiteY3041" fmla="*/ 2872404 h 6072780"/>
                <a:gd name="connsiteX3042" fmla="*/ 11325469 w 12117871"/>
                <a:gd name="connsiteY3042" fmla="*/ 2842288 h 6072780"/>
                <a:gd name="connsiteX3043" fmla="*/ 11342504 w 12117871"/>
                <a:gd name="connsiteY3043" fmla="*/ 2836204 h 6072780"/>
                <a:gd name="connsiteX3044" fmla="*/ 11358703 w 12117871"/>
                <a:gd name="connsiteY3044" fmla="*/ 2829055 h 6072780"/>
                <a:gd name="connsiteX3045" fmla="*/ 11374826 w 12117871"/>
                <a:gd name="connsiteY3045" fmla="*/ 2820234 h 6072780"/>
                <a:gd name="connsiteX3046" fmla="*/ 11391633 w 12117871"/>
                <a:gd name="connsiteY3046" fmla="*/ 2809130 h 6072780"/>
                <a:gd name="connsiteX3047" fmla="*/ 11247508 w 12117871"/>
                <a:gd name="connsiteY3047" fmla="*/ 2809130 h 6072780"/>
                <a:gd name="connsiteX3048" fmla="*/ 11262414 w 12117871"/>
                <a:gd name="connsiteY3048" fmla="*/ 2809130 h 6072780"/>
                <a:gd name="connsiteX3049" fmla="*/ 11262414 w 12117871"/>
                <a:gd name="connsiteY3049" fmla="*/ 3032110 h 6072780"/>
                <a:gd name="connsiteX3050" fmla="*/ 11227126 w 12117871"/>
                <a:gd name="connsiteY3050" fmla="*/ 3032110 h 6072780"/>
                <a:gd name="connsiteX3051" fmla="*/ 11227126 w 12117871"/>
                <a:gd name="connsiteY3051" fmla="*/ 2852327 h 6072780"/>
                <a:gd name="connsiteX3052" fmla="*/ 11206517 w 12117871"/>
                <a:gd name="connsiteY3052" fmla="*/ 2863962 h 6072780"/>
                <a:gd name="connsiteX3053" fmla="*/ 11181344 w 12117871"/>
                <a:gd name="connsiteY3053" fmla="*/ 2872404 h 6072780"/>
                <a:gd name="connsiteX3054" fmla="*/ 11181344 w 12117871"/>
                <a:gd name="connsiteY3054" fmla="*/ 2842288 h 6072780"/>
                <a:gd name="connsiteX3055" fmla="*/ 11198379 w 12117871"/>
                <a:gd name="connsiteY3055" fmla="*/ 2836204 h 6072780"/>
                <a:gd name="connsiteX3056" fmla="*/ 11214578 w 12117871"/>
                <a:gd name="connsiteY3056" fmla="*/ 2829055 h 6072780"/>
                <a:gd name="connsiteX3057" fmla="*/ 11230701 w 12117871"/>
                <a:gd name="connsiteY3057" fmla="*/ 2820234 h 6072780"/>
                <a:gd name="connsiteX3058" fmla="*/ 11247508 w 12117871"/>
                <a:gd name="connsiteY3058" fmla="*/ 2809130 h 6072780"/>
                <a:gd name="connsiteX3059" fmla="*/ 11103383 w 12117871"/>
                <a:gd name="connsiteY3059" fmla="*/ 2809130 h 6072780"/>
                <a:gd name="connsiteX3060" fmla="*/ 11118289 w 12117871"/>
                <a:gd name="connsiteY3060" fmla="*/ 2809130 h 6072780"/>
                <a:gd name="connsiteX3061" fmla="*/ 11118289 w 12117871"/>
                <a:gd name="connsiteY3061" fmla="*/ 3032110 h 6072780"/>
                <a:gd name="connsiteX3062" fmla="*/ 11083001 w 12117871"/>
                <a:gd name="connsiteY3062" fmla="*/ 3032110 h 6072780"/>
                <a:gd name="connsiteX3063" fmla="*/ 11083001 w 12117871"/>
                <a:gd name="connsiteY3063" fmla="*/ 2852327 h 6072780"/>
                <a:gd name="connsiteX3064" fmla="*/ 11062392 w 12117871"/>
                <a:gd name="connsiteY3064" fmla="*/ 2863962 h 6072780"/>
                <a:gd name="connsiteX3065" fmla="*/ 11037219 w 12117871"/>
                <a:gd name="connsiteY3065" fmla="*/ 2872404 h 6072780"/>
                <a:gd name="connsiteX3066" fmla="*/ 11037219 w 12117871"/>
                <a:gd name="connsiteY3066" fmla="*/ 2842288 h 6072780"/>
                <a:gd name="connsiteX3067" fmla="*/ 11054254 w 12117871"/>
                <a:gd name="connsiteY3067" fmla="*/ 2836204 h 6072780"/>
                <a:gd name="connsiteX3068" fmla="*/ 11070453 w 12117871"/>
                <a:gd name="connsiteY3068" fmla="*/ 2829055 h 6072780"/>
                <a:gd name="connsiteX3069" fmla="*/ 11086576 w 12117871"/>
                <a:gd name="connsiteY3069" fmla="*/ 2820234 h 6072780"/>
                <a:gd name="connsiteX3070" fmla="*/ 11103383 w 12117871"/>
                <a:gd name="connsiteY3070" fmla="*/ 2809130 h 6072780"/>
                <a:gd name="connsiteX3071" fmla="*/ 10959258 w 12117871"/>
                <a:gd name="connsiteY3071" fmla="*/ 2809130 h 6072780"/>
                <a:gd name="connsiteX3072" fmla="*/ 10974164 w 12117871"/>
                <a:gd name="connsiteY3072" fmla="*/ 2809130 h 6072780"/>
                <a:gd name="connsiteX3073" fmla="*/ 10974164 w 12117871"/>
                <a:gd name="connsiteY3073" fmla="*/ 3032110 h 6072780"/>
                <a:gd name="connsiteX3074" fmla="*/ 10938876 w 12117871"/>
                <a:gd name="connsiteY3074" fmla="*/ 3032110 h 6072780"/>
                <a:gd name="connsiteX3075" fmla="*/ 10938876 w 12117871"/>
                <a:gd name="connsiteY3075" fmla="*/ 2852327 h 6072780"/>
                <a:gd name="connsiteX3076" fmla="*/ 10918267 w 12117871"/>
                <a:gd name="connsiteY3076" fmla="*/ 2863962 h 6072780"/>
                <a:gd name="connsiteX3077" fmla="*/ 10893094 w 12117871"/>
                <a:gd name="connsiteY3077" fmla="*/ 2872404 h 6072780"/>
                <a:gd name="connsiteX3078" fmla="*/ 10893094 w 12117871"/>
                <a:gd name="connsiteY3078" fmla="*/ 2842288 h 6072780"/>
                <a:gd name="connsiteX3079" fmla="*/ 10910129 w 12117871"/>
                <a:gd name="connsiteY3079" fmla="*/ 2836204 h 6072780"/>
                <a:gd name="connsiteX3080" fmla="*/ 10926328 w 12117871"/>
                <a:gd name="connsiteY3080" fmla="*/ 2829055 h 6072780"/>
                <a:gd name="connsiteX3081" fmla="*/ 10942451 w 12117871"/>
                <a:gd name="connsiteY3081" fmla="*/ 2820234 h 6072780"/>
                <a:gd name="connsiteX3082" fmla="*/ 10959258 w 12117871"/>
                <a:gd name="connsiteY3082" fmla="*/ 2809130 h 6072780"/>
                <a:gd name="connsiteX3083" fmla="*/ 10571025 w 12117871"/>
                <a:gd name="connsiteY3083" fmla="*/ 2809130 h 6072780"/>
                <a:gd name="connsiteX3084" fmla="*/ 10585931 w 12117871"/>
                <a:gd name="connsiteY3084" fmla="*/ 2809130 h 6072780"/>
                <a:gd name="connsiteX3085" fmla="*/ 10585931 w 12117871"/>
                <a:gd name="connsiteY3085" fmla="*/ 3032110 h 6072780"/>
                <a:gd name="connsiteX3086" fmla="*/ 10550643 w 12117871"/>
                <a:gd name="connsiteY3086" fmla="*/ 3032110 h 6072780"/>
                <a:gd name="connsiteX3087" fmla="*/ 10550643 w 12117871"/>
                <a:gd name="connsiteY3087" fmla="*/ 2852327 h 6072780"/>
                <a:gd name="connsiteX3088" fmla="*/ 10530034 w 12117871"/>
                <a:gd name="connsiteY3088" fmla="*/ 2863962 h 6072780"/>
                <a:gd name="connsiteX3089" fmla="*/ 10504861 w 12117871"/>
                <a:gd name="connsiteY3089" fmla="*/ 2872404 h 6072780"/>
                <a:gd name="connsiteX3090" fmla="*/ 10504861 w 12117871"/>
                <a:gd name="connsiteY3090" fmla="*/ 2842288 h 6072780"/>
                <a:gd name="connsiteX3091" fmla="*/ 10521896 w 12117871"/>
                <a:gd name="connsiteY3091" fmla="*/ 2836204 h 6072780"/>
                <a:gd name="connsiteX3092" fmla="*/ 10538095 w 12117871"/>
                <a:gd name="connsiteY3092" fmla="*/ 2829055 h 6072780"/>
                <a:gd name="connsiteX3093" fmla="*/ 10554218 w 12117871"/>
                <a:gd name="connsiteY3093" fmla="*/ 2820234 h 6072780"/>
                <a:gd name="connsiteX3094" fmla="*/ 10571025 w 12117871"/>
                <a:gd name="connsiteY3094" fmla="*/ 2809130 h 6072780"/>
                <a:gd name="connsiteX3095" fmla="*/ 10304917 w 12117871"/>
                <a:gd name="connsiteY3095" fmla="*/ 2809130 h 6072780"/>
                <a:gd name="connsiteX3096" fmla="*/ 10319823 w 12117871"/>
                <a:gd name="connsiteY3096" fmla="*/ 2809130 h 6072780"/>
                <a:gd name="connsiteX3097" fmla="*/ 10319823 w 12117871"/>
                <a:gd name="connsiteY3097" fmla="*/ 3032110 h 6072780"/>
                <a:gd name="connsiteX3098" fmla="*/ 10284535 w 12117871"/>
                <a:gd name="connsiteY3098" fmla="*/ 3032110 h 6072780"/>
                <a:gd name="connsiteX3099" fmla="*/ 10284535 w 12117871"/>
                <a:gd name="connsiteY3099" fmla="*/ 2852327 h 6072780"/>
                <a:gd name="connsiteX3100" fmla="*/ 10263926 w 12117871"/>
                <a:gd name="connsiteY3100" fmla="*/ 2863962 h 6072780"/>
                <a:gd name="connsiteX3101" fmla="*/ 10238753 w 12117871"/>
                <a:gd name="connsiteY3101" fmla="*/ 2872404 h 6072780"/>
                <a:gd name="connsiteX3102" fmla="*/ 10238753 w 12117871"/>
                <a:gd name="connsiteY3102" fmla="*/ 2842288 h 6072780"/>
                <a:gd name="connsiteX3103" fmla="*/ 10255788 w 12117871"/>
                <a:gd name="connsiteY3103" fmla="*/ 2836204 h 6072780"/>
                <a:gd name="connsiteX3104" fmla="*/ 10271987 w 12117871"/>
                <a:gd name="connsiteY3104" fmla="*/ 2829055 h 6072780"/>
                <a:gd name="connsiteX3105" fmla="*/ 10288110 w 12117871"/>
                <a:gd name="connsiteY3105" fmla="*/ 2820234 h 6072780"/>
                <a:gd name="connsiteX3106" fmla="*/ 10304917 w 12117871"/>
                <a:gd name="connsiteY3106" fmla="*/ 2809130 h 6072780"/>
                <a:gd name="connsiteX3107" fmla="*/ 9693318 w 12117871"/>
                <a:gd name="connsiteY3107" fmla="*/ 2809130 h 6072780"/>
                <a:gd name="connsiteX3108" fmla="*/ 9708224 w 12117871"/>
                <a:gd name="connsiteY3108" fmla="*/ 2809130 h 6072780"/>
                <a:gd name="connsiteX3109" fmla="*/ 9708224 w 12117871"/>
                <a:gd name="connsiteY3109" fmla="*/ 3032110 h 6072780"/>
                <a:gd name="connsiteX3110" fmla="*/ 9672936 w 12117871"/>
                <a:gd name="connsiteY3110" fmla="*/ 3032110 h 6072780"/>
                <a:gd name="connsiteX3111" fmla="*/ 9672936 w 12117871"/>
                <a:gd name="connsiteY3111" fmla="*/ 2852327 h 6072780"/>
                <a:gd name="connsiteX3112" fmla="*/ 9652327 w 12117871"/>
                <a:gd name="connsiteY3112" fmla="*/ 2863962 h 6072780"/>
                <a:gd name="connsiteX3113" fmla="*/ 9627154 w 12117871"/>
                <a:gd name="connsiteY3113" fmla="*/ 2872404 h 6072780"/>
                <a:gd name="connsiteX3114" fmla="*/ 9627154 w 12117871"/>
                <a:gd name="connsiteY3114" fmla="*/ 2842288 h 6072780"/>
                <a:gd name="connsiteX3115" fmla="*/ 9644189 w 12117871"/>
                <a:gd name="connsiteY3115" fmla="*/ 2836204 h 6072780"/>
                <a:gd name="connsiteX3116" fmla="*/ 9660388 w 12117871"/>
                <a:gd name="connsiteY3116" fmla="*/ 2829055 h 6072780"/>
                <a:gd name="connsiteX3117" fmla="*/ 9676511 w 12117871"/>
                <a:gd name="connsiteY3117" fmla="*/ 2820234 h 6072780"/>
                <a:gd name="connsiteX3118" fmla="*/ 9693318 w 12117871"/>
                <a:gd name="connsiteY3118" fmla="*/ 2809130 h 6072780"/>
                <a:gd name="connsiteX3119" fmla="*/ 9427209 w 12117871"/>
                <a:gd name="connsiteY3119" fmla="*/ 2809130 h 6072780"/>
                <a:gd name="connsiteX3120" fmla="*/ 9442115 w 12117871"/>
                <a:gd name="connsiteY3120" fmla="*/ 2809130 h 6072780"/>
                <a:gd name="connsiteX3121" fmla="*/ 9442115 w 12117871"/>
                <a:gd name="connsiteY3121" fmla="*/ 3032110 h 6072780"/>
                <a:gd name="connsiteX3122" fmla="*/ 9406827 w 12117871"/>
                <a:gd name="connsiteY3122" fmla="*/ 3032110 h 6072780"/>
                <a:gd name="connsiteX3123" fmla="*/ 9406827 w 12117871"/>
                <a:gd name="connsiteY3123" fmla="*/ 2852327 h 6072780"/>
                <a:gd name="connsiteX3124" fmla="*/ 9386218 w 12117871"/>
                <a:gd name="connsiteY3124" fmla="*/ 2863962 h 6072780"/>
                <a:gd name="connsiteX3125" fmla="*/ 9361045 w 12117871"/>
                <a:gd name="connsiteY3125" fmla="*/ 2872404 h 6072780"/>
                <a:gd name="connsiteX3126" fmla="*/ 9361045 w 12117871"/>
                <a:gd name="connsiteY3126" fmla="*/ 2842288 h 6072780"/>
                <a:gd name="connsiteX3127" fmla="*/ 9378080 w 12117871"/>
                <a:gd name="connsiteY3127" fmla="*/ 2836204 h 6072780"/>
                <a:gd name="connsiteX3128" fmla="*/ 9394279 w 12117871"/>
                <a:gd name="connsiteY3128" fmla="*/ 2829055 h 6072780"/>
                <a:gd name="connsiteX3129" fmla="*/ 9410402 w 12117871"/>
                <a:gd name="connsiteY3129" fmla="*/ 2820234 h 6072780"/>
                <a:gd name="connsiteX3130" fmla="*/ 9427209 w 12117871"/>
                <a:gd name="connsiteY3130" fmla="*/ 2809130 h 6072780"/>
                <a:gd name="connsiteX3131" fmla="*/ 8820862 w 12117871"/>
                <a:gd name="connsiteY3131" fmla="*/ 2809130 h 6072780"/>
                <a:gd name="connsiteX3132" fmla="*/ 8835768 w 12117871"/>
                <a:gd name="connsiteY3132" fmla="*/ 2809130 h 6072780"/>
                <a:gd name="connsiteX3133" fmla="*/ 8835768 w 12117871"/>
                <a:gd name="connsiteY3133" fmla="*/ 3032110 h 6072780"/>
                <a:gd name="connsiteX3134" fmla="*/ 8800480 w 12117871"/>
                <a:gd name="connsiteY3134" fmla="*/ 3032110 h 6072780"/>
                <a:gd name="connsiteX3135" fmla="*/ 8800480 w 12117871"/>
                <a:gd name="connsiteY3135" fmla="*/ 2852327 h 6072780"/>
                <a:gd name="connsiteX3136" fmla="*/ 8779871 w 12117871"/>
                <a:gd name="connsiteY3136" fmla="*/ 2863962 h 6072780"/>
                <a:gd name="connsiteX3137" fmla="*/ 8754698 w 12117871"/>
                <a:gd name="connsiteY3137" fmla="*/ 2872404 h 6072780"/>
                <a:gd name="connsiteX3138" fmla="*/ 8754698 w 12117871"/>
                <a:gd name="connsiteY3138" fmla="*/ 2842288 h 6072780"/>
                <a:gd name="connsiteX3139" fmla="*/ 8771733 w 12117871"/>
                <a:gd name="connsiteY3139" fmla="*/ 2836204 h 6072780"/>
                <a:gd name="connsiteX3140" fmla="*/ 8787932 w 12117871"/>
                <a:gd name="connsiteY3140" fmla="*/ 2829055 h 6072780"/>
                <a:gd name="connsiteX3141" fmla="*/ 8804055 w 12117871"/>
                <a:gd name="connsiteY3141" fmla="*/ 2820234 h 6072780"/>
                <a:gd name="connsiteX3142" fmla="*/ 8820862 w 12117871"/>
                <a:gd name="connsiteY3142" fmla="*/ 2809130 h 6072780"/>
                <a:gd name="connsiteX3143" fmla="*/ 8554754 w 12117871"/>
                <a:gd name="connsiteY3143" fmla="*/ 2809130 h 6072780"/>
                <a:gd name="connsiteX3144" fmla="*/ 8569660 w 12117871"/>
                <a:gd name="connsiteY3144" fmla="*/ 2809130 h 6072780"/>
                <a:gd name="connsiteX3145" fmla="*/ 8569660 w 12117871"/>
                <a:gd name="connsiteY3145" fmla="*/ 3032110 h 6072780"/>
                <a:gd name="connsiteX3146" fmla="*/ 8534372 w 12117871"/>
                <a:gd name="connsiteY3146" fmla="*/ 3032110 h 6072780"/>
                <a:gd name="connsiteX3147" fmla="*/ 8534372 w 12117871"/>
                <a:gd name="connsiteY3147" fmla="*/ 2852327 h 6072780"/>
                <a:gd name="connsiteX3148" fmla="*/ 8513763 w 12117871"/>
                <a:gd name="connsiteY3148" fmla="*/ 2863962 h 6072780"/>
                <a:gd name="connsiteX3149" fmla="*/ 8488590 w 12117871"/>
                <a:gd name="connsiteY3149" fmla="*/ 2872404 h 6072780"/>
                <a:gd name="connsiteX3150" fmla="*/ 8488590 w 12117871"/>
                <a:gd name="connsiteY3150" fmla="*/ 2842288 h 6072780"/>
                <a:gd name="connsiteX3151" fmla="*/ 8505625 w 12117871"/>
                <a:gd name="connsiteY3151" fmla="*/ 2836204 h 6072780"/>
                <a:gd name="connsiteX3152" fmla="*/ 8521824 w 12117871"/>
                <a:gd name="connsiteY3152" fmla="*/ 2829055 h 6072780"/>
                <a:gd name="connsiteX3153" fmla="*/ 8537947 w 12117871"/>
                <a:gd name="connsiteY3153" fmla="*/ 2820234 h 6072780"/>
                <a:gd name="connsiteX3154" fmla="*/ 8554754 w 12117871"/>
                <a:gd name="connsiteY3154" fmla="*/ 2809130 h 6072780"/>
                <a:gd name="connsiteX3155" fmla="*/ 8142986 w 12117871"/>
                <a:gd name="connsiteY3155" fmla="*/ 2809130 h 6072780"/>
                <a:gd name="connsiteX3156" fmla="*/ 8157893 w 12117871"/>
                <a:gd name="connsiteY3156" fmla="*/ 2809130 h 6072780"/>
                <a:gd name="connsiteX3157" fmla="*/ 8157893 w 12117871"/>
                <a:gd name="connsiteY3157" fmla="*/ 3032110 h 6072780"/>
                <a:gd name="connsiteX3158" fmla="*/ 8122605 w 12117871"/>
                <a:gd name="connsiteY3158" fmla="*/ 3032110 h 6072780"/>
                <a:gd name="connsiteX3159" fmla="*/ 8122605 w 12117871"/>
                <a:gd name="connsiteY3159" fmla="*/ 2852327 h 6072780"/>
                <a:gd name="connsiteX3160" fmla="*/ 8101995 w 12117871"/>
                <a:gd name="connsiteY3160" fmla="*/ 2863962 h 6072780"/>
                <a:gd name="connsiteX3161" fmla="*/ 8076823 w 12117871"/>
                <a:gd name="connsiteY3161" fmla="*/ 2872404 h 6072780"/>
                <a:gd name="connsiteX3162" fmla="*/ 8076823 w 12117871"/>
                <a:gd name="connsiteY3162" fmla="*/ 2842288 h 6072780"/>
                <a:gd name="connsiteX3163" fmla="*/ 8093858 w 12117871"/>
                <a:gd name="connsiteY3163" fmla="*/ 2836204 h 6072780"/>
                <a:gd name="connsiteX3164" fmla="*/ 8110057 w 12117871"/>
                <a:gd name="connsiteY3164" fmla="*/ 2829055 h 6072780"/>
                <a:gd name="connsiteX3165" fmla="*/ 8126179 w 12117871"/>
                <a:gd name="connsiteY3165" fmla="*/ 2820234 h 6072780"/>
                <a:gd name="connsiteX3166" fmla="*/ 8142986 w 12117871"/>
                <a:gd name="connsiteY3166" fmla="*/ 2809130 h 6072780"/>
                <a:gd name="connsiteX3167" fmla="*/ 8009932 w 12117871"/>
                <a:gd name="connsiteY3167" fmla="*/ 2809130 h 6072780"/>
                <a:gd name="connsiteX3168" fmla="*/ 8024839 w 12117871"/>
                <a:gd name="connsiteY3168" fmla="*/ 2809130 h 6072780"/>
                <a:gd name="connsiteX3169" fmla="*/ 8024839 w 12117871"/>
                <a:gd name="connsiteY3169" fmla="*/ 3032110 h 6072780"/>
                <a:gd name="connsiteX3170" fmla="*/ 7989551 w 12117871"/>
                <a:gd name="connsiteY3170" fmla="*/ 3032110 h 6072780"/>
                <a:gd name="connsiteX3171" fmla="*/ 7989551 w 12117871"/>
                <a:gd name="connsiteY3171" fmla="*/ 2852327 h 6072780"/>
                <a:gd name="connsiteX3172" fmla="*/ 7968941 w 12117871"/>
                <a:gd name="connsiteY3172" fmla="*/ 2863962 h 6072780"/>
                <a:gd name="connsiteX3173" fmla="*/ 7943769 w 12117871"/>
                <a:gd name="connsiteY3173" fmla="*/ 2872404 h 6072780"/>
                <a:gd name="connsiteX3174" fmla="*/ 7943769 w 12117871"/>
                <a:gd name="connsiteY3174" fmla="*/ 2842288 h 6072780"/>
                <a:gd name="connsiteX3175" fmla="*/ 7960804 w 12117871"/>
                <a:gd name="connsiteY3175" fmla="*/ 2836204 h 6072780"/>
                <a:gd name="connsiteX3176" fmla="*/ 7977003 w 12117871"/>
                <a:gd name="connsiteY3176" fmla="*/ 2829055 h 6072780"/>
                <a:gd name="connsiteX3177" fmla="*/ 7993125 w 12117871"/>
                <a:gd name="connsiteY3177" fmla="*/ 2820234 h 6072780"/>
                <a:gd name="connsiteX3178" fmla="*/ 8009932 w 12117871"/>
                <a:gd name="connsiteY3178" fmla="*/ 2809130 h 6072780"/>
                <a:gd name="connsiteX3179" fmla="*/ 7876878 w 12117871"/>
                <a:gd name="connsiteY3179" fmla="*/ 2809130 h 6072780"/>
                <a:gd name="connsiteX3180" fmla="*/ 7891785 w 12117871"/>
                <a:gd name="connsiteY3180" fmla="*/ 2809130 h 6072780"/>
                <a:gd name="connsiteX3181" fmla="*/ 7891785 w 12117871"/>
                <a:gd name="connsiteY3181" fmla="*/ 3032110 h 6072780"/>
                <a:gd name="connsiteX3182" fmla="*/ 7856497 w 12117871"/>
                <a:gd name="connsiteY3182" fmla="*/ 3032110 h 6072780"/>
                <a:gd name="connsiteX3183" fmla="*/ 7856497 w 12117871"/>
                <a:gd name="connsiteY3183" fmla="*/ 2852327 h 6072780"/>
                <a:gd name="connsiteX3184" fmla="*/ 7835887 w 12117871"/>
                <a:gd name="connsiteY3184" fmla="*/ 2863962 h 6072780"/>
                <a:gd name="connsiteX3185" fmla="*/ 7810715 w 12117871"/>
                <a:gd name="connsiteY3185" fmla="*/ 2872404 h 6072780"/>
                <a:gd name="connsiteX3186" fmla="*/ 7810715 w 12117871"/>
                <a:gd name="connsiteY3186" fmla="*/ 2842288 h 6072780"/>
                <a:gd name="connsiteX3187" fmla="*/ 7827750 w 12117871"/>
                <a:gd name="connsiteY3187" fmla="*/ 2836204 h 6072780"/>
                <a:gd name="connsiteX3188" fmla="*/ 7843949 w 12117871"/>
                <a:gd name="connsiteY3188" fmla="*/ 2829055 h 6072780"/>
                <a:gd name="connsiteX3189" fmla="*/ 7860071 w 12117871"/>
                <a:gd name="connsiteY3189" fmla="*/ 2820234 h 6072780"/>
                <a:gd name="connsiteX3190" fmla="*/ 7876878 w 12117871"/>
                <a:gd name="connsiteY3190" fmla="*/ 2809130 h 6072780"/>
                <a:gd name="connsiteX3191" fmla="*/ 7734266 w 12117871"/>
                <a:gd name="connsiteY3191" fmla="*/ 2809130 h 6072780"/>
                <a:gd name="connsiteX3192" fmla="*/ 7749173 w 12117871"/>
                <a:gd name="connsiteY3192" fmla="*/ 2809130 h 6072780"/>
                <a:gd name="connsiteX3193" fmla="*/ 7749173 w 12117871"/>
                <a:gd name="connsiteY3193" fmla="*/ 3032110 h 6072780"/>
                <a:gd name="connsiteX3194" fmla="*/ 7713885 w 12117871"/>
                <a:gd name="connsiteY3194" fmla="*/ 3032110 h 6072780"/>
                <a:gd name="connsiteX3195" fmla="*/ 7713885 w 12117871"/>
                <a:gd name="connsiteY3195" fmla="*/ 2852327 h 6072780"/>
                <a:gd name="connsiteX3196" fmla="*/ 7693275 w 12117871"/>
                <a:gd name="connsiteY3196" fmla="*/ 2863962 h 6072780"/>
                <a:gd name="connsiteX3197" fmla="*/ 7668103 w 12117871"/>
                <a:gd name="connsiteY3197" fmla="*/ 2872404 h 6072780"/>
                <a:gd name="connsiteX3198" fmla="*/ 7668103 w 12117871"/>
                <a:gd name="connsiteY3198" fmla="*/ 2842288 h 6072780"/>
                <a:gd name="connsiteX3199" fmla="*/ 7685138 w 12117871"/>
                <a:gd name="connsiteY3199" fmla="*/ 2836204 h 6072780"/>
                <a:gd name="connsiteX3200" fmla="*/ 7701337 w 12117871"/>
                <a:gd name="connsiteY3200" fmla="*/ 2829055 h 6072780"/>
                <a:gd name="connsiteX3201" fmla="*/ 7717459 w 12117871"/>
                <a:gd name="connsiteY3201" fmla="*/ 2820234 h 6072780"/>
                <a:gd name="connsiteX3202" fmla="*/ 7734266 w 12117871"/>
                <a:gd name="connsiteY3202" fmla="*/ 2809130 h 6072780"/>
                <a:gd name="connsiteX3203" fmla="*/ 6986928 w 12117871"/>
                <a:gd name="connsiteY3203" fmla="*/ 2809130 h 6072780"/>
                <a:gd name="connsiteX3204" fmla="*/ 7001834 w 12117871"/>
                <a:gd name="connsiteY3204" fmla="*/ 2809130 h 6072780"/>
                <a:gd name="connsiteX3205" fmla="*/ 7001834 w 12117871"/>
                <a:gd name="connsiteY3205" fmla="*/ 3032110 h 6072780"/>
                <a:gd name="connsiteX3206" fmla="*/ 6966546 w 12117871"/>
                <a:gd name="connsiteY3206" fmla="*/ 3032110 h 6072780"/>
                <a:gd name="connsiteX3207" fmla="*/ 6966546 w 12117871"/>
                <a:gd name="connsiteY3207" fmla="*/ 2852327 h 6072780"/>
                <a:gd name="connsiteX3208" fmla="*/ 6945937 w 12117871"/>
                <a:gd name="connsiteY3208" fmla="*/ 2863962 h 6072780"/>
                <a:gd name="connsiteX3209" fmla="*/ 6920764 w 12117871"/>
                <a:gd name="connsiteY3209" fmla="*/ 2872404 h 6072780"/>
                <a:gd name="connsiteX3210" fmla="*/ 6920764 w 12117871"/>
                <a:gd name="connsiteY3210" fmla="*/ 2842288 h 6072780"/>
                <a:gd name="connsiteX3211" fmla="*/ 6937799 w 12117871"/>
                <a:gd name="connsiteY3211" fmla="*/ 2836204 h 6072780"/>
                <a:gd name="connsiteX3212" fmla="*/ 6953998 w 12117871"/>
                <a:gd name="connsiteY3212" fmla="*/ 2829055 h 6072780"/>
                <a:gd name="connsiteX3213" fmla="*/ 6970121 w 12117871"/>
                <a:gd name="connsiteY3213" fmla="*/ 2820234 h 6072780"/>
                <a:gd name="connsiteX3214" fmla="*/ 6986928 w 12117871"/>
                <a:gd name="connsiteY3214" fmla="*/ 2809130 h 6072780"/>
                <a:gd name="connsiteX3215" fmla="*/ 6842802 w 12117871"/>
                <a:gd name="connsiteY3215" fmla="*/ 2809130 h 6072780"/>
                <a:gd name="connsiteX3216" fmla="*/ 6857708 w 12117871"/>
                <a:gd name="connsiteY3216" fmla="*/ 2809130 h 6072780"/>
                <a:gd name="connsiteX3217" fmla="*/ 6857708 w 12117871"/>
                <a:gd name="connsiteY3217" fmla="*/ 3032110 h 6072780"/>
                <a:gd name="connsiteX3218" fmla="*/ 6822420 w 12117871"/>
                <a:gd name="connsiteY3218" fmla="*/ 3032110 h 6072780"/>
                <a:gd name="connsiteX3219" fmla="*/ 6822420 w 12117871"/>
                <a:gd name="connsiteY3219" fmla="*/ 2852327 h 6072780"/>
                <a:gd name="connsiteX3220" fmla="*/ 6801811 w 12117871"/>
                <a:gd name="connsiteY3220" fmla="*/ 2863962 h 6072780"/>
                <a:gd name="connsiteX3221" fmla="*/ 6776638 w 12117871"/>
                <a:gd name="connsiteY3221" fmla="*/ 2872404 h 6072780"/>
                <a:gd name="connsiteX3222" fmla="*/ 6776638 w 12117871"/>
                <a:gd name="connsiteY3222" fmla="*/ 2842288 h 6072780"/>
                <a:gd name="connsiteX3223" fmla="*/ 6793673 w 12117871"/>
                <a:gd name="connsiteY3223" fmla="*/ 2836204 h 6072780"/>
                <a:gd name="connsiteX3224" fmla="*/ 6809872 w 12117871"/>
                <a:gd name="connsiteY3224" fmla="*/ 2829055 h 6072780"/>
                <a:gd name="connsiteX3225" fmla="*/ 6825995 w 12117871"/>
                <a:gd name="connsiteY3225" fmla="*/ 2820234 h 6072780"/>
                <a:gd name="connsiteX3226" fmla="*/ 6842802 w 12117871"/>
                <a:gd name="connsiteY3226" fmla="*/ 2809130 h 6072780"/>
                <a:gd name="connsiteX3227" fmla="*/ 5862574 w 12117871"/>
                <a:gd name="connsiteY3227" fmla="*/ 2809130 h 6072780"/>
                <a:gd name="connsiteX3228" fmla="*/ 5877481 w 12117871"/>
                <a:gd name="connsiteY3228" fmla="*/ 2809130 h 6072780"/>
                <a:gd name="connsiteX3229" fmla="*/ 5877481 w 12117871"/>
                <a:gd name="connsiteY3229" fmla="*/ 3032110 h 6072780"/>
                <a:gd name="connsiteX3230" fmla="*/ 5842193 w 12117871"/>
                <a:gd name="connsiteY3230" fmla="*/ 3032110 h 6072780"/>
                <a:gd name="connsiteX3231" fmla="*/ 5842193 w 12117871"/>
                <a:gd name="connsiteY3231" fmla="*/ 2852327 h 6072780"/>
                <a:gd name="connsiteX3232" fmla="*/ 5821582 w 12117871"/>
                <a:gd name="connsiteY3232" fmla="*/ 2863962 h 6072780"/>
                <a:gd name="connsiteX3233" fmla="*/ 5796410 w 12117871"/>
                <a:gd name="connsiteY3233" fmla="*/ 2872404 h 6072780"/>
                <a:gd name="connsiteX3234" fmla="*/ 5796410 w 12117871"/>
                <a:gd name="connsiteY3234" fmla="*/ 2842288 h 6072780"/>
                <a:gd name="connsiteX3235" fmla="*/ 5813446 w 12117871"/>
                <a:gd name="connsiteY3235" fmla="*/ 2836204 h 6072780"/>
                <a:gd name="connsiteX3236" fmla="*/ 5829644 w 12117871"/>
                <a:gd name="connsiteY3236" fmla="*/ 2829055 h 6072780"/>
                <a:gd name="connsiteX3237" fmla="*/ 5845767 w 12117871"/>
                <a:gd name="connsiteY3237" fmla="*/ 2820234 h 6072780"/>
                <a:gd name="connsiteX3238" fmla="*/ 5862574 w 12117871"/>
                <a:gd name="connsiteY3238" fmla="*/ 2809130 h 6072780"/>
                <a:gd name="connsiteX3239" fmla="*/ 5479705 w 12117871"/>
                <a:gd name="connsiteY3239" fmla="*/ 2809130 h 6072780"/>
                <a:gd name="connsiteX3240" fmla="*/ 5494614 w 12117871"/>
                <a:gd name="connsiteY3240" fmla="*/ 2809130 h 6072780"/>
                <a:gd name="connsiteX3241" fmla="*/ 5494614 w 12117871"/>
                <a:gd name="connsiteY3241" fmla="*/ 3032110 h 6072780"/>
                <a:gd name="connsiteX3242" fmla="*/ 5459325 w 12117871"/>
                <a:gd name="connsiteY3242" fmla="*/ 3032110 h 6072780"/>
                <a:gd name="connsiteX3243" fmla="*/ 5459325 w 12117871"/>
                <a:gd name="connsiteY3243" fmla="*/ 2852327 h 6072780"/>
                <a:gd name="connsiteX3244" fmla="*/ 5438715 w 12117871"/>
                <a:gd name="connsiteY3244" fmla="*/ 2863962 h 6072780"/>
                <a:gd name="connsiteX3245" fmla="*/ 5413543 w 12117871"/>
                <a:gd name="connsiteY3245" fmla="*/ 2872404 h 6072780"/>
                <a:gd name="connsiteX3246" fmla="*/ 5413543 w 12117871"/>
                <a:gd name="connsiteY3246" fmla="*/ 2842288 h 6072780"/>
                <a:gd name="connsiteX3247" fmla="*/ 5430578 w 12117871"/>
                <a:gd name="connsiteY3247" fmla="*/ 2836204 h 6072780"/>
                <a:gd name="connsiteX3248" fmla="*/ 5446777 w 12117871"/>
                <a:gd name="connsiteY3248" fmla="*/ 2829055 h 6072780"/>
                <a:gd name="connsiteX3249" fmla="*/ 5462899 w 12117871"/>
                <a:gd name="connsiteY3249" fmla="*/ 2820234 h 6072780"/>
                <a:gd name="connsiteX3250" fmla="*/ 5479705 w 12117871"/>
                <a:gd name="connsiteY3250" fmla="*/ 2809130 h 6072780"/>
                <a:gd name="connsiteX3251" fmla="*/ 5335580 w 12117871"/>
                <a:gd name="connsiteY3251" fmla="*/ 2809130 h 6072780"/>
                <a:gd name="connsiteX3252" fmla="*/ 5350487 w 12117871"/>
                <a:gd name="connsiteY3252" fmla="*/ 2809130 h 6072780"/>
                <a:gd name="connsiteX3253" fmla="*/ 5350487 w 12117871"/>
                <a:gd name="connsiteY3253" fmla="*/ 3032110 h 6072780"/>
                <a:gd name="connsiteX3254" fmla="*/ 5315200 w 12117871"/>
                <a:gd name="connsiteY3254" fmla="*/ 3032110 h 6072780"/>
                <a:gd name="connsiteX3255" fmla="*/ 5315200 w 12117871"/>
                <a:gd name="connsiteY3255" fmla="*/ 2852327 h 6072780"/>
                <a:gd name="connsiteX3256" fmla="*/ 5294589 w 12117871"/>
                <a:gd name="connsiteY3256" fmla="*/ 2863962 h 6072780"/>
                <a:gd name="connsiteX3257" fmla="*/ 5269417 w 12117871"/>
                <a:gd name="connsiteY3257" fmla="*/ 2872404 h 6072780"/>
                <a:gd name="connsiteX3258" fmla="*/ 5269417 w 12117871"/>
                <a:gd name="connsiteY3258" fmla="*/ 2842288 h 6072780"/>
                <a:gd name="connsiteX3259" fmla="*/ 5286452 w 12117871"/>
                <a:gd name="connsiteY3259" fmla="*/ 2836204 h 6072780"/>
                <a:gd name="connsiteX3260" fmla="*/ 5302652 w 12117871"/>
                <a:gd name="connsiteY3260" fmla="*/ 2829055 h 6072780"/>
                <a:gd name="connsiteX3261" fmla="*/ 5318773 w 12117871"/>
                <a:gd name="connsiteY3261" fmla="*/ 2820234 h 6072780"/>
                <a:gd name="connsiteX3262" fmla="*/ 5335580 w 12117871"/>
                <a:gd name="connsiteY3262" fmla="*/ 2809130 h 6072780"/>
                <a:gd name="connsiteX3263" fmla="*/ 5191455 w 12117871"/>
                <a:gd name="connsiteY3263" fmla="*/ 2809130 h 6072780"/>
                <a:gd name="connsiteX3264" fmla="*/ 5206362 w 12117871"/>
                <a:gd name="connsiteY3264" fmla="*/ 2809130 h 6072780"/>
                <a:gd name="connsiteX3265" fmla="*/ 5206362 w 12117871"/>
                <a:gd name="connsiteY3265" fmla="*/ 3032110 h 6072780"/>
                <a:gd name="connsiteX3266" fmla="*/ 5171074 w 12117871"/>
                <a:gd name="connsiteY3266" fmla="*/ 3032110 h 6072780"/>
                <a:gd name="connsiteX3267" fmla="*/ 5171074 w 12117871"/>
                <a:gd name="connsiteY3267" fmla="*/ 2852327 h 6072780"/>
                <a:gd name="connsiteX3268" fmla="*/ 5150464 w 12117871"/>
                <a:gd name="connsiteY3268" fmla="*/ 2863962 h 6072780"/>
                <a:gd name="connsiteX3269" fmla="*/ 5125292 w 12117871"/>
                <a:gd name="connsiteY3269" fmla="*/ 2872404 h 6072780"/>
                <a:gd name="connsiteX3270" fmla="*/ 5125292 w 12117871"/>
                <a:gd name="connsiteY3270" fmla="*/ 2842288 h 6072780"/>
                <a:gd name="connsiteX3271" fmla="*/ 5142326 w 12117871"/>
                <a:gd name="connsiteY3271" fmla="*/ 2836204 h 6072780"/>
                <a:gd name="connsiteX3272" fmla="*/ 5158526 w 12117871"/>
                <a:gd name="connsiteY3272" fmla="*/ 2829055 h 6072780"/>
                <a:gd name="connsiteX3273" fmla="*/ 5174648 w 12117871"/>
                <a:gd name="connsiteY3273" fmla="*/ 2820234 h 6072780"/>
                <a:gd name="connsiteX3274" fmla="*/ 5191455 w 12117871"/>
                <a:gd name="connsiteY3274" fmla="*/ 2809130 h 6072780"/>
                <a:gd name="connsiteX3275" fmla="*/ 5047330 w 12117871"/>
                <a:gd name="connsiteY3275" fmla="*/ 2809130 h 6072780"/>
                <a:gd name="connsiteX3276" fmla="*/ 5062237 w 12117871"/>
                <a:gd name="connsiteY3276" fmla="*/ 2809130 h 6072780"/>
                <a:gd name="connsiteX3277" fmla="*/ 5062237 w 12117871"/>
                <a:gd name="connsiteY3277" fmla="*/ 3032110 h 6072780"/>
                <a:gd name="connsiteX3278" fmla="*/ 5026949 w 12117871"/>
                <a:gd name="connsiteY3278" fmla="*/ 3032110 h 6072780"/>
                <a:gd name="connsiteX3279" fmla="*/ 5026949 w 12117871"/>
                <a:gd name="connsiteY3279" fmla="*/ 2852327 h 6072780"/>
                <a:gd name="connsiteX3280" fmla="*/ 5006339 w 12117871"/>
                <a:gd name="connsiteY3280" fmla="*/ 2863962 h 6072780"/>
                <a:gd name="connsiteX3281" fmla="*/ 4981168 w 12117871"/>
                <a:gd name="connsiteY3281" fmla="*/ 2872404 h 6072780"/>
                <a:gd name="connsiteX3282" fmla="*/ 4981168 w 12117871"/>
                <a:gd name="connsiteY3282" fmla="*/ 2842288 h 6072780"/>
                <a:gd name="connsiteX3283" fmla="*/ 4998201 w 12117871"/>
                <a:gd name="connsiteY3283" fmla="*/ 2836204 h 6072780"/>
                <a:gd name="connsiteX3284" fmla="*/ 5014401 w 12117871"/>
                <a:gd name="connsiteY3284" fmla="*/ 2829055 h 6072780"/>
                <a:gd name="connsiteX3285" fmla="*/ 5030524 w 12117871"/>
                <a:gd name="connsiteY3285" fmla="*/ 2820234 h 6072780"/>
                <a:gd name="connsiteX3286" fmla="*/ 5047330 w 12117871"/>
                <a:gd name="connsiteY3286" fmla="*/ 2809130 h 6072780"/>
                <a:gd name="connsiteX3287" fmla="*/ 4903206 w 12117871"/>
                <a:gd name="connsiteY3287" fmla="*/ 2809130 h 6072780"/>
                <a:gd name="connsiteX3288" fmla="*/ 4918113 w 12117871"/>
                <a:gd name="connsiteY3288" fmla="*/ 2809130 h 6072780"/>
                <a:gd name="connsiteX3289" fmla="*/ 4918113 w 12117871"/>
                <a:gd name="connsiteY3289" fmla="*/ 3032110 h 6072780"/>
                <a:gd name="connsiteX3290" fmla="*/ 4882824 w 12117871"/>
                <a:gd name="connsiteY3290" fmla="*/ 3032110 h 6072780"/>
                <a:gd name="connsiteX3291" fmla="*/ 4882824 w 12117871"/>
                <a:gd name="connsiteY3291" fmla="*/ 2852327 h 6072780"/>
                <a:gd name="connsiteX3292" fmla="*/ 4862214 w 12117871"/>
                <a:gd name="connsiteY3292" fmla="*/ 2863962 h 6072780"/>
                <a:gd name="connsiteX3293" fmla="*/ 4837041 w 12117871"/>
                <a:gd name="connsiteY3293" fmla="*/ 2872404 h 6072780"/>
                <a:gd name="connsiteX3294" fmla="*/ 4837041 w 12117871"/>
                <a:gd name="connsiteY3294" fmla="*/ 2842288 h 6072780"/>
                <a:gd name="connsiteX3295" fmla="*/ 4854077 w 12117871"/>
                <a:gd name="connsiteY3295" fmla="*/ 2836204 h 6072780"/>
                <a:gd name="connsiteX3296" fmla="*/ 4870276 w 12117871"/>
                <a:gd name="connsiteY3296" fmla="*/ 2829055 h 6072780"/>
                <a:gd name="connsiteX3297" fmla="*/ 4886398 w 12117871"/>
                <a:gd name="connsiteY3297" fmla="*/ 2820234 h 6072780"/>
                <a:gd name="connsiteX3298" fmla="*/ 4903206 w 12117871"/>
                <a:gd name="connsiteY3298" fmla="*/ 2809130 h 6072780"/>
                <a:gd name="connsiteX3299" fmla="*/ 4514973 w 12117871"/>
                <a:gd name="connsiteY3299" fmla="*/ 2809130 h 6072780"/>
                <a:gd name="connsiteX3300" fmla="*/ 4529879 w 12117871"/>
                <a:gd name="connsiteY3300" fmla="*/ 2809130 h 6072780"/>
                <a:gd name="connsiteX3301" fmla="*/ 4529879 w 12117871"/>
                <a:gd name="connsiteY3301" fmla="*/ 3032110 h 6072780"/>
                <a:gd name="connsiteX3302" fmla="*/ 4494591 w 12117871"/>
                <a:gd name="connsiteY3302" fmla="*/ 3032110 h 6072780"/>
                <a:gd name="connsiteX3303" fmla="*/ 4494591 w 12117871"/>
                <a:gd name="connsiteY3303" fmla="*/ 2852327 h 6072780"/>
                <a:gd name="connsiteX3304" fmla="*/ 4473982 w 12117871"/>
                <a:gd name="connsiteY3304" fmla="*/ 2863962 h 6072780"/>
                <a:gd name="connsiteX3305" fmla="*/ 4448809 w 12117871"/>
                <a:gd name="connsiteY3305" fmla="*/ 2872404 h 6072780"/>
                <a:gd name="connsiteX3306" fmla="*/ 4448809 w 12117871"/>
                <a:gd name="connsiteY3306" fmla="*/ 2842288 h 6072780"/>
                <a:gd name="connsiteX3307" fmla="*/ 4465844 w 12117871"/>
                <a:gd name="connsiteY3307" fmla="*/ 2836204 h 6072780"/>
                <a:gd name="connsiteX3308" fmla="*/ 4482043 w 12117871"/>
                <a:gd name="connsiteY3308" fmla="*/ 2829055 h 6072780"/>
                <a:gd name="connsiteX3309" fmla="*/ 4498166 w 12117871"/>
                <a:gd name="connsiteY3309" fmla="*/ 2820234 h 6072780"/>
                <a:gd name="connsiteX3310" fmla="*/ 4514973 w 12117871"/>
                <a:gd name="connsiteY3310" fmla="*/ 2809130 h 6072780"/>
                <a:gd name="connsiteX3311" fmla="*/ 4248864 w 12117871"/>
                <a:gd name="connsiteY3311" fmla="*/ 2809130 h 6072780"/>
                <a:gd name="connsiteX3312" fmla="*/ 4263771 w 12117871"/>
                <a:gd name="connsiteY3312" fmla="*/ 2809130 h 6072780"/>
                <a:gd name="connsiteX3313" fmla="*/ 4263771 w 12117871"/>
                <a:gd name="connsiteY3313" fmla="*/ 3032110 h 6072780"/>
                <a:gd name="connsiteX3314" fmla="*/ 4228483 w 12117871"/>
                <a:gd name="connsiteY3314" fmla="*/ 3032110 h 6072780"/>
                <a:gd name="connsiteX3315" fmla="*/ 4228483 w 12117871"/>
                <a:gd name="connsiteY3315" fmla="*/ 2852327 h 6072780"/>
                <a:gd name="connsiteX3316" fmla="*/ 4207874 w 12117871"/>
                <a:gd name="connsiteY3316" fmla="*/ 2863962 h 6072780"/>
                <a:gd name="connsiteX3317" fmla="*/ 4182701 w 12117871"/>
                <a:gd name="connsiteY3317" fmla="*/ 2872404 h 6072780"/>
                <a:gd name="connsiteX3318" fmla="*/ 4182701 w 12117871"/>
                <a:gd name="connsiteY3318" fmla="*/ 2842288 h 6072780"/>
                <a:gd name="connsiteX3319" fmla="*/ 4199736 w 12117871"/>
                <a:gd name="connsiteY3319" fmla="*/ 2836204 h 6072780"/>
                <a:gd name="connsiteX3320" fmla="*/ 4215934 w 12117871"/>
                <a:gd name="connsiteY3320" fmla="*/ 2829055 h 6072780"/>
                <a:gd name="connsiteX3321" fmla="*/ 4232057 w 12117871"/>
                <a:gd name="connsiteY3321" fmla="*/ 2820234 h 6072780"/>
                <a:gd name="connsiteX3322" fmla="*/ 4248864 w 12117871"/>
                <a:gd name="connsiteY3322" fmla="*/ 2809130 h 6072780"/>
                <a:gd name="connsiteX3323" fmla="*/ 3637267 w 12117871"/>
                <a:gd name="connsiteY3323" fmla="*/ 2809130 h 6072780"/>
                <a:gd name="connsiteX3324" fmla="*/ 3652173 w 12117871"/>
                <a:gd name="connsiteY3324" fmla="*/ 2809130 h 6072780"/>
                <a:gd name="connsiteX3325" fmla="*/ 3652173 w 12117871"/>
                <a:gd name="connsiteY3325" fmla="*/ 3032110 h 6072780"/>
                <a:gd name="connsiteX3326" fmla="*/ 3616885 w 12117871"/>
                <a:gd name="connsiteY3326" fmla="*/ 3032110 h 6072780"/>
                <a:gd name="connsiteX3327" fmla="*/ 3616885 w 12117871"/>
                <a:gd name="connsiteY3327" fmla="*/ 2852327 h 6072780"/>
                <a:gd name="connsiteX3328" fmla="*/ 3596276 w 12117871"/>
                <a:gd name="connsiteY3328" fmla="*/ 2863962 h 6072780"/>
                <a:gd name="connsiteX3329" fmla="*/ 3571102 w 12117871"/>
                <a:gd name="connsiteY3329" fmla="*/ 2872404 h 6072780"/>
                <a:gd name="connsiteX3330" fmla="*/ 3571102 w 12117871"/>
                <a:gd name="connsiteY3330" fmla="*/ 2842288 h 6072780"/>
                <a:gd name="connsiteX3331" fmla="*/ 3588139 w 12117871"/>
                <a:gd name="connsiteY3331" fmla="*/ 2836204 h 6072780"/>
                <a:gd name="connsiteX3332" fmla="*/ 3604337 w 12117871"/>
                <a:gd name="connsiteY3332" fmla="*/ 2829055 h 6072780"/>
                <a:gd name="connsiteX3333" fmla="*/ 3620459 w 12117871"/>
                <a:gd name="connsiteY3333" fmla="*/ 2820234 h 6072780"/>
                <a:gd name="connsiteX3334" fmla="*/ 3637267 w 12117871"/>
                <a:gd name="connsiteY3334" fmla="*/ 2809130 h 6072780"/>
                <a:gd name="connsiteX3335" fmla="*/ 3371159 w 12117871"/>
                <a:gd name="connsiteY3335" fmla="*/ 2809130 h 6072780"/>
                <a:gd name="connsiteX3336" fmla="*/ 3386065 w 12117871"/>
                <a:gd name="connsiteY3336" fmla="*/ 2809130 h 6072780"/>
                <a:gd name="connsiteX3337" fmla="*/ 3386065 w 12117871"/>
                <a:gd name="connsiteY3337" fmla="*/ 3032110 h 6072780"/>
                <a:gd name="connsiteX3338" fmla="*/ 3350777 w 12117871"/>
                <a:gd name="connsiteY3338" fmla="*/ 3032110 h 6072780"/>
                <a:gd name="connsiteX3339" fmla="*/ 3350777 w 12117871"/>
                <a:gd name="connsiteY3339" fmla="*/ 2852327 h 6072780"/>
                <a:gd name="connsiteX3340" fmla="*/ 3330168 w 12117871"/>
                <a:gd name="connsiteY3340" fmla="*/ 2863962 h 6072780"/>
                <a:gd name="connsiteX3341" fmla="*/ 3304995 w 12117871"/>
                <a:gd name="connsiteY3341" fmla="*/ 2872404 h 6072780"/>
                <a:gd name="connsiteX3342" fmla="*/ 3304995 w 12117871"/>
                <a:gd name="connsiteY3342" fmla="*/ 2842288 h 6072780"/>
                <a:gd name="connsiteX3343" fmla="*/ 3322030 w 12117871"/>
                <a:gd name="connsiteY3343" fmla="*/ 2836204 h 6072780"/>
                <a:gd name="connsiteX3344" fmla="*/ 3338229 w 12117871"/>
                <a:gd name="connsiteY3344" fmla="*/ 2829055 h 6072780"/>
                <a:gd name="connsiteX3345" fmla="*/ 3354351 w 12117871"/>
                <a:gd name="connsiteY3345" fmla="*/ 2820234 h 6072780"/>
                <a:gd name="connsiteX3346" fmla="*/ 3371159 w 12117871"/>
                <a:gd name="connsiteY3346" fmla="*/ 2809130 h 6072780"/>
                <a:gd name="connsiteX3347" fmla="*/ 2764812 w 12117871"/>
                <a:gd name="connsiteY3347" fmla="*/ 2809130 h 6072780"/>
                <a:gd name="connsiteX3348" fmla="*/ 2779718 w 12117871"/>
                <a:gd name="connsiteY3348" fmla="*/ 2809130 h 6072780"/>
                <a:gd name="connsiteX3349" fmla="*/ 2779718 w 12117871"/>
                <a:gd name="connsiteY3349" fmla="*/ 3032110 h 6072780"/>
                <a:gd name="connsiteX3350" fmla="*/ 2744430 w 12117871"/>
                <a:gd name="connsiteY3350" fmla="*/ 3032110 h 6072780"/>
                <a:gd name="connsiteX3351" fmla="*/ 2744430 w 12117871"/>
                <a:gd name="connsiteY3351" fmla="*/ 2852327 h 6072780"/>
                <a:gd name="connsiteX3352" fmla="*/ 2723821 w 12117871"/>
                <a:gd name="connsiteY3352" fmla="*/ 2863962 h 6072780"/>
                <a:gd name="connsiteX3353" fmla="*/ 2698648 w 12117871"/>
                <a:gd name="connsiteY3353" fmla="*/ 2872404 h 6072780"/>
                <a:gd name="connsiteX3354" fmla="*/ 2698648 w 12117871"/>
                <a:gd name="connsiteY3354" fmla="*/ 2842288 h 6072780"/>
                <a:gd name="connsiteX3355" fmla="*/ 2715683 w 12117871"/>
                <a:gd name="connsiteY3355" fmla="*/ 2836204 h 6072780"/>
                <a:gd name="connsiteX3356" fmla="*/ 2731882 w 12117871"/>
                <a:gd name="connsiteY3356" fmla="*/ 2829055 h 6072780"/>
                <a:gd name="connsiteX3357" fmla="*/ 2748004 w 12117871"/>
                <a:gd name="connsiteY3357" fmla="*/ 2820234 h 6072780"/>
                <a:gd name="connsiteX3358" fmla="*/ 2764812 w 12117871"/>
                <a:gd name="connsiteY3358" fmla="*/ 2809130 h 6072780"/>
                <a:gd name="connsiteX3359" fmla="*/ 2498704 w 12117871"/>
                <a:gd name="connsiteY3359" fmla="*/ 2809130 h 6072780"/>
                <a:gd name="connsiteX3360" fmla="*/ 2513610 w 12117871"/>
                <a:gd name="connsiteY3360" fmla="*/ 2809130 h 6072780"/>
                <a:gd name="connsiteX3361" fmla="*/ 2513610 w 12117871"/>
                <a:gd name="connsiteY3361" fmla="*/ 3032110 h 6072780"/>
                <a:gd name="connsiteX3362" fmla="*/ 2478322 w 12117871"/>
                <a:gd name="connsiteY3362" fmla="*/ 3032110 h 6072780"/>
                <a:gd name="connsiteX3363" fmla="*/ 2478322 w 12117871"/>
                <a:gd name="connsiteY3363" fmla="*/ 2852327 h 6072780"/>
                <a:gd name="connsiteX3364" fmla="*/ 2457713 w 12117871"/>
                <a:gd name="connsiteY3364" fmla="*/ 2863962 h 6072780"/>
                <a:gd name="connsiteX3365" fmla="*/ 2432540 w 12117871"/>
                <a:gd name="connsiteY3365" fmla="*/ 2872404 h 6072780"/>
                <a:gd name="connsiteX3366" fmla="*/ 2432540 w 12117871"/>
                <a:gd name="connsiteY3366" fmla="*/ 2842288 h 6072780"/>
                <a:gd name="connsiteX3367" fmla="*/ 2449575 w 12117871"/>
                <a:gd name="connsiteY3367" fmla="*/ 2836204 h 6072780"/>
                <a:gd name="connsiteX3368" fmla="*/ 2465774 w 12117871"/>
                <a:gd name="connsiteY3368" fmla="*/ 2829055 h 6072780"/>
                <a:gd name="connsiteX3369" fmla="*/ 2481896 w 12117871"/>
                <a:gd name="connsiteY3369" fmla="*/ 2820234 h 6072780"/>
                <a:gd name="connsiteX3370" fmla="*/ 2498704 w 12117871"/>
                <a:gd name="connsiteY3370" fmla="*/ 2809130 h 6072780"/>
                <a:gd name="connsiteX3371" fmla="*/ 2086937 w 12117871"/>
                <a:gd name="connsiteY3371" fmla="*/ 2809130 h 6072780"/>
                <a:gd name="connsiteX3372" fmla="*/ 2101843 w 12117871"/>
                <a:gd name="connsiteY3372" fmla="*/ 2809130 h 6072780"/>
                <a:gd name="connsiteX3373" fmla="*/ 2101843 w 12117871"/>
                <a:gd name="connsiteY3373" fmla="*/ 3032110 h 6072780"/>
                <a:gd name="connsiteX3374" fmla="*/ 2066555 w 12117871"/>
                <a:gd name="connsiteY3374" fmla="*/ 3032110 h 6072780"/>
                <a:gd name="connsiteX3375" fmla="*/ 2066555 w 12117871"/>
                <a:gd name="connsiteY3375" fmla="*/ 2852327 h 6072780"/>
                <a:gd name="connsiteX3376" fmla="*/ 2045946 w 12117871"/>
                <a:gd name="connsiteY3376" fmla="*/ 2863962 h 6072780"/>
                <a:gd name="connsiteX3377" fmla="*/ 2020773 w 12117871"/>
                <a:gd name="connsiteY3377" fmla="*/ 2872404 h 6072780"/>
                <a:gd name="connsiteX3378" fmla="*/ 2020773 w 12117871"/>
                <a:gd name="connsiteY3378" fmla="*/ 2842288 h 6072780"/>
                <a:gd name="connsiteX3379" fmla="*/ 2037808 w 12117871"/>
                <a:gd name="connsiteY3379" fmla="*/ 2836204 h 6072780"/>
                <a:gd name="connsiteX3380" fmla="*/ 2054007 w 12117871"/>
                <a:gd name="connsiteY3380" fmla="*/ 2829055 h 6072780"/>
                <a:gd name="connsiteX3381" fmla="*/ 2070129 w 12117871"/>
                <a:gd name="connsiteY3381" fmla="*/ 2820234 h 6072780"/>
                <a:gd name="connsiteX3382" fmla="*/ 2086937 w 12117871"/>
                <a:gd name="connsiteY3382" fmla="*/ 2809130 h 6072780"/>
                <a:gd name="connsiteX3383" fmla="*/ 1953883 w 12117871"/>
                <a:gd name="connsiteY3383" fmla="*/ 2809130 h 6072780"/>
                <a:gd name="connsiteX3384" fmla="*/ 1968789 w 12117871"/>
                <a:gd name="connsiteY3384" fmla="*/ 2809130 h 6072780"/>
                <a:gd name="connsiteX3385" fmla="*/ 1968789 w 12117871"/>
                <a:gd name="connsiteY3385" fmla="*/ 3032110 h 6072780"/>
                <a:gd name="connsiteX3386" fmla="*/ 1933501 w 12117871"/>
                <a:gd name="connsiteY3386" fmla="*/ 3032110 h 6072780"/>
                <a:gd name="connsiteX3387" fmla="*/ 1933501 w 12117871"/>
                <a:gd name="connsiteY3387" fmla="*/ 2852327 h 6072780"/>
                <a:gd name="connsiteX3388" fmla="*/ 1912892 w 12117871"/>
                <a:gd name="connsiteY3388" fmla="*/ 2863962 h 6072780"/>
                <a:gd name="connsiteX3389" fmla="*/ 1887719 w 12117871"/>
                <a:gd name="connsiteY3389" fmla="*/ 2872404 h 6072780"/>
                <a:gd name="connsiteX3390" fmla="*/ 1887719 w 12117871"/>
                <a:gd name="connsiteY3390" fmla="*/ 2842288 h 6072780"/>
                <a:gd name="connsiteX3391" fmla="*/ 1904754 w 12117871"/>
                <a:gd name="connsiteY3391" fmla="*/ 2836204 h 6072780"/>
                <a:gd name="connsiteX3392" fmla="*/ 1920953 w 12117871"/>
                <a:gd name="connsiteY3392" fmla="*/ 2829055 h 6072780"/>
                <a:gd name="connsiteX3393" fmla="*/ 1937075 w 12117871"/>
                <a:gd name="connsiteY3393" fmla="*/ 2820234 h 6072780"/>
                <a:gd name="connsiteX3394" fmla="*/ 1953883 w 12117871"/>
                <a:gd name="connsiteY3394" fmla="*/ 2809130 h 6072780"/>
                <a:gd name="connsiteX3395" fmla="*/ 1820829 w 12117871"/>
                <a:gd name="connsiteY3395" fmla="*/ 2809130 h 6072780"/>
                <a:gd name="connsiteX3396" fmla="*/ 1835735 w 12117871"/>
                <a:gd name="connsiteY3396" fmla="*/ 2809130 h 6072780"/>
                <a:gd name="connsiteX3397" fmla="*/ 1835735 w 12117871"/>
                <a:gd name="connsiteY3397" fmla="*/ 3032110 h 6072780"/>
                <a:gd name="connsiteX3398" fmla="*/ 1800447 w 12117871"/>
                <a:gd name="connsiteY3398" fmla="*/ 3032110 h 6072780"/>
                <a:gd name="connsiteX3399" fmla="*/ 1800447 w 12117871"/>
                <a:gd name="connsiteY3399" fmla="*/ 2852327 h 6072780"/>
                <a:gd name="connsiteX3400" fmla="*/ 1779838 w 12117871"/>
                <a:gd name="connsiteY3400" fmla="*/ 2863962 h 6072780"/>
                <a:gd name="connsiteX3401" fmla="*/ 1754665 w 12117871"/>
                <a:gd name="connsiteY3401" fmla="*/ 2872404 h 6072780"/>
                <a:gd name="connsiteX3402" fmla="*/ 1754665 w 12117871"/>
                <a:gd name="connsiteY3402" fmla="*/ 2842288 h 6072780"/>
                <a:gd name="connsiteX3403" fmla="*/ 1771700 w 12117871"/>
                <a:gd name="connsiteY3403" fmla="*/ 2836204 h 6072780"/>
                <a:gd name="connsiteX3404" fmla="*/ 1787899 w 12117871"/>
                <a:gd name="connsiteY3404" fmla="*/ 2829055 h 6072780"/>
                <a:gd name="connsiteX3405" fmla="*/ 1804022 w 12117871"/>
                <a:gd name="connsiteY3405" fmla="*/ 2820234 h 6072780"/>
                <a:gd name="connsiteX3406" fmla="*/ 1820829 w 12117871"/>
                <a:gd name="connsiteY3406" fmla="*/ 2809130 h 6072780"/>
                <a:gd name="connsiteX3407" fmla="*/ 1678217 w 12117871"/>
                <a:gd name="connsiteY3407" fmla="*/ 2809130 h 6072780"/>
                <a:gd name="connsiteX3408" fmla="*/ 1693123 w 12117871"/>
                <a:gd name="connsiteY3408" fmla="*/ 2809130 h 6072780"/>
                <a:gd name="connsiteX3409" fmla="*/ 1693123 w 12117871"/>
                <a:gd name="connsiteY3409" fmla="*/ 3032110 h 6072780"/>
                <a:gd name="connsiteX3410" fmla="*/ 1657835 w 12117871"/>
                <a:gd name="connsiteY3410" fmla="*/ 3032110 h 6072780"/>
                <a:gd name="connsiteX3411" fmla="*/ 1657835 w 12117871"/>
                <a:gd name="connsiteY3411" fmla="*/ 2852327 h 6072780"/>
                <a:gd name="connsiteX3412" fmla="*/ 1637226 w 12117871"/>
                <a:gd name="connsiteY3412" fmla="*/ 2863962 h 6072780"/>
                <a:gd name="connsiteX3413" fmla="*/ 1612053 w 12117871"/>
                <a:gd name="connsiteY3413" fmla="*/ 2872404 h 6072780"/>
                <a:gd name="connsiteX3414" fmla="*/ 1612053 w 12117871"/>
                <a:gd name="connsiteY3414" fmla="*/ 2842288 h 6072780"/>
                <a:gd name="connsiteX3415" fmla="*/ 1629088 w 12117871"/>
                <a:gd name="connsiteY3415" fmla="*/ 2836204 h 6072780"/>
                <a:gd name="connsiteX3416" fmla="*/ 1645287 w 12117871"/>
                <a:gd name="connsiteY3416" fmla="*/ 2829055 h 6072780"/>
                <a:gd name="connsiteX3417" fmla="*/ 1661410 w 12117871"/>
                <a:gd name="connsiteY3417" fmla="*/ 2820234 h 6072780"/>
                <a:gd name="connsiteX3418" fmla="*/ 1678217 w 12117871"/>
                <a:gd name="connsiteY3418" fmla="*/ 2809130 h 6072780"/>
                <a:gd name="connsiteX3419" fmla="*/ 922825 w 12117871"/>
                <a:gd name="connsiteY3419" fmla="*/ 2809130 h 6072780"/>
                <a:gd name="connsiteX3420" fmla="*/ 937731 w 12117871"/>
                <a:gd name="connsiteY3420" fmla="*/ 2809130 h 6072780"/>
                <a:gd name="connsiteX3421" fmla="*/ 937731 w 12117871"/>
                <a:gd name="connsiteY3421" fmla="*/ 3032110 h 6072780"/>
                <a:gd name="connsiteX3422" fmla="*/ 902443 w 12117871"/>
                <a:gd name="connsiteY3422" fmla="*/ 3032110 h 6072780"/>
                <a:gd name="connsiteX3423" fmla="*/ 902443 w 12117871"/>
                <a:gd name="connsiteY3423" fmla="*/ 2852327 h 6072780"/>
                <a:gd name="connsiteX3424" fmla="*/ 881834 w 12117871"/>
                <a:gd name="connsiteY3424" fmla="*/ 2863962 h 6072780"/>
                <a:gd name="connsiteX3425" fmla="*/ 856661 w 12117871"/>
                <a:gd name="connsiteY3425" fmla="*/ 2872404 h 6072780"/>
                <a:gd name="connsiteX3426" fmla="*/ 856661 w 12117871"/>
                <a:gd name="connsiteY3426" fmla="*/ 2842288 h 6072780"/>
                <a:gd name="connsiteX3427" fmla="*/ 873696 w 12117871"/>
                <a:gd name="connsiteY3427" fmla="*/ 2836204 h 6072780"/>
                <a:gd name="connsiteX3428" fmla="*/ 889895 w 12117871"/>
                <a:gd name="connsiteY3428" fmla="*/ 2829055 h 6072780"/>
                <a:gd name="connsiteX3429" fmla="*/ 906018 w 12117871"/>
                <a:gd name="connsiteY3429" fmla="*/ 2820234 h 6072780"/>
                <a:gd name="connsiteX3430" fmla="*/ 922825 w 12117871"/>
                <a:gd name="connsiteY3430" fmla="*/ 2809130 h 6072780"/>
                <a:gd name="connsiteX3431" fmla="*/ 789771 w 12117871"/>
                <a:gd name="connsiteY3431" fmla="*/ 2809130 h 6072780"/>
                <a:gd name="connsiteX3432" fmla="*/ 804677 w 12117871"/>
                <a:gd name="connsiteY3432" fmla="*/ 2809130 h 6072780"/>
                <a:gd name="connsiteX3433" fmla="*/ 804677 w 12117871"/>
                <a:gd name="connsiteY3433" fmla="*/ 3032110 h 6072780"/>
                <a:gd name="connsiteX3434" fmla="*/ 769389 w 12117871"/>
                <a:gd name="connsiteY3434" fmla="*/ 3032110 h 6072780"/>
                <a:gd name="connsiteX3435" fmla="*/ 769389 w 12117871"/>
                <a:gd name="connsiteY3435" fmla="*/ 2852327 h 6072780"/>
                <a:gd name="connsiteX3436" fmla="*/ 748780 w 12117871"/>
                <a:gd name="connsiteY3436" fmla="*/ 2863962 h 6072780"/>
                <a:gd name="connsiteX3437" fmla="*/ 723607 w 12117871"/>
                <a:gd name="connsiteY3437" fmla="*/ 2872404 h 6072780"/>
                <a:gd name="connsiteX3438" fmla="*/ 723607 w 12117871"/>
                <a:gd name="connsiteY3438" fmla="*/ 2842288 h 6072780"/>
                <a:gd name="connsiteX3439" fmla="*/ 740642 w 12117871"/>
                <a:gd name="connsiteY3439" fmla="*/ 2836204 h 6072780"/>
                <a:gd name="connsiteX3440" fmla="*/ 756841 w 12117871"/>
                <a:gd name="connsiteY3440" fmla="*/ 2829055 h 6072780"/>
                <a:gd name="connsiteX3441" fmla="*/ 772964 w 12117871"/>
                <a:gd name="connsiteY3441" fmla="*/ 2820234 h 6072780"/>
                <a:gd name="connsiteX3442" fmla="*/ 789771 w 12117871"/>
                <a:gd name="connsiteY3442" fmla="*/ 2809130 h 6072780"/>
                <a:gd name="connsiteX3443" fmla="*/ 10091849 w 12117871"/>
                <a:gd name="connsiteY3443" fmla="*/ 2809129 h 6072780"/>
                <a:gd name="connsiteX3444" fmla="*/ 10163016 w 12117871"/>
                <a:gd name="connsiteY3444" fmla="*/ 2919717 h 6072780"/>
                <a:gd name="connsiteX3445" fmla="*/ 10142930 w 12117871"/>
                <a:gd name="connsiteY3445" fmla="*/ 3003296 h 6072780"/>
                <a:gd name="connsiteX3446" fmla="*/ 10086733 w 12117871"/>
                <a:gd name="connsiteY3446" fmla="*/ 3032109 h 6072780"/>
                <a:gd name="connsiteX3447" fmla="*/ 10034148 w 12117871"/>
                <a:gd name="connsiteY3447" fmla="*/ 3004575 h 6072780"/>
                <a:gd name="connsiteX3448" fmla="*/ 10015265 w 12117871"/>
                <a:gd name="connsiteY3448" fmla="*/ 2924983 h 6072780"/>
                <a:gd name="connsiteX3449" fmla="*/ 10034975 w 12117871"/>
                <a:gd name="connsiteY3449" fmla="*/ 2838469 h 6072780"/>
                <a:gd name="connsiteX3450" fmla="*/ 10091849 w 12117871"/>
                <a:gd name="connsiteY3450" fmla="*/ 2809129 h 6072780"/>
                <a:gd name="connsiteX3451" fmla="*/ 9870926 w 12117871"/>
                <a:gd name="connsiteY3451" fmla="*/ 2809129 h 6072780"/>
                <a:gd name="connsiteX3452" fmla="*/ 9942093 w 12117871"/>
                <a:gd name="connsiteY3452" fmla="*/ 2919717 h 6072780"/>
                <a:gd name="connsiteX3453" fmla="*/ 9922007 w 12117871"/>
                <a:gd name="connsiteY3453" fmla="*/ 3003296 h 6072780"/>
                <a:gd name="connsiteX3454" fmla="*/ 9865810 w 12117871"/>
                <a:gd name="connsiteY3454" fmla="*/ 3032109 h 6072780"/>
                <a:gd name="connsiteX3455" fmla="*/ 9813225 w 12117871"/>
                <a:gd name="connsiteY3455" fmla="*/ 3004575 h 6072780"/>
                <a:gd name="connsiteX3456" fmla="*/ 9794342 w 12117871"/>
                <a:gd name="connsiteY3456" fmla="*/ 2924983 h 6072780"/>
                <a:gd name="connsiteX3457" fmla="*/ 9814052 w 12117871"/>
                <a:gd name="connsiteY3457" fmla="*/ 2838469 h 6072780"/>
                <a:gd name="connsiteX3458" fmla="*/ 9870926 w 12117871"/>
                <a:gd name="connsiteY3458" fmla="*/ 2809129 h 6072780"/>
                <a:gd name="connsiteX3459" fmla="*/ 9209265 w 12117871"/>
                <a:gd name="connsiteY3459" fmla="*/ 2809129 h 6072780"/>
                <a:gd name="connsiteX3460" fmla="*/ 9280432 w 12117871"/>
                <a:gd name="connsiteY3460" fmla="*/ 2919717 h 6072780"/>
                <a:gd name="connsiteX3461" fmla="*/ 9260346 w 12117871"/>
                <a:gd name="connsiteY3461" fmla="*/ 3003296 h 6072780"/>
                <a:gd name="connsiteX3462" fmla="*/ 9204149 w 12117871"/>
                <a:gd name="connsiteY3462" fmla="*/ 3032109 h 6072780"/>
                <a:gd name="connsiteX3463" fmla="*/ 9151564 w 12117871"/>
                <a:gd name="connsiteY3463" fmla="*/ 3004575 h 6072780"/>
                <a:gd name="connsiteX3464" fmla="*/ 9132681 w 12117871"/>
                <a:gd name="connsiteY3464" fmla="*/ 2924983 h 6072780"/>
                <a:gd name="connsiteX3465" fmla="*/ 9152391 w 12117871"/>
                <a:gd name="connsiteY3465" fmla="*/ 2838469 h 6072780"/>
                <a:gd name="connsiteX3466" fmla="*/ 9209265 w 12117871"/>
                <a:gd name="connsiteY3466" fmla="*/ 2809129 h 6072780"/>
                <a:gd name="connsiteX3467" fmla="*/ 8988342 w 12117871"/>
                <a:gd name="connsiteY3467" fmla="*/ 2809129 h 6072780"/>
                <a:gd name="connsiteX3468" fmla="*/ 9059509 w 12117871"/>
                <a:gd name="connsiteY3468" fmla="*/ 2919717 h 6072780"/>
                <a:gd name="connsiteX3469" fmla="*/ 9039423 w 12117871"/>
                <a:gd name="connsiteY3469" fmla="*/ 3003296 h 6072780"/>
                <a:gd name="connsiteX3470" fmla="*/ 8983226 w 12117871"/>
                <a:gd name="connsiteY3470" fmla="*/ 3032109 h 6072780"/>
                <a:gd name="connsiteX3471" fmla="*/ 8930641 w 12117871"/>
                <a:gd name="connsiteY3471" fmla="*/ 3004575 h 6072780"/>
                <a:gd name="connsiteX3472" fmla="*/ 8911758 w 12117871"/>
                <a:gd name="connsiteY3472" fmla="*/ 2924983 h 6072780"/>
                <a:gd name="connsiteX3473" fmla="*/ 8931468 w 12117871"/>
                <a:gd name="connsiteY3473" fmla="*/ 2838469 h 6072780"/>
                <a:gd name="connsiteX3474" fmla="*/ 8988342 w 12117871"/>
                <a:gd name="connsiteY3474" fmla="*/ 2809129 h 6072780"/>
                <a:gd name="connsiteX3475" fmla="*/ 6138880 w 12117871"/>
                <a:gd name="connsiteY3475" fmla="*/ 2809129 h 6072780"/>
                <a:gd name="connsiteX3476" fmla="*/ 6210047 w 12117871"/>
                <a:gd name="connsiteY3476" fmla="*/ 2919717 h 6072780"/>
                <a:gd name="connsiteX3477" fmla="*/ 6189961 w 12117871"/>
                <a:gd name="connsiteY3477" fmla="*/ 3003296 h 6072780"/>
                <a:gd name="connsiteX3478" fmla="*/ 6133764 w 12117871"/>
                <a:gd name="connsiteY3478" fmla="*/ 3032109 h 6072780"/>
                <a:gd name="connsiteX3479" fmla="*/ 6081179 w 12117871"/>
                <a:gd name="connsiteY3479" fmla="*/ 3004575 h 6072780"/>
                <a:gd name="connsiteX3480" fmla="*/ 6062296 w 12117871"/>
                <a:gd name="connsiteY3480" fmla="*/ 2924983 h 6072780"/>
                <a:gd name="connsiteX3481" fmla="*/ 6082006 w 12117871"/>
                <a:gd name="connsiteY3481" fmla="*/ 2838469 h 6072780"/>
                <a:gd name="connsiteX3482" fmla="*/ 6138880 w 12117871"/>
                <a:gd name="connsiteY3482" fmla="*/ 2809129 h 6072780"/>
                <a:gd name="connsiteX3483" fmla="*/ 4035798 w 12117871"/>
                <a:gd name="connsiteY3483" fmla="*/ 2809129 h 6072780"/>
                <a:gd name="connsiteX3484" fmla="*/ 4106965 w 12117871"/>
                <a:gd name="connsiteY3484" fmla="*/ 2919717 h 6072780"/>
                <a:gd name="connsiteX3485" fmla="*/ 4086879 w 12117871"/>
                <a:gd name="connsiteY3485" fmla="*/ 3003296 h 6072780"/>
                <a:gd name="connsiteX3486" fmla="*/ 4030682 w 12117871"/>
                <a:gd name="connsiteY3486" fmla="*/ 3032109 h 6072780"/>
                <a:gd name="connsiteX3487" fmla="*/ 3978097 w 12117871"/>
                <a:gd name="connsiteY3487" fmla="*/ 3004575 h 6072780"/>
                <a:gd name="connsiteX3488" fmla="*/ 3959214 w 12117871"/>
                <a:gd name="connsiteY3488" fmla="*/ 2924983 h 6072780"/>
                <a:gd name="connsiteX3489" fmla="*/ 3978924 w 12117871"/>
                <a:gd name="connsiteY3489" fmla="*/ 2838469 h 6072780"/>
                <a:gd name="connsiteX3490" fmla="*/ 4035798 w 12117871"/>
                <a:gd name="connsiteY3490" fmla="*/ 2809129 h 6072780"/>
                <a:gd name="connsiteX3491" fmla="*/ 3814874 w 12117871"/>
                <a:gd name="connsiteY3491" fmla="*/ 2809129 h 6072780"/>
                <a:gd name="connsiteX3492" fmla="*/ 3886042 w 12117871"/>
                <a:gd name="connsiteY3492" fmla="*/ 2919717 h 6072780"/>
                <a:gd name="connsiteX3493" fmla="*/ 3865956 w 12117871"/>
                <a:gd name="connsiteY3493" fmla="*/ 3003296 h 6072780"/>
                <a:gd name="connsiteX3494" fmla="*/ 3809759 w 12117871"/>
                <a:gd name="connsiteY3494" fmla="*/ 3032109 h 6072780"/>
                <a:gd name="connsiteX3495" fmla="*/ 3757174 w 12117871"/>
                <a:gd name="connsiteY3495" fmla="*/ 3004575 h 6072780"/>
                <a:gd name="connsiteX3496" fmla="*/ 3738291 w 12117871"/>
                <a:gd name="connsiteY3496" fmla="*/ 2924983 h 6072780"/>
                <a:gd name="connsiteX3497" fmla="*/ 3758001 w 12117871"/>
                <a:gd name="connsiteY3497" fmla="*/ 2838469 h 6072780"/>
                <a:gd name="connsiteX3498" fmla="*/ 3814874 w 12117871"/>
                <a:gd name="connsiteY3498" fmla="*/ 2809129 h 6072780"/>
                <a:gd name="connsiteX3499" fmla="*/ 3153215 w 12117871"/>
                <a:gd name="connsiteY3499" fmla="*/ 2809129 h 6072780"/>
                <a:gd name="connsiteX3500" fmla="*/ 3224382 w 12117871"/>
                <a:gd name="connsiteY3500" fmla="*/ 2919717 h 6072780"/>
                <a:gd name="connsiteX3501" fmla="*/ 3204296 w 12117871"/>
                <a:gd name="connsiteY3501" fmla="*/ 3003296 h 6072780"/>
                <a:gd name="connsiteX3502" fmla="*/ 3148099 w 12117871"/>
                <a:gd name="connsiteY3502" fmla="*/ 3032109 h 6072780"/>
                <a:gd name="connsiteX3503" fmla="*/ 3095514 w 12117871"/>
                <a:gd name="connsiteY3503" fmla="*/ 3004575 h 6072780"/>
                <a:gd name="connsiteX3504" fmla="*/ 3076631 w 12117871"/>
                <a:gd name="connsiteY3504" fmla="*/ 2924983 h 6072780"/>
                <a:gd name="connsiteX3505" fmla="*/ 3096341 w 12117871"/>
                <a:gd name="connsiteY3505" fmla="*/ 2838469 h 6072780"/>
                <a:gd name="connsiteX3506" fmla="*/ 3153215 w 12117871"/>
                <a:gd name="connsiteY3506" fmla="*/ 2809129 h 6072780"/>
                <a:gd name="connsiteX3507" fmla="*/ 2932291 w 12117871"/>
                <a:gd name="connsiteY3507" fmla="*/ 2809129 h 6072780"/>
                <a:gd name="connsiteX3508" fmla="*/ 3003459 w 12117871"/>
                <a:gd name="connsiteY3508" fmla="*/ 2919717 h 6072780"/>
                <a:gd name="connsiteX3509" fmla="*/ 2983373 w 12117871"/>
                <a:gd name="connsiteY3509" fmla="*/ 3003296 h 6072780"/>
                <a:gd name="connsiteX3510" fmla="*/ 2927176 w 12117871"/>
                <a:gd name="connsiteY3510" fmla="*/ 3032109 h 6072780"/>
                <a:gd name="connsiteX3511" fmla="*/ 2874591 w 12117871"/>
                <a:gd name="connsiteY3511" fmla="*/ 3004575 h 6072780"/>
                <a:gd name="connsiteX3512" fmla="*/ 2855708 w 12117871"/>
                <a:gd name="connsiteY3512" fmla="*/ 2924983 h 6072780"/>
                <a:gd name="connsiteX3513" fmla="*/ 2875418 w 12117871"/>
                <a:gd name="connsiteY3513" fmla="*/ 2838469 h 6072780"/>
                <a:gd name="connsiteX3514" fmla="*/ 2932291 w 12117871"/>
                <a:gd name="connsiteY3514" fmla="*/ 2809129 h 6072780"/>
                <a:gd name="connsiteX3515" fmla="*/ 79694 w 12117871"/>
                <a:gd name="connsiteY3515" fmla="*/ 2807119 h 6072780"/>
                <a:gd name="connsiteX3516" fmla="*/ 150861 w 12117871"/>
                <a:gd name="connsiteY3516" fmla="*/ 2917707 h 6072780"/>
                <a:gd name="connsiteX3517" fmla="*/ 130775 w 12117871"/>
                <a:gd name="connsiteY3517" fmla="*/ 3001286 h 6072780"/>
                <a:gd name="connsiteX3518" fmla="*/ 74578 w 12117871"/>
                <a:gd name="connsiteY3518" fmla="*/ 3030099 h 6072780"/>
                <a:gd name="connsiteX3519" fmla="*/ 21993 w 12117871"/>
                <a:gd name="connsiteY3519" fmla="*/ 3002565 h 6072780"/>
                <a:gd name="connsiteX3520" fmla="*/ 3110 w 12117871"/>
                <a:gd name="connsiteY3520" fmla="*/ 2922973 h 6072780"/>
                <a:gd name="connsiteX3521" fmla="*/ 22820 w 12117871"/>
                <a:gd name="connsiteY3521" fmla="*/ 2836459 h 6072780"/>
                <a:gd name="connsiteX3522" fmla="*/ 79694 w 12117871"/>
                <a:gd name="connsiteY3522" fmla="*/ 2807119 h 6072780"/>
                <a:gd name="connsiteX3523" fmla="*/ 9131180 w 12117871"/>
                <a:gd name="connsiteY3523" fmla="*/ 2508571 h 6072780"/>
                <a:gd name="connsiteX3524" fmla="*/ 9091910 w 12117871"/>
                <a:gd name="connsiteY3524" fmla="*/ 2595085 h 6072780"/>
                <a:gd name="connsiteX3525" fmla="*/ 9130428 w 12117871"/>
                <a:gd name="connsiteY3525" fmla="*/ 2676032 h 6072780"/>
                <a:gd name="connsiteX3526" fmla="*/ 9168343 w 12117871"/>
                <a:gd name="connsiteY3526" fmla="*/ 2593731 h 6072780"/>
                <a:gd name="connsiteX3527" fmla="*/ 9131180 w 12117871"/>
                <a:gd name="connsiteY3527" fmla="*/ 2508571 h 6072780"/>
                <a:gd name="connsiteX3528" fmla="*/ 8789423 w 12117871"/>
                <a:gd name="connsiteY3528" fmla="*/ 2508571 h 6072780"/>
                <a:gd name="connsiteX3529" fmla="*/ 8750153 w 12117871"/>
                <a:gd name="connsiteY3529" fmla="*/ 2595085 h 6072780"/>
                <a:gd name="connsiteX3530" fmla="*/ 8788671 w 12117871"/>
                <a:gd name="connsiteY3530" fmla="*/ 2676032 h 6072780"/>
                <a:gd name="connsiteX3531" fmla="*/ 8826586 w 12117871"/>
                <a:gd name="connsiteY3531" fmla="*/ 2593731 h 6072780"/>
                <a:gd name="connsiteX3532" fmla="*/ 8789423 w 12117871"/>
                <a:gd name="connsiteY3532" fmla="*/ 2508571 h 6072780"/>
                <a:gd name="connsiteX3533" fmla="*/ 8088021 w 12117871"/>
                <a:gd name="connsiteY3533" fmla="*/ 2508571 h 6072780"/>
                <a:gd name="connsiteX3534" fmla="*/ 8048751 w 12117871"/>
                <a:gd name="connsiteY3534" fmla="*/ 2595085 h 6072780"/>
                <a:gd name="connsiteX3535" fmla="*/ 8087269 w 12117871"/>
                <a:gd name="connsiteY3535" fmla="*/ 2676032 h 6072780"/>
                <a:gd name="connsiteX3536" fmla="*/ 8125184 w 12117871"/>
                <a:gd name="connsiteY3536" fmla="*/ 2593731 h 6072780"/>
                <a:gd name="connsiteX3537" fmla="*/ 8088021 w 12117871"/>
                <a:gd name="connsiteY3537" fmla="*/ 2508571 h 6072780"/>
                <a:gd name="connsiteX3538" fmla="*/ 6829532 w 12117871"/>
                <a:gd name="connsiteY3538" fmla="*/ 2508571 h 6072780"/>
                <a:gd name="connsiteX3539" fmla="*/ 6790262 w 12117871"/>
                <a:gd name="connsiteY3539" fmla="*/ 2595085 h 6072780"/>
                <a:gd name="connsiteX3540" fmla="*/ 6828780 w 12117871"/>
                <a:gd name="connsiteY3540" fmla="*/ 2676032 h 6072780"/>
                <a:gd name="connsiteX3541" fmla="*/ 6866695 w 12117871"/>
                <a:gd name="connsiteY3541" fmla="*/ 2593731 h 6072780"/>
                <a:gd name="connsiteX3542" fmla="*/ 6829532 w 12117871"/>
                <a:gd name="connsiteY3542" fmla="*/ 2508571 h 6072780"/>
                <a:gd name="connsiteX3543" fmla="*/ 6616438 w 12117871"/>
                <a:gd name="connsiteY3543" fmla="*/ 2508571 h 6072780"/>
                <a:gd name="connsiteX3544" fmla="*/ 6577168 w 12117871"/>
                <a:gd name="connsiteY3544" fmla="*/ 2595085 h 6072780"/>
                <a:gd name="connsiteX3545" fmla="*/ 6615686 w 12117871"/>
                <a:gd name="connsiteY3545" fmla="*/ 2676032 h 6072780"/>
                <a:gd name="connsiteX3546" fmla="*/ 6653601 w 12117871"/>
                <a:gd name="connsiteY3546" fmla="*/ 2593731 h 6072780"/>
                <a:gd name="connsiteX3547" fmla="*/ 6616438 w 12117871"/>
                <a:gd name="connsiteY3547" fmla="*/ 2508571 h 6072780"/>
                <a:gd name="connsiteX3548" fmla="*/ 3070764 w 12117871"/>
                <a:gd name="connsiteY3548" fmla="*/ 2508571 h 6072780"/>
                <a:gd name="connsiteX3549" fmla="*/ 3031494 w 12117871"/>
                <a:gd name="connsiteY3549" fmla="*/ 2595085 h 6072780"/>
                <a:gd name="connsiteX3550" fmla="*/ 3070012 w 12117871"/>
                <a:gd name="connsiteY3550" fmla="*/ 2676032 h 6072780"/>
                <a:gd name="connsiteX3551" fmla="*/ 3107927 w 12117871"/>
                <a:gd name="connsiteY3551" fmla="*/ 2593731 h 6072780"/>
                <a:gd name="connsiteX3552" fmla="*/ 3070764 w 12117871"/>
                <a:gd name="connsiteY3552" fmla="*/ 2508571 h 6072780"/>
                <a:gd name="connsiteX3553" fmla="*/ 2723961 w 12117871"/>
                <a:gd name="connsiteY3553" fmla="*/ 2508571 h 6072780"/>
                <a:gd name="connsiteX3554" fmla="*/ 2684691 w 12117871"/>
                <a:gd name="connsiteY3554" fmla="*/ 2595085 h 6072780"/>
                <a:gd name="connsiteX3555" fmla="*/ 2723209 w 12117871"/>
                <a:gd name="connsiteY3555" fmla="*/ 2676032 h 6072780"/>
                <a:gd name="connsiteX3556" fmla="*/ 2761124 w 12117871"/>
                <a:gd name="connsiteY3556" fmla="*/ 2593731 h 6072780"/>
                <a:gd name="connsiteX3557" fmla="*/ 2723961 w 12117871"/>
                <a:gd name="connsiteY3557" fmla="*/ 2508571 h 6072780"/>
                <a:gd name="connsiteX3558" fmla="*/ 2032595 w 12117871"/>
                <a:gd name="connsiteY3558" fmla="*/ 2508571 h 6072780"/>
                <a:gd name="connsiteX3559" fmla="*/ 1993326 w 12117871"/>
                <a:gd name="connsiteY3559" fmla="*/ 2595085 h 6072780"/>
                <a:gd name="connsiteX3560" fmla="*/ 2031843 w 12117871"/>
                <a:gd name="connsiteY3560" fmla="*/ 2676032 h 6072780"/>
                <a:gd name="connsiteX3561" fmla="*/ 2069759 w 12117871"/>
                <a:gd name="connsiteY3561" fmla="*/ 2593731 h 6072780"/>
                <a:gd name="connsiteX3562" fmla="*/ 2032595 w 12117871"/>
                <a:gd name="connsiteY3562" fmla="*/ 2508571 h 6072780"/>
                <a:gd name="connsiteX3563" fmla="*/ 777389 w 12117871"/>
                <a:gd name="connsiteY3563" fmla="*/ 2508571 h 6072780"/>
                <a:gd name="connsiteX3564" fmla="*/ 738119 w 12117871"/>
                <a:gd name="connsiteY3564" fmla="*/ 2595085 h 6072780"/>
                <a:gd name="connsiteX3565" fmla="*/ 776637 w 12117871"/>
                <a:gd name="connsiteY3565" fmla="*/ 2676032 h 6072780"/>
                <a:gd name="connsiteX3566" fmla="*/ 814552 w 12117871"/>
                <a:gd name="connsiteY3566" fmla="*/ 2593731 h 6072780"/>
                <a:gd name="connsiteX3567" fmla="*/ 777389 w 12117871"/>
                <a:gd name="connsiteY3567" fmla="*/ 2508571 h 6072780"/>
                <a:gd name="connsiteX3568" fmla="*/ 556789 w 12117871"/>
                <a:gd name="connsiteY3568" fmla="*/ 2508571 h 6072780"/>
                <a:gd name="connsiteX3569" fmla="*/ 517519 w 12117871"/>
                <a:gd name="connsiteY3569" fmla="*/ 2595085 h 6072780"/>
                <a:gd name="connsiteX3570" fmla="*/ 556037 w 12117871"/>
                <a:gd name="connsiteY3570" fmla="*/ 2676032 h 6072780"/>
                <a:gd name="connsiteX3571" fmla="*/ 593952 w 12117871"/>
                <a:gd name="connsiteY3571" fmla="*/ 2593731 h 6072780"/>
                <a:gd name="connsiteX3572" fmla="*/ 556789 w 12117871"/>
                <a:gd name="connsiteY3572" fmla="*/ 2508571 h 6072780"/>
                <a:gd name="connsiteX3573" fmla="*/ 12035876 w 12117871"/>
                <a:gd name="connsiteY3573" fmla="*/ 2480736 h 6072780"/>
                <a:gd name="connsiteX3574" fmla="*/ 12050782 w 12117871"/>
                <a:gd name="connsiteY3574" fmla="*/ 2480736 h 6072780"/>
                <a:gd name="connsiteX3575" fmla="*/ 12050782 w 12117871"/>
                <a:gd name="connsiteY3575" fmla="*/ 2703716 h 6072780"/>
                <a:gd name="connsiteX3576" fmla="*/ 12015494 w 12117871"/>
                <a:gd name="connsiteY3576" fmla="*/ 2703716 h 6072780"/>
                <a:gd name="connsiteX3577" fmla="*/ 12015494 w 12117871"/>
                <a:gd name="connsiteY3577" fmla="*/ 2523933 h 6072780"/>
                <a:gd name="connsiteX3578" fmla="*/ 11994885 w 12117871"/>
                <a:gd name="connsiteY3578" fmla="*/ 2535568 h 6072780"/>
                <a:gd name="connsiteX3579" fmla="*/ 11969712 w 12117871"/>
                <a:gd name="connsiteY3579" fmla="*/ 2544010 h 6072780"/>
                <a:gd name="connsiteX3580" fmla="*/ 11969712 w 12117871"/>
                <a:gd name="connsiteY3580" fmla="*/ 2513894 h 6072780"/>
                <a:gd name="connsiteX3581" fmla="*/ 11986747 w 12117871"/>
                <a:gd name="connsiteY3581" fmla="*/ 2507810 h 6072780"/>
                <a:gd name="connsiteX3582" fmla="*/ 12002946 w 12117871"/>
                <a:gd name="connsiteY3582" fmla="*/ 2500661 h 6072780"/>
                <a:gd name="connsiteX3583" fmla="*/ 12019069 w 12117871"/>
                <a:gd name="connsiteY3583" fmla="*/ 2491839 h 6072780"/>
                <a:gd name="connsiteX3584" fmla="*/ 12035876 w 12117871"/>
                <a:gd name="connsiteY3584" fmla="*/ 2480736 h 6072780"/>
                <a:gd name="connsiteX3585" fmla="*/ 11663311 w 12117871"/>
                <a:gd name="connsiteY3585" fmla="*/ 2480736 h 6072780"/>
                <a:gd name="connsiteX3586" fmla="*/ 11678217 w 12117871"/>
                <a:gd name="connsiteY3586" fmla="*/ 2480736 h 6072780"/>
                <a:gd name="connsiteX3587" fmla="*/ 11678217 w 12117871"/>
                <a:gd name="connsiteY3587" fmla="*/ 2703716 h 6072780"/>
                <a:gd name="connsiteX3588" fmla="*/ 11642929 w 12117871"/>
                <a:gd name="connsiteY3588" fmla="*/ 2703716 h 6072780"/>
                <a:gd name="connsiteX3589" fmla="*/ 11642929 w 12117871"/>
                <a:gd name="connsiteY3589" fmla="*/ 2523933 h 6072780"/>
                <a:gd name="connsiteX3590" fmla="*/ 11622320 w 12117871"/>
                <a:gd name="connsiteY3590" fmla="*/ 2535568 h 6072780"/>
                <a:gd name="connsiteX3591" fmla="*/ 11597147 w 12117871"/>
                <a:gd name="connsiteY3591" fmla="*/ 2544010 h 6072780"/>
                <a:gd name="connsiteX3592" fmla="*/ 11597147 w 12117871"/>
                <a:gd name="connsiteY3592" fmla="*/ 2513894 h 6072780"/>
                <a:gd name="connsiteX3593" fmla="*/ 11614182 w 12117871"/>
                <a:gd name="connsiteY3593" fmla="*/ 2507810 h 6072780"/>
                <a:gd name="connsiteX3594" fmla="*/ 11630381 w 12117871"/>
                <a:gd name="connsiteY3594" fmla="*/ 2500661 h 6072780"/>
                <a:gd name="connsiteX3595" fmla="*/ 11646504 w 12117871"/>
                <a:gd name="connsiteY3595" fmla="*/ 2491839 h 6072780"/>
                <a:gd name="connsiteX3596" fmla="*/ 11663311 w 12117871"/>
                <a:gd name="connsiteY3596" fmla="*/ 2480736 h 6072780"/>
                <a:gd name="connsiteX3597" fmla="*/ 11513338 w 12117871"/>
                <a:gd name="connsiteY3597" fmla="*/ 2480736 h 6072780"/>
                <a:gd name="connsiteX3598" fmla="*/ 11528244 w 12117871"/>
                <a:gd name="connsiteY3598" fmla="*/ 2480736 h 6072780"/>
                <a:gd name="connsiteX3599" fmla="*/ 11528244 w 12117871"/>
                <a:gd name="connsiteY3599" fmla="*/ 2703716 h 6072780"/>
                <a:gd name="connsiteX3600" fmla="*/ 11492956 w 12117871"/>
                <a:gd name="connsiteY3600" fmla="*/ 2703716 h 6072780"/>
                <a:gd name="connsiteX3601" fmla="*/ 11492956 w 12117871"/>
                <a:gd name="connsiteY3601" fmla="*/ 2523933 h 6072780"/>
                <a:gd name="connsiteX3602" fmla="*/ 11472347 w 12117871"/>
                <a:gd name="connsiteY3602" fmla="*/ 2535568 h 6072780"/>
                <a:gd name="connsiteX3603" fmla="*/ 11447174 w 12117871"/>
                <a:gd name="connsiteY3603" fmla="*/ 2544010 h 6072780"/>
                <a:gd name="connsiteX3604" fmla="*/ 11447174 w 12117871"/>
                <a:gd name="connsiteY3604" fmla="*/ 2513894 h 6072780"/>
                <a:gd name="connsiteX3605" fmla="*/ 11464209 w 12117871"/>
                <a:gd name="connsiteY3605" fmla="*/ 2507810 h 6072780"/>
                <a:gd name="connsiteX3606" fmla="*/ 11480408 w 12117871"/>
                <a:gd name="connsiteY3606" fmla="*/ 2500661 h 6072780"/>
                <a:gd name="connsiteX3607" fmla="*/ 11496531 w 12117871"/>
                <a:gd name="connsiteY3607" fmla="*/ 2491839 h 6072780"/>
                <a:gd name="connsiteX3608" fmla="*/ 11513338 w 12117871"/>
                <a:gd name="connsiteY3608" fmla="*/ 2480736 h 6072780"/>
                <a:gd name="connsiteX3609" fmla="*/ 11363365 w 12117871"/>
                <a:gd name="connsiteY3609" fmla="*/ 2480736 h 6072780"/>
                <a:gd name="connsiteX3610" fmla="*/ 11378271 w 12117871"/>
                <a:gd name="connsiteY3610" fmla="*/ 2480736 h 6072780"/>
                <a:gd name="connsiteX3611" fmla="*/ 11378271 w 12117871"/>
                <a:gd name="connsiteY3611" fmla="*/ 2703716 h 6072780"/>
                <a:gd name="connsiteX3612" fmla="*/ 11342983 w 12117871"/>
                <a:gd name="connsiteY3612" fmla="*/ 2703716 h 6072780"/>
                <a:gd name="connsiteX3613" fmla="*/ 11342983 w 12117871"/>
                <a:gd name="connsiteY3613" fmla="*/ 2523933 h 6072780"/>
                <a:gd name="connsiteX3614" fmla="*/ 11322374 w 12117871"/>
                <a:gd name="connsiteY3614" fmla="*/ 2535568 h 6072780"/>
                <a:gd name="connsiteX3615" fmla="*/ 11297201 w 12117871"/>
                <a:gd name="connsiteY3615" fmla="*/ 2544010 h 6072780"/>
                <a:gd name="connsiteX3616" fmla="*/ 11297201 w 12117871"/>
                <a:gd name="connsiteY3616" fmla="*/ 2513894 h 6072780"/>
                <a:gd name="connsiteX3617" fmla="*/ 11314236 w 12117871"/>
                <a:gd name="connsiteY3617" fmla="*/ 2507810 h 6072780"/>
                <a:gd name="connsiteX3618" fmla="*/ 11330435 w 12117871"/>
                <a:gd name="connsiteY3618" fmla="*/ 2500661 h 6072780"/>
                <a:gd name="connsiteX3619" fmla="*/ 11346558 w 12117871"/>
                <a:gd name="connsiteY3619" fmla="*/ 2491839 h 6072780"/>
                <a:gd name="connsiteX3620" fmla="*/ 11363365 w 12117871"/>
                <a:gd name="connsiteY3620" fmla="*/ 2480736 h 6072780"/>
                <a:gd name="connsiteX3621" fmla="*/ 10620407 w 12117871"/>
                <a:gd name="connsiteY3621" fmla="*/ 2480736 h 6072780"/>
                <a:gd name="connsiteX3622" fmla="*/ 10635313 w 12117871"/>
                <a:gd name="connsiteY3622" fmla="*/ 2480736 h 6072780"/>
                <a:gd name="connsiteX3623" fmla="*/ 10635313 w 12117871"/>
                <a:gd name="connsiteY3623" fmla="*/ 2703716 h 6072780"/>
                <a:gd name="connsiteX3624" fmla="*/ 10600025 w 12117871"/>
                <a:gd name="connsiteY3624" fmla="*/ 2703716 h 6072780"/>
                <a:gd name="connsiteX3625" fmla="*/ 10600025 w 12117871"/>
                <a:gd name="connsiteY3625" fmla="*/ 2523933 h 6072780"/>
                <a:gd name="connsiteX3626" fmla="*/ 10579416 w 12117871"/>
                <a:gd name="connsiteY3626" fmla="*/ 2535568 h 6072780"/>
                <a:gd name="connsiteX3627" fmla="*/ 10554243 w 12117871"/>
                <a:gd name="connsiteY3627" fmla="*/ 2544010 h 6072780"/>
                <a:gd name="connsiteX3628" fmla="*/ 10554243 w 12117871"/>
                <a:gd name="connsiteY3628" fmla="*/ 2513894 h 6072780"/>
                <a:gd name="connsiteX3629" fmla="*/ 10571278 w 12117871"/>
                <a:gd name="connsiteY3629" fmla="*/ 2507810 h 6072780"/>
                <a:gd name="connsiteX3630" fmla="*/ 10587477 w 12117871"/>
                <a:gd name="connsiteY3630" fmla="*/ 2500661 h 6072780"/>
                <a:gd name="connsiteX3631" fmla="*/ 10603600 w 12117871"/>
                <a:gd name="connsiteY3631" fmla="*/ 2491839 h 6072780"/>
                <a:gd name="connsiteX3632" fmla="*/ 10620407 w 12117871"/>
                <a:gd name="connsiteY3632" fmla="*/ 2480736 h 6072780"/>
                <a:gd name="connsiteX3633" fmla="*/ 10469278 w 12117871"/>
                <a:gd name="connsiteY3633" fmla="*/ 2480736 h 6072780"/>
                <a:gd name="connsiteX3634" fmla="*/ 10484184 w 12117871"/>
                <a:gd name="connsiteY3634" fmla="*/ 2480736 h 6072780"/>
                <a:gd name="connsiteX3635" fmla="*/ 10484184 w 12117871"/>
                <a:gd name="connsiteY3635" fmla="*/ 2703716 h 6072780"/>
                <a:gd name="connsiteX3636" fmla="*/ 10448896 w 12117871"/>
                <a:gd name="connsiteY3636" fmla="*/ 2703716 h 6072780"/>
                <a:gd name="connsiteX3637" fmla="*/ 10448896 w 12117871"/>
                <a:gd name="connsiteY3637" fmla="*/ 2523933 h 6072780"/>
                <a:gd name="connsiteX3638" fmla="*/ 10428287 w 12117871"/>
                <a:gd name="connsiteY3638" fmla="*/ 2535568 h 6072780"/>
                <a:gd name="connsiteX3639" fmla="*/ 10403114 w 12117871"/>
                <a:gd name="connsiteY3639" fmla="*/ 2544010 h 6072780"/>
                <a:gd name="connsiteX3640" fmla="*/ 10403114 w 12117871"/>
                <a:gd name="connsiteY3640" fmla="*/ 2513894 h 6072780"/>
                <a:gd name="connsiteX3641" fmla="*/ 10420149 w 12117871"/>
                <a:gd name="connsiteY3641" fmla="*/ 2507810 h 6072780"/>
                <a:gd name="connsiteX3642" fmla="*/ 10436348 w 12117871"/>
                <a:gd name="connsiteY3642" fmla="*/ 2500661 h 6072780"/>
                <a:gd name="connsiteX3643" fmla="*/ 10452471 w 12117871"/>
                <a:gd name="connsiteY3643" fmla="*/ 2491839 h 6072780"/>
                <a:gd name="connsiteX3644" fmla="*/ 10469278 w 12117871"/>
                <a:gd name="connsiteY3644" fmla="*/ 2480736 h 6072780"/>
                <a:gd name="connsiteX3645" fmla="*/ 10169331 w 12117871"/>
                <a:gd name="connsiteY3645" fmla="*/ 2480736 h 6072780"/>
                <a:gd name="connsiteX3646" fmla="*/ 10184237 w 12117871"/>
                <a:gd name="connsiteY3646" fmla="*/ 2480736 h 6072780"/>
                <a:gd name="connsiteX3647" fmla="*/ 10184237 w 12117871"/>
                <a:gd name="connsiteY3647" fmla="*/ 2703716 h 6072780"/>
                <a:gd name="connsiteX3648" fmla="*/ 10148949 w 12117871"/>
                <a:gd name="connsiteY3648" fmla="*/ 2703716 h 6072780"/>
                <a:gd name="connsiteX3649" fmla="*/ 10148949 w 12117871"/>
                <a:gd name="connsiteY3649" fmla="*/ 2523933 h 6072780"/>
                <a:gd name="connsiteX3650" fmla="*/ 10128340 w 12117871"/>
                <a:gd name="connsiteY3650" fmla="*/ 2535568 h 6072780"/>
                <a:gd name="connsiteX3651" fmla="*/ 10103167 w 12117871"/>
                <a:gd name="connsiteY3651" fmla="*/ 2544010 h 6072780"/>
                <a:gd name="connsiteX3652" fmla="*/ 10103167 w 12117871"/>
                <a:gd name="connsiteY3652" fmla="*/ 2513894 h 6072780"/>
                <a:gd name="connsiteX3653" fmla="*/ 10120202 w 12117871"/>
                <a:gd name="connsiteY3653" fmla="*/ 2507810 h 6072780"/>
                <a:gd name="connsiteX3654" fmla="*/ 10136401 w 12117871"/>
                <a:gd name="connsiteY3654" fmla="*/ 2500661 h 6072780"/>
                <a:gd name="connsiteX3655" fmla="*/ 10152524 w 12117871"/>
                <a:gd name="connsiteY3655" fmla="*/ 2491839 h 6072780"/>
                <a:gd name="connsiteX3656" fmla="*/ 10169331 w 12117871"/>
                <a:gd name="connsiteY3656" fmla="*/ 2480736 h 6072780"/>
                <a:gd name="connsiteX3657" fmla="*/ 9784303 w 12117871"/>
                <a:gd name="connsiteY3657" fmla="*/ 2480736 h 6072780"/>
                <a:gd name="connsiteX3658" fmla="*/ 9799209 w 12117871"/>
                <a:gd name="connsiteY3658" fmla="*/ 2480736 h 6072780"/>
                <a:gd name="connsiteX3659" fmla="*/ 9799209 w 12117871"/>
                <a:gd name="connsiteY3659" fmla="*/ 2703716 h 6072780"/>
                <a:gd name="connsiteX3660" fmla="*/ 9763921 w 12117871"/>
                <a:gd name="connsiteY3660" fmla="*/ 2703716 h 6072780"/>
                <a:gd name="connsiteX3661" fmla="*/ 9763921 w 12117871"/>
                <a:gd name="connsiteY3661" fmla="*/ 2523933 h 6072780"/>
                <a:gd name="connsiteX3662" fmla="*/ 9743312 w 12117871"/>
                <a:gd name="connsiteY3662" fmla="*/ 2535568 h 6072780"/>
                <a:gd name="connsiteX3663" fmla="*/ 9718139 w 12117871"/>
                <a:gd name="connsiteY3663" fmla="*/ 2544010 h 6072780"/>
                <a:gd name="connsiteX3664" fmla="*/ 9718139 w 12117871"/>
                <a:gd name="connsiteY3664" fmla="*/ 2513894 h 6072780"/>
                <a:gd name="connsiteX3665" fmla="*/ 9735174 w 12117871"/>
                <a:gd name="connsiteY3665" fmla="*/ 2507810 h 6072780"/>
                <a:gd name="connsiteX3666" fmla="*/ 9751373 w 12117871"/>
                <a:gd name="connsiteY3666" fmla="*/ 2500661 h 6072780"/>
                <a:gd name="connsiteX3667" fmla="*/ 9767496 w 12117871"/>
                <a:gd name="connsiteY3667" fmla="*/ 2491839 h 6072780"/>
                <a:gd name="connsiteX3668" fmla="*/ 9784303 w 12117871"/>
                <a:gd name="connsiteY3668" fmla="*/ 2480736 h 6072780"/>
                <a:gd name="connsiteX3669" fmla="*/ 9633174 w 12117871"/>
                <a:gd name="connsiteY3669" fmla="*/ 2480736 h 6072780"/>
                <a:gd name="connsiteX3670" fmla="*/ 9648080 w 12117871"/>
                <a:gd name="connsiteY3670" fmla="*/ 2480736 h 6072780"/>
                <a:gd name="connsiteX3671" fmla="*/ 9648080 w 12117871"/>
                <a:gd name="connsiteY3671" fmla="*/ 2703716 h 6072780"/>
                <a:gd name="connsiteX3672" fmla="*/ 9612792 w 12117871"/>
                <a:gd name="connsiteY3672" fmla="*/ 2703716 h 6072780"/>
                <a:gd name="connsiteX3673" fmla="*/ 9612792 w 12117871"/>
                <a:gd name="connsiteY3673" fmla="*/ 2523933 h 6072780"/>
                <a:gd name="connsiteX3674" fmla="*/ 9592183 w 12117871"/>
                <a:gd name="connsiteY3674" fmla="*/ 2535568 h 6072780"/>
                <a:gd name="connsiteX3675" fmla="*/ 9567010 w 12117871"/>
                <a:gd name="connsiteY3675" fmla="*/ 2544010 h 6072780"/>
                <a:gd name="connsiteX3676" fmla="*/ 9567010 w 12117871"/>
                <a:gd name="connsiteY3676" fmla="*/ 2513894 h 6072780"/>
                <a:gd name="connsiteX3677" fmla="*/ 9584045 w 12117871"/>
                <a:gd name="connsiteY3677" fmla="*/ 2507810 h 6072780"/>
                <a:gd name="connsiteX3678" fmla="*/ 9600244 w 12117871"/>
                <a:gd name="connsiteY3678" fmla="*/ 2500661 h 6072780"/>
                <a:gd name="connsiteX3679" fmla="*/ 9616367 w 12117871"/>
                <a:gd name="connsiteY3679" fmla="*/ 2491839 h 6072780"/>
                <a:gd name="connsiteX3680" fmla="*/ 9633174 w 12117871"/>
                <a:gd name="connsiteY3680" fmla="*/ 2480736 h 6072780"/>
                <a:gd name="connsiteX3681" fmla="*/ 9483201 w 12117871"/>
                <a:gd name="connsiteY3681" fmla="*/ 2480736 h 6072780"/>
                <a:gd name="connsiteX3682" fmla="*/ 9498107 w 12117871"/>
                <a:gd name="connsiteY3682" fmla="*/ 2480736 h 6072780"/>
                <a:gd name="connsiteX3683" fmla="*/ 9498107 w 12117871"/>
                <a:gd name="connsiteY3683" fmla="*/ 2703716 h 6072780"/>
                <a:gd name="connsiteX3684" fmla="*/ 9462819 w 12117871"/>
                <a:gd name="connsiteY3684" fmla="*/ 2703716 h 6072780"/>
                <a:gd name="connsiteX3685" fmla="*/ 9462819 w 12117871"/>
                <a:gd name="connsiteY3685" fmla="*/ 2523933 h 6072780"/>
                <a:gd name="connsiteX3686" fmla="*/ 9442210 w 12117871"/>
                <a:gd name="connsiteY3686" fmla="*/ 2535568 h 6072780"/>
                <a:gd name="connsiteX3687" fmla="*/ 9417037 w 12117871"/>
                <a:gd name="connsiteY3687" fmla="*/ 2544010 h 6072780"/>
                <a:gd name="connsiteX3688" fmla="*/ 9417037 w 12117871"/>
                <a:gd name="connsiteY3688" fmla="*/ 2513894 h 6072780"/>
                <a:gd name="connsiteX3689" fmla="*/ 9434072 w 12117871"/>
                <a:gd name="connsiteY3689" fmla="*/ 2507810 h 6072780"/>
                <a:gd name="connsiteX3690" fmla="*/ 9450271 w 12117871"/>
                <a:gd name="connsiteY3690" fmla="*/ 2500661 h 6072780"/>
                <a:gd name="connsiteX3691" fmla="*/ 9466394 w 12117871"/>
                <a:gd name="connsiteY3691" fmla="*/ 2491839 h 6072780"/>
                <a:gd name="connsiteX3692" fmla="*/ 9483201 w 12117871"/>
                <a:gd name="connsiteY3692" fmla="*/ 2480736 h 6072780"/>
                <a:gd name="connsiteX3693" fmla="*/ 9333228 w 12117871"/>
                <a:gd name="connsiteY3693" fmla="*/ 2480736 h 6072780"/>
                <a:gd name="connsiteX3694" fmla="*/ 9348134 w 12117871"/>
                <a:gd name="connsiteY3694" fmla="*/ 2480736 h 6072780"/>
                <a:gd name="connsiteX3695" fmla="*/ 9348134 w 12117871"/>
                <a:gd name="connsiteY3695" fmla="*/ 2703716 h 6072780"/>
                <a:gd name="connsiteX3696" fmla="*/ 9312846 w 12117871"/>
                <a:gd name="connsiteY3696" fmla="*/ 2703716 h 6072780"/>
                <a:gd name="connsiteX3697" fmla="*/ 9312846 w 12117871"/>
                <a:gd name="connsiteY3697" fmla="*/ 2523933 h 6072780"/>
                <a:gd name="connsiteX3698" fmla="*/ 9292237 w 12117871"/>
                <a:gd name="connsiteY3698" fmla="*/ 2535568 h 6072780"/>
                <a:gd name="connsiteX3699" fmla="*/ 9267064 w 12117871"/>
                <a:gd name="connsiteY3699" fmla="*/ 2544010 h 6072780"/>
                <a:gd name="connsiteX3700" fmla="*/ 9267064 w 12117871"/>
                <a:gd name="connsiteY3700" fmla="*/ 2513894 h 6072780"/>
                <a:gd name="connsiteX3701" fmla="*/ 9284099 w 12117871"/>
                <a:gd name="connsiteY3701" fmla="*/ 2507810 h 6072780"/>
                <a:gd name="connsiteX3702" fmla="*/ 9300298 w 12117871"/>
                <a:gd name="connsiteY3702" fmla="*/ 2500661 h 6072780"/>
                <a:gd name="connsiteX3703" fmla="*/ 9316421 w 12117871"/>
                <a:gd name="connsiteY3703" fmla="*/ 2491839 h 6072780"/>
                <a:gd name="connsiteX3704" fmla="*/ 9333228 w 12117871"/>
                <a:gd name="connsiteY3704" fmla="*/ 2480736 h 6072780"/>
                <a:gd name="connsiteX3705" fmla="*/ 9132835 w 12117871"/>
                <a:gd name="connsiteY3705" fmla="*/ 2480736 h 6072780"/>
                <a:gd name="connsiteX3706" fmla="*/ 9204002 w 12117871"/>
                <a:gd name="connsiteY3706" fmla="*/ 2591324 h 6072780"/>
                <a:gd name="connsiteX3707" fmla="*/ 9183916 w 12117871"/>
                <a:gd name="connsiteY3707" fmla="*/ 2674903 h 6072780"/>
                <a:gd name="connsiteX3708" fmla="*/ 9127719 w 12117871"/>
                <a:gd name="connsiteY3708" fmla="*/ 2703716 h 6072780"/>
                <a:gd name="connsiteX3709" fmla="*/ 9075134 w 12117871"/>
                <a:gd name="connsiteY3709" fmla="*/ 2676182 h 6072780"/>
                <a:gd name="connsiteX3710" fmla="*/ 9056251 w 12117871"/>
                <a:gd name="connsiteY3710" fmla="*/ 2596590 h 6072780"/>
                <a:gd name="connsiteX3711" fmla="*/ 9075961 w 12117871"/>
                <a:gd name="connsiteY3711" fmla="*/ 2510075 h 6072780"/>
                <a:gd name="connsiteX3712" fmla="*/ 9132835 w 12117871"/>
                <a:gd name="connsiteY3712" fmla="*/ 2480736 h 6072780"/>
                <a:gd name="connsiteX3713" fmla="*/ 9001759 w 12117871"/>
                <a:gd name="connsiteY3713" fmla="*/ 2480736 h 6072780"/>
                <a:gd name="connsiteX3714" fmla="*/ 9016665 w 12117871"/>
                <a:gd name="connsiteY3714" fmla="*/ 2480736 h 6072780"/>
                <a:gd name="connsiteX3715" fmla="*/ 9016665 w 12117871"/>
                <a:gd name="connsiteY3715" fmla="*/ 2703716 h 6072780"/>
                <a:gd name="connsiteX3716" fmla="*/ 8981377 w 12117871"/>
                <a:gd name="connsiteY3716" fmla="*/ 2703716 h 6072780"/>
                <a:gd name="connsiteX3717" fmla="*/ 8981377 w 12117871"/>
                <a:gd name="connsiteY3717" fmla="*/ 2523933 h 6072780"/>
                <a:gd name="connsiteX3718" fmla="*/ 8960768 w 12117871"/>
                <a:gd name="connsiteY3718" fmla="*/ 2535568 h 6072780"/>
                <a:gd name="connsiteX3719" fmla="*/ 8935595 w 12117871"/>
                <a:gd name="connsiteY3719" fmla="*/ 2544010 h 6072780"/>
                <a:gd name="connsiteX3720" fmla="*/ 8935595 w 12117871"/>
                <a:gd name="connsiteY3720" fmla="*/ 2513894 h 6072780"/>
                <a:gd name="connsiteX3721" fmla="*/ 8952630 w 12117871"/>
                <a:gd name="connsiteY3721" fmla="*/ 2507810 h 6072780"/>
                <a:gd name="connsiteX3722" fmla="*/ 8968829 w 12117871"/>
                <a:gd name="connsiteY3722" fmla="*/ 2500661 h 6072780"/>
                <a:gd name="connsiteX3723" fmla="*/ 8984952 w 12117871"/>
                <a:gd name="connsiteY3723" fmla="*/ 2491839 h 6072780"/>
                <a:gd name="connsiteX3724" fmla="*/ 9001759 w 12117871"/>
                <a:gd name="connsiteY3724" fmla="*/ 2480736 h 6072780"/>
                <a:gd name="connsiteX3725" fmla="*/ 8791078 w 12117871"/>
                <a:gd name="connsiteY3725" fmla="*/ 2480736 h 6072780"/>
                <a:gd name="connsiteX3726" fmla="*/ 8862245 w 12117871"/>
                <a:gd name="connsiteY3726" fmla="*/ 2591324 h 6072780"/>
                <a:gd name="connsiteX3727" fmla="*/ 8842159 w 12117871"/>
                <a:gd name="connsiteY3727" fmla="*/ 2674903 h 6072780"/>
                <a:gd name="connsiteX3728" fmla="*/ 8785962 w 12117871"/>
                <a:gd name="connsiteY3728" fmla="*/ 2703716 h 6072780"/>
                <a:gd name="connsiteX3729" fmla="*/ 8733377 w 12117871"/>
                <a:gd name="connsiteY3729" fmla="*/ 2676182 h 6072780"/>
                <a:gd name="connsiteX3730" fmla="*/ 8714494 w 12117871"/>
                <a:gd name="connsiteY3730" fmla="*/ 2596590 h 6072780"/>
                <a:gd name="connsiteX3731" fmla="*/ 8734204 w 12117871"/>
                <a:gd name="connsiteY3731" fmla="*/ 2510075 h 6072780"/>
                <a:gd name="connsiteX3732" fmla="*/ 8791078 w 12117871"/>
                <a:gd name="connsiteY3732" fmla="*/ 2480736 h 6072780"/>
                <a:gd name="connsiteX3733" fmla="*/ 8089676 w 12117871"/>
                <a:gd name="connsiteY3733" fmla="*/ 2480736 h 6072780"/>
                <a:gd name="connsiteX3734" fmla="*/ 8160843 w 12117871"/>
                <a:gd name="connsiteY3734" fmla="*/ 2591324 h 6072780"/>
                <a:gd name="connsiteX3735" fmla="*/ 8140757 w 12117871"/>
                <a:gd name="connsiteY3735" fmla="*/ 2674903 h 6072780"/>
                <a:gd name="connsiteX3736" fmla="*/ 8084560 w 12117871"/>
                <a:gd name="connsiteY3736" fmla="*/ 2703716 h 6072780"/>
                <a:gd name="connsiteX3737" fmla="*/ 8031975 w 12117871"/>
                <a:gd name="connsiteY3737" fmla="*/ 2676182 h 6072780"/>
                <a:gd name="connsiteX3738" fmla="*/ 8013092 w 12117871"/>
                <a:gd name="connsiteY3738" fmla="*/ 2596590 h 6072780"/>
                <a:gd name="connsiteX3739" fmla="*/ 8032802 w 12117871"/>
                <a:gd name="connsiteY3739" fmla="*/ 2510075 h 6072780"/>
                <a:gd name="connsiteX3740" fmla="*/ 8089676 w 12117871"/>
                <a:gd name="connsiteY3740" fmla="*/ 2480736 h 6072780"/>
                <a:gd name="connsiteX3741" fmla="*/ 7710515 w 12117871"/>
                <a:gd name="connsiteY3741" fmla="*/ 2480736 h 6072780"/>
                <a:gd name="connsiteX3742" fmla="*/ 7725421 w 12117871"/>
                <a:gd name="connsiteY3742" fmla="*/ 2480736 h 6072780"/>
                <a:gd name="connsiteX3743" fmla="*/ 7725421 w 12117871"/>
                <a:gd name="connsiteY3743" fmla="*/ 2703716 h 6072780"/>
                <a:gd name="connsiteX3744" fmla="*/ 7690133 w 12117871"/>
                <a:gd name="connsiteY3744" fmla="*/ 2703716 h 6072780"/>
                <a:gd name="connsiteX3745" fmla="*/ 7690133 w 12117871"/>
                <a:gd name="connsiteY3745" fmla="*/ 2523933 h 6072780"/>
                <a:gd name="connsiteX3746" fmla="*/ 7669524 w 12117871"/>
                <a:gd name="connsiteY3746" fmla="*/ 2535568 h 6072780"/>
                <a:gd name="connsiteX3747" fmla="*/ 7644351 w 12117871"/>
                <a:gd name="connsiteY3747" fmla="*/ 2544010 h 6072780"/>
                <a:gd name="connsiteX3748" fmla="*/ 7644351 w 12117871"/>
                <a:gd name="connsiteY3748" fmla="*/ 2513894 h 6072780"/>
                <a:gd name="connsiteX3749" fmla="*/ 7661386 w 12117871"/>
                <a:gd name="connsiteY3749" fmla="*/ 2507810 h 6072780"/>
                <a:gd name="connsiteX3750" fmla="*/ 7677585 w 12117871"/>
                <a:gd name="connsiteY3750" fmla="*/ 2500661 h 6072780"/>
                <a:gd name="connsiteX3751" fmla="*/ 7693708 w 12117871"/>
                <a:gd name="connsiteY3751" fmla="*/ 2491839 h 6072780"/>
                <a:gd name="connsiteX3752" fmla="*/ 7710515 w 12117871"/>
                <a:gd name="connsiteY3752" fmla="*/ 2480736 h 6072780"/>
                <a:gd name="connsiteX3753" fmla="*/ 7348573 w 12117871"/>
                <a:gd name="connsiteY3753" fmla="*/ 2480736 h 6072780"/>
                <a:gd name="connsiteX3754" fmla="*/ 7363479 w 12117871"/>
                <a:gd name="connsiteY3754" fmla="*/ 2480736 h 6072780"/>
                <a:gd name="connsiteX3755" fmla="*/ 7363479 w 12117871"/>
                <a:gd name="connsiteY3755" fmla="*/ 2703716 h 6072780"/>
                <a:gd name="connsiteX3756" fmla="*/ 7328191 w 12117871"/>
                <a:gd name="connsiteY3756" fmla="*/ 2703716 h 6072780"/>
                <a:gd name="connsiteX3757" fmla="*/ 7328191 w 12117871"/>
                <a:gd name="connsiteY3757" fmla="*/ 2523933 h 6072780"/>
                <a:gd name="connsiteX3758" fmla="*/ 7307582 w 12117871"/>
                <a:gd name="connsiteY3758" fmla="*/ 2535568 h 6072780"/>
                <a:gd name="connsiteX3759" fmla="*/ 7282409 w 12117871"/>
                <a:gd name="connsiteY3759" fmla="*/ 2544010 h 6072780"/>
                <a:gd name="connsiteX3760" fmla="*/ 7282409 w 12117871"/>
                <a:gd name="connsiteY3760" fmla="*/ 2513894 h 6072780"/>
                <a:gd name="connsiteX3761" fmla="*/ 7299444 w 12117871"/>
                <a:gd name="connsiteY3761" fmla="*/ 2507810 h 6072780"/>
                <a:gd name="connsiteX3762" fmla="*/ 7315643 w 12117871"/>
                <a:gd name="connsiteY3762" fmla="*/ 2500661 h 6072780"/>
                <a:gd name="connsiteX3763" fmla="*/ 7331766 w 12117871"/>
                <a:gd name="connsiteY3763" fmla="*/ 2491839 h 6072780"/>
                <a:gd name="connsiteX3764" fmla="*/ 7348573 w 12117871"/>
                <a:gd name="connsiteY3764" fmla="*/ 2480736 h 6072780"/>
                <a:gd name="connsiteX3765" fmla="*/ 7048627 w 12117871"/>
                <a:gd name="connsiteY3765" fmla="*/ 2480736 h 6072780"/>
                <a:gd name="connsiteX3766" fmla="*/ 7063533 w 12117871"/>
                <a:gd name="connsiteY3766" fmla="*/ 2480736 h 6072780"/>
                <a:gd name="connsiteX3767" fmla="*/ 7063533 w 12117871"/>
                <a:gd name="connsiteY3767" fmla="*/ 2703716 h 6072780"/>
                <a:gd name="connsiteX3768" fmla="*/ 7028245 w 12117871"/>
                <a:gd name="connsiteY3768" fmla="*/ 2703716 h 6072780"/>
                <a:gd name="connsiteX3769" fmla="*/ 7028245 w 12117871"/>
                <a:gd name="connsiteY3769" fmla="*/ 2523933 h 6072780"/>
                <a:gd name="connsiteX3770" fmla="*/ 7007636 w 12117871"/>
                <a:gd name="connsiteY3770" fmla="*/ 2535568 h 6072780"/>
                <a:gd name="connsiteX3771" fmla="*/ 6982463 w 12117871"/>
                <a:gd name="connsiteY3771" fmla="*/ 2544010 h 6072780"/>
                <a:gd name="connsiteX3772" fmla="*/ 6982463 w 12117871"/>
                <a:gd name="connsiteY3772" fmla="*/ 2513894 h 6072780"/>
                <a:gd name="connsiteX3773" fmla="*/ 6999498 w 12117871"/>
                <a:gd name="connsiteY3773" fmla="*/ 2507810 h 6072780"/>
                <a:gd name="connsiteX3774" fmla="*/ 7015697 w 12117871"/>
                <a:gd name="connsiteY3774" fmla="*/ 2500661 h 6072780"/>
                <a:gd name="connsiteX3775" fmla="*/ 7031820 w 12117871"/>
                <a:gd name="connsiteY3775" fmla="*/ 2491839 h 6072780"/>
                <a:gd name="connsiteX3776" fmla="*/ 7048627 w 12117871"/>
                <a:gd name="connsiteY3776" fmla="*/ 2480736 h 6072780"/>
                <a:gd name="connsiteX3777" fmla="*/ 6831187 w 12117871"/>
                <a:gd name="connsiteY3777" fmla="*/ 2480736 h 6072780"/>
                <a:gd name="connsiteX3778" fmla="*/ 6902354 w 12117871"/>
                <a:gd name="connsiteY3778" fmla="*/ 2591324 h 6072780"/>
                <a:gd name="connsiteX3779" fmla="*/ 6882268 w 12117871"/>
                <a:gd name="connsiteY3779" fmla="*/ 2674903 h 6072780"/>
                <a:gd name="connsiteX3780" fmla="*/ 6826071 w 12117871"/>
                <a:gd name="connsiteY3780" fmla="*/ 2703716 h 6072780"/>
                <a:gd name="connsiteX3781" fmla="*/ 6773486 w 12117871"/>
                <a:gd name="connsiteY3781" fmla="*/ 2676182 h 6072780"/>
                <a:gd name="connsiteX3782" fmla="*/ 6754603 w 12117871"/>
                <a:gd name="connsiteY3782" fmla="*/ 2596590 h 6072780"/>
                <a:gd name="connsiteX3783" fmla="*/ 6774313 w 12117871"/>
                <a:gd name="connsiteY3783" fmla="*/ 2510075 h 6072780"/>
                <a:gd name="connsiteX3784" fmla="*/ 6831187 w 12117871"/>
                <a:gd name="connsiteY3784" fmla="*/ 2480736 h 6072780"/>
                <a:gd name="connsiteX3785" fmla="*/ 6618093 w 12117871"/>
                <a:gd name="connsiteY3785" fmla="*/ 2480736 h 6072780"/>
                <a:gd name="connsiteX3786" fmla="*/ 6689260 w 12117871"/>
                <a:gd name="connsiteY3786" fmla="*/ 2591324 h 6072780"/>
                <a:gd name="connsiteX3787" fmla="*/ 6669174 w 12117871"/>
                <a:gd name="connsiteY3787" fmla="*/ 2674903 h 6072780"/>
                <a:gd name="connsiteX3788" fmla="*/ 6612977 w 12117871"/>
                <a:gd name="connsiteY3788" fmla="*/ 2703716 h 6072780"/>
                <a:gd name="connsiteX3789" fmla="*/ 6560392 w 12117871"/>
                <a:gd name="connsiteY3789" fmla="*/ 2676182 h 6072780"/>
                <a:gd name="connsiteX3790" fmla="*/ 6541509 w 12117871"/>
                <a:gd name="connsiteY3790" fmla="*/ 2596590 h 6072780"/>
                <a:gd name="connsiteX3791" fmla="*/ 6561219 w 12117871"/>
                <a:gd name="connsiteY3791" fmla="*/ 2510075 h 6072780"/>
                <a:gd name="connsiteX3792" fmla="*/ 6618093 w 12117871"/>
                <a:gd name="connsiteY3792" fmla="*/ 2480736 h 6072780"/>
                <a:gd name="connsiteX3793" fmla="*/ 6456544 w 12117871"/>
                <a:gd name="connsiteY3793" fmla="*/ 2480736 h 6072780"/>
                <a:gd name="connsiteX3794" fmla="*/ 6471450 w 12117871"/>
                <a:gd name="connsiteY3794" fmla="*/ 2480736 h 6072780"/>
                <a:gd name="connsiteX3795" fmla="*/ 6471450 w 12117871"/>
                <a:gd name="connsiteY3795" fmla="*/ 2703716 h 6072780"/>
                <a:gd name="connsiteX3796" fmla="*/ 6436162 w 12117871"/>
                <a:gd name="connsiteY3796" fmla="*/ 2703716 h 6072780"/>
                <a:gd name="connsiteX3797" fmla="*/ 6436162 w 12117871"/>
                <a:gd name="connsiteY3797" fmla="*/ 2523933 h 6072780"/>
                <a:gd name="connsiteX3798" fmla="*/ 6415553 w 12117871"/>
                <a:gd name="connsiteY3798" fmla="*/ 2535568 h 6072780"/>
                <a:gd name="connsiteX3799" fmla="*/ 6390380 w 12117871"/>
                <a:gd name="connsiteY3799" fmla="*/ 2544010 h 6072780"/>
                <a:gd name="connsiteX3800" fmla="*/ 6390380 w 12117871"/>
                <a:gd name="connsiteY3800" fmla="*/ 2513894 h 6072780"/>
                <a:gd name="connsiteX3801" fmla="*/ 6407415 w 12117871"/>
                <a:gd name="connsiteY3801" fmla="*/ 2507810 h 6072780"/>
                <a:gd name="connsiteX3802" fmla="*/ 6423614 w 12117871"/>
                <a:gd name="connsiteY3802" fmla="*/ 2500661 h 6072780"/>
                <a:gd name="connsiteX3803" fmla="*/ 6439737 w 12117871"/>
                <a:gd name="connsiteY3803" fmla="*/ 2491839 h 6072780"/>
                <a:gd name="connsiteX3804" fmla="*/ 6456544 w 12117871"/>
                <a:gd name="connsiteY3804" fmla="*/ 2480736 h 6072780"/>
                <a:gd name="connsiteX3805" fmla="*/ 6156598 w 12117871"/>
                <a:gd name="connsiteY3805" fmla="*/ 2480736 h 6072780"/>
                <a:gd name="connsiteX3806" fmla="*/ 6171504 w 12117871"/>
                <a:gd name="connsiteY3806" fmla="*/ 2480736 h 6072780"/>
                <a:gd name="connsiteX3807" fmla="*/ 6171504 w 12117871"/>
                <a:gd name="connsiteY3807" fmla="*/ 2703716 h 6072780"/>
                <a:gd name="connsiteX3808" fmla="*/ 6136216 w 12117871"/>
                <a:gd name="connsiteY3808" fmla="*/ 2703716 h 6072780"/>
                <a:gd name="connsiteX3809" fmla="*/ 6136216 w 12117871"/>
                <a:gd name="connsiteY3809" fmla="*/ 2523933 h 6072780"/>
                <a:gd name="connsiteX3810" fmla="*/ 6115607 w 12117871"/>
                <a:gd name="connsiteY3810" fmla="*/ 2535568 h 6072780"/>
                <a:gd name="connsiteX3811" fmla="*/ 6090434 w 12117871"/>
                <a:gd name="connsiteY3811" fmla="*/ 2544010 h 6072780"/>
                <a:gd name="connsiteX3812" fmla="*/ 6090434 w 12117871"/>
                <a:gd name="connsiteY3812" fmla="*/ 2513894 h 6072780"/>
                <a:gd name="connsiteX3813" fmla="*/ 6107469 w 12117871"/>
                <a:gd name="connsiteY3813" fmla="*/ 2507810 h 6072780"/>
                <a:gd name="connsiteX3814" fmla="*/ 6123668 w 12117871"/>
                <a:gd name="connsiteY3814" fmla="*/ 2500661 h 6072780"/>
                <a:gd name="connsiteX3815" fmla="*/ 6139791 w 12117871"/>
                <a:gd name="connsiteY3815" fmla="*/ 2491839 h 6072780"/>
                <a:gd name="connsiteX3816" fmla="*/ 6156598 w 12117871"/>
                <a:gd name="connsiteY3816" fmla="*/ 2480736 h 6072780"/>
                <a:gd name="connsiteX3817" fmla="*/ 5973070 w 12117871"/>
                <a:gd name="connsiteY3817" fmla="*/ 2480736 h 6072780"/>
                <a:gd name="connsiteX3818" fmla="*/ 5987976 w 12117871"/>
                <a:gd name="connsiteY3818" fmla="*/ 2480736 h 6072780"/>
                <a:gd name="connsiteX3819" fmla="*/ 5987976 w 12117871"/>
                <a:gd name="connsiteY3819" fmla="*/ 2703716 h 6072780"/>
                <a:gd name="connsiteX3820" fmla="*/ 5952688 w 12117871"/>
                <a:gd name="connsiteY3820" fmla="*/ 2703716 h 6072780"/>
                <a:gd name="connsiteX3821" fmla="*/ 5952688 w 12117871"/>
                <a:gd name="connsiteY3821" fmla="*/ 2523933 h 6072780"/>
                <a:gd name="connsiteX3822" fmla="*/ 5932078 w 12117871"/>
                <a:gd name="connsiteY3822" fmla="*/ 2535568 h 6072780"/>
                <a:gd name="connsiteX3823" fmla="*/ 5906905 w 12117871"/>
                <a:gd name="connsiteY3823" fmla="*/ 2544010 h 6072780"/>
                <a:gd name="connsiteX3824" fmla="*/ 5906905 w 12117871"/>
                <a:gd name="connsiteY3824" fmla="*/ 2513894 h 6072780"/>
                <a:gd name="connsiteX3825" fmla="*/ 5923941 w 12117871"/>
                <a:gd name="connsiteY3825" fmla="*/ 2507810 h 6072780"/>
                <a:gd name="connsiteX3826" fmla="*/ 5940139 w 12117871"/>
                <a:gd name="connsiteY3826" fmla="*/ 2500661 h 6072780"/>
                <a:gd name="connsiteX3827" fmla="*/ 5956262 w 12117871"/>
                <a:gd name="connsiteY3827" fmla="*/ 2491839 h 6072780"/>
                <a:gd name="connsiteX3828" fmla="*/ 5973070 w 12117871"/>
                <a:gd name="connsiteY3828" fmla="*/ 2480736 h 6072780"/>
                <a:gd name="connsiteX3829" fmla="*/ 5605408 w 12117871"/>
                <a:gd name="connsiteY3829" fmla="*/ 2480736 h 6072780"/>
                <a:gd name="connsiteX3830" fmla="*/ 5620313 w 12117871"/>
                <a:gd name="connsiteY3830" fmla="*/ 2480736 h 6072780"/>
                <a:gd name="connsiteX3831" fmla="*/ 5620313 w 12117871"/>
                <a:gd name="connsiteY3831" fmla="*/ 2703716 h 6072780"/>
                <a:gd name="connsiteX3832" fmla="*/ 5585026 w 12117871"/>
                <a:gd name="connsiteY3832" fmla="*/ 2703716 h 6072780"/>
                <a:gd name="connsiteX3833" fmla="*/ 5585026 w 12117871"/>
                <a:gd name="connsiteY3833" fmla="*/ 2523933 h 6072780"/>
                <a:gd name="connsiteX3834" fmla="*/ 5564417 w 12117871"/>
                <a:gd name="connsiteY3834" fmla="*/ 2535568 h 6072780"/>
                <a:gd name="connsiteX3835" fmla="*/ 5539244 w 12117871"/>
                <a:gd name="connsiteY3835" fmla="*/ 2544010 h 6072780"/>
                <a:gd name="connsiteX3836" fmla="*/ 5539244 w 12117871"/>
                <a:gd name="connsiteY3836" fmla="*/ 2513894 h 6072780"/>
                <a:gd name="connsiteX3837" fmla="*/ 5556279 w 12117871"/>
                <a:gd name="connsiteY3837" fmla="*/ 2507810 h 6072780"/>
                <a:gd name="connsiteX3838" fmla="*/ 5572478 w 12117871"/>
                <a:gd name="connsiteY3838" fmla="*/ 2500661 h 6072780"/>
                <a:gd name="connsiteX3839" fmla="*/ 5588600 w 12117871"/>
                <a:gd name="connsiteY3839" fmla="*/ 2491839 h 6072780"/>
                <a:gd name="connsiteX3840" fmla="*/ 5605408 w 12117871"/>
                <a:gd name="connsiteY3840" fmla="*/ 2480736 h 6072780"/>
                <a:gd name="connsiteX3841" fmla="*/ 5455435 w 12117871"/>
                <a:gd name="connsiteY3841" fmla="*/ 2480736 h 6072780"/>
                <a:gd name="connsiteX3842" fmla="*/ 5470341 w 12117871"/>
                <a:gd name="connsiteY3842" fmla="*/ 2480736 h 6072780"/>
                <a:gd name="connsiteX3843" fmla="*/ 5470341 w 12117871"/>
                <a:gd name="connsiteY3843" fmla="*/ 2703716 h 6072780"/>
                <a:gd name="connsiteX3844" fmla="*/ 5435053 w 12117871"/>
                <a:gd name="connsiteY3844" fmla="*/ 2703716 h 6072780"/>
                <a:gd name="connsiteX3845" fmla="*/ 5435053 w 12117871"/>
                <a:gd name="connsiteY3845" fmla="*/ 2523933 h 6072780"/>
                <a:gd name="connsiteX3846" fmla="*/ 5414443 w 12117871"/>
                <a:gd name="connsiteY3846" fmla="*/ 2535568 h 6072780"/>
                <a:gd name="connsiteX3847" fmla="*/ 5389271 w 12117871"/>
                <a:gd name="connsiteY3847" fmla="*/ 2544010 h 6072780"/>
                <a:gd name="connsiteX3848" fmla="*/ 5389271 w 12117871"/>
                <a:gd name="connsiteY3848" fmla="*/ 2513894 h 6072780"/>
                <a:gd name="connsiteX3849" fmla="*/ 5406306 w 12117871"/>
                <a:gd name="connsiteY3849" fmla="*/ 2507810 h 6072780"/>
                <a:gd name="connsiteX3850" fmla="*/ 5422505 w 12117871"/>
                <a:gd name="connsiteY3850" fmla="*/ 2500661 h 6072780"/>
                <a:gd name="connsiteX3851" fmla="*/ 5438628 w 12117871"/>
                <a:gd name="connsiteY3851" fmla="*/ 2491839 h 6072780"/>
                <a:gd name="connsiteX3852" fmla="*/ 5455435 w 12117871"/>
                <a:gd name="connsiteY3852" fmla="*/ 2480736 h 6072780"/>
                <a:gd name="connsiteX3853" fmla="*/ 5305462 w 12117871"/>
                <a:gd name="connsiteY3853" fmla="*/ 2480736 h 6072780"/>
                <a:gd name="connsiteX3854" fmla="*/ 5320368 w 12117871"/>
                <a:gd name="connsiteY3854" fmla="*/ 2480736 h 6072780"/>
                <a:gd name="connsiteX3855" fmla="*/ 5320368 w 12117871"/>
                <a:gd name="connsiteY3855" fmla="*/ 2703716 h 6072780"/>
                <a:gd name="connsiteX3856" fmla="*/ 5285079 w 12117871"/>
                <a:gd name="connsiteY3856" fmla="*/ 2703716 h 6072780"/>
                <a:gd name="connsiteX3857" fmla="*/ 5285079 w 12117871"/>
                <a:gd name="connsiteY3857" fmla="*/ 2523933 h 6072780"/>
                <a:gd name="connsiteX3858" fmla="*/ 5264471 w 12117871"/>
                <a:gd name="connsiteY3858" fmla="*/ 2535568 h 6072780"/>
                <a:gd name="connsiteX3859" fmla="*/ 5239298 w 12117871"/>
                <a:gd name="connsiteY3859" fmla="*/ 2544010 h 6072780"/>
                <a:gd name="connsiteX3860" fmla="*/ 5239298 w 12117871"/>
                <a:gd name="connsiteY3860" fmla="*/ 2513894 h 6072780"/>
                <a:gd name="connsiteX3861" fmla="*/ 5256333 w 12117871"/>
                <a:gd name="connsiteY3861" fmla="*/ 2507810 h 6072780"/>
                <a:gd name="connsiteX3862" fmla="*/ 5272532 w 12117871"/>
                <a:gd name="connsiteY3862" fmla="*/ 2500661 h 6072780"/>
                <a:gd name="connsiteX3863" fmla="*/ 5288656 w 12117871"/>
                <a:gd name="connsiteY3863" fmla="*/ 2491839 h 6072780"/>
                <a:gd name="connsiteX3864" fmla="*/ 5305462 w 12117871"/>
                <a:gd name="connsiteY3864" fmla="*/ 2480736 h 6072780"/>
                <a:gd name="connsiteX3865" fmla="*/ 4556784 w 12117871"/>
                <a:gd name="connsiteY3865" fmla="*/ 2480736 h 6072780"/>
                <a:gd name="connsiteX3866" fmla="*/ 4571690 w 12117871"/>
                <a:gd name="connsiteY3866" fmla="*/ 2480736 h 6072780"/>
                <a:gd name="connsiteX3867" fmla="*/ 4571690 w 12117871"/>
                <a:gd name="connsiteY3867" fmla="*/ 2703716 h 6072780"/>
                <a:gd name="connsiteX3868" fmla="*/ 4536402 w 12117871"/>
                <a:gd name="connsiteY3868" fmla="*/ 2703716 h 6072780"/>
                <a:gd name="connsiteX3869" fmla="*/ 4536402 w 12117871"/>
                <a:gd name="connsiteY3869" fmla="*/ 2523933 h 6072780"/>
                <a:gd name="connsiteX3870" fmla="*/ 4515793 w 12117871"/>
                <a:gd name="connsiteY3870" fmla="*/ 2535568 h 6072780"/>
                <a:gd name="connsiteX3871" fmla="*/ 4490620 w 12117871"/>
                <a:gd name="connsiteY3871" fmla="*/ 2544010 h 6072780"/>
                <a:gd name="connsiteX3872" fmla="*/ 4490620 w 12117871"/>
                <a:gd name="connsiteY3872" fmla="*/ 2513894 h 6072780"/>
                <a:gd name="connsiteX3873" fmla="*/ 4507655 w 12117871"/>
                <a:gd name="connsiteY3873" fmla="*/ 2507810 h 6072780"/>
                <a:gd name="connsiteX3874" fmla="*/ 4523854 w 12117871"/>
                <a:gd name="connsiteY3874" fmla="*/ 2500661 h 6072780"/>
                <a:gd name="connsiteX3875" fmla="*/ 4539977 w 12117871"/>
                <a:gd name="connsiteY3875" fmla="*/ 2491839 h 6072780"/>
                <a:gd name="connsiteX3876" fmla="*/ 4556784 w 12117871"/>
                <a:gd name="connsiteY3876" fmla="*/ 2480736 h 6072780"/>
                <a:gd name="connsiteX3877" fmla="*/ 4406811 w 12117871"/>
                <a:gd name="connsiteY3877" fmla="*/ 2480736 h 6072780"/>
                <a:gd name="connsiteX3878" fmla="*/ 4421716 w 12117871"/>
                <a:gd name="connsiteY3878" fmla="*/ 2480736 h 6072780"/>
                <a:gd name="connsiteX3879" fmla="*/ 4421716 w 12117871"/>
                <a:gd name="connsiteY3879" fmla="*/ 2703716 h 6072780"/>
                <a:gd name="connsiteX3880" fmla="*/ 4386429 w 12117871"/>
                <a:gd name="connsiteY3880" fmla="*/ 2703716 h 6072780"/>
                <a:gd name="connsiteX3881" fmla="*/ 4386429 w 12117871"/>
                <a:gd name="connsiteY3881" fmla="*/ 2523933 h 6072780"/>
                <a:gd name="connsiteX3882" fmla="*/ 4365820 w 12117871"/>
                <a:gd name="connsiteY3882" fmla="*/ 2535568 h 6072780"/>
                <a:gd name="connsiteX3883" fmla="*/ 4340647 w 12117871"/>
                <a:gd name="connsiteY3883" fmla="*/ 2544010 h 6072780"/>
                <a:gd name="connsiteX3884" fmla="*/ 4340647 w 12117871"/>
                <a:gd name="connsiteY3884" fmla="*/ 2513894 h 6072780"/>
                <a:gd name="connsiteX3885" fmla="*/ 4357682 w 12117871"/>
                <a:gd name="connsiteY3885" fmla="*/ 2507810 h 6072780"/>
                <a:gd name="connsiteX3886" fmla="*/ 4373881 w 12117871"/>
                <a:gd name="connsiteY3886" fmla="*/ 2500661 h 6072780"/>
                <a:gd name="connsiteX3887" fmla="*/ 4390004 w 12117871"/>
                <a:gd name="connsiteY3887" fmla="*/ 2491839 h 6072780"/>
                <a:gd name="connsiteX3888" fmla="*/ 4406811 w 12117871"/>
                <a:gd name="connsiteY3888" fmla="*/ 2480736 h 6072780"/>
                <a:gd name="connsiteX3889" fmla="*/ 4106866 w 12117871"/>
                <a:gd name="connsiteY3889" fmla="*/ 2480736 h 6072780"/>
                <a:gd name="connsiteX3890" fmla="*/ 4121772 w 12117871"/>
                <a:gd name="connsiteY3890" fmla="*/ 2480736 h 6072780"/>
                <a:gd name="connsiteX3891" fmla="*/ 4121772 w 12117871"/>
                <a:gd name="connsiteY3891" fmla="*/ 2703716 h 6072780"/>
                <a:gd name="connsiteX3892" fmla="*/ 4086484 w 12117871"/>
                <a:gd name="connsiteY3892" fmla="*/ 2703716 h 6072780"/>
                <a:gd name="connsiteX3893" fmla="*/ 4086484 w 12117871"/>
                <a:gd name="connsiteY3893" fmla="*/ 2523933 h 6072780"/>
                <a:gd name="connsiteX3894" fmla="*/ 4065875 w 12117871"/>
                <a:gd name="connsiteY3894" fmla="*/ 2535568 h 6072780"/>
                <a:gd name="connsiteX3895" fmla="*/ 4040701 w 12117871"/>
                <a:gd name="connsiteY3895" fmla="*/ 2544010 h 6072780"/>
                <a:gd name="connsiteX3896" fmla="*/ 4040701 w 12117871"/>
                <a:gd name="connsiteY3896" fmla="*/ 2513894 h 6072780"/>
                <a:gd name="connsiteX3897" fmla="*/ 4057737 w 12117871"/>
                <a:gd name="connsiteY3897" fmla="*/ 2507810 h 6072780"/>
                <a:gd name="connsiteX3898" fmla="*/ 4073936 w 12117871"/>
                <a:gd name="connsiteY3898" fmla="*/ 2500661 h 6072780"/>
                <a:gd name="connsiteX3899" fmla="*/ 4090059 w 12117871"/>
                <a:gd name="connsiteY3899" fmla="*/ 2491839 h 6072780"/>
                <a:gd name="connsiteX3900" fmla="*/ 4106866 w 12117871"/>
                <a:gd name="connsiteY3900" fmla="*/ 2480736 h 6072780"/>
                <a:gd name="connsiteX3901" fmla="*/ 3726275 w 12117871"/>
                <a:gd name="connsiteY3901" fmla="*/ 2480736 h 6072780"/>
                <a:gd name="connsiteX3902" fmla="*/ 3741181 w 12117871"/>
                <a:gd name="connsiteY3902" fmla="*/ 2480736 h 6072780"/>
                <a:gd name="connsiteX3903" fmla="*/ 3741181 w 12117871"/>
                <a:gd name="connsiteY3903" fmla="*/ 2703716 h 6072780"/>
                <a:gd name="connsiteX3904" fmla="*/ 3705893 w 12117871"/>
                <a:gd name="connsiteY3904" fmla="*/ 2703716 h 6072780"/>
                <a:gd name="connsiteX3905" fmla="*/ 3705893 w 12117871"/>
                <a:gd name="connsiteY3905" fmla="*/ 2523933 h 6072780"/>
                <a:gd name="connsiteX3906" fmla="*/ 3685283 w 12117871"/>
                <a:gd name="connsiteY3906" fmla="*/ 2535568 h 6072780"/>
                <a:gd name="connsiteX3907" fmla="*/ 3660111 w 12117871"/>
                <a:gd name="connsiteY3907" fmla="*/ 2544010 h 6072780"/>
                <a:gd name="connsiteX3908" fmla="*/ 3660111 w 12117871"/>
                <a:gd name="connsiteY3908" fmla="*/ 2513894 h 6072780"/>
                <a:gd name="connsiteX3909" fmla="*/ 3677146 w 12117871"/>
                <a:gd name="connsiteY3909" fmla="*/ 2507810 h 6072780"/>
                <a:gd name="connsiteX3910" fmla="*/ 3693344 w 12117871"/>
                <a:gd name="connsiteY3910" fmla="*/ 2500661 h 6072780"/>
                <a:gd name="connsiteX3911" fmla="*/ 3709468 w 12117871"/>
                <a:gd name="connsiteY3911" fmla="*/ 2491839 h 6072780"/>
                <a:gd name="connsiteX3912" fmla="*/ 3726275 w 12117871"/>
                <a:gd name="connsiteY3912" fmla="*/ 2480736 h 6072780"/>
                <a:gd name="connsiteX3913" fmla="*/ 3576301 w 12117871"/>
                <a:gd name="connsiteY3913" fmla="*/ 2480736 h 6072780"/>
                <a:gd name="connsiteX3914" fmla="*/ 3591208 w 12117871"/>
                <a:gd name="connsiteY3914" fmla="*/ 2480736 h 6072780"/>
                <a:gd name="connsiteX3915" fmla="*/ 3591208 w 12117871"/>
                <a:gd name="connsiteY3915" fmla="*/ 2703716 h 6072780"/>
                <a:gd name="connsiteX3916" fmla="*/ 3555920 w 12117871"/>
                <a:gd name="connsiteY3916" fmla="*/ 2703716 h 6072780"/>
                <a:gd name="connsiteX3917" fmla="*/ 3555920 w 12117871"/>
                <a:gd name="connsiteY3917" fmla="*/ 2523933 h 6072780"/>
                <a:gd name="connsiteX3918" fmla="*/ 3535311 w 12117871"/>
                <a:gd name="connsiteY3918" fmla="*/ 2535568 h 6072780"/>
                <a:gd name="connsiteX3919" fmla="*/ 3510138 w 12117871"/>
                <a:gd name="connsiteY3919" fmla="*/ 2544010 h 6072780"/>
                <a:gd name="connsiteX3920" fmla="*/ 3510138 w 12117871"/>
                <a:gd name="connsiteY3920" fmla="*/ 2513894 h 6072780"/>
                <a:gd name="connsiteX3921" fmla="*/ 3527173 w 12117871"/>
                <a:gd name="connsiteY3921" fmla="*/ 2507810 h 6072780"/>
                <a:gd name="connsiteX3922" fmla="*/ 3543372 w 12117871"/>
                <a:gd name="connsiteY3922" fmla="*/ 2500661 h 6072780"/>
                <a:gd name="connsiteX3923" fmla="*/ 3559494 w 12117871"/>
                <a:gd name="connsiteY3923" fmla="*/ 2491839 h 6072780"/>
                <a:gd name="connsiteX3924" fmla="*/ 3576301 w 12117871"/>
                <a:gd name="connsiteY3924" fmla="*/ 2480736 h 6072780"/>
                <a:gd name="connsiteX3925" fmla="*/ 3426329 w 12117871"/>
                <a:gd name="connsiteY3925" fmla="*/ 2480736 h 6072780"/>
                <a:gd name="connsiteX3926" fmla="*/ 3441235 w 12117871"/>
                <a:gd name="connsiteY3926" fmla="*/ 2480736 h 6072780"/>
                <a:gd name="connsiteX3927" fmla="*/ 3441235 w 12117871"/>
                <a:gd name="connsiteY3927" fmla="*/ 2703716 h 6072780"/>
                <a:gd name="connsiteX3928" fmla="*/ 3405947 w 12117871"/>
                <a:gd name="connsiteY3928" fmla="*/ 2703716 h 6072780"/>
                <a:gd name="connsiteX3929" fmla="*/ 3405947 w 12117871"/>
                <a:gd name="connsiteY3929" fmla="*/ 2523933 h 6072780"/>
                <a:gd name="connsiteX3930" fmla="*/ 3385338 w 12117871"/>
                <a:gd name="connsiteY3930" fmla="*/ 2535568 h 6072780"/>
                <a:gd name="connsiteX3931" fmla="*/ 3360165 w 12117871"/>
                <a:gd name="connsiteY3931" fmla="*/ 2544010 h 6072780"/>
                <a:gd name="connsiteX3932" fmla="*/ 3360165 w 12117871"/>
                <a:gd name="connsiteY3932" fmla="*/ 2513894 h 6072780"/>
                <a:gd name="connsiteX3933" fmla="*/ 3377200 w 12117871"/>
                <a:gd name="connsiteY3933" fmla="*/ 2507810 h 6072780"/>
                <a:gd name="connsiteX3934" fmla="*/ 3393399 w 12117871"/>
                <a:gd name="connsiteY3934" fmla="*/ 2500661 h 6072780"/>
                <a:gd name="connsiteX3935" fmla="*/ 3409521 w 12117871"/>
                <a:gd name="connsiteY3935" fmla="*/ 2491839 h 6072780"/>
                <a:gd name="connsiteX3936" fmla="*/ 3426329 w 12117871"/>
                <a:gd name="connsiteY3936" fmla="*/ 2480736 h 6072780"/>
                <a:gd name="connsiteX3937" fmla="*/ 3276356 w 12117871"/>
                <a:gd name="connsiteY3937" fmla="*/ 2480736 h 6072780"/>
                <a:gd name="connsiteX3938" fmla="*/ 3291262 w 12117871"/>
                <a:gd name="connsiteY3938" fmla="*/ 2480736 h 6072780"/>
                <a:gd name="connsiteX3939" fmla="*/ 3291262 w 12117871"/>
                <a:gd name="connsiteY3939" fmla="*/ 2703716 h 6072780"/>
                <a:gd name="connsiteX3940" fmla="*/ 3255974 w 12117871"/>
                <a:gd name="connsiteY3940" fmla="*/ 2703716 h 6072780"/>
                <a:gd name="connsiteX3941" fmla="*/ 3255974 w 12117871"/>
                <a:gd name="connsiteY3941" fmla="*/ 2523933 h 6072780"/>
                <a:gd name="connsiteX3942" fmla="*/ 3235365 w 12117871"/>
                <a:gd name="connsiteY3942" fmla="*/ 2535568 h 6072780"/>
                <a:gd name="connsiteX3943" fmla="*/ 3210192 w 12117871"/>
                <a:gd name="connsiteY3943" fmla="*/ 2544010 h 6072780"/>
                <a:gd name="connsiteX3944" fmla="*/ 3210192 w 12117871"/>
                <a:gd name="connsiteY3944" fmla="*/ 2513894 h 6072780"/>
                <a:gd name="connsiteX3945" fmla="*/ 3227227 w 12117871"/>
                <a:gd name="connsiteY3945" fmla="*/ 2507810 h 6072780"/>
                <a:gd name="connsiteX3946" fmla="*/ 3243426 w 12117871"/>
                <a:gd name="connsiteY3946" fmla="*/ 2500661 h 6072780"/>
                <a:gd name="connsiteX3947" fmla="*/ 3259549 w 12117871"/>
                <a:gd name="connsiteY3947" fmla="*/ 2491839 h 6072780"/>
                <a:gd name="connsiteX3948" fmla="*/ 3276356 w 12117871"/>
                <a:gd name="connsiteY3948" fmla="*/ 2480736 h 6072780"/>
                <a:gd name="connsiteX3949" fmla="*/ 3072419 w 12117871"/>
                <a:gd name="connsiteY3949" fmla="*/ 2480736 h 6072780"/>
                <a:gd name="connsiteX3950" fmla="*/ 3143586 w 12117871"/>
                <a:gd name="connsiteY3950" fmla="*/ 2591324 h 6072780"/>
                <a:gd name="connsiteX3951" fmla="*/ 3123500 w 12117871"/>
                <a:gd name="connsiteY3951" fmla="*/ 2674903 h 6072780"/>
                <a:gd name="connsiteX3952" fmla="*/ 3067303 w 12117871"/>
                <a:gd name="connsiteY3952" fmla="*/ 2703716 h 6072780"/>
                <a:gd name="connsiteX3953" fmla="*/ 3014718 w 12117871"/>
                <a:gd name="connsiteY3953" fmla="*/ 2676182 h 6072780"/>
                <a:gd name="connsiteX3954" fmla="*/ 2995835 w 12117871"/>
                <a:gd name="connsiteY3954" fmla="*/ 2596590 h 6072780"/>
                <a:gd name="connsiteX3955" fmla="*/ 3015545 w 12117871"/>
                <a:gd name="connsiteY3955" fmla="*/ 2510075 h 6072780"/>
                <a:gd name="connsiteX3956" fmla="*/ 3072419 w 12117871"/>
                <a:gd name="connsiteY3956" fmla="*/ 2480736 h 6072780"/>
                <a:gd name="connsiteX3957" fmla="*/ 2942173 w 12117871"/>
                <a:gd name="connsiteY3957" fmla="*/ 2480736 h 6072780"/>
                <a:gd name="connsiteX3958" fmla="*/ 2957079 w 12117871"/>
                <a:gd name="connsiteY3958" fmla="*/ 2480736 h 6072780"/>
                <a:gd name="connsiteX3959" fmla="*/ 2957079 w 12117871"/>
                <a:gd name="connsiteY3959" fmla="*/ 2703716 h 6072780"/>
                <a:gd name="connsiteX3960" fmla="*/ 2921791 w 12117871"/>
                <a:gd name="connsiteY3960" fmla="*/ 2703716 h 6072780"/>
                <a:gd name="connsiteX3961" fmla="*/ 2921791 w 12117871"/>
                <a:gd name="connsiteY3961" fmla="*/ 2523933 h 6072780"/>
                <a:gd name="connsiteX3962" fmla="*/ 2901182 w 12117871"/>
                <a:gd name="connsiteY3962" fmla="*/ 2535568 h 6072780"/>
                <a:gd name="connsiteX3963" fmla="*/ 2876008 w 12117871"/>
                <a:gd name="connsiteY3963" fmla="*/ 2544010 h 6072780"/>
                <a:gd name="connsiteX3964" fmla="*/ 2876008 w 12117871"/>
                <a:gd name="connsiteY3964" fmla="*/ 2513894 h 6072780"/>
                <a:gd name="connsiteX3965" fmla="*/ 2893044 w 12117871"/>
                <a:gd name="connsiteY3965" fmla="*/ 2507810 h 6072780"/>
                <a:gd name="connsiteX3966" fmla="*/ 2909242 w 12117871"/>
                <a:gd name="connsiteY3966" fmla="*/ 2500661 h 6072780"/>
                <a:gd name="connsiteX3967" fmla="*/ 2925366 w 12117871"/>
                <a:gd name="connsiteY3967" fmla="*/ 2491839 h 6072780"/>
                <a:gd name="connsiteX3968" fmla="*/ 2942173 w 12117871"/>
                <a:gd name="connsiteY3968" fmla="*/ 2480736 h 6072780"/>
                <a:gd name="connsiteX3969" fmla="*/ 2725616 w 12117871"/>
                <a:gd name="connsiteY3969" fmla="*/ 2480736 h 6072780"/>
                <a:gd name="connsiteX3970" fmla="*/ 2796783 w 12117871"/>
                <a:gd name="connsiteY3970" fmla="*/ 2591324 h 6072780"/>
                <a:gd name="connsiteX3971" fmla="*/ 2776697 w 12117871"/>
                <a:gd name="connsiteY3971" fmla="*/ 2674903 h 6072780"/>
                <a:gd name="connsiteX3972" fmla="*/ 2720500 w 12117871"/>
                <a:gd name="connsiteY3972" fmla="*/ 2703716 h 6072780"/>
                <a:gd name="connsiteX3973" fmla="*/ 2667915 w 12117871"/>
                <a:gd name="connsiteY3973" fmla="*/ 2676182 h 6072780"/>
                <a:gd name="connsiteX3974" fmla="*/ 2649032 w 12117871"/>
                <a:gd name="connsiteY3974" fmla="*/ 2596590 h 6072780"/>
                <a:gd name="connsiteX3975" fmla="*/ 2668742 w 12117871"/>
                <a:gd name="connsiteY3975" fmla="*/ 2510075 h 6072780"/>
                <a:gd name="connsiteX3976" fmla="*/ 2725616 w 12117871"/>
                <a:gd name="connsiteY3976" fmla="*/ 2480736 h 6072780"/>
                <a:gd name="connsiteX3977" fmla="*/ 2034250 w 12117871"/>
                <a:gd name="connsiteY3977" fmla="*/ 2480736 h 6072780"/>
                <a:gd name="connsiteX3978" fmla="*/ 2105417 w 12117871"/>
                <a:gd name="connsiteY3978" fmla="*/ 2591324 h 6072780"/>
                <a:gd name="connsiteX3979" fmla="*/ 2085332 w 12117871"/>
                <a:gd name="connsiteY3979" fmla="*/ 2674903 h 6072780"/>
                <a:gd name="connsiteX3980" fmla="*/ 2029134 w 12117871"/>
                <a:gd name="connsiteY3980" fmla="*/ 2703716 h 6072780"/>
                <a:gd name="connsiteX3981" fmla="*/ 1976549 w 12117871"/>
                <a:gd name="connsiteY3981" fmla="*/ 2676182 h 6072780"/>
                <a:gd name="connsiteX3982" fmla="*/ 1957666 w 12117871"/>
                <a:gd name="connsiteY3982" fmla="*/ 2596590 h 6072780"/>
                <a:gd name="connsiteX3983" fmla="*/ 1977376 w 12117871"/>
                <a:gd name="connsiteY3983" fmla="*/ 2510075 h 6072780"/>
                <a:gd name="connsiteX3984" fmla="*/ 2034250 w 12117871"/>
                <a:gd name="connsiteY3984" fmla="*/ 2480736 h 6072780"/>
                <a:gd name="connsiteX3985" fmla="*/ 1661890 w 12117871"/>
                <a:gd name="connsiteY3985" fmla="*/ 2480736 h 6072780"/>
                <a:gd name="connsiteX3986" fmla="*/ 1676796 w 12117871"/>
                <a:gd name="connsiteY3986" fmla="*/ 2480736 h 6072780"/>
                <a:gd name="connsiteX3987" fmla="*/ 1676796 w 12117871"/>
                <a:gd name="connsiteY3987" fmla="*/ 2703716 h 6072780"/>
                <a:gd name="connsiteX3988" fmla="*/ 1641507 w 12117871"/>
                <a:gd name="connsiteY3988" fmla="*/ 2703716 h 6072780"/>
                <a:gd name="connsiteX3989" fmla="*/ 1641507 w 12117871"/>
                <a:gd name="connsiteY3989" fmla="*/ 2523933 h 6072780"/>
                <a:gd name="connsiteX3990" fmla="*/ 1620898 w 12117871"/>
                <a:gd name="connsiteY3990" fmla="*/ 2535568 h 6072780"/>
                <a:gd name="connsiteX3991" fmla="*/ 1595726 w 12117871"/>
                <a:gd name="connsiteY3991" fmla="*/ 2544010 h 6072780"/>
                <a:gd name="connsiteX3992" fmla="*/ 1595726 w 12117871"/>
                <a:gd name="connsiteY3992" fmla="*/ 2513894 h 6072780"/>
                <a:gd name="connsiteX3993" fmla="*/ 1612761 w 12117871"/>
                <a:gd name="connsiteY3993" fmla="*/ 2507810 h 6072780"/>
                <a:gd name="connsiteX3994" fmla="*/ 1628960 w 12117871"/>
                <a:gd name="connsiteY3994" fmla="*/ 2500661 h 6072780"/>
                <a:gd name="connsiteX3995" fmla="*/ 1645083 w 12117871"/>
                <a:gd name="connsiteY3995" fmla="*/ 2491839 h 6072780"/>
                <a:gd name="connsiteX3996" fmla="*/ 1661890 w 12117871"/>
                <a:gd name="connsiteY3996" fmla="*/ 2480736 h 6072780"/>
                <a:gd name="connsiteX3997" fmla="*/ 1285224 w 12117871"/>
                <a:gd name="connsiteY3997" fmla="*/ 2480736 h 6072780"/>
                <a:gd name="connsiteX3998" fmla="*/ 1300130 w 12117871"/>
                <a:gd name="connsiteY3998" fmla="*/ 2480736 h 6072780"/>
                <a:gd name="connsiteX3999" fmla="*/ 1300130 w 12117871"/>
                <a:gd name="connsiteY3999" fmla="*/ 2703716 h 6072780"/>
                <a:gd name="connsiteX4000" fmla="*/ 1264841 w 12117871"/>
                <a:gd name="connsiteY4000" fmla="*/ 2703716 h 6072780"/>
                <a:gd name="connsiteX4001" fmla="*/ 1264841 w 12117871"/>
                <a:gd name="connsiteY4001" fmla="*/ 2523933 h 6072780"/>
                <a:gd name="connsiteX4002" fmla="*/ 1244232 w 12117871"/>
                <a:gd name="connsiteY4002" fmla="*/ 2535568 h 6072780"/>
                <a:gd name="connsiteX4003" fmla="*/ 1219060 w 12117871"/>
                <a:gd name="connsiteY4003" fmla="*/ 2544010 h 6072780"/>
                <a:gd name="connsiteX4004" fmla="*/ 1219060 w 12117871"/>
                <a:gd name="connsiteY4004" fmla="*/ 2513894 h 6072780"/>
                <a:gd name="connsiteX4005" fmla="*/ 1236094 w 12117871"/>
                <a:gd name="connsiteY4005" fmla="*/ 2507810 h 6072780"/>
                <a:gd name="connsiteX4006" fmla="*/ 1252294 w 12117871"/>
                <a:gd name="connsiteY4006" fmla="*/ 2500661 h 6072780"/>
                <a:gd name="connsiteX4007" fmla="*/ 1268416 w 12117871"/>
                <a:gd name="connsiteY4007" fmla="*/ 2491839 h 6072780"/>
                <a:gd name="connsiteX4008" fmla="*/ 1285224 w 12117871"/>
                <a:gd name="connsiteY4008" fmla="*/ 2480736 h 6072780"/>
                <a:gd name="connsiteX4009" fmla="*/ 985278 w 12117871"/>
                <a:gd name="connsiteY4009" fmla="*/ 2480736 h 6072780"/>
                <a:gd name="connsiteX4010" fmla="*/ 1000183 w 12117871"/>
                <a:gd name="connsiteY4010" fmla="*/ 2480736 h 6072780"/>
                <a:gd name="connsiteX4011" fmla="*/ 1000183 w 12117871"/>
                <a:gd name="connsiteY4011" fmla="*/ 2703716 h 6072780"/>
                <a:gd name="connsiteX4012" fmla="*/ 964896 w 12117871"/>
                <a:gd name="connsiteY4012" fmla="*/ 2703716 h 6072780"/>
                <a:gd name="connsiteX4013" fmla="*/ 964896 w 12117871"/>
                <a:gd name="connsiteY4013" fmla="*/ 2523933 h 6072780"/>
                <a:gd name="connsiteX4014" fmla="*/ 944286 w 12117871"/>
                <a:gd name="connsiteY4014" fmla="*/ 2535568 h 6072780"/>
                <a:gd name="connsiteX4015" fmla="*/ 919114 w 12117871"/>
                <a:gd name="connsiteY4015" fmla="*/ 2544010 h 6072780"/>
                <a:gd name="connsiteX4016" fmla="*/ 919114 w 12117871"/>
                <a:gd name="connsiteY4016" fmla="*/ 2513894 h 6072780"/>
                <a:gd name="connsiteX4017" fmla="*/ 936149 w 12117871"/>
                <a:gd name="connsiteY4017" fmla="*/ 2507810 h 6072780"/>
                <a:gd name="connsiteX4018" fmla="*/ 952348 w 12117871"/>
                <a:gd name="connsiteY4018" fmla="*/ 2500661 h 6072780"/>
                <a:gd name="connsiteX4019" fmla="*/ 968471 w 12117871"/>
                <a:gd name="connsiteY4019" fmla="*/ 2491839 h 6072780"/>
                <a:gd name="connsiteX4020" fmla="*/ 985278 w 12117871"/>
                <a:gd name="connsiteY4020" fmla="*/ 2480736 h 6072780"/>
                <a:gd name="connsiteX4021" fmla="*/ 779044 w 12117871"/>
                <a:gd name="connsiteY4021" fmla="*/ 2480736 h 6072780"/>
                <a:gd name="connsiteX4022" fmla="*/ 850211 w 12117871"/>
                <a:gd name="connsiteY4022" fmla="*/ 2591324 h 6072780"/>
                <a:gd name="connsiteX4023" fmla="*/ 830125 w 12117871"/>
                <a:gd name="connsiteY4023" fmla="*/ 2674903 h 6072780"/>
                <a:gd name="connsiteX4024" fmla="*/ 773928 w 12117871"/>
                <a:gd name="connsiteY4024" fmla="*/ 2703716 h 6072780"/>
                <a:gd name="connsiteX4025" fmla="*/ 721343 w 12117871"/>
                <a:gd name="connsiteY4025" fmla="*/ 2676182 h 6072780"/>
                <a:gd name="connsiteX4026" fmla="*/ 702460 w 12117871"/>
                <a:gd name="connsiteY4026" fmla="*/ 2596590 h 6072780"/>
                <a:gd name="connsiteX4027" fmla="*/ 722170 w 12117871"/>
                <a:gd name="connsiteY4027" fmla="*/ 2510075 h 6072780"/>
                <a:gd name="connsiteX4028" fmla="*/ 779044 w 12117871"/>
                <a:gd name="connsiteY4028" fmla="*/ 2480736 h 6072780"/>
                <a:gd name="connsiteX4029" fmla="*/ 558444 w 12117871"/>
                <a:gd name="connsiteY4029" fmla="*/ 2480736 h 6072780"/>
                <a:gd name="connsiteX4030" fmla="*/ 629611 w 12117871"/>
                <a:gd name="connsiteY4030" fmla="*/ 2591324 h 6072780"/>
                <a:gd name="connsiteX4031" fmla="*/ 609525 w 12117871"/>
                <a:gd name="connsiteY4031" fmla="*/ 2674903 h 6072780"/>
                <a:gd name="connsiteX4032" fmla="*/ 553328 w 12117871"/>
                <a:gd name="connsiteY4032" fmla="*/ 2703716 h 6072780"/>
                <a:gd name="connsiteX4033" fmla="*/ 500742 w 12117871"/>
                <a:gd name="connsiteY4033" fmla="*/ 2676182 h 6072780"/>
                <a:gd name="connsiteX4034" fmla="*/ 481860 w 12117871"/>
                <a:gd name="connsiteY4034" fmla="*/ 2596590 h 6072780"/>
                <a:gd name="connsiteX4035" fmla="*/ 501570 w 12117871"/>
                <a:gd name="connsiteY4035" fmla="*/ 2510075 h 6072780"/>
                <a:gd name="connsiteX4036" fmla="*/ 558444 w 12117871"/>
                <a:gd name="connsiteY4036" fmla="*/ 2480736 h 6072780"/>
                <a:gd name="connsiteX4037" fmla="*/ 391282 w 12117871"/>
                <a:gd name="connsiteY4037" fmla="*/ 2480736 h 6072780"/>
                <a:gd name="connsiteX4038" fmla="*/ 406188 w 12117871"/>
                <a:gd name="connsiteY4038" fmla="*/ 2480736 h 6072780"/>
                <a:gd name="connsiteX4039" fmla="*/ 406188 w 12117871"/>
                <a:gd name="connsiteY4039" fmla="*/ 2703716 h 6072780"/>
                <a:gd name="connsiteX4040" fmla="*/ 370900 w 12117871"/>
                <a:gd name="connsiteY4040" fmla="*/ 2703716 h 6072780"/>
                <a:gd name="connsiteX4041" fmla="*/ 370900 w 12117871"/>
                <a:gd name="connsiteY4041" fmla="*/ 2523933 h 6072780"/>
                <a:gd name="connsiteX4042" fmla="*/ 350291 w 12117871"/>
                <a:gd name="connsiteY4042" fmla="*/ 2535568 h 6072780"/>
                <a:gd name="connsiteX4043" fmla="*/ 325118 w 12117871"/>
                <a:gd name="connsiteY4043" fmla="*/ 2544010 h 6072780"/>
                <a:gd name="connsiteX4044" fmla="*/ 325118 w 12117871"/>
                <a:gd name="connsiteY4044" fmla="*/ 2513894 h 6072780"/>
                <a:gd name="connsiteX4045" fmla="*/ 342153 w 12117871"/>
                <a:gd name="connsiteY4045" fmla="*/ 2507810 h 6072780"/>
                <a:gd name="connsiteX4046" fmla="*/ 358352 w 12117871"/>
                <a:gd name="connsiteY4046" fmla="*/ 2500661 h 6072780"/>
                <a:gd name="connsiteX4047" fmla="*/ 374475 w 12117871"/>
                <a:gd name="connsiteY4047" fmla="*/ 2491839 h 6072780"/>
                <a:gd name="connsiteX4048" fmla="*/ 391282 w 12117871"/>
                <a:gd name="connsiteY4048" fmla="*/ 2480736 h 6072780"/>
                <a:gd name="connsiteX4049" fmla="*/ 91336 w 12117871"/>
                <a:gd name="connsiteY4049" fmla="*/ 2480736 h 6072780"/>
                <a:gd name="connsiteX4050" fmla="*/ 106242 w 12117871"/>
                <a:gd name="connsiteY4050" fmla="*/ 2480736 h 6072780"/>
                <a:gd name="connsiteX4051" fmla="*/ 106242 w 12117871"/>
                <a:gd name="connsiteY4051" fmla="*/ 2703716 h 6072780"/>
                <a:gd name="connsiteX4052" fmla="*/ 70954 w 12117871"/>
                <a:gd name="connsiteY4052" fmla="*/ 2703716 h 6072780"/>
                <a:gd name="connsiteX4053" fmla="*/ 70954 w 12117871"/>
                <a:gd name="connsiteY4053" fmla="*/ 2523933 h 6072780"/>
                <a:gd name="connsiteX4054" fmla="*/ 50345 w 12117871"/>
                <a:gd name="connsiteY4054" fmla="*/ 2535568 h 6072780"/>
                <a:gd name="connsiteX4055" fmla="*/ 25172 w 12117871"/>
                <a:gd name="connsiteY4055" fmla="*/ 2544010 h 6072780"/>
                <a:gd name="connsiteX4056" fmla="*/ 25172 w 12117871"/>
                <a:gd name="connsiteY4056" fmla="*/ 2513894 h 6072780"/>
                <a:gd name="connsiteX4057" fmla="*/ 42207 w 12117871"/>
                <a:gd name="connsiteY4057" fmla="*/ 2507810 h 6072780"/>
                <a:gd name="connsiteX4058" fmla="*/ 58406 w 12117871"/>
                <a:gd name="connsiteY4058" fmla="*/ 2500661 h 6072780"/>
                <a:gd name="connsiteX4059" fmla="*/ 74529 w 12117871"/>
                <a:gd name="connsiteY4059" fmla="*/ 2491839 h 6072780"/>
                <a:gd name="connsiteX4060" fmla="*/ 91336 w 12117871"/>
                <a:gd name="connsiteY4060" fmla="*/ 2480736 h 6072780"/>
                <a:gd name="connsiteX4061" fmla="*/ 11987506 w 12117871"/>
                <a:gd name="connsiteY4061" fmla="*/ 2204600 h 6072780"/>
                <a:gd name="connsiteX4062" fmla="*/ 11948236 w 12117871"/>
                <a:gd name="connsiteY4062" fmla="*/ 2291114 h 6072780"/>
                <a:gd name="connsiteX4063" fmla="*/ 11986754 w 12117871"/>
                <a:gd name="connsiteY4063" fmla="*/ 2372061 h 6072780"/>
                <a:gd name="connsiteX4064" fmla="*/ 12024669 w 12117871"/>
                <a:gd name="connsiteY4064" fmla="*/ 2289760 h 6072780"/>
                <a:gd name="connsiteX4065" fmla="*/ 11987506 w 12117871"/>
                <a:gd name="connsiteY4065" fmla="*/ 2204600 h 6072780"/>
                <a:gd name="connsiteX4066" fmla="*/ 11770996 w 12117871"/>
                <a:gd name="connsiteY4066" fmla="*/ 2204600 h 6072780"/>
                <a:gd name="connsiteX4067" fmla="*/ 11731726 w 12117871"/>
                <a:gd name="connsiteY4067" fmla="*/ 2291114 h 6072780"/>
                <a:gd name="connsiteX4068" fmla="*/ 11770244 w 12117871"/>
                <a:gd name="connsiteY4068" fmla="*/ 2372061 h 6072780"/>
                <a:gd name="connsiteX4069" fmla="*/ 11808159 w 12117871"/>
                <a:gd name="connsiteY4069" fmla="*/ 2289760 h 6072780"/>
                <a:gd name="connsiteX4070" fmla="*/ 11770996 w 12117871"/>
                <a:gd name="connsiteY4070" fmla="*/ 2204600 h 6072780"/>
                <a:gd name="connsiteX4071" fmla="*/ 6976208 w 12117871"/>
                <a:gd name="connsiteY4071" fmla="*/ 2204600 h 6072780"/>
                <a:gd name="connsiteX4072" fmla="*/ 6936938 w 12117871"/>
                <a:gd name="connsiteY4072" fmla="*/ 2291114 h 6072780"/>
                <a:gd name="connsiteX4073" fmla="*/ 6975456 w 12117871"/>
                <a:gd name="connsiteY4073" fmla="*/ 2372061 h 6072780"/>
                <a:gd name="connsiteX4074" fmla="*/ 7013371 w 12117871"/>
                <a:gd name="connsiteY4074" fmla="*/ 2289760 h 6072780"/>
                <a:gd name="connsiteX4075" fmla="*/ 6976208 w 12117871"/>
                <a:gd name="connsiteY4075" fmla="*/ 2204600 h 6072780"/>
                <a:gd name="connsiteX4076" fmla="*/ 6759698 w 12117871"/>
                <a:gd name="connsiteY4076" fmla="*/ 2204600 h 6072780"/>
                <a:gd name="connsiteX4077" fmla="*/ 6720428 w 12117871"/>
                <a:gd name="connsiteY4077" fmla="*/ 2291114 h 6072780"/>
                <a:gd name="connsiteX4078" fmla="*/ 6758946 w 12117871"/>
                <a:gd name="connsiteY4078" fmla="*/ 2372061 h 6072780"/>
                <a:gd name="connsiteX4079" fmla="*/ 6796861 w 12117871"/>
                <a:gd name="connsiteY4079" fmla="*/ 2289760 h 6072780"/>
                <a:gd name="connsiteX4080" fmla="*/ 6759698 w 12117871"/>
                <a:gd name="connsiteY4080" fmla="*/ 2204600 h 6072780"/>
                <a:gd name="connsiteX4081" fmla="*/ 6141921 w 12117871"/>
                <a:gd name="connsiteY4081" fmla="*/ 2204600 h 6072780"/>
                <a:gd name="connsiteX4082" fmla="*/ 6102651 w 12117871"/>
                <a:gd name="connsiteY4082" fmla="*/ 2291114 h 6072780"/>
                <a:gd name="connsiteX4083" fmla="*/ 6141169 w 12117871"/>
                <a:gd name="connsiteY4083" fmla="*/ 2372061 h 6072780"/>
                <a:gd name="connsiteX4084" fmla="*/ 6179084 w 12117871"/>
                <a:gd name="connsiteY4084" fmla="*/ 2289760 h 6072780"/>
                <a:gd name="connsiteX4085" fmla="*/ 6141921 w 12117871"/>
                <a:gd name="connsiteY4085" fmla="*/ 2204600 h 6072780"/>
                <a:gd name="connsiteX4086" fmla="*/ 5925411 w 12117871"/>
                <a:gd name="connsiteY4086" fmla="*/ 2204600 h 6072780"/>
                <a:gd name="connsiteX4087" fmla="*/ 5886141 w 12117871"/>
                <a:gd name="connsiteY4087" fmla="*/ 2291114 h 6072780"/>
                <a:gd name="connsiteX4088" fmla="*/ 5924659 w 12117871"/>
                <a:gd name="connsiteY4088" fmla="*/ 2372061 h 6072780"/>
                <a:gd name="connsiteX4089" fmla="*/ 5962574 w 12117871"/>
                <a:gd name="connsiteY4089" fmla="*/ 2289760 h 6072780"/>
                <a:gd name="connsiteX4090" fmla="*/ 5925411 w 12117871"/>
                <a:gd name="connsiteY4090" fmla="*/ 2204600 h 6072780"/>
                <a:gd name="connsiteX4091" fmla="*/ 5701303 w 12117871"/>
                <a:gd name="connsiteY4091" fmla="*/ 2204600 h 6072780"/>
                <a:gd name="connsiteX4092" fmla="*/ 5662035 w 12117871"/>
                <a:gd name="connsiteY4092" fmla="*/ 2291114 h 6072780"/>
                <a:gd name="connsiteX4093" fmla="*/ 5700551 w 12117871"/>
                <a:gd name="connsiteY4093" fmla="*/ 2372061 h 6072780"/>
                <a:gd name="connsiteX4094" fmla="*/ 5738467 w 12117871"/>
                <a:gd name="connsiteY4094" fmla="*/ 2289760 h 6072780"/>
                <a:gd name="connsiteX4095" fmla="*/ 5701303 w 12117871"/>
                <a:gd name="connsiteY4095" fmla="*/ 2204600 h 6072780"/>
                <a:gd name="connsiteX4096" fmla="*/ 923326 w 12117871"/>
                <a:gd name="connsiteY4096" fmla="*/ 2204600 h 6072780"/>
                <a:gd name="connsiteX4097" fmla="*/ 884056 w 12117871"/>
                <a:gd name="connsiteY4097" fmla="*/ 2291114 h 6072780"/>
                <a:gd name="connsiteX4098" fmla="*/ 922574 w 12117871"/>
                <a:gd name="connsiteY4098" fmla="*/ 2372061 h 6072780"/>
                <a:gd name="connsiteX4099" fmla="*/ 960489 w 12117871"/>
                <a:gd name="connsiteY4099" fmla="*/ 2289760 h 6072780"/>
                <a:gd name="connsiteX4100" fmla="*/ 923326 w 12117871"/>
                <a:gd name="connsiteY4100" fmla="*/ 2204600 h 6072780"/>
                <a:gd name="connsiteX4101" fmla="*/ 707049 w 12117871"/>
                <a:gd name="connsiteY4101" fmla="*/ 2204600 h 6072780"/>
                <a:gd name="connsiteX4102" fmla="*/ 667781 w 12117871"/>
                <a:gd name="connsiteY4102" fmla="*/ 2291114 h 6072780"/>
                <a:gd name="connsiteX4103" fmla="*/ 706298 w 12117871"/>
                <a:gd name="connsiteY4103" fmla="*/ 2372061 h 6072780"/>
                <a:gd name="connsiteX4104" fmla="*/ 744214 w 12117871"/>
                <a:gd name="connsiteY4104" fmla="*/ 2289760 h 6072780"/>
                <a:gd name="connsiteX4105" fmla="*/ 707049 w 12117871"/>
                <a:gd name="connsiteY4105" fmla="*/ 2204600 h 6072780"/>
                <a:gd name="connsiteX4106" fmla="*/ 85445 w 12117871"/>
                <a:gd name="connsiteY4106" fmla="*/ 2204600 h 6072780"/>
                <a:gd name="connsiteX4107" fmla="*/ 46174 w 12117871"/>
                <a:gd name="connsiteY4107" fmla="*/ 2291114 h 6072780"/>
                <a:gd name="connsiteX4108" fmla="*/ 84690 w 12117871"/>
                <a:gd name="connsiteY4108" fmla="*/ 2372061 h 6072780"/>
                <a:gd name="connsiteX4109" fmla="*/ 122606 w 12117871"/>
                <a:gd name="connsiteY4109" fmla="*/ 2289760 h 6072780"/>
                <a:gd name="connsiteX4110" fmla="*/ 85445 w 12117871"/>
                <a:gd name="connsiteY4110" fmla="*/ 2204600 h 6072780"/>
                <a:gd name="connsiteX4111" fmla="*/ 11989161 w 12117871"/>
                <a:gd name="connsiteY4111" fmla="*/ 2176765 h 6072780"/>
                <a:gd name="connsiteX4112" fmla="*/ 12060328 w 12117871"/>
                <a:gd name="connsiteY4112" fmla="*/ 2287352 h 6072780"/>
                <a:gd name="connsiteX4113" fmla="*/ 12040242 w 12117871"/>
                <a:gd name="connsiteY4113" fmla="*/ 2370932 h 6072780"/>
                <a:gd name="connsiteX4114" fmla="*/ 11984045 w 12117871"/>
                <a:gd name="connsiteY4114" fmla="*/ 2399745 h 6072780"/>
                <a:gd name="connsiteX4115" fmla="*/ 11931460 w 12117871"/>
                <a:gd name="connsiteY4115" fmla="*/ 2372211 h 6072780"/>
                <a:gd name="connsiteX4116" fmla="*/ 11912577 w 12117871"/>
                <a:gd name="connsiteY4116" fmla="*/ 2292619 h 6072780"/>
                <a:gd name="connsiteX4117" fmla="*/ 11932287 w 12117871"/>
                <a:gd name="connsiteY4117" fmla="*/ 2206104 h 6072780"/>
                <a:gd name="connsiteX4118" fmla="*/ 11989161 w 12117871"/>
                <a:gd name="connsiteY4118" fmla="*/ 2176765 h 6072780"/>
                <a:gd name="connsiteX4119" fmla="*/ 11772651 w 12117871"/>
                <a:gd name="connsiteY4119" fmla="*/ 2176765 h 6072780"/>
                <a:gd name="connsiteX4120" fmla="*/ 11843818 w 12117871"/>
                <a:gd name="connsiteY4120" fmla="*/ 2287352 h 6072780"/>
                <a:gd name="connsiteX4121" fmla="*/ 11823732 w 12117871"/>
                <a:gd name="connsiteY4121" fmla="*/ 2370932 h 6072780"/>
                <a:gd name="connsiteX4122" fmla="*/ 11767535 w 12117871"/>
                <a:gd name="connsiteY4122" fmla="*/ 2399745 h 6072780"/>
                <a:gd name="connsiteX4123" fmla="*/ 11714950 w 12117871"/>
                <a:gd name="connsiteY4123" fmla="*/ 2372211 h 6072780"/>
                <a:gd name="connsiteX4124" fmla="*/ 11696067 w 12117871"/>
                <a:gd name="connsiteY4124" fmla="*/ 2292619 h 6072780"/>
                <a:gd name="connsiteX4125" fmla="*/ 11715777 w 12117871"/>
                <a:gd name="connsiteY4125" fmla="*/ 2206104 h 6072780"/>
                <a:gd name="connsiteX4126" fmla="*/ 11772651 w 12117871"/>
                <a:gd name="connsiteY4126" fmla="*/ 2176765 h 6072780"/>
                <a:gd name="connsiteX4127" fmla="*/ 11621096 w 12117871"/>
                <a:gd name="connsiteY4127" fmla="*/ 2176765 h 6072780"/>
                <a:gd name="connsiteX4128" fmla="*/ 11636002 w 12117871"/>
                <a:gd name="connsiteY4128" fmla="*/ 2176765 h 6072780"/>
                <a:gd name="connsiteX4129" fmla="*/ 11636002 w 12117871"/>
                <a:gd name="connsiteY4129" fmla="*/ 2399745 h 6072780"/>
                <a:gd name="connsiteX4130" fmla="*/ 11600714 w 12117871"/>
                <a:gd name="connsiteY4130" fmla="*/ 2399745 h 6072780"/>
                <a:gd name="connsiteX4131" fmla="*/ 11600714 w 12117871"/>
                <a:gd name="connsiteY4131" fmla="*/ 2219962 h 6072780"/>
                <a:gd name="connsiteX4132" fmla="*/ 11580105 w 12117871"/>
                <a:gd name="connsiteY4132" fmla="*/ 2231597 h 6072780"/>
                <a:gd name="connsiteX4133" fmla="*/ 11554932 w 12117871"/>
                <a:gd name="connsiteY4133" fmla="*/ 2240039 h 6072780"/>
                <a:gd name="connsiteX4134" fmla="*/ 11554932 w 12117871"/>
                <a:gd name="connsiteY4134" fmla="*/ 2209923 h 6072780"/>
                <a:gd name="connsiteX4135" fmla="*/ 11571967 w 12117871"/>
                <a:gd name="connsiteY4135" fmla="*/ 2203839 h 6072780"/>
                <a:gd name="connsiteX4136" fmla="*/ 11588166 w 12117871"/>
                <a:gd name="connsiteY4136" fmla="*/ 2196690 h 6072780"/>
                <a:gd name="connsiteX4137" fmla="*/ 11604289 w 12117871"/>
                <a:gd name="connsiteY4137" fmla="*/ 2187868 h 6072780"/>
                <a:gd name="connsiteX4138" fmla="*/ 11621096 w 12117871"/>
                <a:gd name="connsiteY4138" fmla="*/ 2176765 h 6072780"/>
                <a:gd name="connsiteX4139" fmla="*/ 11318321 w 12117871"/>
                <a:gd name="connsiteY4139" fmla="*/ 2176765 h 6072780"/>
                <a:gd name="connsiteX4140" fmla="*/ 11333227 w 12117871"/>
                <a:gd name="connsiteY4140" fmla="*/ 2176765 h 6072780"/>
                <a:gd name="connsiteX4141" fmla="*/ 11333227 w 12117871"/>
                <a:gd name="connsiteY4141" fmla="*/ 2399745 h 6072780"/>
                <a:gd name="connsiteX4142" fmla="*/ 11297939 w 12117871"/>
                <a:gd name="connsiteY4142" fmla="*/ 2399745 h 6072780"/>
                <a:gd name="connsiteX4143" fmla="*/ 11297939 w 12117871"/>
                <a:gd name="connsiteY4143" fmla="*/ 2219962 h 6072780"/>
                <a:gd name="connsiteX4144" fmla="*/ 11277330 w 12117871"/>
                <a:gd name="connsiteY4144" fmla="*/ 2231597 h 6072780"/>
                <a:gd name="connsiteX4145" fmla="*/ 11252157 w 12117871"/>
                <a:gd name="connsiteY4145" fmla="*/ 2240039 h 6072780"/>
                <a:gd name="connsiteX4146" fmla="*/ 11252157 w 12117871"/>
                <a:gd name="connsiteY4146" fmla="*/ 2209923 h 6072780"/>
                <a:gd name="connsiteX4147" fmla="*/ 11269192 w 12117871"/>
                <a:gd name="connsiteY4147" fmla="*/ 2203839 h 6072780"/>
                <a:gd name="connsiteX4148" fmla="*/ 11285391 w 12117871"/>
                <a:gd name="connsiteY4148" fmla="*/ 2196690 h 6072780"/>
                <a:gd name="connsiteX4149" fmla="*/ 11301514 w 12117871"/>
                <a:gd name="connsiteY4149" fmla="*/ 2187868 h 6072780"/>
                <a:gd name="connsiteX4150" fmla="*/ 11318321 w 12117871"/>
                <a:gd name="connsiteY4150" fmla="*/ 2176765 h 6072780"/>
                <a:gd name="connsiteX4151" fmla="*/ 10941157 w 12117871"/>
                <a:gd name="connsiteY4151" fmla="*/ 2176765 h 6072780"/>
                <a:gd name="connsiteX4152" fmla="*/ 10956063 w 12117871"/>
                <a:gd name="connsiteY4152" fmla="*/ 2176765 h 6072780"/>
                <a:gd name="connsiteX4153" fmla="*/ 10956063 w 12117871"/>
                <a:gd name="connsiteY4153" fmla="*/ 2399745 h 6072780"/>
                <a:gd name="connsiteX4154" fmla="*/ 10920775 w 12117871"/>
                <a:gd name="connsiteY4154" fmla="*/ 2399745 h 6072780"/>
                <a:gd name="connsiteX4155" fmla="*/ 10920775 w 12117871"/>
                <a:gd name="connsiteY4155" fmla="*/ 2219962 h 6072780"/>
                <a:gd name="connsiteX4156" fmla="*/ 10900166 w 12117871"/>
                <a:gd name="connsiteY4156" fmla="*/ 2231597 h 6072780"/>
                <a:gd name="connsiteX4157" fmla="*/ 10874993 w 12117871"/>
                <a:gd name="connsiteY4157" fmla="*/ 2240039 h 6072780"/>
                <a:gd name="connsiteX4158" fmla="*/ 10874993 w 12117871"/>
                <a:gd name="connsiteY4158" fmla="*/ 2209923 h 6072780"/>
                <a:gd name="connsiteX4159" fmla="*/ 10892028 w 12117871"/>
                <a:gd name="connsiteY4159" fmla="*/ 2203839 h 6072780"/>
                <a:gd name="connsiteX4160" fmla="*/ 10908227 w 12117871"/>
                <a:gd name="connsiteY4160" fmla="*/ 2196690 h 6072780"/>
                <a:gd name="connsiteX4161" fmla="*/ 10924350 w 12117871"/>
                <a:gd name="connsiteY4161" fmla="*/ 2187868 h 6072780"/>
                <a:gd name="connsiteX4162" fmla="*/ 10941157 w 12117871"/>
                <a:gd name="connsiteY4162" fmla="*/ 2176765 h 6072780"/>
                <a:gd name="connsiteX4163" fmla="*/ 10792300 w 12117871"/>
                <a:gd name="connsiteY4163" fmla="*/ 2176765 h 6072780"/>
                <a:gd name="connsiteX4164" fmla="*/ 10807206 w 12117871"/>
                <a:gd name="connsiteY4164" fmla="*/ 2176765 h 6072780"/>
                <a:gd name="connsiteX4165" fmla="*/ 10807206 w 12117871"/>
                <a:gd name="connsiteY4165" fmla="*/ 2399745 h 6072780"/>
                <a:gd name="connsiteX4166" fmla="*/ 10771918 w 12117871"/>
                <a:gd name="connsiteY4166" fmla="*/ 2399745 h 6072780"/>
                <a:gd name="connsiteX4167" fmla="*/ 10771918 w 12117871"/>
                <a:gd name="connsiteY4167" fmla="*/ 2219962 h 6072780"/>
                <a:gd name="connsiteX4168" fmla="*/ 10751309 w 12117871"/>
                <a:gd name="connsiteY4168" fmla="*/ 2231597 h 6072780"/>
                <a:gd name="connsiteX4169" fmla="*/ 10726136 w 12117871"/>
                <a:gd name="connsiteY4169" fmla="*/ 2240039 h 6072780"/>
                <a:gd name="connsiteX4170" fmla="*/ 10726136 w 12117871"/>
                <a:gd name="connsiteY4170" fmla="*/ 2209923 h 6072780"/>
                <a:gd name="connsiteX4171" fmla="*/ 10743171 w 12117871"/>
                <a:gd name="connsiteY4171" fmla="*/ 2203839 h 6072780"/>
                <a:gd name="connsiteX4172" fmla="*/ 10759370 w 12117871"/>
                <a:gd name="connsiteY4172" fmla="*/ 2196690 h 6072780"/>
                <a:gd name="connsiteX4173" fmla="*/ 10775493 w 12117871"/>
                <a:gd name="connsiteY4173" fmla="*/ 2187868 h 6072780"/>
                <a:gd name="connsiteX4174" fmla="*/ 10792300 w 12117871"/>
                <a:gd name="connsiteY4174" fmla="*/ 2176765 h 6072780"/>
                <a:gd name="connsiteX4175" fmla="*/ 10638382 w 12117871"/>
                <a:gd name="connsiteY4175" fmla="*/ 2176765 h 6072780"/>
                <a:gd name="connsiteX4176" fmla="*/ 10653288 w 12117871"/>
                <a:gd name="connsiteY4176" fmla="*/ 2176765 h 6072780"/>
                <a:gd name="connsiteX4177" fmla="*/ 10653288 w 12117871"/>
                <a:gd name="connsiteY4177" fmla="*/ 2399745 h 6072780"/>
                <a:gd name="connsiteX4178" fmla="*/ 10618000 w 12117871"/>
                <a:gd name="connsiteY4178" fmla="*/ 2399745 h 6072780"/>
                <a:gd name="connsiteX4179" fmla="*/ 10618000 w 12117871"/>
                <a:gd name="connsiteY4179" fmla="*/ 2219962 h 6072780"/>
                <a:gd name="connsiteX4180" fmla="*/ 10597391 w 12117871"/>
                <a:gd name="connsiteY4180" fmla="*/ 2231597 h 6072780"/>
                <a:gd name="connsiteX4181" fmla="*/ 10572218 w 12117871"/>
                <a:gd name="connsiteY4181" fmla="*/ 2240039 h 6072780"/>
                <a:gd name="connsiteX4182" fmla="*/ 10572218 w 12117871"/>
                <a:gd name="connsiteY4182" fmla="*/ 2209923 h 6072780"/>
                <a:gd name="connsiteX4183" fmla="*/ 10589253 w 12117871"/>
                <a:gd name="connsiteY4183" fmla="*/ 2203839 h 6072780"/>
                <a:gd name="connsiteX4184" fmla="*/ 10605452 w 12117871"/>
                <a:gd name="connsiteY4184" fmla="*/ 2196690 h 6072780"/>
                <a:gd name="connsiteX4185" fmla="*/ 10621575 w 12117871"/>
                <a:gd name="connsiteY4185" fmla="*/ 2187868 h 6072780"/>
                <a:gd name="connsiteX4186" fmla="*/ 10638382 w 12117871"/>
                <a:gd name="connsiteY4186" fmla="*/ 2176765 h 6072780"/>
                <a:gd name="connsiteX4187" fmla="*/ 10489525 w 12117871"/>
                <a:gd name="connsiteY4187" fmla="*/ 2176765 h 6072780"/>
                <a:gd name="connsiteX4188" fmla="*/ 10504431 w 12117871"/>
                <a:gd name="connsiteY4188" fmla="*/ 2176765 h 6072780"/>
                <a:gd name="connsiteX4189" fmla="*/ 10504431 w 12117871"/>
                <a:gd name="connsiteY4189" fmla="*/ 2399745 h 6072780"/>
                <a:gd name="connsiteX4190" fmla="*/ 10469143 w 12117871"/>
                <a:gd name="connsiteY4190" fmla="*/ 2399745 h 6072780"/>
                <a:gd name="connsiteX4191" fmla="*/ 10469143 w 12117871"/>
                <a:gd name="connsiteY4191" fmla="*/ 2219962 h 6072780"/>
                <a:gd name="connsiteX4192" fmla="*/ 10448534 w 12117871"/>
                <a:gd name="connsiteY4192" fmla="*/ 2231597 h 6072780"/>
                <a:gd name="connsiteX4193" fmla="*/ 10423361 w 12117871"/>
                <a:gd name="connsiteY4193" fmla="*/ 2240039 h 6072780"/>
                <a:gd name="connsiteX4194" fmla="*/ 10423361 w 12117871"/>
                <a:gd name="connsiteY4194" fmla="*/ 2209923 h 6072780"/>
                <a:gd name="connsiteX4195" fmla="*/ 10440396 w 12117871"/>
                <a:gd name="connsiteY4195" fmla="*/ 2203839 h 6072780"/>
                <a:gd name="connsiteX4196" fmla="*/ 10456595 w 12117871"/>
                <a:gd name="connsiteY4196" fmla="*/ 2196690 h 6072780"/>
                <a:gd name="connsiteX4197" fmla="*/ 10472718 w 12117871"/>
                <a:gd name="connsiteY4197" fmla="*/ 2187868 h 6072780"/>
                <a:gd name="connsiteX4198" fmla="*/ 10489525 w 12117871"/>
                <a:gd name="connsiteY4198" fmla="*/ 2176765 h 6072780"/>
                <a:gd name="connsiteX4199" fmla="*/ 9768134 w 12117871"/>
                <a:gd name="connsiteY4199" fmla="*/ 2176765 h 6072780"/>
                <a:gd name="connsiteX4200" fmla="*/ 9783040 w 12117871"/>
                <a:gd name="connsiteY4200" fmla="*/ 2176765 h 6072780"/>
                <a:gd name="connsiteX4201" fmla="*/ 9783040 w 12117871"/>
                <a:gd name="connsiteY4201" fmla="*/ 2399745 h 6072780"/>
                <a:gd name="connsiteX4202" fmla="*/ 9747752 w 12117871"/>
                <a:gd name="connsiteY4202" fmla="*/ 2399745 h 6072780"/>
                <a:gd name="connsiteX4203" fmla="*/ 9747752 w 12117871"/>
                <a:gd name="connsiteY4203" fmla="*/ 2219962 h 6072780"/>
                <a:gd name="connsiteX4204" fmla="*/ 9727143 w 12117871"/>
                <a:gd name="connsiteY4204" fmla="*/ 2231597 h 6072780"/>
                <a:gd name="connsiteX4205" fmla="*/ 9701970 w 12117871"/>
                <a:gd name="connsiteY4205" fmla="*/ 2240039 h 6072780"/>
                <a:gd name="connsiteX4206" fmla="*/ 9701970 w 12117871"/>
                <a:gd name="connsiteY4206" fmla="*/ 2209923 h 6072780"/>
                <a:gd name="connsiteX4207" fmla="*/ 9719005 w 12117871"/>
                <a:gd name="connsiteY4207" fmla="*/ 2203839 h 6072780"/>
                <a:gd name="connsiteX4208" fmla="*/ 9735204 w 12117871"/>
                <a:gd name="connsiteY4208" fmla="*/ 2196690 h 6072780"/>
                <a:gd name="connsiteX4209" fmla="*/ 9751327 w 12117871"/>
                <a:gd name="connsiteY4209" fmla="*/ 2187868 h 6072780"/>
                <a:gd name="connsiteX4210" fmla="*/ 9768134 w 12117871"/>
                <a:gd name="connsiteY4210" fmla="*/ 2176765 h 6072780"/>
                <a:gd name="connsiteX4211" fmla="*/ 9619277 w 12117871"/>
                <a:gd name="connsiteY4211" fmla="*/ 2176765 h 6072780"/>
                <a:gd name="connsiteX4212" fmla="*/ 9634183 w 12117871"/>
                <a:gd name="connsiteY4212" fmla="*/ 2176765 h 6072780"/>
                <a:gd name="connsiteX4213" fmla="*/ 9634183 w 12117871"/>
                <a:gd name="connsiteY4213" fmla="*/ 2399745 h 6072780"/>
                <a:gd name="connsiteX4214" fmla="*/ 9598895 w 12117871"/>
                <a:gd name="connsiteY4214" fmla="*/ 2399745 h 6072780"/>
                <a:gd name="connsiteX4215" fmla="*/ 9598895 w 12117871"/>
                <a:gd name="connsiteY4215" fmla="*/ 2219962 h 6072780"/>
                <a:gd name="connsiteX4216" fmla="*/ 9578286 w 12117871"/>
                <a:gd name="connsiteY4216" fmla="*/ 2231597 h 6072780"/>
                <a:gd name="connsiteX4217" fmla="*/ 9553113 w 12117871"/>
                <a:gd name="connsiteY4217" fmla="*/ 2240039 h 6072780"/>
                <a:gd name="connsiteX4218" fmla="*/ 9553113 w 12117871"/>
                <a:gd name="connsiteY4218" fmla="*/ 2209923 h 6072780"/>
                <a:gd name="connsiteX4219" fmla="*/ 9570148 w 12117871"/>
                <a:gd name="connsiteY4219" fmla="*/ 2203839 h 6072780"/>
                <a:gd name="connsiteX4220" fmla="*/ 9586347 w 12117871"/>
                <a:gd name="connsiteY4220" fmla="*/ 2196690 h 6072780"/>
                <a:gd name="connsiteX4221" fmla="*/ 9602470 w 12117871"/>
                <a:gd name="connsiteY4221" fmla="*/ 2187868 h 6072780"/>
                <a:gd name="connsiteX4222" fmla="*/ 9619277 w 12117871"/>
                <a:gd name="connsiteY4222" fmla="*/ 2176765 h 6072780"/>
                <a:gd name="connsiteX4223" fmla="*/ 8816172 w 12117871"/>
                <a:gd name="connsiteY4223" fmla="*/ 2176765 h 6072780"/>
                <a:gd name="connsiteX4224" fmla="*/ 8831078 w 12117871"/>
                <a:gd name="connsiteY4224" fmla="*/ 2176765 h 6072780"/>
                <a:gd name="connsiteX4225" fmla="*/ 8831078 w 12117871"/>
                <a:gd name="connsiteY4225" fmla="*/ 2399745 h 6072780"/>
                <a:gd name="connsiteX4226" fmla="*/ 8795790 w 12117871"/>
                <a:gd name="connsiteY4226" fmla="*/ 2399745 h 6072780"/>
                <a:gd name="connsiteX4227" fmla="*/ 8795790 w 12117871"/>
                <a:gd name="connsiteY4227" fmla="*/ 2219962 h 6072780"/>
                <a:gd name="connsiteX4228" fmla="*/ 8775181 w 12117871"/>
                <a:gd name="connsiteY4228" fmla="*/ 2231597 h 6072780"/>
                <a:gd name="connsiteX4229" fmla="*/ 8750008 w 12117871"/>
                <a:gd name="connsiteY4229" fmla="*/ 2240039 h 6072780"/>
                <a:gd name="connsiteX4230" fmla="*/ 8750008 w 12117871"/>
                <a:gd name="connsiteY4230" fmla="*/ 2209923 h 6072780"/>
                <a:gd name="connsiteX4231" fmla="*/ 8767043 w 12117871"/>
                <a:gd name="connsiteY4231" fmla="*/ 2203839 h 6072780"/>
                <a:gd name="connsiteX4232" fmla="*/ 8783242 w 12117871"/>
                <a:gd name="connsiteY4232" fmla="*/ 2196690 h 6072780"/>
                <a:gd name="connsiteX4233" fmla="*/ 8799365 w 12117871"/>
                <a:gd name="connsiteY4233" fmla="*/ 2187868 h 6072780"/>
                <a:gd name="connsiteX4234" fmla="*/ 8816172 w 12117871"/>
                <a:gd name="connsiteY4234" fmla="*/ 2176765 h 6072780"/>
                <a:gd name="connsiteX4235" fmla="*/ 8437565 w 12117871"/>
                <a:gd name="connsiteY4235" fmla="*/ 2176765 h 6072780"/>
                <a:gd name="connsiteX4236" fmla="*/ 8452471 w 12117871"/>
                <a:gd name="connsiteY4236" fmla="*/ 2176765 h 6072780"/>
                <a:gd name="connsiteX4237" fmla="*/ 8452471 w 12117871"/>
                <a:gd name="connsiteY4237" fmla="*/ 2399745 h 6072780"/>
                <a:gd name="connsiteX4238" fmla="*/ 8417183 w 12117871"/>
                <a:gd name="connsiteY4238" fmla="*/ 2399745 h 6072780"/>
                <a:gd name="connsiteX4239" fmla="*/ 8417183 w 12117871"/>
                <a:gd name="connsiteY4239" fmla="*/ 2219962 h 6072780"/>
                <a:gd name="connsiteX4240" fmla="*/ 8396574 w 12117871"/>
                <a:gd name="connsiteY4240" fmla="*/ 2231597 h 6072780"/>
                <a:gd name="connsiteX4241" fmla="*/ 8371401 w 12117871"/>
                <a:gd name="connsiteY4241" fmla="*/ 2240039 h 6072780"/>
                <a:gd name="connsiteX4242" fmla="*/ 8371401 w 12117871"/>
                <a:gd name="connsiteY4242" fmla="*/ 2209923 h 6072780"/>
                <a:gd name="connsiteX4243" fmla="*/ 8388436 w 12117871"/>
                <a:gd name="connsiteY4243" fmla="*/ 2203839 h 6072780"/>
                <a:gd name="connsiteX4244" fmla="*/ 8404635 w 12117871"/>
                <a:gd name="connsiteY4244" fmla="*/ 2196690 h 6072780"/>
                <a:gd name="connsiteX4245" fmla="*/ 8420758 w 12117871"/>
                <a:gd name="connsiteY4245" fmla="*/ 2187868 h 6072780"/>
                <a:gd name="connsiteX4246" fmla="*/ 8437565 w 12117871"/>
                <a:gd name="connsiteY4246" fmla="*/ 2176765 h 6072780"/>
                <a:gd name="connsiteX4247" fmla="*/ 8288708 w 12117871"/>
                <a:gd name="connsiteY4247" fmla="*/ 2176765 h 6072780"/>
                <a:gd name="connsiteX4248" fmla="*/ 8303614 w 12117871"/>
                <a:gd name="connsiteY4248" fmla="*/ 2176765 h 6072780"/>
                <a:gd name="connsiteX4249" fmla="*/ 8303614 w 12117871"/>
                <a:gd name="connsiteY4249" fmla="*/ 2399745 h 6072780"/>
                <a:gd name="connsiteX4250" fmla="*/ 8268326 w 12117871"/>
                <a:gd name="connsiteY4250" fmla="*/ 2399745 h 6072780"/>
                <a:gd name="connsiteX4251" fmla="*/ 8268326 w 12117871"/>
                <a:gd name="connsiteY4251" fmla="*/ 2219962 h 6072780"/>
                <a:gd name="connsiteX4252" fmla="*/ 8247717 w 12117871"/>
                <a:gd name="connsiteY4252" fmla="*/ 2231597 h 6072780"/>
                <a:gd name="connsiteX4253" fmla="*/ 8222544 w 12117871"/>
                <a:gd name="connsiteY4253" fmla="*/ 2240039 h 6072780"/>
                <a:gd name="connsiteX4254" fmla="*/ 8222544 w 12117871"/>
                <a:gd name="connsiteY4254" fmla="*/ 2209923 h 6072780"/>
                <a:gd name="connsiteX4255" fmla="*/ 8239579 w 12117871"/>
                <a:gd name="connsiteY4255" fmla="*/ 2203839 h 6072780"/>
                <a:gd name="connsiteX4256" fmla="*/ 8255778 w 12117871"/>
                <a:gd name="connsiteY4256" fmla="*/ 2196690 h 6072780"/>
                <a:gd name="connsiteX4257" fmla="*/ 8271901 w 12117871"/>
                <a:gd name="connsiteY4257" fmla="*/ 2187868 h 6072780"/>
                <a:gd name="connsiteX4258" fmla="*/ 8288708 w 12117871"/>
                <a:gd name="connsiteY4258" fmla="*/ 2176765 h 6072780"/>
                <a:gd name="connsiteX4259" fmla="*/ 8134790 w 12117871"/>
                <a:gd name="connsiteY4259" fmla="*/ 2176765 h 6072780"/>
                <a:gd name="connsiteX4260" fmla="*/ 8149696 w 12117871"/>
                <a:gd name="connsiteY4260" fmla="*/ 2176765 h 6072780"/>
                <a:gd name="connsiteX4261" fmla="*/ 8149696 w 12117871"/>
                <a:gd name="connsiteY4261" fmla="*/ 2399745 h 6072780"/>
                <a:gd name="connsiteX4262" fmla="*/ 8114408 w 12117871"/>
                <a:gd name="connsiteY4262" fmla="*/ 2399745 h 6072780"/>
                <a:gd name="connsiteX4263" fmla="*/ 8114408 w 12117871"/>
                <a:gd name="connsiteY4263" fmla="*/ 2219962 h 6072780"/>
                <a:gd name="connsiteX4264" fmla="*/ 8093799 w 12117871"/>
                <a:gd name="connsiteY4264" fmla="*/ 2231597 h 6072780"/>
                <a:gd name="connsiteX4265" fmla="*/ 8068626 w 12117871"/>
                <a:gd name="connsiteY4265" fmla="*/ 2240039 h 6072780"/>
                <a:gd name="connsiteX4266" fmla="*/ 8068626 w 12117871"/>
                <a:gd name="connsiteY4266" fmla="*/ 2209923 h 6072780"/>
                <a:gd name="connsiteX4267" fmla="*/ 8085661 w 12117871"/>
                <a:gd name="connsiteY4267" fmla="*/ 2203839 h 6072780"/>
                <a:gd name="connsiteX4268" fmla="*/ 8101860 w 12117871"/>
                <a:gd name="connsiteY4268" fmla="*/ 2196690 h 6072780"/>
                <a:gd name="connsiteX4269" fmla="*/ 8117983 w 12117871"/>
                <a:gd name="connsiteY4269" fmla="*/ 2187868 h 6072780"/>
                <a:gd name="connsiteX4270" fmla="*/ 8134790 w 12117871"/>
                <a:gd name="connsiteY4270" fmla="*/ 2176765 h 6072780"/>
                <a:gd name="connsiteX4271" fmla="*/ 7985933 w 12117871"/>
                <a:gd name="connsiteY4271" fmla="*/ 2176765 h 6072780"/>
                <a:gd name="connsiteX4272" fmla="*/ 8000839 w 12117871"/>
                <a:gd name="connsiteY4272" fmla="*/ 2176765 h 6072780"/>
                <a:gd name="connsiteX4273" fmla="*/ 8000839 w 12117871"/>
                <a:gd name="connsiteY4273" fmla="*/ 2399745 h 6072780"/>
                <a:gd name="connsiteX4274" fmla="*/ 7965551 w 12117871"/>
                <a:gd name="connsiteY4274" fmla="*/ 2399745 h 6072780"/>
                <a:gd name="connsiteX4275" fmla="*/ 7965551 w 12117871"/>
                <a:gd name="connsiteY4275" fmla="*/ 2219962 h 6072780"/>
                <a:gd name="connsiteX4276" fmla="*/ 7944942 w 12117871"/>
                <a:gd name="connsiteY4276" fmla="*/ 2231597 h 6072780"/>
                <a:gd name="connsiteX4277" fmla="*/ 7919769 w 12117871"/>
                <a:gd name="connsiteY4277" fmla="*/ 2240039 h 6072780"/>
                <a:gd name="connsiteX4278" fmla="*/ 7919769 w 12117871"/>
                <a:gd name="connsiteY4278" fmla="*/ 2209923 h 6072780"/>
                <a:gd name="connsiteX4279" fmla="*/ 7936804 w 12117871"/>
                <a:gd name="connsiteY4279" fmla="*/ 2203839 h 6072780"/>
                <a:gd name="connsiteX4280" fmla="*/ 7953003 w 12117871"/>
                <a:gd name="connsiteY4280" fmla="*/ 2196690 h 6072780"/>
                <a:gd name="connsiteX4281" fmla="*/ 7969126 w 12117871"/>
                <a:gd name="connsiteY4281" fmla="*/ 2187868 h 6072780"/>
                <a:gd name="connsiteX4282" fmla="*/ 7985933 w 12117871"/>
                <a:gd name="connsiteY4282" fmla="*/ 2176765 h 6072780"/>
                <a:gd name="connsiteX4283" fmla="*/ 7837076 w 12117871"/>
                <a:gd name="connsiteY4283" fmla="*/ 2176765 h 6072780"/>
                <a:gd name="connsiteX4284" fmla="*/ 7851982 w 12117871"/>
                <a:gd name="connsiteY4284" fmla="*/ 2176765 h 6072780"/>
                <a:gd name="connsiteX4285" fmla="*/ 7851982 w 12117871"/>
                <a:gd name="connsiteY4285" fmla="*/ 2399745 h 6072780"/>
                <a:gd name="connsiteX4286" fmla="*/ 7816694 w 12117871"/>
                <a:gd name="connsiteY4286" fmla="*/ 2399745 h 6072780"/>
                <a:gd name="connsiteX4287" fmla="*/ 7816694 w 12117871"/>
                <a:gd name="connsiteY4287" fmla="*/ 2219962 h 6072780"/>
                <a:gd name="connsiteX4288" fmla="*/ 7796085 w 12117871"/>
                <a:gd name="connsiteY4288" fmla="*/ 2231597 h 6072780"/>
                <a:gd name="connsiteX4289" fmla="*/ 7770912 w 12117871"/>
                <a:gd name="connsiteY4289" fmla="*/ 2240039 h 6072780"/>
                <a:gd name="connsiteX4290" fmla="*/ 7770912 w 12117871"/>
                <a:gd name="connsiteY4290" fmla="*/ 2209923 h 6072780"/>
                <a:gd name="connsiteX4291" fmla="*/ 7787947 w 12117871"/>
                <a:gd name="connsiteY4291" fmla="*/ 2203839 h 6072780"/>
                <a:gd name="connsiteX4292" fmla="*/ 7804146 w 12117871"/>
                <a:gd name="connsiteY4292" fmla="*/ 2196690 h 6072780"/>
                <a:gd name="connsiteX4293" fmla="*/ 7820269 w 12117871"/>
                <a:gd name="connsiteY4293" fmla="*/ 2187868 h 6072780"/>
                <a:gd name="connsiteX4294" fmla="*/ 7837076 w 12117871"/>
                <a:gd name="connsiteY4294" fmla="*/ 2176765 h 6072780"/>
                <a:gd name="connsiteX4295" fmla="*/ 7484989 w 12117871"/>
                <a:gd name="connsiteY4295" fmla="*/ 2176765 h 6072780"/>
                <a:gd name="connsiteX4296" fmla="*/ 7499895 w 12117871"/>
                <a:gd name="connsiteY4296" fmla="*/ 2176765 h 6072780"/>
                <a:gd name="connsiteX4297" fmla="*/ 7499895 w 12117871"/>
                <a:gd name="connsiteY4297" fmla="*/ 2399745 h 6072780"/>
                <a:gd name="connsiteX4298" fmla="*/ 7464607 w 12117871"/>
                <a:gd name="connsiteY4298" fmla="*/ 2399745 h 6072780"/>
                <a:gd name="connsiteX4299" fmla="*/ 7464607 w 12117871"/>
                <a:gd name="connsiteY4299" fmla="*/ 2219962 h 6072780"/>
                <a:gd name="connsiteX4300" fmla="*/ 7443998 w 12117871"/>
                <a:gd name="connsiteY4300" fmla="*/ 2231597 h 6072780"/>
                <a:gd name="connsiteX4301" fmla="*/ 7418825 w 12117871"/>
                <a:gd name="connsiteY4301" fmla="*/ 2240039 h 6072780"/>
                <a:gd name="connsiteX4302" fmla="*/ 7418825 w 12117871"/>
                <a:gd name="connsiteY4302" fmla="*/ 2209923 h 6072780"/>
                <a:gd name="connsiteX4303" fmla="*/ 7435860 w 12117871"/>
                <a:gd name="connsiteY4303" fmla="*/ 2203839 h 6072780"/>
                <a:gd name="connsiteX4304" fmla="*/ 7452059 w 12117871"/>
                <a:gd name="connsiteY4304" fmla="*/ 2196690 h 6072780"/>
                <a:gd name="connsiteX4305" fmla="*/ 7468182 w 12117871"/>
                <a:gd name="connsiteY4305" fmla="*/ 2187868 h 6072780"/>
                <a:gd name="connsiteX4306" fmla="*/ 7484989 w 12117871"/>
                <a:gd name="connsiteY4306" fmla="*/ 2176765 h 6072780"/>
                <a:gd name="connsiteX4307" fmla="*/ 7187275 w 12117871"/>
                <a:gd name="connsiteY4307" fmla="*/ 2176765 h 6072780"/>
                <a:gd name="connsiteX4308" fmla="*/ 7202181 w 12117871"/>
                <a:gd name="connsiteY4308" fmla="*/ 2176765 h 6072780"/>
                <a:gd name="connsiteX4309" fmla="*/ 7202181 w 12117871"/>
                <a:gd name="connsiteY4309" fmla="*/ 2399745 h 6072780"/>
                <a:gd name="connsiteX4310" fmla="*/ 7166893 w 12117871"/>
                <a:gd name="connsiteY4310" fmla="*/ 2399745 h 6072780"/>
                <a:gd name="connsiteX4311" fmla="*/ 7166893 w 12117871"/>
                <a:gd name="connsiteY4311" fmla="*/ 2219962 h 6072780"/>
                <a:gd name="connsiteX4312" fmla="*/ 7146284 w 12117871"/>
                <a:gd name="connsiteY4312" fmla="*/ 2231597 h 6072780"/>
                <a:gd name="connsiteX4313" fmla="*/ 7121111 w 12117871"/>
                <a:gd name="connsiteY4313" fmla="*/ 2240039 h 6072780"/>
                <a:gd name="connsiteX4314" fmla="*/ 7121111 w 12117871"/>
                <a:gd name="connsiteY4314" fmla="*/ 2209923 h 6072780"/>
                <a:gd name="connsiteX4315" fmla="*/ 7138146 w 12117871"/>
                <a:gd name="connsiteY4315" fmla="*/ 2203839 h 6072780"/>
                <a:gd name="connsiteX4316" fmla="*/ 7154345 w 12117871"/>
                <a:gd name="connsiteY4316" fmla="*/ 2196690 h 6072780"/>
                <a:gd name="connsiteX4317" fmla="*/ 7170468 w 12117871"/>
                <a:gd name="connsiteY4317" fmla="*/ 2187868 h 6072780"/>
                <a:gd name="connsiteX4318" fmla="*/ 7187275 w 12117871"/>
                <a:gd name="connsiteY4318" fmla="*/ 2176765 h 6072780"/>
                <a:gd name="connsiteX4319" fmla="*/ 6977863 w 12117871"/>
                <a:gd name="connsiteY4319" fmla="*/ 2176765 h 6072780"/>
                <a:gd name="connsiteX4320" fmla="*/ 7049030 w 12117871"/>
                <a:gd name="connsiteY4320" fmla="*/ 2287352 h 6072780"/>
                <a:gd name="connsiteX4321" fmla="*/ 7028944 w 12117871"/>
                <a:gd name="connsiteY4321" fmla="*/ 2370932 h 6072780"/>
                <a:gd name="connsiteX4322" fmla="*/ 6972747 w 12117871"/>
                <a:gd name="connsiteY4322" fmla="*/ 2399745 h 6072780"/>
                <a:gd name="connsiteX4323" fmla="*/ 6920162 w 12117871"/>
                <a:gd name="connsiteY4323" fmla="*/ 2372211 h 6072780"/>
                <a:gd name="connsiteX4324" fmla="*/ 6901279 w 12117871"/>
                <a:gd name="connsiteY4324" fmla="*/ 2292619 h 6072780"/>
                <a:gd name="connsiteX4325" fmla="*/ 6920989 w 12117871"/>
                <a:gd name="connsiteY4325" fmla="*/ 2206104 h 6072780"/>
                <a:gd name="connsiteX4326" fmla="*/ 6977863 w 12117871"/>
                <a:gd name="connsiteY4326" fmla="*/ 2176765 h 6072780"/>
                <a:gd name="connsiteX4327" fmla="*/ 6761353 w 12117871"/>
                <a:gd name="connsiteY4327" fmla="*/ 2176765 h 6072780"/>
                <a:gd name="connsiteX4328" fmla="*/ 6832520 w 12117871"/>
                <a:gd name="connsiteY4328" fmla="*/ 2287352 h 6072780"/>
                <a:gd name="connsiteX4329" fmla="*/ 6812434 w 12117871"/>
                <a:gd name="connsiteY4329" fmla="*/ 2370932 h 6072780"/>
                <a:gd name="connsiteX4330" fmla="*/ 6756237 w 12117871"/>
                <a:gd name="connsiteY4330" fmla="*/ 2399745 h 6072780"/>
                <a:gd name="connsiteX4331" fmla="*/ 6703652 w 12117871"/>
                <a:gd name="connsiteY4331" fmla="*/ 2372211 h 6072780"/>
                <a:gd name="connsiteX4332" fmla="*/ 6684769 w 12117871"/>
                <a:gd name="connsiteY4332" fmla="*/ 2292619 h 6072780"/>
                <a:gd name="connsiteX4333" fmla="*/ 6704479 w 12117871"/>
                <a:gd name="connsiteY4333" fmla="*/ 2206104 h 6072780"/>
                <a:gd name="connsiteX4334" fmla="*/ 6761353 w 12117871"/>
                <a:gd name="connsiteY4334" fmla="*/ 2176765 h 6072780"/>
                <a:gd name="connsiteX4335" fmla="*/ 6615046 w 12117871"/>
                <a:gd name="connsiteY4335" fmla="*/ 2176765 h 6072780"/>
                <a:gd name="connsiteX4336" fmla="*/ 6629952 w 12117871"/>
                <a:gd name="connsiteY4336" fmla="*/ 2176765 h 6072780"/>
                <a:gd name="connsiteX4337" fmla="*/ 6629952 w 12117871"/>
                <a:gd name="connsiteY4337" fmla="*/ 2399745 h 6072780"/>
                <a:gd name="connsiteX4338" fmla="*/ 6594664 w 12117871"/>
                <a:gd name="connsiteY4338" fmla="*/ 2399745 h 6072780"/>
                <a:gd name="connsiteX4339" fmla="*/ 6594664 w 12117871"/>
                <a:gd name="connsiteY4339" fmla="*/ 2219962 h 6072780"/>
                <a:gd name="connsiteX4340" fmla="*/ 6574055 w 12117871"/>
                <a:gd name="connsiteY4340" fmla="*/ 2231597 h 6072780"/>
                <a:gd name="connsiteX4341" fmla="*/ 6548882 w 12117871"/>
                <a:gd name="connsiteY4341" fmla="*/ 2240039 h 6072780"/>
                <a:gd name="connsiteX4342" fmla="*/ 6548882 w 12117871"/>
                <a:gd name="connsiteY4342" fmla="*/ 2209923 h 6072780"/>
                <a:gd name="connsiteX4343" fmla="*/ 6565917 w 12117871"/>
                <a:gd name="connsiteY4343" fmla="*/ 2203839 h 6072780"/>
                <a:gd name="connsiteX4344" fmla="*/ 6582116 w 12117871"/>
                <a:gd name="connsiteY4344" fmla="*/ 2196690 h 6072780"/>
                <a:gd name="connsiteX4345" fmla="*/ 6598239 w 12117871"/>
                <a:gd name="connsiteY4345" fmla="*/ 2187868 h 6072780"/>
                <a:gd name="connsiteX4346" fmla="*/ 6615046 w 12117871"/>
                <a:gd name="connsiteY4346" fmla="*/ 2176765 h 6072780"/>
                <a:gd name="connsiteX4347" fmla="*/ 6317332 w 12117871"/>
                <a:gd name="connsiteY4347" fmla="*/ 2176765 h 6072780"/>
                <a:gd name="connsiteX4348" fmla="*/ 6332238 w 12117871"/>
                <a:gd name="connsiteY4348" fmla="*/ 2176765 h 6072780"/>
                <a:gd name="connsiteX4349" fmla="*/ 6332238 w 12117871"/>
                <a:gd name="connsiteY4349" fmla="*/ 2399745 h 6072780"/>
                <a:gd name="connsiteX4350" fmla="*/ 6296950 w 12117871"/>
                <a:gd name="connsiteY4350" fmla="*/ 2399745 h 6072780"/>
                <a:gd name="connsiteX4351" fmla="*/ 6296950 w 12117871"/>
                <a:gd name="connsiteY4351" fmla="*/ 2219962 h 6072780"/>
                <a:gd name="connsiteX4352" fmla="*/ 6276341 w 12117871"/>
                <a:gd name="connsiteY4352" fmla="*/ 2231597 h 6072780"/>
                <a:gd name="connsiteX4353" fmla="*/ 6251168 w 12117871"/>
                <a:gd name="connsiteY4353" fmla="*/ 2240039 h 6072780"/>
                <a:gd name="connsiteX4354" fmla="*/ 6251168 w 12117871"/>
                <a:gd name="connsiteY4354" fmla="*/ 2209923 h 6072780"/>
                <a:gd name="connsiteX4355" fmla="*/ 6268203 w 12117871"/>
                <a:gd name="connsiteY4355" fmla="*/ 2203839 h 6072780"/>
                <a:gd name="connsiteX4356" fmla="*/ 6284402 w 12117871"/>
                <a:gd name="connsiteY4356" fmla="*/ 2196690 h 6072780"/>
                <a:gd name="connsiteX4357" fmla="*/ 6300525 w 12117871"/>
                <a:gd name="connsiteY4357" fmla="*/ 2187868 h 6072780"/>
                <a:gd name="connsiteX4358" fmla="*/ 6317332 w 12117871"/>
                <a:gd name="connsiteY4358" fmla="*/ 2176765 h 6072780"/>
                <a:gd name="connsiteX4359" fmla="*/ 6143576 w 12117871"/>
                <a:gd name="connsiteY4359" fmla="*/ 2176765 h 6072780"/>
                <a:gd name="connsiteX4360" fmla="*/ 6214743 w 12117871"/>
                <a:gd name="connsiteY4360" fmla="*/ 2287352 h 6072780"/>
                <a:gd name="connsiteX4361" fmla="*/ 6194657 w 12117871"/>
                <a:gd name="connsiteY4361" fmla="*/ 2370932 h 6072780"/>
                <a:gd name="connsiteX4362" fmla="*/ 6138460 w 12117871"/>
                <a:gd name="connsiteY4362" fmla="*/ 2399745 h 6072780"/>
                <a:gd name="connsiteX4363" fmla="*/ 6085875 w 12117871"/>
                <a:gd name="connsiteY4363" fmla="*/ 2372211 h 6072780"/>
                <a:gd name="connsiteX4364" fmla="*/ 6066992 w 12117871"/>
                <a:gd name="connsiteY4364" fmla="*/ 2292619 h 6072780"/>
                <a:gd name="connsiteX4365" fmla="*/ 6086702 w 12117871"/>
                <a:gd name="connsiteY4365" fmla="*/ 2206104 h 6072780"/>
                <a:gd name="connsiteX4366" fmla="*/ 6143576 w 12117871"/>
                <a:gd name="connsiteY4366" fmla="*/ 2176765 h 6072780"/>
                <a:gd name="connsiteX4367" fmla="*/ 5927066 w 12117871"/>
                <a:gd name="connsiteY4367" fmla="*/ 2176765 h 6072780"/>
                <a:gd name="connsiteX4368" fmla="*/ 5998233 w 12117871"/>
                <a:gd name="connsiteY4368" fmla="*/ 2287352 h 6072780"/>
                <a:gd name="connsiteX4369" fmla="*/ 5978148 w 12117871"/>
                <a:gd name="connsiteY4369" fmla="*/ 2370932 h 6072780"/>
                <a:gd name="connsiteX4370" fmla="*/ 5921951 w 12117871"/>
                <a:gd name="connsiteY4370" fmla="*/ 2399745 h 6072780"/>
                <a:gd name="connsiteX4371" fmla="*/ 5869364 w 12117871"/>
                <a:gd name="connsiteY4371" fmla="*/ 2372211 h 6072780"/>
                <a:gd name="connsiteX4372" fmla="*/ 5850483 w 12117871"/>
                <a:gd name="connsiteY4372" fmla="*/ 2292619 h 6072780"/>
                <a:gd name="connsiteX4373" fmla="*/ 5870192 w 12117871"/>
                <a:gd name="connsiteY4373" fmla="*/ 2206104 h 6072780"/>
                <a:gd name="connsiteX4374" fmla="*/ 5927066 w 12117871"/>
                <a:gd name="connsiteY4374" fmla="*/ 2176765 h 6072780"/>
                <a:gd name="connsiteX4375" fmla="*/ 5702958 w 12117871"/>
                <a:gd name="connsiteY4375" fmla="*/ 2176765 h 6072780"/>
                <a:gd name="connsiteX4376" fmla="*/ 5774126 w 12117871"/>
                <a:gd name="connsiteY4376" fmla="*/ 2287352 h 6072780"/>
                <a:gd name="connsiteX4377" fmla="*/ 5754041 w 12117871"/>
                <a:gd name="connsiteY4377" fmla="*/ 2370932 h 6072780"/>
                <a:gd name="connsiteX4378" fmla="*/ 5697845 w 12117871"/>
                <a:gd name="connsiteY4378" fmla="*/ 2399745 h 6072780"/>
                <a:gd name="connsiteX4379" fmla="*/ 5645258 w 12117871"/>
                <a:gd name="connsiteY4379" fmla="*/ 2372211 h 6072780"/>
                <a:gd name="connsiteX4380" fmla="*/ 5626376 w 12117871"/>
                <a:gd name="connsiteY4380" fmla="*/ 2292619 h 6072780"/>
                <a:gd name="connsiteX4381" fmla="*/ 5646086 w 12117871"/>
                <a:gd name="connsiteY4381" fmla="*/ 2206104 h 6072780"/>
                <a:gd name="connsiteX4382" fmla="*/ 5702958 w 12117871"/>
                <a:gd name="connsiteY4382" fmla="*/ 2176765 h 6072780"/>
                <a:gd name="connsiteX4383" fmla="*/ 5545678 w 12117871"/>
                <a:gd name="connsiteY4383" fmla="*/ 2176765 h 6072780"/>
                <a:gd name="connsiteX4384" fmla="*/ 5560587 w 12117871"/>
                <a:gd name="connsiteY4384" fmla="*/ 2176765 h 6072780"/>
                <a:gd name="connsiteX4385" fmla="*/ 5560587 w 12117871"/>
                <a:gd name="connsiteY4385" fmla="*/ 2399745 h 6072780"/>
                <a:gd name="connsiteX4386" fmla="*/ 5525299 w 12117871"/>
                <a:gd name="connsiteY4386" fmla="*/ 2399745 h 6072780"/>
                <a:gd name="connsiteX4387" fmla="*/ 5525299 w 12117871"/>
                <a:gd name="connsiteY4387" fmla="*/ 2219962 h 6072780"/>
                <a:gd name="connsiteX4388" fmla="*/ 5504689 w 12117871"/>
                <a:gd name="connsiteY4388" fmla="*/ 2231597 h 6072780"/>
                <a:gd name="connsiteX4389" fmla="*/ 5479516 w 12117871"/>
                <a:gd name="connsiteY4389" fmla="*/ 2240039 h 6072780"/>
                <a:gd name="connsiteX4390" fmla="*/ 5479516 w 12117871"/>
                <a:gd name="connsiteY4390" fmla="*/ 2209923 h 6072780"/>
                <a:gd name="connsiteX4391" fmla="*/ 5496550 w 12117871"/>
                <a:gd name="connsiteY4391" fmla="*/ 2203839 h 6072780"/>
                <a:gd name="connsiteX4392" fmla="*/ 5512750 w 12117871"/>
                <a:gd name="connsiteY4392" fmla="*/ 2196690 h 6072780"/>
                <a:gd name="connsiteX4393" fmla="*/ 5528872 w 12117871"/>
                <a:gd name="connsiteY4393" fmla="*/ 2187868 h 6072780"/>
                <a:gd name="connsiteX4394" fmla="*/ 5545678 w 12117871"/>
                <a:gd name="connsiteY4394" fmla="*/ 2176765 h 6072780"/>
                <a:gd name="connsiteX4395" fmla="*/ 5247965 w 12117871"/>
                <a:gd name="connsiteY4395" fmla="*/ 2176765 h 6072780"/>
                <a:gd name="connsiteX4396" fmla="*/ 5262872 w 12117871"/>
                <a:gd name="connsiteY4396" fmla="*/ 2176765 h 6072780"/>
                <a:gd name="connsiteX4397" fmla="*/ 5262872 w 12117871"/>
                <a:gd name="connsiteY4397" fmla="*/ 2399745 h 6072780"/>
                <a:gd name="connsiteX4398" fmla="*/ 5227584 w 12117871"/>
                <a:gd name="connsiteY4398" fmla="*/ 2399745 h 6072780"/>
                <a:gd name="connsiteX4399" fmla="*/ 5227584 w 12117871"/>
                <a:gd name="connsiteY4399" fmla="*/ 2219962 h 6072780"/>
                <a:gd name="connsiteX4400" fmla="*/ 5206974 w 12117871"/>
                <a:gd name="connsiteY4400" fmla="*/ 2231597 h 6072780"/>
                <a:gd name="connsiteX4401" fmla="*/ 5181802 w 12117871"/>
                <a:gd name="connsiteY4401" fmla="*/ 2240039 h 6072780"/>
                <a:gd name="connsiteX4402" fmla="*/ 5181802 w 12117871"/>
                <a:gd name="connsiteY4402" fmla="*/ 2209923 h 6072780"/>
                <a:gd name="connsiteX4403" fmla="*/ 5198836 w 12117871"/>
                <a:gd name="connsiteY4403" fmla="*/ 2203839 h 6072780"/>
                <a:gd name="connsiteX4404" fmla="*/ 5215036 w 12117871"/>
                <a:gd name="connsiteY4404" fmla="*/ 2196690 h 6072780"/>
                <a:gd name="connsiteX4405" fmla="*/ 5231158 w 12117871"/>
                <a:gd name="connsiteY4405" fmla="*/ 2187868 h 6072780"/>
                <a:gd name="connsiteX4406" fmla="*/ 5247965 w 12117871"/>
                <a:gd name="connsiteY4406" fmla="*/ 2176765 h 6072780"/>
                <a:gd name="connsiteX4407" fmla="*/ 4873220 w 12117871"/>
                <a:gd name="connsiteY4407" fmla="*/ 2176765 h 6072780"/>
                <a:gd name="connsiteX4408" fmla="*/ 4888126 w 12117871"/>
                <a:gd name="connsiteY4408" fmla="*/ 2176765 h 6072780"/>
                <a:gd name="connsiteX4409" fmla="*/ 4888126 w 12117871"/>
                <a:gd name="connsiteY4409" fmla="*/ 2399745 h 6072780"/>
                <a:gd name="connsiteX4410" fmla="*/ 4852838 w 12117871"/>
                <a:gd name="connsiteY4410" fmla="*/ 2399745 h 6072780"/>
                <a:gd name="connsiteX4411" fmla="*/ 4852838 w 12117871"/>
                <a:gd name="connsiteY4411" fmla="*/ 2219962 h 6072780"/>
                <a:gd name="connsiteX4412" fmla="*/ 4832228 w 12117871"/>
                <a:gd name="connsiteY4412" fmla="*/ 2231597 h 6072780"/>
                <a:gd name="connsiteX4413" fmla="*/ 4807057 w 12117871"/>
                <a:gd name="connsiteY4413" fmla="*/ 2240039 h 6072780"/>
                <a:gd name="connsiteX4414" fmla="*/ 4807057 w 12117871"/>
                <a:gd name="connsiteY4414" fmla="*/ 2209923 h 6072780"/>
                <a:gd name="connsiteX4415" fmla="*/ 4824092 w 12117871"/>
                <a:gd name="connsiteY4415" fmla="*/ 2203839 h 6072780"/>
                <a:gd name="connsiteX4416" fmla="*/ 4840292 w 12117871"/>
                <a:gd name="connsiteY4416" fmla="*/ 2196690 h 6072780"/>
                <a:gd name="connsiteX4417" fmla="*/ 4856413 w 12117871"/>
                <a:gd name="connsiteY4417" fmla="*/ 2187868 h 6072780"/>
                <a:gd name="connsiteX4418" fmla="*/ 4873220 w 12117871"/>
                <a:gd name="connsiteY4418" fmla="*/ 2176765 h 6072780"/>
                <a:gd name="connsiteX4419" fmla="*/ 4729612 w 12117871"/>
                <a:gd name="connsiteY4419" fmla="*/ 2176765 h 6072780"/>
                <a:gd name="connsiteX4420" fmla="*/ 4744518 w 12117871"/>
                <a:gd name="connsiteY4420" fmla="*/ 2176765 h 6072780"/>
                <a:gd name="connsiteX4421" fmla="*/ 4744518 w 12117871"/>
                <a:gd name="connsiteY4421" fmla="*/ 2399745 h 6072780"/>
                <a:gd name="connsiteX4422" fmla="*/ 4709230 w 12117871"/>
                <a:gd name="connsiteY4422" fmla="*/ 2399745 h 6072780"/>
                <a:gd name="connsiteX4423" fmla="*/ 4709230 w 12117871"/>
                <a:gd name="connsiteY4423" fmla="*/ 2219962 h 6072780"/>
                <a:gd name="connsiteX4424" fmla="*/ 4688621 w 12117871"/>
                <a:gd name="connsiteY4424" fmla="*/ 2231597 h 6072780"/>
                <a:gd name="connsiteX4425" fmla="*/ 4663449 w 12117871"/>
                <a:gd name="connsiteY4425" fmla="*/ 2240039 h 6072780"/>
                <a:gd name="connsiteX4426" fmla="*/ 4663449 w 12117871"/>
                <a:gd name="connsiteY4426" fmla="*/ 2209923 h 6072780"/>
                <a:gd name="connsiteX4427" fmla="*/ 4680483 w 12117871"/>
                <a:gd name="connsiteY4427" fmla="*/ 2203839 h 6072780"/>
                <a:gd name="connsiteX4428" fmla="*/ 4696683 w 12117871"/>
                <a:gd name="connsiteY4428" fmla="*/ 2196690 h 6072780"/>
                <a:gd name="connsiteX4429" fmla="*/ 4712804 w 12117871"/>
                <a:gd name="connsiteY4429" fmla="*/ 2187868 h 6072780"/>
                <a:gd name="connsiteX4430" fmla="*/ 4729612 w 12117871"/>
                <a:gd name="connsiteY4430" fmla="*/ 2176765 h 6072780"/>
                <a:gd name="connsiteX4431" fmla="*/ 4586004 w 12117871"/>
                <a:gd name="connsiteY4431" fmla="*/ 2176765 h 6072780"/>
                <a:gd name="connsiteX4432" fmla="*/ 4600910 w 12117871"/>
                <a:gd name="connsiteY4432" fmla="*/ 2176765 h 6072780"/>
                <a:gd name="connsiteX4433" fmla="*/ 4600910 w 12117871"/>
                <a:gd name="connsiteY4433" fmla="*/ 2399745 h 6072780"/>
                <a:gd name="connsiteX4434" fmla="*/ 4565622 w 12117871"/>
                <a:gd name="connsiteY4434" fmla="*/ 2399745 h 6072780"/>
                <a:gd name="connsiteX4435" fmla="*/ 4565622 w 12117871"/>
                <a:gd name="connsiteY4435" fmla="*/ 2219962 h 6072780"/>
                <a:gd name="connsiteX4436" fmla="*/ 4545013 w 12117871"/>
                <a:gd name="connsiteY4436" fmla="*/ 2231597 h 6072780"/>
                <a:gd name="connsiteX4437" fmla="*/ 4519841 w 12117871"/>
                <a:gd name="connsiteY4437" fmla="*/ 2240039 h 6072780"/>
                <a:gd name="connsiteX4438" fmla="*/ 4519841 w 12117871"/>
                <a:gd name="connsiteY4438" fmla="*/ 2209923 h 6072780"/>
                <a:gd name="connsiteX4439" fmla="*/ 4536875 w 12117871"/>
                <a:gd name="connsiteY4439" fmla="*/ 2203839 h 6072780"/>
                <a:gd name="connsiteX4440" fmla="*/ 4553076 w 12117871"/>
                <a:gd name="connsiteY4440" fmla="*/ 2196690 h 6072780"/>
                <a:gd name="connsiteX4441" fmla="*/ 4569196 w 12117871"/>
                <a:gd name="connsiteY4441" fmla="*/ 2187868 h 6072780"/>
                <a:gd name="connsiteX4442" fmla="*/ 4586004 w 12117871"/>
                <a:gd name="connsiteY4442" fmla="*/ 2176765 h 6072780"/>
                <a:gd name="connsiteX4443" fmla="*/ 4442396 w 12117871"/>
                <a:gd name="connsiteY4443" fmla="*/ 2176765 h 6072780"/>
                <a:gd name="connsiteX4444" fmla="*/ 4457303 w 12117871"/>
                <a:gd name="connsiteY4444" fmla="*/ 2176765 h 6072780"/>
                <a:gd name="connsiteX4445" fmla="*/ 4457303 w 12117871"/>
                <a:gd name="connsiteY4445" fmla="*/ 2399745 h 6072780"/>
                <a:gd name="connsiteX4446" fmla="*/ 4422014 w 12117871"/>
                <a:gd name="connsiteY4446" fmla="*/ 2399745 h 6072780"/>
                <a:gd name="connsiteX4447" fmla="*/ 4422014 w 12117871"/>
                <a:gd name="connsiteY4447" fmla="*/ 2219962 h 6072780"/>
                <a:gd name="connsiteX4448" fmla="*/ 4401405 w 12117871"/>
                <a:gd name="connsiteY4448" fmla="*/ 2231597 h 6072780"/>
                <a:gd name="connsiteX4449" fmla="*/ 4376233 w 12117871"/>
                <a:gd name="connsiteY4449" fmla="*/ 2240039 h 6072780"/>
                <a:gd name="connsiteX4450" fmla="*/ 4376233 w 12117871"/>
                <a:gd name="connsiteY4450" fmla="*/ 2209923 h 6072780"/>
                <a:gd name="connsiteX4451" fmla="*/ 4393267 w 12117871"/>
                <a:gd name="connsiteY4451" fmla="*/ 2203839 h 6072780"/>
                <a:gd name="connsiteX4452" fmla="*/ 4409467 w 12117871"/>
                <a:gd name="connsiteY4452" fmla="*/ 2196690 h 6072780"/>
                <a:gd name="connsiteX4453" fmla="*/ 4425590 w 12117871"/>
                <a:gd name="connsiteY4453" fmla="*/ 2187868 h 6072780"/>
                <a:gd name="connsiteX4454" fmla="*/ 4442396 w 12117871"/>
                <a:gd name="connsiteY4454" fmla="*/ 2176765 h 6072780"/>
                <a:gd name="connsiteX4455" fmla="*/ 3702228 w 12117871"/>
                <a:gd name="connsiteY4455" fmla="*/ 2176765 h 6072780"/>
                <a:gd name="connsiteX4456" fmla="*/ 3717133 w 12117871"/>
                <a:gd name="connsiteY4456" fmla="*/ 2176765 h 6072780"/>
                <a:gd name="connsiteX4457" fmla="*/ 3717133 w 12117871"/>
                <a:gd name="connsiteY4457" fmla="*/ 2399745 h 6072780"/>
                <a:gd name="connsiteX4458" fmla="*/ 3681845 w 12117871"/>
                <a:gd name="connsiteY4458" fmla="*/ 2399745 h 6072780"/>
                <a:gd name="connsiteX4459" fmla="*/ 3681845 w 12117871"/>
                <a:gd name="connsiteY4459" fmla="*/ 2219962 h 6072780"/>
                <a:gd name="connsiteX4460" fmla="*/ 3661236 w 12117871"/>
                <a:gd name="connsiteY4460" fmla="*/ 2231597 h 6072780"/>
                <a:gd name="connsiteX4461" fmla="*/ 3636063 w 12117871"/>
                <a:gd name="connsiteY4461" fmla="*/ 2240039 h 6072780"/>
                <a:gd name="connsiteX4462" fmla="*/ 3636063 w 12117871"/>
                <a:gd name="connsiteY4462" fmla="*/ 2209923 h 6072780"/>
                <a:gd name="connsiteX4463" fmla="*/ 3653098 w 12117871"/>
                <a:gd name="connsiteY4463" fmla="*/ 2203839 h 6072780"/>
                <a:gd name="connsiteX4464" fmla="*/ 3669298 w 12117871"/>
                <a:gd name="connsiteY4464" fmla="*/ 2196690 h 6072780"/>
                <a:gd name="connsiteX4465" fmla="*/ 3685419 w 12117871"/>
                <a:gd name="connsiteY4465" fmla="*/ 2187868 h 6072780"/>
                <a:gd name="connsiteX4466" fmla="*/ 3702228 w 12117871"/>
                <a:gd name="connsiteY4466" fmla="*/ 2176765 h 6072780"/>
                <a:gd name="connsiteX4467" fmla="*/ 3553371 w 12117871"/>
                <a:gd name="connsiteY4467" fmla="*/ 2176765 h 6072780"/>
                <a:gd name="connsiteX4468" fmla="*/ 3568277 w 12117871"/>
                <a:gd name="connsiteY4468" fmla="*/ 2176765 h 6072780"/>
                <a:gd name="connsiteX4469" fmla="*/ 3568277 w 12117871"/>
                <a:gd name="connsiteY4469" fmla="*/ 2399745 h 6072780"/>
                <a:gd name="connsiteX4470" fmla="*/ 3532989 w 12117871"/>
                <a:gd name="connsiteY4470" fmla="*/ 2399745 h 6072780"/>
                <a:gd name="connsiteX4471" fmla="*/ 3532989 w 12117871"/>
                <a:gd name="connsiteY4471" fmla="*/ 2219962 h 6072780"/>
                <a:gd name="connsiteX4472" fmla="*/ 3512380 w 12117871"/>
                <a:gd name="connsiteY4472" fmla="*/ 2231597 h 6072780"/>
                <a:gd name="connsiteX4473" fmla="*/ 3487206 w 12117871"/>
                <a:gd name="connsiteY4473" fmla="*/ 2240039 h 6072780"/>
                <a:gd name="connsiteX4474" fmla="*/ 3487206 w 12117871"/>
                <a:gd name="connsiteY4474" fmla="*/ 2209923 h 6072780"/>
                <a:gd name="connsiteX4475" fmla="*/ 3504242 w 12117871"/>
                <a:gd name="connsiteY4475" fmla="*/ 2203839 h 6072780"/>
                <a:gd name="connsiteX4476" fmla="*/ 3520441 w 12117871"/>
                <a:gd name="connsiteY4476" fmla="*/ 2196690 h 6072780"/>
                <a:gd name="connsiteX4477" fmla="*/ 3536563 w 12117871"/>
                <a:gd name="connsiteY4477" fmla="*/ 2187868 h 6072780"/>
                <a:gd name="connsiteX4478" fmla="*/ 3553371 w 12117871"/>
                <a:gd name="connsiteY4478" fmla="*/ 2176765 h 6072780"/>
                <a:gd name="connsiteX4479" fmla="*/ 2748702 w 12117871"/>
                <a:gd name="connsiteY4479" fmla="*/ 2176765 h 6072780"/>
                <a:gd name="connsiteX4480" fmla="*/ 2763608 w 12117871"/>
                <a:gd name="connsiteY4480" fmla="*/ 2176765 h 6072780"/>
                <a:gd name="connsiteX4481" fmla="*/ 2763608 w 12117871"/>
                <a:gd name="connsiteY4481" fmla="*/ 2399745 h 6072780"/>
                <a:gd name="connsiteX4482" fmla="*/ 2728321 w 12117871"/>
                <a:gd name="connsiteY4482" fmla="*/ 2399745 h 6072780"/>
                <a:gd name="connsiteX4483" fmla="*/ 2728321 w 12117871"/>
                <a:gd name="connsiteY4483" fmla="*/ 2219962 h 6072780"/>
                <a:gd name="connsiteX4484" fmla="*/ 2707711 w 12117871"/>
                <a:gd name="connsiteY4484" fmla="*/ 2231597 h 6072780"/>
                <a:gd name="connsiteX4485" fmla="*/ 2682538 w 12117871"/>
                <a:gd name="connsiteY4485" fmla="*/ 2240039 h 6072780"/>
                <a:gd name="connsiteX4486" fmla="*/ 2682538 w 12117871"/>
                <a:gd name="connsiteY4486" fmla="*/ 2209923 h 6072780"/>
                <a:gd name="connsiteX4487" fmla="*/ 2699574 w 12117871"/>
                <a:gd name="connsiteY4487" fmla="*/ 2203839 h 6072780"/>
                <a:gd name="connsiteX4488" fmla="*/ 2715773 w 12117871"/>
                <a:gd name="connsiteY4488" fmla="*/ 2196690 h 6072780"/>
                <a:gd name="connsiteX4489" fmla="*/ 2731895 w 12117871"/>
                <a:gd name="connsiteY4489" fmla="*/ 2187868 h 6072780"/>
                <a:gd name="connsiteX4490" fmla="*/ 2748702 w 12117871"/>
                <a:gd name="connsiteY4490" fmla="*/ 2176765 h 6072780"/>
                <a:gd name="connsiteX4491" fmla="*/ 2355943 w 12117871"/>
                <a:gd name="connsiteY4491" fmla="*/ 2176765 h 6072780"/>
                <a:gd name="connsiteX4492" fmla="*/ 2370850 w 12117871"/>
                <a:gd name="connsiteY4492" fmla="*/ 2176765 h 6072780"/>
                <a:gd name="connsiteX4493" fmla="*/ 2370850 w 12117871"/>
                <a:gd name="connsiteY4493" fmla="*/ 2399745 h 6072780"/>
                <a:gd name="connsiteX4494" fmla="*/ 2335562 w 12117871"/>
                <a:gd name="connsiteY4494" fmla="*/ 2399745 h 6072780"/>
                <a:gd name="connsiteX4495" fmla="*/ 2335562 w 12117871"/>
                <a:gd name="connsiteY4495" fmla="*/ 2219962 h 6072780"/>
                <a:gd name="connsiteX4496" fmla="*/ 2314952 w 12117871"/>
                <a:gd name="connsiteY4496" fmla="*/ 2231597 h 6072780"/>
                <a:gd name="connsiteX4497" fmla="*/ 2289780 w 12117871"/>
                <a:gd name="connsiteY4497" fmla="*/ 2240039 h 6072780"/>
                <a:gd name="connsiteX4498" fmla="*/ 2289780 w 12117871"/>
                <a:gd name="connsiteY4498" fmla="*/ 2209923 h 6072780"/>
                <a:gd name="connsiteX4499" fmla="*/ 2306815 w 12117871"/>
                <a:gd name="connsiteY4499" fmla="*/ 2203839 h 6072780"/>
                <a:gd name="connsiteX4500" fmla="*/ 2323013 w 12117871"/>
                <a:gd name="connsiteY4500" fmla="*/ 2196690 h 6072780"/>
                <a:gd name="connsiteX4501" fmla="*/ 2339135 w 12117871"/>
                <a:gd name="connsiteY4501" fmla="*/ 2187868 h 6072780"/>
                <a:gd name="connsiteX4502" fmla="*/ 2355943 w 12117871"/>
                <a:gd name="connsiteY4502" fmla="*/ 2176765 h 6072780"/>
                <a:gd name="connsiteX4503" fmla="*/ 2212336 w 12117871"/>
                <a:gd name="connsiteY4503" fmla="*/ 2176765 h 6072780"/>
                <a:gd name="connsiteX4504" fmla="*/ 2227242 w 12117871"/>
                <a:gd name="connsiteY4504" fmla="*/ 2176765 h 6072780"/>
                <a:gd name="connsiteX4505" fmla="*/ 2227242 w 12117871"/>
                <a:gd name="connsiteY4505" fmla="*/ 2399745 h 6072780"/>
                <a:gd name="connsiteX4506" fmla="*/ 2191954 w 12117871"/>
                <a:gd name="connsiteY4506" fmla="*/ 2399745 h 6072780"/>
                <a:gd name="connsiteX4507" fmla="*/ 2191954 w 12117871"/>
                <a:gd name="connsiteY4507" fmla="*/ 2219962 h 6072780"/>
                <a:gd name="connsiteX4508" fmla="*/ 2171344 w 12117871"/>
                <a:gd name="connsiteY4508" fmla="*/ 2231597 h 6072780"/>
                <a:gd name="connsiteX4509" fmla="*/ 2146172 w 12117871"/>
                <a:gd name="connsiteY4509" fmla="*/ 2240039 h 6072780"/>
                <a:gd name="connsiteX4510" fmla="*/ 2146172 w 12117871"/>
                <a:gd name="connsiteY4510" fmla="*/ 2209923 h 6072780"/>
                <a:gd name="connsiteX4511" fmla="*/ 2163206 w 12117871"/>
                <a:gd name="connsiteY4511" fmla="*/ 2203839 h 6072780"/>
                <a:gd name="connsiteX4512" fmla="*/ 2179406 w 12117871"/>
                <a:gd name="connsiteY4512" fmla="*/ 2196690 h 6072780"/>
                <a:gd name="connsiteX4513" fmla="*/ 2195528 w 12117871"/>
                <a:gd name="connsiteY4513" fmla="*/ 2187868 h 6072780"/>
                <a:gd name="connsiteX4514" fmla="*/ 2212336 w 12117871"/>
                <a:gd name="connsiteY4514" fmla="*/ 2176765 h 6072780"/>
                <a:gd name="connsiteX4515" fmla="*/ 2068726 w 12117871"/>
                <a:gd name="connsiteY4515" fmla="*/ 2176765 h 6072780"/>
                <a:gd name="connsiteX4516" fmla="*/ 2083633 w 12117871"/>
                <a:gd name="connsiteY4516" fmla="*/ 2176765 h 6072780"/>
                <a:gd name="connsiteX4517" fmla="*/ 2083633 w 12117871"/>
                <a:gd name="connsiteY4517" fmla="*/ 2399745 h 6072780"/>
                <a:gd name="connsiteX4518" fmla="*/ 2048345 w 12117871"/>
                <a:gd name="connsiteY4518" fmla="*/ 2399745 h 6072780"/>
                <a:gd name="connsiteX4519" fmla="*/ 2048345 w 12117871"/>
                <a:gd name="connsiteY4519" fmla="*/ 2219962 h 6072780"/>
                <a:gd name="connsiteX4520" fmla="*/ 2027735 w 12117871"/>
                <a:gd name="connsiteY4520" fmla="*/ 2231597 h 6072780"/>
                <a:gd name="connsiteX4521" fmla="*/ 2002563 w 12117871"/>
                <a:gd name="connsiteY4521" fmla="*/ 2240039 h 6072780"/>
                <a:gd name="connsiteX4522" fmla="*/ 2002563 w 12117871"/>
                <a:gd name="connsiteY4522" fmla="*/ 2209923 h 6072780"/>
                <a:gd name="connsiteX4523" fmla="*/ 2019598 w 12117871"/>
                <a:gd name="connsiteY4523" fmla="*/ 2203839 h 6072780"/>
                <a:gd name="connsiteX4524" fmla="*/ 2035796 w 12117871"/>
                <a:gd name="connsiteY4524" fmla="*/ 2196690 h 6072780"/>
                <a:gd name="connsiteX4525" fmla="*/ 2051918 w 12117871"/>
                <a:gd name="connsiteY4525" fmla="*/ 2187868 h 6072780"/>
                <a:gd name="connsiteX4526" fmla="*/ 2068726 w 12117871"/>
                <a:gd name="connsiteY4526" fmla="*/ 2176765 h 6072780"/>
                <a:gd name="connsiteX4527" fmla="*/ 1925119 w 12117871"/>
                <a:gd name="connsiteY4527" fmla="*/ 2176765 h 6072780"/>
                <a:gd name="connsiteX4528" fmla="*/ 1940025 w 12117871"/>
                <a:gd name="connsiteY4528" fmla="*/ 2176765 h 6072780"/>
                <a:gd name="connsiteX4529" fmla="*/ 1940025 w 12117871"/>
                <a:gd name="connsiteY4529" fmla="*/ 2399745 h 6072780"/>
                <a:gd name="connsiteX4530" fmla="*/ 1904738 w 12117871"/>
                <a:gd name="connsiteY4530" fmla="*/ 2399745 h 6072780"/>
                <a:gd name="connsiteX4531" fmla="*/ 1904738 w 12117871"/>
                <a:gd name="connsiteY4531" fmla="*/ 2219962 h 6072780"/>
                <a:gd name="connsiteX4532" fmla="*/ 1884128 w 12117871"/>
                <a:gd name="connsiteY4532" fmla="*/ 2231597 h 6072780"/>
                <a:gd name="connsiteX4533" fmla="*/ 1858955 w 12117871"/>
                <a:gd name="connsiteY4533" fmla="*/ 2240039 h 6072780"/>
                <a:gd name="connsiteX4534" fmla="*/ 1858955 w 12117871"/>
                <a:gd name="connsiteY4534" fmla="*/ 2209923 h 6072780"/>
                <a:gd name="connsiteX4535" fmla="*/ 1875991 w 12117871"/>
                <a:gd name="connsiteY4535" fmla="*/ 2203839 h 6072780"/>
                <a:gd name="connsiteX4536" fmla="*/ 1892190 w 12117871"/>
                <a:gd name="connsiteY4536" fmla="*/ 2196690 h 6072780"/>
                <a:gd name="connsiteX4537" fmla="*/ 1908312 w 12117871"/>
                <a:gd name="connsiteY4537" fmla="*/ 2187868 h 6072780"/>
                <a:gd name="connsiteX4538" fmla="*/ 1925119 w 12117871"/>
                <a:gd name="connsiteY4538" fmla="*/ 2176765 h 6072780"/>
                <a:gd name="connsiteX4539" fmla="*/ 1781511 w 12117871"/>
                <a:gd name="connsiteY4539" fmla="*/ 2176765 h 6072780"/>
                <a:gd name="connsiteX4540" fmla="*/ 1796417 w 12117871"/>
                <a:gd name="connsiteY4540" fmla="*/ 2176765 h 6072780"/>
                <a:gd name="connsiteX4541" fmla="*/ 1796417 w 12117871"/>
                <a:gd name="connsiteY4541" fmla="*/ 2399745 h 6072780"/>
                <a:gd name="connsiteX4542" fmla="*/ 1761130 w 12117871"/>
                <a:gd name="connsiteY4542" fmla="*/ 2399745 h 6072780"/>
                <a:gd name="connsiteX4543" fmla="*/ 1761130 w 12117871"/>
                <a:gd name="connsiteY4543" fmla="*/ 2219962 h 6072780"/>
                <a:gd name="connsiteX4544" fmla="*/ 1740520 w 12117871"/>
                <a:gd name="connsiteY4544" fmla="*/ 2231597 h 6072780"/>
                <a:gd name="connsiteX4545" fmla="*/ 1715347 w 12117871"/>
                <a:gd name="connsiteY4545" fmla="*/ 2240039 h 6072780"/>
                <a:gd name="connsiteX4546" fmla="*/ 1715347 w 12117871"/>
                <a:gd name="connsiteY4546" fmla="*/ 2209923 h 6072780"/>
                <a:gd name="connsiteX4547" fmla="*/ 1732383 w 12117871"/>
                <a:gd name="connsiteY4547" fmla="*/ 2203839 h 6072780"/>
                <a:gd name="connsiteX4548" fmla="*/ 1748582 w 12117871"/>
                <a:gd name="connsiteY4548" fmla="*/ 2196690 h 6072780"/>
                <a:gd name="connsiteX4549" fmla="*/ 1764704 w 12117871"/>
                <a:gd name="connsiteY4549" fmla="*/ 2187868 h 6072780"/>
                <a:gd name="connsiteX4550" fmla="*/ 1781511 w 12117871"/>
                <a:gd name="connsiteY4550" fmla="*/ 2176765 h 6072780"/>
                <a:gd name="connsiteX4551" fmla="*/ 1433813 w 12117871"/>
                <a:gd name="connsiteY4551" fmla="*/ 2176765 h 6072780"/>
                <a:gd name="connsiteX4552" fmla="*/ 1448720 w 12117871"/>
                <a:gd name="connsiteY4552" fmla="*/ 2176765 h 6072780"/>
                <a:gd name="connsiteX4553" fmla="*/ 1448720 w 12117871"/>
                <a:gd name="connsiteY4553" fmla="*/ 2399745 h 6072780"/>
                <a:gd name="connsiteX4554" fmla="*/ 1413432 w 12117871"/>
                <a:gd name="connsiteY4554" fmla="*/ 2399745 h 6072780"/>
                <a:gd name="connsiteX4555" fmla="*/ 1413432 w 12117871"/>
                <a:gd name="connsiteY4555" fmla="*/ 2219962 h 6072780"/>
                <a:gd name="connsiteX4556" fmla="*/ 1392822 w 12117871"/>
                <a:gd name="connsiteY4556" fmla="*/ 2231597 h 6072780"/>
                <a:gd name="connsiteX4557" fmla="*/ 1367650 w 12117871"/>
                <a:gd name="connsiteY4557" fmla="*/ 2240039 h 6072780"/>
                <a:gd name="connsiteX4558" fmla="*/ 1367650 w 12117871"/>
                <a:gd name="connsiteY4558" fmla="*/ 2209923 h 6072780"/>
                <a:gd name="connsiteX4559" fmla="*/ 1384685 w 12117871"/>
                <a:gd name="connsiteY4559" fmla="*/ 2203839 h 6072780"/>
                <a:gd name="connsiteX4560" fmla="*/ 1400884 w 12117871"/>
                <a:gd name="connsiteY4560" fmla="*/ 2196690 h 6072780"/>
                <a:gd name="connsiteX4561" fmla="*/ 1417006 w 12117871"/>
                <a:gd name="connsiteY4561" fmla="*/ 2187868 h 6072780"/>
                <a:gd name="connsiteX4562" fmla="*/ 1433813 w 12117871"/>
                <a:gd name="connsiteY4562" fmla="*/ 2176765 h 6072780"/>
                <a:gd name="connsiteX4563" fmla="*/ 1136100 w 12117871"/>
                <a:gd name="connsiteY4563" fmla="*/ 2176765 h 6072780"/>
                <a:gd name="connsiteX4564" fmla="*/ 1151006 w 12117871"/>
                <a:gd name="connsiteY4564" fmla="*/ 2176765 h 6072780"/>
                <a:gd name="connsiteX4565" fmla="*/ 1151006 w 12117871"/>
                <a:gd name="connsiteY4565" fmla="*/ 2399745 h 6072780"/>
                <a:gd name="connsiteX4566" fmla="*/ 1115718 w 12117871"/>
                <a:gd name="connsiteY4566" fmla="*/ 2399745 h 6072780"/>
                <a:gd name="connsiteX4567" fmla="*/ 1115718 w 12117871"/>
                <a:gd name="connsiteY4567" fmla="*/ 2219962 h 6072780"/>
                <a:gd name="connsiteX4568" fmla="*/ 1095109 w 12117871"/>
                <a:gd name="connsiteY4568" fmla="*/ 2231597 h 6072780"/>
                <a:gd name="connsiteX4569" fmla="*/ 1069936 w 12117871"/>
                <a:gd name="connsiteY4569" fmla="*/ 2240039 h 6072780"/>
                <a:gd name="connsiteX4570" fmla="*/ 1069936 w 12117871"/>
                <a:gd name="connsiteY4570" fmla="*/ 2209923 h 6072780"/>
                <a:gd name="connsiteX4571" fmla="*/ 1086971 w 12117871"/>
                <a:gd name="connsiteY4571" fmla="*/ 2203839 h 6072780"/>
                <a:gd name="connsiteX4572" fmla="*/ 1103170 w 12117871"/>
                <a:gd name="connsiteY4572" fmla="*/ 2196690 h 6072780"/>
                <a:gd name="connsiteX4573" fmla="*/ 1119293 w 12117871"/>
                <a:gd name="connsiteY4573" fmla="*/ 2187868 h 6072780"/>
                <a:gd name="connsiteX4574" fmla="*/ 1136100 w 12117871"/>
                <a:gd name="connsiteY4574" fmla="*/ 2176765 h 6072780"/>
                <a:gd name="connsiteX4575" fmla="*/ 924981 w 12117871"/>
                <a:gd name="connsiteY4575" fmla="*/ 2176765 h 6072780"/>
                <a:gd name="connsiteX4576" fmla="*/ 996148 w 12117871"/>
                <a:gd name="connsiteY4576" fmla="*/ 2287352 h 6072780"/>
                <a:gd name="connsiteX4577" fmla="*/ 976062 w 12117871"/>
                <a:gd name="connsiteY4577" fmla="*/ 2370932 h 6072780"/>
                <a:gd name="connsiteX4578" fmla="*/ 919866 w 12117871"/>
                <a:gd name="connsiteY4578" fmla="*/ 2399745 h 6072780"/>
                <a:gd name="connsiteX4579" fmla="*/ 867279 w 12117871"/>
                <a:gd name="connsiteY4579" fmla="*/ 2372211 h 6072780"/>
                <a:gd name="connsiteX4580" fmla="*/ 848398 w 12117871"/>
                <a:gd name="connsiteY4580" fmla="*/ 2292619 h 6072780"/>
                <a:gd name="connsiteX4581" fmla="*/ 868108 w 12117871"/>
                <a:gd name="connsiteY4581" fmla="*/ 2206104 h 6072780"/>
                <a:gd name="connsiteX4582" fmla="*/ 924981 w 12117871"/>
                <a:gd name="connsiteY4582" fmla="*/ 2176765 h 6072780"/>
                <a:gd name="connsiteX4583" fmla="*/ 708705 w 12117871"/>
                <a:gd name="connsiteY4583" fmla="*/ 2176765 h 6072780"/>
                <a:gd name="connsiteX4584" fmla="*/ 779872 w 12117871"/>
                <a:gd name="connsiteY4584" fmla="*/ 2287352 h 6072780"/>
                <a:gd name="connsiteX4585" fmla="*/ 759785 w 12117871"/>
                <a:gd name="connsiteY4585" fmla="*/ 2370932 h 6072780"/>
                <a:gd name="connsiteX4586" fmla="*/ 703590 w 12117871"/>
                <a:gd name="connsiteY4586" fmla="*/ 2399745 h 6072780"/>
                <a:gd name="connsiteX4587" fmla="*/ 651004 w 12117871"/>
                <a:gd name="connsiteY4587" fmla="*/ 2372211 h 6072780"/>
                <a:gd name="connsiteX4588" fmla="*/ 632122 w 12117871"/>
                <a:gd name="connsiteY4588" fmla="*/ 2292619 h 6072780"/>
                <a:gd name="connsiteX4589" fmla="*/ 651832 w 12117871"/>
                <a:gd name="connsiteY4589" fmla="*/ 2206104 h 6072780"/>
                <a:gd name="connsiteX4590" fmla="*/ 708705 w 12117871"/>
                <a:gd name="connsiteY4590" fmla="*/ 2176765 h 6072780"/>
                <a:gd name="connsiteX4591" fmla="*/ 560572 w 12117871"/>
                <a:gd name="connsiteY4591" fmla="*/ 2176765 h 6072780"/>
                <a:gd name="connsiteX4592" fmla="*/ 575479 w 12117871"/>
                <a:gd name="connsiteY4592" fmla="*/ 2176765 h 6072780"/>
                <a:gd name="connsiteX4593" fmla="*/ 575479 w 12117871"/>
                <a:gd name="connsiteY4593" fmla="*/ 2399745 h 6072780"/>
                <a:gd name="connsiteX4594" fmla="*/ 540191 w 12117871"/>
                <a:gd name="connsiteY4594" fmla="*/ 2399745 h 6072780"/>
                <a:gd name="connsiteX4595" fmla="*/ 540191 w 12117871"/>
                <a:gd name="connsiteY4595" fmla="*/ 2219962 h 6072780"/>
                <a:gd name="connsiteX4596" fmla="*/ 519581 w 12117871"/>
                <a:gd name="connsiteY4596" fmla="*/ 2231597 h 6072780"/>
                <a:gd name="connsiteX4597" fmla="*/ 494409 w 12117871"/>
                <a:gd name="connsiteY4597" fmla="*/ 2240039 h 6072780"/>
                <a:gd name="connsiteX4598" fmla="*/ 494409 w 12117871"/>
                <a:gd name="connsiteY4598" fmla="*/ 2209923 h 6072780"/>
                <a:gd name="connsiteX4599" fmla="*/ 511444 w 12117871"/>
                <a:gd name="connsiteY4599" fmla="*/ 2203839 h 6072780"/>
                <a:gd name="connsiteX4600" fmla="*/ 527643 w 12117871"/>
                <a:gd name="connsiteY4600" fmla="*/ 2196690 h 6072780"/>
                <a:gd name="connsiteX4601" fmla="*/ 543766 w 12117871"/>
                <a:gd name="connsiteY4601" fmla="*/ 2187868 h 6072780"/>
                <a:gd name="connsiteX4602" fmla="*/ 560572 w 12117871"/>
                <a:gd name="connsiteY4602" fmla="*/ 2176765 h 6072780"/>
                <a:gd name="connsiteX4603" fmla="*/ 262859 w 12117871"/>
                <a:gd name="connsiteY4603" fmla="*/ 2176765 h 6072780"/>
                <a:gd name="connsiteX4604" fmla="*/ 277764 w 12117871"/>
                <a:gd name="connsiteY4604" fmla="*/ 2176765 h 6072780"/>
                <a:gd name="connsiteX4605" fmla="*/ 277764 w 12117871"/>
                <a:gd name="connsiteY4605" fmla="*/ 2399745 h 6072780"/>
                <a:gd name="connsiteX4606" fmla="*/ 242478 w 12117871"/>
                <a:gd name="connsiteY4606" fmla="*/ 2399745 h 6072780"/>
                <a:gd name="connsiteX4607" fmla="*/ 242478 w 12117871"/>
                <a:gd name="connsiteY4607" fmla="*/ 2219962 h 6072780"/>
                <a:gd name="connsiteX4608" fmla="*/ 221869 w 12117871"/>
                <a:gd name="connsiteY4608" fmla="*/ 2231597 h 6072780"/>
                <a:gd name="connsiteX4609" fmla="*/ 196695 w 12117871"/>
                <a:gd name="connsiteY4609" fmla="*/ 2240039 h 6072780"/>
                <a:gd name="connsiteX4610" fmla="*/ 196695 w 12117871"/>
                <a:gd name="connsiteY4610" fmla="*/ 2209923 h 6072780"/>
                <a:gd name="connsiteX4611" fmla="*/ 213729 w 12117871"/>
                <a:gd name="connsiteY4611" fmla="*/ 2203839 h 6072780"/>
                <a:gd name="connsiteX4612" fmla="*/ 229928 w 12117871"/>
                <a:gd name="connsiteY4612" fmla="*/ 2196690 h 6072780"/>
                <a:gd name="connsiteX4613" fmla="*/ 246052 w 12117871"/>
                <a:gd name="connsiteY4613" fmla="*/ 2187868 h 6072780"/>
                <a:gd name="connsiteX4614" fmla="*/ 262859 w 12117871"/>
                <a:gd name="connsiteY4614" fmla="*/ 2176765 h 6072780"/>
                <a:gd name="connsiteX4615" fmla="*/ 87099 w 12117871"/>
                <a:gd name="connsiteY4615" fmla="*/ 2176765 h 6072780"/>
                <a:gd name="connsiteX4616" fmla="*/ 158266 w 12117871"/>
                <a:gd name="connsiteY4616" fmla="*/ 2287352 h 6072780"/>
                <a:gd name="connsiteX4617" fmla="*/ 138180 w 12117871"/>
                <a:gd name="connsiteY4617" fmla="*/ 2370932 h 6072780"/>
                <a:gd name="connsiteX4618" fmla="*/ 81984 w 12117871"/>
                <a:gd name="connsiteY4618" fmla="*/ 2399745 h 6072780"/>
                <a:gd name="connsiteX4619" fmla="*/ 29398 w 12117871"/>
                <a:gd name="connsiteY4619" fmla="*/ 2372211 h 6072780"/>
                <a:gd name="connsiteX4620" fmla="*/ 10515 w 12117871"/>
                <a:gd name="connsiteY4620" fmla="*/ 2292619 h 6072780"/>
                <a:gd name="connsiteX4621" fmla="*/ 30225 w 12117871"/>
                <a:gd name="connsiteY4621" fmla="*/ 2206104 h 6072780"/>
                <a:gd name="connsiteX4622" fmla="*/ 87099 w 12117871"/>
                <a:gd name="connsiteY4622" fmla="*/ 2176765 h 6072780"/>
                <a:gd name="connsiteX4623" fmla="*/ 11895120 w 12117871"/>
                <a:gd name="connsiteY4623" fmla="*/ 1870182 h 6072780"/>
                <a:gd name="connsiteX4624" fmla="*/ 11855850 w 12117871"/>
                <a:gd name="connsiteY4624" fmla="*/ 1956697 h 6072780"/>
                <a:gd name="connsiteX4625" fmla="*/ 11894368 w 12117871"/>
                <a:gd name="connsiteY4625" fmla="*/ 2037642 h 6072780"/>
                <a:gd name="connsiteX4626" fmla="*/ 11932283 w 12117871"/>
                <a:gd name="connsiteY4626" fmla="*/ 1955343 h 6072780"/>
                <a:gd name="connsiteX4627" fmla="*/ 11895120 w 12117871"/>
                <a:gd name="connsiteY4627" fmla="*/ 1870182 h 6072780"/>
                <a:gd name="connsiteX4628" fmla="*/ 11188558 w 12117871"/>
                <a:gd name="connsiteY4628" fmla="*/ 1870182 h 6072780"/>
                <a:gd name="connsiteX4629" fmla="*/ 11149288 w 12117871"/>
                <a:gd name="connsiteY4629" fmla="*/ 1956697 h 6072780"/>
                <a:gd name="connsiteX4630" fmla="*/ 11187806 w 12117871"/>
                <a:gd name="connsiteY4630" fmla="*/ 2037642 h 6072780"/>
                <a:gd name="connsiteX4631" fmla="*/ 11225721 w 12117871"/>
                <a:gd name="connsiteY4631" fmla="*/ 1955343 h 6072780"/>
                <a:gd name="connsiteX4632" fmla="*/ 11188558 w 12117871"/>
                <a:gd name="connsiteY4632" fmla="*/ 1870182 h 6072780"/>
                <a:gd name="connsiteX4633" fmla="*/ 9941039 w 12117871"/>
                <a:gd name="connsiteY4633" fmla="*/ 1870182 h 6072780"/>
                <a:gd name="connsiteX4634" fmla="*/ 9901769 w 12117871"/>
                <a:gd name="connsiteY4634" fmla="*/ 1956697 h 6072780"/>
                <a:gd name="connsiteX4635" fmla="*/ 9940287 w 12117871"/>
                <a:gd name="connsiteY4635" fmla="*/ 2037642 h 6072780"/>
                <a:gd name="connsiteX4636" fmla="*/ 9978202 w 12117871"/>
                <a:gd name="connsiteY4636" fmla="*/ 1955343 h 6072780"/>
                <a:gd name="connsiteX4637" fmla="*/ 9941039 w 12117871"/>
                <a:gd name="connsiteY4637" fmla="*/ 1870182 h 6072780"/>
                <a:gd name="connsiteX4638" fmla="*/ 9721595 w 12117871"/>
                <a:gd name="connsiteY4638" fmla="*/ 1870182 h 6072780"/>
                <a:gd name="connsiteX4639" fmla="*/ 9682325 w 12117871"/>
                <a:gd name="connsiteY4639" fmla="*/ 1956697 h 6072780"/>
                <a:gd name="connsiteX4640" fmla="*/ 9720843 w 12117871"/>
                <a:gd name="connsiteY4640" fmla="*/ 2037642 h 6072780"/>
                <a:gd name="connsiteX4641" fmla="*/ 9758758 w 12117871"/>
                <a:gd name="connsiteY4641" fmla="*/ 1955343 h 6072780"/>
                <a:gd name="connsiteX4642" fmla="*/ 9721595 w 12117871"/>
                <a:gd name="connsiteY4642" fmla="*/ 1870182 h 6072780"/>
                <a:gd name="connsiteX4643" fmla="*/ 6366950 w 12117871"/>
                <a:gd name="connsiteY4643" fmla="*/ 1870182 h 6072780"/>
                <a:gd name="connsiteX4644" fmla="*/ 6327680 w 12117871"/>
                <a:gd name="connsiteY4644" fmla="*/ 1956697 h 6072780"/>
                <a:gd name="connsiteX4645" fmla="*/ 6366198 w 12117871"/>
                <a:gd name="connsiteY4645" fmla="*/ 2037642 h 6072780"/>
                <a:gd name="connsiteX4646" fmla="*/ 6404113 w 12117871"/>
                <a:gd name="connsiteY4646" fmla="*/ 1955343 h 6072780"/>
                <a:gd name="connsiteX4647" fmla="*/ 6366950 w 12117871"/>
                <a:gd name="connsiteY4647" fmla="*/ 1870182 h 6072780"/>
                <a:gd name="connsiteX4648" fmla="*/ 5831864 w 12117871"/>
                <a:gd name="connsiteY4648" fmla="*/ 1870182 h 6072780"/>
                <a:gd name="connsiteX4649" fmla="*/ 5792595 w 12117871"/>
                <a:gd name="connsiteY4649" fmla="*/ 1956697 h 6072780"/>
                <a:gd name="connsiteX4650" fmla="*/ 5831113 w 12117871"/>
                <a:gd name="connsiteY4650" fmla="*/ 2037642 h 6072780"/>
                <a:gd name="connsiteX4651" fmla="*/ 5869027 w 12117871"/>
                <a:gd name="connsiteY4651" fmla="*/ 1955343 h 6072780"/>
                <a:gd name="connsiteX4652" fmla="*/ 5831864 w 12117871"/>
                <a:gd name="connsiteY4652" fmla="*/ 1870182 h 6072780"/>
                <a:gd name="connsiteX4653" fmla="*/ 5134215 w 12117871"/>
                <a:gd name="connsiteY4653" fmla="*/ 1870182 h 6072780"/>
                <a:gd name="connsiteX4654" fmla="*/ 5094945 w 12117871"/>
                <a:gd name="connsiteY4654" fmla="*/ 1956697 h 6072780"/>
                <a:gd name="connsiteX4655" fmla="*/ 5133463 w 12117871"/>
                <a:gd name="connsiteY4655" fmla="*/ 2037642 h 6072780"/>
                <a:gd name="connsiteX4656" fmla="*/ 5171378 w 12117871"/>
                <a:gd name="connsiteY4656" fmla="*/ 1955343 h 6072780"/>
                <a:gd name="connsiteX4657" fmla="*/ 5134215 w 12117871"/>
                <a:gd name="connsiteY4657" fmla="*/ 1870182 h 6072780"/>
                <a:gd name="connsiteX4658" fmla="*/ 3882478 w 12117871"/>
                <a:gd name="connsiteY4658" fmla="*/ 1870182 h 6072780"/>
                <a:gd name="connsiteX4659" fmla="*/ 3843208 w 12117871"/>
                <a:gd name="connsiteY4659" fmla="*/ 1956697 h 6072780"/>
                <a:gd name="connsiteX4660" fmla="*/ 3881726 w 12117871"/>
                <a:gd name="connsiteY4660" fmla="*/ 2037642 h 6072780"/>
                <a:gd name="connsiteX4661" fmla="*/ 3919642 w 12117871"/>
                <a:gd name="connsiteY4661" fmla="*/ 1955343 h 6072780"/>
                <a:gd name="connsiteX4662" fmla="*/ 3882478 w 12117871"/>
                <a:gd name="connsiteY4662" fmla="*/ 1870182 h 6072780"/>
                <a:gd name="connsiteX4663" fmla="*/ 3657815 w 12117871"/>
                <a:gd name="connsiteY4663" fmla="*/ 1870182 h 6072780"/>
                <a:gd name="connsiteX4664" fmla="*/ 3618545 w 12117871"/>
                <a:gd name="connsiteY4664" fmla="*/ 1956697 h 6072780"/>
                <a:gd name="connsiteX4665" fmla="*/ 3657061 w 12117871"/>
                <a:gd name="connsiteY4665" fmla="*/ 2037642 h 6072780"/>
                <a:gd name="connsiteX4666" fmla="*/ 3694977 w 12117871"/>
                <a:gd name="connsiteY4666" fmla="*/ 1955343 h 6072780"/>
                <a:gd name="connsiteX4667" fmla="*/ 3657815 w 12117871"/>
                <a:gd name="connsiteY4667" fmla="*/ 1870182 h 6072780"/>
                <a:gd name="connsiteX4668" fmla="*/ 295699 w 12117871"/>
                <a:gd name="connsiteY4668" fmla="*/ 1870182 h 6072780"/>
                <a:gd name="connsiteX4669" fmla="*/ 256429 w 12117871"/>
                <a:gd name="connsiteY4669" fmla="*/ 1956697 h 6072780"/>
                <a:gd name="connsiteX4670" fmla="*/ 294947 w 12117871"/>
                <a:gd name="connsiteY4670" fmla="*/ 2037642 h 6072780"/>
                <a:gd name="connsiteX4671" fmla="*/ 332862 w 12117871"/>
                <a:gd name="connsiteY4671" fmla="*/ 1955343 h 6072780"/>
                <a:gd name="connsiteX4672" fmla="*/ 295699 w 12117871"/>
                <a:gd name="connsiteY4672" fmla="*/ 1870182 h 6072780"/>
                <a:gd name="connsiteX4673" fmla="*/ 12088449 w 12117871"/>
                <a:gd name="connsiteY4673" fmla="*/ 1842348 h 6072780"/>
                <a:gd name="connsiteX4674" fmla="*/ 12103355 w 12117871"/>
                <a:gd name="connsiteY4674" fmla="*/ 1842348 h 6072780"/>
                <a:gd name="connsiteX4675" fmla="*/ 12103355 w 12117871"/>
                <a:gd name="connsiteY4675" fmla="*/ 2065327 h 6072780"/>
                <a:gd name="connsiteX4676" fmla="*/ 12068067 w 12117871"/>
                <a:gd name="connsiteY4676" fmla="*/ 2065327 h 6072780"/>
                <a:gd name="connsiteX4677" fmla="*/ 12068067 w 12117871"/>
                <a:gd name="connsiteY4677" fmla="*/ 1885544 h 6072780"/>
                <a:gd name="connsiteX4678" fmla="*/ 12047458 w 12117871"/>
                <a:gd name="connsiteY4678" fmla="*/ 1897179 h 6072780"/>
                <a:gd name="connsiteX4679" fmla="*/ 12022285 w 12117871"/>
                <a:gd name="connsiteY4679" fmla="*/ 1905622 h 6072780"/>
                <a:gd name="connsiteX4680" fmla="*/ 12022285 w 12117871"/>
                <a:gd name="connsiteY4680" fmla="*/ 1875506 h 6072780"/>
                <a:gd name="connsiteX4681" fmla="*/ 12039320 w 12117871"/>
                <a:gd name="connsiteY4681" fmla="*/ 1869422 h 6072780"/>
                <a:gd name="connsiteX4682" fmla="*/ 12055519 w 12117871"/>
                <a:gd name="connsiteY4682" fmla="*/ 1862273 h 6072780"/>
                <a:gd name="connsiteX4683" fmla="*/ 12071642 w 12117871"/>
                <a:gd name="connsiteY4683" fmla="*/ 1853451 h 6072780"/>
                <a:gd name="connsiteX4684" fmla="*/ 12088449 w 12117871"/>
                <a:gd name="connsiteY4684" fmla="*/ 1842348 h 6072780"/>
                <a:gd name="connsiteX4685" fmla="*/ 11896775 w 12117871"/>
                <a:gd name="connsiteY4685" fmla="*/ 1842348 h 6072780"/>
                <a:gd name="connsiteX4686" fmla="*/ 11967942 w 12117871"/>
                <a:gd name="connsiteY4686" fmla="*/ 1952935 h 6072780"/>
                <a:gd name="connsiteX4687" fmla="*/ 11947856 w 12117871"/>
                <a:gd name="connsiteY4687" fmla="*/ 2036514 h 6072780"/>
                <a:gd name="connsiteX4688" fmla="*/ 11891659 w 12117871"/>
                <a:gd name="connsiteY4688" fmla="*/ 2065327 h 6072780"/>
                <a:gd name="connsiteX4689" fmla="*/ 11839074 w 12117871"/>
                <a:gd name="connsiteY4689" fmla="*/ 2037793 h 6072780"/>
                <a:gd name="connsiteX4690" fmla="*/ 11820191 w 12117871"/>
                <a:gd name="connsiteY4690" fmla="*/ 1958202 h 6072780"/>
                <a:gd name="connsiteX4691" fmla="*/ 11839901 w 12117871"/>
                <a:gd name="connsiteY4691" fmla="*/ 1871686 h 6072780"/>
                <a:gd name="connsiteX4692" fmla="*/ 11896775 w 12117871"/>
                <a:gd name="connsiteY4692" fmla="*/ 1842348 h 6072780"/>
                <a:gd name="connsiteX4693" fmla="*/ 11190213 w 12117871"/>
                <a:gd name="connsiteY4693" fmla="*/ 1842348 h 6072780"/>
                <a:gd name="connsiteX4694" fmla="*/ 11261380 w 12117871"/>
                <a:gd name="connsiteY4694" fmla="*/ 1952935 h 6072780"/>
                <a:gd name="connsiteX4695" fmla="*/ 11241294 w 12117871"/>
                <a:gd name="connsiteY4695" fmla="*/ 2036514 h 6072780"/>
                <a:gd name="connsiteX4696" fmla="*/ 11185097 w 12117871"/>
                <a:gd name="connsiteY4696" fmla="*/ 2065327 h 6072780"/>
                <a:gd name="connsiteX4697" fmla="*/ 11132512 w 12117871"/>
                <a:gd name="connsiteY4697" fmla="*/ 2037793 h 6072780"/>
                <a:gd name="connsiteX4698" fmla="*/ 11113629 w 12117871"/>
                <a:gd name="connsiteY4698" fmla="*/ 1958202 h 6072780"/>
                <a:gd name="connsiteX4699" fmla="*/ 11133339 w 12117871"/>
                <a:gd name="connsiteY4699" fmla="*/ 1871686 h 6072780"/>
                <a:gd name="connsiteX4700" fmla="*/ 11190213 w 12117871"/>
                <a:gd name="connsiteY4700" fmla="*/ 1842348 h 6072780"/>
                <a:gd name="connsiteX4701" fmla="*/ 10816495 w 12117871"/>
                <a:gd name="connsiteY4701" fmla="*/ 1842348 h 6072780"/>
                <a:gd name="connsiteX4702" fmla="*/ 10831401 w 12117871"/>
                <a:gd name="connsiteY4702" fmla="*/ 1842348 h 6072780"/>
                <a:gd name="connsiteX4703" fmla="*/ 10831401 w 12117871"/>
                <a:gd name="connsiteY4703" fmla="*/ 2065327 h 6072780"/>
                <a:gd name="connsiteX4704" fmla="*/ 10796113 w 12117871"/>
                <a:gd name="connsiteY4704" fmla="*/ 2065327 h 6072780"/>
                <a:gd name="connsiteX4705" fmla="*/ 10796113 w 12117871"/>
                <a:gd name="connsiteY4705" fmla="*/ 1885544 h 6072780"/>
                <a:gd name="connsiteX4706" fmla="*/ 10775504 w 12117871"/>
                <a:gd name="connsiteY4706" fmla="*/ 1897179 h 6072780"/>
                <a:gd name="connsiteX4707" fmla="*/ 10750331 w 12117871"/>
                <a:gd name="connsiteY4707" fmla="*/ 1905622 h 6072780"/>
                <a:gd name="connsiteX4708" fmla="*/ 10750331 w 12117871"/>
                <a:gd name="connsiteY4708" fmla="*/ 1875506 h 6072780"/>
                <a:gd name="connsiteX4709" fmla="*/ 10767366 w 12117871"/>
                <a:gd name="connsiteY4709" fmla="*/ 1869422 h 6072780"/>
                <a:gd name="connsiteX4710" fmla="*/ 10783565 w 12117871"/>
                <a:gd name="connsiteY4710" fmla="*/ 1862273 h 6072780"/>
                <a:gd name="connsiteX4711" fmla="*/ 10799688 w 12117871"/>
                <a:gd name="connsiteY4711" fmla="*/ 1853451 h 6072780"/>
                <a:gd name="connsiteX4712" fmla="*/ 10816495 w 12117871"/>
                <a:gd name="connsiteY4712" fmla="*/ 1842348 h 6072780"/>
                <a:gd name="connsiteX4713" fmla="*/ 10444287 w 12117871"/>
                <a:gd name="connsiteY4713" fmla="*/ 1842348 h 6072780"/>
                <a:gd name="connsiteX4714" fmla="*/ 10459193 w 12117871"/>
                <a:gd name="connsiteY4714" fmla="*/ 1842348 h 6072780"/>
                <a:gd name="connsiteX4715" fmla="*/ 10459193 w 12117871"/>
                <a:gd name="connsiteY4715" fmla="*/ 2065327 h 6072780"/>
                <a:gd name="connsiteX4716" fmla="*/ 10423905 w 12117871"/>
                <a:gd name="connsiteY4716" fmla="*/ 2065327 h 6072780"/>
                <a:gd name="connsiteX4717" fmla="*/ 10423905 w 12117871"/>
                <a:gd name="connsiteY4717" fmla="*/ 1885544 h 6072780"/>
                <a:gd name="connsiteX4718" fmla="*/ 10403296 w 12117871"/>
                <a:gd name="connsiteY4718" fmla="*/ 1897179 h 6072780"/>
                <a:gd name="connsiteX4719" fmla="*/ 10378123 w 12117871"/>
                <a:gd name="connsiteY4719" fmla="*/ 1905622 h 6072780"/>
                <a:gd name="connsiteX4720" fmla="*/ 10378123 w 12117871"/>
                <a:gd name="connsiteY4720" fmla="*/ 1875506 h 6072780"/>
                <a:gd name="connsiteX4721" fmla="*/ 10395158 w 12117871"/>
                <a:gd name="connsiteY4721" fmla="*/ 1869422 h 6072780"/>
                <a:gd name="connsiteX4722" fmla="*/ 10411357 w 12117871"/>
                <a:gd name="connsiteY4722" fmla="*/ 1862273 h 6072780"/>
                <a:gd name="connsiteX4723" fmla="*/ 10427480 w 12117871"/>
                <a:gd name="connsiteY4723" fmla="*/ 1853451 h 6072780"/>
                <a:gd name="connsiteX4724" fmla="*/ 10444287 w 12117871"/>
                <a:gd name="connsiteY4724" fmla="*/ 1842348 h 6072780"/>
                <a:gd name="connsiteX4725" fmla="*/ 10157071 w 12117871"/>
                <a:gd name="connsiteY4725" fmla="*/ 1842348 h 6072780"/>
                <a:gd name="connsiteX4726" fmla="*/ 10171977 w 12117871"/>
                <a:gd name="connsiteY4726" fmla="*/ 1842348 h 6072780"/>
                <a:gd name="connsiteX4727" fmla="*/ 10171977 w 12117871"/>
                <a:gd name="connsiteY4727" fmla="*/ 2065327 h 6072780"/>
                <a:gd name="connsiteX4728" fmla="*/ 10136689 w 12117871"/>
                <a:gd name="connsiteY4728" fmla="*/ 2065327 h 6072780"/>
                <a:gd name="connsiteX4729" fmla="*/ 10136689 w 12117871"/>
                <a:gd name="connsiteY4729" fmla="*/ 1885544 h 6072780"/>
                <a:gd name="connsiteX4730" fmla="*/ 10116080 w 12117871"/>
                <a:gd name="connsiteY4730" fmla="*/ 1897179 h 6072780"/>
                <a:gd name="connsiteX4731" fmla="*/ 10090907 w 12117871"/>
                <a:gd name="connsiteY4731" fmla="*/ 1905622 h 6072780"/>
                <a:gd name="connsiteX4732" fmla="*/ 10090907 w 12117871"/>
                <a:gd name="connsiteY4732" fmla="*/ 1875506 h 6072780"/>
                <a:gd name="connsiteX4733" fmla="*/ 10107942 w 12117871"/>
                <a:gd name="connsiteY4733" fmla="*/ 1869422 h 6072780"/>
                <a:gd name="connsiteX4734" fmla="*/ 10124141 w 12117871"/>
                <a:gd name="connsiteY4734" fmla="*/ 1862273 h 6072780"/>
                <a:gd name="connsiteX4735" fmla="*/ 10140264 w 12117871"/>
                <a:gd name="connsiteY4735" fmla="*/ 1853451 h 6072780"/>
                <a:gd name="connsiteX4736" fmla="*/ 10157071 w 12117871"/>
                <a:gd name="connsiteY4736" fmla="*/ 1842348 h 6072780"/>
                <a:gd name="connsiteX4737" fmla="*/ 9942694 w 12117871"/>
                <a:gd name="connsiteY4737" fmla="*/ 1842348 h 6072780"/>
                <a:gd name="connsiteX4738" fmla="*/ 10013861 w 12117871"/>
                <a:gd name="connsiteY4738" fmla="*/ 1952935 h 6072780"/>
                <a:gd name="connsiteX4739" fmla="*/ 9993775 w 12117871"/>
                <a:gd name="connsiteY4739" fmla="*/ 2036514 h 6072780"/>
                <a:gd name="connsiteX4740" fmla="*/ 9937578 w 12117871"/>
                <a:gd name="connsiteY4740" fmla="*/ 2065327 h 6072780"/>
                <a:gd name="connsiteX4741" fmla="*/ 9884993 w 12117871"/>
                <a:gd name="connsiteY4741" fmla="*/ 2037793 h 6072780"/>
                <a:gd name="connsiteX4742" fmla="*/ 9866110 w 12117871"/>
                <a:gd name="connsiteY4742" fmla="*/ 1958202 h 6072780"/>
                <a:gd name="connsiteX4743" fmla="*/ 9885820 w 12117871"/>
                <a:gd name="connsiteY4743" fmla="*/ 1871686 h 6072780"/>
                <a:gd name="connsiteX4744" fmla="*/ 9942694 w 12117871"/>
                <a:gd name="connsiteY4744" fmla="*/ 1842348 h 6072780"/>
                <a:gd name="connsiteX4745" fmla="*/ 9723250 w 12117871"/>
                <a:gd name="connsiteY4745" fmla="*/ 1842348 h 6072780"/>
                <a:gd name="connsiteX4746" fmla="*/ 9794417 w 12117871"/>
                <a:gd name="connsiteY4746" fmla="*/ 1952935 h 6072780"/>
                <a:gd name="connsiteX4747" fmla="*/ 9774331 w 12117871"/>
                <a:gd name="connsiteY4747" fmla="*/ 2036514 h 6072780"/>
                <a:gd name="connsiteX4748" fmla="*/ 9718134 w 12117871"/>
                <a:gd name="connsiteY4748" fmla="*/ 2065327 h 6072780"/>
                <a:gd name="connsiteX4749" fmla="*/ 9665549 w 12117871"/>
                <a:gd name="connsiteY4749" fmla="*/ 2037793 h 6072780"/>
                <a:gd name="connsiteX4750" fmla="*/ 9646666 w 12117871"/>
                <a:gd name="connsiteY4750" fmla="*/ 1958202 h 6072780"/>
                <a:gd name="connsiteX4751" fmla="*/ 9666376 w 12117871"/>
                <a:gd name="connsiteY4751" fmla="*/ 1871686 h 6072780"/>
                <a:gd name="connsiteX4752" fmla="*/ 9723250 w 12117871"/>
                <a:gd name="connsiteY4752" fmla="*/ 1842348 h 6072780"/>
                <a:gd name="connsiteX4753" fmla="*/ 9556263 w 12117871"/>
                <a:gd name="connsiteY4753" fmla="*/ 1842348 h 6072780"/>
                <a:gd name="connsiteX4754" fmla="*/ 9571169 w 12117871"/>
                <a:gd name="connsiteY4754" fmla="*/ 1842348 h 6072780"/>
                <a:gd name="connsiteX4755" fmla="*/ 9571169 w 12117871"/>
                <a:gd name="connsiteY4755" fmla="*/ 2065327 h 6072780"/>
                <a:gd name="connsiteX4756" fmla="*/ 9535881 w 12117871"/>
                <a:gd name="connsiteY4756" fmla="*/ 2065327 h 6072780"/>
                <a:gd name="connsiteX4757" fmla="*/ 9535881 w 12117871"/>
                <a:gd name="connsiteY4757" fmla="*/ 1885544 h 6072780"/>
                <a:gd name="connsiteX4758" fmla="*/ 9515272 w 12117871"/>
                <a:gd name="connsiteY4758" fmla="*/ 1897179 h 6072780"/>
                <a:gd name="connsiteX4759" fmla="*/ 9490099 w 12117871"/>
                <a:gd name="connsiteY4759" fmla="*/ 1905622 h 6072780"/>
                <a:gd name="connsiteX4760" fmla="*/ 9490099 w 12117871"/>
                <a:gd name="connsiteY4760" fmla="*/ 1875506 h 6072780"/>
                <a:gd name="connsiteX4761" fmla="*/ 9507134 w 12117871"/>
                <a:gd name="connsiteY4761" fmla="*/ 1869422 h 6072780"/>
                <a:gd name="connsiteX4762" fmla="*/ 9523333 w 12117871"/>
                <a:gd name="connsiteY4762" fmla="*/ 1862273 h 6072780"/>
                <a:gd name="connsiteX4763" fmla="*/ 9539456 w 12117871"/>
                <a:gd name="connsiteY4763" fmla="*/ 1853451 h 6072780"/>
                <a:gd name="connsiteX4764" fmla="*/ 9556263 w 12117871"/>
                <a:gd name="connsiteY4764" fmla="*/ 1842348 h 6072780"/>
                <a:gd name="connsiteX4765" fmla="*/ 9269047 w 12117871"/>
                <a:gd name="connsiteY4765" fmla="*/ 1842348 h 6072780"/>
                <a:gd name="connsiteX4766" fmla="*/ 9283953 w 12117871"/>
                <a:gd name="connsiteY4766" fmla="*/ 1842348 h 6072780"/>
                <a:gd name="connsiteX4767" fmla="*/ 9283953 w 12117871"/>
                <a:gd name="connsiteY4767" fmla="*/ 2065327 h 6072780"/>
                <a:gd name="connsiteX4768" fmla="*/ 9248665 w 12117871"/>
                <a:gd name="connsiteY4768" fmla="*/ 2065327 h 6072780"/>
                <a:gd name="connsiteX4769" fmla="*/ 9248665 w 12117871"/>
                <a:gd name="connsiteY4769" fmla="*/ 1885544 h 6072780"/>
                <a:gd name="connsiteX4770" fmla="*/ 9228056 w 12117871"/>
                <a:gd name="connsiteY4770" fmla="*/ 1897179 h 6072780"/>
                <a:gd name="connsiteX4771" fmla="*/ 9202883 w 12117871"/>
                <a:gd name="connsiteY4771" fmla="*/ 1905622 h 6072780"/>
                <a:gd name="connsiteX4772" fmla="*/ 9202883 w 12117871"/>
                <a:gd name="connsiteY4772" fmla="*/ 1875506 h 6072780"/>
                <a:gd name="connsiteX4773" fmla="*/ 9219918 w 12117871"/>
                <a:gd name="connsiteY4773" fmla="*/ 1869422 h 6072780"/>
                <a:gd name="connsiteX4774" fmla="*/ 9236117 w 12117871"/>
                <a:gd name="connsiteY4774" fmla="*/ 1862273 h 6072780"/>
                <a:gd name="connsiteX4775" fmla="*/ 9252240 w 12117871"/>
                <a:gd name="connsiteY4775" fmla="*/ 1853451 h 6072780"/>
                <a:gd name="connsiteX4776" fmla="*/ 9269047 w 12117871"/>
                <a:gd name="connsiteY4776" fmla="*/ 1842348 h 6072780"/>
                <a:gd name="connsiteX4777" fmla="*/ 8879256 w 12117871"/>
                <a:gd name="connsiteY4777" fmla="*/ 1842348 h 6072780"/>
                <a:gd name="connsiteX4778" fmla="*/ 8894162 w 12117871"/>
                <a:gd name="connsiteY4778" fmla="*/ 1842348 h 6072780"/>
                <a:gd name="connsiteX4779" fmla="*/ 8894162 w 12117871"/>
                <a:gd name="connsiteY4779" fmla="*/ 2065327 h 6072780"/>
                <a:gd name="connsiteX4780" fmla="*/ 8858874 w 12117871"/>
                <a:gd name="connsiteY4780" fmla="*/ 2065327 h 6072780"/>
                <a:gd name="connsiteX4781" fmla="*/ 8858874 w 12117871"/>
                <a:gd name="connsiteY4781" fmla="*/ 1885544 h 6072780"/>
                <a:gd name="connsiteX4782" fmla="*/ 8838265 w 12117871"/>
                <a:gd name="connsiteY4782" fmla="*/ 1897179 h 6072780"/>
                <a:gd name="connsiteX4783" fmla="*/ 8813092 w 12117871"/>
                <a:gd name="connsiteY4783" fmla="*/ 1905622 h 6072780"/>
                <a:gd name="connsiteX4784" fmla="*/ 8813092 w 12117871"/>
                <a:gd name="connsiteY4784" fmla="*/ 1875506 h 6072780"/>
                <a:gd name="connsiteX4785" fmla="*/ 8830127 w 12117871"/>
                <a:gd name="connsiteY4785" fmla="*/ 1869422 h 6072780"/>
                <a:gd name="connsiteX4786" fmla="*/ 8846326 w 12117871"/>
                <a:gd name="connsiteY4786" fmla="*/ 1862273 h 6072780"/>
                <a:gd name="connsiteX4787" fmla="*/ 8862449 w 12117871"/>
                <a:gd name="connsiteY4787" fmla="*/ 1853451 h 6072780"/>
                <a:gd name="connsiteX4788" fmla="*/ 8879256 w 12117871"/>
                <a:gd name="connsiteY4788" fmla="*/ 1842348 h 6072780"/>
                <a:gd name="connsiteX4789" fmla="*/ 8735648 w 12117871"/>
                <a:gd name="connsiteY4789" fmla="*/ 1842348 h 6072780"/>
                <a:gd name="connsiteX4790" fmla="*/ 8750554 w 12117871"/>
                <a:gd name="connsiteY4790" fmla="*/ 1842348 h 6072780"/>
                <a:gd name="connsiteX4791" fmla="*/ 8750554 w 12117871"/>
                <a:gd name="connsiteY4791" fmla="*/ 2065327 h 6072780"/>
                <a:gd name="connsiteX4792" fmla="*/ 8715266 w 12117871"/>
                <a:gd name="connsiteY4792" fmla="*/ 2065327 h 6072780"/>
                <a:gd name="connsiteX4793" fmla="*/ 8715266 w 12117871"/>
                <a:gd name="connsiteY4793" fmla="*/ 1885544 h 6072780"/>
                <a:gd name="connsiteX4794" fmla="*/ 8694657 w 12117871"/>
                <a:gd name="connsiteY4794" fmla="*/ 1897179 h 6072780"/>
                <a:gd name="connsiteX4795" fmla="*/ 8669484 w 12117871"/>
                <a:gd name="connsiteY4795" fmla="*/ 1905622 h 6072780"/>
                <a:gd name="connsiteX4796" fmla="*/ 8669484 w 12117871"/>
                <a:gd name="connsiteY4796" fmla="*/ 1875506 h 6072780"/>
                <a:gd name="connsiteX4797" fmla="*/ 8686519 w 12117871"/>
                <a:gd name="connsiteY4797" fmla="*/ 1869422 h 6072780"/>
                <a:gd name="connsiteX4798" fmla="*/ 8702718 w 12117871"/>
                <a:gd name="connsiteY4798" fmla="*/ 1862273 h 6072780"/>
                <a:gd name="connsiteX4799" fmla="*/ 8718841 w 12117871"/>
                <a:gd name="connsiteY4799" fmla="*/ 1853451 h 6072780"/>
                <a:gd name="connsiteX4800" fmla="*/ 8735648 w 12117871"/>
                <a:gd name="connsiteY4800" fmla="*/ 1842348 h 6072780"/>
                <a:gd name="connsiteX4801" fmla="*/ 8592040 w 12117871"/>
                <a:gd name="connsiteY4801" fmla="*/ 1842348 h 6072780"/>
                <a:gd name="connsiteX4802" fmla="*/ 8606946 w 12117871"/>
                <a:gd name="connsiteY4802" fmla="*/ 1842348 h 6072780"/>
                <a:gd name="connsiteX4803" fmla="*/ 8606946 w 12117871"/>
                <a:gd name="connsiteY4803" fmla="*/ 2065327 h 6072780"/>
                <a:gd name="connsiteX4804" fmla="*/ 8571658 w 12117871"/>
                <a:gd name="connsiteY4804" fmla="*/ 2065327 h 6072780"/>
                <a:gd name="connsiteX4805" fmla="*/ 8571658 w 12117871"/>
                <a:gd name="connsiteY4805" fmla="*/ 1885544 h 6072780"/>
                <a:gd name="connsiteX4806" fmla="*/ 8551049 w 12117871"/>
                <a:gd name="connsiteY4806" fmla="*/ 1897179 h 6072780"/>
                <a:gd name="connsiteX4807" fmla="*/ 8525876 w 12117871"/>
                <a:gd name="connsiteY4807" fmla="*/ 1905622 h 6072780"/>
                <a:gd name="connsiteX4808" fmla="*/ 8525876 w 12117871"/>
                <a:gd name="connsiteY4808" fmla="*/ 1875506 h 6072780"/>
                <a:gd name="connsiteX4809" fmla="*/ 8542911 w 12117871"/>
                <a:gd name="connsiteY4809" fmla="*/ 1869422 h 6072780"/>
                <a:gd name="connsiteX4810" fmla="*/ 8559110 w 12117871"/>
                <a:gd name="connsiteY4810" fmla="*/ 1862273 h 6072780"/>
                <a:gd name="connsiteX4811" fmla="*/ 8575233 w 12117871"/>
                <a:gd name="connsiteY4811" fmla="*/ 1853451 h 6072780"/>
                <a:gd name="connsiteX4812" fmla="*/ 8592040 w 12117871"/>
                <a:gd name="connsiteY4812" fmla="*/ 1842348 h 6072780"/>
                <a:gd name="connsiteX4813" fmla="*/ 7830039 w 12117871"/>
                <a:gd name="connsiteY4813" fmla="*/ 1842348 h 6072780"/>
                <a:gd name="connsiteX4814" fmla="*/ 7844946 w 12117871"/>
                <a:gd name="connsiteY4814" fmla="*/ 1842348 h 6072780"/>
                <a:gd name="connsiteX4815" fmla="*/ 7844946 w 12117871"/>
                <a:gd name="connsiteY4815" fmla="*/ 2065327 h 6072780"/>
                <a:gd name="connsiteX4816" fmla="*/ 7809658 w 12117871"/>
                <a:gd name="connsiteY4816" fmla="*/ 2065327 h 6072780"/>
                <a:gd name="connsiteX4817" fmla="*/ 7809658 w 12117871"/>
                <a:gd name="connsiteY4817" fmla="*/ 1885544 h 6072780"/>
                <a:gd name="connsiteX4818" fmla="*/ 7789048 w 12117871"/>
                <a:gd name="connsiteY4818" fmla="*/ 1897179 h 6072780"/>
                <a:gd name="connsiteX4819" fmla="*/ 7763876 w 12117871"/>
                <a:gd name="connsiteY4819" fmla="*/ 1905622 h 6072780"/>
                <a:gd name="connsiteX4820" fmla="*/ 7763876 w 12117871"/>
                <a:gd name="connsiteY4820" fmla="*/ 1875506 h 6072780"/>
                <a:gd name="connsiteX4821" fmla="*/ 7780911 w 12117871"/>
                <a:gd name="connsiteY4821" fmla="*/ 1869422 h 6072780"/>
                <a:gd name="connsiteX4822" fmla="*/ 7797110 w 12117871"/>
                <a:gd name="connsiteY4822" fmla="*/ 1862273 h 6072780"/>
                <a:gd name="connsiteX4823" fmla="*/ 7813232 w 12117871"/>
                <a:gd name="connsiteY4823" fmla="*/ 1853451 h 6072780"/>
                <a:gd name="connsiteX4824" fmla="*/ 7830039 w 12117871"/>
                <a:gd name="connsiteY4824" fmla="*/ 1842348 h 6072780"/>
                <a:gd name="connsiteX4825" fmla="*/ 7686431 w 12117871"/>
                <a:gd name="connsiteY4825" fmla="*/ 1842348 h 6072780"/>
                <a:gd name="connsiteX4826" fmla="*/ 7701338 w 12117871"/>
                <a:gd name="connsiteY4826" fmla="*/ 1842348 h 6072780"/>
                <a:gd name="connsiteX4827" fmla="*/ 7701338 w 12117871"/>
                <a:gd name="connsiteY4827" fmla="*/ 2065327 h 6072780"/>
                <a:gd name="connsiteX4828" fmla="*/ 7666050 w 12117871"/>
                <a:gd name="connsiteY4828" fmla="*/ 2065327 h 6072780"/>
                <a:gd name="connsiteX4829" fmla="*/ 7666050 w 12117871"/>
                <a:gd name="connsiteY4829" fmla="*/ 1885544 h 6072780"/>
                <a:gd name="connsiteX4830" fmla="*/ 7645440 w 12117871"/>
                <a:gd name="connsiteY4830" fmla="*/ 1897179 h 6072780"/>
                <a:gd name="connsiteX4831" fmla="*/ 7620268 w 12117871"/>
                <a:gd name="connsiteY4831" fmla="*/ 1905622 h 6072780"/>
                <a:gd name="connsiteX4832" fmla="*/ 7620268 w 12117871"/>
                <a:gd name="connsiteY4832" fmla="*/ 1875506 h 6072780"/>
                <a:gd name="connsiteX4833" fmla="*/ 7637303 w 12117871"/>
                <a:gd name="connsiteY4833" fmla="*/ 1869422 h 6072780"/>
                <a:gd name="connsiteX4834" fmla="*/ 7653502 w 12117871"/>
                <a:gd name="connsiteY4834" fmla="*/ 1862273 h 6072780"/>
                <a:gd name="connsiteX4835" fmla="*/ 7669624 w 12117871"/>
                <a:gd name="connsiteY4835" fmla="*/ 1853451 h 6072780"/>
                <a:gd name="connsiteX4836" fmla="*/ 7686431 w 12117871"/>
                <a:gd name="connsiteY4836" fmla="*/ 1842348 h 6072780"/>
                <a:gd name="connsiteX4837" fmla="*/ 7399215 w 12117871"/>
                <a:gd name="connsiteY4837" fmla="*/ 1842348 h 6072780"/>
                <a:gd name="connsiteX4838" fmla="*/ 7414122 w 12117871"/>
                <a:gd name="connsiteY4838" fmla="*/ 1842348 h 6072780"/>
                <a:gd name="connsiteX4839" fmla="*/ 7414122 w 12117871"/>
                <a:gd name="connsiteY4839" fmla="*/ 2065327 h 6072780"/>
                <a:gd name="connsiteX4840" fmla="*/ 7378834 w 12117871"/>
                <a:gd name="connsiteY4840" fmla="*/ 2065327 h 6072780"/>
                <a:gd name="connsiteX4841" fmla="*/ 7378834 w 12117871"/>
                <a:gd name="connsiteY4841" fmla="*/ 1885544 h 6072780"/>
                <a:gd name="connsiteX4842" fmla="*/ 7358224 w 12117871"/>
                <a:gd name="connsiteY4842" fmla="*/ 1897179 h 6072780"/>
                <a:gd name="connsiteX4843" fmla="*/ 7333052 w 12117871"/>
                <a:gd name="connsiteY4843" fmla="*/ 1905622 h 6072780"/>
                <a:gd name="connsiteX4844" fmla="*/ 7333052 w 12117871"/>
                <a:gd name="connsiteY4844" fmla="*/ 1875506 h 6072780"/>
                <a:gd name="connsiteX4845" fmla="*/ 7350087 w 12117871"/>
                <a:gd name="connsiteY4845" fmla="*/ 1869422 h 6072780"/>
                <a:gd name="connsiteX4846" fmla="*/ 7366286 w 12117871"/>
                <a:gd name="connsiteY4846" fmla="*/ 1862273 h 6072780"/>
                <a:gd name="connsiteX4847" fmla="*/ 7382408 w 12117871"/>
                <a:gd name="connsiteY4847" fmla="*/ 1853451 h 6072780"/>
                <a:gd name="connsiteX4848" fmla="*/ 7399215 w 12117871"/>
                <a:gd name="connsiteY4848" fmla="*/ 1842348 h 6072780"/>
                <a:gd name="connsiteX4849" fmla="*/ 7000631 w 12117871"/>
                <a:gd name="connsiteY4849" fmla="*/ 1842348 h 6072780"/>
                <a:gd name="connsiteX4850" fmla="*/ 7015537 w 12117871"/>
                <a:gd name="connsiteY4850" fmla="*/ 1842348 h 6072780"/>
                <a:gd name="connsiteX4851" fmla="*/ 7015537 w 12117871"/>
                <a:gd name="connsiteY4851" fmla="*/ 2065327 h 6072780"/>
                <a:gd name="connsiteX4852" fmla="*/ 6980249 w 12117871"/>
                <a:gd name="connsiteY4852" fmla="*/ 2065327 h 6072780"/>
                <a:gd name="connsiteX4853" fmla="*/ 6980249 w 12117871"/>
                <a:gd name="connsiteY4853" fmla="*/ 1885544 h 6072780"/>
                <a:gd name="connsiteX4854" fmla="*/ 6959640 w 12117871"/>
                <a:gd name="connsiteY4854" fmla="*/ 1897179 h 6072780"/>
                <a:gd name="connsiteX4855" fmla="*/ 6934467 w 12117871"/>
                <a:gd name="connsiteY4855" fmla="*/ 1905622 h 6072780"/>
                <a:gd name="connsiteX4856" fmla="*/ 6934467 w 12117871"/>
                <a:gd name="connsiteY4856" fmla="*/ 1875506 h 6072780"/>
                <a:gd name="connsiteX4857" fmla="*/ 6951502 w 12117871"/>
                <a:gd name="connsiteY4857" fmla="*/ 1869422 h 6072780"/>
                <a:gd name="connsiteX4858" fmla="*/ 6967701 w 12117871"/>
                <a:gd name="connsiteY4858" fmla="*/ 1862273 h 6072780"/>
                <a:gd name="connsiteX4859" fmla="*/ 6983824 w 12117871"/>
                <a:gd name="connsiteY4859" fmla="*/ 1853451 h 6072780"/>
                <a:gd name="connsiteX4860" fmla="*/ 7000631 w 12117871"/>
                <a:gd name="connsiteY4860" fmla="*/ 1842348 h 6072780"/>
                <a:gd name="connsiteX4861" fmla="*/ 6857023 w 12117871"/>
                <a:gd name="connsiteY4861" fmla="*/ 1842348 h 6072780"/>
                <a:gd name="connsiteX4862" fmla="*/ 6871929 w 12117871"/>
                <a:gd name="connsiteY4862" fmla="*/ 1842348 h 6072780"/>
                <a:gd name="connsiteX4863" fmla="*/ 6871929 w 12117871"/>
                <a:gd name="connsiteY4863" fmla="*/ 2065327 h 6072780"/>
                <a:gd name="connsiteX4864" fmla="*/ 6836641 w 12117871"/>
                <a:gd name="connsiteY4864" fmla="*/ 2065327 h 6072780"/>
                <a:gd name="connsiteX4865" fmla="*/ 6836641 w 12117871"/>
                <a:gd name="connsiteY4865" fmla="*/ 1885544 h 6072780"/>
                <a:gd name="connsiteX4866" fmla="*/ 6816032 w 12117871"/>
                <a:gd name="connsiteY4866" fmla="*/ 1897179 h 6072780"/>
                <a:gd name="connsiteX4867" fmla="*/ 6790859 w 12117871"/>
                <a:gd name="connsiteY4867" fmla="*/ 1905622 h 6072780"/>
                <a:gd name="connsiteX4868" fmla="*/ 6790859 w 12117871"/>
                <a:gd name="connsiteY4868" fmla="*/ 1875506 h 6072780"/>
                <a:gd name="connsiteX4869" fmla="*/ 6807894 w 12117871"/>
                <a:gd name="connsiteY4869" fmla="*/ 1869422 h 6072780"/>
                <a:gd name="connsiteX4870" fmla="*/ 6824093 w 12117871"/>
                <a:gd name="connsiteY4870" fmla="*/ 1862273 h 6072780"/>
                <a:gd name="connsiteX4871" fmla="*/ 6840216 w 12117871"/>
                <a:gd name="connsiteY4871" fmla="*/ 1853451 h 6072780"/>
                <a:gd name="connsiteX4872" fmla="*/ 6857023 w 12117871"/>
                <a:gd name="connsiteY4872" fmla="*/ 1842348 h 6072780"/>
                <a:gd name="connsiteX4873" fmla="*/ 6713415 w 12117871"/>
                <a:gd name="connsiteY4873" fmla="*/ 1842348 h 6072780"/>
                <a:gd name="connsiteX4874" fmla="*/ 6728321 w 12117871"/>
                <a:gd name="connsiteY4874" fmla="*/ 1842348 h 6072780"/>
                <a:gd name="connsiteX4875" fmla="*/ 6728321 w 12117871"/>
                <a:gd name="connsiteY4875" fmla="*/ 2065327 h 6072780"/>
                <a:gd name="connsiteX4876" fmla="*/ 6693033 w 12117871"/>
                <a:gd name="connsiteY4876" fmla="*/ 2065327 h 6072780"/>
                <a:gd name="connsiteX4877" fmla="*/ 6693033 w 12117871"/>
                <a:gd name="connsiteY4877" fmla="*/ 1885544 h 6072780"/>
                <a:gd name="connsiteX4878" fmla="*/ 6672424 w 12117871"/>
                <a:gd name="connsiteY4878" fmla="*/ 1897179 h 6072780"/>
                <a:gd name="connsiteX4879" fmla="*/ 6647251 w 12117871"/>
                <a:gd name="connsiteY4879" fmla="*/ 1905622 h 6072780"/>
                <a:gd name="connsiteX4880" fmla="*/ 6647251 w 12117871"/>
                <a:gd name="connsiteY4880" fmla="*/ 1875506 h 6072780"/>
                <a:gd name="connsiteX4881" fmla="*/ 6664286 w 12117871"/>
                <a:gd name="connsiteY4881" fmla="*/ 1869422 h 6072780"/>
                <a:gd name="connsiteX4882" fmla="*/ 6680485 w 12117871"/>
                <a:gd name="connsiteY4882" fmla="*/ 1862273 h 6072780"/>
                <a:gd name="connsiteX4883" fmla="*/ 6696608 w 12117871"/>
                <a:gd name="connsiteY4883" fmla="*/ 1853451 h 6072780"/>
                <a:gd name="connsiteX4884" fmla="*/ 6713415 w 12117871"/>
                <a:gd name="connsiteY4884" fmla="*/ 1842348 h 6072780"/>
                <a:gd name="connsiteX4885" fmla="*/ 6569807 w 12117871"/>
                <a:gd name="connsiteY4885" fmla="*/ 1842348 h 6072780"/>
                <a:gd name="connsiteX4886" fmla="*/ 6584713 w 12117871"/>
                <a:gd name="connsiteY4886" fmla="*/ 1842348 h 6072780"/>
                <a:gd name="connsiteX4887" fmla="*/ 6584713 w 12117871"/>
                <a:gd name="connsiteY4887" fmla="*/ 2065327 h 6072780"/>
                <a:gd name="connsiteX4888" fmla="*/ 6549425 w 12117871"/>
                <a:gd name="connsiteY4888" fmla="*/ 2065327 h 6072780"/>
                <a:gd name="connsiteX4889" fmla="*/ 6549425 w 12117871"/>
                <a:gd name="connsiteY4889" fmla="*/ 1885544 h 6072780"/>
                <a:gd name="connsiteX4890" fmla="*/ 6528816 w 12117871"/>
                <a:gd name="connsiteY4890" fmla="*/ 1897179 h 6072780"/>
                <a:gd name="connsiteX4891" fmla="*/ 6503643 w 12117871"/>
                <a:gd name="connsiteY4891" fmla="*/ 1905622 h 6072780"/>
                <a:gd name="connsiteX4892" fmla="*/ 6503643 w 12117871"/>
                <a:gd name="connsiteY4892" fmla="*/ 1875506 h 6072780"/>
                <a:gd name="connsiteX4893" fmla="*/ 6520678 w 12117871"/>
                <a:gd name="connsiteY4893" fmla="*/ 1869422 h 6072780"/>
                <a:gd name="connsiteX4894" fmla="*/ 6536877 w 12117871"/>
                <a:gd name="connsiteY4894" fmla="*/ 1862273 h 6072780"/>
                <a:gd name="connsiteX4895" fmla="*/ 6553000 w 12117871"/>
                <a:gd name="connsiteY4895" fmla="*/ 1853451 h 6072780"/>
                <a:gd name="connsiteX4896" fmla="*/ 6569807 w 12117871"/>
                <a:gd name="connsiteY4896" fmla="*/ 1842348 h 6072780"/>
                <a:gd name="connsiteX4897" fmla="*/ 6368605 w 12117871"/>
                <a:gd name="connsiteY4897" fmla="*/ 1842348 h 6072780"/>
                <a:gd name="connsiteX4898" fmla="*/ 6439772 w 12117871"/>
                <a:gd name="connsiteY4898" fmla="*/ 1952935 h 6072780"/>
                <a:gd name="connsiteX4899" fmla="*/ 6419686 w 12117871"/>
                <a:gd name="connsiteY4899" fmla="*/ 2036514 h 6072780"/>
                <a:gd name="connsiteX4900" fmla="*/ 6363489 w 12117871"/>
                <a:gd name="connsiteY4900" fmla="*/ 2065327 h 6072780"/>
                <a:gd name="connsiteX4901" fmla="*/ 6310904 w 12117871"/>
                <a:gd name="connsiteY4901" fmla="*/ 2037793 h 6072780"/>
                <a:gd name="connsiteX4902" fmla="*/ 6292021 w 12117871"/>
                <a:gd name="connsiteY4902" fmla="*/ 1958202 h 6072780"/>
                <a:gd name="connsiteX4903" fmla="*/ 6311731 w 12117871"/>
                <a:gd name="connsiteY4903" fmla="*/ 1871686 h 6072780"/>
                <a:gd name="connsiteX4904" fmla="*/ 6368605 w 12117871"/>
                <a:gd name="connsiteY4904" fmla="*/ 1842348 h 6072780"/>
                <a:gd name="connsiteX4905" fmla="*/ 6033478 w 12117871"/>
                <a:gd name="connsiteY4905" fmla="*/ 1842348 h 6072780"/>
                <a:gd name="connsiteX4906" fmla="*/ 6048383 w 12117871"/>
                <a:gd name="connsiteY4906" fmla="*/ 1842348 h 6072780"/>
                <a:gd name="connsiteX4907" fmla="*/ 6048383 w 12117871"/>
                <a:gd name="connsiteY4907" fmla="*/ 2065327 h 6072780"/>
                <a:gd name="connsiteX4908" fmla="*/ 6013095 w 12117871"/>
                <a:gd name="connsiteY4908" fmla="*/ 2065327 h 6072780"/>
                <a:gd name="connsiteX4909" fmla="*/ 6013095 w 12117871"/>
                <a:gd name="connsiteY4909" fmla="*/ 1885544 h 6072780"/>
                <a:gd name="connsiteX4910" fmla="*/ 5992487 w 12117871"/>
                <a:gd name="connsiteY4910" fmla="*/ 1897179 h 6072780"/>
                <a:gd name="connsiteX4911" fmla="*/ 5967315 w 12117871"/>
                <a:gd name="connsiteY4911" fmla="*/ 1905622 h 6072780"/>
                <a:gd name="connsiteX4912" fmla="*/ 5967315 w 12117871"/>
                <a:gd name="connsiteY4912" fmla="*/ 1875506 h 6072780"/>
                <a:gd name="connsiteX4913" fmla="*/ 5984348 w 12117871"/>
                <a:gd name="connsiteY4913" fmla="*/ 1869422 h 6072780"/>
                <a:gd name="connsiteX4914" fmla="*/ 6000547 w 12117871"/>
                <a:gd name="connsiteY4914" fmla="*/ 1862273 h 6072780"/>
                <a:gd name="connsiteX4915" fmla="*/ 6016670 w 12117871"/>
                <a:gd name="connsiteY4915" fmla="*/ 1853451 h 6072780"/>
                <a:gd name="connsiteX4916" fmla="*/ 6033478 w 12117871"/>
                <a:gd name="connsiteY4916" fmla="*/ 1842348 h 6072780"/>
                <a:gd name="connsiteX4917" fmla="*/ 5833520 w 12117871"/>
                <a:gd name="connsiteY4917" fmla="*/ 1842348 h 6072780"/>
                <a:gd name="connsiteX4918" fmla="*/ 5904686 w 12117871"/>
                <a:gd name="connsiteY4918" fmla="*/ 1952935 h 6072780"/>
                <a:gd name="connsiteX4919" fmla="*/ 5884601 w 12117871"/>
                <a:gd name="connsiteY4919" fmla="*/ 2036514 h 6072780"/>
                <a:gd name="connsiteX4920" fmla="*/ 5828403 w 12117871"/>
                <a:gd name="connsiteY4920" fmla="*/ 2065327 h 6072780"/>
                <a:gd name="connsiteX4921" fmla="*/ 5775818 w 12117871"/>
                <a:gd name="connsiteY4921" fmla="*/ 2037793 h 6072780"/>
                <a:gd name="connsiteX4922" fmla="*/ 5756935 w 12117871"/>
                <a:gd name="connsiteY4922" fmla="*/ 1958202 h 6072780"/>
                <a:gd name="connsiteX4923" fmla="*/ 5776646 w 12117871"/>
                <a:gd name="connsiteY4923" fmla="*/ 1871686 h 6072780"/>
                <a:gd name="connsiteX4924" fmla="*/ 5833520 w 12117871"/>
                <a:gd name="connsiteY4924" fmla="*/ 1842348 h 6072780"/>
                <a:gd name="connsiteX4925" fmla="*/ 5135870 w 12117871"/>
                <a:gd name="connsiteY4925" fmla="*/ 1842348 h 6072780"/>
                <a:gd name="connsiteX4926" fmla="*/ 5207037 w 12117871"/>
                <a:gd name="connsiteY4926" fmla="*/ 1952935 h 6072780"/>
                <a:gd name="connsiteX4927" fmla="*/ 5186950 w 12117871"/>
                <a:gd name="connsiteY4927" fmla="*/ 2036514 h 6072780"/>
                <a:gd name="connsiteX4928" fmla="*/ 5130754 w 12117871"/>
                <a:gd name="connsiteY4928" fmla="*/ 2065327 h 6072780"/>
                <a:gd name="connsiteX4929" fmla="*/ 5078168 w 12117871"/>
                <a:gd name="connsiteY4929" fmla="*/ 2037793 h 6072780"/>
                <a:gd name="connsiteX4930" fmla="*/ 5059286 w 12117871"/>
                <a:gd name="connsiteY4930" fmla="*/ 1958202 h 6072780"/>
                <a:gd name="connsiteX4931" fmla="*/ 5078996 w 12117871"/>
                <a:gd name="connsiteY4931" fmla="*/ 1871686 h 6072780"/>
                <a:gd name="connsiteX4932" fmla="*/ 5135870 w 12117871"/>
                <a:gd name="connsiteY4932" fmla="*/ 1842348 h 6072780"/>
                <a:gd name="connsiteX4933" fmla="*/ 4761526 w 12117871"/>
                <a:gd name="connsiteY4933" fmla="*/ 1842348 h 6072780"/>
                <a:gd name="connsiteX4934" fmla="*/ 4776431 w 12117871"/>
                <a:gd name="connsiteY4934" fmla="*/ 1842348 h 6072780"/>
                <a:gd name="connsiteX4935" fmla="*/ 4776431 w 12117871"/>
                <a:gd name="connsiteY4935" fmla="*/ 2065327 h 6072780"/>
                <a:gd name="connsiteX4936" fmla="*/ 4741143 w 12117871"/>
                <a:gd name="connsiteY4936" fmla="*/ 2065327 h 6072780"/>
                <a:gd name="connsiteX4937" fmla="*/ 4741143 w 12117871"/>
                <a:gd name="connsiteY4937" fmla="*/ 1885544 h 6072780"/>
                <a:gd name="connsiteX4938" fmla="*/ 4720534 w 12117871"/>
                <a:gd name="connsiteY4938" fmla="*/ 1897179 h 6072780"/>
                <a:gd name="connsiteX4939" fmla="*/ 4695361 w 12117871"/>
                <a:gd name="connsiteY4939" fmla="*/ 1905622 h 6072780"/>
                <a:gd name="connsiteX4940" fmla="*/ 4695361 w 12117871"/>
                <a:gd name="connsiteY4940" fmla="*/ 1875506 h 6072780"/>
                <a:gd name="connsiteX4941" fmla="*/ 4712395 w 12117871"/>
                <a:gd name="connsiteY4941" fmla="*/ 1869422 h 6072780"/>
                <a:gd name="connsiteX4942" fmla="*/ 4728594 w 12117871"/>
                <a:gd name="connsiteY4942" fmla="*/ 1862273 h 6072780"/>
                <a:gd name="connsiteX4943" fmla="*/ 4744717 w 12117871"/>
                <a:gd name="connsiteY4943" fmla="*/ 1853451 h 6072780"/>
                <a:gd name="connsiteX4944" fmla="*/ 4761526 w 12117871"/>
                <a:gd name="connsiteY4944" fmla="*/ 1842348 h 6072780"/>
                <a:gd name="connsiteX4945" fmla="*/ 4392240 w 12117871"/>
                <a:gd name="connsiteY4945" fmla="*/ 1842348 h 6072780"/>
                <a:gd name="connsiteX4946" fmla="*/ 4407147 w 12117871"/>
                <a:gd name="connsiteY4946" fmla="*/ 1842348 h 6072780"/>
                <a:gd name="connsiteX4947" fmla="*/ 4407147 w 12117871"/>
                <a:gd name="connsiteY4947" fmla="*/ 2065327 h 6072780"/>
                <a:gd name="connsiteX4948" fmla="*/ 4371860 w 12117871"/>
                <a:gd name="connsiteY4948" fmla="*/ 2065327 h 6072780"/>
                <a:gd name="connsiteX4949" fmla="*/ 4371860 w 12117871"/>
                <a:gd name="connsiteY4949" fmla="*/ 1885544 h 6072780"/>
                <a:gd name="connsiteX4950" fmla="*/ 4351250 w 12117871"/>
                <a:gd name="connsiteY4950" fmla="*/ 1897179 h 6072780"/>
                <a:gd name="connsiteX4951" fmla="*/ 4326077 w 12117871"/>
                <a:gd name="connsiteY4951" fmla="*/ 1905622 h 6072780"/>
                <a:gd name="connsiteX4952" fmla="*/ 4326077 w 12117871"/>
                <a:gd name="connsiteY4952" fmla="*/ 1875506 h 6072780"/>
                <a:gd name="connsiteX4953" fmla="*/ 4343113 w 12117871"/>
                <a:gd name="connsiteY4953" fmla="*/ 1869422 h 6072780"/>
                <a:gd name="connsiteX4954" fmla="*/ 4359312 w 12117871"/>
                <a:gd name="connsiteY4954" fmla="*/ 1862273 h 6072780"/>
                <a:gd name="connsiteX4955" fmla="*/ 4375433 w 12117871"/>
                <a:gd name="connsiteY4955" fmla="*/ 1853451 h 6072780"/>
                <a:gd name="connsiteX4956" fmla="*/ 4392240 w 12117871"/>
                <a:gd name="connsiteY4956" fmla="*/ 1842348 h 6072780"/>
                <a:gd name="connsiteX4957" fmla="*/ 4091705 w 12117871"/>
                <a:gd name="connsiteY4957" fmla="*/ 1842348 h 6072780"/>
                <a:gd name="connsiteX4958" fmla="*/ 4106611 w 12117871"/>
                <a:gd name="connsiteY4958" fmla="*/ 1842348 h 6072780"/>
                <a:gd name="connsiteX4959" fmla="*/ 4106611 w 12117871"/>
                <a:gd name="connsiteY4959" fmla="*/ 2065327 h 6072780"/>
                <a:gd name="connsiteX4960" fmla="*/ 4071322 w 12117871"/>
                <a:gd name="connsiteY4960" fmla="*/ 2065327 h 6072780"/>
                <a:gd name="connsiteX4961" fmla="*/ 4071322 w 12117871"/>
                <a:gd name="connsiteY4961" fmla="*/ 1885544 h 6072780"/>
                <a:gd name="connsiteX4962" fmla="*/ 4050714 w 12117871"/>
                <a:gd name="connsiteY4962" fmla="*/ 1897179 h 6072780"/>
                <a:gd name="connsiteX4963" fmla="*/ 4025540 w 12117871"/>
                <a:gd name="connsiteY4963" fmla="*/ 1905622 h 6072780"/>
                <a:gd name="connsiteX4964" fmla="*/ 4025540 w 12117871"/>
                <a:gd name="connsiteY4964" fmla="*/ 1875506 h 6072780"/>
                <a:gd name="connsiteX4965" fmla="*/ 4042575 w 12117871"/>
                <a:gd name="connsiteY4965" fmla="*/ 1869422 h 6072780"/>
                <a:gd name="connsiteX4966" fmla="*/ 4058774 w 12117871"/>
                <a:gd name="connsiteY4966" fmla="*/ 1862273 h 6072780"/>
                <a:gd name="connsiteX4967" fmla="*/ 4074897 w 12117871"/>
                <a:gd name="connsiteY4967" fmla="*/ 1853451 h 6072780"/>
                <a:gd name="connsiteX4968" fmla="*/ 4091705 w 12117871"/>
                <a:gd name="connsiteY4968" fmla="*/ 1842348 h 6072780"/>
                <a:gd name="connsiteX4969" fmla="*/ 3884133 w 12117871"/>
                <a:gd name="connsiteY4969" fmla="*/ 1842348 h 6072780"/>
                <a:gd name="connsiteX4970" fmla="*/ 3955300 w 12117871"/>
                <a:gd name="connsiteY4970" fmla="*/ 1952935 h 6072780"/>
                <a:gd name="connsiteX4971" fmla="*/ 3935215 w 12117871"/>
                <a:gd name="connsiteY4971" fmla="*/ 2036514 h 6072780"/>
                <a:gd name="connsiteX4972" fmla="*/ 3879017 w 12117871"/>
                <a:gd name="connsiteY4972" fmla="*/ 2065327 h 6072780"/>
                <a:gd name="connsiteX4973" fmla="*/ 3826433 w 12117871"/>
                <a:gd name="connsiteY4973" fmla="*/ 2037793 h 6072780"/>
                <a:gd name="connsiteX4974" fmla="*/ 3807549 w 12117871"/>
                <a:gd name="connsiteY4974" fmla="*/ 1958202 h 6072780"/>
                <a:gd name="connsiteX4975" fmla="*/ 3827259 w 12117871"/>
                <a:gd name="connsiteY4975" fmla="*/ 1871686 h 6072780"/>
                <a:gd name="connsiteX4976" fmla="*/ 3884133 w 12117871"/>
                <a:gd name="connsiteY4976" fmla="*/ 1842348 h 6072780"/>
                <a:gd name="connsiteX4977" fmla="*/ 3659468 w 12117871"/>
                <a:gd name="connsiteY4977" fmla="*/ 1842348 h 6072780"/>
                <a:gd name="connsiteX4978" fmla="*/ 3730636 w 12117871"/>
                <a:gd name="connsiteY4978" fmla="*/ 1952935 h 6072780"/>
                <a:gd name="connsiteX4979" fmla="*/ 3710550 w 12117871"/>
                <a:gd name="connsiteY4979" fmla="*/ 2036514 h 6072780"/>
                <a:gd name="connsiteX4980" fmla="*/ 3654354 w 12117871"/>
                <a:gd name="connsiteY4980" fmla="*/ 2065327 h 6072780"/>
                <a:gd name="connsiteX4981" fmla="*/ 3601769 w 12117871"/>
                <a:gd name="connsiteY4981" fmla="*/ 2037793 h 6072780"/>
                <a:gd name="connsiteX4982" fmla="*/ 3582886 w 12117871"/>
                <a:gd name="connsiteY4982" fmla="*/ 1958202 h 6072780"/>
                <a:gd name="connsiteX4983" fmla="*/ 3602596 w 12117871"/>
                <a:gd name="connsiteY4983" fmla="*/ 1871686 h 6072780"/>
                <a:gd name="connsiteX4984" fmla="*/ 3659468 w 12117871"/>
                <a:gd name="connsiteY4984" fmla="*/ 1842348 h 6072780"/>
                <a:gd name="connsiteX4985" fmla="*/ 3513017 w 12117871"/>
                <a:gd name="connsiteY4985" fmla="*/ 1842348 h 6072780"/>
                <a:gd name="connsiteX4986" fmla="*/ 3527924 w 12117871"/>
                <a:gd name="connsiteY4986" fmla="*/ 1842348 h 6072780"/>
                <a:gd name="connsiteX4987" fmla="*/ 3527924 w 12117871"/>
                <a:gd name="connsiteY4987" fmla="*/ 2065327 h 6072780"/>
                <a:gd name="connsiteX4988" fmla="*/ 3492635 w 12117871"/>
                <a:gd name="connsiteY4988" fmla="*/ 2065327 h 6072780"/>
                <a:gd name="connsiteX4989" fmla="*/ 3492635 w 12117871"/>
                <a:gd name="connsiteY4989" fmla="*/ 1885544 h 6072780"/>
                <a:gd name="connsiteX4990" fmla="*/ 3472027 w 12117871"/>
                <a:gd name="connsiteY4990" fmla="*/ 1897179 h 6072780"/>
                <a:gd name="connsiteX4991" fmla="*/ 3446854 w 12117871"/>
                <a:gd name="connsiteY4991" fmla="*/ 1905622 h 6072780"/>
                <a:gd name="connsiteX4992" fmla="*/ 3446854 w 12117871"/>
                <a:gd name="connsiteY4992" fmla="*/ 1875506 h 6072780"/>
                <a:gd name="connsiteX4993" fmla="*/ 3463889 w 12117871"/>
                <a:gd name="connsiteY4993" fmla="*/ 1869422 h 6072780"/>
                <a:gd name="connsiteX4994" fmla="*/ 3480087 w 12117871"/>
                <a:gd name="connsiteY4994" fmla="*/ 1862273 h 6072780"/>
                <a:gd name="connsiteX4995" fmla="*/ 3496210 w 12117871"/>
                <a:gd name="connsiteY4995" fmla="*/ 1853451 h 6072780"/>
                <a:gd name="connsiteX4996" fmla="*/ 3513017 w 12117871"/>
                <a:gd name="connsiteY4996" fmla="*/ 1842348 h 6072780"/>
                <a:gd name="connsiteX4997" fmla="*/ 3208218 w 12117871"/>
                <a:gd name="connsiteY4997" fmla="*/ 1842348 h 6072780"/>
                <a:gd name="connsiteX4998" fmla="*/ 3223124 w 12117871"/>
                <a:gd name="connsiteY4998" fmla="*/ 1842348 h 6072780"/>
                <a:gd name="connsiteX4999" fmla="*/ 3223124 w 12117871"/>
                <a:gd name="connsiteY4999" fmla="*/ 2065327 h 6072780"/>
                <a:gd name="connsiteX5000" fmla="*/ 3187836 w 12117871"/>
                <a:gd name="connsiteY5000" fmla="*/ 2065327 h 6072780"/>
                <a:gd name="connsiteX5001" fmla="*/ 3187836 w 12117871"/>
                <a:gd name="connsiteY5001" fmla="*/ 1885544 h 6072780"/>
                <a:gd name="connsiteX5002" fmla="*/ 3167227 w 12117871"/>
                <a:gd name="connsiteY5002" fmla="*/ 1897179 h 6072780"/>
                <a:gd name="connsiteX5003" fmla="*/ 3142053 w 12117871"/>
                <a:gd name="connsiteY5003" fmla="*/ 1905622 h 6072780"/>
                <a:gd name="connsiteX5004" fmla="*/ 3142053 w 12117871"/>
                <a:gd name="connsiteY5004" fmla="*/ 1875506 h 6072780"/>
                <a:gd name="connsiteX5005" fmla="*/ 3159089 w 12117871"/>
                <a:gd name="connsiteY5005" fmla="*/ 1869422 h 6072780"/>
                <a:gd name="connsiteX5006" fmla="*/ 3175288 w 12117871"/>
                <a:gd name="connsiteY5006" fmla="*/ 1862273 h 6072780"/>
                <a:gd name="connsiteX5007" fmla="*/ 3191409 w 12117871"/>
                <a:gd name="connsiteY5007" fmla="*/ 1853451 h 6072780"/>
                <a:gd name="connsiteX5008" fmla="*/ 3208218 w 12117871"/>
                <a:gd name="connsiteY5008" fmla="*/ 1842348 h 6072780"/>
                <a:gd name="connsiteX5009" fmla="*/ 2813523 w 12117871"/>
                <a:gd name="connsiteY5009" fmla="*/ 1842348 h 6072780"/>
                <a:gd name="connsiteX5010" fmla="*/ 2828429 w 12117871"/>
                <a:gd name="connsiteY5010" fmla="*/ 1842348 h 6072780"/>
                <a:gd name="connsiteX5011" fmla="*/ 2828429 w 12117871"/>
                <a:gd name="connsiteY5011" fmla="*/ 2065327 h 6072780"/>
                <a:gd name="connsiteX5012" fmla="*/ 2793141 w 12117871"/>
                <a:gd name="connsiteY5012" fmla="*/ 2065327 h 6072780"/>
                <a:gd name="connsiteX5013" fmla="*/ 2793141 w 12117871"/>
                <a:gd name="connsiteY5013" fmla="*/ 1885544 h 6072780"/>
                <a:gd name="connsiteX5014" fmla="*/ 2772531 w 12117871"/>
                <a:gd name="connsiteY5014" fmla="*/ 1897179 h 6072780"/>
                <a:gd name="connsiteX5015" fmla="*/ 2747358 w 12117871"/>
                <a:gd name="connsiteY5015" fmla="*/ 1905622 h 6072780"/>
                <a:gd name="connsiteX5016" fmla="*/ 2747358 w 12117871"/>
                <a:gd name="connsiteY5016" fmla="*/ 1875506 h 6072780"/>
                <a:gd name="connsiteX5017" fmla="*/ 2764394 w 12117871"/>
                <a:gd name="connsiteY5017" fmla="*/ 1869422 h 6072780"/>
                <a:gd name="connsiteX5018" fmla="*/ 2780592 w 12117871"/>
                <a:gd name="connsiteY5018" fmla="*/ 1862273 h 6072780"/>
                <a:gd name="connsiteX5019" fmla="*/ 2796715 w 12117871"/>
                <a:gd name="connsiteY5019" fmla="*/ 1853451 h 6072780"/>
                <a:gd name="connsiteX5020" fmla="*/ 2813523 w 12117871"/>
                <a:gd name="connsiteY5020" fmla="*/ 1842348 h 6072780"/>
                <a:gd name="connsiteX5021" fmla="*/ 2662929 w 12117871"/>
                <a:gd name="connsiteY5021" fmla="*/ 1842348 h 6072780"/>
                <a:gd name="connsiteX5022" fmla="*/ 2677834 w 12117871"/>
                <a:gd name="connsiteY5022" fmla="*/ 1842348 h 6072780"/>
                <a:gd name="connsiteX5023" fmla="*/ 2677834 w 12117871"/>
                <a:gd name="connsiteY5023" fmla="*/ 2065327 h 6072780"/>
                <a:gd name="connsiteX5024" fmla="*/ 2642547 w 12117871"/>
                <a:gd name="connsiteY5024" fmla="*/ 2065327 h 6072780"/>
                <a:gd name="connsiteX5025" fmla="*/ 2642547 w 12117871"/>
                <a:gd name="connsiteY5025" fmla="*/ 1885544 h 6072780"/>
                <a:gd name="connsiteX5026" fmla="*/ 2621937 w 12117871"/>
                <a:gd name="connsiteY5026" fmla="*/ 1897179 h 6072780"/>
                <a:gd name="connsiteX5027" fmla="*/ 2596765 w 12117871"/>
                <a:gd name="connsiteY5027" fmla="*/ 1905622 h 6072780"/>
                <a:gd name="connsiteX5028" fmla="*/ 2596765 w 12117871"/>
                <a:gd name="connsiteY5028" fmla="*/ 1875506 h 6072780"/>
                <a:gd name="connsiteX5029" fmla="*/ 2613800 w 12117871"/>
                <a:gd name="connsiteY5029" fmla="*/ 1869422 h 6072780"/>
                <a:gd name="connsiteX5030" fmla="*/ 2629998 w 12117871"/>
                <a:gd name="connsiteY5030" fmla="*/ 1862273 h 6072780"/>
                <a:gd name="connsiteX5031" fmla="*/ 2646120 w 12117871"/>
                <a:gd name="connsiteY5031" fmla="*/ 1853451 h 6072780"/>
                <a:gd name="connsiteX5032" fmla="*/ 2662929 w 12117871"/>
                <a:gd name="connsiteY5032" fmla="*/ 1842348 h 6072780"/>
                <a:gd name="connsiteX5033" fmla="*/ 2529603 w 12117871"/>
                <a:gd name="connsiteY5033" fmla="*/ 1842348 h 6072780"/>
                <a:gd name="connsiteX5034" fmla="*/ 2544509 w 12117871"/>
                <a:gd name="connsiteY5034" fmla="*/ 1842348 h 6072780"/>
                <a:gd name="connsiteX5035" fmla="*/ 2544509 w 12117871"/>
                <a:gd name="connsiteY5035" fmla="*/ 2065327 h 6072780"/>
                <a:gd name="connsiteX5036" fmla="*/ 2509221 w 12117871"/>
                <a:gd name="connsiteY5036" fmla="*/ 2065327 h 6072780"/>
                <a:gd name="connsiteX5037" fmla="*/ 2509221 w 12117871"/>
                <a:gd name="connsiteY5037" fmla="*/ 1885544 h 6072780"/>
                <a:gd name="connsiteX5038" fmla="*/ 2488613 w 12117871"/>
                <a:gd name="connsiteY5038" fmla="*/ 1897179 h 6072780"/>
                <a:gd name="connsiteX5039" fmla="*/ 2463440 w 12117871"/>
                <a:gd name="connsiteY5039" fmla="*/ 1905622 h 6072780"/>
                <a:gd name="connsiteX5040" fmla="*/ 2463440 w 12117871"/>
                <a:gd name="connsiteY5040" fmla="*/ 1875506 h 6072780"/>
                <a:gd name="connsiteX5041" fmla="*/ 2480475 w 12117871"/>
                <a:gd name="connsiteY5041" fmla="*/ 1869422 h 6072780"/>
                <a:gd name="connsiteX5042" fmla="*/ 2496673 w 12117871"/>
                <a:gd name="connsiteY5042" fmla="*/ 1862273 h 6072780"/>
                <a:gd name="connsiteX5043" fmla="*/ 2512795 w 12117871"/>
                <a:gd name="connsiteY5043" fmla="*/ 1853451 h 6072780"/>
                <a:gd name="connsiteX5044" fmla="*/ 2529603 w 12117871"/>
                <a:gd name="connsiteY5044" fmla="*/ 1842348 h 6072780"/>
                <a:gd name="connsiteX5045" fmla="*/ 1775939 w 12117871"/>
                <a:gd name="connsiteY5045" fmla="*/ 1842348 h 6072780"/>
                <a:gd name="connsiteX5046" fmla="*/ 1790845 w 12117871"/>
                <a:gd name="connsiteY5046" fmla="*/ 1842348 h 6072780"/>
                <a:gd name="connsiteX5047" fmla="*/ 1790845 w 12117871"/>
                <a:gd name="connsiteY5047" fmla="*/ 2065327 h 6072780"/>
                <a:gd name="connsiteX5048" fmla="*/ 1755557 w 12117871"/>
                <a:gd name="connsiteY5048" fmla="*/ 2065327 h 6072780"/>
                <a:gd name="connsiteX5049" fmla="*/ 1755557 w 12117871"/>
                <a:gd name="connsiteY5049" fmla="*/ 1885544 h 6072780"/>
                <a:gd name="connsiteX5050" fmla="*/ 1734948 w 12117871"/>
                <a:gd name="connsiteY5050" fmla="*/ 1897179 h 6072780"/>
                <a:gd name="connsiteX5051" fmla="*/ 1709775 w 12117871"/>
                <a:gd name="connsiteY5051" fmla="*/ 1905622 h 6072780"/>
                <a:gd name="connsiteX5052" fmla="*/ 1709775 w 12117871"/>
                <a:gd name="connsiteY5052" fmla="*/ 1875506 h 6072780"/>
                <a:gd name="connsiteX5053" fmla="*/ 1726810 w 12117871"/>
                <a:gd name="connsiteY5053" fmla="*/ 1869422 h 6072780"/>
                <a:gd name="connsiteX5054" fmla="*/ 1743009 w 12117871"/>
                <a:gd name="connsiteY5054" fmla="*/ 1862273 h 6072780"/>
                <a:gd name="connsiteX5055" fmla="*/ 1759132 w 12117871"/>
                <a:gd name="connsiteY5055" fmla="*/ 1853451 h 6072780"/>
                <a:gd name="connsiteX5056" fmla="*/ 1775939 w 12117871"/>
                <a:gd name="connsiteY5056" fmla="*/ 1842348 h 6072780"/>
                <a:gd name="connsiteX5057" fmla="*/ 1622547 w 12117871"/>
                <a:gd name="connsiteY5057" fmla="*/ 1842348 h 6072780"/>
                <a:gd name="connsiteX5058" fmla="*/ 1637453 w 12117871"/>
                <a:gd name="connsiteY5058" fmla="*/ 1842348 h 6072780"/>
                <a:gd name="connsiteX5059" fmla="*/ 1637453 w 12117871"/>
                <a:gd name="connsiteY5059" fmla="*/ 2065327 h 6072780"/>
                <a:gd name="connsiteX5060" fmla="*/ 1602165 w 12117871"/>
                <a:gd name="connsiteY5060" fmla="*/ 2065327 h 6072780"/>
                <a:gd name="connsiteX5061" fmla="*/ 1602165 w 12117871"/>
                <a:gd name="connsiteY5061" fmla="*/ 1885544 h 6072780"/>
                <a:gd name="connsiteX5062" fmla="*/ 1581556 w 12117871"/>
                <a:gd name="connsiteY5062" fmla="*/ 1897179 h 6072780"/>
                <a:gd name="connsiteX5063" fmla="*/ 1556383 w 12117871"/>
                <a:gd name="connsiteY5063" fmla="*/ 1905622 h 6072780"/>
                <a:gd name="connsiteX5064" fmla="*/ 1556383 w 12117871"/>
                <a:gd name="connsiteY5064" fmla="*/ 1875506 h 6072780"/>
                <a:gd name="connsiteX5065" fmla="*/ 1573418 w 12117871"/>
                <a:gd name="connsiteY5065" fmla="*/ 1869422 h 6072780"/>
                <a:gd name="connsiteX5066" fmla="*/ 1589617 w 12117871"/>
                <a:gd name="connsiteY5066" fmla="*/ 1862273 h 6072780"/>
                <a:gd name="connsiteX5067" fmla="*/ 1605740 w 12117871"/>
                <a:gd name="connsiteY5067" fmla="*/ 1853451 h 6072780"/>
                <a:gd name="connsiteX5068" fmla="*/ 1622547 w 12117871"/>
                <a:gd name="connsiteY5068" fmla="*/ 1842348 h 6072780"/>
                <a:gd name="connsiteX5069" fmla="*/ 1328478 w 12117871"/>
                <a:gd name="connsiteY5069" fmla="*/ 1842348 h 6072780"/>
                <a:gd name="connsiteX5070" fmla="*/ 1343384 w 12117871"/>
                <a:gd name="connsiteY5070" fmla="*/ 1842348 h 6072780"/>
                <a:gd name="connsiteX5071" fmla="*/ 1343384 w 12117871"/>
                <a:gd name="connsiteY5071" fmla="*/ 2065327 h 6072780"/>
                <a:gd name="connsiteX5072" fmla="*/ 1308096 w 12117871"/>
                <a:gd name="connsiteY5072" fmla="*/ 2065327 h 6072780"/>
                <a:gd name="connsiteX5073" fmla="*/ 1308096 w 12117871"/>
                <a:gd name="connsiteY5073" fmla="*/ 1885544 h 6072780"/>
                <a:gd name="connsiteX5074" fmla="*/ 1287487 w 12117871"/>
                <a:gd name="connsiteY5074" fmla="*/ 1897179 h 6072780"/>
                <a:gd name="connsiteX5075" fmla="*/ 1262314 w 12117871"/>
                <a:gd name="connsiteY5075" fmla="*/ 1905622 h 6072780"/>
                <a:gd name="connsiteX5076" fmla="*/ 1262314 w 12117871"/>
                <a:gd name="connsiteY5076" fmla="*/ 1875506 h 6072780"/>
                <a:gd name="connsiteX5077" fmla="*/ 1279349 w 12117871"/>
                <a:gd name="connsiteY5077" fmla="*/ 1869422 h 6072780"/>
                <a:gd name="connsiteX5078" fmla="*/ 1295548 w 12117871"/>
                <a:gd name="connsiteY5078" fmla="*/ 1862273 h 6072780"/>
                <a:gd name="connsiteX5079" fmla="*/ 1311671 w 12117871"/>
                <a:gd name="connsiteY5079" fmla="*/ 1853451 h 6072780"/>
                <a:gd name="connsiteX5080" fmla="*/ 1328478 w 12117871"/>
                <a:gd name="connsiteY5080" fmla="*/ 1842348 h 6072780"/>
                <a:gd name="connsiteX5081" fmla="*/ 953339 w 12117871"/>
                <a:gd name="connsiteY5081" fmla="*/ 1842348 h 6072780"/>
                <a:gd name="connsiteX5082" fmla="*/ 968245 w 12117871"/>
                <a:gd name="connsiteY5082" fmla="*/ 1842348 h 6072780"/>
                <a:gd name="connsiteX5083" fmla="*/ 968245 w 12117871"/>
                <a:gd name="connsiteY5083" fmla="*/ 2065327 h 6072780"/>
                <a:gd name="connsiteX5084" fmla="*/ 932957 w 12117871"/>
                <a:gd name="connsiteY5084" fmla="*/ 2065327 h 6072780"/>
                <a:gd name="connsiteX5085" fmla="*/ 932957 w 12117871"/>
                <a:gd name="connsiteY5085" fmla="*/ 1885544 h 6072780"/>
                <a:gd name="connsiteX5086" fmla="*/ 912348 w 12117871"/>
                <a:gd name="connsiteY5086" fmla="*/ 1897179 h 6072780"/>
                <a:gd name="connsiteX5087" fmla="*/ 887175 w 12117871"/>
                <a:gd name="connsiteY5087" fmla="*/ 1905622 h 6072780"/>
                <a:gd name="connsiteX5088" fmla="*/ 887175 w 12117871"/>
                <a:gd name="connsiteY5088" fmla="*/ 1875506 h 6072780"/>
                <a:gd name="connsiteX5089" fmla="*/ 904210 w 12117871"/>
                <a:gd name="connsiteY5089" fmla="*/ 1869422 h 6072780"/>
                <a:gd name="connsiteX5090" fmla="*/ 920409 w 12117871"/>
                <a:gd name="connsiteY5090" fmla="*/ 1862273 h 6072780"/>
                <a:gd name="connsiteX5091" fmla="*/ 936532 w 12117871"/>
                <a:gd name="connsiteY5091" fmla="*/ 1853451 h 6072780"/>
                <a:gd name="connsiteX5092" fmla="*/ 953339 w 12117871"/>
                <a:gd name="connsiteY5092" fmla="*/ 1842348 h 6072780"/>
                <a:gd name="connsiteX5093" fmla="*/ 804482 w 12117871"/>
                <a:gd name="connsiteY5093" fmla="*/ 1842348 h 6072780"/>
                <a:gd name="connsiteX5094" fmla="*/ 819388 w 12117871"/>
                <a:gd name="connsiteY5094" fmla="*/ 1842348 h 6072780"/>
                <a:gd name="connsiteX5095" fmla="*/ 819388 w 12117871"/>
                <a:gd name="connsiteY5095" fmla="*/ 2065327 h 6072780"/>
                <a:gd name="connsiteX5096" fmla="*/ 784100 w 12117871"/>
                <a:gd name="connsiteY5096" fmla="*/ 2065327 h 6072780"/>
                <a:gd name="connsiteX5097" fmla="*/ 784100 w 12117871"/>
                <a:gd name="connsiteY5097" fmla="*/ 1885544 h 6072780"/>
                <a:gd name="connsiteX5098" fmla="*/ 763491 w 12117871"/>
                <a:gd name="connsiteY5098" fmla="*/ 1897179 h 6072780"/>
                <a:gd name="connsiteX5099" fmla="*/ 738318 w 12117871"/>
                <a:gd name="connsiteY5099" fmla="*/ 1905622 h 6072780"/>
                <a:gd name="connsiteX5100" fmla="*/ 738318 w 12117871"/>
                <a:gd name="connsiteY5100" fmla="*/ 1875506 h 6072780"/>
                <a:gd name="connsiteX5101" fmla="*/ 755353 w 12117871"/>
                <a:gd name="connsiteY5101" fmla="*/ 1869422 h 6072780"/>
                <a:gd name="connsiteX5102" fmla="*/ 771552 w 12117871"/>
                <a:gd name="connsiteY5102" fmla="*/ 1862273 h 6072780"/>
                <a:gd name="connsiteX5103" fmla="*/ 787675 w 12117871"/>
                <a:gd name="connsiteY5103" fmla="*/ 1853451 h 6072780"/>
                <a:gd name="connsiteX5104" fmla="*/ 804482 w 12117871"/>
                <a:gd name="connsiteY5104" fmla="*/ 1842348 h 6072780"/>
                <a:gd name="connsiteX5105" fmla="*/ 655625 w 12117871"/>
                <a:gd name="connsiteY5105" fmla="*/ 1842348 h 6072780"/>
                <a:gd name="connsiteX5106" fmla="*/ 670531 w 12117871"/>
                <a:gd name="connsiteY5106" fmla="*/ 1842348 h 6072780"/>
                <a:gd name="connsiteX5107" fmla="*/ 670531 w 12117871"/>
                <a:gd name="connsiteY5107" fmla="*/ 2065327 h 6072780"/>
                <a:gd name="connsiteX5108" fmla="*/ 635243 w 12117871"/>
                <a:gd name="connsiteY5108" fmla="*/ 2065327 h 6072780"/>
                <a:gd name="connsiteX5109" fmla="*/ 635243 w 12117871"/>
                <a:gd name="connsiteY5109" fmla="*/ 1885544 h 6072780"/>
                <a:gd name="connsiteX5110" fmla="*/ 614634 w 12117871"/>
                <a:gd name="connsiteY5110" fmla="*/ 1897179 h 6072780"/>
                <a:gd name="connsiteX5111" fmla="*/ 589461 w 12117871"/>
                <a:gd name="connsiteY5111" fmla="*/ 1905622 h 6072780"/>
                <a:gd name="connsiteX5112" fmla="*/ 589461 w 12117871"/>
                <a:gd name="connsiteY5112" fmla="*/ 1875506 h 6072780"/>
                <a:gd name="connsiteX5113" fmla="*/ 606496 w 12117871"/>
                <a:gd name="connsiteY5113" fmla="*/ 1869422 h 6072780"/>
                <a:gd name="connsiteX5114" fmla="*/ 622695 w 12117871"/>
                <a:gd name="connsiteY5114" fmla="*/ 1862273 h 6072780"/>
                <a:gd name="connsiteX5115" fmla="*/ 638818 w 12117871"/>
                <a:gd name="connsiteY5115" fmla="*/ 1853451 h 6072780"/>
                <a:gd name="connsiteX5116" fmla="*/ 655625 w 12117871"/>
                <a:gd name="connsiteY5116" fmla="*/ 1842348 h 6072780"/>
                <a:gd name="connsiteX5117" fmla="*/ 506768 w 12117871"/>
                <a:gd name="connsiteY5117" fmla="*/ 1842348 h 6072780"/>
                <a:gd name="connsiteX5118" fmla="*/ 521674 w 12117871"/>
                <a:gd name="connsiteY5118" fmla="*/ 1842348 h 6072780"/>
                <a:gd name="connsiteX5119" fmla="*/ 521674 w 12117871"/>
                <a:gd name="connsiteY5119" fmla="*/ 2065327 h 6072780"/>
                <a:gd name="connsiteX5120" fmla="*/ 486386 w 12117871"/>
                <a:gd name="connsiteY5120" fmla="*/ 2065327 h 6072780"/>
                <a:gd name="connsiteX5121" fmla="*/ 486386 w 12117871"/>
                <a:gd name="connsiteY5121" fmla="*/ 1885544 h 6072780"/>
                <a:gd name="connsiteX5122" fmla="*/ 465777 w 12117871"/>
                <a:gd name="connsiteY5122" fmla="*/ 1897179 h 6072780"/>
                <a:gd name="connsiteX5123" fmla="*/ 440604 w 12117871"/>
                <a:gd name="connsiteY5123" fmla="*/ 1905622 h 6072780"/>
                <a:gd name="connsiteX5124" fmla="*/ 440604 w 12117871"/>
                <a:gd name="connsiteY5124" fmla="*/ 1875506 h 6072780"/>
                <a:gd name="connsiteX5125" fmla="*/ 457639 w 12117871"/>
                <a:gd name="connsiteY5125" fmla="*/ 1869422 h 6072780"/>
                <a:gd name="connsiteX5126" fmla="*/ 473838 w 12117871"/>
                <a:gd name="connsiteY5126" fmla="*/ 1862273 h 6072780"/>
                <a:gd name="connsiteX5127" fmla="*/ 489961 w 12117871"/>
                <a:gd name="connsiteY5127" fmla="*/ 1853451 h 6072780"/>
                <a:gd name="connsiteX5128" fmla="*/ 506768 w 12117871"/>
                <a:gd name="connsiteY5128" fmla="*/ 1842348 h 6072780"/>
                <a:gd name="connsiteX5129" fmla="*/ 297354 w 12117871"/>
                <a:gd name="connsiteY5129" fmla="*/ 1842348 h 6072780"/>
                <a:gd name="connsiteX5130" fmla="*/ 368521 w 12117871"/>
                <a:gd name="connsiteY5130" fmla="*/ 1952935 h 6072780"/>
                <a:gd name="connsiteX5131" fmla="*/ 348435 w 12117871"/>
                <a:gd name="connsiteY5131" fmla="*/ 2036514 h 6072780"/>
                <a:gd name="connsiteX5132" fmla="*/ 292238 w 12117871"/>
                <a:gd name="connsiteY5132" fmla="*/ 2065327 h 6072780"/>
                <a:gd name="connsiteX5133" fmla="*/ 239653 w 12117871"/>
                <a:gd name="connsiteY5133" fmla="*/ 2037793 h 6072780"/>
                <a:gd name="connsiteX5134" fmla="*/ 220770 w 12117871"/>
                <a:gd name="connsiteY5134" fmla="*/ 1958202 h 6072780"/>
                <a:gd name="connsiteX5135" fmla="*/ 240480 w 12117871"/>
                <a:gd name="connsiteY5135" fmla="*/ 1871686 h 6072780"/>
                <a:gd name="connsiteX5136" fmla="*/ 297354 w 12117871"/>
                <a:gd name="connsiteY5136" fmla="*/ 1842348 h 6072780"/>
                <a:gd name="connsiteX5137" fmla="*/ 10090194 w 12117871"/>
                <a:gd name="connsiteY5137" fmla="*/ 1549837 h 6072780"/>
                <a:gd name="connsiteX5138" fmla="*/ 10050924 w 12117871"/>
                <a:gd name="connsiteY5138" fmla="*/ 1636351 h 6072780"/>
                <a:gd name="connsiteX5139" fmla="*/ 10089442 w 12117871"/>
                <a:gd name="connsiteY5139" fmla="*/ 1717298 h 6072780"/>
                <a:gd name="connsiteX5140" fmla="*/ 10127357 w 12117871"/>
                <a:gd name="connsiteY5140" fmla="*/ 1634998 h 6072780"/>
                <a:gd name="connsiteX5141" fmla="*/ 10090194 w 12117871"/>
                <a:gd name="connsiteY5141" fmla="*/ 1549837 h 6072780"/>
                <a:gd name="connsiteX5142" fmla="*/ 9869271 w 12117871"/>
                <a:gd name="connsiteY5142" fmla="*/ 1549837 h 6072780"/>
                <a:gd name="connsiteX5143" fmla="*/ 9830001 w 12117871"/>
                <a:gd name="connsiteY5143" fmla="*/ 1636351 h 6072780"/>
                <a:gd name="connsiteX5144" fmla="*/ 9868519 w 12117871"/>
                <a:gd name="connsiteY5144" fmla="*/ 1717298 h 6072780"/>
                <a:gd name="connsiteX5145" fmla="*/ 9906434 w 12117871"/>
                <a:gd name="connsiteY5145" fmla="*/ 1634998 h 6072780"/>
                <a:gd name="connsiteX5146" fmla="*/ 9869271 w 12117871"/>
                <a:gd name="connsiteY5146" fmla="*/ 1549837 h 6072780"/>
                <a:gd name="connsiteX5147" fmla="*/ 9207611 w 12117871"/>
                <a:gd name="connsiteY5147" fmla="*/ 1549837 h 6072780"/>
                <a:gd name="connsiteX5148" fmla="*/ 9168341 w 12117871"/>
                <a:gd name="connsiteY5148" fmla="*/ 1636351 h 6072780"/>
                <a:gd name="connsiteX5149" fmla="*/ 9206859 w 12117871"/>
                <a:gd name="connsiteY5149" fmla="*/ 1717298 h 6072780"/>
                <a:gd name="connsiteX5150" fmla="*/ 9244774 w 12117871"/>
                <a:gd name="connsiteY5150" fmla="*/ 1634998 h 6072780"/>
                <a:gd name="connsiteX5151" fmla="*/ 9207611 w 12117871"/>
                <a:gd name="connsiteY5151" fmla="*/ 1549837 h 6072780"/>
                <a:gd name="connsiteX5152" fmla="*/ 8986688 w 12117871"/>
                <a:gd name="connsiteY5152" fmla="*/ 1549837 h 6072780"/>
                <a:gd name="connsiteX5153" fmla="*/ 8947418 w 12117871"/>
                <a:gd name="connsiteY5153" fmla="*/ 1636351 h 6072780"/>
                <a:gd name="connsiteX5154" fmla="*/ 8985936 w 12117871"/>
                <a:gd name="connsiteY5154" fmla="*/ 1717298 h 6072780"/>
                <a:gd name="connsiteX5155" fmla="*/ 9023851 w 12117871"/>
                <a:gd name="connsiteY5155" fmla="*/ 1634998 h 6072780"/>
                <a:gd name="connsiteX5156" fmla="*/ 8986688 w 12117871"/>
                <a:gd name="connsiteY5156" fmla="*/ 1549837 h 6072780"/>
                <a:gd name="connsiteX5157" fmla="*/ 4034142 w 12117871"/>
                <a:gd name="connsiteY5157" fmla="*/ 1549837 h 6072780"/>
                <a:gd name="connsiteX5158" fmla="*/ 3994872 w 12117871"/>
                <a:gd name="connsiteY5158" fmla="*/ 1636351 h 6072780"/>
                <a:gd name="connsiteX5159" fmla="*/ 4033390 w 12117871"/>
                <a:gd name="connsiteY5159" fmla="*/ 1717298 h 6072780"/>
                <a:gd name="connsiteX5160" fmla="*/ 4071305 w 12117871"/>
                <a:gd name="connsiteY5160" fmla="*/ 1634998 h 6072780"/>
                <a:gd name="connsiteX5161" fmla="*/ 4034142 w 12117871"/>
                <a:gd name="connsiteY5161" fmla="*/ 1549837 h 6072780"/>
                <a:gd name="connsiteX5162" fmla="*/ 3813219 w 12117871"/>
                <a:gd name="connsiteY5162" fmla="*/ 1549837 h 6072780"/>
                <a:gd name="connsiteX5163" fmla="*/ 3773949 w 12117871"/>
                <a:gd name="connsiteY5163" fmla="*/ 1636351 h 6072780"/>
                <a:gd name="connsiteX5164" fmla="*/ 3812467 w 12117871"/>
                <a:gd name="connsiteY5164" fmla="*/ 1717298 h 6072780"/>
                <a:gd name="connsiteX5165" fmla="*/ 3850382 w 12117871"/>
                <a:gd name="connsiteY5165" fmla="*/ 1634998 h 6072780"/>
                <a:gd name="connsiteX5166" fmla="*/ 3813219 w 12117871"/>
                <a:gd name="connsiteY5166" fmla="*/ 1549837 h 6072780"/>
                <a:gd name="connsiteX5167" fmla="*/ 3151559 w 12117871"/>
                <a:gd name="connsiteY5167" fmla="*/ 1549837 h 6072780"/>
                <a:gd name="connsiteX5168" fmla="*/ 3112289 w 12117871"/>
                <a:gd name="connsiteY5168" fmla="*/ 1636351 h 6072780"/>
                <a:gd name="connsiteX5169" fmla="*/ 3150808 w 12117871"/>
                <a:gd name="connsiteY5169" fmla="*/ 1717298 h 6072780"/>
                <a:gd name="connsiteX5170" fmla="*/ 3188723 w 12117871"/>
                <a:gd name="connsiteY5170" fmla="*/ 1634998 h 6072780"/>
                <a:gd name="connsiteX5171" fmla="*/ 3151559 w 12117871"/>
                <a:gd name="connsiteY5171" fmla="*/ 1549837 h 6072780"/>
                <a:gd name="connsiteX5172" fmla="*/ 2930637 w 12117871"/>
                <a:gd name="connsiteY5172" fmla="*/ 1549837 h 6072780"/>
                <a:gd name="connsiteX5173" fmla="*/ 2891366 w 12117871"/>
                <a:gd name="connsiteY5173" fmla="*/ 1636351 h 6072780"/>
                <a:gd name="connsiteX5174" fmla="*/ 2929884 w 12117871"/>
                <a:gd name="connsiteY5174" fmla="*/ 1717298 h 6072780"/>
                <a:gd name="connsiteX5175" fmla="*/ 2967799 w 12117871"/>
                <a:gd name="connsiteY5175" fmla="*/ 1634998 h 6072780"/>
                <a:gd name="connsiteX5176" fmla="*/ 2930637 w 12117871"/>
                <a:gd name="connsiteY5176" fmla="*/ 1549837 h 6072780"/>
                <a:gd name="connsiteX5177" fmla="*/ 11918627 w 12117871"/>
                <a:gd name="connsiteY5177" fmla="*/ 1522003 h 6072780"/>
                <a:gd name="connsiteX5178" fmla="*/ 11933533 w 12117871"/>
                <a:gd name="connsiteY5178" fmla="*/ 1522003 h 6072780"/>
                <a:gd name="connsiteX5179" fmla="*/ 11933533 w 12117871"/>
                <a:gd name="connsiteY5179" fmla="*/ 1744984 h 6072780"/>
                <a:gd name="connsiteX5180" fmla="*/ 11898245 w 12117871"/>
                <a:gd name="connsiteY5180" fmla="*/ 1744984 h 6072780"/>
                <a:gd name="connsiteX5181" fmla="*/ 11898245 w 12117871"/>
                <a:gd name="connsiteY5181" fmla="*/ 1565200 h 6072780"/>
                <a:gd name="connsiteX5182" fmla="*/ 11877636 w 12117871"/>
                <a:gd name="connsiteY5182" fmla="*/ 1576836 h 6072780"/>
                <a:gd name="connsiteX5183" fmla="*/ 11852463 w 12117871"/>
                <a:gd name="connsiteY5183" fmla="*/ 1585278 h 6072780"/>
                <a:gd name="connsiteX5184" fmla="*/ 11852463 w 12117871"/>
                <a:gd name="connsiteY5184" fmla="*/ 1555161 h 6072780"/>
                <a:gd name="connsiteX5185" fmla="*/ 11869498 w 12117871"/>
                <a:gd name="connsiteY5185" fmla="*/ 1549078 h 6072780"/>
                <a:gd name="connsiteX5186" fmla="*/ 11885697 w 12117871"/>
                <a:gd name="connsiteY5186" fmla="*/ 1541929 h 6072780"/>
                <a:gd name="connsiteX5187" fmla="*/ 11901820 w 12117871"/>
                <a:gd name="connsiteY5187" fmla="*/ 1533106 h 6072780"/>
                <a:gd name="connsiteX5188" fmla="*/ 11918627 w 12117871"/>
                <a:gd name="connsiteY5188" fmla="*/ 1522003 h 6072780"/>
                <a:gd name="connsiteX5189" fmla="*/ 11535759 w 12117871"/>
                <a:gd name="connsiteY5189" fmla="*/ 1522003 h 6072780"/>
                <a:gd name="connsiteX5190" fmla="*/ 11550665 w 12117871"/>
                <a:gd name="connsiteY5190" fmla="*/ 1522003 h 6072780"/>
                <a:gd name="connsiteX5191" fmla="*/ 11550665 w 12117871"/>
                <a:gd name="connsiteY5191" fmla="*/ 1744984 h 6072780"/>
                <a:gd name="connsiteX5192" fmla="*/ 11515377 w 12117871"/>
                <a:gd name="connsiteY5192" fmla="*/ 1744984 h 6072780"/>
                <a:gd name="connsiteX5193" fmla="*/ 11515377 w 12117871"/>
                <a:gd name="connsiteY5193" fmla="*/ 1565200 h 6072780"/>
                <a:gd name="connsiteX5194" fmla="*/ 11494768 w 12117871"/>
                <a:gd name="connsiteY5194" fmla="*/ 1576836 h 6072780"/>
                <a:gd name="connsiteX5195" fmla="*/ 11469595 w 12117871"/>
                <a:gd name="connsiteY5195" fmla="*/ 1585278 h 6072780"/>
                <a:gd name="connsiteX5196" fmla="*/ 11469595 w 12117871"/>
                <a:gd name="connsiteY5196" fmla="*/ 1555161 h 6072780"/>
                <a:gd name="connsiteX5197" fmla="*/ 11486630 w 12117871"/>
                <a:gd name="connsiteY5197" fmla="*/ 1549078 h 6072780"/>
                <a:gd name="connsiteX5198" fmla="*/ 11502829 w 12117871"/>
                <a:gd name="connsiteY5198" fmla="*/ 1541929 h 6072780"/>
                <a:gd name="connsiteX5199" fmla="*/ 11518952 w 12117871"/>
                <a:gd name="connsiteY5199" fmla="*/ 1533106 h 6072780"/>
                <a:gd name="connsiteX5200" fmla="*/ 11535759 w 12117871"/>
                <a:gd name="connsiteY5200" fmla="*/ 1522003 h 6072780"/>
                <a:gd name="connsiteX5201" fmla="*/ 11391633 w 12117871"/>
                <a:gd name="connsiteY5201" fmla="*/ 1522003 h 6072780"/>
                <a:gd name="connsiteX5202" fmla="*/ 11406539 w 12117871"/>
                <a:gd name="connsiteY5202" fmla="*/ 1522003 h 6072780"/>
                <a:gd name="connsiteX5203" fmla="*/ 11406539 w 12117871"/>
                <a:gd name="connsiteY5203" fmla="*/ 1744984 h 6072780"/>
                <a:gd name="connsiteX5204" fmla="*/ 11371251 w 12117871"/>
                <a:gd name="connsiteY5204" fmla="*/ 1744984 h 6072780"/>
                <a:gd name="connsiteX5205" fmla="*/ 11371251 w 12117871"/>
                <a:gd name="connsiteY5205" fmla="*/ 1565200 h 6072780"/>
                <a:gd name="connsiteX5206" fmla="*/ 11350642 w 12117871"/>
                <a:gd name="connsiteY5206" fmla="*/ 1576836 h 6072780"/>
                <a:gd name="connsiteX5207" fmla="*/ 11325469 w 12117871"/>
                <a:gd name="connsiteY5207" fmla="*/ 1585278 h 6072780"/>
                <a:gd name="connsiteX5208" fmla="*/ 11325469 w 12117871"/>
                <a:gd name="connsiteY5208" fmla="*/ 1555161 h 6072780"/>
                <a:gd name="connsiteX5209" fmla="*/ 11342504 w 12117871"/>
                <a:gd name="connsiteY5209" fmla="*/ 1549078 h 6072780"/>
                <a:gd name="connsiteX5210" fmla="*/ 11358703 w 12117871"/>
                <a:gd name="connsiteY5210" fmla="*/ 1541929 h 6072780"/>
                <a:gd name="connsiteX5211" fmla="*/ 11374826 w 12117871"/>
                <a:gd name="connsiteY5211" fmla="*/ 1533106 h 6072780"/>
                <a:gd name="connsiteX5212" fmla="*/ 11391633 w 12117871"/>
                <a:gd name="connsiteY5212" fmla="*/ 1522003 h 6072780"/>
                <a:gd name="connsiteX5213" fmla="*/ 11247508 w 12117871"/>
                <a:gd name="connsiteY5213" fmla="*/ 1522003 h 6072780"/>
                <a:gd name="connsiteX5214" fmla="*/ 11262414 w 12117871"/>
                <a:gd name="connsiteY5214" fmla="*/ 1522003 h 6072780"/>
                <a:gd name="connsiteX5215" fmla="*/ 11262414 w 12117871"/>
                <a:gd name="connsiteY5215" fmla="*/ 1744984 h 6072780"/>
                <a:gd name="connsiteX5216" fmla="*/ 11227126 w 12117871"/>
                <a:gd name="connsiteY5216" fmla="*/ 1744984 h 6072780"/>
                <a:gd name="connsiteX5217" fmla="*/ 11227126 w 12117871"/>
                <a:gd name="connsiteY5217" fmla="*/ 1565200 h 6072780"/>
                <a:gd name="connsiteX5218" fmla="*/ 11206517 w 12117871"/>
                <a:gd name="connsiteY5218" fmla="*/ 1576836 h 6072780"/>
                <a:gd name="connsiteX5219" fmla="*/ 11181344 w 12117871"/>
                <a:gd name="connsiteY5219" fmla="*/ 1585278 h 6072780"/>
                <a:gd name="connsiteX5220" fmla="*/ 11181344 w 12117871"/>
                <a:gd name="connsiteY5220" fmla="*/ 1555161 h 6072780"/>
                <a:gd name="connsiteX5221" fmla="*/ 11198379 w 12117871"/>
                <a:gd name="connsiteY5221" fmla="*/ 1549078 h 6072780"/>
                <a:gd name="connsiteX5222" fmla="*/ 11214578 w 12117871"/>
                <a:gd name="connsiteY5222" fmla="*/ 1541929 h 6072780"/>
                <a:gd name="connsiteX5223" fmla="*/ 11230701 w 12117871"/>
                <a:gd name="connsiteY5223" fmla="*/ 1533106 h 6072780"/>
                <a:gd name="connsiteX5224" fmla="*/ 11247508 w 12117871"/>
                <a:gd name="connsiteY5224" fmla="*/ 1522003 h 6072780"/>
                <a:gd name="connsiteX5225" fmla="*/ 11103383 w 12117871"/>
                <a:gd name="connsiteY5225" fmla="*/ 1522003 h 6072780"/>
                <a:gd name="connsiteX5226" fmla="*/ 11118289 w 12117871"/>
                <a:gd name="connsiteY5226" fmla="*/ 1522003 h 6072780"/>
                <a:gd name="connsiteX5227" fmla="*/ 11118289 w 12117871"/>
                <a:gd name="connsiteY5227" fmla="*/ 1744984 h 6072780"/>
                <a:gd name="connsiteX5228" fmla="*/ 11083001 w 12117871"/>
                <a:gd name="connsiteY5228" fmla="*/ 1744984 h 6072780"/>
                <a:gd name="connsiteX5229" fmla="*/ 11083001 w 12117871"/>
                <a:gd name="connsiteY5229" fmla="*/ 1565200 h 6072780"/>
                <a:gd name="connsiteX5230" fmla="*/ 11062392 w 12117871"/>
                <a:gd name="connsiteY5230" fmla="*/ 1576836 h 6072780"/>
                <a:gd name="connsiteX5231" fmla="*/ 11037219 w 12117871"/>
                <a:gd name="connsiteY5231" fmla="*/ 1585278 h 6072780"/>
                <a:gd name="connsiteX5232" fmla="*/ 11037219 w 12117871"/>
                <a:gd name="connsiteY5232" fmla="*/ 1555161 h 6072780"/>
                <a:gd name="connsiteX5233" fmla="*/ 11054254 w 12117871"/>
                <a:gd name="connsiteY5233" fmla="*/ 1549078 h 6072780"/>
                <a:gd name="connsiteX5234" fmla="*/ 11070453 w 12117871"/>
                <a:gd name="connsiteY5234" fmla="*/ 1541929 h 6072780"/>
                <a:gd name="connsiteX5235" fmla="*/ 11086576 w 12117871"/>
                <a:gd name="connsiteY5235" fmla="*/ 1533106 h 6072780"/>
                <a:gd name="connsiteX5236" fmla="*/ 11103383 w 12117871"/>
                <a:gd name="connsiteY5236" fmla="*/ 1522003 h 6072780"/>
                <a:gd name="connsiteX5237" fmla="*/ 10959258 w 12117871"/>
                <a:gd name="connsiteY5237" fmla="*/ 1522003 h 6072780"/>
                <a:gd name="connsiteX5238" fmla="*/ 10974164 w 12117871"/>
                <a:gd name="connsiteY5238" fmla="*/ 1522003 h 6072780"/>
                <a:gd name="connsiteX5239" fmla="*/ 10974164 w 12117871"/>
                <a:gd name="connsiteY5239" fmla="*/ 1744984 h 6072780"/>
                <a:gd name="connsiteX5240" fmla="*/ 10938876 w 12117871"/>
                <a:gd name="connsiteY5240" fmla="*/ 1744984 h 6072780"/>
                <a:gd name="connsiteX5241" fmla="*/ 10938876 w 12117871"/>
                <a:gd name="connsiteY5241" fmla="*/ 1565200 h 6072780"/>
                <a:gd name="connsiteX5242" fmla="*/ 10918267 w 12117871"/>
                <a:gd name="connsiteY5242" fmla="*/ 1576836 h 6072780"/>
                <a:gd name="connsiteX5243" fmla="*/ 10893094 w 12117871"/>
                <a:gd name="connsiteY5243" fmla="*/ 1585278 h 6072780"/>
                <a:gd name="connsiteX5244" fmla="*/ 10893094 w 12117871"/>
                <a:gd name="connsiteY5244" fmla="*/ 1555161 h 6072780"/>
                <a:gd name="connsiteX5245" fmla="*/ 10910129 w 12117871"/>
                <a:gd name="connsiteY5245" fmla="*/ 1549078 h 6072780"/>
                <a:gd name="connsiteX5246" fmla="*/ 10926328 w 12117871"/>
                <a:gd name="connsiteY5246" fmla="*/ 1541929 h 6072780"/>
                <a:gd name="connsiteX5247" fmla="*/ 10942451 w 12117871"/>
                <a:gd name="connsiteY5247" fmla="*/ 1533106 h 6072780"/>
                <a:gd name="connsiteX5248" fmla="*/ 10959258 w 12117871"/>
                <a:gd name="connsiteY5248" fmla="*/ 1522003 h 6072780"/>
                <a:gd name="connsiteX5249" fmla="*/ 10571025 w 12117871"/>
                <a:gd name="connsiteY5249" fmla="*/ 1522003 h 6072780"/>
                <a:gd name="connsiteX5250" fmla="*/ 10585931 w 12117871"/>
                <a:gd name="connsiteY5250" fmla="*/ 1522003 h 6072780"/>
                <a:gd name="connsiteX5251" fmla="*/ 10585931 w 12117871"/>
                <a:gd name="connsiteY5251" fmla="*/ 1744984 h 6072780"/>
                <a:gd name="connsiteX5252" fmla="*/ 10550643 w 12117871"/>
                <a:gd name="connsiteY5252" fmla="*/ 1744984 h 6072780"/>
                <a:gd name="connsiteX5253" fmla="*/ 10550643 w 12117871"/>
                <a:gd name="connsiteY5253" fmla="*/ 1565200 h 6072780"/>
                <a:gd name="connsiteX5254" fmla="*/ 10530034 w 12117871"/>
                <a:gd name="connsiteY5254" fmla="*/ 1576836 h 6072780"/>
                <a:gd name="connsiteX5255" fmla="*/ 10504861 w 12117871"/>
                <a:gd name="connsiteY5255" fmla="*/ 1585278 h 6072780"/>
                <a:gd name="connsiteX5256" fmla="*/ 10504861 w 12117871"/>
                <a:gd name="connsiteY5256" fmla="*/ 1555161 h 6072780"/>
                <a:gd name="connsiteX5257" fmla="*/ 10521896 w 12117871"/>
                <a:gd name="connsiteY5257" fmla="*/ 1549078 h 6072780"/>
                <a:gd name="connsiteX5258" fmla="*/ 10538095 w 12117871"/>
                <a:gd name="connsiteY5258" fmla="*/ 1541929 h 6072780"/>
                <a:gd name="connsiteX5259" fmla="*/ 10554218 w 12117871"/>
                <a:gd name="connsiteY5259" fmla="*/ 1533106 h 6072780"/>
                <a:gd name="connsiteX5260" fmla="*/ 10571025 w 12117871"/>
                <a:gd name="connsiteY5260" fmla="*/ 1522003 h 6072780"/>
                <a:gd name="connsiteX5261" fmla="*/ 10304917 w 12117871"/>
                <a:gd name="connsiteY5261" fmla="*/ 1522003 h 6072780"/>
                <a:gd name="connsiteX5262" fmla="*/ 10319823 w 12117871"/>
                <a:gd name="connsiteY5262" fmla="*/ 1522003 h 6072780"/>
                <a:gd name="connsiteX5263" fmla="*/ 10319823 w 12117871"/>
                <a:gd name="connsiteY5263" fmla="*/ 1744984 h 6072780"/>
                <a:gd name="connsiteX5264" fmla="*/ 10284535 w 12117871"/>
                <a:gd name="connsiteY5264" fmla="*/ 1744984 h 6072780"/>
                <a:gd name="connsiteX5265" fmla="*/ 10284535 w 12117871"/>
                <a:gd name="connsiteY5265" fmla="*/ 1565200 h 6072780"/>
                <a:gd name="connsiteX5266" fmla="*/ 10263926 w 12117871"/>
                <a:gd name="connsiteY5266" fmla="*/ 1576836 h 6072780"/>
                <a:gd name="connsiteX5267" fmla="*/ 10238753 w 12117871"/>
                <a:gd name="connsiteY5267" fmla="*/ 1585278 h 6072780"/>
                <a:gd name="connsiteX5268" fmla="*/ 10238753 w 12117871"/>
                <a:gd name="connsiteY5268" fmla="*/ 1555161 h 6072780"/>
                <a:gd name="connsiteX5269" fmla="*/ 10255788 w 12117871"/>
                <a:gd name="connsiteY5269" fmla="*/ 1549078 h 6072780"/>
                <a:gd name="connsiteX5270" fmla="*/ 10271987 w 12117871"/>
                <a:gd name="connsiteY5270" fmla="*/ 1541929 h 6072780"/>
                <a:gd name="connsiteX5271" fmla="*/ 10288110 w 12117871"/>
                <a:gd name="connsiteY5271" fmla="*/ 1533106 h 6072780"/>
                <a:gd name="connsiteX5272" fmla="*/ 10304917 w 12117871"/>
                <a:gd name="connsiteY5272" fmla="*/ 1522003 h 6072780"/>
                <a:gd name="connsiteX5273" fmla="*/ 9693318 w 12117871"/>
                <a:gd name="connsiteY5273" fmla="*/ 1522003 h 6072780"/>
                <a:gd name="connsiteX5274" fmla="*/ 9708224 w 12117871"/>
                <a:gd name="connsiteY5274" fmla="*/ 1522003 h 6072780"/>
                <a:gd name="connsiteX5275" fmla="*/ 9708224 w 12117871"/>
                <a:gd name="connsiteY5275" fmla="*/ 1744984 h 6072780"/>
                <a:gd name="connsiteX5276" fmla="*/ 9672936 w 12117871"/>
                <a:gd name="connsiteY5276" fmla="*/ 1744984 h 6072780"/>
                <a:gd name="connsiteX5277" fmla="*/ 9672936 w 12117871"/>
                <a:gd name="connsiteY5277" fmla="*/ 1565200 h 6072780"/>
                <a:gd name="connsiteX5278" fmla="*/ 9652327 w 12117871"/>
                <a:gd name="connsiteY5278" fmla="*/ 1576836 h 6072780"/>
                <a:gd name="connsiteX5279" fmla="*/ 9627154 w 12117871"/>
                <a:gd name="connsiteY5279" fmla="*/ 1585278 h 6072780"/>
                <a:gd name="connsiteX5280" fmla="*/ 9627154 w 12117871"/>
                <a:gd name="connsiteY5280" fmla="*/ 1555161 h 6072780"/>
                <a:gd name="connsiteX5281" fmla="*/ 9644189 w 12117871"/>
                <a:gd name="connsiteY5281" fmla="*/ 1549078 h 6072780"/>
                <a:gd name="connsiteX5282" fmla="*/ 9660388 w 12117871"/>
                <a:gd name="connsiteY5282" fmla="*/ 1541929 h 6072780"/>
                <a:gd name="connsiteX5283" fmla="*/ 9676511 w 12117871"/>
                <a:gd name="connsiteY5283" fmla="*/ 1533106 h 6072780"/>
                <a:gd name="connsiteX5284" fmla="*/ 9693318 w 12117871"/>
                <a:gd name="connsiteY5284" fmla="*/ 1522003 h 6072780"/>
                <a:gd name="connsiteX5285" fmla="*/ 9427210 w 12117871"/>
                <a:gd name="connsiteY5285" fmla="*/ 1522003 h 6072780"/>
                <a:gd name="connsiteX5286" fmla="*/ 9442116 w 12117871"/>
                <a:gd name="connsiteY5286" fmla="*/ 1522003 h 6072780"/>
                <a:gd name="connsiteX5287" fmla="*/ 9442116 w 12117871"/>
                <a:gd name="connsiteY5287" fmla="*/ 1744984 h 6072780"/>
                <a:gd name="connsiteX5288" fmla="*/ 9406828 w 12117871"/>
                <a:gd name="connsiteY5288" fmla="*/ 1744984 h 6072780"/>
                <a:gd name="connsiteX5289" fmla="*/ 9406828 w 12117871"/>
                <a:gd name="connsiteY5289" fmla="*/ 1565200 h 6072780"/>
                <a:gd name="connsiteX5290" fmla="*/ 9386219 w 12117871"/>
                <a:gd name="connsiteY5290" fmla="*/ 1576836 h 6072780"/>
                <a:gd name="connsiteX5291" fmla="*/ 9361046 w 12117871"/>
                <a:gd name="connsiteY5291" fmla="*/ 1585278 h 6072780"/>
                <a:gd name="connsiteX5292" fmla="*/ 9361046 w 12117871"/>
                <a:gd name="connsiteY5292" fmla="*/ 1555161 h 6072780"/>
                <a:gd name="connsiteX5293" fmla="*/ 9378081 w 12117871"/>
                <a:gd name="connsiteY5293" fmla="*/ 1549078 h 6072780"/>
                <a:gd name="connsiteX5294" fmla="*/ 9394280 w 12117871"/>
                <a:gd name="connsiteY5294" fmla="*/ 1541929 h 6072780"/>
                <a:gd name="connsiteX5295" fmla="*/ 9410403 w 12117871"/>
                <a:gd name="connsiteY5295" fmla="*/ 1533106 h 6072780"/>
                <a:gd name="connsiteX5296" fmla="*/ 9427210 w 12117871"/>
                <a:gd name="connsiteY5296" fmla="*/ 1522003 h 6072780"/>
                <a:gd name="connsiteX5297" fmla="*/ 8820863 w 12117871"/>
                <a:gd name="connsiteY5297" fmla="*/ 1522003 h 6072780"/>
                <a:gd name="connsiteX5298" fmla="*/ 8835769 w 12117871"/>
                <a:gd name="connsiteY5298" fmla="*/ 1522003 h 6072780"/>
                <a:gd name="connsiteX5299" fmla="*/ 8835769 w 12117871"/>
                <a:gd name="connsiteY5299" fmla="*/ 1744984 h 6072780"/>
                <a:gd name="connsiteX5300" fmla="*/ 8800481 w 12117871"/>
                <a:gd name="connsiteY5300" fmla="*/ 1744984 h 6072780"/>
                <a:gd name="connsiteX5301" fmla="*/ 8800481 w 12117871"/>
                <a:gd name="connsiteY5301" fmla="*/ 1565200 h 6072780"/>
                <a:gd name="connsiteX5302" fmla="*/ 8779872 w 12117871"/>
                <a:gd name="connsiteY5302" fmla="*/ 1576836 h 6072780"/>
                <a:gd name="connsiteX5303" fmla="*/ 8754699 w 12117871"/>
                <a:gd name="connsiteY5303" fmla="*/ 1585278 h 6072780"/>
                <a:gd name="connsiteX5304" fmla="*/ 8754699 w 12117871"/>
                <a:gd name="connsiteY5304" fmla="*/ 1555161 h 6072780"/>
                <a:gd name="connsiteX5305" fmla="*/ 8771734 w 12117871"/>
                <a:gd name="connsiteY5305" fmla="*/ 1549078 h 6072780"/>
                <a:gd name="connsiteX5306" fmla="*/ 8787933 w 12117871"/>
                <a:gd name="connsiteY5306" fmla="*/ 1541929 h 6072780"/>
                <a:gd name="connsiteX5307" fmla="*/ 8804056 w 12117871"/>
                <a:gd name="connsiteY5307" fmla="*/ 1533106 h 6072780"/>
                <a:gd name="connsiteX5308" fmla="*/ 8820863 w 12117871"/>
                <a:gd name="connsiteY5308" fmla="*/ 1522003 h 6072780"/>
                <a:gd name="connsiteX5309" fmla="*/ 8554755 w 12117871"/>
                <a:gd name="connsiteY5309" fmla="*/ 1522003 h 6072780"/>
                <a:gd name="connsiteX5310" fmla="*/ 8569661 w 12117871"/>
                <a:gd name="connsiteY5310" fmla="*/ 1522003 h 6072780"/>
                <a:gd name="connsiteX5311" fmla="*/ 8569661 w 12117871"/>
                <a:gd name="connsiteY5311" fmla="*/ 1744984 h 6072780"/>
                <a:gd name="connsiteX5312" fmla="*/ 8534373 w 12117871"/>
                <a:gd name="connsiteY5312" fmla="*/ 1744984 h 6072780"/>
                <a:gd name="connsiteX5313" fmla="*/ 8534373 w 12117871"/>
                <a:gd name="connsiteY5313" fmla="*/ 1565200 h 6072780"/>
                <a:gd name="connsiteX5314" fmla="*/ 8513764 w 12117871"/>
                <a:gd name="connsiteY5314" fmla="*/ 1576836 h 6072780"/>
                <a:gd name="connsiteX5315" fmla="*/ 8488591 w 12117871"/>
                <a:gd name="connsiteY5315" fmla="*/ 1585278 h 6072780"/>
                <a:gd name="connsiteX5316" fmla="*/ 8488591 w 12117871"/>
                <a:gd name="connsiteY5316" fmla="*/ 1555161 h 6072780"/>
                <a:gd name="connsiteX5317" fmla="*/ 8505626 w 12117871"/>
                <a:gd name="connsiteY5317" fmla="*/ 1549078 h 6072780"/>
                <a:gd name="connsiteX5318" fmla="*/ 8521825 w 12117871"/>
                <a:gd name="connsiteY5318" fmla="*/ 1541929 h 6072780"/>
                <a:gd name="connsiteX5319" fmla="*/ 8537948 w 12117871"/>
                <a:gd name="connsiteY5319" fmla="*/ 1533106 h 6072780"/>
                <a:gd name="connsiteX5320" fmla="*/ 8554755 w 12117871"/>
                <a:gd name="connsiteY5320" fmla="*/ 1522003 h 6072780"/>
                <a:gd name="connsiteX5321" fmla="*/ 8142987 w 12117871"/>
                <a:gd name="connsiteY5321" fmla="*/ 1522003 h 6072780"/>
                <a:gd name="connsiteX5322" fmla="*/ 8157894 w 12117871"/>
                <a:gd name="connsiteY5322" fmla="*/ 1522003 h 6072780"/>
                <a:gd name="connsiteX5323" fmla="*/ 8157894 w 12117871"/>
                <a:gd name="connsiteY5323" fmla="*/ 1744984 h 6072780"/>
                <a:gd name="connsiteX5324" fmla="*/ 8122606 w 12117871"/>
                <a:gd name="connsiteY5324" fmla="*/ 1744984 h 6072780"/>
                <a:gd name="connsiteX5325" fmla="*/ 8122606 w 12117871"/>
                <a:gd name="connsiteY5325" fmla="*/ 1565200 h 6072780"/>
                <a:gd name="connsiteX5326" fmla="*/ 8101996 w 12117871"/>
                <a:gd name="connsiteY5326" fmla="*/ 1576836 h 6072780"/>
                <a:gd name="connsiteX5327" fmla="*/ 8076824 w 12117871"/>
                <a:gd name="connsiteY5327" fmla="*/ 1585278 h 6072780"/>
                <a:gd name="connsiteX5328" fmla="*/ 8076824 w 12117871"/>
                <a:gd name="connsiteY5328" fmla="*/ 1555161 h 6072780"/>
                <a:gd name="connsiteX5329" fmla="*/ 8093859 w 12117871"/>
                <a:gd name="connsiteY5329" fmla="*/ 1549078 h 6072780"/>
                <a:gd name="connsiteX5330" fmla="*/ 8110058 w 12117871"/>
                <a:gd name="connsiteY5330" fmla="*/ 1541929 h 6072780"/>
                <a:gd name="connsiteX5331" fmla="*/ 8126180 w 12117871"/>
                <a:gd name="connsiteY5331" fmla="*/ 1533106 h 6072780"/>
                <a:gd name="connsiteX5332" fmla="*/ 8142987 w 12117871"/>
                <a:gd name="connsiteY5332" fmla="*/ 1522003 h 6072780"/>
                <a:gd name="connsiteX5333" fmla="*/ 8009933 w 12117871"/>
                <a:gd name="connsiteY5333" fmla="*/ 1522003 h 6072780"/>
                <a:gd name="connsiteX5334" fmla="*/ 8024840 w 12117871"/>
                <a:gd name="connsiteY5334" fmla="*/ 1522003 h 6072780"/>
                <a:gd name="connsiteX5335" fmla="*/ 8024840 w 12117871"/>
                <a:gd name="connsiteY5335" fmla="*/ 1744984 h 6072780"/>
                <a:gd name="connsiteX5336" fmla="*/ 7989552 w 12117871"/>
                <a:gd name="connsiteY5336" fmla="*/ 1744984 h 6072780"/>
                <a:gd name="connsiteX5337" fmla="*/ 7989552 w 12117871"/>
                <a:gd name="connsiteY5337" fmla="*/ 1565200 h 6072780"/>
                <a:gd name="connsiteX5338" fmla="*/ 7968942 w 12117871"/>
                <a:gd name="connsiteY5338" fmla="*/ 1576836 h 6072780"/>
                <a:gd name="connsiteX5339" fmla="*/ 7943770 w 12117871"/>
                <a:gd name="connsiteY5339" fmla="*/ 1585278 h 6072780"/>
                <a:gd name="connsiteX5340" fmla="*/ 7943770 w 12117871"/>
                <a:gd name="connsiteY5340" fmla="*/ 1555161 h 6072780"/>
                <a:gd name="connsiteX5341" fmla="*/ 7960805 w 12117871"/>
                <a:gd name="connsiteY5341" fmla="*/ 1549078 h 6072780"/>
                <a:gd name="connsiteX5342" fmla="*/ 7977004 w 12117871"/>
                <a:gd name="connsiteY5342" fmla="*/ 1541929 h 6072780"/>
                <a:gd name="connsiteX5343" fmla="*/ 7993126 w 12117871"/>
                <a:gd name="connsiteY5343" fmla="*/ 1533106 h 6072780"/>
                <a:gd name="connsiteX5344" fmla="*/ 8009933 w 12117871"/>
                <a:gd name="connsiteY5344" fmla="*/ 1522003 h 6072780"/>
                <a:gd name="connsiteX5345" fmla="*/ 7876879 w 12117871"/>
                <a:gd name="connsiteY5345" fmla="*/ 1522003 h 6072780"/>
                <a:gd name="connsiteX5346" fmla="*/ 7891786 w 12117871"/>
                <a:gd name="connsiteY5346" fmla="*/ 1522003 h 6072780"/>
                <a:gd name="connsiteX5347" fmla="*/ 7891786 w 12117871"/>
                <a:gd name="connsiteY5347" fmla="*/ 1744984 h 6072780"/>
                <a:gd name="connsiteX5348" fmla="*/ 7856498 w 12117871"/>
                <a:gd name="connsiteY5348" fmla="*/ 1744984 h 6072780"/>
                <a:gd name="connsiteX5349" fmla="*/ 7856498 w 12117871"/>
                <a:gd name="connsiteY5349" fmla="*/ 1565200 h 6072780"/>
                <a:gd name="connsiteX5350" fmla="*/ 7835888 w 12117871"/>
                <a:gd name="connsiteY5350" fmla="*/ 1576836 h 6072780"/>
                <a:gd name="connsiteX5351" fmla="*/ 7810716 w 12117871"/>
                <a:gd name="connsiteY5351" fmla="*/ 1585278 h 6072780"/>
                <a:gd name="connsiteX5352" fmla="*/ 7810716 w 12117871"/>
                <a:gd name="connsiteY5352" fmla="*/ 1555161 h 6072780"/>
                <a:gd name="connsiteX5353" fmla="*/ 7827751 w 12117871"/>
                <a:gd name="connsiteY5353" fmla="*/ 1549078 h 6072780"/>
                <a:gd name="connsiteX5354" fmla="*/ 7843950 w 12117871"/>
                <a:gd name="connsiteY5354" fmla="*/ 1541929 h 6072780"/>
                <a:gd name="connsiteX5355" fmla="*/ 7860072 w 12117871"/>
                <a:gd name="connsiteY5355" fmla="*/ 1533106 h 6072780"/>
                <a:gd name="connsiteX5356" fmla="*/ 7876879 w 12117871"/>
                <a:gd name="connsiteY5356" fmla="*/ 1522003 h 6072780"/>
                <a:gd name="connsiteX5357" fmla="*/ 7734267 w 12117871"/>
                <a:gd name="connsiteY5357" fmla="*/ 1522003 h 6072780"/>
                <a:gd name="connsiteX5358" fmla="*/ 7749174 w 12117871"/>
                <a:gd name="connsiteY5358" fmla="*/ 1522003 h 6072780"/>
                <a:gd name="connsiteX5359" fmla="*/ 7749174 w 12117871"/>
                <a:gd name="connsiteY5359" fmla="*/ 1744984 h 6072780"/>
                <a:gd name="connsiteX5360" fmla="*/ 7713886 w 12117871"/>
                <a:gd name="connsiteY5360" fmla="*/ 1744984 h 6072780"/>
                <a:gd name="connsiteX5361" fmla="*/ 7713886 w 12117871"/>
                <a:gd name="connsiteY5361" fmla="*/ 1565200 h 6072780"/>
                <a:gd name="connsiteX5362" fmla="*/ 7693276 w 12117871"/>
                <a:gd name="connsiteY5362" fmla="*/ 1576836 h 6072780"/>
                <a:gd name="connsiteX5363" fmla="*/ 7668104 w 12117871"/>
                <a:gd name="connsiteY5363" fmla="*/ 1585278 h 6072780"/>
                <a:gd name="connsiteX5364" fmla="*/ 7668104 w 12117871"/>
                <a:gd name="connsiteY5364" fmla="*/ 1555161 h 6072780"/>
                <a:gd name="connsiteX5365" fmla="*/ 7685139 w 12117871"/>
                <a:gd name="connsiteY5365" fmla="*/ 1549078 h 6072780"/>
                <a:gd name="connsiteX5366" fmla="*/ 7701338 w 12117871"/>
                <a:gd name="connsiteY5366" fmla="*/ 1541929 h 6072780"/>
                <a:gd name="connsiteX5367" fmla="*/ 7717460 w 12117871"/>
                <a:gd name="connsiteY5367" fmla="*/ 1533106 h 6072780"/>
                <a:gd name="connsiteX5368" fmla="*/ 7734267 w 12117871"/>
                <a:gd name="connsiteY5368" fmla="*/ 1522003 h 6072780"/>
                <a:gd name="connsiteX5369" fmla="*/ 6986927 w 12117871"/>
                <a:gd name="connsiteY5369" fmla="*/ 1522003 h 6072780"/>
                <a:gd name="connsiteX5370" fmla="*/ 7001834 w 12117871"/>
                <a:gd name="connsiteY5370" fmla="*/ 1522003 h 6072780"/>
                <a:gd name="connsiteX5371" fmla="*/ 7001834 w 12117871"/>
                <a:gd name="connsiteY5371" fmla="*/ 1744984 h 6072780"/>
                <a:gd name="connsiteX5372" fmla="*/ 6966546 w 12117871"/>
                <a:gd name="connsiteY5372" fmla="*/ 1744984 h 6072780"/>
                <a:gd name="connsiteX5373" fmla="*/ 6966546 w 12117871"/>
                <a:gd name="connsiteY5373" fmla="*/ 1565200 h 6072780"/>
                <a:gd name="connsiteX5374" fmla="*/ 6945936 w 12117871"/>
                <a:gd name="connsiteY5374" fmla="*/ 1576836 h 6072780"/>
                <a:gd name="connsiteX5375" fmla="*/ 6920764 w 12117871"/>
                <a:gd name="connsiteY5375" fmla="*/ 1585278 h 6072780"/>
                <a:gd name="connsiteX5376" fmla="*/ 6920764 w 12117871"/>
                <a:gd name="connsiteY5376" fmla="*/ 1555161 h 6072780"/>
                <a:gd name="connsiteX5377" fmla="*/ 6937799 w 12117871"/>
                <a:gd name="connsiteY5377" fmla="*/ 1549078 h 6072780"/>
                <a:gd name="connsiteX5378" fmla="*/ 6953998 w 12117871"/>
                <a:gd name="connsiteY5378" fmla="*/ 1541929 h 6072780"/>
                <a:gd name="connsiteX5379" fmla="*/ 6970120 w 12117871"/>
                <a:gd name="connsiteY5379" fmla="*/ 1533106 h 6072780"/>
                <a:gd name="connsiteX5380" fmla="*/ 6986927 w 12117871"/>
                <a:gd name="connsiteY5380" fmla="*/ 1522003 h 6072780"/>
                <a:gd name="connsiteX5381" fmla="*/ 6842801 w 12117871"/>
                <a:gd name="connsiteY5381" fmla="*/ 1522003 h 6072780"/>
                <a:gd name="connsiteX5382" fmla="*/ 6857708 w 12117871"/>
                <a:gd name="connsiteY5382" fmla="*/ 1522003 h 6072780"/>
                <a:gd name="connsiteX5383" fmla="*/ 6857708 w 12117871"/>
                <a:gd name="connsiteY5383" fmla="*/ 1744984 h 6072780"/>
                <a:gd name="connsiteX5384" fmla="*/ 6822420 w 12117871"/>
                <a:gd name="connsiteY5384" fmla="*/ 1744984 h 6072780"/>
                <a:gd name="connsiteX5385" fmla="*/ 6822420 w 12117871"/>
                <a:gd name="connsiteY5385" fmla="*/ 1565200 h 6072780"/>
                <a:gd name="connsiteX5386" fmla="*/ 6801810 w 12117871"/>
                <a:gd name="connsiteY5386" fmla="*/ 1576836 h 6072780"/>
                <a:gd name="connsiteX5387" fmla="*/ 6776638 w 12117871"/>
                <a:gd name="connsiteY5387" fmla="*/ 1585278 h 6072780"/>
                <a:gd name="connsiteX5388" fmla="*/ 6776638 w 12117871"/>
                <a:gd name="connsiteY5388" fmla="*/ 1555161 h 6072780"/>
                <a:gd name="connsiteX5389" fmla="*/ 6793673 w 12117871"/>
                <a:gd name="connsiteY5389" fmla="*/ 1549078 h 6072780"/>
                <a:gd name="connsiteX5390" fmla="*/ 6809872 w 12117871"/>
                <a:gd name="connsiteY5390" fmla="*/ 1541929 h 6072780"/>
                <a:gd name="connsiteX5391" fmla="*/ 6825994 w 12117871"/>
                <a:gd name="connsiteY5391" fmla="*/ 1533106 h 6072780"/>
                <a:gd name="connsiteX5392" fmla="*/ 6842801 w 12117871"/>
                <a:gd name="connsiteY5392" fmla="*/ 1522003 h 6072780"/>
                <a:gd name="connsiteX5393" fmla="*/ 6150824 w 12117871"/>
                <a:gd name="connsiteY5393" fmla="*/ 1522003 h 6072780"/>
                <a:gd name="connsiteX5394" fmla="*/ 6165731 w 12117871"/>
                <a:gd name="connsiteY5394" fmla="*/ 1522003 h 6072780"/>
                <a:gd name="connsiteX5395" fmla="*/ 6165731 w 12117871"/>
                <a:gd name="connsiteY5395" fmla="*/ 1744984 h 6072780"/>
                <a:gd name="connsiteX5396" fmla="*/ 6130443 w 12117871"/>
                <a:gd name="connsiteY5396" fmla="*/ 1744984 h 6072780"/>
                <a:gd name="connsiteX5397" fmla="*/ 6130443 w 12117871"/>
                <a:gd name="connsiteY5397" fmla="*/ 1565200 h 6072780"/>
                <a:gd name="connsiteX5398" fmla="*/ 6109833 w 12117871"/>
                <a:gd name="connsiteY5398" fmla="*/ 1576836 h 6072780"/>
                <a:gd name="connsiteX5399" fmla="*/ 6084661 w 12117871"/>
                <a:gd name="connsiteY5399" fmla="*/ 1585278 h 6072780"/>
                <a:gd name="connsiteX5400" fmla="*/ 6084661 w 12117871"/>
                <a:gd name="connsiteY5400" fmla="*/ 1555161 h 6072780"/>
                <a:gd name="connsiteX5401" fmla="*/ 6101696 w 12117871"/>
                <a:gd name="connsiteY5401" fmla="*/ 1549078 h 6072780"/>
                <a:gd name="connsiteX5402" fmla="*/ 6117895 w 12117871"/>
                <a:gd name="connsiteY5402" fmla="*/ 1541929 h 6072780"/>
                <a:gd name="connsiteX5403" fmla="*/ 6134017 w 12117871"/>
                <a:gd name="connsiteY5403" fmla="*/ 1533106 h 6072780"/>
                <a:gd name="connsiteX5404" fmla="*/ 6150824 w 12117871"/>
                <a:gd name="connsiteY5404" fmla="*/ 1522003 h 6072780"/>
                <a:gd name="connsiteX5405" fmla="*/ 5862574 w 12117871"/>
                <a:gd name="connsiteY5405" fmla="*/ 1522003 h 6072780"/>
                <a:gd name="connsiteX5406" fmla="*/ 5877481 w 12117871"/>
                <a:gd name="connsiteY5406" fmla="*/ 1522003 h 6072780"/>
                <a:gd name="connsiteX5407" fmla="*/ 5877481 w 12117871"/>
                <a:gd name="connsiteY5407" fmla="*/ 1744984 h 6072780"/>
                <a:gd name="connsiteX5408" fmla="*/ 5842193 w 12117871"/>
                <a:gd name="connsiteY5408" fmla="*/ 1744984 h 6072780"/>
                <a:gd name="connsiteX5409" fmla="*/ 5842193 w 12117871"/>
                <a:gd name="connsiteY5409" fmla="*/ 1565200 h 6072780"/>
                <a:gd name="connsiteX5410" fmla="*/ 5821582 w 12117871"/>
                <a:gd name="connsiteY5410" fmla="*/ 1576836 h 6072780"/>
                <a:gd name="connsiteX5411" fmla="*/ 5796410 w 12117871"/>
                <a:gd name="connsiteY5411" fmla="*/ 1585278 h 6072780"/>
                <a:gd name="connsiteX5412" fmla="*/ 5796410 w 12117871"/>
                <a:gd name="connsiteY5412" fmla="*/ 1555161 h 6072780"/>
                <a:gd name="connsiteX5413" fmla="*/ 5813446 w 12117871"/>
                <a:gd name="connsiteY5413" fmla="*/ 1549078 h 6072780"/>
                <a:gd name="connsiteX5414" fmla="*/ 5829644 w 12117871"/>
                <a:gd name="connsiteY5414" fmla="*/ 1541929 h 6072780"/>
                <a:gd name="connsiteX5415" fmla="*/ 5845767 w 12117871"/>
                <a:gd name="connsiteY5415" fmla="*/ 1533106 h 6072780"/>
                <a:gd name="connsiteX5416" fmla="*/ 5862574 w 12117871"/>
                <a:gd name="connsiteY5416" fmla="*/ 1522003 h 6072780"/>
                <a:gd name="connsiteX5417" fmla="*/ 5479705 w 12117871"/>
                <a:gd name="connsiteY5417" fmla="*/ 1522003 h 6072780"/>
                <a:gd name="connsiteX5418" fmla="*/ 5494612 w 12117871"/>
                <a:gd name="connsiteY5418" fmla="*/ 1522003 h 6072780"/>
                <a:gd name="connsiteX5419" fmla="*/ 5494612 w 12117871"/>
                <a:gd name="connsiteY5419" fmla="*/ 1744984 h 6072780"/>
                <a:gd name="connsiteX5420" fmla="*/ 5459325 w 12117871"/>
                <a:gd name="connsiteY5420" fmla="*/ 1744984 h 6072780"/>
                <a:gd name="connsiteX5421" fmla="*/ 5459325 w 12117871"/>
                <a:gd name="connsiteY5421" fmla="*/ 1565200 h 6072780"/>
                <a:gd name="connsiteX5422" fmla="*/ 5438715 w 12117871"/>
                <a:gd name="connsiteY5422" fmla="*/ 1576836 h 6072780"/>
                <a:gd name="connsiteX5423" fmla="*/ 5413543 w 12117871"/>
                <a:gd name="connsiteY5423" fmla="*/ 1585278 h 6072780"/>
                <a:gd name="connsiteX5424" fmla="*/ 5413543 w 12117871"/>
                <a:gd name="connsiteY5424" fmla="*/ 1555161 h 6072780"/>
                <a:gd name="connsiteX5425" fmla="*/ 5430578 w 12117871"/>
                <a:gd name="connsiteY5425" fmla="*/ 1549078 h 6072780"/>
                <a:gd name="connsiteX5426" fmla="*/ 5446777 w 12117871"/>
                <a:gd name="connsiteY5426" fmla="*/ 1541929 h 6072780"/>
                <a:gd name="connsiteX5427" fmla="*/ 5462898 w 12117871"/>
                <a:gd name="connsiteY5427" fmla="*/ 1533106 h 6072780"/>
                <a:gd name="connsiteX5428" fmla="*/ 5479705 w 12117871"/>
                <a:gd name="connsiteY5428" fmla="*/ 1522003 h 6072780"/>
                <a:gd name="connsiteX5429" fmla="*/ 5335580 w 12117871"/>
                <a:gd name="connsiteY5429" fmla="*/ 1522003 h 6072780"/>
                <a:gd name="connsiteX5430" fmla="*/ 5350487 w 12117871"/>
                <a:gd name="connsiteY5430" fmla="*/ 1522003 h 6072780"/>
                <a:gd name="connsiteX5431" fmla="*/ 5350487 w 12117871"/>
                <a:gd name="connsiteY5431" fmla="*/ 1744984 h 6072780"/>
                <a:gd name="connsiteX5432" fmla="*/ 5315199 w 12117871"/>
                <a:gd name="connsiteY5432" fmla="*/ 1744984 h 6072780"/>
                <a:gd name="connsiteX5433" fmla="*/ 5315199 w 12117871"/>
                <a:gd name="connsiteY5433" fmla="*/ 1565200 h 6072780"/>
                <a:gd name="connsiteX5434" fmla="*/ 5294589 w 12117871"/>
                <a:gd name="connsiteY5434" fmla="*/ 1576836 h 6072780"/>
                <a:gd name="connsiteX5435" fmla="*/ 5269417 w 12117871"/>
                <a:gd name="connsiteY5435" fmla="*/ 1585278 h 6072780"/>
                <a:gd name="connsiteX5436" fmla="*/ 5269417 w 12117871"/>
                <a:gd name="connsiteY5436" fmla="*/ 1555161 h 6072780"/>
                <a:gd name="connsiteX5437" fmla="*/ 5286452 w 12117871"/>
                <a:gd name="connsiteY5437" fmla="*/ 1549078 h 6072780"/>
                <a:gd name="connsiteX5438" fmla="*/ 5302650 w 12117871"/>
                <a:gd name="connsiteY5438" fmla="*/ 1541929 h 6072780"/>
                <a:gd name="connsiteX5439" fmla="*/ 5318773 w 12117871"/>
                <a:gd name="connsiteY5439" fmla="*/ 1533106 h 6072780"/>
                <a:gd name="connsiteX5440" fmla="*/ 5335580 w 12117871"/>
                <a:gd name="connsiteY5440" fmla="*/ 1522003 h 6072780"/>
                <a:gd name="connsiteX5441" fmla="*/ 5191455 w 12117871"/>
                <a:gd name="connsiteY5441" fmla="*/ 1522003 h 6072780"/>
                <a:gd name="connsiteX5442" fmla="*/ 5206362 w 12117871"/>
                <a:gd name="connsiteY5442" fmla="*/ 1522003 h 6072780"/>
                <a:gd name="connsiteX5443" fmla="*/ 5206362 w 12117871"/>
                <a:gd name="connsiteY5443" fmla="*/ 1744984 h 6072780"/>
                <a:gd name="connsiteX5444" fmla="*/ 5171074 w 12117871"/>
                <a:gd name="connsiteY5444" fmla="*/ 1744984 h 6072780"/>
                <a:gd name="connsiteX5445" fmla="*/ 5171074 w 12117871"/>
                <a:gd name="connsiteY5445" fmla="*/ 1565200 h 6072780"/>
                <a:gd name="connsiteX5446" fmla="*/ 5150464 w 12117871"/>
                <a:gd name="connsiteY5446" fmla="*/ 1576836 h 6072780"/>
                <a:gd name="connsiteX5447" fmla="*/ 5125291 w 12117871"/>
                <a:gd name="connsiteY5447" fmla="*/ 1585278 h 6072780"/>
                <a:gd name="connsiteX5448" fmla="*/ 5125291 w 12117871"/>
                <a:gd name="connsiteY5448" fmla="*/ 1555161 h 6072780"/>
                <a:gd name="connsiteX5449" fmla="*/ 5142326 w 12117871"/>
                <a:gd name="connsiteY5449" fmla="*/ 1549078 h 6072780"/>
                <a:gd name="connsiteX5450" fmla="*/ 5158526 w 12117871"/>
                <a:gd name="connsiteY5450" fmla="*/ 1541929 h 6072780"/>
                <a:gd name="connsiteX5451" fmla="*/ 5174648 w 12117871"/>
                <a:gd name="connsiteY5451" fmla="*/ 1533106 h 6072780"/>
                <a:gd name="connsiteX5452" fmla="*/ 5191455 w 12117871"/>
                <a:gd name="connsiteY5452" fmla="*/ 1522003 h 6072780"/>
                <a:gd name="connsiteX5453" fmla="*/ 5047329 w 12117871"/>
                <a:gd name="connsiteY5453" fmla="*/ 1522003 h 6072780"/>
                <a:gd name="connsiteX5454" fmla="*/ 5062237 w 12117871"/>
                <a:gd name="connsiteY5454" fmla="*/ 1522003 h 6072780"/>
                <a:gd name="connsiteX5455" fmla="*/ 5062237 w 12117871"/>
                <a:gd name="connsiteY5455" fmla="*/ 1744984 h 6072780"/>
                <a:gd name="connsiteX5456" fmla="*/ 5026949 w 12117871"/>
                <a:gd name="connsiteY5456" fmla="*/ 1744984 h 6072780"/>
                <a:gd name="connsiteX5457" fmla="*/ 5026949 w 12117871"/>
                <a:gd name="connsiteY5457" fmla="*/ 1565200 h 6072780"/>
                <a:gd name="connsiteX5458" fmla="*/ 5006339 w 12117871"/>
                <a:gd name="connsiteY5458" fmla="*/ 1576836 h 6072780"/>
                <a:gd name="connsiteX5459" fmla="*/ 4981166 w 12117871"/>
                <a:gd name="connsiteY5459" fmla="*/ 1585278 h 6072780"/>
                <a:gd name="connsiteX5460" fmla="*/ 4981166 w 12117871"/>
                <a:gd name="connsiteY5460" fmla="*/ 1555161 h 6072780"/>
                <a:gd name="connsiteX5461" fmla="*/ 4998201 w 12117871"/>
                <a:gd name="connsiteY5461" fmla="*/ 1549078 h 6072780"/>
                <a:gd name="connsiteX5462" fmla="*/ 5014401 w 12117871"/>
                <a:gd name="connsiteY5462" fmla="*/ 1541929 h 6072780"/>
                <a:gd name="connsiteX5463" fmla="*/ 5030524 w 12117871"/>
                <a:gd name="connsiteY5463" fmla="*/ 1533106 h 6072780"/>
                <a:gd name="connsiteX5464" fmla="*/ 5047329 w 12117871"/>
                <a:gd name="connsiteY5464" fmla="*/ 1522003 h 6072780"/>
                <a:gd name="connsiteX5465" fmla="*/ 4903204 w 12117871"/>
                <a:gd name="connsiteY5465" fmla="*/ 1522003 h 6072780"/>
                <a:gd name="connsiteX5466" fmla="*/ 4918113 w 12117871"/>
                <a:gd name="connsiteY5466" fmla="*/ 1522003 h 6072780"/>
                <a:gd name="connsiteX5467" fmla="*/ 4918113 w 12117871"/>
                <a:gd name="connsiteY5467" fmla="*/ 1744984 h 6072780"/>
                <a:gd name="connsiteX5468" fmla="*/ 4882824 w 12117871"/>
                <a:gd name="connsiteY5468" fmla="*/ 1744984 h 6072780"/>
                <a:gd name="connsiteX5469" fmla="*/ 4882824 w 12117871"/>
                <a:gd name="connsiteY5469" fmla="*/ 1565200 h 6072780"/>
                <a:gd name="connsiteX5470" fmla="*/ 4862214 w 12117871"/>
                <a:gd name="connsiteY5470" fmla="*/ 1576836 h 6072780"/>
                <a:gd name="connsiteX5471" fmla="*/ 4837041 w 12117871"/>
                <a:gd name="connsiteY5471" fmla="*/ 1585278 h 6072780"/>
                <a:gd name="connsiteX5472" fmla="*/ 4837041 w 12117871"/>
                <a:gd name="connsiteY5472" fmla="*/ 1555161 h 6072780"/>
                <a:gd name="connsiteX5473" fmla="*/ 4854077 w 12117871"/>
                <a:gd name="connsiteY5473" fmla="*/ 1549078 h 6072780"/>
                <a:gd name="connsiteX5474" fmla="*/ 4870276 w 12117871"/>
                <a:gd name="connsiteY5474" fmla="*/ 1541929 h 6072780"/>
                <a:gd name="connsiteX5475" fmla="*/ 4886398 w 12117871"/>
                <a:gd name="connsiteY5475" fmla="*/ 1533106 h 6072780"/>
                <a:gd name="connsiteX5476" fmla="*/ 4903204 w 12117871"/>
                <a:gd name="connsiteY5476" fmla="*/ 1522003 h 6072780"/>
                <a:gd name="connsiteX5477" fmla="*/ 4514973 w 12117871"/>
                <a:gd name="connsiteY5477" fmla="*/ 1522003 h 6072780"/>
                <a:gd name="connsiteX5478" fmla="*/ 4529878 w 12117871"/>
                <a:gd name="connsiteY5478" fmla="*/ 1522003 h 6072780"/>
                <a:gd name="connsiteX5479" fmla="*/ 4529878 w 12117871"/>
                <a:gd name="connsiteY5479" fmla="*/ 1744984 h 6072780"/>
                <a:gd name="connsiteX5480" fmla="*/ 4494591 w 12117871"/>
                <a:gd name="connsiteY5480" fmla="*/ 1744984 h 6072780"/>
                <a:gd name="connsiteX5481" fmla="*/ 4494591 w 12117871"/>
                <a:gd name="connsiteY5481" fmla="*/ 1565200 h 6072780"/>
                <a:gd name="connsiteX5482" fmla="*/ 4473982 w 12117871"/>
                <a:gd name="connsiteY5482" fmla="*/ 1576836 h 6072780"/>
                <a:gd name="connsiteX5483" fmla="*/ 4448809 w 12117871"/>
                <a:gd name="connsiteY5483" fmla="*/ 1585278 h 6072780"/>
                <a:gd name="connsiteX5484" fmla="*/ 4448809 w 12117871"/>
                <a:gd name="connsiteY5484" fmla="*/ 1555161 h 6072780"/>
                <a:gd name="connsiteX5485" fmla="*/ 4465844 w 12117871"/>
                <a:gd name="connsiteY5485" fmla="*/ 1549078 h 6072780"/>
                <a:gd name="connsiteX5486" fmla="*/ 4482043 w 12117871"/>
                <a:gd name="connsiteY5486" fmla="*/ 1541929 h 6072780"/>
                <a:gd name="connsiteX5487" fmla="*/ 4498165 w 12117871"/>
                <a:gd name="connsiteY5487" fmla="*/ 1533106 h 6072780"/>
                <a:gd name="connsiteX5488" fmla="*/ 4514973 w 12117871"/>
                <a:gd name="connsiteY5488" fmla="*/ 1522003 h 6072780"/>
                <a:gd name="connsiteX5489" fmla="*/ 4248864 w 12117871"/>
                <a:gd name="connsiteY5489" fmla="*/ 1522003 h 6072780"/>
                <a:gd name="connsiteX5490" fmla="*/ 4263771 w 12117871"/>
                <a:gd name="connsiteY5490" fmla="*/ 1522003 h 6072780"/>
                <a:gd name="connsiteX5491" fmla="*/ 4263771 w 12117871"/>
                <a:gd name="connsiteY5491" fmla="*/ 1744984 h 6072780"/>
                <a:gd name="connsiteX5492" fmla="*/ 4228482 w 12117871"/>
                <a:gd name="connsiteY5492" fmla="*/ 1744984 h 6072780"/>
                <a:gd name="connsiteX5493" fmla="*/ 4228482 w 12117871"/>
                <a:gd name="connsiteY5493" fmla="*/ 1565200 h 6072780"/>
                <a:gd name="connsiteX5494" fmla="*/ 4207874 w 12117871"/>
                <a:gd name="connsiteY5494" fmla="*/ 1576836 h 6072780"/>
                <a:gd name="connsiteX5495" fmla="*/ 4182701 w 12117871"/>
                <a:gd name="connsiteY5495" fmla="*/ 1585278 h 6072780"/>
                <a:gd name="connsiteX5496" fmla="*/ 4182701 w 12117871"/>
                <a:gd name="connsiteY5496" fmla="*/ 1555161 h 6072780"/>
                <a:gd name="connsiteX5497" fmla="*/ 4199735 w 12117871"/>
                <a:gd name="connsiteY5497" fmla="*/ 1549078 h 6072780"/>
                <a:gd name="connsiteX5498" fmla="*/ 4215934 w 12117871"/>
                <a:gd name="connsiteY5498" fmla="*/ 1541929 h 6072780"/>
                <a:gd name="connsiteX5499" fmla="*/ 4232057 w 12117871"/>
                <a:gd name="connsiteY5499" fmla="*/ 1533106 h 6072780"/>
                <a:gd name="connsiteX5500" fmla="*/ 4248864 w 12117871"/>
                <a:gd name="connsiteY5500" fmla="*/ 1522003 h 6072780"/>
                <a:gd name="connsiteX5501" fmla="*/ 3637266 w 12117871"/>
                <a:gd name="connsiteY5501" fmla="*/ 1522003 h 6072780"/>
                <a:gd name="connsiteX5502" fmla="*/ 3652172 w 12117871"/>
                <a:gd name="connsiteY5502" fmla="*/ 1522003 h 6072780"/>
                <a:gd name="connsiteX5503" fmla="*/ 3652172 w 12117871"/>
                <a:gd name="connsiteY5503" fmla="*/ 1744984 h 6072780"/>
                <a:gd name="connsiteX5504" fmla="*/ 3616884 w 12117871"/>
                <a:gd name="connsiteY5504" fmla="*/ 1744984 h 6072780"/>
                <a:gd name="connsiteX5505" fmla="*/ 3616884 w 12117871"/>
                <a:gd name="connsiteY5505" fmla="*/ 1565200 h 6072780"/>
                <a:gd name="connsiteX5506" fmla="*/ 3596275 w 12117871"/>
                <a:gd name="connsiteY5506" fmla="*/ 1576836 h 6072780"/>
                <a:gd name="connsiteX5507" fmla="*/ 3571102 w 12117871"/>
                <a:gd name="connsiteY5507" fmla="*/ 1585278 h 6072780"/>
                <a:gd name="connsiteX5508" fmla="*/ 3571102 w 12117871"/>
                <a:gd name="connsiteY5508" fmla="*/ 1555161 h 6072780"/>
                <a:gd name="connsiteX5509" fmla="*/ 3588137 w 12117871"/>
                <a:gd name="connsiteY5509" fmla="*/ 1549078 h 6072780"/>
                <a:gd name="connsiteX5510" fmla="*/ 3604336 w 12117871"/>
                <a:gd name="connsiteY5510" fmla="*/ 1541929 h 6072780"/>
                <a:gd name="connsiteX5511" fmla="*/ 3620460 w 12117871"/>
                <a:gd name="connsiteY5511" fmla="*/ 1533106 h 6072780"/>
                <a:gd name="connsiteX5512" fmla="*/ 3637266 w 12117871"/>
                <a:gd name="connsiteY5512" fmla="*/ 1522003 h 6072780"/>
                <a:gd name="connsiteX5513" fmla="*/ 3371159 w 12117871"/>
                <a:gd name="connsiteY5513" fmla="*/ 1522003 h 6072780"/>
                <a:gd name="connsiteX5514" fmla="*/ 3386064 w 12117871"/>
                <a:gd name="connsiteY5514" fmla="*/ 1522003 h 6072780"/>
                <a:gd name="connsiteX5515" fmla="*/ 3386064 w 12117871"/>
                <a:gd name="connsiteY5515" fmla="*/ 1744984 h 6072780"/>
                <a:gd name="connsiteX5516" fmla="*/ 3350777 w 12117871"/>
                <a:gd name="connsiteY5516" fmla="*/ 1744984 h 6072780"/>
                <a:gd name="connsiteX5517" fmla="*/ 3350777 w 12117871"/>
                <a:gd name="connsiteY5517" fmla="*/ 1565200 h 6072780"/>
                <a:gd name="connsiteX5518" fmla="*/ 3330167 w 12117871"/>
                <a:gd name="connsiteY5518" fmla="*/ 1576836 h 6072780"/>
                <a:gd name="connsiteX5519" fmla="*/ 3304994 w 12117871"/>
                <a:gd name="connsiteY5519" fmla="*/ 1585278 h 6072780"/>
                <a:gd name="connsiteX5520" fmla="*/ 3304994 w 12117871"/>
                <a:gd name="connsiteY5520" fmla="*/ 1555161 h 6072780"/>
                <a:gd name="connsiteX5521" fmla="*/ 3322030 w 12117871"/>
                <a:gd name="connsiteY5521" fmla="*/ 1549078 h 6072780"/>
                <a:gd name="connsiteX5522" fmla="*/ 3338229 w 12117871"/>
                <a:gd name="connsiteY5522" fmla="*/ 1541929 h 6072780"/>
                <a:gd name="connsiteX5523" fmla="*/ 3354351 w 12117871"/>
                <a:gd name="connsiteY5523" fmla="*/ 1533106 h 6072780"/>
                <a:gd name="connsiteX5524" fmla="*/ 3371159 w 12117871"/>
                <a:gd name="connsiteY5524" fmla="*/ 1522003 h 6072780"/>
                <a:gd name="connsiteX5525" fmla="*/ 2764811 w 12117871"/>
                <a:gd name="connsiteY5525" fmla="*/ 1522003 h 6072780"/>
                <a:gd name="connsiteX5526" fmla="*/ 2779717 w 12117871"/>
                <a:gd name="connsiteY5526" fmla="*/ 1522003 h 6072780"/>
                <a:gd name="connsiteX5527" fmla="*/ 2779717 w 12117871"/>
                <a:gd name="connsiteY5527" fmla="*/ 1744984 h 6072780"/>
                <a:gd name="connsiteX5528" fmla="*/ 2744429 w 12117871"/>
                <a:gd name="connsiteY5528" fmla="*/ 1744984 h 6072780"/>
                <a:gd name="connsiteX5529" fmla="*/ 2744429 w 12117871"/>
                <a:gd name="connsiteY5529" fmla="*/ 1565200 h 6072780"/>
                <a:gd name="connsiteX5530" fmla="*/ 2723820 w 12117871"/>
                <a:gd name="connsiteY5530" fmla="*/ 1576836 h 6072780"/>
                <a:gd name="connsiteX5531" fmla="*/ 2698648 w 12117871"/>
                <a:gd name="connsiteY5531" fmla="*/ 1585278 h 6072780"/>
                <a:gd name="connsiteX5532" fmla="*/ 2698648 w 12117871"/>
                <a:gd name="connsiteY5532" fmla="*/ 1555161 h 6072780"/>
                <a:gd name="connsiteX5533" fmla="*/ 2715682 w 12117871"/>
                <a:gd name="connsiteY5533" fmla="*/ 1549078 h 6072780"/>
                <a:gd name="connsiteX5534" fmla="*/ 2731881 w 12117871"/>
                <a:gd name="connsiteY5534" fmla="*/ 1541929 h 6072780"/>
                <a:gd name="connsiteX5535" fmla="*/ 2748004 w 12117871"/>
                <a:gd name="connsiteY5535" fmla="*/ 1533106 h 6072780"/>
                <a:gd name="connsiteX5536" fmla="*/ 2764811 w 12117871"/>
                <a:gd name="connsiteY5536" fmla="*/ 1522003 h 6072780"/>
                <a:gd name="connsiteX5537" fmla="*/ 2498703 w 12117871"/>
                <a:gd name="connsiteY5537" fmla="*/ 1522003 h 6072780"/>
                <a:gd name="connsiteX5538" fmla="*/ 2513609 w 12117871"/>
                <a:gd name="connsiteY5538" fmla="*/ 1522003 h 6072780"/>
                <a:gd name="connsiteX5539" fmla="*/ 2513609 w 12117871"/>
                <a:gd name="connsiteY5539" fmla="*/ 1744984 h 6072780"/>
                <a:gd name="connsiteX5540" fmla="*/ 2478321 w 12117871"/>
                <a:gd name="connsiteY5540" fmla="*/ 1744984 h 6072780"/>
                <a:gd name="connsiteX5541" fmla="*/ 2478321 w 12117871"/>
                <a:gd name="connsiteY5541" fmla="*/ 1565200 h 6072780"/>
                <a:gd name="connsiteX5542" fmla="*/ 2457712 w 12117871"/>
                <a:gd name="connsiteY5542" fmla="*/ 1576836 h 6072780"/>
                <a:gd name="connsiteX5543" fmla="*/ 2432539 w 12117871"/>
                <a:gd name="connsiteY5543" fmla="*/ 1585278 h 6072780"/>
                <a:gd name="connsiteX5544" fmla="*/ 2432539 w 12117871"/>
                <a:gd name="connsiteY5544" fmla="*/ 1555161 h 6072780"/>
                <a:gd name="connsiteX5545" fmla="*/ 2449574 w 12117871"/>
                <a:gd name="connsiteY5545" fmla="*/ 1549078 h 6072780"/>
                <a:gd name="connsiteX5546" fmla="*/ 2465773 w 12117871"/>
                <a:gd name="connsiteY5546" fmla="*/ 1541929 h 6072780"/>
                <a:gd name="connsiteX5547" fmla="*/ 2481896 w 12117871"/>
                <a:gd name="connsiteY5547" fmla="*/ 1533106 h 6072780"/>
                <a:gd name="connsiteX5548" fmla="*/ 2498703 w 12117871"/>
                <a:gd name="connsiteY5548" fmla="*/ 1522003 h 6072780"/>
                <a:gd name="connsiteX5549" fmla="*/ 2086936 w 12117871"/>
                <a:gd name="connsiteY5549" fmla="*/ 1522003 h 6072780"/>
                <a:gd name="connsiteX5550" fmla="*/ 2101842 w 12117871"/>
                <a:gd name="connsiteY5550" fmla="*/ 1522003 h 6072780"/>
                <a:gd name="connsiteX5551" fmla="*/ 2101842 w 12117871"/>
                <a:gd name="connsiteY5551" fmla="*/ 1744984 h 6072780"/>
                <a:gd name="connsiteX5552" fmla="*/ 2066554 w 12117871"/>
                <a:gd name="connsiteY5552" fmla="*/ 1744984 h 6072780"/>
                <a:gd name="connsiteX5553" fmla="*/ 2066554 w 12117871"/>
                <a:gd name="connsiteY5553" fmla="*/ 1565200 h 6072780"/>
                <a:gd name="connsiteX5554" fmla="*/ 2045945 w 12117871"/>
                <a:gd name="connsiteY5554" fmla="*/ 1576836 h 6072780"/>
                <a:gd name="connsiteX5555" fmla="*/ 2020772 w 12117871"/>
                <a:gd name="connsiteY5555" fmla="*/ 1585278 h 6072780"/>
                <a:gd name="connsiteX5556" fmla="*/ 2020772 w 12117871"/>
                <a:gd name="connsiteY5556" fmla="*/ 1555161 h 6072780"/>
                <a:gd name="connsiteX5557" fmla="*/ 2037808 w 12117871"/>
                <a:gd name="connsiteY5557" fmla="*/ 1549078 h 6072780"/>
                <a:gd name="connsiteX5558" fmla="*/ 2054006 w 12117871"/>
                <a:gd name="connsiteY5558" fmla="*/ 1541929 h 6072780"/>
                <a:gd name="connsiteX5559" fmla="*/ 2070129 w 12117871"/>
                <a:gd name="connsiteY5559" fmla="*/ 1533106 h 6072780"/>
                <a:gd name="connsiteX5560" fmla="*/ 2086936 w 12117871"/>
                <a:gd name="connsiteY5560" fmla="*/ 1522003 h 6072780"/>
                <a:gd name="connsiteX5561" fmla="*/ 1953882 w 12117871"/>
                <a:gd name="connsiteY5561" fmla="*/ 1522003 h 6072780"/>
                <a:gd name="connsiteX5562" fmla="*/ 1968788 w 12117871"/>
                <a:gd name="connsiteY5562" fmla="*/ 1522003 h 6072780"/>
                <a:gd name="connsiteX5563" fmla="*/ 1968788 w 12117871"/>
                <a:gd name="connsiteY5563" fmla="*/ 1744984 h 6072780"/>
                <a:gd name="connsiteX5564" fmla="*/ 1933501 w 12117871"/>
                <a:gd name="connsiteY5564" fmla="*/ 1744984 h 6072780"/>
                <a:gd name="connsiteX5565" fmla="*/ 1933501 w 12117871"/>
                <a:gd name="connsiteY5565" fmla="*/ 1565200 h 6072780"/>
                <a:gd name="connsiteX5566" fmla="*/ 1912891 w 12117871"/>
                <a:gd name="connsiteY5566" fmla="*/ 1576836 h 6072780"/>
                <a:gd name="connsiteX5567" fmla="*/ 1887718 w 12117871"/>
                <a:gd name="connsiteY5567" fmla="*/ 1585278 h 6072780"/>
                <a:gd name="connsiteX5568" fmla="*/ 1887718 w 12117871"/>
                <a:gd name="connsiteY5568" fmla="*/ 1555161 h 6072780"/>
                <a:gd name="connsiteX5569" fmla="*/ 1904753 w 12117871"/>
                <a:gd name="connsiteY5569" fmla="*/ 1549078 h 6072780"/>
                <a:gd name="connsiteX5570" fmla="*/ 1920952 w 12117871"/>
                <a:gd name="connsiteY5570" fmla="*/ 1541929 h 6072780"/>
                <a:gd name="connsiteX5571" fmla="*/ 1937075 w 12117871"/>
                <a:gd name="connsiteY5571" fmla="*/ 1533106 h 6072780"/>
                <a:gd name="connsiteX5572" fmla="*/ 1953882 w 12117871"/>
                <a:gd name="connsiteY5572" fmla="*/ 1522003 h 6072780"/>
                <a:gd name="connsiteX5573" fmla="*/ 1820828 w 12117871"/>
                <a:gd name="connsiteY5573" fmla="*/ 1522003 h 6072780"/>
                <a:gd name="connsiteX5574" fmla="*/ 1835734 w 12117871"/>
                <a:gd name="connsiteY5574" fmla="*/ 1522003 h 6072780"/>
                <a:gd name="connsiteX5575" fmla="*/ 1835734 w 12117871"/>
                <a:gd name="connsiteY5575" fmla="*/ 1744984 h 6072780"/>
                <a:gd name="connsiteX5576" fmla="*/ 1800447 w 12117871"/>
                <a:gd name="connsiteY5576" fmla="*/ 1744984 h 6072780"/>
                <a:gd name="connsiteX5577" fmla="*/ 1800447 w 12117871"/>
                <a:gd name="connsiteY5577" fmla="*/ 1565200 h 6072780"/>
                <a:gd name="connsiteX5578" fmla="*/ 1779837 w 12117871"/>
                <a:gd name="connsiteY5578" fmla="*/ 1576836 h 6072780"/>
                <a:gd name="connsiteX5579" fmla="*/ 1754664 w 12117871"/>
                <a:gd name="connsiteY5579" fmla="*/ 1585278 h 6072780"/>
                <a:gd name="connsiteX5580" fmla="*/ 1754664 w 12117871"/>
                <a:gd name="connsiteY5580" fmla="*/ 1555161 h 6072780"/>
                <a:gd name="connsiteX5581" fmla="*/ 1771699 w 12117871"/>
                <a:gd name="connsiteY5581" fmla="*/ 1549078 h 6072780"/>
                <a:gd name="connsiteX5582" fmla="*/ 1787898 w 12117871"/>
                <a:gd name="connsiteY5582" fmla="*/ 1541929 h 6072780"/>
                <a:gd name="connsiteX5583" fmla="*/ 1804021 w 12117871"/>
                <a:gd name="connsiteY5583" fmla="*/ 1533106 h 6072780"/>
                <a:gd name="connsiteX5584" fmla="*/ 1820828 w 12117871"/>
                <a:gd name="connsiteY5584" fmla="*/ 1522003 h 6072780"/>
                <a:gd name="connsiteX5585" fmla="*/ 1678216 w 12117871"/>
                <a:gd name="connsiteY5585" fmla="*/ 1522003 h 6072780"/>
                <a:gd name="connsiteX5586" fmla="*/ 1693123 w 12117871"/>
                <a:gd name="connsiteY5586" fmla="*/ 1522003 h 6072780"/>
                <a:gd name="connsiteX5587" fmla="*/ 1693123 w 12117871"/>
                <a:gd name="connsiteY5587" fmla="*/ 1744984 h 6072780"/>
                <a:gd name="connsiteX5588" fmla="*/ 1657834 w 12117871"/>
                <a:gd name="connsiteY5588" fmla="*/ 1744984 h 6072780"/>
                <a:gd name="connsiteX5589" fmla="*/ 1657834 w 12117871"/>
                <a:gd name="connsiteY5589" fmla="*/ 1565200 h 6072780"/>
                <a:gd name="connsiteX5590" fmla="*/ 1637225 w 12117871"/>
                <a:gd name="connsiteY5590" fmla="*/ 1576836 h 6072780"/>
                <a:gd name="connsiteX5591" fmla="*/ 1612053 w 12117871"/>
                <a:gd name="connsiteY5591" fmla="*/ 1585278 h 6072780"/>
                <a:gd name="connsiteX5592" fmla="*/ 1612053 w 12117871"/>
                <a:gd name="connsiteY5592" fmla="*/ 1555161 h 6072780"/>
                <a:gd name="connsiteX5593" fmla="*/ 1629088 w 12117871"/>
                <a:gd name="connsiteY5593" fmla="*/ 1549078 h 6072780"/>
                <a:gd name="connsiteX5594" fmla="*/ 1645287 w 12117871"/>
                <a:gd name="connsiteY5594" fmla="*/ 1541929 h 6072780"/>
                <a:gd name="connsiteX5595" fmla="*/ 1661409 w 12117871"/>
                <a:gd name="connsiteY5595" fmla="*/ 1533106 h 6072780"/>
                <a:gd name="connsiteX5596" fmla="*/ 1678216 w 12117871"/>
                <a:gd name="connsiteY5596" fmla="*/ 1522003 h 6072780"/>
                <a:gd name="connsiteX5597" fmla="*/ 922825 w 12117871"/>
                <a:gd name="connsiteY5597" fmla="*/ 1522003 h 6072780"/>
                <a:gd name="connsiteX5598" fmla="*/ 937731 w 12117871"/>
                <a:gd name="connsiteY5598" fmla="*/ 1522003 h 6072780"/>
                <a:gd name="connsiteX5599" fmla="*/ 937731 w 12117871"/>
                <a:gd name="connsiteY5599" fmla="*/ 1744984 h 6072780"/>
                <a:gd name="connsiteX5600" fmla="*/ 902443 w 12117871"/>
                <a:gd name="connsiteY5600" fmla="*/ 1744984 h 6072780"/>
                <a:gd name="connsiteX5601" fmla="*/ 902443 w 12117871"/>
                <a:gd name="connsiteY5601" fmla="*/ 1565200 h 6072780"/>
                <a:gd name="connsiteX5602" fmla="*/ 881833 w 12117871"/>
                <a:gd name="connsiteY5602" fmla="*/ 1576836 h 6072780"/>
                <a:gd name="connsiteX5603" fmla="*/ 856661 w 12117871"/>
                <a:gd name="connsiteY5603" fmla="*/ 1585278 h 6072780"/>
                <a:gd name="connsiteX5604" fmla="*/ 856661 w 12117871"/>
                <a:gd name="connsiteY5604" fmla="*/ 1555161 h 6072780"/>
                <a:gd name="connsiteX5605" fmla="*/ 873696 w 12117871"/>
                <a:gd name="connsiteY5605" fmla="*/ 1549078 h 6072780"/>
                <a:gd name="connsiteX5606" fmla="*/ 889895 w 12117871"/>
                <a:gd name="connsiteY5606" fmla="*/ 1541929 h 6072780"/>
                <a:gd name="connsiteX5607" fmla="*/ 906017 w 12117871"/>
                <a:gd name="connsiteY5607" fmla="*/ 1533106 h 6072780"/>
                <a:gd name="connsiteX5608" fmla="*/ 922825 w 12117871"/>
                <a:gd name="connsiteY5608" fmla="*/ 1522003 h 6072780"/>
                <a:gd name="connsiteX5609" fmla="*/ 789770 w 12117871"/>
                <a:gd name="connsiteY5609" fmla="*/ 1522003 h 6072780"/>
                <a:gd name="connsiteX5610" fmla="*/ 804677 w 12117871"/>
                <a:gd name="connsiteY5610" fmla="*/ 1522003 h 6072780"/>
                <a:gd name="connsiteX5611" fmla="*/ 804677 w 12117871"/>
                <a:gd name="connsiteY5611" fmla="*/ 1744984 h 6072780"/>
                <a:gd name="connsiteX5612" fmla="*/ 769389 w 12117871"/>
                <a:gd name="connsiteY5612" fmla="*/ 1744984 h 6072780"/>
                <a:gd name="connsiteX5613" fmla="*/ 769389 w 12117871"/>
                <a:gd name="connsiteY5613" fmla="*/ 1565200 h 6072780"/>
                <a:gd name="connsiteX5614" fmla="*/ 748779 w 12117871"/>
                <a:gd name="connsiteY5614" fmla="*/ 1576836 h 6072780"/>
                <a:gd name="connsiteX5615" fmla="*/ 723607 w 12117871"/>
                <a:gd name="connsiteY5615" fmla="*/ 1585278 h 6072780"/>
                <a:gd name="connsiteX5616" fmla="*/ 723607 w 12117871"/>
                <a:gd name="connsiteY5616" fmla="*/ 1555161 h 6072780"/>
                <a:gd name="connsiteX5617" fmla="*/ 740642 w 12117871"/>
                <a:gd name="connsiteY5617" fmla="*/ 1549078 h 6072780"/>
                <a:gd name="connsiteX5618" fmla="*/ 756841 w 12117871"/>
                <a:gd name="connsiteY5618" fmla="*/ 1541929 h 6072780"/>
                <a:gd name="connsiteX5619" fmla="*/ 772963 w 12117871"/>
                <a:gd name="connsiteY5619" fmla="*/ 1533106 h 6072780"/>
                <a:gd name="connsiteX5620" fmla="*/ 789770 w 12117871"/>
                <a:gd name="connsiteY5620" fmla="*/ 1522003 h 6072780"/>
                <a:gd name="connsiteX5621" fmla="*/ 10091849 w 12117871"/>
                <a:gd name="connsiteY5621" fmla="*/ 1522002 h 6072780"/>
                <a:gd name="connsiteX5622" fmla="*/ 10163016 w 12117871"/>
                <a:gd name="connsiteY5622" fmla="*/ 1632590 h 6072780"/>
                <a:gd name="connsiteX5623" fmla="*/ 10142930 w 12117871"/>
                <a:gd name="connsiteY5623" fmla="*/ 1716169 h 6072780"/>
                <a:gd name="connsiteX5624" fmla="*/ 10086733 w 12117871"/>
                <a:gd name="connsiteY5624" fmla="*/ 1744982 h 6072780"/>
                <a:gd name="connsiteX5625" fmla="*/ 10034148 w 12117871"/>
                <a:gd name="connsiteY5625" fmla="*/ 1717449 h 6072780"/>
                <a:gd name="connsiteX5626" fmla="*/ 10015265 w 12117871"/>
                <a:gd name="connsiteY5626" fmla="*/ 1637857 h 6072780"/>
                <a:gd name="connsiteX5627" fmla="*/ 10034975 w 12117871"/>
                <a:gd name="connsiteY5627" fmla="*/ 1551343 h 6072780"/>
                <a:gd name="connsiteX5628" fmla="*/ 10091849 w 12117871"/>
                <a:gd name="connsiteY5628" fmla="*/ 1522002 h 6072780"/>
                <a:gd name="connsiteX5629" fmla="*/ 9870926 w 12117871"/>
                <a:gd name="connsiteY5629" fmla="*/ 1522002 h 6072780"/>
                <a:gd name="connsiteX5630" fmla="*/ 9942093 w 12117871"/>
                <a:gd name="connsiteY5630" fmla="*/ 1632590 h 6072780"/>
                <a:gd name="connsiteX5631" fmla="*/ 9922007 w 12117871"/>
                <a:gd name="connsiteY5631" fmla="*/ 1716169 h 6072780"/>
                <a:gd name="connsiteX5632" fmla="*/ 9865810 w 12117871"/>
                <a:gd name="connsiteY5632" fmla="*/ 1744982 h 6072780"/>
                <a:gd name="connsiteX5633" fmla="*/ 9813225 w 12117871"/>
                <a:gd name="connsiteY5633" fmla="*/ 1717449 h 6072780"/>
                <a:gd name="connsiteX5634" fmla="*/ 9794342 w 12117871"/>
                <a:gd name="connsiteY5634" fmla="*/ 1637857 h 6072780"/>
                <a:gd name="connsiteX5635" fmla="*/ 9814052 w 12117871"/>
                <a:gd name="connsiteY5635" fmla="*/ 1551343 h 6072780"/>
                <a:gd name="connsiteX5636" fmla="*/ 9870926 w 12117871"/>
                <a:gd name="connsiteY5636" fmla="*/ 1522002 h 6072780"/>
                <a:gd name="connsiteX5637" fmla="*/ 9209266 w 12117871"/>
                <a:gd name="connsiteY5637" fmla="*/ 1522002 h 6072780"/>
                <a:gd name="connsiteX5638" fmla="*/ 9280433 w 12117871"/>
                <a:gd name="connsiteY5638" fmla="*/ 1632590 h 6072780"/>
                <a:gd name="connsiteX5639" fmla="*/ 9260347 w 12117871"/>
                <a:gd name="connsiteY5639" fmla="*/ 1716169 h 6072780"/>
                <a:gd name="connsiteX5640" fmla="*/ 9204150 w 12117871"/>
                <a:gd name="connsiteY5640" fmla="*/ 1744982 h 6072780"/>
                <a:gd name="connsiteX5641" fmla="*/ 9151565 w 12117871"/>
                <a:gd name="connsiteY5641" fmla="*/ 1717449 h 6072780"/>
                <a:gd name="connsiteX5642" fmla="*/ 9132682 w 12117871"/>
                <a:gd name="connsiteY5642" fmla="*/ 1637857 h 6072780"/>
                <a:gd name="connsiteX5643" fmla="*/ 9152392 w 12117871"/>
                <a:gd name="connsiteY5643" fmla="*/ 1551343 h 6072780"/>
                <a:gd name="connsiteX5644" fmla="*/ 9209266 w 12117871"/>
                <a:gd name="connsiteY5644" fmla="*/ 1522002 h 6072780"/>
                <a:gd name="connsiteX5645" fmla="*/ 8988343 w 12117871"/>
                <a:gd name="connsiteY5645" fmla="*/ 1522002 h 6072780"/>
                <a:gd name="connsiteX5646" fmla="*/ 9059510 w 12117871"/>
                <a:gd name="connsiteY5646" fmla="*/ 1632590 h 6072780"/>
                <a:gd name="connsiteX5647" fmla="*/ 9039424 w 12117871"/>
                <a:gd name="connsiteY5647" fmla="*/ 1716169 h 6072780"/>
                <a:gd name="connsiteX5648" fmla="*/ 8983227 w 12117871"/>
                <a:gd name="connsiteY5648" fmla="*/ 1744982 h 6072780"/>
                <a:gd name="connsiteX5649" fmla="*/ 8930642 w 12117871"/>
                <a:gd name="connsiteY5649" fmla="*/ 1717449 h 6072780"/>
                <a:gd name="connsiteX5650" fmla="*/ 8911759 w 12117871"/>
                <a:gd name="connsiteY5650" fmla="*/ 1637857 h 6072780"/>
                <a:gd name="connsiteX5651" fmla="*/ 8931469 w 12117871"/>
                <a:gd name="connsiteY5651" fmla="*/ 1551343 h 6072780"/>
                <a:gd name="connsiteX5652" fmla="*/ 8988343 w 12117871"/>
                <a:gd name="connsiteY5652" fmla="*/ 1522002 h 6072780"/>
                <a:gd name="connsiteX5653" fmla="*/ 4035797 w 12117871"/>
                <a:gd name="connsiteY5653" fmla="*/ 1522002 h 6072780"/>
                <a:gd name="connsiteX5654" fmla="*/ 4106964 w 12117871"/>
                <a:gd name="connsiteY5654" fmla="*/ 1632590 h 6072780"/>
                <a:gd name="connsiteX5655" fmla="*/ 4086878 w 12117871"/>
                <a:gd name="connsiteY5655" fmla="*/ 1716169 h 6072780"/>
                <a:gd name="connsiteX5656" fmla="*/ 4030681 w 12117871"/>
                <a:gd name="connsiteY5656" fmla="*/ 1744982 h 6072780"/>
                <a:gd name="connsiteX5657" fmla="*/ 3978096 w 12117871"/>
                <a:gd name="connsiteY5657" fmla="*/ 1717449 h 6072780"/>
                <a:gd name="connsiteX5658" fmla="*/ 3959213 w 12117871"/>
                <a:gd name="connsiteY5658" fmla="*/ 1637857 h 6072780"/>
                <a:gd name="connsiteX5659" fmla="*/ 3978923 w 12117871"/>
                <a:gd name="connsiteY5659" fmla="*/ 1551343 h 6072780"/>
                <a:gd name="connsiteX5660" fmla="*/ 4035797 w 12117871"/>
                <a:gd name="connsiteY5660" fmla="*/ 1522002 h 6072780"/>
                <a:gd name="connsiteX5661" fmla="*/ 3814874 w 12117871"/>
                <a:gd name="connsiteY5661" fmla="*/ 1522002 h 6072780"/>
                <a:gd name="connsiteX5662" fmla="*/ 3886042 w 12117871"/>
                <a:gd name="connsiteY5662" fmla="*/ 1632590 h 6072780"/>
                <a:gd name="connsiteX5663" fmla="*/ 3865955 w 12117871"/>
                <a:gd name="connsiteY5663" fmla="*/ 1716169 h 6072780"/>
                <a:gd name="connsiteX5664" fmla="*/ 3809758 w 12117871"/>
                <a:gd name="connsiteY5664" fmla="*/ 1744982 h 6072780"/>
                <a:gd name="connsiteX5665" fmla="*/ 3757173 w 12117871"/>
                <a:gd name="connsiteY5665" fmla="*/ 1717449 h 6072780"/>
                <a:gd name="connsiteX5666" fmla="*/ 3738290 w 12117871"/>
                <a:gd name="connsiteY5666" fmla="*/ 1637857 h 6072780"/>
                <a:gd name="connsiteX5667" fmla="*/ 3758000 w 12117871"/>
                <a:gd name="connsiteY5667" fmla="*/ 1551343 h 6072780"/>
                <a:gd name="connsiteX5668" fmla="*/ 3814874 w 12117871"/>
                <a:gd name="connsiteY5668" fmla="*/ 1522002 h 6072780"/>
                <a:gd name="connsiteX5669" fmla="*/ 3153215 w 12117871"/>
                <a:gd name="connsiteY5669" fmla="*/ 1522002 h 6072780"/>
                <a:gd name="connsiteX5670" fmla="*/ 3224382 w 12117871"/>
                <a:gd name="connsiteY5670" fmla="*/ 1632590 h 6072780"/>
                <a:gd name="connsiteX5671" fmla="*/ 3204295 w 12117871"/>
                <a:gd name="connsiteY5671" fmla="*/ 1716169 h 6072780"/>
                <a:gd name="connsiteX5672" fmla="*/ 3148098 w 12117871"/>
                <a:gd name="connsiteY5672" fmla="*/ 1744982 h 6072780"/>
                <a:gd name="connsiteX5673" fmla="*/ 3095513 w 12117871"/>
                <a:gd name="connsiteY5673" fmla="*/ 1717449 h 6072780"/>
                <a:gd name="connsiteX5674" fmla="*/ 3076630 w 12117871"/>
                <a:gd name="connsiteY5674" fmla="*/ 1637857 h 6072780"/>
                <a:gd name="connsiteX5675" fmla="*/ 3096340 w 12117871"/>
                <a:gd name="connsiteY5675" fmla="*/ 1551343 h 6072780"/>
                <a:gd name="connsiteX5676" fmla="*/ 3153215 w 12117871"/>
                <a:gd name="connsiteY5676" fmla="*/ 1522002 h 6072780"/>
                <a:gd name="connsiteX5677" fmla="*/ 2932291 w 12117871"/>
                <a:gd name="connsiteY5677" fmla="*/ 1522002 h 6072780"/>
                <a:gd name="connsiteX5678" fmla="*/ 3003458 w 12117871"/>
                <a:gd name="connsiteY5678" fmla="*/ 1632590 h 6072780"/>
                <a:gd name="connsiteX5679" fmla="*/ 2983372 w 12117871"/>
                <a:gd name="connsiteY5679" fmla="*/ 1716169 h 6072780"/>
                <a:gd name="connsiteX5680" fmla="*/ 2927176 w 12117871"/>
                <a:gd name="connsiteY5680" fmla="*/ 1744982 h 6072780"/>
                <a:gd name="connsiteX5681" fmla="*/ 2874590 w 12117871"/>
                <a:gd name="connsiteY5681" fmla="*/ 1717449 h 6072780"/>
                <a:gd name="connsiteX5682" fmla="*/ 2855708 w 12117871"/>
                <a:gd name="connsiteY5682" fmla="*/ 1637857 h 6072780"/>
                <a:gd name="connsiteX5683" fmla="*/ 2875417 w 12117871"/>
                <a:gd name="connsiteY5683" fmla="*/ 1551343 h 6072780"/>
                <a:gd name="connsiteX5684" fmla="*/ 2932291 w 12117871"/>
                <a:gd name="connsiteY5684" fmla="*/ 1522002 h 6072780"/>
                <a:gd name="connsiteX5685" fmla="*/ 111672 w 12117871"/>
                <a:gd name="connsiteY5685" fmla="*/ 1522002 h 6072780"/>
                <a:gd name="connsiteX5686" fmla="*/ 126579 w 12117871"/>
                <a:gd name="connsiteY5686" fmla="*/ 1522002 h 6072780"/>
                <a:gd name="connsiteX5687" fmla="*/ 126579 w 12117871"/>
                <a:gd name="connsiteY5687" fmla="*/ 1744982 h 6072780"/>
                <a:gd name="connsiteX5688" fmla="*/ 91291 w 12117871"/>
                <a:gd name="connsiteY5688" fmla="*/ 1744982 h 6072780"/>
                <a:gd name="connsiteX5689" fmla="*/ 91291 w 12117871"/>
                <a:gd name="connsiteY5689" fmla="*/ 1565199 h 6072780"/>
                <a:gd name="connsiteX5690" fmla="*/ 70681 w 12117871"/>
                <a:gd name="connsiteY5690" fmla="*/ 1576835 h 6072780"/>
                <a:gd name="connsiteX5691" fmla="*/ 45509 w 12117871"/>
                <a:gd name="connsiteY5691" fmla="*/ 1585277 h 6072780"/>
                <a:gd name="connsiteX5692" fmla="*/ 45509 w 12117871"/>
                <a:gd name="connsiteY5692" fmla="*/ 1555160 h 6072780"/>
                <a:gd name="connsiteX5693" fmla="*/ 62544 w 12117871"/>
                <a:gd name="connsiteY5693" fmla="*/ 1549076 h 6072780"/>
                <a:gd name="connsiteX5694" fmla="*/ 78743 w 12117871"/>
                <a:gd name="connsiteY5694" fmla="*/ 1541927 h 6072780"/>
                <a:gd name="connsiteX5695" fmla="*/ 94865 w 12117871"/>
                <a:gd name="connsiteY5695" fmla="*/ 1533105 h 6072780"/>
                <a:gd name="connsiteX5696" fmla="*/ 111672 w 12117871"/>
                <a:gd name="connsiteY5696" fmla="*/ 1522002 h 6072780"/>
                <a:gd name="connsiteX5697" fmla="*/ 9137689 w 12117871"/>
                <a:gd name="connsiteY5697" fmla="*/ 1236534 h 6072780"/>
                <a:gd name="connsiteX5698" fmla="*/ 9098419 w 12117871"/>
                <a:gd name="connsiteY5698" fmla="*/ 1323048 h 6072780"/>
                <a:gd name="connsiteX5699" fmla="*/ 9136937 w 12117871"/>
                <a:gd name="connsiteY5699" fmla="*/ 1403995 h 6072780"/>
                <a:gd name="connsiteX5700" fmla="*/ 9174852 w 12117871"/>
                <a:gd name="connsiteY5700" fmla="*/ 1321695 h 6072780"/>
                <a:gd name="connsiteX5701" fmla="*/ 9137689 w 12117871"/>
                <a:gd name="connsiteY5701" fmla="*/ 1236534 h 6072780"/>
                <a:gd name="connsiteX5702" fmla="*/ 8795932 w 12117871"/>
                <a:gd name="connsiteY5702" fmla="*/ 1236534 h 6072780"/>
                <a:gd name="connsiteX5703" fmla="*/ 8756662 w 12117871"/>
                <a:gd name="connsiteY5703" fmla="*/ 1323048 h 6072780"/>
                <a:gd name="connsiteX5704" fmla="*/ 8795180 w 12117871"/>
                <a:gd name="connsiteY5704" fmla="*/ 1403995 h 6072780"/>
                <a:gd name="connsiteX5705" fmla="*/ 8833095 w 12117871"/>
                <a:gd name="connsiteY5705" fmla="*/ 1321695 h 6072780"/>
                <a:gd name="connsiteX5706" fmla="*/ 8795932 w 12117871"/>
                <a:gd name="connsiteY5706" fmla="*/ 1236534 h 6072780"/>
                <a:gd name="connsiteX5707" fmla="*/ 8094530 w 12117871"/>
                <a:gd name="connsiteY5707" fmla="*/ 1236534 h 6072780"/>
                <a:gd name="connsiteX5708" fmla="*/ 8055260 w 12117871"/>
                <a:gd name="connsiteY5708" fmla="*/ 1323048 h 6072780"/>
                <a:gd name="connsiteX5709" fmla="*/ 8093778 w 12117871"/>
                <a:gd name="connsiteY5709" fmla="*/ 1403995 h 6072780"/>
                <a:gd name="connsiteX5710" fmla="*/ 8131693 w 12117871"/>
                <a:gd name="connsiteY5710" fmla="*/ 1321695 h 6072780"/>
                <a:gd name="connsiteX5711" fmla="*/ 8094530 w 12117871"/>
                <a:gd name="connsiteY5711" fmla="*/ 1236534 h 6072780"/>
                <a:gd name="connsiteX5712" fmla="*/ 6836041 w 12117871"/>
                <a:gd name="connsiteY5712" fmla="*/ 1236534 h 6072780"/>
                <a:gd name="connsiteX5713" fmla="*/ 6796771 w 12117871"/>
                <a:gd name="connsiteY5713" fmla="*/ 1323048 h 6072780"/>
                <a:gd name="connsiteX5714" fmla="*/ 6835289 w 12117871"/>
                <a:gd name="connsiteY5714" fmla="*/ 1403995 h 6072780"/>
                <a:gd name="connsiteX5715" fmla="*/ 6873204 w 12117871"/>
                <a:gd name="connsiteY5715" fmla="*/ 1321695 h 6072780"/>
                <a:gd name="connsiteX5716" fmla="*/ 6836041 w 12117871"/>
                <a:gd name="connsiteY5716" fmla="*/ 1236534 h 6072780"/>
                <a:gd name="connsiteX5717" fmla="*/ 6622947 w 12117871"/>
                <a:gd name="connsiteY5717" fmla="*/ 1236534 h 6072780"/>
                <a:gd name="connsiteX5718" fmla="*/ 6583677 w 12117871"/>
                <a:gd name="connsiteY5718" fmla="*/ 1323048 h 6072780"/>
                <a:gd name="connsiteX5719" fmla="*/ 6622195 w 12117871"/>
                <a:gd name="connsiteY5719" fmla="*/ 1403995 h 6072780"/>
                <a:gd name="connsiteX5720" fmla="*/ 6660110 w 12117871"/>
                <a:gd name="connsiteY5720" fmla="*/ 1321695 h 6072780"/>
                <a:gd name="connsiteX5721" fmla="*/ 6622947 w 12117871"/>
                <a:gd name="connsiteY5721" fmla="*/ 1236534 h 6072780"/>
                <a:gd name="connsiteX5722" fmla="*/ 3077272 w 12117871"/>
                <a:gd name="connsiteY5722" fmla="*/ 1236534 h 6072780"/>
                <a:gd name="connsiteX5723" fmla="*/ 3038002 w 12117871"/>
                <a:gd name="connsiteY5723" fmla="*/ 1323048 h 6072780"/>
                <a:gd name="connsiteX5724" fmla="*/ 3076520 w 12117871"/>
                <a:gd name="connsiteY5724" fmla="*/ 1403995 h 6072780"/>
                <a:gd name="connsiteX5725" fmla="*/ 3114435 w 12117871"/>
                <a:gd name="connsiteY5725" fmla="*/ 1321695 h 6072780"/>
                <a:gd name="connsiteX5726" fmla="*/ 3077272 w 12117871"/>
                <a:gd name="connsiteY5726" fmla="*/ 1236534 h 6072780"/>
                <a:gd name="connsiteX5727" fmla="*/ 2730469 w 12117871"/>
                <a:gd name="connsiteY5727" fmla="*/ 1236534 h 6072780"/>
                <a:gd name="connsiteX5728" fmla="*/ 2691199 w 12117871"/>
                <a:gd name="connsiteY5728" fmla="*/ 1323048 h 6072780"/>
                <a:gd name="connsiteX5729" fmla="*/ 2729717 w 12117871"/>
                <a:gd name="connsiteY5729" fmla="*/ 1403995 h 6072780"/>
                <a:gd name="connsiteX5730" fmla="*/ 2767632 w 12117871"/>
                <a:gd name="connsiteY5730" fmla="*/ 1321695 h 6072780"/>
                <a:gd name="connsiteX5731" fmla="*/ 2730469 w 12117871"/>
                <a:gd name="connsiteY5731" fmla="*/ 1236534 h 6072780"/>
                <a:gd name="connsiteX5732" fmla="*/ 2039104 w 12117871"/>
                <a:gd name="connsiteY5732" fmla="*/ 1236534 h 6072780"/>
                <a:gd name="connsiteX5733" fmla="*/ 1999834 w 12117871"/>
                <a:gd name="connsiteY5733" fmla="*/ 1323048 h 6072780"/>
                <a:gd name="connsiteX5734" fmla="*/ 2038352 w 12117871"/>
                <a:gd name="connsiteY5734" fmla="*/ 1403995 h 6072780"/>
                <a:gd name="connsiteX5735" fmla="*/ 2076267 w 12117871"/>
                <a:gd name="connsiteY5735" fmla="*/ 1321695 h 6072780"/>
                <a:gd name="connsiteX5736" fmla="*/ 2039104 w 12117871"/>
                <a:gd name="connsiteY5736" fmla="*/ 1236534 h 6072780"/>
                <a:gd name="connsiteX5737" fmla="*/ 783897 w 12117871"/>
                <a:gd name="connsiteY5737" fmla="*/ 1236534 h 6072780"/>
                <a:gd name="connsiteX5738" fmla="*/ 744627 w 12117871"/>
                <a:gd name="connsiteY5738" fmla="*/ 1323048 h 6072780"/>
                <a:gd name="connsiteX5739" fmla="*/ 783145 w 12117871"/>
                <a:gd name="connsiteY5739" fmla="*/ 1403995 h 6072780"/>
                <a:gd name="connsiteX5740" fmla="*/ 821060 w 12117871"/>
                <a:gd name="connsiteY5740" fmla="*/ 1321695 h 6072780"/>
                <a:gd name="connsiteX5741" fmla="*/ 783897 w 12117871"/>
                <a:gd name="connsiteY5741" fmla="*/ 1236534 h 6072780"/>
                <a:gd name="connsiteX5742" fmla="*/ 563297 w 12117871"/>
                <a:gd name="connsiteY5742" fmla="*/ 1236534 h 6072780"/>
                <a:gd name="connsiteX5743" fmla="*/ 524027 w 12117871"/>
                <a:gd name="connsiteY5743" fmla="*/ 1323048 h 6072780"/>
                <a:gd name="connsiteX5744" fmla="*/ 562545 w 12117871"/>
                <a:gd name="connsiteY5744" fmla="*/ 1403995 h 6072780"/>
                <a:gd name="connsiteX5745" fmla="*/ 600460 w 12117871"/>
                <a:gd name="connsiteY5745" fmla="*/ 1321695 h 6072780"/>
                <a:gd name="connsiteX5746" fmla="*/ 563297 w 12117871"/>
                <a:gd name="connsiteY5746" fmla="*/ 1236534 h 6072780"/>
                <a:gd name="connsiteX5747" fmla="*/ 12042385 w 12117871"/>
                <a:gd name="connsiteY5747" fmla="*/ 1208700 h 6072780"/>
                <a:gd name="connsiteX5748" fmla="*/ 12057291 w 12117871"/>
                <a:gd name="connsiteY5748" fmla="*/ 1208700 h 6072780"/>
                <a:gd name="connsiteX5749" fmla="*/ 12057291 w 12117871"/>
                <a:gd name="connsiteY5749" fmla="*/ 1431679 h 6072780"/>
                <a:gd name="connsiteX5750" fmla="*/ 12022003 w 12117871"/>
                <a:gd name="connsiteY5750" fmla="*/ 1431679 h 6072780"/>
                <a:gd name="connsiteX5751" fmla="*/ 12022003 w 12117871"/>
                <a:gd name="connsiteY5751" fmla="*/ 1251896 h 6072780"/>
                <a:gd name="connsiteX5752" fmla="*/ 12001394 w 12117871"/>
                <a:gd name="connsiteY5752" fmla="*/ 1263531 h 6072780"/>
                <a:gd name="connsiteX5753" fmla="*/ 11976221 w 12117871"/>
                <a:gd name="connsiteY5753" fmla="*/ 1271973 h 6072780"/>
                <a:gd name="connsiteX5754" fmla="*/ 11976221 w 12117871"/>
                <a:gd name="connsiteY5754" fmla="*/ 1241857 h 6072780"/>
                <a:gd name="connsiteX5755" fmla="*/ 11993256 w 12117871"/>
                <a:gd name="connsiteY5755" fmla="*/ 1235773 h 6072780"/>
                <a:gd name="connsiteX5756" fmla="*/ 12009455 w 12117871"/>
                <a:gd name="connsiteY5756" fmla="*/ 1228624 h 6072780"/>
                <a:gd name="connsiteX5757" fmla="*/ 12025578 w 12117871"/>
                <a:gd name="connsiteY5757" fmla="*/ 1219803 h 6072780"/>
                <a:gd name="connsiteX5758" fmla="*/ 12042385 w 12117871"/>
                <a:gd name="connsiteY5758" fmla="*/ 1208700 h 6072780"/>
                <a:gd name="connsiteX5759" fmla="*/ 11669820 w 12117871"/>
                <a:gd name="connsiteY5759" fmla="*/ 1208700 h 6072780"/>
                <a:gd name="connsiteX5760" fmla="*/ 11684726 w 12117871"/>
                <a:gd name="connsiteY5760" fmla="*/ 1208700 h 6072780"/>
                <a:gd name="connsiteX5761" fmla="*/ 11684726 w 12117871"/>
                <a:gd name="connsiteY5761" fmla="*/ 1431679 h 6072780"/>
                <a:gd name="connsiteX5762" fmla="*/ 11649438 w 12117871"/>
                <a:gd name="connsiteY5762" fmla="*/ 1431679 h 6072780"/>
                <a:gd name="connsiteX5763" fmla="*/ 11649438 w 12117871"/>
                <a:gd name="connsiteY5763" fmla="*/ 1251896 h 6072780"/>
                <a:gd name="connsiteX5764" fmla="*/ 11628829 w 12117871"/>
                <a:gd name="connsiteY5764" fmla="*/ 1263531 h 6072780"/>
                <a:gd name="connsiteX5765" fmla="*/ 11603656 w 12117871"/>
                <a:gd name="connsiteY5765" fmla="*/ 1271973 h 6072780"/>
                <a:gd name="connsiteX5766" fmla="*/ 11603656 w 12117871"/>
                <a:gd name="connsiteY5766" fmla="*/ 1241857 h 6072780"/>
                <a:gd name="connsiteX5767" fmla="*/ 11620691 w 12117871"/>
                <a:gd name="connsiteY5767" fmla="*/ 1235773 h 6072780"/>
                <a:gd name="connsiteX5768" fmla="*/ 11636890 w 12117871"/>
                <a:gd name="connsiteY5768" fmla="*/ 1228624 h 6072780"/>
                <a:gd name="connsiteX5769" fmla="*/ 11653013 w 12117871"/>
                <a:gd name="connsiteY5769" fmla="*/ 1219803 h 6072780"/>
                <a:gd name="connsiteX5770" fmla="*/ 11669820 w 12117871"/>
                <a:gd name="connsiteY5770" fmla="*/ 1208700 h 6072780"/>
                <a:gd name="connsiteX5771" fmla="*/ 11519847 w 12117871"/>
                <a:gd name="connsiteY5771" fmla="*/ 1208700 h 6072780"/>
                <a:gd name="connsiteX5772" fmla="*/ 11534753 w 12117871"/>
                <a:gd name="connsiteY5772" fmla="*/ 1208700 h 6072780"/>
                <a:gd name="connsiteX5773" fmla="*/ 11534753 w 12117871"/>
                <a:gd name="connsiteY5773" fmla="*/ 1431679 h 6072780"/>
                <a:gd name="connsiteX5774" fmla="*/ 11499465 w 12117871"/>
                <a:gd name="connsiteY5774" fmla="*/ 1431679 h 6072780"/>
                <a:gd name="connsiteX5775" fmla="*/ 11499465 w 12117871"/>
                <a:gd name="connsiteY5775" fmla="*/ 1251896 h 6072780"/>
                <a:gd name="connsiteX5776" fmla="*/ 11478856 w 12117871"/>
                <a:gd name="connsiteY5776" fmla="*/ 1263531 h 6072780"/>
                <a:gd name="connsiteX5777" fmla="*/ 11453683 w 12117871"/>
                <a:gd name="connsiteY5777" fmla="*/ 1271973 h 6072780"/>
                <a:gd name="connsiteX5778" fmla="*/ 11453683 w 12117871"/>
                <a:gd name="connsiteY5778" fmla="*/ 1241857 h 6072780"/>
                <a:gd name="connsiteX5779" fmla="*/ 11470718 w 12117871"/>
                <a:gd name="connsiteY5779" fmla="*/ 1235773 h 6072780"/>
                <a:gd name="connsiteX5780" fmla="*/ 11486917 w 12117871"/>
                <a:gd name="connsiteY5780" fmla="*/ 1228624 h 6072780"/>
                <a:gd name="connsiteX5781" fmla="*/ 11503040 w 12117871"/>
                <a:gd name="connsiteY5781" fmla="*/ 1219803 h 6072780"/>
                <a:gd name="connsiteX5782" fmla="*/ 11519847 w 12117871"/>
                <a:gd name="connsiteY5782" fmla="*/ 1208700 h 6072780"/>
                <a:gd name="connsiteX5783" fmla="*/ 11369874 w 12117871"/>
                <a:gd name="connsiteY5783" fmla="*/ 1208700 h 6072780"/>
                <a:gd name="connsiteX5784" fmla="*/ 11384780 w 12117871"/>
                <a:gd name="connsiteY5784" fmla="*/ 1208700 h 6072780"/>
                <a:gd name="connsiteX5785" fmla="*/ 11384780 w 12117871"/>
                <a:gd name="connsiteY5785" fmla="*/ 1431679 h 6072780"/>
                <a:gd name="connsiteX5786" fmla="*/ 11349492 w 12117871"/>
                <a:gd name="connsiteY5786" fmla="*/ 1431679 h 6072780"/>
                <a:gd name="connsiteX5787" fmla="*/ 11349492 w 12117871"/>
                <a:gd name="connsiteY5787" fmla="*/ 1251896 h 6072780"/>
                <a:gd name="connsiteX5788" fmla="*/ 11328883 w 12117871"/>
                <a:gd name="connsiteY5788" fmla="*/ 1263531 h 6072780"/>
                <a:gd name="connsiteX5789" fmla="*/ 11303710 w 12117871"/>
                <a:gd name="connsiteY5789" fmla="*/ 1271973 h 6072780"/>
                <a:gd name="connsiteX5790" fmla="*/ 11303710 w 12117871"/>
                <a:gd name="connsiteY5790" fmla="*/ 1241857 h 6072780"/>
                <a:gd name="connsiteX5791" fmla="*/ 11320745 w 12117871"/>
                <a:gd name="connsiteY5791" fmla="*/ 1235773 h 6072780"/>
                <a:gd name="connsiteX5792" fmla="*/ 11336944 w 12117871"/>
                <a:gd name="connsiteY5792" fmla="*/ 1228624 h 6072780"/>
                <a:gd name="connsiteX5793" fmla="*/ 11353067 w 12117871"/>
                <a:gd name="connsiteY5793" fmla="*/ 1219803 h 6072780"/>
                <a:gd name="connsiteX5794" fmla="*/ 11369874 w 12117871"/>
                <a:gd name="connsiteY5794" fmla="*/ 1208700 h 6072780"/>
                <a:gd name="connsiteX5795" fmla="*/ 10626916 w 12117871"/>
                <a:gd name="connsiteY5795" fmla="*/ 1208700 h 6072780"/>
                <a:gd name="connsiteX5796" fmla="*/ 10641822 w 12117871"/>
                <a:gd name="connsiteY5796" fmla="*/ 1208700 h 6072780"/>
                <a:gd name="connsiteX5797" fmla="*/ 10641822 w 12117871"/>
                <a:gd name="connsiteY5797" fmla="*/ 1431679 h 6072780"/>
                <a:gd name="connsiteX5798" fmla="*/ 10606534 w 12117871"/>
                <a:gd name="connsiteY5798" fmla="*/ 1431679 h 6072780"/>
                <a:gd name="connsiteX5799" fmla="*/ 10606534 w 12117871"/>
                <a:gd name="connsiteY5799" fmla="*/ 1251896 h 6072780"/>
                <a:gd name="connsiteX5800" fmla="*/ 10585925 w 12117871"/>
                <a:gd name="connsiteY5800" fmla="*/ 1263531 h 6072780"/>
                <a:gd name="connsiteX5801" fmla="*/ 10560752 w 12117871"/>
                <a:gd name="connsiteY5801" fmla="*/ 1271973 h 6072780"/>
                <a:gd name="connsiteX5802" fmla="*/ 10560752 w 12117871"/>
                <a:gd name="connsiteY5802" fmla="*/ 1241857 h 6072780"/>
                <a:gd name="connsiteX5803" fmla="*/ 10577787 w 12117871"/>
                <a:gd name="connsiteY5803" fmla="*/ 1235773 h 6072780"/>
                <a:gd name="connsiteX5804" fmla="*/ 10593986 w 12117871"/>
                <a:gd name="connsiteY5804" fmla="*/ 1228624 h 6072780"/>
                <a:gd name="connsiteX5805" fmla="*/ 10610109 w 12117871"/>
                <a:gd name="connsiteY5805" fmla="*/ 1219803 h 6072780"/>
                <a:gd name="connsiteX5806" fmla="*/ 10626916 w 12117871"/>
                <a:gd name="connsiteY5806" fmla="*/ 1208700 h 6072780"/>
                <a:gd name="connsiteX5807" fmla="*/ 10475787 w 12117871"/>
                <a:gd name="connsiteY5807" fmla="*/ 1208700 h 6072780"/>
                <a:gd name="connsiteX5808" fmla="*/ 10490693 w 12117871"/>
                <a:gd name="connsiteY5808" fmla="*/ 1208700 h 6072780"/>
                <a:gd name="connsiteX5809" fmla="*/ 10490693 w 12117871"/>
                <a:gd name="connsiteY5809" fmla="*/ 1431679 h 6072780"/>
                <a:gd name="connsiteX5810" fmla="*/ 10455405 w 12117871"/>
                <a:gd name="connsiteY5810" fmla="*/ 1431679 h 6072780"/>
                <a:gd name="connsiteX5811" fmla="*/ 10455405 w 12117871"/>
                <a:gd name="connsiteY5811" fmla="*/ 1251896 h 6072780"/>
                <a:gd name="connsiteX5812" fmla="*/ 10434796 w 12117871"/>
                <a:gd name="connsiteY5812" fmla="*/ 1263531 h 6072780"/>
                <a:gd name="connsiteX5813" fmla="*/ 10409623 w 12117871"/>
                <a:gd name="connsiteY5813" fmla="*/ 1271973 h 6072780"/>
                <a:gd name="connsiteX5814" fmla="*/ 10409623 w 12117871"/>
                <a:gd name="connsiteY5814" fmla="*/ 1241857 h 6072780"/>
                <a:gd name="connsiteX5815" fmla="*/ 10426658 w 12117871"/>
                <a:gd name="connsiteY5815" fmla="*/ 1235773 h 6072780"/>
                <a:gd name="connsiteX5816" fmla="*/ 10442857 w 12117871"/>
                <a:gd name="connsiteY5816" fmla="*/ 1228624 h 6072780"/>
                <a:gd name="connsiteX5817" fmla="*/ 10458980 w 12117871"/>
                <a:gd name="connsiteY5817" fmla="*/ 1219803 h 6072780"/>
                <a:gd name="connsiteX5818" fmla="*/ 10475787 w 12117871"/>
                <a:gd name="connsiteY5818" fmla="*/ 1208700 h 6072780"/>
                <a:gd name="connsiteX5819" fmla="*/ 10175840 w 12117871"/>
                <a:gd name="connsiteY5819" fmla="*/ 1208700 h 6072780"/>
                <a:gd name="connsiteX5820" fmla="*/ 10190746 w 12117871"/>
                <a:gd name="connsiteY5820" fmla="*/ 1208700 h 6072780"/>
                <a:gd name="connsiteX5821" fmla="*/ 10190746 w 12117871"/>
                <a:gd name="connsiteY5821" fmla="*/ 1431679 h 6072780"/>
                <a:gd name="connsiteX5822" fmla="*/ 10155458 w 12117871"/>
                <a:gd name="connsiteY5822" fmla="*/ 1431679 h 6072780"/>
                <a:gd name="connsiteX5823" fmla="*/ 10155458 w 12117871"/>
                <a:gd name="connsiteY5823" fmla="*/ 1251896 h 6072780"/>
                <a:gd name="connsiteX5824" fmla="*/ 10134849 w 12117871"/>
                <a:gd name="connsiteY5824" fmla="*/ 1263531 h 6072780"/>
                <a:gd name="connsiteX5825" fmla="*/ 10109676 w 12117871"/>
                <a:gd name="connsiteY5825" fmla="*/ 1271973 h 6072780"/>
                <a:gd name="connsiteX5826" fmla="*/ 10109676 w 12117871"/>
                <a:gd name="connsiteY5826" fmla="*/ 1241857 h 6072780"/>
                <a:gd name="connsiteX5827" fmla="*/ 10126711 w 12117871"/>
                <a:gd name="connsiteY5827" fmla="*/ 1235773 h 6072780"/>
                <a:gd name="connsiteX5828" fmla="*/ 10142910 w 12117871"/>
                <a:gd name="connsiteY5828" fmla="*/ 1228624 h 6072780"/>
                <a:gd name="connsiteX5829" fmla="*/ 10159033 w 12117871"/>
                <a:gd name="connsiteY5829" fmla="*/ 1219803 h 6072780"/>
                <a:gd name="connsiteX5830" fmla="*/ 10175840 w 12117871"/>
                <a:gd name="connsiteY5830" fmla="*/ 1208700 h 6072780"/>
                <a:gd name="connsiteX5831" fmla="*/ 9790812 w 12117871"/>
                <a:gd name="connsiteY5831" fmla="*/ 1208700 h 6072780"/>
                <a:gd name="connsiteX5832" fmla="*/ 9805718 w 12117871"/>
                <a:gd name="connsiteY5832" fmla="*/ 1208700 h 6072780"/>
                <a:gd name="connsiteX5833" fmla="*/ 9805718 w 12117871"/>
                <a:gd name="connsiteY5833" fmla="*/ 1431679 h 6072780"/>
                <a:gd name="connsiteX5834" fmla="*/ 9770430 w 12117871"/>
                <a:gd name="connsiteY5834" fmla="*/ 1431679 h 6072780"/>
                <a:gd name="connsiteX5835" fmla="*/ 9770430 w 12117871"/>
                <a:gd name="connsiteY5835" fmla="*/ 1251896 h 6072780"/>
                <a:gd name="connsiteX5836" fmla="*/ 9749821 w 12117871"/>
                <a:gd name="connsiteY5836" fmla="*/ 1263531 h 6072780"/>
                <a:gd name="connsiteX5837" fmla="*/ 9724648 w 12117871"/>
                <a:gd name="connsiteY5837" fmla="*/ 1271973 h 6072780"/>
                <a:gd name="connsiteX5838" fmla="*/ 9724648 w 12117871"/>
                <a:gd name="connsiteY5838" fmla="*/ 1241857 h 6072780"/>
                <a:gd name="connsiteX5839" fmla="*/ 9741683 w 12117871"/>
                <a:gd name="connsiteY5839" fmla="*/ 1235773 h 6072780"/>
                <a:gd name="connsiteX5840" fmla="*/ 9757882 w 12117871"/>
                <a:gd name="connsiteY5840" fmla="*/ 1228624 h 6072780"/>
                <a:gd name="connsiteX5841" fmla="*/ 9774005 w 12117871"/>
                <a:gd name="connsiteY5841" fmla="*/ 1219803 h 6072780"/>
                <a:gd name="connsiteX5842" fmla="*/ 9790812 w 12117871"/>
                <a:gd name="connsiteY5842" fmla="*/ 1208700 h 6072780"/>
                <a:gd name="connsiteX5843" fmla="*/ 9639683 w 12117871"/>
                <a:gd name="connsiteY5843" fmla="*/ 1208700 h 6072780"/>
                <a:gd name="connsiteX5844" fmla="*/ 9654589 w 12117871"/>
                <a:gd name="connsiteY5844" fmla="*/ 1208700 h 6072780"/>
                <a:gd name="connsiteX5845" fmla="*/ 9654589 w 12117871"/>
                <a:gd name="connsiteY5845" fmla="*/ 1431679 h 6072780"/>
                <a:gd name="connsiteX5846" fmla="*/ 9619301 w 12117871"/>
                <a:gd name="connsiteY5846" fmla="*/ 1431679 h 6072780"/>
                <a:gd name="connsiteX5847" fmla="*/ 9619301 w 12117871"/>
                <a:gd name="connsiteY5847" fmla="*/ 1251896 h 6072780"/>
                <a:gd name="connsiteX5848" fmla="*/ 9598692 w 12117871"/>
                <a:gd name="connsiteY5848" fmla="*/ 1263531 h 6072780"/>
                <a:gd name="connsiteX5849" fmla="*/ 9573519 w 12117871"/>
                <a:gd name="connsiteY5849" fmla="*/ 1271973 h 6072780"/>
                <a:gd name="connsiteX5850" fmla="*/ 9573519 w 12117871"/>
                <a:gd name="connsiteY5850" fmla="*/ 1241857 h 6072780"/>
                <a:gd name="connsiteX5851" fmla="*/ 9590554 w 12117871"/>
                <a:gd name="connsiteY5851" fmla="*/ 1235773 h 6072780"/>
                <a:gd name="connsiteX5852" fmla="*/ 9606753 w 12117871"/>
                <a:gd name="connsiteY5852" fmla="*/ 1228624 h 6072780"/>
                <a:gd name="connsiteX5853" fmla="*/ 9622876 w 12117871"/>
                <a:gd name="connsiteY5853" fmla="*/ 1219803 h 6072780"/>
                <a:gd name="connsiteX5854" fmla="*/ 9639683 w 12117871"/>
                <a:gd name="connsiteY5854" fmla="*/ 1208700 h 6072780"/>
                <a:gd name="connsiteX5855" fmla="*/ 9489710 w 12117871"/>
                <a:gd name="connsiteY5855" fmla="*/ 1208700 h 6072780"/>
                <a:gd name="connsiteX5856" fmla="*/ 9504616 w 12117871"/>
                <a:gd name="connsiteY5856" fmla="*/ 1208700 h 6072780"/>
                <a:gd name="connsiteX5857" fmla="*/ 9504616 w 12117871"/>
                <a:gd name="connsiteY5857" fmla="*/ 1431679 h 6072780"/>
                <a:gd name="connsiteX5858" fmla="*/ 9469328 w 12117871"/>
                <a:gd name="connsiteY5858" fmla="*/ 1431679 h 6072780"/>
                <a:gd name="connsiteX5859" fmla="*/ 9469328 w 12117871"/>
                <a:gd name="connsiteY5859" fmla="*/ 1251896 h 6072780"/>
                <a:gd name="connsiteX5860" fmla="*/ 9448719 w 12117871"/>
                <a:gd name="connsiteY5860" fmla="*/ 1263531 h 6072780"/>
                <a:gd name="connsiteX5861" fmla="*/ 9423546 w 12117871"/>
                <a:gd name="connsiteY5861" fmla="*/ 1271973 h 6072780"/>
                <a:gd name="connsiteX5862" fmla="*/ 9423546 w 12117871"/>
                <a:gd name="connsiteY5862" fmla="*/ 1241857 h 6072780"/>
                <a:gd name="connsiteX5863" fmla="*/ 9440581 w 12117871"/>
                <a:gd name="connsiteY5863" fmla="*/ 1235773 h 6072780"/>
                <a:gd name="connsiteX5864" fmla="*/ 9456780 w 12117871"/>
                <a:gd name="connsiteY5864" fmla="*/ 1228624 h 6072780"/>
                <a:gd name="connsiteX5865" fmla="*/ 9472903 w 12117871"/>
                <a:gd name="connsiteY5865" fmla="*/ 1219803 h 6072780"/>
                <a:gd name="connsiteX5866" fmla="*/ 9489710 w 12117871"/>
                <a:gd name="connsiteY5866" fmla="*/ 1208700 h 6072780"/>
                <a:gd name="connsiteX5867" fmla="*/ 9339737 w 12117871"/>
                <a:gd name="connsiteY5867" fmla="*/ 1208700 h 6072780"/>
                <a:gd name="connsiteX5868" fmla="*/ 9354643 w 12117871"/>
                <a:gd name="connsiteY5868" fmla="*/ 1208700 h 6072780"/>
                <a:gd name="connsiteX5869" fmla="*/ 9354643 w 12117871"/>
                <a:gd name="connsiteY5869" fmla="*/ 1431679 h 6072780"/>
                <a:gd name="connsiteX5870" fmla="*/ 9319355 w 12117871"/>
                <a:gd name="connsiteY5870" fmla="*/ 1431679 h 6072780"/>
                <a:gd name="connsiteX5871" fmla="*/ 9319355 w 12117871"/>
                <a:gd name="connsiteY5871" fmla="*/ 1251896 h 6072780"/>
                <a:gd name="connsiteX5872" fmla="*/ 9298746 w 12117871"/>
                <a:gd name="connsiteY5872" fmla="*/ 1263531 h 6072780"/>
                <a:gd name="connsiteX5873" fmla="*/ 9273573 w 12117871"/>
                <a:gd name="connsiteY5873" fmla="*/ 1271973 h 6072780"/>
                <a:gd name="connsiteX5874" fmla="*/ 9273573 w 12117871"/>
                <a:gd name="connsiteY5874" fmla="*/ 1241857 h 6072780"/>
                <a:gd name="connsiteX5875" fmla="*/ 9290608 w 12117871"/>
                <a:gd name="connsiteY5875" fmla="*/ 1235773 h 6072780"/>
                <a:gd name="connsiteX5876" fmla="*/ 9306807 w 12117871"/>
                <a:gd name="connsiteY5876" fmla="*/ 1228624 h 6072780"/>
                <a:gd name="connsiteX5877" fmla="*/ 9322930 w 12117871"/>
                <a:gd name="connsiteY5877" fmla="*/ 1219803 h 6072780"/>
                <a:gd name="connsiteX5878" fmla="*/ 9339737 w 12117871"/>
                <a:gd name="connsiteY5878" fmla="*/ 1208700 h 6072780"/>
                <a:gd name="connsiteX5879" fmla="*/ 9139344 w 12117871"/>
                <a:gd name="connsiteY5879" fmla="*/ 1208700 h 6072780"/>
                <a:gd name="connsiteX5880" fmla="*/ 9210511 w 12117871"/>
                <a:gd name="connsiteY5880" fmla="*/ 1319287 h 6072780"/>
                <a:gd name="connsiteX5881" fmla="*/ 9190425 w 12117871"/>
                <a:gd name="connsiteY5881" fmla="*/ 1402866 h 6072780"/>
                <a:gd name="connsiteX5882" fmla="*/ 9134228 w 12117871"/>
                <a:gd name="connsiteY5882" fmla="*/ 1431679 h 6072780"/>
                <a:gd name="connsiteX5883" fmla="*/ 9081643 w 12117871"/>
                <a:gd name="connsiteY5883" fmla="*/ 1404145 h 6072780"/>
                <a:gd name="connsiteX5884" fmla="*/ 9062760 w 12117871"/>
                <a:gd name="connsiteY5884" fmla="*/ 1324553 h 6072780"/>
                <a:gd name="connsiteX5885" fmla="*/ 9082470 w 12117871"/>
                <a:gd name="connsiteY5885" fmla="*/ 1238039 h 6072780"/>
                <a:gd name="connsiteX5886" fmla="*/ 9139344 w 12117871"/>
                <a:gd name="connsiteY5886" fmla="*/ 1208700 h 6072780"/>
                <a:gd name="connsiteX5887" fmla="*/ 9008268 w 12117871"/>
                <a:gd name="connsiteY5887" fmla="*/ 1208700 h 6072780"/>
                <a:gd name="connsiteX5888" fmla="*/ 9023174 w 12117871"/>
                <a:gd name="connsiteY5888" fmla="*/ 1208700 h 6072780"/>
                <a:gd name="connsiteX5889" fmla="*/ 9023174 w 12117871"/>
                <a:gd name="connsiteY5889" fmla="*/ 1431679 h 6072780"/>
                <a:gd name="connsiteX5890" fmla="*/ 8987886 w 12117871"/>
                <a:gd name="connsiteY5890" fmla="*/ 1431679 h 6072780"/>
                <a:gd name="connsiteX5891" fmla="*/ 8987886 w 12117871"/>
                <a:gd name="connsiteY5891" fmla="*/ 1251896 h 6072780"/>
                <a:gd name="connsiteX5892" fmla="*/ 8967277 w 12117871"/>
                <a:gd name="connsiteY5892" fmla="*/ 1263531 h 6072780"/>
                <a:gd name="connsiteX5893" fmla="*/ 8942104 w 12117871"/>
                <a:gd name="connsiteY5893" fmla="*/ 1271973 h 6072780"/>
                <a:gd name="connsiteX5894" fmla="*/ 8942104 w 12117871"/>
                <a:gd name="connsiteY5894" fmla="*/ 1241857 h 6072780"/>
                <a:gd name="connsiteX5895" fmla="*/ 8959139 w 12117871"/>
                <a:gd name="connsiteY5895" fmla="*/ 1235773 h 6072780"/>
                <a:gd name="connsiteX5896" fmla="*/ 8975338 w 12117871"/>
                <a:gd name="connsiteY5896" fmla="*/ 1228624 h 6072780"/>
                <a:gd name="connsiteX5897" fmla="*/ 8991461 w 12117871"/>
                <a:gd name="connsiteY5897" fmla="*/ 1219803 h 6072780"/>
                <a:gd name="connsiteX5898" fmla="*/ 9008268 w 12117871"/>
                <a:gd name="connsiteY5898" fmla="*/ 1208700 h 6072780"/>
                <a:gd name="connsiteX5899" fmla="*/ 8797587 w 12117871"/>
                <a:gd name="connsiteY5899" fmla="*/ 1208700 h 6072780"/>
                <a:gd name="connsiteX5900" fmla="*/ 8868754 w 12117871"/>
                <a:gd name="connsiteY5900" fmla="*/ 1319287 h 6072780"/>
                <a:gd name="connsiteX5901" fmla="*/ 8848668 w 12117871"/>
                <a:gd name="connsiteY5901" fmla="*/ 1402866 h 6072780"/>
                <a:gd name="connsiteX5902" fmla="*/ 8792471 w 12117871"/>
                <a:gd name="connsiteY5902" fmla="*/ 1431679 h 6072780"/>
                <a:gd name="connsiteX5903" fmla="*/ 8739886 w 12117871"/>
                <a:gd name="connsiteY5903" fmla="*/ 1404145 h 6072780"/>
                <a:gd name="connsiteX5904" fmla="*/ 8721003 w 12117871"/>
                <a:gd name="connsiteY5904" fmla="*/ 1324553 h 6072780"/>
                <a:gd name="connsiteX5905" fmla="*/ 8740713 w 12117871"/>
                <a:gd name="connsiteY5905" fmla="*/ 1238039 h 6072780"/>
                <a:gd name="connsiteX5906" fmla="*/ 8797587 w 12117871"/>
                <a:gd name="connsiteY5906" fmla="*/ 1208700 h 6072780"/>
                <a:gd name="connsiteX5907" fmla="*/ 8096185 w 12117871"/>
                <a:gd name="connsiteY5907" fmla="*/ 1208700 h 6072780"/>
                <a:gd name="connsiteX5908" fmla="*/ 8167352 w 12117871"/>
                <a:gd name="connsiteY5908" fmla="*/ 1319287 h 6072780"/>
                <a:gd name="connsiteX5909" fmla="*/ 8147266 w 12117871"/>
                <a:gd name="connsiteY5909" fmla="*/ 1402866 h 6072780"/>
                <a:gd name="connsiteX5910" fmla="*/ 8091069 w 12117871"/>
                <a:gd name="connsiteY5910" fmla="*/ 1431679 h 6072780"/>
                <a:gd name="connsiteX5911" fmla="*/ 8038484 w 12117871"/>
                <a:gd name="connsiteY5911" fmla="*/ 1404145 h 6072780"/>
                <a:gd name="connsiteX5912" fmla="*/ 8019601 w 12117871"/>
                <a:gd name="connsiteY5912" fmla="*/ 1324553 h 6072780"/>
                <a:gd name="connsiteX5913" fmla="*/ 8039311 w 12117871"/>
                <a:gd name="connsiteY5913" fmla="*/ 1238039 h 6072780"/>
                <a:gd name="connsiteX5914" fmla="*/ 8096185 w 12117871"/>
                <a:gd name="connsiteY5914" fmla="*/ 1208700 h 6072780"/>
                <a:gd name="connsiteX5915" fmla="*/ 7717024 w 12117871"/>
                <a:gd name="connsiteY5915" fmla="*/ 1208700 h 6072780"/>
                <a:gd name="connsiteX5916" fmla="*/ 7731930 w 12117871"/>
                <a:gd name="connsiteY5916" fmla="*/ 1208700 h 6072780"/>
                <a:gd name="connsiteX5917" fmla="*/ 7731930 w 12117871"/>
                <a:gd name="connsiteY5917" fmla="*/ 1431679 h 6072780"/>
                <a:gd name="connsiteX5918" fmla="*/ 7696642 w 12117871"/>
                <a:gd name="connsiteY5918" fmla="*/ 1431679 h 6072780"/>
                <a:gd name="connsiteX5919" fmla="*/ 7696642 w 12117871"/>
                <a:gd name="connsiteY5919" fmla="*/ 1251896 h 6072780"/>
                <a:gd name="connsiteX5920" fmla="*/ 7676033 w 12117871"/>
                <a:gd name="connsiteY5920" fmla="*/ 1263531 h 6072780"/>
                <a:gd name="connsiteX5921" fmla="*/ 7650860 w 12117871"/>
                <a:gd name="connsiteY5921" fmla="*/ 1271973 h 6072780"/>
                <a:gd name="connsiteX5922" fmla="*/ 7650860 w 12117871"/>
                <a:gd name="connsiteY5922" fmla="*/ 1241857 h 6072780"/>
                <a:gd name="connsiteX5923" fmla="*/ 7667895 w 12117871"/>
                <a:gd name="connsiteY5923" fmla="*/ 1235773 h 6072780"/>
                <a:gd name="connsiteX5924" fmla="*/ 7684094 w 12117871"/>
                <a:gd name="connsiteY5924" fmla="*/ 1228624 h 6072780"/>
                <a:gd name="connsiteX5925" fmla="*/ 7700217 w 12117871"/>
                <a:gd name="connsiteY5925" fmla="*/ 1219803 h 6072780"/>
                <a:gd name="connsiteX5926" fmla="*/ 7717024 w 12117871"/>
                <a:gd name="connsiteY5926" fmla="*/ 1208700 h 6072780"/>
                <a:gd name="connsiteX5927" fmla="*/ 7355082 w 12117871"/>
                <a:gd name="connsiteY5927" fmla="*/ 1208700 h 6072780"/>
                <a:gd name="connsiteX5928" fmla="*/ 7369988 w 12117871"/>
                <a:gd name="connsiteY5928" fmla="*/ 1208700 h 6072780"/>
                <a:gd name="connsiteX5929" fmla="*/ 7369988 w 12117871"/>
                <a:gd name="connsiteY5929" fmla="*/ 1431679 h 6072780"/>
                <a:gd name="connsiteX5930" fmla="*/ 7334700 w 12117871"/>
                <a:gd name="connsiteY5930" fmla="*/ 1431679 h 6072780"/>
                <a:gd name="connsiteX5931" fmla="*/ 7334700 w 12117871"/>
                <a:gd name="connsiteY5931" fmla="*/ 1251896 h 6072780"/>
                <a:gd name="connsiteX5932" fmla="*/ 7314091 w 12117871"/>
                <a:gd name="connsiteY5932" fmla="*/ 1263531 h 6072780"/>
                <a:gd name="connsiteX5933" fmla="*/ 7288918 w 12117871"/>
                <a:gd name="connsiteY5933" fmla="*/ 1271973 h 6072780"/>
                <a:gd name="connsiteX5934" fmla="*/ 7288918 w 12117871"/>
                <a:gd name="connsiteY5934" fmla="*/ 1241857 h 6072780"/>
                <a:gd name="connsiteX5935" fmla="*/ 7305953 w 12117871"/>
                <a:gd name="connsiteY5935" fmla="*/ 1235773 h 6072780"/>
                <a:gd name="connsiteX5936" fmla="*/ 7322152 w 12117871"/>
                <a:gd name="connsiteY5936" fmla="*/ 1228624 h 6072780"/>
                <a:gd name="connsiteX5937" fmla="*/ 7338275 w 12117871"/>
                <a:gd name="connsiteY5937" fmla="*/ 1219803 h 6072780"/>
                <a:gd name="connsiteX5938" fmla="*/ 7355082 w 12117871"/>
                <a:gd name="connsiteY5938" fmla="*/ 1208700 h 6072780"/>
                <a:gd name="connsiteX5939" fmla="*/ 7055136 w 12117871"/>
                <a:gd name="connsiteY5939" fmla="*/ 1208700 h 6072780"/>
                <a:gd name="connsiteX5940" fmla="*/ 7070042 w 12117871"/>
                <a:gd name="connsiteY5940" fmla="*/ 1208700 h 6072780"/>
                <a:gd name="connsiteX5941" fmla="*/ 7070042 w 12117871"/>
                <a:gd name="connsiteY5941" fmla="*/ 1431679 h 6072780"/>
                <a:gd name="connsiteX5942" fmla="*/ 7034754 w 12117871"/>
                <a:gd name="connsiteY5942" fmla="*/ 1431679 h 6072780"/>
                <a:gd name="connsiteX5943" fmla="*/ 7034754 w 12117871"/>
                <a:gd name="connsiteY5943" fmla="*/ 1251896 h 6072780"/>
                <a:gd name="connsiteX5944" fmla="*/ 7014145 w 12117871"/>
                <a:gd name="connsiteY5944" fmla="*/ 1263531 h 6072780"/>
                <a:gd name="connsiteX5945" fmla="*/ 6988972 w 12117871"/>
                <a:gd name="connsiteY5945" fmla="*/ 1271973 h 6072780"/>
                <a:gd name="connsiteX5946" fmla="*/ 6988972 w 12117871"/>
                <a:gd name="connsiteY5946" fmla="*/ 1241857 h 6072780"/>
                <a:gd name="connsiteX5947" fmla="*/ 7006007 w 12117871"/>
                <a:gd name="connsiteY5947" fmla="*/ 1235773 h 6072780"/>
                <a:gd name="connsiteX5948" fmla="*/ 7022206 w 12117871"/>
                <a:gd name="connsiteY5948" fmla="*/ 1228624 h 6072780"/>
                <a:gd name="connsiteX5949" fmla="*/ 7038329 w 12117871"/>
                <a:gd name="connsiteY5949" fmla="*/ 1219803 h 6072780"/>
                <a:gd name="connsiteX5950" fmla="*/ 7055136 w 12117871"/>
                <a:gd name="connsiteY5950" fmla="*/ 1208700 h 6072780"/>
                <a:gd name="connsiteX5951" fmla="*/ 6837696 w 12117871"/>
                <a:gd name="connsiteY5951" fmla="*/ 1208700 h 6072780"/>
                <a:gd name="connsiteX5952" fmla="*/ 6908863 w 12117871"/>
                <a:gd name="connsiteY5952" fmla="*/ 1319287 h 6072780"/>
                <a:gd name="connsiteX5953" fmla="*/ 6888777 w 12117871"/>
                <a:gd name="connsiteY5953" fmla="*/ 1402866 h 6072780"/>
                <a:gd name="connsiteX5954" fmla="*/ 6832580 w 12117871"/>
                <a:gd name="connsiteY5954" fmla="*/ 1431679 h 6072780"/>
                <a:gd name="connsiteX5955" fmla="*/ 6779995 w 12117871"/>
                <a:gd name="connsiteY5955" fmla="*/ 1404145 h 6072780"/>
                <a:gd name="connsiteX5956" fmla="*/ 6761112 w 12117871"/>
                <a:gd name="connsiteY5956" fmla="*/ 1324553 h 6072780"/>
                <a:gd name="connsiteX5957" fmla="*/ 6780822 w 12117871"/>
                <a:gd name="connsiteY5957" fmla="*/ 1238039 h 6072780"/>
                <a:gd name="connsiteX5958" fmla="*/ 6837696 w 12117871"/>
                <a:gd name="connsiteY5958" fmla="*/ 1208700 h 6072780"/>
                <a:gd name="connsiteX5959" fmla="*/ 6624602 w 12117871"/>
                <a:gd name="connsiteY5959" fmla="*/ 1208700 h 6072780"/>
                <a:gd name="connsiteX5960" fmla="*/ 6695769 w 12117871"/>
                <a:gd name="connsiteY5960" fmla="*/ 1319287 h 6072780"/>
                <a:gd name="connsiteX5961" fmla="*/ 6675683 w 12117871"/>
                <a:gd name="connsiteY5961" fmla="*/ 1402866 h 6072780"/>
                <a:gd name="connsiteX5962" fmla="*/ 6619486 w 12117871"/>
                <a:gd name="connsiteY5962" fmla="*/ 1431679 h 6072780"/>
                <a:gd name="connsiteX5963" fmla="*/ 6566901 w 12117871"/>
                <a:gd name="connsiteY5963" fmla="*/ 1404145 h 6072780"/>
                <a:gd name="connsiteX5964" fmla="*/ 6548018 w 12117871"/>
                <a:gd name="connsiteY5964" fmla="*/ 1324553 h 6072780"/>
                <a:gd name="connsiteX5965" fmla="*/ 6567728 w 12117871"/>
                <a:gd name="connsiteY5965" fmla="*/ 1238039 h 6072780"/>
                <a:gd name="connsiteX5966" fmla="*/ 6624602 w 12117871"/>
                <a:gd name="connsiteY5966" fmla="*/ 1208700 h 6072780"/>
                <a:gd name="connsiteX5967" fmla="*/ 6463053 w 12117871"/>
                <a:gd name="connsiteY5967" fmla="*/ 1208700 h 6072780"/>
                <a:gd name="connsiteX5968" fmla="*/ 6477959 w 12117871"/>
                <a:gd name="connsiteY5968" fmla="*/ 1208700 h 6072780"/>
                <a:gd name="connsiteX5969" fmla="*/ 6477959 w 12117871"/>
                <a:gd name="connsiteY5969" fmla="*/ 1431679 h 6072780"/>
                <a:gd name="connsiteX5970" fmla="*/ 6442671 w 12117871"/>
                <a:gd name="connsiteY5970" fmla="*/ 1431679 h 6072780"/>
                <a:gd name="connsiteX5971" fmla="*/ 6442671 w 12117871"/>
                <a:gd name="connsiteY5971" fmla="*/ 1251896 h 6072780"/>
                <a:gd name="connsiteX5972" fmla="*/ 6422062 w 12117871"/>
                <a:gd name="connsiteY5972" fmla="*/ 1263531 h 6072780"/>
                <a:gd name="connsiteX5973" fmla="*/ 6396889 w 12117871"/>
                <a:gd name="connsiteY5973" fmla="*/ 1271973 h 6072780"/>
                <a:gd name="connsiteX5974" fmla="*/ 6396889 w 12117871"/>
                <a:gd name="connsiteY5974" fmla="*/ 1241857 h 6072780"/>
                <a:gd name="connsiteX5975" fmla="*/ 6413924 w 12117871"/>
                <a:gd name="connsiteY5975" fmla="*/ 1235773 h 6072780"/>
                <a:gd name="connsiteX5976" fmla="*/ 6430123 w 12117871"/>
                <a:gd name="connsiteY5976" fmla="*/ 1228624 h 6072780"/>
                <a:gd name="connsiteX5977" fmla="*/ 6446246 w 12117871"/>
                <a:gd name="connsiteY5977" fmla="*/ 1219803 h 6072780"/>
                <a:gd name="connsiteX5978" fmla="*/ 6463053 w 12117871"/>
                <a:gd name="connsiteY5978" fmla="*/ 1208700 h 6072780"/>
                <a:gd name="connsiteX5979" fmla="*/ 6163107 w 12117871"/>
                <a:gd name="connsiteY5979" fmla="*/ 1208700 h 6072780"/>
                <a:gd name="connsiteX5980" fmla="*/ 6178013 w 12117871"/>
                <a:gd name="connsiteY5980" fmla="*/ 1208700 h 6072780"/>
                <a:gd name="connsiteX5981" fmla="*/ 6178013 w 12117871"/>
                <a:gd name="connsiteY5981" fmla="*/ 1431679 h 6072780"/>
                <a:gd name="connsiteX5982" fmla="*/ 6142725 w 12117871"/>
                <a:gd name="connsiteY5982" fmla="*/ 1431679 h 6072780"/>
                <a:gd name="connsiteX5983" fmla="*/ 6142725 w 12117871"/>
                <a:gd name="connsiteY5983" fmla="*/ 1251896 h 6072780"/>
                <a:gd name="connsiteX5984" fmla="*/ 6122116 w 12117871"/>
                <a:gd name="connsiteY5984" fmla="*/ 1263531 h 6072780"/>
                <a:gd name="connsiteX5985" fmla="*/ 6096943 w 12117871"/>
                <a:gd name="connsiteY5985" fmla="*/ 1271973 h 6072780"/>
                <a:gd name="connsiteX5986" fmla="*/ 6096943 w 12117871"/>
                <a:gd name="connsiteY5986" fmla="*/ 1241857 h 6072780"/>
                <a:gd name="connsiteX5987" fmla="*/ 6113978 w 12117871"/>
                <a:gd name="connsiteY5987" fmla="*/ 1235773 h 6072780"/>
                <a:gd name="connsiteX5988" fmla="*/ 6130177 w 12117871"/>
                <a:gd name="connsiteY5988" fmla="*/ 1228624 h 6072780"/>
                <a:gd name="connsiteX5989" fmla="*/ 6146300 w 12117871"/>
                <a:gd name="connsiteY5989" fmla="*/ 1219803 h 6072780"/>
                <a:gd name="connsiteX5990" fmla="*/ 6163107 w 12117871"/>
                <a:gd name="connsiteY5990" fmla="*/ 1208700 h 6072780"/>
                <a:gd name="connsiteX5991" fmla="*/ 5979578 w 12117871"/>
                <a:gd name="connsiteY5991" fmla="*/ 1208700 h 6072780"/>
                <a:gd name="connsiteX5992" fmla="*/ 5994484 w 12117871"/>
                <a:gd name="connsiteY5992" fmla="*/ 1208700 h 6072780"/>
                <a:gd name="connsiteX5993" fmla="*/ 5994484 w 12117871"/>
                <a:gd name="connsiteY5993" fmla="*/ 1431679 h 6072780"/>
                <a:gd name="connsiteX5994" fmla="*/ 5959196 w 12117871"/>
                <a:gd name="connsiteY5994" fmla="*/ 1431679 h 6072780"/>
                <a:gd name="connsiteX5995" fmla="*/ 5959196 w 12117871"/>
                <a:gd name="connsiteY5995" fmla="*/ 1251896 h 6072780"/>
                <a:gd name="connsiteX5996" fmla="*/ 5938587 w 12117871"/>
                <a:gd name="connsiteY5996" fmla="*/ 1263531 h 6072780"/>
                <a:gd name="connsiteX5997" fmla="*/ 5913415 w 12117871"/>
                <a:gd name="connsiteY5997" fmla="*/ 1271973 h 6072780"/>
                <a:gd name="connsiteX5998" fmla="*/ 5913415 w 12117871"/>
                <a:gd name="connsiteY5998" fmla="*/ 1241857 h 6072780"/>
                <a:gd name="connsiteX5999" fmla="*/ 5930450 w 12117871"/>
                <a:gd name="connsiteY5999" fmla="*/ 1235773 h 6072780"/>
                <a:gd name="connsiteX6000" fmla="*/ 5946648 w 12117871"/>
                <a:gd name="connsiteY6000" fmla="*/ 1228624 h 6072780"/>
                <a:gd name="connsiteX6001" fmla="*/ 5962771 w 12117871"/>
                <a:gd name="connsiteY6001" fmla="*/ 1219803 h 6072780"/>
                <a:gd name="connsiteX6002" fmla="*/ 5979578 w 12117871"/>
                <a:gd name="connsiteY6002" fmla="*/ 1208700 h 6072780"/>
                <a:gd name="connsiteX6003" fmla="*/ 5611916 w 12117871"/>
                <a:gd name="connsiteY6003" fmla="*/ 1208700 h 6072780"/>
                <a:gd name="connsiteX6004" fmla="*/ 5626822 w 12117871"/>
                <a:gd name="connsiteY6004" fmla="*/ 1208700 h 6072780"/>
                <a:gd name="connsiteX6005" fmla="*/ 5626822 w 12117871"/>
                <a:gd name="connsiteY6005" fmla="*/ 1431679 h 6072780"/>
                <a:gd name="connsiteX6006" fmla="*/ 5591534 w 12117871"/>
                <a:gd name="connsiteY6006" fmla="*/ 1431679 h 6072780"/>
                <a:gd name="connsiteX6007" fmla="*/ 5591534 w 12117871"/>
                <a:gd name="connsiteY6007" fmla="*/ 1251896 h 6072780"/>
                <a:gd name="connsiteX6008" fmla="*/ 5570926 w 12117871"/>
                <a:gd name="connsiteY6008" fmla="*/ 1263531 h 6072780"/>
                <a:gd name="connsiteX6009" fmla="*/ 5545753 w 12117871"/>
                <a:gd name="connsiteY6009" fmla="*/ 1271973 h 6072780"/>
                <a:gd name="connsiteX6010" fmla="*/ 5545753 w 12117871"/>
                <a:gd name="connsiteY6010" fmla="*/ 1241857 h 6072780"/>
                <a:gd name="connsiteX6011" fmla="*/ 5562787 w 12117871"/>
                <a:gd name="connsiteY6011" fmla="*/ 1235773 h 6072780"/>
                <a:gd name="connsiteX6012" fmla="*/ 5578987 w 12117871"/>
                <a:gd name="connsiteY6012" fmla="*/ 1228624 h 6072780"/>
                <a:gd name="connsiteX6013" fmla="*/ 5595109 w 12117871"/>
                <a:gd name="connsiteY6013" fmla="*/ 1219803 h 6072780"/>
                <a:gd name="connsiteX6014" fmla="*/ 5611916 w 12117871"/>
                <a:gd name="connsiteY6014" fmla="*/ 1208700 h 6072780"/>
                <a:gd name="connsiteX6015" fmla="*/ 5461944 w 12117871"/>
                <a:gd name="connsiteY6015" fmla="*/ 1208700 h 6072780"/>
                <a:gd name="connsiteX6016" fmla="*/ 5476850 w 12117871"/>
                <a:gd name="connsiteY6016" fmla="*/ 1208700 h 6072780"/>
                <a:gd name="connsiteX6017" fmla="*/ 5476850 w 12117871"/>
                <a:gd name="connsiteY6017" fmla="*/ 1431679 h 6072780"/>
                <a:gd name="connsiteX6018" fmla="*/ 5441562 w 12117871"/>
                <a:gd name="connsiteY6018" fmla="*/ 1431679 h 6072780"/>
                <a:gd name="connsiteX6019" fmla="*/ 5441562 w 12117871"/>
                <a:gd name="connsiteY6019" fmla="*/ 1251896 h 6072780"/>
                <a:gd name="connsiteX6020" fmla="*/ 5420952 w 12117871"/>
                <a:gd name="connsiteY6020" fmla="*/ 1263531 h 6072780"/>
                <a:gd name="connsiteX6021" fmla="*/ 5395779 w 12117871"/>
                <a:gd name="connsiteY6021" fmla="*/ 1271973 h 6072780"/>
                <a:gd name="connsiteX6022" fmla="*/ 5395779 w 12117871"/>
                <a:gd name="connsiteY6022" fmla="*/ 1241857 h 6072780"/>
                <a:gd name="connsiteX6023" fmla="*/ 5412815 w 12117871"/>
                <a:gd name="connsiteY6023" fmla="*/ 1235773 h 6072780"/>
                <a:gd name="connsiteX6024" fmla="*/ 5429013 w 12117871"/>
                <a:gd name="connsiteY6024" fmla="*/ 1228624 h 6072780"/>
                <a:gd name="connsiteX6025" fmla="*/ 5445137 w 12117871"/>
                <a:gd name="connsiteY6025" fmla="*/ 1219803 h 6072780"/>
                <a:gd name="connsiteX6026" fmla="*/ 5461944 w 12117871"/>
                <a:gd name="connsiteY6026" fmla="*/ 1208700 h 6072780"/>
                <a:gd name="connsiteX6027" fmla="*/ 5311970 w 12117871"/>
                <a:gd name="connsiteY6027" fmla="*/ 1208700 h 6072780"/>
                <a:gd name="connsiteX6028" fmla="*/ 5326877 w 12117871"/>
                <a:gd name="connsiteY6028" fmla="*/ 1208700 h 6072780"/>
                <a:gd name="connsiteX6029" fmla="*/ 5326877 w 12117871"/>
                <a:gd name="connsiteY6029" fmla="*/ 1431679 h 6072780"/>
                <a:gd name="connsiteX6030" fmla="*/ 5291589 w 12117871"/>
                <a:gd name="connsiteY6030" fmla="*/ 1431679 h 6072780"/>
                <a:gd name="connsiteX6031" fmla="*/ 5291589 w 12117871"/>
                <a:gd name="connsiteY6031" fmla="*/ 1251896 h 6072780"/>
                <a:gd name="connsiteX6032" fmla="*/ 5270980 w 12117871"/>
                <a:gd name="connsiteY6032" fmla="*/ 1263531 h 6072780"/>
                <a:gd name="connsiteX6033" fmla="*/ 5245806 w 12117871"/>
                <a:gd name="connsiteY6033" fmla="*/ 1271973 h 6072780"/>
                <a:gd name="connsiteX6034" fmla="*/ 5245806 w 12117871"/>
                <a:gd name="connsiteY6034" fmla="*/ 1241857 h 6072780"/>
                <a:gd name="connsiteX6035" fmla="*/ 5262841 w 12117871"/>
                <a:gd name="connsiteY6035" fmla="*/ 1235773 h 6072780"/>
                <a:gd name="connsiteX6036" fmla="*/ 5279041 w 12117871"/>
                <a:gd name="connsiteY6036" fmla="*/ 1228624 h 6072780"/>
                <a:gd name="connsiteX6037" fmla="*/ 5295163 w 12117871"/>
                <a:gd name="connsiteY6037" fmla="*/ 1219803 h 6072780"/>
                <a:gd name="connsiteX6038" fmla="*/ 5311970 w 12117871"/>
                <a:gd name="connsiteY6038" fmla="*/ 1208700 h 6072780"/>
                <a:gd name="connsiteX6039" fmla="*/ 4563292 w 12117871"/>
                <a:gd name="connsiteY6039" fmla="*/ 1208700 h 6072780"/>
                <a:gd name="connsiteX6040" fmla="*/ 4578199 w 12117871"/>
                <a:gd name="connsiteY6040" fmla="*/ 1208700 h 6072780"/>
                <a:gd name="connsiteX6041" fmla="*/ 4578199 w 12117871"/>
                <a:gd name="connsiteY6041" fmla="*/ 1431679 h 6072780"/>
                <a:gd name="connsiteX6042" fmla="*/ 4542910 w 12117871"/>
                <a:gd name="connsiteY6042" fmla="*/ 1431679 h 6072780"/>
                <a:gd name="connsiteX6043" fmla="*/ 4542910 w 12117871"/>
                <a:gd name="connsiteY6043" fmla="*/ 1251896 h 6072780"/>
                <a:gd name="connsiteX6044" fmla="*/ 4522301 w 12117871"/>
                <a:gd name="connsiteY6044" fmla="*/ 1263531 h 6072780"/>
                <a:gd name="connsiteX6045" fmla="*/ 4497129 w 12117871"/>
                <a:gd name="connsiteY6045" fmla="*/ 1271973 h 6072780"/>
                <a:gd name="connsiteX6046" fmla="*/ 4497129 w 12117871"/>
                <a:gd name="connsiteY6046" fmla="*/ 1241857 h 6072780"/>
                <a:gd name="connsiteX6047" fmla="*/ 4514163 w 12117871"/>
                <a:gd name="connsiteY6047" fmla="*/ 1235773 h 6072780"/>
                <a:gd name="connsiteX6048" fmla="*/ 4530362 w 12117871"/>
                <a:gd name="connsiteY6048" fmla="*/ 1228624 h 6072780"/>
                <a:gd name="connsiteX6049" fmla="*/ 4546485 w 12117871"/>
                <a:gd name="connsiteY6049" fmla="*/ 1219803 h 6072780"/>
                <a:gd name="connsiteX6050" fmla="*/ 4563292 w 12117871"/>
                <a:gd name="connsiteY6050" fmla="*/ 1208700 h 6072780"/>
                <a:gd name="connsiteX6051" fmla="*/ 4413319 w 12117871"/>
                <a:gd name="connsiteY6051" fmla="*/ 1208700 h 6072780"/>
                <a:gd name="connsiteX6052" fmla="*/ 4428226 w 12117871"/>
                <a:gd name="connsiteY6052" fmla="*/ 1208700 h 6072780"/>
                <a:gd name="connsiteX6053" fmla="*/ 4428226 w 12117871"/>
                <a:gd name="connsiteY6053" fmla="*/ 1431679 h 6072780"/>
                <a:gd name="connsiteX6054" fmla="*/ 4392937 w 12117871"/>
                <a:gd name="connsiteY6054" fmla="*/ 1431679 h 6072780"/>
                <a:gd name="connsiteX6055" fmla="*/ 4392937 w 12117871"/>
                <a:gd name="connsiteY6055" fmla="*/ 1251896 h 6072780"/>
                <a:gd name="connsiteX6056" fmla="*/ 4372329 w 12117871"/>
                <a:gd name="connsiteY6056" fmla="*/ 1263531 h 6072780"/>
                <a:gd name="connsiteX6057" fmla="*/ 4347156 w 12117871"/>
                <a:gd name="connsiteY6057" fmla="*/ 1271973 h 6072780"/>
                <a:gd name="connsiteX6058" fmla="*/ 4347156 w 12117871"/>
                <a:gd name="connsiteY6058" fmla="*/ 1241857 h 6072780"/>
                <a:gd name="connsiteX6059" fmla="*/ 4364190 w 12117871"/>
                <a:gd name="connsiteY6059" fmla="*/ 1235773 h 6072780"/>
                <a:gd name="connsiteX6060" fmla="*/ 4380389 w 12117871"/>
                <a:gd name="connsiteY6060" fmla="*/ 1228624 h 6072780"/>
                <a:gd name="connsiteX6061" fmla="*/ 4396513 w 12117871"/>
                <a:gd name="connsiteY6061" fmla="*/ 1219803 h 6072780"/>
                <a:gd name="connsiteX6062" fmla="*/ 4413319 w 12117871"/>
                <a:gd name="connsiteY6062" fmla="*/ 1208700 h 6072780"/>
                <a:gd name="connsiteX6063" fmla="*/ 4113374 w 12117871"/>
                <a:gd name="connsiteY6063" fmla="*/ 1208700 h 6072780"/>
                <a:gd name="connsiteX6064" fmla="*/ 4128280 w 12117871"/>
                <a:gd name="connsiteY6064" fmla="*/ 1208700 h 6072780"/>
                <a:gd name="connsiteX6065" fmla="*/ 4128280 w 12117871"/>
                <a:gd name="connsiteY6065" fmla="*/ 1431679 h 6072780"/>
                <a:gd name="connsiteX6066" fmla="*/ 4092992 w 12117871"/>
                <a:gd name="connsiteY6066" fmla="*/ 1431679 h 6072780"/>
                <a:gd name="connsiteX6067" fmla="*/ 4092992 w 12117871"/>
                <a:gd name="connsiteY6067" fmla="*/ 1251896 h 6072780"/>
                <a:gd name="connsiteX6068" fmla="*/ 4072383 w 12117871"/>
                <a:gd name="connsiteY6068" fmla="*/ 1263531 h 6072780"/>
                <a:gd name="connsiteX6069" fmla="*/ 4047210 w 12117871"/>
                <a:gd name="connsiteY6069" fmla="*/ 1271973 h 6072780"/>
                <a:gd name="connsiteX6070" fmla="*/ 4047210 w 12117871"/>
                <a:gd name="connsiteY6070" fmla="*/ 1241857 h 6072780"/>
                <a:gd name="connsiteX6071" fmla="*/ 4064245 w 12117871"/>
                <a:gd name="connsiteY6071" fmla="*/ 1235773 h 6072780"/>
                <a:gd name="connsiteX6072" fmla="*/ 4080444 w 12117871"/>
                <a:gd name="connsiteY6072" fmla="*/ 1228624 h 6072780"/>
                <a:gd name="connsiteX6073" fmla="*/ 4096567 w 12117871"/>
                <a:gd name="connsiteY6073" fmla="*/ 1219803 h 6072780"/>
                <a:gd name="connsiteX6074" fmla="*/ 4113374 w 12117871"/>
                <a:gd name="connsiteY6074" fmla="*/ 1208700 h 6072780"/>
                <a:gd name="connsiteX6075" fmla="*/ 3732783 w 12117871"/>
                <a:gd name="connsiteY6075" fmla="*/ 1208700 h 6072780"/>
                <a:gd name="connsiteX6076" fmla="*/ 3747689 w 12117871"/>
                <a:gd name="connsiteY6076" fmla="*/ 1208700 h 6072780"/>
                <a:gd name="connsiteX6077" fmla="*/ 3747689 w 12117871"/>
                <a:gd name="connsiteY6077" fmla="*/ 1431679 h 6072780"/>
                <a:gd name="connsiteX6078" fmla="*/ 3712401 w 12117871"/>
                <a:gd name="connsiteY6078" fmla="*/ 1431679 h 6072780"/>
                <a:gd name="connsiteX6079" fmla="*/ 3712401 w 12117871"/>
                <a:gd name="connsiteY6079" fmla="*/ 1251896 h 6072780"/>
                <a:gd name="connsiteX6080" fmla="*/ 3691792 w 12117871"/>
                <a:gd name="connsiteY6080" fmla="*/ 1263531 h 6072780"/>
                <a:gd name="connsiteX6081" fmla="*/ 3666619 w 12117871"/>
                <a:gd name="connsiteY6081" fmla="*/ 1271973 h 6072780"/>
                <a:gd name="connsiteX6082" fmla="*/ 3666619 w 12117871"/>
                <a:gd name="connsiteY6082" fmla="*/ 1241857 h 6072780"/>
                <a:gd name="connsiteX6083" fmla="*/ 3683654 w 12117871"/>
                <a:gd name="connsiteY6083" fmla="*/ 1235773 h 6072780"/>
                <a:gd name="connsiteX6084" fmla="*/ 3699853 w 12117871"/>
                <a:gd name="connsiteY6084" fmla="*/ 1228624 h 6072780"/>
                <a:gd name="connsiteX6085" fmla="*/ 3715976 w 12117871"/>
                <a:gd name="connsiteY6085" fmla="*/ 1219803 h 6072780"/>
                <a:gd name="connsiteX6086" fmla="*/ 3732783 w 12117871"/>
                <a:gd name="connsiteY6086" fmla="*/ 1208700 h 6072780"/>
                <a:gd name="connsiteX6087" fmla="*/ 3582810 w 12117871"/>
                <a:gd name="connsiteY6087" fmla="*/ 1208700 h 6072780"/>
                <a:gd name="connsiteX6088" fmla="*/ 3597716 w 12117871"/>
                <a:gd name="connsiteY6088" fmla="*/ 1208700 h 6072780"/>
                <a:gd name="connsiteX6089" fmla="*/ 3597716 w 12117871"/>
                <a:gd name="connsiteY6089" fmla="*/ 1431679 h 6072780"/>
                <a:gd name="connsiteX6090" fmla="*/ 3562428 w 12117871"/>
                <a:gd name="connsiteY6090" fmla="*/ 1431679 h 6072780"/>
                <a:gd name="connsiteX6091" fmla="*/ 3562428 w 12117871"/>
                <a:gd name="connsiteY6091" fmla="*/ 1251896 h 6072780"/>
                <a:gd name="connsiteX6092" fmla="*/ 3541819 w 12117871"/>
                <a:gd name="connsiteY6092" fmla="*/ 1263531 h 6072780"/>
                <a:gd name="connsiteX6093" fmla="*/ 3516646 w 12117871"/>
                <a:gd name="connsiteY6093" fmla="*/ 1271973 h 6072780"/>
                <a:gd name="connsiteX6094" fmla="*/ 3516646 w 12117871"/>
                <a:gd name="connsiteY6094" fmla="*/ 1241857 h 6072780"/>
                <a:gd name="connsiteX6095" fmla="*/ 3533681 w 12117871"/>
                <a:gd name="connsiteY6095" fmla="*/ 1235773 h 6072780"/>
                <a:gd name="connsiteX6096" fmla="*/ 3549880 w 12117871"/>
                <a:gd name="connsiteY6096" fmla="*/ 1228624 h 6072780"/>
                <a:gd name="connsiteX6097" fmla="*/ 3566003 w 12117871"/>
                <a:gd name="connsiteY6097" fmla="*/ 1219803 h 6072780"/>
                <a:gd name="connsiteX6098" fmla="*/ 3582810 w 12117871"/>
                <a:gd name="connsiteY6098" fmla="*/ 1208700 h 6072780"/>
                <a:gd name="connsiteX6099" fmla="*/ 3432837 w 12117871"/>
                <a:gd name="connsiteY6099" fmla="*/ 1208700 h 6072780"/>
                <a:gd name="connsiteX6100" fmla="*/ 3447743 w 12117871"/>
                <a:gd name="connsiteY6100" fmla="*/ 1208700 h 6072780"/>
                <a:gd name="connsiteX6101" fmla="*/ 3447743 w 12117871"/>
                <a:gd name="connsiteY6101" fmla="*/ 1431679 h 6072780"/>
                <a:gd name="connsiteX6102" fmla="*/ 3412455 w 12117871"/>
                <a:gd name="connsiteY6102" fmla="*/ 1431679 h 6072780"/>
                <a:gd name="connsiteX6103" fmla="*/ 3412455 w 12117871"/>
                <a:gd name="connsiteY6103" fmla="*/ 1251896 h 6072780"/>
                <a:gd name="connsiteX6104" fmla="*/ 3391846 w 12117871"/>
                <a:gd name="connsiteY6104" fmla="*/ 1263531 h 6072780"/>
                <a:gd name="connsiteX6105" fmla="*/ 3366673 w 12117871"/>
                <a:gd name="connsiteY6105" fmla="*/ 1271973 h 6072780"/>
                <a:gd name="connsiteX6106" fmla="*/ 3366673 w 12117871"/>
                <a:gd name="connsiteY6106" fmla="*/ 1241857 h 6072780"/>
                <a:gd name="connsiteX6107" fmla="*/ 3383708 w 12117871"/>
                <a:gd name="connsiteY6107" fmla="*/ 1235773 h 6072780"/>
                <a:gd name="connsiteX6108" fmla="*/ 3399907 w 12117871"/>
                <a:gd name="connsiteY6108" fmla="*/ 1228624 h 6072780"/>
                <a:gd name="connsiteX6109" fmla="*/ 3416030 w 12117871"/>
                <a:gd name="connsiteY6109" fmla="*/ 1219803 h 6072780"/>
                <a:gd name="connsiteX6110" fmla="*/ 3432837 w 12117871"/>
                <a:gd name="connsiteY6110" fmla="*/ 1208700 h 6072780"/>
                <a:gd name="connsiteX6111" fmla="*/ 3282864 w 12117871"/>
                <a:gd name="connsiteY6111" fmla="*/ 1208700 h 6072780"/>
                <a:gd name="connsiteX6112" fmla="*/ 3297770 w 12117871"/>
                <a:gd name="connsiteY6112" fmla="*/ 1208700 h 6072780"/>
                <a:gd name="connsiteX6113" fmla="*/ 3297770 w 12117871"/>
                <a:gd name="connsiteY6113" fmla="*/ 1431679 h 6072780"/>
                <a:gd name="connsiteX6114" fmla="*/ 3262482 w 12117871"/>
                <a:gd name="connsiteY6114" fmla="*/ 1431679 h 6072780"/>
                <a:gd name="connsiteX6115" fmla="*/ 3262482 w 12117871"/>
                <a:gd name="connsiteY6115" fmla="*/ 1251896 h 6072780"/>
                <a:gd name="connsiteX6116" fmla="*/ 3241873 w 12117871"/>
                <a:gd name="connsiteY6116" fmla="*/ 1263531 h 6072780"/>
                <a:gd name="connsiteX6117" fmla="*/ 3216700 w 12117871"/>
                <a:gd name="connsiteY6117" fmla="*/ 1271973 h 6072780"/>
                <a:gd name="connsiteX6118" fmla="*/ 3216700 w 12117871"/>
                <a:gd name="connsiteY6118" fmla="*/ 1241857 h 6072780"/>
                <a:gd name="connsiteX6119" fmla="*/ 3233735 w 12117871"/>
                <a:gd name="connsiteY6119" fmla="*/ 1235773 h 6072780"/>
                <a:gd name="connsiteX6120" fmla="*/ 3249934 w 12117871"/>
                <a:gd name="connsiteY6120" fmla="*/ 1228624 h 6072780"/>
                <a:gd name="connsiteX6121" fmla="*/ 3266057 w 12117871"/>
                <a:gd name="connsiteY6121" fmla="*/ 1219803 h 6072780"/>
                <a:gd name="connsiteX6122" fmla="*/ 3282864 w 12117871"/>
                <a:gd name="connsiteY6122" fmla="*/ 1208700 h 6072780"/>
                <a:gd name="connsiteX6123" fmla="*/ 3078927 w 12117871"/>
                <a:gd name="connsiteY6123" fmla="*/ 1208700 h 6072780"/>
                <a:gd name="connsiteX6124" fmla="*/ 3150094 w 12117871"/>
                <a:gd name="connsiteY6124" fmla="*/ 1319287 h 6072780"/>
                <a:gd name="connsiteX6125" fmla="*/ 3130008 w 12117871"/>
                <a:gd name="connsiteY6125" fmla="*/ 1402866 h 6072780"/>
                <a:gd name="connsiteX6126" fmla="*/ 3073811 w 12117871"/>
                <a:gd name="connsiteY6126" fmla="*/ 1431679 h 6072780"/>
                <a:gd name="connsiteX6127" fmla="*/ 3021226 w 12117871"/>
                <a:gd name="connsiteY6127" fmla="*/ 1404145 h 6072780"/>
                <a:gd name="connsiteX6128" fmla="*/ 3002343 w 12117871"/>
                <a:gd name="connsiteY6128" fmla="*/ 1324553 h 6072780"/>
                <a:gd name="connsiteX6129" fmla="*/ 3022053 w 12117871"/>
                <a:gd name="connsiteY6129" fmla="*/ 1238039 h 6072780"/>
                <a:gd name="connsiteX6130" fmla="*/ 3078927 w 12117871"/>
                <a:gd name="connsiteY6130" fmla="*/ 1208700 h 6072780"/>
                <a:gd name="connsiteX6131" fmla="*/ 2948681 w 12117871"/>
                <a:gd name="connsiteY6131" fmla="*/ 1208700 h 6072780"/>
                <a:gd name="connsiteX6132" fmla="*/ 2963587 w 12117871"/>
                <a:gd name="connsiteY6132" fmla="*/ 1208700 h 6072780"/>
                <a:gd name="connsiteX6133" fmla="*/ 2963587 w 12117871"/>
                <a:gd name="connsiteY6133" fmla="*/ 1431679 h 6072780"/>
                <a:gd name="connsiteX6134" fmla="*/ 2928299 w 12117871"/>
                <a:gd name="connsiteY6134" fmla="*/ 1431679 h 6072780"/>
                <a:gd name="connsiteX6135" fmla="*/ 2928299 w 12117871"/>
                <a:gd name="connsiteY6135" fmla="*/ 1251896 h 6072780"/>
                <a:gd name="connsiteX6136" fmla="*/ 2907690 w 12117871"/>
                <a:gd name="connsiteY6136" fmla="*/ 1263531 h 6072780"/>
                <a:gd name="connsiteX6137" fmla="*/ 2882517 w 12117871"/>
                <a:gd name="connsiteY6137" fmla="*/ 1271973 h 6072780"/>
                <a:gd name="connsiteX6138" fmla="*/ 2882517 w 12117871"/>
                <a:gd name="connsiteY6138" fmla="*/ 1241857 h 6072780"/>
                <a:gd name="connsiteX6139" fmla="*/ 2899552 w 12117871"/>
                <a:gd name="connsiteY6139" fmla="*/ 1235773 h 6072780"/>
                <a:gd name="connsiteX6140" fmla="*/ 2915751 w 12117871"/>
                <a:gd name="connsiteY6140" fmla="*/ 1228624 h 6072780"/>
                <a:gd name="connsiteX6141" fmla="*/ 2931874 w 12117871"/>
                <a:gd name="connsiteY6141" fmla="*/ 1219803 h 6072780"/>
                <a:gd name="connsiteX6142" fmla="*/ 2948681 w 12117871"/>
                <a:gd name="connsiteY6142" fmla="*/ 1208700 h 6072780"/>
                <a:gd name="connsiteX6143" fmla="*/ 2732124 w 12117871"/>
                <a:gd name="connsiteY6143" fmla="*/ 1208700 h 6072780"/>
                <a:gd name="connsiteX6144" fmla="*/ 2803291 w 12117871"/>
                <a:gd name="connsiteY6144" fmla="*/ 1319287 h 6072780"/>
                <a:gd name="connsiteX6145" fmla="*/ 2783205 w 12117871"/>
                <a:gd name="connsiteY6145" fmla="*/ 1402866 h 6072780"/>
                <a:gd name="connsiteX6146" fmla="*/ 2727008 w 12117871"/>
                <a:gd name="connsiteY6146" fmla="*/ 1431679 h 6072780"/>
                <a:gd name="connsiteX6147" fmla="*/ 2674423 w 12117871"/>
                <a:gd name="connsiteY6147" fmla="*/ 1404145 h 6072780"/>
                <a:gd name="connsiteX6148" fmla="*/ 2655540 w 12117871"/>
                <a:gd name="connsiteY6148" fmla="*/ 1324553 h 6072780"/>
                <a:gd name="connsiteX6149" fmla="*/ 2675250 w 12117871"/>
                <a:gd name="connsiteY6149" fmla="*/ 1238039 h 6072780"/>
                <a:gd name="connsiteX6150" fmla="*/ 2732124 w 12117871"/>
                <a:gd name="connsiteY6150" fmla="*/ 1208700 h 6072780"/>
                <a:gd name="connsiteX6151" fmla="*/ 2040759 w 12117871"/>
                <a:gd name="connsiteY6151" fmla="*/ 1208700 h 6072780"/>
                <a:gd name="connsiteX6152" fmla="*/ 2111926 w 12117871"/>
                <a:gd name="connsiteY6152" fmla="*/ 1319287 h 6072780"/>
                <a:gd name="connsiteX6153" fmla="*/ 2091840 w 12117871"/>
                <a:gd name="connsiteY6153" fmla="*/ 1402866 h 6072780"/>
                <a:gd name="connsiteX6154" fmla="*/ 2035643 w 12117871"/>
                <a:gd name="connsiteY6154" fmla="*/ 1431679 h 6072780"/>
                <a:gd name="connsiteX6155" fmla="*/ 1983058 w 12117871"/>
                <a:gd name="connsiteY6155" fmla="*/ 1404145 h 6072780"/>
                <a:gd name="connsiteX6156" fmla="*/ 1964175 w 12117871"/>
                <a:gd name="connsiteY6156" fmla="*/ 1324553 h 6072780"/>
                <a:gd name="connsiteX6157" fmla="*/ 1983885 w 12117871"/>
                <a:gd name="connsiteY6157" fmla="*/ 1238039 h 6072780"/>
                <a:gd name="connsiteX6158" fmla="*/ 2040759 w 12117871"/>
                <a:gd name="connsiteY6158" fmla="*/ 1208700 h 6072780"/>
                <a:gd name="connsiteX6159" fmla="*/ 1668398 w 12117871"/>
                <a:gd name="connsiteY6159" fmla="*/ 1208700 h 6072780"/>
                <a:gd name="connsiteX6160" fmla="*/ 1683304 w 12117871"/>
                <a:gd name="connsiteY6160" fmla="*/ 1208700 h 6072780"/>
                <a:gd name="connsiteX6161" fmla="*/ 1683304 w 12117871"/>
                <a:gd name="connsiteY6161" fmla="*/ 1431679 h 6072780"/>
                <a:gd name="connsiteX6162" fmla="*/ 1648016 w 12117871"/>
                <a:gd name="connsiteY6162" fmla="*/ 1431679 h 6072780"/>
                <a:gd name="connsiteX6163" fmla="*/ 1648016 w 12117871"/>
                <a:gd name="connsiteY6163" fmla="*/ 1251896 h 6072780"/>
                <a:gd name="connsiteX6164" fmla="*/ 1627407 w 12117871"/>
                <a:gd name="connsiteY6164" fmla="*/ 1263531 h 6072780"/>
                <a:gd name="connsiteX6165" fmla="*/ 1602234 w 12117871"/>
                <a:gd name="connsiteY6165" fmla="*/ 1271973 h 6072780"/>
                <a:gd name="connsiteX6166" fmla="*/ 1602234 w 12117871"/>
                <a:gd name="connsiteY6166" fmla="*/ 1241857 h 6072780"/>
                <a:gd name="connsiteX6167" fmla="*/ 1619269 w 12117871"/>
                <a:gd name="connsiteY6167" fmla="*/ 1235773 h 6072780"/>
                <a:gd name="connsiteX6168" fmla="*/ 1635468 w 12117871"/>
                <a:gd name="connsiteY6168" fmla="*/ 1228624 h 6072780"/>
                <a:gd name="connsiteX6169" fmla="*/ 1651591 w 12117871"/>
                <a:gd name="connsiteY6169" fmla="*/ 1219803 h 6072780"/>
                <a:gd name="connsiteX6170" fmla="*/ 1668398 w 12117871"/>
                <a:gd name="connsiteY6170" fmla="*/ 1208700 h 6072780"/>
                <a:gd name="connsiteX6171" fmla="*/ 1291732 w 12117871"/>
                <a:gd name="connsiteY6171" fmla="*/ 1208700 h 6072780"/>
                <a:gd name="connsiteX6172" fmla="*/ 1306638 w 12117871"/>
                <a:gd name="connsiteY6172" fmla="*/ 1208700 h 6072780"/>
                <a:gd name="connsiteX6173" fmla="*/ 1306638 w 12117871"/>
                <a:gd name="connsiteY6173" fmla="*/ 1431679 h 6072780"/>
                <a:gd name="connsiteX6174" fmla="*/ 1271350 w 12117871"/>
                <a:gd name="connsiteY6174" fmla="*/ 1431679 h 6072780"/>
                <a:gd name="connsiteX6175" fmla="*/ 1271350 w 12117871"/>
                <a:gd name="connsiteY6175" fmla="*/ 1251896 h 6072780"/>
                <a:gd name="connsiteX6176" fmla="*/ 1250741 w 12117871"/>
                <a:gd name="connsiteY6176" fmla="*/ 1263531 h 6072780"/>
                <a:gd name="connsiteX6177" fmla="*/ 1225568 w 12117871"/>
                <a:gd name="connsiteY6177" fmla="*/ 1271973 h 6072780"/>
                <a:gd name="connsiteX6178" fmla="*/ 1225568 w 12117871"/>
                <a:gd name="connsiteY6178" fmla="*/ 1241857 h 6072780"/>
                <a:gd name="connsiteX6179" fmla="*/ 1242603 w 12117871"/>
                <a:gd name="connsiteY6179" fmla="*/ 1235773 h 6072780"/>
                <a:gd name="connsiteX6180" fmla="*/ 1258802 w 12117871"/>
                <a:gd name="connsiteY6180" fmla="*/ 1228624 h 6072780"/>
                <a:gd name="connsiteX6181" fmla="*/ 1274925 w 12117871"/>
                <a:gd name="connsiteY6181" fmla="*/ 1219803 h 6072780"/>
                <a:gd name="connsiteX6182" fmla="*/ 1291732 w 12117871"/>
                <a:gd name="connsiteY6182" fmla="*/ 1208700 h 6072780"/>
                <a:gd name="connsiteX6183" fmla="*/ 991786 w 12117871"/>
                <a:gd name="connsiteY6183" fmla="*/ 1208700 h 6072780"/>
                <a:gd name="connsiteX6184" fmla="*/ 1006692 w 12117871"/>
                <a:gd name="connsiteY6184" fmla="*/ 1208700 h 6072780"/>
                <a:gd name="connsiteX6185" fmla="*/ 1006692 w 12117871"/>
                <a:gd name="connsiteY6185" fmla="*/ 1431679 h 6072780"/>
                <a:gd name="connsiteX6186" fmla="*/ 971404 w 12117871"/>
                <a:gd name="connsiteY6186" fmla="*/ 1431679 h 6072780"/>
                <a:gd name="connsiteX6187" fmla="*/ 971404 w 12117871"/>
                <a:gd name="connsiteY6187" fmla="*/ 1251896 h 6072780"/>
                <a:gd name="connsiteX6188" fmla="*/ 950795 w 12117871"/>
                <a:gd name="connsiteY6188" fmla="*/ 1263531 h 6072780"/>
                <a:gd name="connsiteX6189" fmla="*/ 925622 w 12117871"/>
                <a:gd name="connsiteY6189" fmla="*/ 1271973 h 6072780"/>
                <a:gd name="connsiteX6190" fmla="*/ 925622 w 12117871"/>
                <a:gd name="connsiteY6190" fmla="*/ 1241857 h 6072780"/>
                <a:gd name="connsiteX6191" fmla="*/ 942657 w 12117871"/>
                <a:gd name="connsiteY6191" fmla="*/ 1235773 h 6072780"/>
                <a:gd name="connsiteX6192" fmla="*/ 958856 w 12117871"/>
                <a:gd name="connsiteY6192" fmla="*/ 1228624 h 6072780"/>
                <a:gd name="connsiteX6193" fmla="*/ 974979 w 12117871"/>
                <a:gd name="connsiteY6193" fmla="*/ 1219803 h 6072780"/>
                <a:gd name="connsiteX6194" fmla="*/ 991786 w 12117871"/>
                <a:gd name="connsiteY6194" fmla="*/ 1208700 h 6072780"/>
                <a:gd name="connsiteX6195" fmla="*/ 785552 w 12117871"/>
                <a:gd name="connsiteY6195" fmla="*/ 1208700 h 6072780"/>
                <a:gd name="connsiteX6196" fmla="*/ 856719 w 12117871"/>
                <a:gd name="connsiteY6196" fmla="*/ 1319287 h 6072780"/>
                <a:gd name="connsiteX6197" fmla="*/ 836633 w 12117871"/>
                <a:gd name="connsiteY6197" fmla="*/ 1402866 h 6072780"/>
                <a:gd name="connsiteX6198" fmla="*/ 780436 w 12117871"/>
                <a:gd name="connsiteY6198" fmla="*/ 1431679 h 6072780"/>
                <a:gd name="connsiteX6199" fmla="*/ 727851 w 12117871"/>
                <a:gd name="connsiteY6199" fmla="*/ 1404145 h 6072780"/>
                <a:gd name="connsiteX6200" fmla="*/ 708968 w 12117871"/>
                <a:gd name="connsiteY6200" fmla="*/ 1324553 h 6072780"/>
                <a:gd name="connsiteX6201" fmla="*/ 728678 w 12117871"/>
                <a:gd name="connsiteY6201" fmla="*/ 1238039 h 6072780"/>
                <a:gd name="connsiteX6202" fmla="*/ 785552 w 12117871"/>
                <a:gd name="connsiteY6202" fmla="*/ 1208700 h 6072780"/>
                <a:gd name="connsiteX6203" fmla="*/ 564952 w 12117871"/>
                <a:gd name="connsiteY6203" fmla="*/ 1208700 h 6072780"/>
                <a:gd name="connsiteX6204" fmla="*/ 636119 w 12117871"/>
                <a:gd name="connsiteY6204" fmla="*/ 1319287 h 6072780"/>
                <a:gd name="connsiteX6205" fmla="*/ 616033 w 12117871"/>
                <a:gd name="connsiteY6205" fmla="*/ 1402866 h 6072780"/>
                <a:gd name="connsiteX6206" fmla="*/ 559836 w 12117871"/>
                <a:gd name="connsiteY6206" fmla="*/ 1431679 h 6072780"/>
                <a:gd name="connsiteX6207" fmla="*/ 507251 w 12117871"/>
                <a:gd name="connsiteY6207" fmla="*/ 1404145 h 6072780"/>
                <a:gd name="connsiteX6208" fmla="*/ 488368 w 12117871"/>
                <a:gd name="connsiteY6208" fmla="*/ 1324553 h 6072780"/>
                <a:gd name="connsiteX6209" fmla="*/ 508078 w 12117871"/>
                <a:gd name="connsiteY6209" fmla="*/ 1238039 h 6072780"/>
                <a:gd name="connsiteX6210" fmla="*/ 564952 w 12117871"/>
                <a:gd name="connsiteY6210" fmla="*/ 1208700 h 6072780"/>
                <a:gd name="connsiteX6211" fmla="*/ 397790 w 12117871"/>
                <a:gd name="connsiteY6211" fmla="*/ 1208700 h 6072780"/>
                <a:gd name="connsiteX6212" fmla="*/ 412696 w 12117871"/>
                <a:gd name="connsiteY6212" fmla="*/ 1208700 h 6072780"/>
                <a:gd name="connsiteX6213" fmla="*/ 412696 w 12117871"/>
                <a:gd name="connsiteY6213" fmla="*/ 1431679 h 6072780"/>
                <a:gd name="connsiteX6214" fmla="*/ 377408 w 12117871"/>
                <a:gd name="connsiteY6214" fmla="*/ 1431679 h 6072780"/>
                <a:gd name="connsiteX6215" fmla="*/ 377408 w 12117871"/>
                <a:gd name="connsiteY6215" fmla="*/ 1251896 h 6072780"/>
                <a:gd name="connsiteX6216" fmla="*/ 356799 w 12117871"/>
                <a:gd name="connsiteY6216" fmla="*/ 1263531 h 6072780"/>
                <a:gd name="connsiteX6217" fmla="*/ 331626 w 12117871"/>
                <a:gd name="connsiteY6217" fmla="*/ 1271973 h 6072780"/>
                <a:gd name="connsiteX6218" fmla="*/ 331626 w 12117871"/>
                <a:gd name="connsiteY6218" fmla="*/ 1241857 h 6072780"/>
                <a:gd name="connsiteX6219" fmla="*/ 348661 w 12117871"/>
                <a:gd name="connsiteY6219" fmla="*/ 1235773 h 6072780"/>
                <a:gd name="connsiteX6220" fmla="*/ 364860 w 12117871"/>
                <a:gd name="connsiteY6220" fmla="*/ 1228624 h 6072780"/>
                <a:gd name="connsiteX6221" fmla="*/ 380983 w 12117871"/>
                <a:gd name="connsiteY6221" fmla="*/ 1219803 h 6072780"/>
                <a:gd name="connsiteX6222" fmla="*/ 397790 w 12117871"/>
                <a:gd name="connsiteY6222" fmla="*/ 1208700 h 6072780"/>
                <a:gd name="connsiteX6223" fmla="*/ 97844 w 12117871"/>
                <a:gd name="connsiteY6223" fmla="*/ 1208700 h 6072780"/>
                <a:gd name="connsiteX6224" fmla="*/ 112750 w 12117871"/>
                <a:gd name="connsiteY6224" fmla="*/ 1208700 h 6072780"/>
                <a:gd name="connsiteX6225" fmla="*/ 112750 w 12117871"/>
                <a:gd name="connsiteY6225" fmla="*/ 1431679 h 6072780"/>
                <a:gd name="connsiteX6226" fmla="*/ 77462 w 12117871"/>
                <a:gd name="connsiteY6226" fmla="*/ 1431679 h 6072780"/>
                <a:gd name="connsiteX6227" fmla="*/ 77462 w 12117871"/>
                <a:gd name="connsiteY6227" fmla="*/ 1251896 h 6072780"/>
                <a:gd name="connsiteX6228" fmla="*/ 56853 w 12117871"/>
                <a:gd name="connsiteY6228" fmla="*/ 1263531 h 6072780"/>
                <a:gd name="connsiteX6229" fmla="*/ 31680 w 12117871"/>
                <a:gd name="connsiteY6229" fmla="*/ 1271973 h 6072780"/>
                <a:gd name="connsiteX6230" fmla="*/ 31680 w 12117871"/>
                <a:gd name="connsiteY6230" fmla="*/ 1241857 h 6072780"/>
                <a:gd name="connsiteX6231" fmla="*/ 48715 w 12117871"/>
                <a:gd name="connsiteY6231" fmla="*/ 1235773 h 6072780"/>
                <a:gd name="connsiteX6232" fmla="*/ 64914 w 12117871"/>
                <a:gd name="connsiteY6232" fmla="*/ 1228624 h 6072780"/>
                <a:gd name="connsiteX6233" fmla="*/ 81037 w 12117871"/>
                <a:gd name="connsiteY6233" fmla="*/ 1219803 h 6072780"/>
                <a:gd name="connsiteX6234" fmla="*/ 97844 w 12117871"/>
                <a:gd name="connsiteY6234" fmla="*/ 1208700 h 6072780"/>
                <a:gd name="connsiteX6235" fmla="*/ 11990061 w 12117871"/>
                <a:gd name="connsiteY6235" fmla="*/ 942895 h 6072780"/>
                <a:gd name="connsiteX6236" fmla="*/ 11950791 w 12117871"/>
                <a:gd name="connsiteY6236" fmla="*/ 1029409 h 6072780"/>
                <a:gd name="connsiteX6237" fmla="*/ 11989309 w 12117871"/>
                <a:gd name="connsiteY6237" fmla="*/ 1110356 h 6072780"/>
                <a:gd name="connsiteX6238" fmla="*/ 12027224 w 12117871"/>
                <a:gd name="connsiteY6238" fmla="*/ 1028055 h 6072780"/>
                <a:gd name="connsiteX6239" fmla="*/ 11990061 w 12117871"/>
                <a:gd name="connsiteY6239" fmla="*/ 942895 h 6072780"/>
                <a:gd name="connsiteX6240" fmla="*/ 11773551 w 12117871"/>
                <a:gd name="connsiteY6240" fmla="*/ 942895 h 6072780"/>
                <a:gd name="connsiteX6241" fmla="*/ 11734281 w 12117871"/>
                <a:gd name="connsiteY6241" fmla="*/ 1029409 h 6072780"/>
                <a:gd name="connsiteX6242" fmla="*/ 11772799 w 12117871"/>
                <a:gd name="connsiteY6242" fmla="*/ 1110356 h 6072780"/>
                <a:gd name="connsiteX6243" fmla="*/ 11810714 w 12117871"/>
                <a:gd name="connsiteY6243" fmla="*/ 1028055 h 6072780"/>
                <a:gd name="connsiteX6244" fmla="*/ 11773551 w 12117871"/>
                <a:gd name="connsiteY6244" fmla="*/ 942895 h 6072780"/>
                <a:gd name="connsiteX6245" fmla="*/ 6978763 w 12117871"/>
                <a:gd name="connsiteY6245" fmla="*/ 942895 h 6072780"/>
                <a:gd name="connsiteX6246" fmla="*/ 6939493 w 12117871"/>
                <a:gd name="connsiteY6246" fmla="*/ 1029409 h 6072780"/>
                <a:gd name="connsiteX6247" fmla="*/ 6978011 w 12117871"/>
                <a:gd name="connsiteY6247" fmla="*/ 1110356 h 6072780"/>
                <a:gd name="connsiteX6248" fmla="*/ 7015926 w 12117871"/>
                <a:gd name="connsiteY6248" fmla="*/ 1028055 h 6072780"/>
                <a:gd name="connsiteX6249" fmla="*/ 6978763 w 12117871"/>
                <a:gd name="connsiteY6249" fmla="*/ 942895 h 6072780"/>
                <a:gd name="connsiteX6250" fmla="*/ 6762253 w 12117871"/>
                <a:gd name="connsiteY6250" fmla="*/ 942895 h 6072780"/>
                <a:gd name="connsiteX6251" fmla="*/ 6722983 w 12117871"/>
                <a:gd name="connsiteY6251" fmla="*/ 1029409 h 6072780"/>
                <a:gd name="connsiteX6252" fmla="*/ 6761501 w 12117871"/>
                <a:gd name="connsiteY6252" fmla="*/ 1110356 h 6072780"/>
                <a:gd name="connsiteX6253" fmla="*/ 6799416 w 12117871"/>
                <a:gd name="connsiteY6253" fmla="*/ 1028055 h 6072780"/>
                <a:gd name="connsiteX6254" fmla="*/ 6762253 w 12117871"/>
                <a:gd name="connsiteY6254" fmla="*/ 942895 h 6072780"/>
                <a:gd name="connsiteX6255" fmla="*/ 6144476 w 12117871"/>
                <a:gd name="connsiteY6255" fmla="*/ 942895 h 6072780"/>
                <a:gd name="connsiteX6256" fmla="*/ 6105206 w 12117871"/>
                <a:gd name="connsiteY6256" fmla="*/ 1029409 h 6072780"/>
                <a:gd name="connsiteX6257" fmla="*/ 6143724 w 12117871"/>
                <a:gd name="connsiteY6257" fmla="*/ 1110356 h 6072780"/>
                <a:gd name="connsiteX6258" fmla="*/ 6181639 w 12117871"/>
                <a:gd name="connsiteY6258" fmla="*/ 1028055 h 6072780"/>
                <a:gd name="connsiteX6259" fmla="*/ 6144476 w 12117871"/>
                <a:gd name="connsiteY6259" fmla="*/ 942895 h 6072780"/>
                <a:gd name="connsiteX6260" fmla="*/ 5927965 w 12117871"/>
                <a:gd name="connsiteY6260" fmla="*/ 942895 h 6072780"/>
                <a:gd name="connsiteX6261" fmla="*/ 5888696 w 12117871"/>
                <a:gd name="connsiteY6261" fmla="*/ 1029409 h 6072780"/>
                <a:gd name="connsiteX6262" fmla="*/ 5927213 w 12117871"/>
                <a:gd name="connsiteY6262" fmla="*/ 1110356 h 6072780"/>
                <a:gd name="connsiteX6263" fmla="*/ 5965130 w 12117871"/>
                <a:gd name="connsiteY6263" fmla="*/ 1028055 h 6072780"/>
                <a:gd name="connsiteX6264" fmla="*/ 5927965 w 12117871"/>
                <a:gd name="connsiteY6264" fmla="*/ 942895 h 6072780"/>
                <a:gd name="connsiteX6265" fmla="*/ 5703858 w 12117871"/>
                <a:gd name="connsiteY6265" fmla="*/ 942895 h 6072780"/>
                <a:gd name="connsiteX6266" fmla="*/ 5664590 w 12117871"/>
                <a:gd name="connsiteY6266" fmla="*/ 1029409 h 6072780"/>
                <a:gd name="connsiteX6267" fmla="*/ 5703106 w 12117871"/>
                <a:gd name="connsiteY6267" fmla="*/ 1110356 h 6072780"/>
                <a:gd name="connsiteX6268" fmla="*/ 5741022 w 12117871"/>
                <a:gd name="connsiteY6268" fmla="*/ 1028055 h 6072780"/>
                <a:gd name="connsiteX6269" fmla="*/ 5703858 w 12117871"/>
                <a:gd name="connsiteY6269" fmla="*/ 942895 h 6072780"/>
                <a:gd name="connsiteX6270" fmla="*/ 925881 w 12117871"/>
                <a:gd name="connsiteY6270" fmla="*/ 942895 h 6072780"/>
                <a:gd name="connsiteX6271" fmla="*/ 886611 w 12117871"/>
                <a:gd name="connsiteY6271" fmla="*/ 1029409 h 6072780"/>
                <a:gd name="connsiteX6272" fmla="*/ 925129 w 12117871"/>
                <a:gd name="connsiteY6272" fmla="*/ 1110356 h 6072780"/>
                <a:gd name="connsiteX6273" fmla="*/ 963044 w 12117871"/>
                <a:gd name="connsiteY6273" fmla="*/ 1028055 h 6072780"/>
                <a:gd name="connsiteX6274" fmla="*/ 925881 w 12117871"/>
                <a:gd name="connsiteY6274" fmla="*/ 942895 h 6072780"/>
                <a:gd name="connsiteX6275" fmla="*/ 709604 w 12117871"/>
                <a:gd name="connsiteY6275" fmla="*/ 942895 h 6072780"/>
                <a:gd name="connsiteX6276" fmla="*/ 670336 w 12117871"/>
                <a:gd name="connsiteY6276" fmla="*/ 1029409 h 6072780"/>
                <a:gd name="connsiteX6277" fmla="*/ 708853 w 12117871"/>
                <a:gd name="connsiteY6277" fmla="*/ 1110356 h 6072780"/>
                <a:gd name="connsiteX6278" fmla="*/ 746769 w 12117871"/>
                <a:gd name="connsiteY6278" fmla="*/ 1028055 h 6072780"/>
                <a:gd name="connsiteX6279" fmla="*/ 709604 w 12117871"/>
                <a:gd name="connsiteY6279" fmla="*/ 942895 h 6072780"/>
                <a:gd name="connsiteX6280" fmla="*/ 87999 w 12117871"/>
                <a:gd name="connsiteY6280" fmla="*/ 942895 h 6072780"/>
                <a:gd name="connsiteX6281" fmla="*/ 48728 w 12117871"/>
                <a:gd name="connsiteY6281" fmla="*/ 1029409 h 6072780"/>
                <a:gd name="connsiteX6282" fmla="*/ 87245 w 12117871"/>
                <a:gd name="connsiteY6282" fmla="*/ 1110356 h 6072780"/>
                <a:gd name="connsiteX6283" fmla="*/ 125161 w 12117871"/>
                <a:gd name="connsiteY6283" fmla="*/ 1028055 h 6072780"/>
                <a:gd name="connsiteX6284" fmla="*/ 87999 w 12117871"/>
                <a:gd name="connsiteY6284" fmla="*/ 942895 h 6072780"/>
                <a:gd name="connsiteX6285" fmla="*/ 11991716 w 12117871"/>
                <a:gd name="connsiteY6285" fmla="*/ 915060 h 6072780"/>
                <a:gd name="connsiteX6286" fmla="*/ 12062883 w 12117871"/>
                <a:gd name="connsiteY6286" fmla="*/ 1025647 h 6072780"/>
                <a:gd name="connsiteX6287" fmla="*/ 12042797 w 12117871"/>
                <a:gd name="connsiteY6287" fmla="*/ 1109227 h 6072780"/>
                <a:gd name="connsiteX6288" fmla="*/ 11986600 w 12117871"/>
                <a:gd name="connsiteY6288" fmla="*/ 1138040 h 6072780"/>
                <a:gd name="connsiteX6289" fmla="*/ 11934015 w 12117871"/>
                <a:gd name="connsiteY6289" fmla="*/ 1110506 h 6072780"/>
                <a:gd name="connsiteX6290" fmla="*/ 11915132 w 12117871"/>
                <a:gd name="connsiteY6290" fmla="*/ 1030914 h 6072780"/>
                <a:gd name="connsiteX6291" fmla="*/ 11934842 w 12117871"/>
                <a:gd name="connsiteY6291" fmla="*/ 944399 h 6072780"/>
                <a:gd name="connsiteX6292" fmla="*/ 11991716 w 12117871"/>
                <a:gd name="connsiteY6292" fmla="*/ 915060 h 6072780"/>
                <a:gd name="connsiteX6293" fmla="*/ 11775206 w 12117871"/>
                <a:gd name="connsiteY6293" fmla="*/ 915060 h 6072780"/>
                <a:gd name="connsiteX6294" fmla="*/ 11846373 w 12117871"/>
                <a:gd name="connsiteY6294" fmla="*/ 1025647 h 6072780"/>
                <a:gd name="connsiteX6295" fmla="*/ 11826287 w 12117871"/>
                <a:gd name="connsiteY6295" fmla="*/ 1109227 h 6072780"/>
                <a:gd name="connsiteX6296" fmla="*/ 11770090 w 12117871"/>
                <a:gd name="connsiteY6296" fmla="*/ 1138040 h 6072780"/>
                <a:gd name="connsiteX6297" fmla="*/ 11717505 w 12117871"/>
                <a:gd name="connsiteY6297" fmla="*/ 1110506 h 6072780"/>
                <a:gd name="connsiteX6298" fmla="*/ 11698622 w 12117871"/>
                <a:gd name="connsiteY6298" fmla="*/ 1030914 h 6072780"/>
                <a:gd name="connsiteX6299" fmla="*/ 11718332 w 12117871"/>
                <a:gd name="connsiteY6299" fmla="*/ 944399 h 6072780"/>
                <a:gd name="connsiteX6300" fmla="*/ 11775206 w 12117871"/>
                <a:gd name="connsiteY6300" fmla="*/ 915060 h 6072780"/>
                <a:gd name="connsiteX6301" fmla="*/ 11623651 w 12117871"/>
                <a:gd name="connsiteY6301" fmla="*/ 915060 h 6072780"/>
                <a:gd name="connsiteX6302" fmla="*/ 11638557 w 12117871"/>
                <a:gd name="connsiteY6302" fmla="*/ 915060 h 6072780"/>
                <a:gd name="connsiteX6303" fmla="*/ 11638557 w 12117871"/>
                <a:gd name="connsiteY6303" fmla="*/ 1138040 h 6072780"/>
                <a:gd name="connsiteX6304" fmla="*/ 11603269 w 12117871"/>
                <a:gd name="connsiteY6304" fmla="*/ 1138040 h 6072780"/>
                <a:gd name="connsiteX6305" fmla="*/ 11603269 w 12117871"/>
                <a:gd name="connsiteY6305" fmla="*/ 958257 h 6072780"/>
                <a:gd name="connsiteX6306" fmla="*/ 11582660 w 12117871"/>
                <a:gd name="connsiteY6306" fmla="*/ 969892 h 6072780"/>
                <a:gd name="connsiteX6307" fmla="*/ 11557487 w 12117871"/>
                <a:gd name="connsiteY6307" fmla="*/ 978334 h 6072780"/>
                <a:gd name="connsiteX6308" fmla="*/ 11557487 w 12117871"/>
                <a:gd name="connsiteY6308" fmla="*/ 948218 h 6072780"/>
                <a:gd name="connsiteX6309" fmla="*/ 11574522 w 12117871"/>
                <a:gd name="connsiteY6309" fmla="*/ 942134 h 6072780"/>
                <a:gd name="connsiteX6310" fmla="*/ 11590721 w 12117871"/>
                <a:gd name="connsiteY6310" fmla="*/ 934985 h 6072780"/>
                <a:gd name="connsiteX6311" fmla="*/ 11606844 w 12117871"/>
                <a:gd name="connsiteY6311" fmla="*/ 926163 h 6072780"/>
                <a:gd name="connsiteX6312" fmla="*/ 11623651 w 12117871"/>
                <a:gd name="connsiteY6312" fmla="*/ 915060 h 6072780"/>
                <a:gd name="connsiteX6313" fmla="*/ 11320876 w 12117871"/>
                <a:gd name="connsiteY6313" fmla="*/ 915060 h 6072780"/>
                <a:gd name="connsiteX6314" fmla="*/ 11335782 w 12117871"/>
                <a:gd name="connsiteY6314" fmla="*/ 915060 h 6072780"/>
                <a:gd name="connsiteX6315" fmla="*/ 11335782 w 12117871"/>
                <a:gd name="connsiteY6315" fmla="*/ 1138040 h 6072780"/>
                <a:gd name="connsiteX6316" fmla="*/ 11300494 w 12117871"/>
                <a:gd name="connsiteY6316" fmla="*/ 1138040 h 6072780"/>
                <a:gd name="connsiteX6317" fmla="*/ 11300494 w 12117871"/>
                <a:gd name="connsiteY6317" fmla="*/ 958257 h 6072780"/>
                <a:gd name="connsiteX6318" fmla="*/ 11279885 w 12117871"/>
                <a:gd name="connsiteY6318" fmla="*/ 969892 h 6072780"/>
                <a:gd name="connsiteX6319" fmla="*/ 11254712 w 12117871"/>
                <a:gd name="connsiteY6319" fmla="*/ 978334 h 6072780"/>
                <a:gd name="connsiteX6320" fmla="*/ 11254712 w 12117871"/>
                <a:gd name="connsiteY6320" fmla="*/ 948218 h 6072780"/>
                <a:gd name="connsiteX6321" fmla="*/ 11271747 w 12117871"/>
                <a:gd name="connsiteY6321" fmla="*/ 942134 h 6072780"/>
                <a:gd name="connsiteX6322" fmla="*/ 11287946 w 12117871"/>
                <a:gd name="connsiteY6322" fmla="*/ 934985 h 6072780"/>
                <a:gd name="connsiteX6323" fmla="*/ 11304069 w 12117871"/>
                <a:gd name="connsiteY6323" fmla="*/ 926163 h 6072780"/>
                <a:gd name="connsiteX6324" fmla="*/ 11320876 w 12117871"/>
                <a:gd name="connsiteY6324" fmla="*/ 915060 h 6072780"/>
                <a:gd name="connsiteX6325" fmla="*/ 10943712 w 12117871"/>
                <a:gd name="connsiteY6325" fmla="*/ 915060 h 6072780"/>
                <a:gd name="connsiteX6326" fmla="*/ 10958618 w 12117871"/>
                <a:gd name="connsiteY6326" fmla="*/ 915060 h 6072780"/>
                <a:gd name="connsiteX6327" fmla="*/ 10958618 w 12117871"/>
                <a:gd name="connsiteY6327" fmla="*/ 1138040 h 6072780"/>
                <a:gd name="connsiteX6328" fmla="*/ 10923330 w 12117871"/>
                <a:gd name="connsiteY6328" fmla="*/ 1138040 h 6072780"/>
                <a:gd name="connsiteX6329" fmla="*/ 10923330 w 12117871"/>
                <a:gd name="connsiteY6329" fmla="*/ 958257 h 6072780"/>
                <a:gd name="connsiteX6330" fmla="*/ 10902721 w 12117871"/>
                <a:gd name="connsiteY6330" fmla="*/ 969892 h 6072780"/>
                <a:gd name="connsiteX6331" fmla="*/ 10877548 w 12117871"/>
                <a:gd name="connsiteY6331" fmla="*/ 978334 h 6072780"/>
                <a:gd name="connsiteX6332" fmla="*/ 10877548 w 12117871"/>
                <a:gd name="connsiteY6332" fmla="*/ 948218 h 6072780"/>
                <a:gd name="connsiteX6333" fmla="*/ 10894583 w 12117871"/>
                <a:gd name="connsiteY6333" fmla="*/ 942134 h 6072780"/>
                <a:gd name="connsiteX6334" fmla="*/ 10910782 w 12117871"/>
                <a:gd name="connsiteY6334" fmla="*/ 934985 h 6072780"/>
                <a:gd name="connsiteX6335" fmla="*/ 10926905 w 12117871"/>
                <a:gd name="connsiteY6335" fmla="*/ 926163 h 6072780"/>
                <a:gd name="connsiteX6336" fmla="*/ 10943712 w 12117871"/>
                <a:gd name="connsiteY6336" fmla="*/ 915060 h 6072780"/>
                <a:gd name="connsiteX6337" fmla="*/ 10794855 w 12117871"/>
                <a:gd name="connsiteY6337" fmla="*/ 915060 h 6072780"/>
                <a:gd name="connsiteX6338" fmla="*/ 10809761 w 12117871"/>
                <a:gd name="connsiteY6338" fmla="*/ 915060 h 6072780"/>
                <a:gd name="connsiteX6339" fmla="*/ 10809761 w 12117871"/>
                <a:gd name="connsiteY6339" fmla="*/ 1138040 h 6072780"/>
                <a:gd name="connsiteX6340" fmla="*/ 10774473 w 12117871"/>
                <a:gd name="connsiteY6340" fmla="*/ 1138040 h 6072780"/>
                <a:gd name="connsiteX6341" fmla="*/ 10774473 w 12117871"/>
                <a:gd name="connsiteY6341" fmla="*/ 958257 h 6072780"/>
                <a:gd name="connsiteX6342" fmla="*/ 10753864 w 12117871"/>
                <a:gd name="connsiteY6342" fmla="*/ 969892 h 6072780"/>
                <a:gd name="connsiteX6343" fmla="*/ 10728691 w 12117871"/>
                <a:gd name="connsiteY6343" fmla="*/ 978334 h 6072780"/>
                <a:gd name="connsiteX6344" fmla="*/ 10728691 w 12117871"/>
                <a:gd name="connsiteY6344" fmla="*/ 948218 h 6072780"/>
                <a:gd name="connsiteX6345" fmla="*/ 10745726 w 12117871"/>
                <a:gd name="connsiteY6345" fmla="*/ 942134 h 6072780"/>
                <a:gd name="connsiteX6346" fmla="*/ 10761925 w 12117871"/>
                <a:gd name="connsiteY6346" fmla="*/ 934985 h 6072780"/>
                <a:gd name="connsiteX6347" fmla="*/ 10778048 w 12117871"/>
                <a:gd name="connsiteY6347" fmla="*/ 926163 h 6072780"/>
                <a:gd name="connsiteX6348" fmla="*/ 10794855 w 12117871"/>
                <a:gd name="connsiteY6348" fmla="*/ 915060 h 6072780"/>
                <a:gd name="connsiteX6349" fmla="*/ 10640937 w 12117871"/>
                <a:gd name="connsiteY6349" fmla="*/ 915060 h 6072780"/>
                <a:gd name="connsiteX6350" fmla="*/ 10655843 w 12117871"/>
                <a:gd name="connsiteY6350" fmla="*/ 915060 h 6072780"/>
                <a:gd name="connsiteX6351" fmla="*/ 10655843 w 12117871"/>
                <a:gd name="connsiteY6351" fmla="*/ 1138040 h 6072780"/>
                <a:gd name="connsiteX6352" fmla="*/ 10620555 w 12117871"/>
                <a:gd name="connsiteY6352" fmla="*/ 1138040 h 6072780"/>
                <a:gd name="connsiteX6353" fmla="*/ 10620555 w 12117871"/>
                <a:gd name="connsiteY6353" fmla="*/ 958257 h 6072780"/>
                <a:gd name="connsiteX6354" fmla="*/ 10599946 w 12117871"/>
                <a:gd name="connsiteY6354" fmla="*/ 969892 h 6072780"/>
                <a:gd name="connsiteX6355" fmla="*/ 10574773 w 12117871"/>
                <a:gd name="connsiteY6355" fmla="*/ 978334 h 6072780"/>
                <a:gd name="connsiteX6356" fmla="*/ 10574773 w 12117871"/>
                <a:gd name="connsiteY6356" fmla="*/ 948218 h 6072780"/>
                <a:gd name="connsiteX6357" fmla="*/ 10591808 w 12117871"/>
                <a:gd name="connsiteY6357" fmla="*/ 942134 h 6072780"/>
                <a:gd name="connsiteX6358" fmla="*/ 10608007 w 12117871"/>
                <a:gd name="connsiteY6358" fmla="*/ 934985 h 6072780"/>
                <a:gd name="connsiteX6359" fmla="*/ 10624130 w 12117871"/>
                <a:gd name="connsiteY6359" fmla="*/ 926163 h 6072780"/>
                <a:gd name="connsiteX6360" fmla="*/ 10640937 w 12117871"/>
                <a:gd name="connsiteY6360" fmla="*/ 915060 h 6072780"/>
                <a:gd name="connsiteX6361" fmla="*/ 10492080 w 12117871"/>
                <a:gd name="connsiteY6361" fmla="*/ 915060 h 6072780"/>
                <a:gd name="connsiteX6362" fmla="*/ 10506986 w 12117871"/>
                <a:gd name="connsiteY6362" fmla="*/ 915060 h 6072780"/>
                <a:gd name="connsiteX6363" fmla="*/ 10506986 w 12117871"/>
                <a:gd name="connsiteY6363" fmla="*/ 1138040 h 6072780"/>
                <a:gd name="connsiteX6364" fmla="*/ 10471698 w 12117871"/>
                <a:gd name="connsiteY6364" fmla="*/ 1138040 h 6072780"/>
                <a:gd name="connsiteX6365" fmla="*/ 10471698 w 12117871"/>
                <a:gd name="connsiteY6365" fmla="*/ 958257 h 6072780"/>
                <a:gd name="connsiteX6366" fmla="*/ 10451089 w 12117871"/>
                <a:gd name="connsiteY6366" fmla="*/ 969892 h 6072780"/>
                <a:gd name="connsiteX6367" fmla="*/ 10425916 w 12117871"/>
                <a:gd name="connsiteY6367" fmla="*/ 978334 h 6072780"/>
                <a:gd name="connsiteX6368" fmla="*/ 10425916 w 12117871"/>
                <a:gd name="connsiteY6368" fmla="*/ 948218 h 6072780"/>
                <a:gd name="connsiteX6369" fmla="*/ 10442951 w 12117871"/>
                <a:gd name="connsiteY6369" fmla="*/ 942134 h 6072780"/>
                <a:gd name="connsiteX6370" fmla="*/ 10459150 w 12117871"/>
                <a:gd name="connsiteY6370" fmla="*/ 934985 h 6072780"/>
                <a:gd name="connsiteX6371" fmla="*/ 10475273 w 12117871"/>
                <a:gd name="connsiteY6371" fmla="*/ 926163 h 6072780"/>
                <a:gd name="connsiteX6372" fmla="*/ 10492080 w 12117871"/>
                <a:gd name="connsiteY6372" fmla="*/ 915060 h 6072780"/>
                <a:gd name="connsiteX6373" fmla="*/ 9770689 w 12117871"/>
                <a:gd name="connsiteY6373" fmla="*/ 915060 h 6072780"/>
                <a:gd name="connsiteX6374" fmla="*/ 9785595 w 12117871"/>
                <a:gd name="connsiteY6374" fmla="*/ 915060 h 6072780"/>
                <a:gd name="connsiteX6375" fmla="*/ 9785595 w 12117871"/>
                <a:gd name="connsiteY6375" fmla="*/ 1138040 h 6072780"/>
                <a:gd name="connsiteX6376" fmla="*/ 9750307 w 12117871"/>
                <a:gd name="connsiteY6376" fmla="*/ 1138040 h 6072780"/>
                <a:gd name="connsiteX6377" fmla="*/ 9750307 w 12117871"/>
                <a:gd name="connsiteY6377" fmla="*/ 958257 h 6072780"/>
                <a:gd name="connsiteX6378" fmla="*/ 9729698 w 12117871"/>
                <a:gd name="connsiteY6378" fmla="*/ 969892 h 6072780"/>
                <a:gd name="connsiteX6379" fmla="*/ 9704525 w 12117871"/>
                <a:gd name="connsiteY6379" fmla="*/ 978334 h 6072780"/>
                <a:gd name="connsiteX6380" fmla="*/ 9704525 w 12117871"/>
                <a:gd name="connsiteY6380" fmla="*/ 948218 h 6072780"/>
                <a:gd name="connsiteX6381" fmla="*/ 9721560 w 12117871"/>
                <a:gd name="connsiteY6381" fmla="*/ 942134 h 6072780"/>
                <a:gd name="connsiteX6382" fmla="*/ 9737759 w 12117871"/>
                <a:gd name="connsiteY6382" fmla="*/ 934985 h 6072780"/>
                <a:gd name="connsiteX6383" fmla="*/ 9753882 w 12117871"/>
                <a:gd name="connsiteY6383" fmla="*/ 926163 h 6072780"/>
                <a:gd name="connsiteX6384" fmla="*/ 9770689 w 12117871"/>
                <a:gd name="connsiteY6384" fmla="*/ 915060 h 6072780"/>
                <a:gd name="connsiteX6385" fmla="*/ 9621832 w 12117871"/>
                <a:gd name="connsiteY6385" fmla="*/ 915060 h 6072780"/>
                <a:gd name="connsiteX6386" fmla="*/ 9636738 w 12117871"/>
                <a:gd name="connsiteY6386" fmla="*/ 915060 h 6072780"/>
                <a:gd name="connsiteX6387" fmla="*/ 9636738 w 12117871"/>
                <a:gd name="connsiteY6387" fmla="*/ 1138040 h 6072780"/>
                <a:gd name="connsiteX6388" fmla="*/ 9601450 w 12117871"/>
                <a:gd name="connsiteY6388" fmla="*/ 1138040 h 6072780"/>
                <a:gd name="connsiteX6389" fmla="*/ 9601450 w 12117871"/>
                <a:gd name="connsiteY6389" fmla="*/ 958257 h 6072780"/>
                <a:gd name="connsiteX6390" fmla="*/ 9580841 w 12117871"/>
                <a:gd name="connsiteY6390" fmla="*/ 969892 h 6072780"/>
                <a:gd name="connsiteX6391" fmla="*/ 9555668 w 12117871"/>
                <a:gd name="connsiteY6391" fmla="*/ 978334 h 6072780"/>
                <a:gd name="connsiteX6392" fmla="*/ 9555668 w 12117871"/>
                <a:gd name="connsiteY6392" fmla="*/ 948218 h 6072780"/>
                <a:gd name="connsiteX6393" fmla="*/ 9572703 w 12117871"/>
                <a:gd name="connsiteY6393" fmla="*/ 942134 h 6072780"/>
                <a:gd name="connsiteX6394" fmla="*/ 9588902 w 12117871"/>
                <a:gd name="connsiteY6394" fmla="*/ 934985 h 6072780"/>
                <a:gd name="connsiteX6395" fmla="*/ 9605025 w 12117871"/>
                <a:gd name="connsiteY6395" fmla="*/ 926163 h 6072780"/>
                <a:gd name="connsiteX6396" fmla="*/ 9621832 w 12117871"/>
                <a:gd name="connsiteY6396" fmla="*/ 915060 h 6072780"/>
                <a:gd name="connsiteX6397" fmla="*/ 8818727 w 12117871"/>
                <a:gd name="connsiteY6397" fmla="*/ 915060 h 6072780"/>
                <a:gd name="connsiteX6398" fmla="*/ 8833633 w 12117871"/>
                <a:gd name="connsiteY6398" fmla="*/ 915060 h 6072780"/>
                <a:gd name="connsiteX6399" fmla="*/ 8833633 w 12117871"/>
                <a:gd name="connsiteY6399" fmla="*/ 1138040 h 6072780"/>
                <a:gd name="connsiteX6400" fmla="*/ 8798345 w 12117871"/>
                <a:gd name="connsiteY6400" fmla="*/ 1138040 h 6072780"/>
                <a:gd name="connsiteX6401" fmla="*/ 8798345 w 12117871"/>
                <a:gd name="connsiteY6401" fmla="*/ 958257 h 6072780"/>
                <a:gd name="connsiteX6402" fmla="*/ 8777736 w 12117871"/>
                <a:gd name="connsiteY6402" fmla="*/ 969892 h 6072780"/>
                <a:gd name="connsiteX6403" fmla="*/ 8752563 w 12117871"/>
                <a:gd name="connsiteY6403" fmla="*/ 978334 h 6072780"/>
                <a:gd name="connsiteX6404" fmla="*/ 8752563 w 12117871"/>
                <a:gd name="connsiteY6404" fmla="*/ 948218 h 6072780"/>
                <a:gd name="connsiteX6405" fmla="*/ 8769598 w 12117871"/>
                <a:gd name="connsiteY6405" fmla="*/ 942134 h 6072780"/>
                <a:gd name="connsiteX6406" fmla="*/ 8785797 w 12117871"/>
                <a:gd name="connsiteY6406" fmla="*/ 934985 h 6072780"/>
                <a:gd name="connsiteX6407" fmla="*/ 8801920 w 12117871"/>
                <a:gd name="connsiteY6407" fmla="*/ 926163 h 6072780"/>
                <a:gd name="connsiteX6408" fmla="*/ 8818727 w 12117871"/>
                <a:gd name="connsiteY6408" fmla="*/ 915060 h 6072780"/>
                <a:gd name="connsiteX6409" fmla="*/ 8440120 w 12117871"/>
                <a:gd name="connsiteY6409" fmla="*/ 915060 h 6072780"/>
                <a:gd name="connsiteX6410" fmla="*/ 8455026 w 12117871"/>
                <a:gd name="connsiteY6410" fmla="*/ 915060 h 6072780"/>
                <a:gd name="connsiteX6411" fmla="*/ 8455026 w 12117871"/>
                <a:gd name="connsiteY6411" fmla="*/ 1138040 h 6072780"/>
                <a:gd name="connsiteX6412" fmla="*/ 8419738 w 12117871"/>
                <a:gd name="connsiteY6412" fmla="*/ 1138040 h 6072780"/>
                <a:gd name="connsiteX6413" fmla="*/ 8419738 w 12117871"/>
                <a:gd name="connsiteY6413" fmla="*/ 958257 h 6072780"/>
                <a:gd name="connsiteX6414" fmla="*/ 8399129 w 12117871"/>
                <a:gd name="connsiteY6414" fmla="*/ 969892 h 6072780"/>
                <a:gd name="connsiteX6415" fmla="*/ 8373956 w 12117871"/>
                <a:gd name="connsiteY6415" fmla="*/ 978334 h 6072780"/>
                <a:gd name="connsiteX6416" fmla="*/ 8373956 w 12117871"/>
                <a:gd name="connsiteY6416" fmla="*/ 948218 h 6072780"/>
                <a:gd name="connsiteX6417" fmla="*/ 8390991 w 12117871"/>
                <a:gd name="connsiteY6417" fmla="*/ 942134 h 6072780"/>
                <a:gd name="connsiteX6418" fmla="*/ 8407190 w 12117871"/>
                <a:gd name="connsiteY6418" fmla="*/ 934985 h 6072780"/>
                <a:gd name="connsiteX6419" fmla="*/ 8423313 w 12117871"/>
                <a:gd name="connsiteY6419" fmla="*/ 926163 h 6072780"/>
                <a:gd name="connsiteX6420" fmla="*/ 8440120 w 12117871"/>
                <a:gd name="connsiteY6420" fmla="*/ 915060 h 6072780"/>
                <a:gd name="connsiteX6421" fmla="*/ 8291263 w 12117871"/>
                <a:gd name="connsiteY6421" fmla="*/ 915060 h 6072780"/>
                <a:gd name="connsiteX6422" fmla="*/ 8306169 w 12117871"/>
                <a:gd name="connsiteY6422" fmla="*/ 915060 h 6072780"/>
                <a:gd name="connsiteX6423" fmla="*/ 8306169 w 12117871"/>
                <a:gd name="connsiteY6423" fmla="*/ 1138040 h 6072780"/>
                <a:gd name="connsiteX6424" fmla="*/ 8270881 w 12117871"/>
                <a:gd name="connsiteY6424" fmla="*/ 1138040 h 6072780"/>
                <a:gd name="connsiteX6425" fmla="*/ 8270881 w 12117871"/>
                <a:gd name="connsiteY6425" fmla="*/ 958257 h 6072780"/>
                <a:gd name="connsiteX6426" fmla="*/ 8250272 w 12117871"/>
                <a:gd name="connsiteY6426" fmla="*/ 969892 h 6072780"/>
                <a:gd name="connsiteX6427" fmla="*/ 8225099 w 12117871"/>
                <a:gd name="connsiteY6427" fmla="*/ 978334 h 6072780"/>
                <a:gd name="connsiteX6428" fmla="*/ 8225099 w 12117871"/>
                <a:gd name="connsiteY6428" fmla="*/ 948218 h 6072780"/>
                <a:gd name="connsiteX6429" fmla="*/ 8242134 w 12117871"/>
                <a:gd name="connsiteY6429" fmla="*/ 942134 h 6072780"/>
                <a:gd name="connsiteX6430" fmla="*/ 8258333 w 12117871"/>
                <a:gd name="connsiteY6430" fmla="*/ 934985 h 6072780"/>
                <a:gd name="connsiteX6431" fmla="*/ 8274456 w 12117871"/>
                <a:gd name="connsiteY6431" fmla="*/ 926163 h 6072780"/>
                <a:gd name="connsiteX6432" fmla="*/ 8291263 w 12117871"/>
                <a:gd name="connsiteY6432" fmla="*/ 915060 h 6072780"/>
                <a:gd name="connsiteX6433" fmla="*/ 8137345 w 12117871"/>
                <a:gd name="connsiteY6433" fmla="*/ 915060 h 6072780"/>
                <a:gd name="connsiteX6434" fmla="*/ 8152251 w 12117871"/>
                <a:gd name="connsiteY6434" fmla="*/ 915060 h 6072780"/>
                <a:gd name="connsiteX6435" fmla="*/ 8152251 w 12117871"/>
                <a:gd name="connsiteY6435" fmla="*/ 1138040 h 6072780"/>
                <a:gd name="connsiteX6436" fmla="*/ 8116963 w 12117871"/>
                <a:gd name="connsiteY6436" fmla="*/ 1138040 h 6072780"/>
                <a:gd name="connsiteX6437" fmla="*/ 8116963 w 12117871"/>
                <a:gd name="connsiteY6437" fmla="*/ 958257 h 6072780"/>
                <a:gd name="connsiteX6438" fmla="*/ 8096354 w 12117871"/>
                <a:gd name="connsiteY6438" fmla="*/ 969892 h 6072780"/>
                <a:gd name="connsiteX6439" fmla="*/ 8071181 w 12117871"/>
                <a:gd name="connsiteY6439" fmla="*/ 978334 h 6072780"/>
                <a:gd name="connsiteX6440" fmla="*/ 8071181 w 12117871"/>
                <a:gd name="connsiteY6440" fmla="*/ 948218 h 6072780"/>
                <a:gd name="connsiteX6441" fmla="*/ 8088216 w 12117871"/>
                <a:gd name="connsiteY6441" fmla="*/ 942134 h 6072780"/>
                <a:gd name="connsiteX6442" fmla="*/ 8104415 w 12117871"/>
                <a:gd name="connsiteY6442" fmla="*/ 934985 h 6072780"/>
                <a:gd name="connsiteX6443" fmla="*/ 8120538 w 12117871"/>
                <a:gd name="connsiteY6443" fmla="*/ 926163 h 6072780"/>
                <a:gd name="connsiteX6444" fmla="*/ 8137345 w 12117871"/>
                <a:gd name="connsiteY6444" fmla="*/ 915060 h 6072780"/>
                <a:gd name="connsiteX6445" fmla="*/ 7988488 w 12117871"/>
                <a:gd name="connsiteY6445" fmla="*/ 915060 h 6072780"/>
                <a:gd name="connsiteX6446" fmla="*/ 8003394 w 12117871"/>
                <a:gd name="connsiteY6446" fmla="*/ 915060 h 6072780"/>
                <a:gd name="connsiteX6447" fmla="*/ 8003394 w 12117871"/>
                <a:gd name="connsiteY6447" fmla="*/ 1138040 h 6072780"/>
                <a:gd name="connsiteX6448" fmla="*/ 7968106 w 12117871"/>
                <a:gd name="connsiteY6448" fmla="*/ 1138040 h 6072780"/>
                <a:gd name="connsiteX6449" fmla="*/ 7968106 w 12117871"/>
                <a:gd name="connsiteY6449" fmla="*/ 958257 h 6072780"/>
                <a:gd name="connsiteX6450" fmla="*/ 7947497 w 12117871"/>
                <a:gd name="connsiteY6450" fmla="*/ 969892 h 6072780"/>
                <a:gd name="connsiteX6451" fmla="*/ 7922324 w 12117871"/>
                <a:gd name="connsiteY6451" fmla="*/ 978334 h 6072780"/>
                <a:gd name="connsiteX6452" fmla="*/ 7922324 w 12117871"/>
                <a:gd name="connsiteY6452" fmla="*/ 948218 h 6072780"/>
                <a:gd name="connsiteX6453" fmla="*/ 7939359 w 12117871"/>
                <a:gd name="connsiteY6453" fmla="*/ 942134 h 6072780"/>
                <a:gd name="connsiteX6454" fmla="*/ 7955558 w 12117871"/>
                <a:gd name="connsiteY6454" fmla="*/ 934985 h 6072780"/>
                <a:gd name="connsiteX6455" fmla="*/ 7971681 w 12117871"/>
                <a:gd name="connsiteY6455" fmla="*/ 926163 h 6072780"/>
                <a:gd name="connsiteX6456" fmla="*/ 7988488 w 12117871"/>
                <a:gd name="connsiteY6456" fmla="*/ 915060 h 6072780"/>
                <a:gd name="connsiteX6457" fmla="*/ 7839631 w 12117871"/>
                <a:gd name="connsiteY6457" fmla="*/ 915060 h 6072780"/>
                <a:gd name="connsiteX6458" fmla="*/ 7854537 w 12117871"/>
                <a:gd name="connsiteY6458" fmla="*/ 915060 h 6072780"/>
                <a:gd name="connsiteX6459" fmla="*/ 7854537 w 12117871"/>
                <a:gd name="connsiteY6459" fmla="*/ 1138040 h 6072780"/>
                <a:gd name="connsiteX6460" fmla="*/ 7819249 w 12117871"/>
                <a:gd name="connsiteY6460" fmla="*/ 1138040 h 6072780"/>
                <a:gd name="connsiteX6461" fmla="*/ 7819249 w 12117871"/>
                <a:gd name="connsiteY6461" fmla="*/ 958257 h 6072780"/>
                <a:gd name="connsiteX6462" fmla="*/ 7798640 w 12117871"/>
                <a:gd name="connsiteY6462" fmla="*/ 969892 h 6072780"/>
                <a:gd name="connsiteX6463" fmla="*/ 7773467 w 12117871"/>
                <a:gd name="connsiteY6463" fmla="*/ 978334 h 6072780"/>
                <a:gd name="connsiteX6464" fmla="*/ 7773467 w 12117871"/>
                <a:gd name="connsiteY6464" fmla="*/ 948218 h 6072780"/>
                <a:gd name="connsiteX6465" fmla="*/ 7790502 w 12117871"/>
                <a:gd name="connsiteY6465" fmla="*/ 942134 h 6072780"/>
                <a:gd name="connsiteX6466" fmla="*/ 7806701 w 12117871"/>
                <a:gd name="connsiteY6466" fmla="*/ 934985 h 6072780"/>
                <a:gd name="connsiteX6467" fmla="*/ 7822824 w 12117871"/>
                <a:gd name="connsiteY6467" fmla="*/ 926163 h 6072780"/>
                <a:gd name="connsiteX6468" fmla="*/ 7839631 w 12117871"/>
                <a:gd name="connsiteY6468" fmla="*/ 915060 h 6072780"/>
                <a:gd name="connsiteX6469" fmla="*/ 7487544 w 12117871"/>
                <a:gd name="connsiteY6469" fmla="*/ 915060 h 6072780"/>
                <a:gd name="connsiteX6470" fmla="*/ 7502450 w 12117871"/>
                <a:gd name="connsiteY6470" fmla="*/ 915060 h 6072780"/>
                <a:gd name="connsiteX6471" fmla="*/ 7502450 w 12117871"/>
                <a:gd name="connsiteY6471" fmla="*/ 1138040 h 6072780"/>
                <a:gd name="connsiteX6472" fmla="*/ 7467162 w 12117871"/>
                <a:gd name="connsiteY6472" fmla="*/ 1138040 h 6072780"/>
                <a:gd name="connsiteX6473" fmla="*/ 7467162 w 12117871"/>
                <a:gd name="connsiteY6473" fmla="*/ 958257 h 6072780"/>
                <a:gd name="connsiteX6474" fmla="*/ 7446553 w 12117871"/>
                <a:gd name="connsiteY6474" fmla="*/ 969892 h 6072780"/>
                <a:gd name="connsiteX6475" fmla="*/ 7421380 w 12117871"/>
                <a:gd name="connsiteY6475" fmla="*/ 978334 h 6072780"/>
                <a:gd name="connsiteX6476" fmla="*/ 7421380 w 12117871"/>
                <a:gd name="connsiteY6476" fmla="*/ 948218 h 6072780"/>
                <a:gd name="connsiteX6477" fmla="*/ 7438415 w 12117871"/>
                <a:gd name="connsiteY6477" fmla="*/ 942134 h 6072780"/>
                <a:gd name="connsiteX6478" fmla="*/ 7454614 w 12117871"/>
                <a:gd name="connsiteY6478" fmla="*/ 934985 h 6072780"/>
                <a:gd name="connsiteX6479" fmla="*/ 7470737 w 12117871"/>
                <a:gd name="connsiteY6479" fmla="*/ 926163 h 6072780"/>
                <a:gd name="connsiteX6480" fmla="*/ 7487544 w 12117871"/>
                <a:gd name="connsiteY6480" fmla="*/ 915060 h 6072780"/>
                <a:gd name="connsiteX6481" fmla="*/ 7189830 w 12117871"/>
                <a:gd name="connsiteY6481" fmla="*/ 915060 h 6072780"/>
                <a:gd name="connsiteX6482" fmla="*/ 7204736 w 12117871"/>
                <a:gd name="connsiteY6482" fmla="*/ 915060 h 6072780"/>
                <a:gd name="connsiteX6483" fmla="*/ 7204736 w 12117871"/>
                <a:gd name="connsiteY6483" fmla="*/ 1138040 h 6072780"/>
                <a:gd name="connsiteX6484" fmla="*/ 7169448 w 12117871"/>
                <a:gd name="connsiteY6484" fmla="*/ 1138040 h 6072780"/>
                <a:gd name="connsiteX6485" fmla="*/ 7169448 w 12117871"/>
                <a:gd name="connsiteY6485" fmla="*/ 958257 h 6072780"/>
                <a:gd name="connsiteX6486" fmla="*/ 7148839 w 12117871"/>
                <a:gd name="connsiteY6486" fmla="*/ 969892 h 6072780"/>
                <a:gd name="connsiteX6487" fmla="*/ 7123666 w 12117871"/>
                <a:gd name="connsiteY6487" fmla="*/ 978334 h 6072780"/>
                <a:gd name="connsiteX6488" fmla="*/ 7123666 w 12117871"/>
                <a:gd name="connsiteY6488" fmla="*/ 948218 h 6072780"/>
                <a:gd name="connsiteX6489" fmla="*/ 7140701 w 12117871"/>
                <a:gd name="connsiteY6489" fmla="*/ 942134 h 6072780"/>
                <a:gd name="connsiteX6490" fmla="*/ 7156900 w 12117871"/>
                <a:gd name="connsiteY6490" fmla="*/ 934985 h 6072780"/>
                <a:gd name="connsiteX6491" fmla="*/ 7173023 w 12117871"/>
                <a:gd name="connsiteY6491" fmla="*/ 926163 h 6072780"/>
                <a:gd name="connsiteX6492" fmla="*/ 7189830 w 12117871"/>
                <a:gd name="connsiteY6492" fmla="*/ 915060 h 6072780"/>
                <a:gd name="connsiteX6493" fmla="*/ 6980418 w 12117871"/>
                <a:gd name="connsiteY6493" fmla="*/ 915060 h 6072780"/>
                <a:gd name="connsiteX6494" fmla="*/ 7051585 w 12117871"/>
                <a:gd name="connsiteY6494" fmla="*/ 1025647 h 6072780"/>
                <a:gd name="connsiteX6495" fmla="*/ 7031499 w 12117871"/>
                <a:gd name="connsiteY6495" fmla="*/ 1109227 h 6072780"/>
                <a:gd name="connsiteX6496" fmla="*/ 6975302 w 12117871"/>
                <a:gd name="connsiteY6496" fmla="*/ 1138040 h 6072780"/>
                <a:gd name="connsiteX6497" fmla="*/ 6922717 w 12117871"/>
                <a:gd name="connsiteY6497" fmla="*/ 1110506 h 6072780"/>
                <a:gd name="connsiteX6498" fmla="*/ 6903834 w 12117871"/>
                <a:gd name="connsiteY6498" fmla="*/ 1030914 h 6072780"/>
                <a:gd name="connsiteX6499" fmla="*/ 6923544 w 12117871"/>
                <a:gd name="connsiteY6499" fmla="*/ 944399 h 6072780"/>
                <a:gd name="connsiteX6500" fmla="*/ 6980418 w 12117871"/>
                <a:gd name="connsiteY6500" fmla="*/ 915060 h 6072780"/>
                <a:gd name="connsiteX6501" fmla="*/ 6763908 w 12117871"/>
                <a:gd name="connsiteY6501" fmla="*/ 915060 h 6072780"/>
                <a:gd name="connsiteX6502" fmla="*/ 6835075 w 12117871"/>
                <a:gd name="connsiteY6502" fmla="*/ 1025647 h 6072780"/>
                <a:gd name="connsiteX6503" fmla="*/ 6814989 w 12117871"/>
                <a:gd name="connsiteY6503" fmla="*/ 1109227 h 6072780"/>
                <a:gd name="connsiteX6504" fmla="*/ 6758792 w 12117871"/>
                <a:gd name="connsiteY6504" fmla="*/ 1138040 h 6072780"/>
                <a:gd name="connsiteX6505" fmla="*/ 6706207 w 12117871"/>
                <a:gd name="connsiteY6505" fmla="*/ 1110506 h 6072780"/>
                <a:gd name="connsiteX6506" fmla="*/ 6687324 w 12117871"/>
                <a:gd name="connsiteY6506" fmla="*/ 1030914 h 6072780"/>
                <a:gd name="connsiteX6507" fmla="*/ 6707034 w 12117871"/>
                <a:gd name="connsiteY6507" fmla="*/ 944399 h 6072780"/>
                <a:gd name="connsiteX6508" fmla="*/ 6763908 w 12117871"/>
                <a:gd name="connsiteY6508" fmla="*/ 915060 h 6072780"/>
                <a:gd name="connsiteX6509" fmla="*/ 6617601 w 12117871"/>
                <a:gd name="connsiteY6509" fmla="*/ 915060 h 6072780"/>
                <a:gd name="connsiteX6510" fmla="*/ 6632507 w 12117871"/>
                <a:gd name="connsiteY6510" fmla="*/ 915060 h 6072780"/>
                <a:gd name="connsiteX6511" fmla="*/ 6632507 w 12117871"/>
                <a:gd name="connsiteY6511" fmla="*/ 1138040 h 6072780"/>
                <a:gd name="connsiteX6512" fmla="*/ 6597219 w 12117871"/>
                <a:gd name="connsiteY6512" fmla="*/ 1138040 h 6072780"/>
                <a:gd name="connsiteX6513" fmla="*/ 6597219 w 12117871"/>
                <a:gd name="connsiteY6513" fmla="*/ 958257 h 6072780"/>
                <a:gd name="connsiteX6514" fmla="*/ 6576610 w 12117871"/>
                <a:gd name="connsiteY6514" fmla="*/ 969892 h 6072780"/>
                <a:gd name="connsiteX6515" fmla="*/ 6551437 w 12117871"/>
                <a:gd name="connsiteY6515" fmla="*/ 978334 h 6072780"/>
                <a:gd name="connsiteX6516" fmla="*/ 6551437 w 12117871"/>
                <a:gd name="connsiteY6516" fmla="*/ 948218 h 6072780"/>
                <a:gd name="connsiteX6517" fmla="*/ 6568472 w 12117871"/>
                <a:gd name="connsiteY6517" fmla="*/ 942134 h 6072780"/>
                <a:gd name="connsiteX6518" fmla="*/ 6584671 w 12117871"/>
                <a:gd name="connsiteY6518" fmla="*/ 934985 h 6072780"/>
                <a:gd name="connsiteX6519" fmla="*/ 6600794 w 12117871"/>
                <a:gd name="connsiteY6519" fmla="*/ 926163 h 6072780"/>
                <a:gd name="connsiteX6520" fmla="*/ 6617601 w 12117871"/>
                <a:gd name="connsiteY6520" fmla="*/ 915060 h 6072780"/>
                <a:gd name="connsiteX6521" fmla="*/ 6319887 w 12117871"/>
                <a:gd name="connsiteY6521" fmla="*/ 915060 h 6072780"/>
                <a:gd name="connsiteX6522" fmla="*/ 6334793 w 12117871"/>
                <a:gd name="connsiteY6522" fmla="*/ 915060 h 6072780"/>
                <a:gd name="connsiteX6523" fmla="*/ 6334793 w 12117871"/>
                <a:gd name="connsiteY6523" fmla="*/ 1138040 h 6072780"/>
                <a:gd name="connsiteX6524" fmla="*/ 6299505 w 12117871"/>
                <a:gd name="connsiteY6524" fmla="*/ 1138040 h 6072780"/>
                <a:gd name="connsiteX6525" fmla="*/ 6299505 w 12117871"/>
                <a:gd name="connsiteY6525" fmla="*/ 958257 h 6072780"/>
                <a:gd name="connsiteX6526" fmla="*/ 6278896 w 12117871"/>
                <a:gd name="connsiteY6526" fmla="*/ 969892 h 6072780"/>
                <a:gd name="connsiteX6527" fmla="*/ 6253723 w 12117871"/>
                <a:gd name="connsiteY6527" fmla="*/ 978334 h 6072780"/>
                <a:gd name="connsiteX6528" fmla="*/ 6253723 w 12117871"/>
                <a:gd name="connsiteY6528" fmla="*/ 948218 h 6072780"/>
                <a:gd name="connsiteX6529" fmla="*/ 6270758 w 12117871"/>
                <a:gd name="connsiteY6529" fmla="*/ 942134 h 6072780"/>
                <a:gd name="connsiteX6530" fmla="*/ 6286957 w 12117871"/>
                <a:gd name="connsiteY6530" fmla="*/ 934985 h 6072780"/>
                <a:gd name="connsiteX6531" fmla="*/ 6303080 w 12117871"/>
                <a:gd name="connsiteY6531" fmla="*/ 926163 h 6072780"/>
                <a:gd name="connsiteX6532" fmla="*/ 6319887 w 12117871"/>
                <a:gd name="connsiteY6532" fmla="*/ 915060 h 6072780"/>
                <a:gd name="connsiteX6533" fmla="*/ 6146131 w 12117871"/>
                <a:gd name="connsiteY6533" fmla="*/ 915060 h 6072780"/>
                <a:gd name="connsiteX6534" fmla="*/ 6217298 w 12117871"/>
                <a:gd name="connsiteY6534" fmla="*/ 1025647 h 6072780"/>
                <a:gd name="connsiteX6535" fmla="*/ 6197212 w 12117871"/>
                <a:gd name="connsiteY6535" fmla="*/ 1109227 h 6072780"/>
                <a:gd name="connsiteX6536" fmla="*/ 6141015 w 12117871"/>
                <a:gd name="connsiteY6536" fmla="*/ 1138040 h 6072780"/>
                <a:gd name="connsiteX6537" fmla="*/ 6088430 w 12117871"/>
                <a:gd name="connsiteY6537" fmla="*/ 1110506 h 6072780"/>
                <a:gd name="connsiteX6538" fmla="*/ 6069547 w 12117871"/>
                <a:gd name="connsiteY6538" fmla="*/ 1030914 h 6072780"/>
                <a:gd name="connsiteX6539" fmla="*/ 6089257 w 12117871"/>
                <a:gd name="connsiteY6539" fmla="*/ 944399 h 6072780"/>
                <a:gd name="connsiteX6540" fmla="*/ 6146131 w 12117871"/>
                <a:gd name="connsiteY6540" fmla="*/ 915060 h 6072780"/>
                <a:gd name="connsiteX6541" fmla="*/ 5929621 w 12117871"/>
                <a:gd name="connsiteY6541" fmla="*/ 915060 h 6072780"/>
                <a:gd name="connsiteX6542" fmla="*/ 6000789 w 12117871"/>
                <a:gd name="connsiteY6542" fmla="*/ 1025647 h 6072780"/>
                <a:gd name="connsiteX6543" fmla="*/ 5980702 w 12117871"/>
                <a:gd name="connsiteY6543" fmla="*/ 1109227 h 6072780"/>
                <a:gd name="connsiteX6544" fmla="*/ 5924506 w 12117871"/>
                <a:gd name="connsiteY6544" fmla="*/ 1138040 h 6072780"/>
                <a:gd name="connsiteX6545" fmla="*/ 5871919 w 12117871"/>
                <a:gd name="connsiteY6545" fmla="*/ 1110506 h 6072780"/>
                <a:gd name="connsiteX6546" fmla="*/ 5853037 w 12117871"/>
                <a:gd name="connsiteY6546" fmla="*/ 1030914 h 6072780"/>
                <a:gd name="connsiteX6547" fmla="*/ 5872748 w 12117871"/>
                <a:gd name="connsiteY6547" fmla="*/ 944399 h 6072780"/>
                <a:gd name="connsiteX6548" fmla="*/ 5929621 w 12117871"/>
                <a:gd name="connsiteY6548" fmla="*/ 915060 h 6072780"/>
                <a:gd name="connsiteX6549" fmla="*/ 5705513 w 12117871"/>
                <a:gd name="connsiteY6549" fmla="*/ 915060 h 6072780"/>
                <a:gd name="connsiteX6550" fmla="*/ 5776681 w 12117871"/>
                <a:gd name="connsiteY6550" fmla="*/ 1025647 h 6072780"/>
                <a:gd name="connsiteX6551" fmla="*/ 5756596 w 12117871"/>
                <a:gd name="connsiteY6551" fmla="*/ 1109227 h 6072780"/>
                <a:gd name="connsiteX6552" fmla="*/ 5700399 w 12117871"/>
                <a:gd name="connsiteY6552" fmla="*/ 1138040 h 6072780"/>
                <a:gd name="connsiteX6553" fmla="*/ 5647813 w 12117871"/>
                <a:gd name="connsiteY6553" fmla="*/ 1110506 h 6072780"/>
                <a:gd name="connsiteX6554" fmla="*/ 5628930 w 12117871"/>
                <a:gd name="connsiteY6554" fmla="*/ 1030914 h 6072780"/>
                <a:gd name="connsiteX6555" fmla="*/ 5648641 w 12117871"/>
                <a:gd name="connsiteY6555" fmla="*/ 944399 h 6072780"/>
                <a:gd name="connsiteX6556" fmla="*/ 5705513 w 12117871"/>
                <a:gd name="connsiteY6556" fmla="*/ 915060 h 6072780"/>
                <a:gd name="connsiteX6557" fmla="*/ 5548234 w 12117871"/>
                <a:gd name="connsiteY6557" fmla="*/ 915060 h 6072780"/>
                <a:gd name="connsiteX6558" fmla="*/ 5563142 w 12117871"/>
                <a:gd name="connsiteY6558" fmla="*/ 915060 h 6072780"/>
                <a:gd name="connsiteX6559" fmla="*/ 5563142 w 12117871"/>
                <a:gd name="connsiteY6559" fmla="*/ 1138040 h 6072780"/>
                <a:gd name="connsiteX6560" fmla="*/ 5527853 w 12117871"/>
                <a:gd name="connsiteY6560" fmla="*/ 1138040 h 6072780"/>
                <a:gd name="connsiteX6561" fmla="*/ 5527853 w 12117871"/>
                <a:gd name="connsiteY6561" fmla="*/ 958257 h 6072780"/>
                <a:gd name="connsiteX6562" fmla="*/ 5507244 w 12117871"/>
                <a:gd name="connsiteY6562" fmla="*/ 969892 h 6072780"/>
                <a:gd name="connsiteX6563" fmla="*/ 5482071 w 12117871"/>
                <a:gd name="connsiteY6563" fmla="*/ 978334 h 6072780"/>
                <a:gd name="connsiteX6564" fmla="*/ 5482071 w 12117871"/>
                <a:gd name="connsiteY6564" fmla="*/ 948218 h 6072780"/>
                <a:gd name="connsiteX6565" fmla="*/ 5499105 w 12117871"/>
                <a:gd name="connsiteY6565" fmla="*/ 942134 h 6072780"/>
                <a:gd name="connsiteX6566" fmla="*/ 5515305 w 12117871"/>
                <a:gd name="connsiteY6566" fmla="*/ 934985 h 6072780"/>
                <a:gd name="connsiteX6567" fmla="*/ 5531426 w 12117871"/>
                <a:gd name="connsiteY6567" fmla="*/ 926163 h 6072780"/>
                <a:gd name="connsiteX6568" fmla="*/ 5548234 w 12117871"/>
                <a:gd name="connsiteY6568" fmla="*/ 915060 h 6072780"/>
                <a:gd name="connsiteX6569" fmla="*/ 5250520 w 12117871"/>
                <a:gd name="connsiteY6569" fmla="*/ 915060 h 6072780"/>
                <a:gd name="connsiteX6570" fmla="*/ 5265426 w 12117871"/>
                <a:gd name="connsiteY6570" fmla="*/ 915060 h 6072780"/>
                <a:gd name="connsiteX6571" fmla="*/ 5265426 w 12117871"/>
                <a:gd name="connsiteY6571" fmla="*/ 1138040 h 6072780"/>
                <a:gd name="connsiteX6572" fmla="*/ 5230139 w 12117871"/>
                <a:gd name="connsiteY6572" fmla="*/ 1138040 h 6072780"/>
                <a:gd name="connsiteX6573" fmla="*/ 5230139 w 12117871"/>
                <a:gd name="connsiteY6573" fmla="*/ 958257 h 6072780"/>
                <a:gd name="connsiteX6574" fmla="*/ 5209528 w 12117871"/>
                <a:gd name="connsiteY6574" fmla="*/ 969892 h 6072780"/>
                <a:gd name="connsiteX6575" fmla="*/ 5184357 w 12117871"/>
                <a:gd name="connsiteY6575" fmla="*/ 978334 h 6072780"/>
                <a:gd name="connsiteX6576" fmla="*/ 5184357 w 12117871"/>
                <a:gd name="connsiteY6576" fmla="*/ 948218 h 6072780"/>
                <a:gd name="connsiteX6577" fmla="*/ 5201391 w 12117871"/>
                <a:gd name="connsiteY6577" fmla="*/ 942134 h 6072780"/>
                <a:gd name="connsiteX6578" fmla="*/ 5217590 w 12117871"/>
                <a:gd name="connsiteY6578" fmla="*/ 934985 h 6072780"/>
                <a:gd name="connsiteX6579" fmla="*/ 5233712 w 12117871"/>
                <a:gd name="connsiteY6579" fmla="*/ 926163 h 6072780"/>
                <a:gd name="connsiteX6580" fmla="*/ 5250520 w 12117871"/>
                <a:gd name="connsiteY6580" fmla="*/ 915060 h 6072780"/>
                <a:gd name="connsiteX6581" fmla="*/ 4875775 w 12117871"/>
                <a:gd name="connsiteY6581" fmla="*/ 915060 h 6072780"/>
                <a:gd name="connsiteX6582" fmla="*/ 4890681 w 12117871"/>
                <a:gd name="connsiteY6582" fmla="*/ 915060 h 6072780"/>
                <a:gd name="connsiteX6583" fmla="*/ 4890681 w 12117871"/>
                <a:gd name="connsiteY6583" fmla="*/ 1138040 h 6072780"/>
                <a:gd name="connsiteX6584" fmla="*/ 4855393 w 12117871"/>
                <a:gd name="connsiteY6584" fmla="*/ 1138040 h 6072780"/>
                <a:gd name="connsiteX6585" fmla="*/ 4855393 w 12117871"/>
                <a:gd name="connsiteY6585" fmla="*/ 958257 h 6072780"/>
                <a:gd name="connsiteX6586" fmla="*/ 4834784 w 12117871"/>
                <a:gd name="connsiteY6586" fmla="*/ 969892 h 6072780"/>
                <a:gd name="connsiteX6587" fmla="*/ 4809611 w 12117871"/>
                <a:gd name="connsiteY6587" fmla="*/ 978334 h 6072780"/>
                <a:gd name="connsiteX6588" fmla="*/ 4809611 w 12117871"/>
                <a:gd name="connsiteY6588" fmla="*/ 948218 h 6072780"/>
                <a:gd name="connsiteX6589" fmla="*/ 4826646 w 12117871"/>
                <a:gd name="connsiteY6589" fmla="*/ 942134 h 6072780"/>
                <a:gd name="connsiteX6590" fmla="*/ 4842846 w 12117871"/>
                <a:gd name="connsiteY6590" fmla="*/ 934985 h 6072780"/>
                <a:gd name="connsiteX6591" fmla="*/ 4858968 w 12117871"/>
                <a:gd name="connsiteY6591" fmla="*/ 926163 h 6072780"/>
                <a:gd name="connsiteX6592" fmla="*/ 4875775 w 12117871"/>
                <a:gd name="connsiteY6592" fmla="*/ 915060 h 6072780"/>
                <a:gd name="connsiteX6593" fmla="*/ 4732167 w 12117871"/>
                <a:gd name="connsiteY6593" fmla="*/ 915060 h 6072780"/>
                <a:gd name="connsiteX6594" fmla="*/ 4747074 w 12117871"/>
                <a:gd name="connsiteY6594" fmla="*/ 915060 h 6072780"/>
                <a:gd name="connsiteX6595" fmla="*/ 4747074 w 12117871"/>
                <a:gd name="connsiteY6595" fmla="*/ 1138040 h 6072780"/>
                <a:gd name="connsiteX6596" fmla="*/ 4711785 w 12117871"/>
                <a:gd name="connsiteY6596" fmla="*/ 1138040 h 6072780"/>
                <a:gd name="connsiteX6597" fmla="*/ 4711785 w 12117871"/>
                <a:gd name="connsiteY6597" fmla="*/ 958257 h 6072780"/>
                <a:gd name="connsiteX6598" fmla="*/ 4691176 w 12117871"/>
                <a:gd name="connsiteY6598" fmla="*/ 969892 h 6072780"/>
                <a:gd name="connsiteX6599" fmla="*/ 4666003 w 12117871"/>
                <a:gd name="connsiteY6599" fmla="*/ 978334 h 6072780"/>
                <a:gd name="connsiteX6600" fmla="*/ 4666003 w 12117871"/>
                <a:gd name="connsiteY6600" fmla="*/ 948218 h 6072780"/>
                <a:gd name="connsiteX6601" fmla="*/ 4683038 w 12117871"/>
                <a:gd name="connsiteY6601" fmla="*/ 942134 h 6072780"/>
                <a:gd name="connsiteX6602" fmla="*/ 4699238 w 12117871"/>
                <a:gd name="connsiteY6602" fmla="*/ 934985 h 6072780"/>
                <a:gd name="connsiteX6603" fmla="*/ 4715360 w 12117871"/>
                <a:gd name="connsiteY6603" fmla="*/ 926163 h 6072780"/>
                <a:gd name="connsiteX6604" fmla="*/ 4732167 w 12117871"/>
                <a:gd name="connsiteY6604" fmla="*/ 915060 h 6072780"/>
                <a:gd name="connsiteX6605" fmla="*/ 4588559 w 12117871"/>
                <a:gd name="connsiteY6605" fmla="*/ 915060 h 6072780"/>
                <a:gd name="connsiteX6606" fmla="*/ 4603466 w 12117871"/>
                <a:gd name="connsiteY6606" fmla="*/ 915060 h 6072780"/>
                <a:gd name="connsiteX6607" fmla="*/ 4603466 w 12117871"/>
                <a:gd name="connsiteY6607" fmla="*/ 1138040 h 6072780"/>
                <a:gd name="connsiteX6608" fmla="*/ 4568177 w 12117871"/>
                <a:gd name="connsiteY6608" fmla="*/ 1138040 h 6072780"/>
                <a:gd name="connsiteX6609" fmla="*/ 4568177 w 12117871"/>
                <a:gd name="connsiteY6609" fmla="*/ 958257 h 6072780"/>
                <a:gd name="connsiteX6610" fmla="*/ 4547568 w 12117871"/>
                <a:gd name="connsiteY6610" fmla="*/ 969892 h 6072780"/>
                <a:gd name="connsiteX6611" fmla="*/ 4522395 w 12117871"/>
                <a:gd name="connsiteY6611" fmla="*/ 978334 h 6072780"/>
                <a:gd name="connsiteX6612" fmla="*/ 4522395 w 12117871"/>
                <a:gd name="connsiteY6612" fmla="*/ 948218 h 6072780"/>
                <a:gd name="connsiteX6613" fmla="*/ 4539430 w 12117871"/>
                <a:gd name="connsiteY6613" fmla="*/ 942134 h 6072780"/>
                <a:gd name="connsiteX6614" fmla="*/ 4555630 w 12117871"/>
                <a:gd name="connsiteY6614" fmla="*/ 934985 h 6072780"/>
                <a:gd name="connsiteX6615" fmla="*/ 4571752 w 12117871"/>
                <a:gd name="connsiteY6615" fmla="*/ 926163 h 6072780"/>
                <a:gd name="connsiteX6616" fmla="*/ 4588559 w 12117871"/>
                <a:gd name="connsiteY6616" fmla="*/ 915060 h 6072780"/>
                <a:gd name="connsiteX6617" fmla="*/ 4444951 w 12117871"/>
                <a:gd name="connsiteY6617" fmla="*/ 915060 h 6072780"/>
                <a:gd name="connsiteX6618" fmla="*/ 4459858 w 12117871"/>
                <a:gd name="connsiteY6618" fmla="*/ 915060 h 6072780"/>
                <a:gd name="connsiteX6619" fmla="*/ 4459858 w 12117871"/>
                <a:gd name="connsiteY6619" fmla="*/ 1138040 h 6072780"/>
                <a:gd name="connsiteX6620" fmla="*/ 4424569 w 12117871"/>
                <a:gd name="connsiteY6620" fmla="*/ 1138040 h 6072780"/>
                <a:gd name="connsiteX6621" fmla="*/ 4424569 w 12117871"/>
                <a:gd name="connsiteY6621" fmla="*/ 958257 h 6072780"/>
                <a:gd name="connsiteX6622" fmla="*/ 4403960 w 12117871"/>
                <a:gd name="connsiteY6622" fmla="*/ 969892 h 6072780"/>
                <a:gd name="connsiteX6623" fmla="*/ 4378788 w 12117871"/>
                <a:gd name="connsiteY6623" fmla="*/ 978334 h 6072780"/>
                <a:gd name="connsiteX6624" fmla="*/ 4378788 w 12117871"/>
                <a:gd name="connsiteY6624" fmla="*/ 948218 h 6072780"/>
                <a:gd name="connsiteX6625" fmla="*/ 4395823 w 12117871"/>
                <a:gd name="connsiteY6625" fmla="*/ 942134 h 6072780"/>
                <a:gd name="connsiteX6626" fmla="*/ 4412022 w 12117871"/>
                <a:gd name="connsiteY6626" fmla="*/ 934985 h 6072780"/>
                <a:gd name="connsiteX6627" fmla="*/ 4428144 w 12117871"/>
                <a:gd name="connsiteY6627" fmla="*/ 926163 h 6072780"/>
                <a:gd name="connsiteX6628" fmla="*/ 4444951 w 12117871"/>
                <a:gd name="connsiteY6628" fmla="*/ 915060 h 6072780"/>
                <a:gd name="connsiteX6629" fmla="*/ 3704782 w 12117871"/>
                <a:gd name="connsiteY6629" fmla="*/ 915060 h 6072780"/>
                <a:gd name="connsiteX6630" fmla="*/ 3719687 w 12117871"/>
                <a:gd name="connsiteY6630" fmla="*/ 915060 h 6072780"/>
                <a:gd name="connsiteX6631" fmla="*/ 3719687 w 12117871"/>
                <a:gd name="connsiteY6631" fmla="*/ 1138040 h 6072780"/>
                <a:gd name="connsiteX6632" fmla="*/ 3684398 w 12117871"/>
                <a:gd name="connsiteY6632" fmla="*/ 1138040 h 6072780"/>
                <a:gd name="connsiteX6633" fmla="*/ 3684398 w 12117871"/>
                <a:gd name="connsiteY6633" fmla="*/ 958257 h 6072780"/>
                <a:gd name="connsiteX6634" fmla="*/ 3663791 w 12117871"/>
                <a:gd name="connsiteY6634" fmla="*/ 969892 h 6072780"/>
                <a:gd name="connsiteX6635" fmla="*/ 3638618 w 12117871"/>
                <a:gd name="connsiteY6635" fmla="*/ 978334 h 6072780"/>
                <a:gd name="connsiteX6636" fmla="*/ 3638618 w 12117871"/>
                <a:gd name="connsiteY6636" fmla="*/ 948218 h 6072780"/>
                <a:gd name="connsiteX6637" fmla="*/ 3655653 w 12117871"/>
                <a:gd name="connsiteY6637" fmla="*/ 942134 h 6072780"/>
                <a:gd name="connsiteX6638" fmla="*/ 3671852 w 12117871"/>
                <a:gd name="connsiteY6638" fmla="*/ 934985 h 6072780"/>
                <a:gd name="connsiteX6639" fmla="*/ 3687974 w 12117871"/>
                <a:gd name="connsiteY6639" fmla="*/ 926163 h 6072780"/>
                <a:gd name="connsiteX6640" fmla="*/ 3704782 w 12117871"/>
                <a:gd name="connsiteY6640" fmla="*/ 915060 h 6072780"/>
                <a:gd name="connsiteX6641" fmla="*/ 3555925 w 12117871"/>
                <a:gd name="connsiteY6641" fmla="*/ 915060 h 6072780"/>
                <a:gd name="connsiteX6642" fmla="*/ 3570831 w 12117871"/>
                <a:gd name="connsiteY6642" fmla="*/ 915060 h 6072780"/>
                <a:gd name="connsiteX6643" fmla="*/ 3570831 w 12117871"/>
                <a:gd name="connsiteY6643" fmla="*/ 1138040 h 6072780"/>
                <a:gd name="connsiteX6644" fmla="*/ 3535543 w 12117871"/>
                <a:gd name="connsiteY6644" fmla="*/ 1138040 h 6072780"/>
                <a:gd name="connsiteX6645" fmla="*/ 3535543 w 12117871"/>
                <a:gd name="connsiteY6645" fmla="*/ 958257 h 6072780"/>
                <a:gd name="connsiteX6646" fmla="*/ 3514934 w 12117871"/>
                <a:gd name="connsiteY6646" fmla="*/ 969892 h 6072780"/>
                <a:gd name="connsiteX6647" fmla="*/ 3489761 w 12117871"/>
                <a:gd name="connsiteY6647" fmla="*/ 978334 h 6072780"/>
                <a:gd name="connsiteX6648" fmla="*/ 3489761 w 12117871"/>
                <a:gd name="connsiteY6648" fmla="*/ 948218 h 6072780"/>
                <a:gd name="connsiteX6649" fmla="*/ 3506796 w 12117871"/>
                <a:gd name="connsiteY6649" fmla="*/ 942134 h 6072780"/>
                <a:gd name="connsiteX6650" fmla="*/ 3522995 w 12117871"/>
                <a:gd name="connsiteY6650" fmla="*/ 934985 h 6072780"/>
                <a:gd name="connsiteX6651" fmla="*/ 3539117 w 12117871"/>
                <a:gd name="connsiteY6651" fmla="*/ 926163 h 6072780"/>
                <a:gd name="connsiteX6652" fmla="*/ 3555925 w 12117871"/>
                <a:gd name="connsiteY6652" fmla="*/ 915060 h 6072780"/>
                <a:gd name="connsiteX6653" fmla="*/ 2751256 w 12117871"/>
                <a:gd name="connsiteY6653" fmla="*/ 915060 h 6072780"/>
                <a:gd name="connsiteX6654" fmla="*/ 2766162 w 12117871"/>
                <a:gd name="connsiteY6654" fmla="*/ 915060 h 6072780"/>
                <a:gd name="connsiteX6655" fmla="*/ 2766162 w 12117871"/>
                <a:gd name="connsiteY6655" fmla="*/ 1138040 h 6072780"/>
                <a:gd name="connsiteX6656" fmla="*/ 2730875 w 12117871"/>
                <a:gd name="connsiteY6656" fmla="*/ 1138040 h 6072780"/>
                <a:gd name="connsiteX6657" fmla="*/ 2730875 w 12117871"/>
                <a:gd name="connsiteY6657" fmla="*/ 958257 h 6072780"/>
                <a:gd name="connsiteX6658" fmla="*/ 2710265 w 12117871"/>
                <a:gd name="connsiteY6658" fmla="*/ 969892 h 6072780"/>
                <a:gd name="connsiteX6659" fmla="*/ 2685092 w 12117871"/>
                <a:gd name="connsiteY6659" fmla="*/ 978334 h 6072780"/>
                <a:gd name="connsiteX6660" fmla="*/ 2685092 w 12117871"/>
                <a:gd name="connsiteY6660" fmla="*/ 948218 h 6072780"/>
                <a:gd name="connsiteX6661" fmla="*/ 2702128 w 12117871"/>
                <a:gd name="connsiteY6661" fmla="*/ 942134 h 6072780"/>
                <a:gd name="connsiteX6662" fmla="*/ 2718327 w 12117871"/>
                <a:gd name="connsiteY6662" fmla="*/ 934985 h 6072780"/>
                <a:gd name="connsiteX6663" fmla="*/ 2734449 w 12117871"/>
                <a:gd name="connsiteY6663" fmla="*/ 926163 h 6072780"/>
                <a:gd name="connsiteX6664" fmla="*/ 2751256 w 12117871"/>
                <a:gd name="connsiteY6664" fmla="*/ 915060 h 6072780"/>
                <a:gd name="connsiteX6665" fmla="*/ 2358497 w 12117871"/>
                <a:gd name="connsiteY6665" fmla="*/ 915060 h 6072780"/>
                <a:gd name="connsiteX6666" fmla="*/ 2373404 w 12117871"/>
                <a:gd name="connsiteY6666" fmla="*/ 915060 h 6072780"/>
                <a:gd name="connsiteX6667" fmla="*/ 2373404 w 12117871"/>
                <a:gd name="connsiteY6667" fmla="*/ 1138040 h 6072780"/>
                <a:gd name="connsiteX6668" fmla="*/ 2338116 w 12117871"/>
                <a:gd name="connsiteY6668" fmla="*/ 1138040 h 6072780"/>
                <a:gd name="connsiteX6669" fmla="*/ 2338116 w 12117871"/>
                <a:gd name="connsiteY6669" fmla="*/ 958257 h 6072780"/>
                <a:gd name="connsiteX6670" fmla="*/ 2317506 w 12117871"/>
                <a:gd name="connsiteY6670" fmla="*/ 969892 h 6072780"/>
                <a:gd name="connsiteX6671" fmla="*/ 2292334 w 12117871"/>
                <a:gd name="connsiteY6671" fmla="*/ 978334 h 6072780"/>
                <a:gd name="connsiteX6672" fmla="*/ 2292334 w 12117871"/>
                <a:gd name="connsiteY6672" fmla="*/ 948218 h 6072780"/>
                <a:gd name="connsiteX6673" fmla="*/ 2309369 w 12117871"/>
                <a:gd name="connsiteY6673" fmla="*/ 942134 h 6072780"/>
                <a:gd name="connsiteX6674" fmla="*/ 2325567 w 12117871"/>
                <a:gd name="connsiteY6674" fmla="*/ 934985 h 6072780"/>
                <a:gd name="connsiteX6675" fmla="*/ 2341689 w 12117871"/>
                <a:gd name="connsiteY6675" fmla="*/ 926163 h 6072780"/>
                <a:gd name="connsiteX6676" fmla="*/ 2358497 w 12117871"/>
                <a:gd name="connsiteY6676" fmla="*/ 915060 h 6072780"/>
                <a:gd name="connsiteX6677" fmla="*/ 2214890 w 12117871"/>
                <a:gd name="connsiteY6677" fmla="*/ 915060 h 6072780"/>
                <a:gd name="connsiteX6678" fmla="*/ 2229796 w 12117871"/>
                <a:gd name="connsiteY6678" fmla="*/ 915060 h 6072780"/>
                <a:gd name="connsiteX6679" fmla="*/ 2229796 w 12117871"/>
                <a:gd name="connsiteY6679" fmla="*/ 1138040 h 6072780"/>
                <a:gd name="connsiteX6680" fmla="*/ 2194508 w 12117871"/>
                <a:gd name="connsiteY6680" fmla="*/ 1138040 h 6072780"/>
                <a:gd name="connsiteX6681" fmla="*/ 2194508 w 12117871"/>
                <a:gd name="connsiteY6681" fmla="*/ 958257 h 6072780"/>
                <a:gd name="connsiteX6682" fmla="*/ 2173898 w 12117871"/>
                <a:gd name="connsiteY6682" fmla="*/ 969892 h 6072780"/>
                <a:gd name="connsiteX6683" fmla="*/ 2148726 w 12117871"/>
                <a:gd name="connsiteY6683" fmla="*/ 978334 h 6072780"/>
                <a:gd name="connsiteX6684" fmla="*/ 2148726 w 12117871"/>
                <a:gd name="connsiteY6684" fmla="*/ 948218 h 6072780"/>
                <a:gd name="connsiteX6685" fmla="*/ 2165760 w 12117871"/>
                <a:gd name="connsiteY6685" fmla="*/ 942134 h 6072780"/>
                <a:gd name="connsiteX6686" fmla="*/ 2181960 w 12117871"/>
                <a:gd name="connsiteY6686" fmla="*/ 934985 h 6072780"/>
                <a:gd name="connsiteX6687" fmla="*/ 2198082 w 12117871"/>
                <a:gd name="connsiteY6687" fmla="*/ 926163 h 6072780"/>
                <a:gd name="connsiteX6688" fmla="*/ 2214890 w 12117871"/>
                <a:gd name="connsiteY6688" fmla="*/ 915060 h 6072780"/>
                <a:gd name="connsiteX6689" fmla="*/ 2071281 w 12117871"/>
                <a:gd name="connsiteY6689" fmla="*/ 915060 h 6072780"/>
                <a:gd name="connsiteX6690" fmla="*/ 2086188 w 12117871"/>
                <a:gd name="connsiteY6690" fmla="*/ 915060 h 6072780"/>
                <a:gd name="connsiteX6691" fmla="*/ 2086188 w 12117871"/>
                <a:gd name="connsiteY6691" fmla="*/ 1138040 h 6072780"/>
                <a:gd name="connsiteX6692" fmla="*/ 2050900 w 12117871"/>
                <a:gd name="connsiteY6692" fmla="*/ 1138040 h 6072780"/>
                <a:gd name="connsiteX6693" fmla="*/ 2050900 w 12117871"/>
                <a:gd name="connsiteY6693" fmla="*/ 958257 h 6072780"/>
                <a:gd name="connsiteX6694" fmla="*/ 2030290 w 12117871"/>
                <a:gd name="connsiteY6694" fmla="*/ 969892 h 6072780"/>
                <a:gd name="connsiteX6695" fmla="*/ 2005118 w 12117871"/>
                <a:gd name="connsiteY6695" fmla="*/ 978334 h 6072780"/>
                <a:gd name="connsiteX6696" fmla="*/ 2005118 w 12117871"/>
                <a:gd name="connsiteY6696" fmla="*/ 948218 h 6072780"/>
                <a:gd name="connsiteX6697" fmla="*/ 2022153 w 12117871"/>
                <a:gd name="connsiteY6697" fmla="*/ 942134 h 6072780"/>
                <a:gd name="connsiteX6698" fmla="*/ 2038351 w 12117871"/>
                <a:gd name="connsiteY6698" fmla="*/ 934985 h 6072780"/>
                <a:gd name="connsiteX6699" fmla="*/ 2054473 w 12117871"/>
                <a:gd name="connsiteY6699" fmla="*/ 926163 h 6072780"/>
                <a:gd name="connsiteX6700" fmla="*/ 2071281 w 12117871"/>
                <a:gd name="connsiteY6700" fmla="*/ 915060 h 6072780"/>
                <a:gd name="connsiteX6701" fmla="*/ 1927674 w 12117871"/>
                <a:gd name="connsiteY6701" fmla="*/ 915060 h 6072780"/>
                <a:gd name="connsiteX6702" fmla="*/ 1942580 w 12117871"/>
                <a:gd name="connsiteY6702" fmla="*/ 915060 h 6072780"/>
                <a:gd name="connsiteX6703" fmla="*/ 1942580 w 12117871"/>
                <a:gd name="connsiteY6703" fmla="*/ 1138040 h 6072780"/>
                <a:gd name="connsiteX6704" fmla="*/ 1907293 w 12117871"/>
                <a:gd name="connsiteY6704" fmla="*/ 1138040 h 6072780"/>
                <a:gd name="connsiteX6705" fmla="*/ 1907293 w 12117871"/>
                <a:gd name="connsiteY6705" fmla="*/ 958257 h 6072780"/>
                <a:gd name="connsiteX6706" fmla="*/ 1886683 w 12117871"/>
                <a:gd name="connsiteY6706" fmla="*/ 969892 h 6072780"/>
                <a:gd name="connsiteX6707" fmla="*/ 1861510 w 12117871"/>
                <a:gd name="connsiteY6707" fmla="*/ 978334 h 6072780"/>
                <a:gd name="connsiteX6708" fmla="*/ 1861510 w 12117871"/>
                <a:gd name="connsiteY6708" fmla="*/ 948218 h 6072780"/>
                <a:gd name="connsiteX6709" fmla="*/ 1878546 w 12117871"/>
                <a:gd name="connsiteY6709" fmla="*/ 942134 h 6072780"/>
                <a:gd name="connsiteX6710" fmla="*/ 1894745 w 12117871"/>
                <a:gd name="connsiteY6710" fmla="*/ 934985 h 6072780"/>
                <a:gd name="connsiteX6711" fmla="*/ 1910867 w 12117871"/>
                <a:gd name="connsiteY6711" fmla="*/ 926163 h 6072780"/>
                <a:gd name="connsiteX6712" fmla="*/ 1927674 w 12117871"/>
                <a:gd name="connsiteY6712" fmla="*/ 915060 h 6072780"/>
                <a:gd name="connsiteX6713" fmla="*/ 1784066 w 12117871"/>
                <a:gd name="connsiteY6713" fmla="*/ 915060 h 6072780"/>
                <a:gd name="connsiteX6714" fmla="*/ 1798972 w 12117871"/>
                <a:gd name="connsiteY6714" fmla="*/ 915060 h 6072780"/>
                <a:gd name="connsiteX6715" fmla="*/ 1798972 w 12117871"/>
                <a:gd name="connsiteY6715" fmla="*/ 1138040 h 6072780"/>
                <a:gd name="connsiteX6716" fmla="*/ 1763685 w 12117871"/>
                <a:gd name="connsiteY6716" fmla="*/ 1138040 h 6072780"/>
                <a:gd name="connsiteX6717" fmla="*/ 1763685 w 12117871"/>
                <a:gd name="connsiteY6717" fmla="*/ 958257 h 6072780"/>
                <a:gd name="connsiteX6718" fmla="*/ 1743075 w 12117871"/>
                <a:gd name="connsiteY6718" fmla="*/ 969892 h 6072780"/>
                <a:gd name="connsiteX6719" fmla="*/ 1717902 w 12117871"/>
                <a:gd name="connsiteY6719" fmla="*/ 978334 h 6072780"/>
                <a:gd name="connsiteX6720" fmla="*/ 1717902 w 12117871"/>
                <a:gd name="connsiteY6720" fmla="*/ 948218 h 6072780"/>
                <a:gd name="connsiteX6721" fmla="*/ 1734938 w 12117871"/>
                <a:gd name="connsiteY6721" fmla="*/ 942134 h 6072780"/>
                <a:gd name="connsiteX6722" fmla="*/ 1751137 w 12117871"/>
                <a:gd name="connsiteY6722" fmla="*/ 934985 h 6072780"/>
                <a:gd name="connsiteX6723" fmla="*/ 1767259 w 12117871"/>
                <a:gd name="connsiteY6723" fmla="*/ 926163 h 6072780"/>
                <a:gd name="connsiteX6724" fmla="*/ 1784066 w 12117871"/>
                <a:gd name="connsiteY6724" fmla="*/ 915060 h 6072780"/>
                <a:gd name="connsiteX6725" fmla="*/ 1436368 w 12117871"/>
                <a:gd name="connsiteY6725" fmla="*/ 915060 h 6072780"/>
                <a:gd name="connsiteX6726" fmla="*/ 1451275 w 12117871"/>
                <a:gd name="connsiteY6726" fmla="*/ 915060 h 6072780"/>
                <a:gd name="connsiteX6727" fmla="*/ 1451275 w 12117871"/>
                <a:gd name="connsiteY6727" fmla="*/ 1138040 h 6072780"/>
                <a:gd name="connsiteX6728" fmla="*/ 1415987 w 12117871"/>
                <a:gd name="connsiteY6728" fmla="*/ 1138040 h 6072780"/>
                <a:gd name="connsiteX6729" fmla="*/ 1415987 w 12117871"/>
                <a:gd name="connsiteY6729" fmla="*/ 958257 h 6072780"/>
                <a:gd name="connsiteX6730" fmla="*/ 1395377 w 12117871"/>
                <a:gd name="connsiteY6730" fmla="*/ 969892 h 6072780"/>
                <a:gd name="connsiteX6731" fmla="*/ 1370205 w 12117871"/>
                <a:gd name="connsiteY6731" fmla="*/ 978334 h 6072780"/>
                <a:gd name="connsiteX6732" fmla="*/ 1370205 w 12117871"/>
                <a:gd name="connsiteY6732" fmla="*/ 948218 h 6072780"/>
                <a:gd name="connsiteX6733" fmla="*/ 1387240 w 12117871"/>
                <a:gd name="connsiteY6733" fmla="*/ 942134 h 6072780"/>
                <a:gd name="connsiteX6734" fmla="*/ 1403439 w 12117871"/>
                <a:gd name="connsiteY6734" fmla="*/ 934985 h 6072780"/>
                <a:gd name="connsiteX6735" fmla="*/ 1419561 w 12117871"/>
                <a:gd name="connsiteY6735" fmla="*/ 926163 h 6072780"/>
                <a:gd name="connsiteX6736" fmla="*/ 1436368 w 12117871"/>
                <a:gd name="connsiteY6736" fmla="*/ 915060 h 6072780"/>
                <a:gd name="connsiteX6737" fmla="*/ 1138655 w 12117871"/>
                <a:gd name="connsiteY6737" fmla="*/ 915060 h 6072780"/>
                <a:gd name="connsiteX6738" fmla="*/ 1153561 w 12117871"/>
                <a:gd name="connsiteY6738" fmla="*/ 915060 h 6072780"/>
                <a:gd name="connsiteX6739" fmla="*/ 1153561 w 12117871"/>
                <a:gd name="connsiteY6739" fmla="*/ 1138040 h 6072780"/>
                <a:gd name="connsiteX6740" fmla="*/ 1118273 w 12117871"/>
                <a:gd name="connsiteY6740" fmla="*/ 1138040 h 6072780"/>
                <a:gd name="connsiteX6741" fmla="*/ 1118273 w 12117871"/>
                <a:gd name="connsiteY6741" fmla="*/ 958257 h 6072780"/>
                <a:gd name="connsiteX6742" fmla="*/ 1097664 w 12117871"/>
                <a:gd name="connsiteY6742" fmla="*/ 969892 h 6072780"/>
                <a:gd name="connsiteX6743" fmla="*/ 1072491 w 12117871"/>
                <a:gd name="connsiteY6743" fmla="*/ 978334 h 6072780"/>
                <a:gd name="connsiteX6744" fmla="*/ 1072491 w 12117871"/>
                <a:gd name="connsiteY6744" fmla="*/ 948218 h 6072780"/>
                <a:gd name="connsiteX6745" fmla="*/ 1089526 w 12117871"/>
                <a:gd name="connsiteY6745" fmla="*/ 942134 h 6072780"/>
                <a:gd name="connsiteX6746" fmla="*/ 1105725 w 12117871"/>
                <a:gd name="connsiteY6746" fmla="*/ 934985 h 6072780"/>
                <a:gd name="connsiteX6747" fmla="*/ 1121848 w 12117871"/>
                <a:gd name="connsiteY6747" fmla="*/ 926163 h 6072780"/>
                <a:gd name="connsiteX6748" fmla="*/ 1138655 w 12117871"/>
                <a:gd name="connsiteY6748" fmla="*/ 915060 h 6072780"/>
                <a:gd name="connsiteX6749" fmla="*/ 927536 w 12117871"/>
                <a:gd name="connsiteY6749" fmla="*/ 915060 h 6072780"/>
                <a:gd name="connsiteX6750" fmla="*/ 998703 w 12117871"/>
                <a:gd name="connsiteY6750" fmla="*/ 1025647 h 6072780"/>
                <a:gd name="connsiteX6751" fmla="*/ 978617 w 12117871"/>
                <a:gd name="connsiteY6751" fmla="*/ 1109227 h 6072780"/>
                <a:gd name="connsiteX6752" fmla="*/ 922421 w 12117871"/>
                <a:gd name="connsiteY6752" fmla="*/ 1138040 h 6072780"/>
                <a:gd name="connsiteX6753" fmla="*/ 869834 w 12117871"/>
                <a:gd name="connsiteY6753" fmla="*/ 1110506 h 6072780"/>
                <a:gd name="connsiteX6754" fmla="*/ 850953 w 12117871"/>
                <a:gd name="connsiteY6754" fmla="*/ 1030914 h 6072780"/>
                <a:gd name="connsiteX6755" fmla="*/ 870663 w 12117871"/>
                <a:gd name="connsiteY6755" fmla="*/ 944399 h 6072780"/>
                <a:gd name="connsiteX6756" fmla="*/ 927536 w 12117871"/>
                <a:gd name="connsiteY6756" fmla="*/ 915060 h 6072780"/>
                <a:gd name="connsiteX6757" fmla="*/ 711260 w 12117871"/>
                <a:gd name="connsiteY6757" fmla="*/ 915060 h 6072780"/>
                <a:gd name="connsiteX6758" fmla="*/ 782427 w 12117871"/>
                <a:gd name="connsiteY6758" fmla="*/ 1025647 h 6072780"/>
                <a:gd name="connsiteX6759" fmla="*/ 762340 w 12117871"/>
                <a:gd name="connsiteY6759" fmla="*/ 1109227 h 6072780"/>
                <a:gd name="connsiteX6760" fmla="*/ 706145 w 12117871"/>
                <a:gd name="connsiteY6760" fmla="*/ 1138040 h 6072780"/>
                <a:gd name="connsiteX6761" fmla="*/ 653559 w 12117871"/>
                <a:gd name="connsiteY6761" fmla="*/ 1110506 h 6072780"/>
                <a:gd name="connsiteX6762" fmla="*/ 634677 w 12117871"/>
                <a:gd name="connsiteY6762" fmla="*/ 1030914 h 6072780"/>
                <a:gd name="connsiteX6763" fmla="*/ 654387 w 12117871"/>
                <a:gd name="connsiteY6763" fmla="*/ 944399 h 6072780"/>
                <a:gd name="connsiteX6764" fmla="*/ 711260 w 12117871"/>
                <a:gd name="connsiteY6764" fmla="*/ 915060 h 6072780"/>
                <a:gd name="connsiteX6765" fmla="*/ 563127 w 12117871"/>
                <a:gd name="connsiteY6765" fmla="*/ 915060 h 6072780"/>
                <a:gd name="connsiteX6766" fmla="*/ 578034 w 12117871"/>
                <a:gd name="connsiteY6766" fmla="*/ 915060 h 6072780"/>
                <a:gd name="connsiteX6767" fmla="*/ 578034 w 12117871"/>
                <a:gd name="connsiteY6767" fmla="*/ 1138040 h 6072780"/>
                <a:gd name="connsiteX6768" fmla="*/ 542746 w 12117871"/>
                <a:gd name="connsiteY6768" fmla="*/ 1138040 h 6072780"/>
                <a:gd name="connsiteX6769" fmla="*/ 542746 w 12117871"/>
                <a:gd name="connsiteY6769" fmla="*/ 958257 h 6072780"/>
                <a:gd name="connsiteX6770" fmla="*/ 522136 w 12117871"/>
                <a:gd name="connsiteY6770" fmla="*/ 969892 h 6072780"/>
                <a:gd name="connsiteX6771" fmla="*/ 496964 w 12117871"/>
                <a:gd name="connsiteY6771" fmla="*/ 978334 h 6072780"/>
                <a:gd name="connsiteX6772" fmla="*/ 496964 w 12117871"/>
                <a:gd name="connsiteY6772" fmla="*/ 948218 h 6072780"/>
                <a:gd name="connsiteX6773" fmla="*/ 513999 w 12117871"/>
                <a:gd name="connsiteY6773" fmla="*/ 942134 h 6072780"/>
                <a:gd name="connsiteX6774" fmla="*/ 530198 w 12117871"/>
                <a:gd name="connsiteY6774" fmla="*/ 934985 h 6072780"/>
                <a:gd name="connsiteX6775" fmla="*/ 546320 w 12117871"/>
                <a:gd name="connsiteY6775" fmla="*/ 926163 h 6072780"/>
                <a:gd name="connsiteX6776" fmla="*/ 563127 w 12117871"/>
                <a:gd name="connsiteY6776" fmla="*/ 915060 h 6072780"/>
                <a:gd name="connsiteX6777" fmla="*/ 265414 w 12117871"/>
                <a:gd name="connsiteY6777" fmla="*/ 915060 h 6072780"/>
                <a:gd name="connsiteX6778" fmla="*/ 280319 w 12117871"/>
                <a:gd name="connsiteY6778" fmla="*/ 915060 h 6072780"/>
                <a:gd name="connsiteX6779" fmla="*/ 280319 w 12117871"/>
                <a:gd name="connsiteY6779" fmla="*/ 1138040 h 6072780"/>
                <a:gd name="connsiteX6780" fmla="*/ 245032 w 12117871"/>
                <a:gd name="connsiteY6780" fmla="*/ 1138040 h 6072780"/>
                <a:gd name="connsiteX6781" fmla="*/ 245032 w 12117871"/>
                <a:gd name="connsiteY6781" fmla="*/ 958257 h 6072780"/>
                <a:gd name="connsiteX6782" fmla="*/ 224423 w 12117871"/>
                <a:gd name="connsiteY6782" fmla="*/ 969892 h 6072780"/>
                <a:gd name="connsiteX6783" fmla="*/ 199250 w 12117871"/>
                <a:gd name="connsiteY6783" fmla="*/ 978334 h 6072780"/>
                <a:gd name="connsiteX6784" fmla="*/ 199250 w 12117871"/>
                <a:gd name="connsiteY6784" fmla="*/ 948218 h 6072780"/>
                <a:gd name="connsiteX6785" fmla="*/ 216284 w 12117871"/>
                <a:gd name="connsiteY6785" fmla="*/ 942134 h 6072780"/>
                <a:gd name="connsiteX6786" fmla="*/ 232483 w 12117871"/>
                <a:gd name="connsiteY6786" fmla="*/ 934985 h 6072780"/>
                <a:gd name="connsiteX6787" fmla="*/ 248607 w 12117871"/>
                <a:gd name="connsiteY6787" fmla="*/ 926163 h 6072780"/>
                <a:gd name="connsiteX6788" fmla="*/ 265414 w 12117871"/>
                <a:gd name="connsiteY6788" fmla="*/ 915060 h 6072780"/>
                <a:gd name="connsiteX6789" fmla="*/ 89653 w 12117871"/>
                <a:gd name="connsiteY6789" fmla="*/ 915060 h 6072780"/>
                <a:gd name="connsiteX6790" fmla="*/ 160821 w 12117871"/>
                <a:gd name="connsiteY6790" fmla="*/ 1025647 h 6072780"/>
                <a:gd name="connsiteX6791" fmla="*/ 140735 w 12117871"/>
                <a:gd name="connsiteY6791" fmla="*/ 1109227 h 6072780"/>
                <a:gd name="connsiteX6792" fmla="*/ 84538 w 12117871"/>
                <a:gd name="connsiteY6792" fmla="*/ 1138040 h 6072780"/>
                <a:gd name="connsiteX6793" fmla="*/ 31953 w 12117871"/>
                <a:gd name="connsiteY6793" fmla="*/ 1110506 h 6072780"/>
                <a:gd name="connsiteX6794" fmla="*/ 13070 w 12117871"/>
                <a:gd name="connsiteY6794" fmla="*/ 1030914 h 6072780"/>
                <a:gd name="connsiteX6795" fmla="*/ 32780 w 12117871"/>
                <a:gd name="connsiteY6795" fmla="*/ 944399 h 6072780"/>
                <a:gd name="connsiteX6796" fmla="*/ 89653 w 12117871"/>
                <a:gd name="connsiteY6796" fmla="*/ 915060 h 6072780"/>
                <a:gd name="connsiteX6797" fmla="*/ 9143281 w 12117871"/>
                <a:gd name="connsiteY6797" fmla="*/ 660590 h 6072780"/>
                <a:gd name="connsiteX6798" fmla="*/ 9104011 w 12117871"/>
                <a:gd name="connsiteY6798" fmla="*/ 747104 h 6072780"/>
                <a:gd name="connsiteX6799" fmla="*/ 9142529 w 12117871"/>
                <a:gd name="connsiteY6799" fmla="*/ 828051 h 6072780"/>
                <a:gd name="connsiteX6800" fmla="*/ 9180444 w 12117871"/>
                <a:gd name="connsiteY6800" fmla="*/ 745750 h 6072780"/>
                <a:gd name="connsiteX6801" fmla="*/ 9143281 w 12117871"/>
                <a:gd name="connsiteY6801" fmla="*/ 660590 h 6072780"/>
                <a:gd name="connsiteX6802" fmla="*/ 8801524 w 12117871"/>
                <a:gd name="connsiteY6802" fmla="*/ 660590 h 6072780"/>
                <a:gd name="connsiteX6803" fmla="*/ 8762254 w 12117871"/>
                <a:gd name="connsiteY6803" fmla="*/ 747104 h 6072780"/>
                <a:gd name="connsiteX6804" fmla="*/ 8800772 w 12117871"/>
                <a:gd name="connsiteY6804" fmla="*/ 828051 h 6072780"/>
                <a:gd name="connsiteX6805" fmla="*/ 8838687 w 12117871"/>
                <a:gd name="connsiteY6805" fmla="*/ 745750 h 6072780"/>
                <a:gd name="connsiteX6806" fmla="*/ 8801524 w 12117871"/>
                <a:gd name="connsiteY6806" fmla="*/ 660590 h 6072780"/>
                <a:gd name="connsiteX6807" fmla="*/ 8100122 w 12117871"/>
                <a:gd name="connsiteY6807" fmla="*/ 660590 h 6072780"/>
                <a:gd name="connsiteX6808" fmla="*/ 8060852 w 12117871"/>
                <a:gd name="connsiteY6808" fmla="*/ 747104 h 6072780"/>
                <a:gd name="connsiteX6809" fmla="*/ 8099370 w 12117871"/>
                <a:gd name="connsiteY6809" fmla="*/ 828051 h 6072780"/>
                <a:gd name="connsiteX6810" fmla="*/ 8137285 w 12117871"/>
                <a:gd name="connsiteY6810" fmla="*/ 745750 h 6072780"/>
                <a:gd name="connsiteX6811" fmla="*/ 8100122 w 12117871"/>
                <a:gd name="connsiteY6811" fmla="*/ 660590 h 6072780"/>
                <a:gd name="connsiteX6812" fmla="*/ 6841633 w 12117871"/>
                <a:gd name="connsiteY6812" fmla="*/ 660590 h 6072780"/>
                <a:gd name="connsiteX6813" fmla="*/ 6802363 w 12117871"/>
                <a:gd name="connsiteY6813" fmla="*/ 747104 h 6072780"/>
                <a:gd name="connsiteX6814" fmla="*/ 6840881 w 12117871"/>
                <a:gd name="connsiteY6814" fmla="*/ 828051 h 6072780"/>
                <a:gd name="connsiteX6815" fmla="*/ 6878796 w 12117871"/>
                <a:gd name="connsiteY6815" fmla="*/ 745750 h 6072780"/>
                <a:gd name="connsiteX6816" fmla="*/ 6841633 w 12117871"/>
                <a:gd name="connsiteY6816" fmla="*/ 660590 h 6072780"/>
                <a:gd name="connsiteX6817" fmla="*/ 6628539 w 12117871"/>
                <a:gd name="connsiteY6817" fmla="*/ 660590 h 6072780"/>
                <a:gd name="connsiteX6818" fmla="*/ 6589269 w 12117871"/>
                <a:gd name="connsiteY6818" fmla="*/ 747104 h 6072780"/>
                <a:gd name="connsiteX6819" fmla="*/ 6627787 w 12117871"/>
                <a:gd name="connsiteY6819" fmla="*/ 828051 h 6072780"/>
                <a:gd name="connsiteX6820" fmla="*/ 6665702 w 12117871"/>
                <a:gd name="connsiteY6820" fmla="*/ 745750 h 6072780"/>
                <a:gd name="connsiteX6821" fmla="*/ 6628539 w 12117871"/>
                <a:gd name="connsiteY6821" fmla="*/ 660590 h 6072780"/>
                <a:gd name="connsiteX6822" fmla="*/ 3082864 w 12117871"/>
                <a:gd name="connsiteY6822" fmla="*/ 660590 h 6072780"/>
                <a:gd name="connsiteX6823" fmla="*/ 3043594 w 12117871"/>
                <a:gd name="connsiteY6823" fmla="*/ 747104 h 6072780"/>
                <a:gd name="connsiteX6824" fmla="*/ 3082111 w 12117871"/>
                <a:gd name="connsiteY6824" fmla="*/ 828051 h 6072780"/>
                <a:gd name="connsiteX6825" fmla="*/ 3120027 w 12117871"/>
                <a:gd name="connsiteY6825" fmla="*/ 745750 h 6072780"/>
                <a:gd name="connsiteX6826" fmla="*/ 3082864 w 12117871"/>
                <a:gd name="connsiteY6826" fmla="*/ 660590 h 6072780"/>
                <a:gd name="connsiteX6827" fmla="*/ 2736061 w 12117871"/>
                <a:gd name="connsiteY6827" fmla="*/ 660590 h 6072780"/>
                <a:gd name="connsiteX6828" fmla="*/ 2696791 w 12117871"/>
                <a:gd name="connsiteY6828" fmla="*/ 747104 h 6072780"/>
                <a:gd name="connsiteX6829" fmla="*/ 2735309 w 12117871"/>
                <a:gd name="connsiteY6829" fmla="*/ 828051 h 6072780"/>
                <a:gd name="connsiteX6830" fmla="*/ 2773224 w 12117871"/>
                <a:gd name="connsiteY6830" fmla="*/ 745750 h 6072780"/>
                <a:gd name="connsiteX6831" fmla="*/ 2736061 w 12117871"/>
                <a:gd name="connsiteY6831" fmla="*/ 660590 h 6072780"/>
                <a:gd name="connsiteX6832" fmla="*/ 2044696 w 12117871"/>
                <a:gd name="connsiteY6832" fmla="*/ 660590 h 6072780"/>
                <a:gd name="connsiteX6833" fmla="*/ 2005426 w 12117871"/>
                <a:gd name="connsiteY6833" fmla="*/ 747104 h 6072780"/>
                <a:gd name="connsiteX6834" fmla="*/ 2043944 w 12117871"/>
                <a:gd name="connsiteY6834" fmla="*/ 828051 h 6072780"/>
                <a:gd name="connsiteX6835" fmla="*/ 2081859 w 12117871"/>
                <a:gd name="connsiteY6835" fmla="*/ 745750 h 6072780"/>
                <a:gd name="connsiteX6836" fmla="*/ 2044696 w 12117871"/>
                <a:gd name="connsiteY6836" fmla="*/ 660590 h 6072780"/>
                <a:gd name="connsiteX6837" fmla="*/ 789489 w 12117871"/>
                <a:gd name="connsiteY6837" fmla="*/ 660590 h 6072780"/>
                <a:gd name="connsiteX6838" fmla="*/ 750218 w 12117871"/>
                <a:gd name="connsiteY6838" fmla="*/ 747104 h 6072780"/>
                <a:gd name="connsiteX6839" fmla="*/ 788737 w 12117871"/>
                <a:gd name="connsiteY6839" fmla="*/ 828051 h 6072780"/>
                <a:gd name="connsiteX6840" fmla="*/ 826652 w 12117871"/>
                <a:gd name="connsiteY6840" fmla="*/ 745750 h 6072780"/>
                <a:gd name="connsiteX6841" fmla="*/ 789489 w 12117871"/>
                <a:gd name="connsiteY6841" fmla="*/ 660590 h 6072780"/>
                <a:gd name="connsiteX6842" fmla="*/ 568889 w 12117871"/>
                <a:gd name="connsiteY6842" fmla="*/ 660590 h 6072780"/>
                <a:gd name="connsiteX6843" fmla="*/ 529618 w 12117871"/>
                <a:gd name="connsiteY6843" fmla="*/ 747104 h 6072780"/>
                <a:gd name="connsiteX6844" fmla="*/ 568137 w 12117871"/>
                <a:gd name="connsiteY6844" fmla="*/ 828051 h 6072780"/>
                <a:gd name="connsiteX6845" fmla="*/ 606052 w 12117871"/>
                <a:gd name="connsiteY6845" fmla="*/ 745750 h 6072780"/>
                <a:gd name="connsiteX6846" fmla="*/ 568889 w 12117871"/>
                <a:gd name="connsiteY6846" fmla="*/ 660590 h 6072780"/>
                <a:gd name="connsiteX6847" fmla="*/ 12047977 w 12117871"/>
                <a:gd name="connsiteY6847" fmla="*/ 632755 h 6072780"/>
                <a:gd name="connsiteX6848" fmla="*/ 12062883 w 12117871"/>
                <a:gd name="connsiteY6848" fmla="*/ 632755 h 6072780"/>
                <a:gd name="connsiteX6849" fmla="*/ 12062883 w 12117871"/>
                <a:gd name="connsiteY6849" fmla="*/ 855735 h 6072780"/>
                <a:gd name="connsiteX6850" fmla="*/ 12027595 w 12117871"/>
                <a:gd name="connsiteY6850" fmla="*/ 855735 h 6072780"/>
                <a:gd name="connsiteX6851" fmla="*/ 12027595 w 12117871"/>
                <a:gd name="connsiteY6851" fmla="*/ 675952 h 6072780"/>
                <a:gd name="connsiteX6852" fmla="*/ 12006986 w 12117871"/>
                <a:gd name="connsiteY6852" fmla="*/ 687587 h 6072780"/>
                <a:gd name="connsiteX6853" fmla="*/ 11981813 w 12117871"/>
                <a:gd name="connsiteY6853" fmla="*/ 696029 h 6072780"/>
                <a:gd name="connsiteX6854" fmla="*/ 11981813 w 12117871"/>
                <a:gd name="connsiteY6854" fmla="*/ 665913 h 6072780"/>
                <a:gd name="connsiteX6855" fmla="*/ 11998848 w 12117871"/>
                <a:gd name="connsiteY6855" fmla="*/ 659829 h 6072780"/>
                <a:gd name="connsiteX6856" fmla="*/ 12015047 w 12117871"/>
                <a:gd name="connsiteY6856" fmla="*/ 652680 h 6072780"/>
                <a:gd name="connsiteX6857" fmla="*/ 12031170 w 12117871"/>
                <a:gd name="connsiteY6857" fmla="*/ 643858 h 6072780"/>
                <a:gd name="connsiteX6858" fmla="*/ 12047977 w 12117871"/>
                <a:gd name="connsiteY6858" fmla="*/ 632755 h 6072780"/>
                <a:gd name="connsiteX6859" fmla="*/ 11675412 w 12117871"/>
                <a:gd name="connsiteY6859" fmla="*/ 632755 h 6072780"/>
                <a:gd name="connsiteX6860" fmla="*/ 11690318 w 12117871"/>
                <a:gd name="connsiteY6860" fmla="*/ 632755 h 6072780"/>
                <a:gd name="connsiteX6861" fmla="*/ 11690318 w 12117871"/>
                <a:gd name="connsiteY6861" fmla="*/ 855735 h 6072780"/>
                <a:gd name="connsiteX6862" fmla="*/ 11655030 w 12117871"/>
                <a:gd name="connsiteY6862" fmla="*/ 855735 h 6072780"/>
                <a:gd name="connsiteX6863" fmla="*/ 11655030 w 12117871"/>
                <a:gd name="connsiteY6863" fmla="*/ 675952 h 6072780"/>
                <a:gd name="connsiteX6864" fmla="*/ 11634421 w 12117871"/>
                <a:gd name="connsiteY6864" fmla="*/ 687587 h 6072780"/>
                <a:gd name="connsiteX6865" fmla="*/ 11609248 w 12117871"/>
                <a:gd name="connsiteY6865" fmla="*/ 696029 h 6072780"/>
                <a:gd name="connsiteX6866" fmla="*/ 11609248 w 12117871"/>
                <a:gd name="connsiteY6866" fmla="*/ 665913 h 6072780"/>
                <a:gd name="connsiteX6867" fmla="*/ 11626283 w 12117871"/>
                <a:gd name="connsiteY6867" fmla="*/ 659829 h 6072780"/>
                <a:gd name="connsiteX6868" fmla="*/ 11642482 w 12117871"/>
                <a:gd name="connsiteY6868" fmla="*/ 652680 h 6072780"/>
                <a:gd name="connsiteX6869" fmla="*/ 11658605 w 12117871"/>
                <a:gd name="connsiteY6869" fmla="*/ 643858 h 6072780"/>
                <a:gd name="connsiteX6870" fmla="*/ 11675412 w 12117871"/>
                <a:gd name="connsiteY6870" fmla="*/ 632755 h 6072780"/>
                <a:gd name="connsiteX6871" fmla="*/ 11525439 w 12117871"/>
                <a:gd name="connsiteY6871" fmla="*/ 632755 h 6072780"/>
                <a:gd name="connsiteX6872" fmla="*/ 11540345 w 12117871"/>
                <a:gd name="connsiteY6872" fmla="*/ 632755 h 6072780"/>
                <a:gd name="connsiteX6873" fmla="*/ 11540345 w 12117871"/>
                <a:gd name="connsiteY6873" fmla="*/ 855735 h 6072780"/>
                <a:gd name="connsiteX6874" fmla="*/ 11505057 w 12117871"/>
                <a:gd name="connsiteY6874" fmla="*/ 855735 h 6072780"/>
                <a:gd name="connsiteX6875" fmla="*/ 11505057 w 12117871"/>
                <a:gd name="connsiteY6875" fmla="*/ 675952 h 6072780"/>
                <a:gd name="connsiteX6876" fmla="*/ 11484448 w 12117871"/>
                <a:gd name="connsiteY6876" fmla="*/ 687587 h 6072780"/>
                <a:gd name="connsiteX6877" fmla="*/ 11459275 w 12117871"/>
                <a:gd name="connsiteY6877" fmla="*/ 696029 h 6072780"/>
                <a:gd name="connsiteX6878" fmla="*/ 11459275 w 12117871"/>
                <a:gd name="connsiteY6878" fmla="*/ 665913 h 6072780"/>
                <a:gd name="connsiteX6879" fmla="*/ 11476310 w 12117871"/>
                <a:gd name="connsiteY6879" fmla="*/ 659829 h 6072780"/>
                <a:gd name="connsiteX6880" fmla="*/ 11492509 w 12117871"/>
                <a:gd name="connsiteY6880" fmla="*/ 652680 h 6072780"/>
                <a:gd name="connsiteX6881" fmla="*/ 11508632 w 12117871"/>
                <a:gd name="connsiteY6881" fmla="*/ 643858 h 6072780"/>
                <a:gd name="connsiteX6882" fmla="*/ 11525439 w 12117871"/>
                <a:gd name="connsiteY6882" fmla="*/ 632755 h 6072780"/>
                <a:gd name="connsiteX6883" fmla="*/ 11375466 w 12117871"/>
                <a:gd name="connsiteY6883" fmla="*/ 632755 h 6072780"/>
                <a:gd name="connsiteX6884" fmla="*/ 11390372 w 12117871"/>
                <a:gd name="connsiteY6884" fmla="*/ 632755 h 6072780"/>
                <a:gd name="connsiteX6885" fmla="*/ 11390372 w 12117871"/>
                <a:gd name="connsiteY6885" fmla="*/ 855735 h 6072780"/>
                <a:gd name="connsiteX6886" fmla="*/ 11355084 w 12117871"/>
                <a:gd name="connsiteY6886" fmla="*/ 855735 h 6072780"/>
                <a:gd name="connsiteX6887" fmla="*/ 11355084 w 12117871"/>
                <a:gd name="connsiteY6887" fmla="*/ 675952 h 6072780"/>
                <a:gd name="connsiteX6888" fmla="*/ 11334475 w 12117871"/>
                <a:gd name="connsiteY6888" fmla="*/ 687587 h 6072780"/>
                <a:gd name="connsiteX6889" fmla="*/ 11309302 w 12117871"/>
                <a:gd name="connsiteY6889" fmla="*/ 696029 h 6072780"/>
                <a:gd name="connsiteX6890" fmla="*/ 11309302 w 12117871"/>
                <a:gd name="connsiteY6890" fmla="*/ 665913 h 6072780"/>
                <a:gd name="connsiteX6891" fmla="*/ 11326337 w 12117871"/>
                <a:gd name="connsiteY6891" fmla="*/ 659829 h 6072780"/>
                <a:gd name="connsiteX6892" fmla="*/ 11342536 w 12117871"/>
                <a:gd name="connsiteY6892" fmla="*/ 652680 h 6072780"/>
                <a:gd name="connsiteX6893" fmla="*/ 11358659 w 12117871"/>
                <a:gd name="connsiteY6893" fmla="*/ 643858 h 6072780"/>
                <a:gd name="connsiteX6894" fmla="*/ 11375466 w 12117871"/>
                <a:gd name="connsiteY6894" fmla="*/ 632755 h 6072780"/>
                <a:gd name="connsiteX6895" fmla="*/ 10632508 w 12117871"/>
                <a:gd name="connsiteY6895" fmla="*/ 632755 h 6072780"/>
                <a:gd name="connsiteX6896" fmla="*/ 10647414 w 12117871"/>
                <a:gd name="connsiteY6896" fmla="*/ 632755 h 6072780"/>
                <a:gd name="connsiteX6897" fmla="*/ 10647414 w 12117871"/>
                <a:gd name="connsiteY6897" fmla="*/ 855735 h 6072780"/>
                <a:gd name="connsiteX6898" fmla="*/ 10612126 w 12117871"/>
                <a:gd name="connsiteY6898" fmla="*/ 855735 h 6072780"/>
                <a:gd name="connsiteX6899" fmla="*/ 10612126 w 12117871"/>
                <a:gd name="connsiteY6899" fmla="*/ 675952 h 6072780"/>
                <a:gd name="connsiteX6900" fmla="*/ 10591517 w 12117871"/>
                <a:gd name="connsiteY6900" fmla="*/ 687587 h 6072780"/>
                <a:gd name="connsiteX6901" fmla="*/ 10566344 w 12117871"/>
                <a:gd name="connsiteY6901" fmla="*/ 696029 h 6072780"/>
                <a:gd name="connsiteX6902" fmla="*/ 10566344 w 12117871"/>
                <a:gd name="connsiteY6902" fmla="*/ 665913 h 6072780"/>
                <a:gd name="connsiteX6903" fmla="*/ 10583379 w 12117871"/>
                <a:gd name="connsiteY6903" fmla="*/ 659829 h 6072780"/>
                <a:gd name="connsiteX6904" fmla="*/ 10599578 w 12117871"/>
                <a:gd name="connsiteY6904" fmla="*/ 652680 h 6072780"/>
                <a:gd name="connsiteX6905" fmla="*/ 10615701 w 12117871"/>
                <a:gd name="connsiteY6905" fmla="*/ 643858 h 6072780"/>
                <a:gd name="connsiteX6906" fmla="*/ 10632508 w 12117871"/>
                <a:gd name="connsiteY6906" fmla="*/ 632755 h 6072780"/>
                <a:gd name="connsiteX6907" fmla="*/ 10481379 w 12117871"/>
                <a:gd name="connsiteY6907" fmla="*/ 632755 h 6072780"/>
                <a:gd name="connsiteX6908" fmla="*/ 10496285 w 12117871"/>
                <a:gd name="connsiteY6908" fmla="*/ 632755 h 6072780"/>
                <a:gd name="connsiteX6909" fmla="*/ 10496285 w 12117871"/>
                <a:gd name="connsiteY6909" fmla="*/ 855735 h 6072780"/>
                <a:gd name="connsiteX6910" fmla="*/ 10460997 w 12117871"/>
                <a:gd name="connsiteY6910" fmla="*/ 855735 h 6072780"/>
                <a:gd name="connsiteX6911" fmla="*/ 10460997 w 12117871"/>
                <a:gd name="connsiteY6911" fmla="*/ 675952 h 6072780"/>
                <a:gd name="connsiteX6912" fmla="*/ 10440388 w 12117871"/>
                <a:gd name="connsiteY6912" fmla="*/ 687587 h 6072780"/>
                <a:gd name="connsiteX6913" fmla="*/ 10415215 w 12117871"/>
                <a:gd name="connsiteY6913" fmla="*/ 696029 h 6072780"/>
                <a:gd name="connsiteX6914" fmla="*/ 10415215 w 12117871"/>
                <a:gd name="connsiteY6914" fmla="*/ 665913 h 6072780"/>
                <a:gd name="connsiteX6915" fmla="*/ 10432250 w 12117871"/>
                <a:gd name="connsiteY6915" fmla="*/ 659829 h 6072780"/>
                <a:gd name="connsiteX6916" fmla="*/ 10448449 w 12117871"/>
                <a:gd name="connsiteY6916" fmla="*/ 652680 h 6072780"/>
                <a:gd name="connsiteX6917" fmla="*/ 10464572 w 12117871"/>
                <a:gd name="connsiteY6917" fmla="*/ 643858 h 6072780"/>
                <a:gd name="connsiteX6918" fmla="*/ 10481379 w 12117871"/>
                <a:gd name="connsiteY6918" fmla="*/ 632755 h 6072780"/>
                <a:gd name="connsiteX6919" fmla="*/ 10181432 w 12117871"/>
                <a:gd name="connsiteY6919" fmla="*/ 632755 h 6072780"/>
                <a:gd name="connsiteX6920" fmla="*/ 10196338 w 12117871"/>
                <a:gd name="connsiteY6920" fmla="*/ 632755 h 6072780"/>
                <a:gd name="connsiteX6921" fmla="*/ 10196338 w 12117871"/>
                <a:gd name="connsiteY6921" fmla="*/ 855735 h 6072780"/>
                <a:gd name="connsiteX6922" fmla="*/ 10161050 w 12117871"/>
                <a:gd name="connsiteY6922" fmla="*/ 855735 h 6072780"/>
                <a:gd name="connsiteX6923" fmla="*/ 10161050 w 12117871"/>
                <a:gd name="connsiteY6923" fmla="*/ 675952 h 6072780"/>
                <a:gd name="connsiteX6924" fmla="*/ 10140441 w 12117871"/>
                <a:gd name="connsiteY6924" fmla="*/ 687587 h 6072780"/>
                <a:gd name="connsiteX6925" fmla="*/ 10115268 w 12117871"/>
                <a:gd name="connsiteY6925" fmla="*/ 696029 h 6072780"/>
                <a:gd name="connsiteX6926" fmla="*/ 10115268 w 12117871"/>
                <a:gd name="connsiteY6926" fmla="*/ 665913 h 6072780"/>
                <a:gd name="connsiteX6927" fmla="*/ 10132303 w 12117871"/>
                <a:gd name="connsiteY6927" fmla="*/ 659829 h 6072780"/>
                <a:gd name="connsiteX6928" fmla="*/ 10148502 w 12117871"/>
                <a:gd name="connsiteY6928" fmla="*/ 652680 h 6072780"/>
                <a:gd name="connsiteX6929" fmla="*/ 10164625 w 12117871"/>
                <a:gd name="connsiteY6929" fmla="*/ 643858 h 6072780"/>
                <a:gd name="connsiteX6930" fmla="*/ 10181432 w 12117871"/>
                <a:gd name="connsiteY6930" fmla="*/ 632755 h 6072780"/>
                <a:gd name="connsiteX6931" fmla="*/ 9796404 w 12117871"/>
                <a:gd name="connsiteY6931" fmla="*/ 632755 h 6072780"/>
                <a:gd name="connsiteX6932" fmla="*/ 9811310 w 12117871"/>
                <a:gd name="connsiteY6932" fmla="*/ 632755 h 6072780"/>
                <a:gd name="connsiteX6933" fmla="*/ 9811310 w 12117871"/>
                <a:gd name="connsiteY6933" fmla="*/ 855735 h 6072780"/>
                <a:gd name="connsiteX6934" fmla="*/ 9776022 w 12117871"/>
                <a:gd name="connsiteY6934" fmla="*/ 855735 h 6072780"/>
                <a:gd name="connsiteX6935" fmla="*/ 9776022 w 12117871"/>
                <a:gd name="connsiteY6935" fmla="*/ 675952 h 6072780"/>
                <a:gd name="connsiteX6936" fmla="*/ 9755413 w 12117871"/>
                <a:gd name="connsiteY6936" fmla="*/ 687587 h 6072780"/>
                <a:gd name="connsiteX6937" fmla="*/ 9730240 w 12117871"/>
                <a:gd name="connsiteY6937" fmla="*/ 696029 h 6072780"/>
                <a:gd name="connsiteX6938" fmla="*/ 9730240 w 12117871"/>
                <a:gd name="connsiteY6938" fmla="*/ 665913 h 6072780"/>
                <a:gd name="connsiteX6939" fmla="*/ 9747275 w 12117871"/>
                <a:gd name="connsiteY6939" fmla="*/ 659829 h 6072780"/>
                <a:gd name="connsiteX6940" fmla="*/ 9763474 w 12117871"/>
                <a:gd name="connsiteY6940" fmla="*/ 652680 h 6072780"/>
                <a:gd name="connsiteX6941" fmla="*/ 9779597 w 12117871"/>
                <a:gd name="connsiteY6941" fmla="*/ 643858 h 6072780"/>
                <a:gd name="connsiteX6942" fmla="*/ 9796404 w 12117871"/>
                <a:gd name="connsiteY6942" fmla="*/ 632755 h 6072780"/>
                <a:gd name="connsiteX6943" fmla="*/ 9645275 w 12117871"/>
                <a:gd name="connsiteY6943" fmla="*/ 632755 h 6072780"/>
                <a:gd name="connsiteX6944" fmla="*/ 9660181 w 12117871"/>
                <a:gd name="connsiteY6944" fmla="*/ 632755 h 6072780"/>
                <a:gd name="connsiteX6945" fmla="*/ 9660181 w 12117871"/>
                <a:gd name="connsiteY6945" fmla="*/ 855735 h 6072780"/>
                <a:gd name="connsiteX6946" fmla="*/ 9624893 w 12117871"/>
                <a:gd name="connsiteY6946" fmla="*/ 855735 h 6072780"/>
                <a:gd name="connsiteX6947" fmla="*/ 9624893 w 12117871"/>
                <a:gd name="connsiteY6947" fmla="*/ 675952 h 6072780"/>
                <a:gd name="connsiteX6948" fmla="*/ 9604284 w 12117871"/>
                <a:gd name="connsiteY6948" fmla="*/ 687587 h 6072780"/>
                <a:gd name="connsiteX6949" fmla="*/ 9579111 w 12117871"/>
                <a:gd name="connsiteY6949" fmla="*/ 696029 h 6072780"/>
                <a:gd name="connsiteX6950" fmla="*/ 9579111 w 12117871"/>
                <a:gd name="connsiteY6950" fmla="*/ 665913 h 6072780"/>
                <a:gd name="connsiteX6951" fmla="*/ 9596146 w 12117871"/>
                <a:gd name="connsiteY6951" fmla="*/ 659829 h 6072780"/>
                <a:gd name="connsiteX6952" fmla="*/ 9612345 w 12117871"/>
                <a:gd name="connsiteY6952" fmla="*/ 652680 h 6072780"/>
                <a:gd name="connsiteX6953" fmla="*/ 9628468 w 12117871"/>
                <a:gd name="connsiteY6953" fmla="*/ 643858 h 6072780"/>
                <a:gd name="connsiteX6954" fmla="*/ 9645275 w 12117871"/>
                <a:gd name="connsiteY6954" fmla="*/ 632755 h 6072780"/>
                <a:gd name="connsiteX6955" fmla="*/ 9495302 w 12117871"/>
                <a:gd name="connsiteY6955" fmla="*/ 632755 h 6072780"/>
                <a:gd name="connsiteX6956" fmla="*/ 9510208 w 12117871"/>
                <a:gd name="connsiteY6956" fmla="*/ 632755 h 6072780"/>
                <a:gd name="connsiteX6957" fmla="*/ 9510208 w 12117871"/>
                <a:gd name="connsiteY6957" fmla="*/ 855735 h 6072780"/>
                <a:gd name="connsiteX6958" fmla="*/ 9474920 w 12117871"/>
                <a:gd name="connsiteY6958" fmla="*/ 855735 h 6072780"/>
                <a:gd name="connsiteX6959" fmla="*/ 9474920 w 12117871"/>
                <a:gd name="connsiteY6959" fmla="*/ 675952 h 6072780"/>
                <a:gd name="connsiteX6960" fmla="*/ 9454311 w 12117871"/>
                <a:gd name="connsiteY6960" fmla="*/ 687587 h 6072780"/>
                <a:gd name="connsiteX6961" fmla="*/ 9429138 w 12117871"/>
                <a:gd name="connsiteY6961" fmla="*/ 696029 h 6072780"/>
                <a:gd name="connsiteX6962" fmla="*/ 9429138 w 12117871"/>
                <a:gd name="connsiteY6962" fmla="*/ 665913 h 6072780"/>
                <a:gd name="connsiteX6963" fmla="*/ 9446173 w 12117871"/>
                <a:gd name="connsiteY6963" fmla="*/ 659829 h 6072780"/>
                <a:gd name="connsiteX6964" fmla="*/ 9462372 w 12117871"/>
                <a:gd name="connsiteY6964" fmla="*/ 652680 h 6072780"/>
                <a:gd name="connsiteX6965" fmla="*/ 9478495 w 12117871"/>
                <a:gd name="connsiteY6965" fmla="*/ 643858 h 6072780"/>
                <a:gd name="connsiteX6966" fmla="*/ 9495302 w 12117871"/>
                <a:gd name="connsiteY6966" fmla="*/ 632755 h 6072780"/>
                <a:gd name="connsiteX6967" fmla="*/ 9345329 w 12117871"/>
                <a:gd name="connsiteY6967" fmla="*/ 632755 h 6072780"/>
                <a:gd name="connsiteX6968" fmla="*/ 9360235 w 12117871"/>
                <a:gd name="connsiteY6968" fmla="*/ 632755 h 6072780"/>
                <a:gd name="connsiteX6969" fmla="*/ 9360235 w 12117871"/>
                <a:gd name="connsiteY6969" fmla="*/ 855735 h 6072780"/>
                <a:gd name="connsiteX6970" fmla="*/ 9324947 w 12117871"/>
                <a:gd name="connsiteY6970" fmla="*/ 855735 h 6072780"/>
                <a:gd name="connsiteX6971" fmla="*/ 9324947 w 12117871"/>
                <a:gd name="connsiteY6971" fmla="*/ 675952 h 6072780"/>
                <a:gd name="connsiteX6972" fmla="*/ 9304338 w 12117871"/>
                <a:gd name="connsiteY6972" fmla="*/ 687587 h 6072780"/>
                <a:gd name="connsiteX6973" fmla="*/ 9279165 w 12117871"/>
                <a:gd name="connsiteY6973" fmla="*/ 696029 h 6072780"/>
                <a:gd name="connsiteX6974" fmla="*/ 9279165 w 12117871"/>
                <a:gd name="connsiteY6974" fmla="*/ 665913 h 6072780"/>
                <a:gd name="connsiteX6975" fmla="*/ 9296200 w 12117871"/>
                <a:gd name="connsiteY6975" fmla="*/ 659829 h 6072780"/>
                <a:gd name="connsiteX6976" fmla="*/ 9312399 w 12117871"/>
                <a:gd name="connsiteY6976" fmla="*/ 652680 h 6072780"/>
                <a:gd name="connsiteX6977" fmla="*/ 9328522 w 12117871"/>
                <a:gd name="connsiteY6977" fmla="*/ 643858 h 6072780"/>
                <a:gd name="connsiteX6978" fmla="*/ 9345329 w 12117871"/>
                <a:gd name="connsiteY6978" fmla="*/ 632755 h 6072780"/>
                <a:gd name="connsiteX6979" fmla="*/ 9144936 w 12117871"/>
                <a:gd name="connsiteY6979" fmla="*/ 632755 h 6072780"/>
                <a:gd name="connsiteX6980" fmla="*/ 9216103 w 12117871"/>
                <a:gd name="connsiteY6980" fmla="*/ 743343 h 6072780"/>
                <a:gd name="connsiteX6981" fmla="*/ 9196017 w 12117871"/>
                <a:gd name="connsiteY6981" fmla="*/ 826922 h 6072780"/>
                <a:gd name="connsiteX6982" fmla="*/ 9139820 w 12117871"/>
                <a:gd name="connsiteY6982" fmla="*/ 855735 h 6072780"/>
                <a:gd name="connsiteX6983" fmla="*/ 9087235 w 12117871"/>
                <a:gd name="connsiteY6983" fmla="*/ 828201 h 6072780"/>
                <a:gd name="connsiteX6984" fmla="*/ 9068352 w 12117871"/>
                <a:gd name="connsiteY6984" fmla="*/ 748609 h 6072780"/>
                <a:gd name="connsiteX6985" fmla="*/ 9088062 w 12117871"/>
                <a:gd name="connsiteY6985" fmla="*/ 662094 h 6072780"/>
                <a:gd name="connsiteX6986" fmla="*/ 9144936 w 12117871"/>
                <a:gd name="connsiteY6986" fmla="*/ 632755 h 6072780"/>
                <a:gd name="connsiteX6987" fmla="*/ 9013860 w 12117871"/>
                <a:gd name="connsiteY6987" fmla="*/ 632755 h 6072780"/>
                <a:gd name="connsiteX6988" fmla="*/ 9028766 w 12117871"/>
                <a:gd name="connsiteY6988" fmla="*/ 632755 h 6072780"/>
                <a:gd name="connsiteX6989" fmla="*/ 9028766 w 12117871"/>
                <a:gd name="connsiteY6989" fmla="*/ 855735 h 6072780"/>
                <a:gd name="connsiteX6990" fmla="*/ 8993478 w 12117871"/>
                <a:gd name="connsiteY6990" fmla="*/ 855735 h 6072780"/>
                <a:gd name="connsiteX6991" fmla="*/ 8993478 w 12117871"/>
                <a:gd name="connsiteY6991" fmla="*/ 675952 h 6072780"/>
                <a:gd name="connsiteX6992" fmla="*/ 8972869 w 12117871"/>
                <a:gd name="connsiteY6992" fmla="*/ 687587 h 6072780"/>
                <a:gd name="connsiteX6993" fmla="*/ 8947696 w 12117871"/>
                <a:gd name="connsiteY6993" fmla="*/ 696029 h 6072780"/>
                <a:gd name="connsiteX6994" fmla="*/ 8947696 w 12117871"/>
                <a:gd name="connsiteY6994" fmla="*/ 665913 h 6072780"/>
                <a:gd name="connsiteX6995" fmla="*/ 8964731 w 12117871"/>
                <a:gd name="connsiteY6995" fmla="*/ 659829 h 6072780"/>
                <a:gd name="connsiteX6996" fmla="*/ 8980930 w 12117871"/>
                <a:gd name="connsiteY6996" fmla="*/ 652680 h 6072780"/>
                <a:gd name="connsiteX6997" fmla="*/ 8997053 w 12117871"/>
                <a:gd name="connsiteY6997" fmla="*/ 643858 h 6072780"/>
                <a:gd name="connsiteX6998" fmla="*/ 9013860 w 12117871"/>
                <a:gd name="connsiteY6998" fmla="*/ 632755 h 6072780"/>
                <a:gd name="connsiteX6999" fmla="*/ 8803179 w 12117871"/>
                <a:gd name="connsiteY6999" fmla="*/ 632755 h 6072780"/>
                <a:gd name="connsiteX7000" fmla="*/ 8874346 w 12117871"/>
                <a:gd name="connsiteY7000" fmla="*/ 743343 h 6072780"/>
                <a:gd name="connsiteX7001" fmla="*/ 8854260 w 12117871"/>
                <a:gd name="connsiteY7001" fmla="*/ 826922 h 6072780"/>
                <a:gd name="connsiteX7002" fmla="*/ 8798063 w 12117871"/>
                <a:gd name="connsiteY7002" fmla="*/ 855735 h 6072780"/>
                <a:gd name="connsiteX7003" fmla="*/ 8745478 w 12117871"/>
                <a:gd name="connsiteY7003" fmla="*/ 828201 h 6072780"/>
                <a:gd name="connsiteX7004" fmla="*/ 8726595 w 12117871"/>
                <a:gd name="connsiteY7004" fmla="*/ 748609 h 6072780"/>
                <a:gd name="connsiteX7005" fmla="*/ 8746305 w 12117871"/>
                <a:gd name="connsiteY7005" fmla="*/ 662094 h 6072780"/>
                <a:gd name="connsiteX7006" fmla="*/ 8803179 w 12117871"/>
                <a:gd name="connsiteY7006" fmla="*/ 632755 h 6072780"/>
                <a:gd name="connsiteX7007" fmla="*/ 8101777 w 12117871"/>
                <a:gd name="connsiteY7007" fmla="*/ 632755 h 6072780"/>
                <a:gd name="connsiteX7008" fmla="*/ 8172944 w 12117871"/>
                <a:gd name="connsiteY7008" fmla="*/ 743343 h 6072780"/>
                <a:gd name="connsiteX7009" fmla="*/ 8152858 w 12117871"/>
                <a:gd name="connsiteY7009" fmla="*/ 826922 h 6072780"/>
                <a:gd name="connsiteX7010" fmla="*/ 8096661 w 12117871"/>
                <a:gd name="connsiteY7010" fmla="*/ 855735 h 6072780"/>
                <a:gd name="connsiteX7011" fmla="*/ 8044076 w 12117871"/>
                <a:gd name="connsiteY7011" fmla="*/ 828201 h 6072780"/>
                <a:gd name="connsiteX7012" fmla="*/ 8025193 w 12117871"/>
                <a:gd name="connsiteY7012" fmla="*/ 748609 h 6072780"/>
                <a:gd name="connsiteX7013" fmla="*/ 8044903 w 12117871"/>
                <a:gd name="connsiteY7013" fmla="*/ 662094 h 6072780"/>
                <a:gd name="connsiteX7014" fmla="*/ 8101777 w 12117871"/>
                <a:gd name="connsiteY7014" fmla="*/ 632755 h 6072780"/>
                <a:gd name="connsiteX7015" fmla="*/ 7722616 w 12117871"/>
                <a:gd name="connsiteY7015" fmla="*/ 632755 h 6072780"/>
                <a:gd name="connsiteX7016" fmla="*/ 7737522 w 12117871"/>
                <a:gd name="connsiteY7016" fmla="*/ 632755 h 6072780"/>
                <a:gd name="connsiteX7017" fmla="*/ 7737522 w 12117871"/>
                <a:gd name="connsiteY7017" fmla="*/ 855735 h 6072780"/>
                <a:gd name="connsiteX7018" fmla="*/ 7702234 w 12117871"/>
                <a:gd name="connsiteY7018" fmla="*/ 855735 h 6072780"/>
                <a:gd name="connsiteX7019" fmla="*/ 7702234 w 12117871"/>
                <a:gd name="connsiteY7019" fmla="*/ 675952 h 6072780"/>
                <a:gd name="connsiteX7020" fmla="*/ 7681625 w 12117871"/>
                <a:gd name="connsiteY7020" fmla="*/ 687587 h 6072780"/>
                <a:gd name="connsiteX7021" fmla="*/ 7656452 w 12117871"/>
                <a:gd name="connsiteY7021" fmla="*/ 696029 h 6072780"/>
                <a:gd name="connsiteX7022" fmla="*/ 7656452 w 12117871"/>
                <a:gd name="connsiteY7022" fmla="*/ 665913 h 6072780"/>
                <a:gd name="connsiteX7023" fmla="*/ 7673487 w 12117871"/>
                <a:gd name="connsiteY7023" fmla="*/ 659829 h 6072780"/>
                <a:gd name="connsiteX7024" fmla="*/ 7689686 w 12117871"/>
                <a:gd name="connsiteY7024" fmla="*/ 652680 h 6072780"/>
                <a:gd name="connsiteX7025" fmla="*/ 7705809 w 12117871"/>
                <a:gd name="connsiteY7025" fmla="*/ 643858 h 6072780"/>
                <a:gd name="connsiteX7026" fmla="*/ 7722616 w 12117871"/>
                <a:gd name="connsiteY7026" fmla="*/ 632755 h 6072780"/>
                <a:gd name="connsiteX7027" fmla="*/ 7360674 w 12117871"/>
                <a:gd name="connsiteY7027" fmla="*/ 632755 h 6072780"/>
                <a:gd name="connsiteX7028" fmla="*/ 7375580 w 12117871"/>
                <a:gd name="connsiteY7028" fmla="*/ 632755 h 6072780"/>
                <a:gd name="connsiteX7029" fmla="*/ 7375580 w 12117871"/>
                <a:gd name="connsiteY7029" fmla="*/ 855735 h 6072780"/>
                <a:gd name="connsiteX7030" fmla="*/ 7340292 w 12117871"/>
                <a:gd name="connsiteY7030" fmla="*/ 855735 h 6072780"/>
                <a:gd name="connsiteX7031" fmla="*/ 7340292 w 12117871"/>
                <a:gd name="connsiteY7031" fmla="*/ 675952 h 6072780"/>
                <a:gd name="connsiteX7032" fmla="*/ 7319683 w 12117871"/>
                <a:gd name="connsiteY7032" fmla="*/ 687587 h 6072780"/>
                <a:gd name="connsiteX7033" fmla="*/ 7294510 w 12117871"/>
                <a:gd name="connsiteY7033" fmla="*/ 696029 h 6072780"/>
                <a:gd name="connsiteX7034" fmla="*/ 7294510 w 12117871"/>
                <a:gd name="connsiteY7034" fmla="*/ 665913 h 6072780"/>
                <a:gd name="connsiteX7035" fmla="*/ 7311545 w 12117871"/>
                <a:gd name="connsiteY7035" fmla="*/ 659829 h 6072780"/>
                <a:gd name="connsiteX7036" fmla="*/ 7327744 w 12117871"/>
                <a:gd name="connsiteY7036" fmla="*/ 652680 h 6072780"/>
                <a:gd name="connsiteX7037" fmla="*/ 7343867 w 12117871"/>
                <a:gd name="connsiteY7037" fmla="*/ 643858 h 6072780"/>
                <a:gd name="connsiteX7038" fmla="*/ 7360674 w 12117871"/>
                <a:gd name="connsiteY7038" fmla="*/ 632755 h 6072780"/>
                <a:gd name="connsiteX7039" fmla="*/ 7060728 w 12117871"/>
                <a:gd name="connsiteY7039" fmla="*/ 632755 h 6072780"/>
                <a:gd name="connsiteX7040" fmla="*/ 7075634 w 12117871"/>
                <a:gd name="connsiteY7040" fmla="*/ 632755 h 6072780"/>
                <a:gd name="connsiteX7041" fmla="*/ 7075634 w 12117871"/>
                <a:gd name="connsiteY7041" fmla="*/ 855735 h 6072780"/>
                <a:gd name="connsiteX7042" fmla="*/ 7040346 w 12117871"/>
                <a:gd name="connsiteY7042" fmla="*/ 855735 h 6072780"/>
                <a:gd name="connsiteX7043" fmla="*/ 7040346 w 12117871"/>
                <a:gd name="connsiteY7043" fmla="*/ 675952 h 6072780"/>
                <a:gd name="connsiteX7044" fmla="*/ 7019737 w 12117871"/>
                <a:gd name="connsiteY7044" fmla="*/ 687587 h 6072780"/>
                <a:gd name="connsiteX7045" fmla="*/ 6994564 w 12117871"/>
                <a:gd name="connsiteY7045" fmla="*/ 696029 h 6072780"/>
                <a:gd name="connsiteX7046" fmla="*/ 6994564 w 12117871"/>
                <a:gd name="connsiteY7046" fmla="*/ 665913 h 6072780"/>
                <a:gd name="connsiteX7047" fmla="*/ 7011599 w 12117871"/>
                <a:gd name="connsiteY7047" fmla="*/ 659829 h 6072780"/>
                <a:gd name="connsiteX7048" fmla="*/ 7027798 w 12117871"/>
                <a:gd name="connsiteY7048" fmla="*/ 652680 h 6072780"/>
                <a:gd name="connsiteX7049" fmla="*/ 7043921 w 12117871"/>
                <a:gd name="connsiteY7049" fmla="*/ 643858 h 6072780"/>
                <a:gd name="connsiteX7050" fmla="*/ 7060728 w 12117871"/>
                <a:gd name="connsiteY7050" fmla="*/ 632755 h 6072780"/>
                <a:gd name="connsiteX7051" fmla="*/ 6843288 w 12117871"/>
                <a:gd name="connsiteY7051" fmla="*/ 632755 h 6072780"/>
                <a:gd name="connsiteX7052" fmla="*/ 6914455 w 12117871"/>
                <a:gd name="connsiteY7052" fmla="*/ 743343 h 6072780"/>
                <a:gd name="connsiteX7053" fmla="*/ 6894369 w 12117871"/>
                <a:gd name="connsiteY7053" fmla="*/ 826922 h 6072780"/>
                <a:gd name="connsiteX7054" fmla="*/ 6838172 w 12117871"/>
                <a:gd name="connsiteY7054" fmla="*/ 855735 h 6072780"/>
                <a:gd name="connsiteX7055" fmla="*/ 6785587 w 12117871"/>
                <a:gd name="connsiteY7055" fmla="*/ 828201 h 6072780"/>
                <a:gd name="connsiteX7056" fmla="*/ 6766704 w 12117871"/>
                <a:gd name="connsiteY7056" fmla="*/ 748609 h 6072780"/>
                <a:gd name="connsiteX7057" fmla="*/ 6786414 w 12117871"/>
                <a:gd name="connsiteY7057" fmla="*/ 662094 h 6072780"/>
                <a:gd name="connsiteX7058" fmla="*/ 6843288 w 12117871"/>
                <a:gd name="connsiteY7058" fmla="*/ 632755 h 6072780"/>
                <a:gd name="connsiteX7059" fmla="*/ 6630194 w 12117871"/>
                <a:gd name="connsiteY7059" fmla="*/ 632755 h 6072780"/>
                <a:gd name="connsiteX7060" fmla="*/ 6701361 w 12117871"/>
                <a:gd name="connsiteY7060" fmla="*/ 743343 h 6072780"/>
                <a:gd name="connsiteX7061" fmla="*/ 6681275 w 12117871"/>
                <a:gd name="connsiteY7061" fmla="*/ 826922 h 6072780"/>
                <a:gd name="connsiteX7062" fmla="*/ 6625078 w 12117871"/>
                <a:gd name="connsiteY7062" fmla="*/ 855735 h 6072780"/>
                <a:gd name="connsiteX7063" fmla="*/ 6572493 w 12117871"/>
                <a:gd name="connsiteY7063" fmla="*/ 828201 h 6072780"/>
                <a:gd name="connsiteX7064" fmla="*/ 6553610 w 12117871"/>
                <a:gd name="connsiteY7064" fmla="*/ 748609 h 6072780"/>
                <a:gd name="connsiteX7065" fmla="*/ 6573320 w 12117871"/>
                <a:gd name="connsiteY7065" fmla="*/ 662094 h 6072780"/>
                <a:gd name="connsiteX7066" fmla="*/ 6630194 w 12117871"/>
                <a:gd name="connsiteY7066" fmla="*/ 632755 h 6072780"/>
                <a:gd name="connsiteX7067" fmla="*/ 6468645 w 12117871"/>
                <a:gd name="connsiteY7067" fmla="*/ 632755 h 6072780"/>
                <a:gd name="connsiteX7068" fmla="*/ 6483551 w 12117871"/>
                <a:gd name="connsiteY7068" fmla="*/ 632755 h 6072780"/>
                <a:gd name="connsiteX7069" fmla="*/ 6483551 w 12117871"/>
                <a:gd name="connsiteY7069" fmla="*/ 855735 h 6072780"/>
                <a:gd name="connsiteX7070" fmla="*/ 6448263 w 12117871"/>
                <a:gd name="connsiteY7070" fmla="*/ 855735 h 6072780"/>
                <a:gd name="connsiteX7071" fmla="*/ 6448263 w 12117871"/>
                <a:gd name="connsiteY7071" fmla="*/ 675952 h 6072780"/>
                <a:gd name="connsiteX7072" fmla="*/ 6427654 w 12117871"/>
                <a:gd name="connsiteY7072" fmla="*/ 687587 h 6072780"/>
                <a:gd name="connsiteX7073" fmla="*/ 6402481 w 12117871"/>
                <a:gd name="connsiteY7073" fmla="*/ 696029 h 6072780"/>
                <a:gd name="connsiteX7074" fmla="*/ 6402481 w 12117871"/>
                <a:gd name="connsiteY7074" fmla="*/ 665913 h 6072780"/>
                <a:gd name="connsiteX7075" fmla="*/ 6419516 w 12117871"/>
                <a:gd name="connsiteY7075" fmla="*/ 659829 h 6072780"/>
                <a:gd name="connsiteX7076" fmla="*/ 6435715 w 12117871"/>
                <a:gd name="connsiteY7076" fmla="*/ 652680 h 6072780"/>
                <a:gd name="connsiteX7077" fmla="*/ 6451838 w 12117871"/>
                <a:gd name="connsiteY7077" fmla="*/ 643858 h 6072780"/>
                <a:gd name="connsiteX7078" fmla="*/ 6468645 w 12117871"/>
                <a:gd name="connsiteY7078" fmla="*/ 632755 h 6072780"/>
                <a:gd name="connsiteX7079" fmla="*/ 6168699 w 12117871"/>
                <a:gd name="connsiteY7079" fmla="*/ 632755 h 6072780"/>
                <a:gd name="connsiteX7080" fmla="*/ 6183605 w 12117871"/>
                <a:gd name="connsiteY7080" fmla="*/ 632755 h 6072780"/>
                <a:gd name="connsiteX7081" fmla="*/ 6183605 w 12117871"/>
                <a:gd name="connsiteY7081" fmla="*/ 855735 h 6072780"/>
                <a:gd name="connsiteX7082" fmla="*/ 6148317 w 12117871"/>
                <a:gd name="connsiteY7082" fmla="*/ 855735 h 6072780"/>
                <a:gd name="connsiteX7083" fmla="*/ 6148317 w 12117871"/>
                <a:gd name="connsiteY7083" fmla="*/ 675952 h 6072780"/>
                <a:gd name="connsiteX7084" fmla="*/ 6127708 w 12117871"/>
                <a:gd name="connsiteY7084" fmla="*/ 687587 h 6072780"/>
                <a:gd name="connsiteX7085" fmla="*/ 6102535 w 12117871"/>
                <a:gd name="connsiteY7085" fmla="*/ 696029 h 6072780"/>
                <a:gd name="connsiteX7086" fmla="*/ 6102535 w 12117871"/>
                <a:gd name="connsiteY7086" fmla="*/ 665913 h 6072780"/>
                <a:gd name="connsiteX7087" fmla="*/ 6119570 w 12117871"/>
                <a:gd name="connsiteY7087" fmla="*/ 659829 h 6072780"/>
                <a:gd name="connsiteX7088" fmla="*/ 6135769 w 12117871"/>
                <a:gd name="connsiteY7088" fmla="*/ 652680 h 6072780"/>
                <a:gd name="connsiteX7089" fmla="*/ 6151892 w 12117871"/>
                <a:gd name="connsiteY7089" fmla="*/ 643858 h 6072780"/>
                <a:gd name="connsiteX7090" fmla="*/ 6168699 w 12117871"/>
                <a:gd name="connsiteY7090" fmla="*/ 632755 h 6072780"/>
                <a:gd name="connsiteX7091" fmla="*/ 5985170 w 12117871"/>
                <a:gd name="connsiteY7091" fmla="*/ 632755 h 6072780"/>
                <a:gd name="connsiteX7092" fmla="*/ 6000077 w 12117871"/>
                <a:gd name="connsiteY7092" fmla="*/ 632755 h 6072780"/>
                <a:gd name="connsiteX7093" fmla="*/ 6000077 w 12117871"/>
                <a:gd name="connsiteY7093" fmla="*/ 855735 h 6072780"/>
                <a:gd name="connsiteX7094" fmla="*/ 5964788 w 12117871"/>
                <a:gd name="connsiteY7094" fmla="*/ 855735 h 6072780"/>
                <a:gd name="connsiteX7095" fmla="*/ 5964788 w 12117871"/>
                <a:gd name="connsiteY7095" fmla="*/ 675952 h 6072780"/>
                <a:gd name="connsiteX7096" fmla="*/ 5944180 w 12117871"/>
                <a:gd name="connsiteY7096" fmla="*/ 687587 h 6072780"/>
                <a:gd name="connsiteX7097" fmla="*/ 5919006 w 12117871"/>
                <a:gd name="connsiteY7097" fmla="*/ 696029 h 6072780"/>
                <a:gd name="connsiteX7098" fmla="*/ 5919006 w 12117871"/>
                <a:gd name="connsiteY7098" fmla="*/ 665913 h 6072780"/>
                <a:gd name="connsiteX7099" fmla="*/ 5936041 w 12117871"/>
                <a:gd name="connsiteY7099" fmla="*/ 659829 h 6072780"/>
                <a:gd name="connsiteX7100" fmla="*/ 5952241 w 12117871"/>
                <a:gd name="connsiteY7100" fmla="*/ 652680 h 6072780"/>
                <a:gd name="connsiteX7101" fmla="*/ 5968363 w 12117871"/>
                <a:gd name="connsiteY7101" fmla="*/ 643858 h 6072780"/>
                <a:gd name="connsiteX7102" fmla="*/ 5985170 w 12117871"/>
                <a:gd name="connsiteY7102" fmla="*/ 632755 h 6072780"/>
                <a:gd name="connsiteX7103" fmla="*/ 5617508 w 12117871"/>
                <a:gd name="connsiteY7103" fmla="*/ 632755 h 6072780"/>
                <a:gd name="connsiteX7104" fmla="*/ 5632415 w 12117871"/>
                <a:gd name="connsiteY7104" fmla="*/ 632755 h 6072780"/>
                <a:gd name="connsiteX7105" fmla="*/ 5632415 w 12117871"/>
                <a:gd name="connsiteY7105" fmla="*/ 855735 h 6072780"/>
                <a:gd name="connsiteX7106" fmla="*/ 5597126 w 12117871"/>
                <a:gd name="connsiteY7106" fmla="*/ 855735 h 6072780"/>
                <a:gd name="connsiteX7107" fmla="*/ 5597126 w 12117871"/>
                <a:gd name="connsiteY7107" fmla="*/ 675952 h 6072780"/>
                <a:gd name="connsiteX7108" fmla="*/ 5576518 w 12117871"/>
                <a:gd name="connsiteY7108" fmla="*/ 687587 h 6072780"/>
                <a:gd name="connsiteX7109" fmla="*/ 5551344 w 12117871"/>
                <a:gd name="connsiteY7109" fmla="*/ 696029 h 6072780"/>
                <a:gd name="connsiteX7110" fmla="*/ 5551344 w 12117871"/>
                <a:gd name="connsiteY7110" fmla="*/ 665913 h 6072780"/>
                <a:gd name="connsiteX7111" fmla="*/ 5568379 w 12117871"/>
                <a:gd name="connsiteY7111" fmla="*/ 659829 h 6072780"/>
                <a:gd name="connsiteX7112" fmla="*/ 5584578 w 12117871"/>
                <a:gd name="connsiteY7112" fmla="*/ 652680 h 6072780"/>
                <a:gd name="connsiteX7113" fmla="*/ 5600701 w 12117871"/>
                <a:gd name="connsiteY7113" fmla="*/ 643858 h 6072780"/>
                <a:gd name="connsiteX7114" fmla="*/ 5617508 w 12117871"/>
                <a:gd name="connsiteY7114" fmla="*/ 632755 h 6072780"/>
                <a:gd name="connsiteX7115" fmla="*/ 5467535 w 12117871"/>
                <a:gd name="connsiteY7115" fmla="*/ 632755 h 6072780"/>
                <a:gd name="connsiteX7116" fmla="*/ 5482441 w 12117871"/>
                <a:gd name="connsiteY7116" fmla="*/ 632755 h 6072780"/>
                <a:gd name="connsiteX7117" fmla="*/ 5482441 w 12117871"/>
                <a:gd name="connsiteY7117" fmla="*/ 855735 h 6072780"/>
                <a:gd name="connsiteX7118" fmla="*/ 5447153 w 12117871"/>
                <a:gd name="connsiteY7118" fmla="*/ 855735 h 6072780"/>
                <a:gd name="connsiteX7119" fmla="*/ 5447153 w 12117871"/>
                <a:gd name="connsiteY7119" fmla="*/ 675952 h 6072780"/>
                <a:gd name="connsiteX7120" fmla="*/ 5426545 w 12117871"/>
                <a:gd name="connsiteY7120" fmla="*/ 687587 h 6072780"/>
                <a:gd name="connsiteX7121" fmla="*/ 5401372 w 12117871"/>
                <a:gd name="connsiteY7121" fmla="*/ 696029 h 6072780"/>
                <a:gd name="connsiteX7122" fmla="*/ 5401372 w 12117871"/>
                <a:gd name="connsiteY7122" fmla="*/ 665913 h 6072780"/>
                <a:gd name="connsiteX7123" fmla="*/ 5418407 w 12117871"/>
                <a:gd name="connsiteY7123" fmla="*/ 659829 h 6072780"/>
                <a:gd name="connsiteX7124" fmla="*/ 5434605 w 12117871"/>
                <a:gd name="connsiteY7124" fmla="*/ 652680 h 6072780"/>
                <a:gd name="connsiteX7125" fmla="*/ 5450728 w 12117871"/>
                <a:gd name="connsiteY7125" fmla="*/ 643858 h 6072780"/>
                <a:gd name="connsiteX7126" fmla="*/ 5467535 w 12117871"/>
                <a:gd name="connsiteY7126" fmla="*/ 632755 h 6072780"/>
                <a:gd name="connsiteX7127" fmla="*/ 5317563 w 12117871"/>
                <a:gd name="connsiteY7127" fmla="*/ 632755 h 6072780"/>
                <a:gd name="connsiteX7128" fmla="*/ 5332469 w 12117871"/>
                <a:gd name="connsiteY7128" fmla="*/ 632755 h 6072780"/>
                <a:gd name="connsiteX7129" fmla="*/ 5332469 w 12117871"/>
                <a:gd name="connsiteY7129" fmla="*/ 855735 h 6072780"/>
                <a:gd name="connsiteX7130" fmla="*/ 5297180 w 12117871"/>
                <a:gd name="connsiteY7130" fmla="*/ 855735 h 6072780"/>
                <a:gd name="connsiteX7131" fmla="*/ 5297180 w 12117871"/>
                <a:gd name="connsiteY7131" fmla="*/ 675952 h 6072780"/>
                <a:gd name="connsiteX7132" fmla="*/ 5276571 w 12117871"/>
                <a:gd name="connsiteY7132" fmla="*/ 687587 h 6072780"/>
                <a:gd name="connsiteX7133" fmla="*/ 5251398 w 12117871"/>
                <a:gd name="connsiteY7133" fmla="*/ 696029 h 6072780"/>
                <a:gd name="connsiteX7134" fmla="*/ 5251398 w 12117871"/>
                <a:gd name="connsiteY7134" fmla="*/ 665913 h 6072780"/>
                <a:gd name="connsiteX7135" fmla="*/ 5268433 w 12117871"/>
                <a:gd name="connsiteY7135" fmla="*/ 659829 h 6072780"/>
                <a:gd name="connsiteX7136" fmla="*/ 5284632 w 12117871"/>
                <a:gd name="connsiteY7136" fmla="*/ 652680 h 6072780"/>
                <a:gd name="connsiteX7137" fmla="*/ 5300756 w 12117871"/>
                <a:gd name="connsiteY7137" fmla="*/ 643858 h 6072780"/>
                <a:gd name="connsiteX7138" fmla="*/ 5317563 w 12117871"/>
                <a:gd name="connsiteY7138" fmla="*/ 632755 h 6072780"/>
                <a:gd name="connsiteX7139" fmla="*/ 4568884 w 12117871"/>
                <a:gd name="connsiteY7139" fmla="*/ 632755 h 6072780"/>
                <a:gd name="connsiteX7140" fmla="*/ 4583790 w 12117871"/>
                <a:gd name="connsiteY7140" fmla="*/ 632755 h 6072780"/>
                <a:gd name="connsiteX7141" fmla="*/ 4583790 w 12117871"/>
                <a:gd name="connsiteY7141" fmla="*/ 855735 h 6072780"/>
                <a:gd name="connsiteX7142" fmla="*/ 4548503 w 12117871"/>
                <a:gd name="connsiteY7142" fmla="*/ 855735 h 6072780"/>
                <a:gd name="connsiteX7143" fmla="*/ 4548503 w 12117871"/>
                <a:gd name="connsiteY7143" fmla="*/ 675952 h 6072780"/>
                <a:gd name="connsiteX7144" fmla="*/ 4527893 w 12117871"/>
                <a:gd name="connsiteY7144" fmla="*/ 687587 h 6072780"/>
                <a:gd name="connsiteX7145" fmla="*/ 4502720 w 12117871"/>
                <a:gd name="connsiteY7145" fmla="*/ 696029 h 6072780"/>
                <a:gd name="connsiteX7146" fmla="*/ 4502720 w 12117871"/>
                <a:gd name="connsiteY7146" fmla="*/ 665913 h 6072780"/>
                <a:gd name="connsiteX7147" fmla="*/ 4519755 w 12117871"/>
                <a:gd name="connsiteY7147" fmla="*/ 659829 h 6072780"/>
                <a:gd name="connsiteX7148" fmla="*/ 4535955 w 12117871"/>
                <a:gd name="connsiteY7148" fmla="*/ 652680 h 6072780"/>
                <a:gd name="connsiteX7149" fmla="*/ 4552078 w 12117871"/>
                <a:gd name="connsiteY7149" fmla="*/ 643858 h 6072780"/>
                <a:gd name="connsiteX7150" fmla="*/ 4568884 w 12117871"/>
                <a:gd name="connsiteY7150" fmla="*/ 632755 h 6072780"/>
                <a:gd name="connsiteX7151" fmla="*/ 4418912 w 12117871"/>
                <a:gd name="connsiteY7151" fmla="*/ 632755 h 6072780"/>
                <a:gd name="connsiteX7152" fmla="*/ 4433817 w 12117871"/>
                <a:gd name="connsiteY7152" fmla="*/ 632755 h 6072780"/>
                <a:gd name="connsiteX7153" fmla="*/ 4433817 w 12117871"/>
                <a:gd name="connsiteY7153" fmla="*/ 855735 h 6072780"/>
                <a:gd name="connsiteX7154" fmla="*/ 4398529 w 12117871"/>
                <a:gd name="connsiteY7154" fmla="*/ 855735 h 6072780"/>
                <a:gd name="connsiteX7155" fmla="*/ 4398529 w 12117871"/>
                <a:gd name="connsiteY7155" fmla="*/ 675952 h 6072780"/>
                <a:gd name="connsiteX7156" fmla="*/ 4377920 w 12117871"/>
                <a:gd name="connsiteY7156" fmla="*/ 687587 h 6072780"/>
                <a:gd name="connsiteX7157" fmla="*/ 4352748 w 12117871"/>
                <a:gd name="connsiteY7157" fmla="*/ 696029 h 6072780"/>
                <a:gd name="connsiteX7158" fmla="*/ 4352748 w 12117871"/>
                <a:gd name="connsiteY7158" fmla="*/ 665913 h 6072780"/>
                <a:gd name="connsiteX7159" fmla="*/ 4369782 w 12117871"/>
                <a:gd name="connsiteY7159" fmla="*/ 659829 h 6072780"/>
                <a:gd name="connsiteX7160" fmla="*/ 4385981 w 12117871"/>
                <a:gd name="connsiteY7160" fmla="*/ 652680 h 6072780"/>
                <a:gd name="connsiteX7161" fmla="*/ 4402104 w 12117871"/>
                <a:gd name="connsiteY7161" fmla="*/ 643858 h 6072780"/>
                <a:gd name="connsiteX7162" fmla="*/ 4418912 w 12117871"/>
                <a:gd name="connsiteY7162" fmla="*/ 632755 h 6072780"/>
                <a:gd name="connsiteX7163" fmla="*/ 4118966 w 12117871"/>
                <a:gd name="connsiteY7163" fmla="*/ 632755 h 6072780"/>
                <a:gd name="connsiteX7164" fmla="*/ 4133872 w 12117871"/>
                <a:gd name="connsiteY7164" fmla="*/ 632755 h 6072780"/>
                <a:gd name="connsiteX7165" fmla="*/ 4133872 w 12117871"/>
                <a:gd name="connsiteY7165" fmla="*/ 855735 h 6072780"/>
                <a:gd name="connsiteX7166" fmla="*/ 4098584 w 12117871"/>
                <a:gd name="connsiteY7166" fmla="*/ 855735 h 6072780"/>
                <a:gd name="connsiteX7167" fmla="*/ 4098584 w 12117871"/>
                <a:gd name="connsiteY7167" fmla="*/ 675952 h 6072780"/>
                <a:gd name="connsiteX7168" fmla="*/ 4077975 w 12117871"/>
                <a:gd name="connsiteY7168" fmla="*/ 687587 h 6072780"/>
                <a:gd name="connsiteX7169" fmla="*/ 4052802 w 12117871"/>
                <a:gd name="connsiteY7169" fmla="*/ 696029 h 6072780"/>
                <a:gd name="connsiteX7170" fmla="*/ 4052802 w 12117871"/>
                <a:gd name="connsiteY7170" fmla="*/ 665913 h 6072780"/>
                <a:gd name="connsiteX7171" fmla="*/ 4069837 w 12117871"/>
                <a:gd name="connsiteY7171" fmla="*/ 659829 h 6072780"/>
                <a:gd name="connsiteX7172" fmla="*/ 4086036 w 12117871"/>
                <a:gd name="connsiteY7172" fmla="*/ 652680 h 6072780"/>
                <a:gd name="connsiteX7173" fmla="*/ 4102158 w 12117871"/>
                <a:gd name="connsiteY7173" fmla="*/ 643858 h 6072780"/>
                <a:gd name="connsiteX7174" fmla="*/ 4118966 w 12117871"/>
                <a:gd name="connsiteY7174" fmla="*/ 632755 h 6072780"/>
                <a:gd name="connsiteX7175" fmla="*/ 3738375 w 12117871"/>
                <a:gd name="connsiteY7175" fmla="*/ 632755 h 6072780"/>
                <a:gd name="connsiteX7176" fmla="*/ 3753281 w 12117871"/>
                <a:gd name="connsiteY7176" fmla="*/ 632755 h 6072780"/>
                <a:gd name="connsiteX7177" fmla="*/ 3753281 w 12117871"/>
                <a:gd name="connsiteY7177" fmla="*/ 855735 h 6072780"/>
                <a:gd name="connsiteX7178" fmla="*/ 3717993 w 12117871"/>
                <a:gd name="connsiteY7178" fmla="*/ 855735 h 6072780"/>
                <a:gd name="connsiteX7179" fmla="*/ 3717993 w 12117871"/>
                <a:gd name="connsiteY7179" fmla="*/ 675952 h 6072780"/>
                <a:gd name="connsiteX7180" fmla="*/ 3697384 w 12117871"/>
                <a:gd name="connsiteY7180" fmla="*/ 687587 h 6072780"/>
                <a:gd name="connsiteX7181" fmla="*/ 3672211 w 12117871"/>
                <a:gd name="connsiteY7181" fmla="*/ 696029 h 6072780"/>
                <a:gd name="connsiteX7182" fmla="*/ 3672211 w 12117871"/>
                <a:gd name="connsiteY7182" fmla="*/ 665913 h 6072780"/>
                <a:gd name="connsiteX7183" fmla="*/ 3689246 w 12117871"/>
                <a:gd name="connsiteY7183" fmla="*/ 659829 h 6072780"/>
                <a:gd name="connsiteX7184" fmla="*/ 3705445 w 12117871"/>
                <a:gd name="connsiteY7184" fmla="*/ 652680 h 6072780"/>
                <a:gd name="connsiteX7185" fmla="*/ 3721568 w 12117871"/>
                <a:gd name="connsiteY7185" fmla="*/ 643858 h 6072780"/>
                <a:gd name="connsiteX7186" fmla="*/ 3738375 w 12117871"/>
                <a:gd name="connsiteY7186" fmla="*/ 632755 h 6072780"/>
                <a:gd name="connsiteX7187" fmla="*/ 3588402 w 12117871"/>
                <a:gd name="connsiteY7187" fmla="*/ 632755 h 6072780"/>
                <a:gd name="connsiteX7188" fmla="*/ 3603308 w 12117871"/>
                <a:gd name="connsiteY7188" fmla="*/ 632755 h 6072780"/>
                <a:gd name="connsiteX7189" fmla="*/ 3603308 w 12117871"/>
                <a:gd name="connsiteY7189" fmla="*/ 855735 h 6072780"/>
                <a:gd name="connsiteX7190" fmla="*/ 3568020 w 12117871"/>
                <a:gd name="connsiteY7190" fmla="*/ 855735 h 6072780"/>
                <a:gd name="connsiteX7191" fmla="*/ 3568020 w 12117871"/>
                <a:gd name="connsiteY7191" fmla="*/ 675952 h 6072780"/>
                <a:gd name="connsiteX7192" fmla="*/ 3547411 w 12117871"/>
                <a:gd name="connsiteY7192" fmla="*/ 687587 h 6072780"/>
                <a:gd name="connsiteX7193" fmla="*/ 3522237 w 12117871"/>
                <a:gd name="connsiteY7193" fmla="*/ 696029 h 6072780"/>
                <a:gd name="connsiteX7194" fmla="*/ 3522237 w 12117871"/>
                <a:gd name="connsiteY7194" fmla="*/ 665913 h 6072780"/>
                <a:gd name="connsiteX7195" fmla="*/ 3539273 w 12117871"/>
                <a:gd name="connsiteY7195" fmla="*/ 659829 h 6072780"/>
                <a:gd name="connsiteX7196" fmla="*/ 3555472 w 12117871"/>
                <a:gd name="connsiteY7196" fmla="*/ 652680 h 6072780"/>
                <a:gd name="connsiteX7197" fmla="*/ 3571595 w 12117871"/>
                <a:gd name="connsiteY7197" fmla="*/ 643858 h 6072780"/>
                <a:gd name="connsiteX7198" fmla="*/ 3588402 w 12117871"/>
                <a:gd name="connsiteY7198" fmla="*/ 632755 h 6072780"/>
                <a:gd name="connsiteX7199" fmla="*/ 3438429 w 12117871"/>
                <a:gd name="connsiteY7199" fmla="*/ 632755 h 6072780"/>
                <a:gd name="connsiteX7200" fmla="*/ 3453335 w 12117871"/>
                <a:gd name="connsiteY7200" fmla="*/ 632755 h 6072780"/>
                <a:gd name="connsiteX7201" fmla="*/ 3453335 w 12117871"/>
                <a:gd name="connsiteY7201" fmla="*/ 855735 h 6072780"/>
                <a:gd name="connsiteX7202" fmla="*/ 3418047 w 12117871"/>
                <a:gd name="connsiteY7202" fmla="*/ 855735 h 6072780"/>
                <a:gd name="connsiteX7203" fmla="*/ 3418047 w 12117871"/>
                <a:gd name="connsiteY7203" fmla="*/ 675952 h 6072780"/>
                <a:gd name="connsiteX7204" fmla="*/ 3397438 w 12117871"/>
                <a:gd name="connsiteY7204" fmla="*/ 687587 h 6072780"/>
                <a:gd name="connsiteX7205" fmla="*/ 3372265 w 12117871"/>
                <a:gd name="connsiteY7205" fmla="*/ 696029 h 6072780"/>
                <a:gd name="connsiteX7206" fmla="*/ 3372265 w 12117871"/>
                <a:gd name="connsiteY7206" fmla="*/ 665913 h 6072780"/>
                <a:gd name="connsiteX7207" fmla="*/ 3389300 w 12117871"/>
                <a:gd name="connsiteY7207" fmla="*/ 659829 h 6072780"/>
                <a:gd name="connsiteX7208" fmla="*/ 3405499 w 12117871"/>
                <a:gd name="connsiteY7208" fmla="*/ 652680 h 6072780"/>
                <a:gd name="connsiteX7209" fmla="*/ 3421622 w 12117871"/>
                <a:gd name="connsiteY7209" fmla="*/ 643858 h 6072780"/>
                <a:gd name="connsiteX7210" fmla="*/ 3438429 w 12117871"/>
                <a:gd name="connsiteY7210" fmla="*/ 632755 h 6072780"/>
                <a:gd name="connsiteX7211" fmla="*/ 3288456 w 12117871"/>
                <a:gd name="connsiteY7211" fmla="*/ 632755 h 6072780"/>
                <a:gd name="connsiteX7212" fmla="*/ 3303362 w 12117871"/>
                <a:gd name="connsiteY7212" fmla="*/ 632755 h 6072780"/>
                <a:gd name="connsiteX7213" fmla="*/ 3303362 w 12117871"/>
                <a:gd name="connsiteY7213" fmla="*/ 855735 h 6072780"/>
                <a:gd name="connsiteX7214" fmla="*/ 3268074 w 12117871"/>
                <a:gd name="connsiteY7214" fmla="*/ 855735 h 6072780"/>
                <a:gd name="connsiteX7215" fmla="*/ 3268074 w 12117871"/>
                <a:gd name="connsiteY7215" fmla="*/ 675952 h 6072780"/>
                <a:gd name="connsiteX7216" fmla="*/ 3247464 w 12117871"/>
                <a:gd name="connsiteY7216" fmla="*/ 687587 h 6072780"/>
                <a:gd name="connsiteX7217" fmla="*/ 3222292 w 12117871"/>
                <a:gd name="connsiteY7217" fmla="*/ 696029 h 6072780"/>
                <a:gd name="connsiteX7218" fmla="*/ 3222292 w 12117871"/>
                <a:gd name="connsiteY7218" fmla="*/ 665913 h 6072780"/>
                <a:gd name="connsiteX7219" fmla="*/ 3239327 w 12117871"/>
                <a:gd name="connsiteY7219" fmla="*/ 659829 h 6072780"/>
                <a:gd name="connsiteX7220" fmla="*/ 3255526 w 12117871"/>
                <a:gd name="connsiteY7220" fmla="*/ 652680 h 6072780"/>
                <a:gd name="connsiteX7221" fmla="*/ 3271649 w 12117871"/>
                <a:gd name="connsiteY7221" fmla="*/ 643858 h 6072780"/>
                <a:gd name="connsiteX7222" fmla="*/ 3288456 w 12117871"/>
                <a:gd name="connsiteY7222" fmla="*/ 632755 h 6072780"/>
                <a:gd name="connsiteX7223" fmla="*/ 3084519 w 12117871"/>
                <a:gd name="connsiteY7223" fmla="*/ 632755 h 6072780"/>
                <a:gd name="connsiteX7224" fmla="*/ 3155686 w 12117871"/>
                <a:gd name="connsiteY7224" fmla="*/ 743343 h 6072780"/>
                <a:gd name="connsiteX7225" fmla="*/ 3135600 w 12117871"/>
                <a:gd name="connsiteY7225" fmla="*/ 826922 h 6072780"/>
                <a:gd name="connsiteX7226" fmla="*/ 3079403 w 12117871"/>
                <a:gd name="connsiteY7226" fmla="*/ 855735 h 6072780"/>
                <a:gd name="connsiteX7227" fmla="*/ 3026818 w 12117871"/>
                <a:gd name="connsiteY7227" fmla="*/ 828201 h 6072780"/>
                <a:gd name="connsiteX7228" fmla="*/ 3007935 w 12117871"/>
                <a:gd name="connsiteY7228" fmla="*/ 748609 h 6072780"/>
                <a:gd name="connsiteX7229" fmla="*/ 3027645 w 12117871"/>
                <a:gd name="connsiteY7229" fmla="*/ 662094 h 6072780"/>
                <a:gd name="connsiteX7230" fmla="*/ 3084519 w 12117871"/>
                <a:gd name="connsiteY7230" fmla="*/ 632755 h 6072780"/>
                <a:gd name="connsiteX7231" fmla="*/ 2954273 w 12117871"/>
                <a:gd name="connsiteY7231" fmla="*/ 632755 h 6072780"/>
                <a:gd name="connsiteX7232" fmla="*/ 2969178 w 12117871"/>
                <a:gd name="connsiteY7232" fmla="*/ 632755 h 6072780"/>
                <a:gd name="connsiteX7233" fmla="*/ 2969178 w 12117871"/>
                <a:gd name="connsiteY7233" fmla="*/ 855735 h 6072780"/>
                <a:gd name="connsiteX7234" fmla="*/ 2933891 w 12117871"/>
                <a:gd name="connsiteY7234" fmla="*/ 855735 h 6072780"/>
                <a:gd name="connsiteX7235" fmla="*/ 2933891 w 12117871"/>
                <a:gd name="connsiteY7235" fmla="*/ 675952 h 6072780"/>
                <a:gd name="connsiteX7236" fmla="*/ 2913282 w 12117871"/>
                <a:gd name="connsiteY7236" fmla="*/ 687587 h 6072780"/>
                <a:gd name="connsiteX7237" fmla="*/ 2888109 w 12117871"/>
                <a:gd name="connsiteY7237" fmla="*/ 696029 h 6072780"/>
                <a:gd name="connsiteX7238" fmla="*/ 2888109 w 12117871"/>
                <a:gd name="connsiteY7238" fmla="*/ 665913 h 6072780"/>
                <a:gd name="connsiteX7239" fmla="*/ 2905144 w 12117871"/>
                <a:gd name="connsiteY7239" fmla="*/ 659829 h 6072780"/>
                <a:gd name="connsiteX7240" fmla="*/ 2921343 w 12117871"/>
                <a:gd name="connsiteY7240" fmla="*/ 652680 h 6072780"/>
                <a:gd name="connsiteX7241" fmla="*/ 2937466 w 12117871"/>
                <a:gd name="connsiteY7241" fmla="*/ 643858 h 6072780"/>
                <a:gd name="connsiteX7242" fmla="*/ 2954273 w 12117871"/>
                <a:gd name="connsiteY7242" fmla="*/ 632755 h 6072780"/>
                <a:gd name="connsiteX7243" fmla="*/ 2737716 w 12117871"/>
                <a:gd name="connsiteY7243" fmla="*/ 632755 h 6072780"/>
                <a:gd name="connsiteX7244" fmla="*/ 2808883 w 12117871"/>
                <a:gd name="connsiteY7244" fmla="*/ 743343 h 6072780"/>
                <a:gd name="connsiteX7245" fmla="*/ 2788797 w 12117871"/>
                <a:gd name="connsiteY7245" fmla="*/ 826922 h 6072780"/>
                <a:gd name="connsiteX7246" fmla="*/ 2732600 w 12117871"/>
                <a:gd name="connsiteY7246" fmla="*/ 855735 h 6072780"/>
                <a:gd name="connsiteX7247" fmla="*/ 2680015 w 12117871"/>
                <a:gd name="connsiteY7247" fmla="*/ 828201 h 6072780"/>
                <a:gd name="connsiteX7248" fmla="*/ 2661132 w 12117871"/>
                <a:gd name="connsiteY7248" fmla="*/ 748609 h 6072780"/>
                <a:gd name="connsiteX7249" fmla="*/ 2680842 w 12117871"/>
                <a:gd name="connsiteY7249" fmla="*/ 662094 h 6072780"/>
                <a:gd name="connsiteX7250" fmla="*/ 2737716 w 12117871"/>
                <a:gd name="connsiteY7250" fmla="*/ 632755 h 6072780"/>
                <a:gd name="connsiteX7251" fmla="*/ 2046351 w 12117871"/>
                <a:gd name="connsiteY7251" fmla="*/ 632755 h 6072780"/>
                <a:gd name="connsiteX7252" fmla="*/ 2117517 w 12117871"/>
                <a:gd name="connsiteY7252" fmla="*/ 743343 h 6072780"/>
                <a:gd name="connsiteX7253" fmla="*/ 2097432 w 12117871"/>
                <a:gd name="connsiteY7253" fmla="*/ 826922 h 6072780"/>
                <a:gd name="connsiteX7254" fmla="*/ 2041234 w 12117871"/>
                <a:gd name="connsiteY7254" fmla="*/ 855735 h 6072780"/>
                <a:gd name="connsiteX7255" fmla="*/ 1988650 w 12117871"/>
                <a:gd name="connsiteY7255" fmla="*/ 828201 h 6072780"/>
                <a:gd name="connsiteX7256" fmla="*/ 1969766 w 12117871"/>
                <a:gd name="connsiteY7256" fmla="*/ 748609 h 6072780"/>
                <a:gd name="connsiteX7257" fmla="*/ 1989476 w 12117871"/>
                <a:gd name="connsiteY7257" fmla="*/ 662094 h 6072780"/>
                <a:gd name="connsiteX7258" fmla="*/ 2046351 w 12117871"/>
                <a:gd name="connsiteY7258" fmla="*/ 632755 h 6072780"/>
                <a:gd name="connsiteX7259" fmla="*/ 1673990 w 12117871"/>
                <a:gd name="connsiteY7259" fmla="*/ 632755 h 6072780"/>
                <a:gd name="connsiteX7260" fmla="*/ 1688896 w 12117871"/>
                <a:gd name="connsiteY7260" fmla="*/ 632755 h 6072780"/>
                <a:gd name="connsiteX7261" fmla="*/ 1688896 w 12117871"/>
                <a:gd name="connsiteY7261" fmla="*/ 855735 h 6072780"/>
                <a:gd name="connsiteX7262" fmla="*/ 1653607 w 12117871"/>
                <a:gd name="connsiteY7262" fmla="*/ 855735 h 6072780"/>
                <a:gd name="connsiteX7263" fmla="*/ 1653607 w 12117871"/>
                <a:gd name="connsiteY7263" fmla="*/ 675952 h 6072780"/>
                <a:gd name="connsiteX7264" fmla="*/ 1632999 w 12117871"/>
                <a:gd name="connsiteY7264" fmla="*/ 687587 h 6072780"/>
                <a:gd name="connsiteX7265" fmla="*/ 1607825 w 12117871"/>
                <a:gd name="connsiteY7265" fmla="*/ 696029 h 6072780"/>
                <a:gd name="connsiteX7266" fmla="*/ 1607825 w 12117871"/>
                <a:gd name="connsiteY7266" fmla="*/ 665913 h 6072780"/>
                <a:gd name="connsiteX7267" fmla="*/ 1624860 w 12117871"/>
                <a:gd name="connsiteY7267" fmla="*/ 659829 h 6072780"/>
                <a:gd name="connsiteX7268" fmla="*/ 1641059 w 12117871"/>
                <a:gd name="connsiteY7268" fmla="*/ 652680 h 6072780"/>
                <a:gd name="connsiteX7269" fmla="*/ 1657183 w 12117871"/>
                <a:gd name="connsiteY7269" fmla="*/ 643858 h 6072780"/>
                <a:gd name="connsiteX7270" fmla="*/ 1673990 w 12117871"/>
                <a:gd name="connsiteY7270" fmla="*/ 632755 h 6072780"/>
                <a:gd name="connsiteX7271" fmla="*/ 1297324 w 12117871"/>
                <a:gd name="connsiteY7271" fmla="*/ 632755 h 6072780"/>
                <a:gd name="connsiteX7272" fmla="*/ 1312230 w 12117871"/>
                <a:gd name="connsiteY7272" fmla="*/ 632755 h 6072780"/>
                <a:gd name="connsiteX7273" fmla="*/ 1312230 w 12117871"/>
                <a:gd name="connsiteY7273" fmla="*/ 855735 h 6072780"/>
                <a:gd name="connsiteX7274" fmla="*/ 1276941 w 12117871"/>
                <a:gd name="connsiteY7274" fmla="*/ 855735 h 6072780"/>
                <a:gd name="connsiteX7275" fmla="*/ 1276941 w 12117871"/>
                <a:gd name="connsiteY7275" fmla="*/ 675952 h 6072780"/>
                <a:gd name="connsiteX7276" fmla="*/ 1256333 w 12117871"/>
                <a:gd name="connsiteY7276" fmla="*/ 687587 h 6072780"/>
                <a:gd name="connsiteX7277" fmla="*/ 1231160 w 12117871"/>
                <a:gd name="connsiteY7277" fmla="*/ 696029 h 6072780"/>
                <a:gd name="connsiteX7278" fmla="*/ 1231160 w 12117871"/>
                <a:gd name="connsiteY7278" fmla="*/ 665913 h 6072780"/>
                <a:gd name="connsiteX7279" fmla="*/ 1248195 w 12117871"/>
                <a:gd name="connsiteY7279" fmla="*/ 659829 h 6072780"/>
                <a:gd name="connsiteX7280" fmla="*/ 1264393 w 12117871"/>
                <a:gd name="connsiteY7280" fmla="*/ 652680 h 6072780"/>
                <a:gd name="connsiteX7281" fmla="*/ 1280517 w 12117871"/>
                <a:gd name="connsiteY7281" fmla="*/ 643858 h 6072780"/>
                <a:gd name="connsiteX7282" fmla="*/ 1297324 w 12117871"/>
                <a:gd name="connsiteY7282" fmla="*/ 632755 h 6072780"/>
                <a:gd name="connsiteX7283" fmla="*/ 997378 w 12117871"/>
                <a:gd name="connsiteY7283" fmla="*/ 632755 h 6072780"/>
                <a:gd name="connsiteX7284" fmla="*/ 1012284 w 12117871"/>
                <a:gd name="connsiteY7284" fmla="*/ 632755 h 6072780"/>
                <a:gd name="connsiteX7285" fmla="*/ 1012284 w 12117871"/>
                <a:gd name="connsiteY7285" fmla="*/ 855735 h 6072780"/>
                <a:gd name="connsiteX7286" fmla="*/ 976996 w 12117871"/>
                <a:gd name="connsiteY7286" fmla="*/ 855735 h 6072780"/>
                <a:gd name="connsiteX7287" fmla="*/ 976996 w 12117871"/>
                <a:gd name="connsiteY7287" fmla="*/ 675952 h 6072780"/>
                <a:gd name="connsiteX7288" fmla="*/ 956386 w 12117871"/>
                <a:gd name="connsiteY7288" fmla="*/ 687587 h 6072780"/>
                <a:gd name="connsiteX7289" fmla="*/ 931214 w 12117871"/>
                <a:gd name="connsiteY7289" fmla="*/ 696029 h 6072780"/>
                <a:gd name="connsiteX7290" fmla="*/ 931214 w 12117871"/>
                <a:gd name="connsiteY7290" fmla="*/ 665913 h 6072780"/>
                <a:gd name="connsiteX7291" fmla="*/ 948249 w 12117871"/>
                <a:gd name="connsiteY7291" fmla="*/ 659829 h 6072780"/>
                <a:gd name="connsiteX7292" fmla="*/ 964447 w 12117871"/>
                <a:gd name="connsiteY7292" fmla="*/ 652680 h 6072780"/>
                <a:gd name="connsiteX7293" fmla="*/ 980570 w 12117871"/>
                <a:gd name="connsiteY7293" fmla="*/ 643858 h 6072780"/>
                <a:gd name="connsiteX7294" fmla="*/ 997378 w 12117871"/>
                <a:gd name="connsiteY7294" fmla="*/ 632755 h 6072780"/>
                <a:gd name="connsiteX7295" fmla="*/ 791144 w 12117871"/>
                <a:gd name="connsiteY7295" fmla="*/ 632755 h 6072780"/>
                <a:gd name="connsiteX7296" fmla="*/ 862311 w 12117871"/>
                <a:gd name="connsiteY7296" fmla="*/ 743343 h 6072780"/>
                <a:gd name="connsiteX7297" fmla="*/ 842224 w 12117871"/>
                <a:gd name="connsiteY7297" fmla="*/ 826922 h 6072780"/>
                <a:gd name="connsiteX7298" fmla="*/ 786027 w 12117871"/>
                <a:gd name="connsiteY7298" fmla="*/ 855735 h 6072780"/>
                <a:gd name="connsiteX7299" fmla="*/ 733443 w 12117871"/>
                <a:gd name="connsiteY7299" fmla="*/ 828201 h 6072780"/>
                <a:gd name="connsiteX7300" fmla="*/ 714559 w 12117871"/>
                <a:gd name="connsiteY7300" fmla="*/ 748609 h 6072780"/>
                <a:gd name="connsiteX7301" fmla="*/ 734269 w 12117871"/>
                <a:gd name="connsiteY7301" fmla="*/ 662094 h 6072780"/>
                <a:gd name="connsiteX7302" fmla="*/ 791144 w 12117871"/>
                <a:gd name="connsiteY7302" fmla="*/ 632755 h 6072780"/>
                <a:gd name="connsiteX7303" fmla="*/ 570544 w 12117871"/>
                <a:gd name="connsiteY7303" fmla="*/ 632755 h 6072780"/>
                <a:gd name="connsiteX7304" fmla="*/ 641710 w 12117871"/>
                <a:gd name="connsiteY7304" fmla="*/ 743343 h 6072780"/>
                <a:gd name="connsiteX7305" fmla="*/ 621624 w 12117871"/>
                <a:gd name="connsiteY7305" fmla="*/ 826922 h 6072780"/>
                <a:gd name="connsiteX7306" fmla="*/ 565428 w 12117871"/>
                <a:gd name="connsiteY7306" fmla="*/ 855735 h 6072780"/>
                <a:gd name="connsiteX7307" fmla="*/ 512842 w 12117871"/>
                <a:gd name="connsiteY7307" fmla="*/ 828201 h 6072780"/>
                <a:gd name="connsiteX7308" fmla="*/ 493960 w 12117871"/>
                <a:gd name="connsiteY7308" fmla="*/ 748609 h 6072780"/>
                <a:gd name="connsiteX7309" fmla="*/ 513670 w 12117871"/>
                <a:gd name="connsiteY7309" fmla="*/ 662094 h 6072780"/>
                <a:gd name="connsiteX7310" fmla="*/ 570544 w 12117871"/>
                <a:gd name="connsiteY7310" fmla="*/ 632755 h 6072780"/>
                <a:gd name="connsiteX7311" fmla="*/ 403382 w 12117871"/>
                <a:gd name="connsiteY7311" fmla="*/ 632755 h 6072780"/>
                <a:gd name="connsiteX7312" fmla="*/ 418288 w 12117871"/>
                <a:gd name="connsiteY7312" fmla="*/ 632755 h 6072780"/>
                <a:gd name="connsiteX7313" fmla="*/ 418288 w 12117871"/>
                <a:gd name="connsiteY7313" fmla="*/ 855735 h 6072780"/>
                <a:gd name="connsiteX7314" fmla="*/ 382999 w 12117871"/>
                <a:gd name="connsiteY7314" fmla="*/ 855735 h 6072780"/>
                <a:gd name="connsiteX7315" fmla="*/ 382999 w 12117871"/>
                <a:gd name="connsiteY7315" fmla="*/ 675952 h 6072780"/>
                <a:gd name="connsiteX7316" fmla="*/ 362391 w 12117871"/>
                <a:gd name="connsiteY7316" fmla="*/ 687587 h 6072780"/>
                <a:gd name="connsiteX7317" fmla="*/ 337217 w 12117871"/>
                <a:gd name="connsiteY7317" fmla="*/ 696029 h 6072780"/>
                <a:gd name="connsiteX7318" fmla="*/ 337217 w 12117871"/>
                <a:gd name="connsiteY7318" fmla="*/ 665913 h 6072780"/>
                <a:gd name="connsiteX7319" fmla="*/ 354252 w 12117871"/>
                <a:gd name="connsiteY7319" fmla="*/ 659829 h 6072780"/>
                <a:gd name="connsiteX7320" fmla="*/ 370452 w 12117871"/>
                <a:gd name="connsiteY7320" fmla="*/ 652680 h 6072780"/>
                <a:gd name="connsiteX7321" fmla="*/ 386575 w 12117871"/>
                <a:gd name="connsiteY7321" fmla="*/ 643858 h 6072780"/>
                <a:gd name="connsiteX7322" fmla="*/ 403382 w 12117871"/>
                <a:gd name="connsiteY7322" fmla="*/ 632755 h 6072780"/>
                <a:gd name="connsiteX7323" fmla="*/ 103435 w 12117871"/>
                <a:gd name="connsiteY7323" fmla="*/ 632755 h 6072780"/>
                <a:gd name="connsiteX7324" fmla="*/ 118342 w 12117871"/>
                <a:gd name="connsiteY7324" fmla="*/ 632755 h 6072780"/>
                <a:gd name="connsiteX7325" fmla="*/ 118342 w 12117871"/>
                <a:gd name="connsiteY7325" fmla="*/ 855735 h 6072780"/>
                <a:gd name="connsiteX7326" fmla="*/ 83054 w 12117871"/>
                <a:gd name="connsiteY7326" fmla="*/ 855735 h 6072780"/>
                <a:gd name="connsiteX7327" fmla="*/ 83054 w 12117871"/>
                <a:gd name="connsiteY7327" fmla="*/ 675952 h 6072780"/>
                <a:gd name="connsiteX7328" fmla="*/ 62445 w 12117871"/>
                <a:gd name="connsiteY7328" fmla="*/ 687587 h 6072780"/>
                <a:gd name="connsiteX7329" fmla="*/ 37272 w 12117871"/>
                <a:gd name="connsiteY7329" fmla="*/ 696029 h 6072780"/>
                <a:gd name="connsiteX7330" fmla="*/ 37272 w 12117871"/>
                <a:gd name="connsiteY7330" fmla="*/ 665913 h 6072780"/>
                <a:gd name="connsiteX7331" fmla="*/ 54307 w 12117871"/>
                <a:gd name="connsiteY7331" fmla="*/ 659829 h 6072780"/>
                <a:gd name="connsiteX7332" fmla="*/ 70506 w 12117871"/>
                <a:gd name="connsiteY7332" fmla="*/ 652680 h 6072780"/>
                <a:gd name="connsiteX7333" fmla="*/ 86629 w 12117871"/>
                <a:gd name="connsiteY7333" fmla="*/ 643858 h 6072780"/>
                <a:gd name="connsiteX7334" fmla="*/ 103435 w 12117871"/>
                <a:gd name="connsiteY7334" fmla="*/ 632755 h 6072780"/>
                <a:gd name="connsiteX7335" fmla="*/ 11997319 w 12117871"/>
                <a:gd name="connsiteY7335" fmla="*/ 356082 h 6072780"/>
                <a:gd name="connsiteX7336" fmla="*/ 11958049 w 12117871"/>
                <a:gd name="connsiteY7336" fmla="*/ 442596 h 6072780"/>
                <a:gd name="connsiteX7337" fmla="*/ 11996567 w 12117871"/>
                <a:gd name="connsiteY7337" fmla="*/ 523543 h 6072780"/>
                <a:gd name="connsiteX7338" fmla="*/ 12034482 w 12117871"/>
                <a:gd name="connsiteY7338" fmla="*/ 441242 h 6072780"/>
                <a:gd name="connsiteX7339" fmla="*/ 11997319 w 12117871"/>
                <a:gd name="connsiteY7339" fmla="*/ 356082 h 6072780"/>
                <a:gd name="connsiteX7340" fmla="*/ 11780809 w 12117871"/>
                <a:gd name="connsiteY7340" fmla="*/ 356082 h 6072780"/>
                <a:gd name="connsiteX7341" fmla="*/ 11741539 w 12117871"/>
                <a:gd name="connsiteY7341" fmla="*/ 442596 h 6072780"/>
                <a:gd name="connsiteX7342" fmla="*/ 11780057 w 12117871"/>
                <a:gd name="connsiteY7342" fmla="*/ 523543 h 6072780"/>
                <a:gd name="connsiteX7343" fmla="*/ 11817972 w 12117871"/>
                <a:gd name="connsiteY7343" fmla="*/ 441242 h 6072780"/>
                <a:gd name="connsiteX7344" fmla="*/ 11780809 w 12117871"/>
                <a:gd name="connsiteY7344" fmla="*/ 356082 h 6072780"/>
                <a:gd name="connsiteX7345" fmla="*/ 6986021 w 12117871"/>
                <a:gd name="connsiteY7345" fmla="*/ 356082 h 6072780"/>
                <a:gd name="connsiteX7346" fmla="*/ 6946751 w 12117871"/>
                <a:gd name="connsiteY7346" fmla="*/ 442596 h 6072780"/>
                <a:gd name="connsiteX7347" fmla="*/ 6985269 w 12117871"/>
                <a:gd name="connsiteY7347" fmla="*/ 523543 h 6072780"/>
                <a:gd name="connsiteX7348" fmla="*/ 7023184 w 12117871"/>
                <a:gd name="connsiteY7348" fmla="*/ 441242 h 6072780"/>
                <a:gd name="connsiteX7349" fmla="*/ 6986021 w 12117871"/>
                <a:gd name="connsiteY7349" fmla="*/ 356082 h 6072780"/>
                <a:gd name="connsiteX7350" fmla="*/ 6769511 w 12117871"/>
                <a:gd name="connsiteY7350" fmla="*/ 356082 h 6072780"/>
                <a:gd name="connsiteX7351" fmla="*/ 6730241 w 12117871"/>
                <a:gd name="connsiteY7351" fmla="*/ 442596 h 6072780"/>
                <a:gd name="connsiteX7352" fmla="*/ 6768759 w 12117871"/>
                <a:gd name="connsiteY7352" fmla="*/ 523543 h 6072780"/>
                <a:gd name="connsiteX7353" fmla="*/ 6806674 w 12117871"/>
                <a:gd name="connsiteY7353" fmla="*/ 441242 h 6072780"/>
                <a:gd name="connsiteX7354" fmla="*/ 6769511 w 12117871"/>
                <a:gd name="connsiteY7354" fmla="*/ 356082 h 6072780"/>
                <a:gd name="connsiteX7355" fmla="*/ 6151734 w 12117871"/>
                <a:gd name="connsiteY7355" fmla="*/ 356082 h 6072780"/>
                <a:gd name="connsiteX7356" fmla="*/ 6112464 w 12117871"/>
                <a:gd name="connsiteY7356" fmla="*/ 442596 h 6072780"/>
                <a:gd name="connsiteX7357" fmla="*/ 6150982 w 12117871"/>
                <a:gd name="connsiteY7357" fmla="*/ 523543 h 6072780"/>
                <a:gd name="connsiteX7358" fmla="*/ 6188897 w 12117871"/>
                <a:gd name="connsiteY7358" fmla="*/ 441242 h 6072780"/>
                <a:gd name="connsiteX7359" fmla="*/ 6151734 w 12117871"/>
                <a:gd name="connsiteY7359" fmla="*/ 356082 h 6072780"/>
                <a:gd name="connsiteX7360" fmla="*/ 5935223 w 12117871"/>
                <a:gd name="connsiteY7360" fmla="*/ 356082 h 6072780"/>
                <a:gd name="connsiteX7361" fmla="*/ 5895954 w 12117871"/>
                <a:gd name="connsiteY7361" fmla="*/ 442596 h 6072780"/>
                <a:gd name="connsiteX7362" fmla="*/ 5934472 w 12117871"/>
                <a:gd name="connsiteY7362" fmla="*/ 523543 h 6072780"/>
                <a:gd name="connsiteX7363" fmla="*/ 5972387 w 12117871"/>
                <a:gd name="connsiteY7363" fmla="*/ 441242 h 6072780"/>
                <a:gd name="connsiteX7364" fmla="*/ 5935223 w 12117871"/>
                <a:gd name="connsiteY7364" fmla="*/ 356082 h 6072780"/>
                <a:gd name="connsiteX7365" fmla="*/ 5711116 w 12117871"/>
                <a:gd name="connsiteY7365" fmla="*/ 356082 h 6072780"/>
                <a:gd name="connsiteX7366" fmla="*/ 5671847 w 12117871"/>
                <a:gd name="connsiteY7366" fmla="*/ 442596 h 6072780"/>
                <a:gd name="connsiteX7367" fmla="*/ 5710364 w 12117871"/>
                <a:gd name="connsiteY7367" fmla="*/ 523543 h 6072780"/>
                <a:gd name="connsiteX7368" fmla="*/ 5748280 w 12117871"/>
                <a:gd name="connsiteY7368" fmla="*/ 441242 h 6072780"/>
                <a:gd name="connsiteX7369" fmla="*/ 5711116 w 12117871"/>
                <a:gd name="connsiteY7369" fmla="*/ 356082 h 6072780"/>
                <a:gd name="connsiteX7370" fmla="*/ 933138 w 12117871"/>
                <a:gd name="connsiteY7370" fmla="*/ 356082 h 6072780"/>
                <a:gd name="connsiteX7371" fmla="*/ 893868 w 12117871"/>
                <a:gd name="connsiteY7371" fmla="*/ 442596 h 6072780"/>
                <a:gd name="connsiteX7372" fmla="*/ 932386 w 12117871"/>
                <a:gd name="connsiteY7372" fmla="*/ 523543 h 6072780"/>
                <a:gd name="connsiteX7373" fmla="*/ 970301 w 12117871"/>
                <a:gd name="connsiteY7373" fmla="*/ 441242 h 6072780"/>
                <a:gd name="connsiteX7374" fmla="*/ 933138 w 12117871"/>
                <a:gd name="connsiteY7374" fmla="*/ 356082 h 6072780"/>
                <a:gd name="connsiteX7375" fmla="*/ 716861 w 12117871"/>
                <a:gd name="connsiteY7375" fmla="*/ 356082 h 6072780"/>
                <a:gd name="connsiteX7376" fmla="*/ 677593 w 12117871"/>
                <a:gd name="connsiteY7376" fmla="*/ 442596 h 6072780"/>
                <a:gd name="connsiteX7377" fmla="*/ 716110 w 12117871"/>
                <a:gd name="connsiteY7377" fmla="*/ 523543 h 6072780"/>
                <a:gd name="connsiteX7378" fmla="*/ 754026 w 12117871"/>
                <a:gd name="connsiteY7378" fmla="*/ 441242 h 6072780"/>
                <a:gd name="connsiteX7379" fmla="*/ 716861 w 12117871"/>
                <a:gd name="connsiteY7379" fmla="*/ 356082 h 6072780"/>
                <a:gd name="connsiteX7380" fmla="*/ 95256 w 12117871"/>
                <a:gd name="connsiteY7380" fmla="*/ 356082 h 6072780"/>
                <a:gd name="connsiteX7381" fmla="*/ 55985 w 12117871"/>
                <a:gd name="connsiteY7381" fmla="*/ 442596 h 6072780"/>
                <a:gd name="connsiteX7382" fmla="*/ 94502 w 12117871"/>
                <a:gd name="connsiteY7382" fmla="*/ 523543 h 6072780"/>
                <a:gd name="connsiteX7383" fmla="*/ 132418 w 12117871"/>
                <a:gd name="connsiteY7383" fmla="*/ 441242 h 6072780"/>
                <a:gd name="connsiteX7384" fmla="*/ 95256 w 12117871"/>
                <a:gd name="connsiteY7384" fmla="*/ 356082 h 6072780"/>
                <a:gd name="connsiteX7385" fmla="*/ 11998974 w 12117871"/>
                <a:gd name="connsiteY7385" fmla="*/ 328247 h 6072780"/>
                <a:gd name="connsiteX7386" fmla="*/ 12070141 w 12117871"/>
                <a:gd name="connsiteY7386" fmla="*/ 438834 h 6072780"/>
                <a:gd name="connsiteX7387" fmla="*/ 12050055 w 12117871"/>
                <a:gd name="connsiteY7387" fmla="*/ 522414 h 6072780"/>
                <a:gd name="connsiteX7388" fmla="*/ 11993858 w 12117871"/>
                <a:gd name="connsiteY7388" fmla="*/ 551227 h 6072780"/>
                <a:gd name="connsiteX7389" fmla="*/ 11941273 w 12117871"/>
                <a:gd name="connsiteY7389" fmla="*/ 523693 h 6072780"/>
                <a:gd name="connsiteX7390" fmla="*/ 11922390 w 12117871"/>
                <a:gd name="connsiteY7390" fmla="*/ 444101 h 6072780"/>
                <a:gd name="connsiteX7391" fmla="*/ 11942100 w 12117871"/>
                <a:gd name="connsiteY7391" fmla="*/ 357586 h 6072780"/>
                <a:gd name="connsiteX7392" fmla="*/ 11998974 w 12117871"/>
                <a:gd name="connsiteY7392" fmla="*/ 328247 h 6072780"/>
                <a:gd name="connsiteX7393" fmla="*/ 11782464 w 12117871"/>
                <a:gd name="connsiteY7393" fmla="*/ 328247 h 6072780"/>
                <a:gd name="connsiteX7394" fmla="*/ 11853631 w 12117871"/>
                <a:gd name="connsiteY7394" fmla="*/ 438834 h 6072780"/>
                <a:gd name="connsiteX7395" fmla="*/ 11833545 w 12117871"/>
                <a:gd name="connsiteY7395" fmla="*/ 522414 h 6072780"/>
                <a:gd name="connsiteX7396" fmla="*/ 11777348 w 12117871"/>
                <a:gd name="connsiteY7396" fmla="*/ 551227 h 6072780"/>
                <a:gd name="connsiteX7397" fmla="*/ 11724763 w 12117871"/>
                <a:gd name="connsiteY7397" fmla="*/ 523693 h 6072780"/>
                <a:gd name="connsiteX7398" fmla="*/ 11705880 w 12117871"/>
                <a:gd name="connsiteY7398" fmla="*/ 444101 h 6072780"/>
                <a:gd name="connsiteX7399" fmla="*/ 11725590 w 12117871"/>
                <a:gd name="connsiteY7399" fmla="*/ 357586 h 6072780"/>
                <a:gd name="connsiteX7400" fmla="*/ 11782464 w 12117871"/>
                <a:gd name="connsiteY7400" fmla="*/ 328247 h 6072780"/>
                <a:gd name="connsiteX7401" fmla="*/ 11630909 w 12117871"/>
                <a:gd name="connsiteY7401" fmla="*/ 328247 h 6072780"/>
                <a:gd name="connsiteX7402" fmla="*/ 11645815 w 12117871"/>
                <a:gd name="connsiteY7402" fmla="*/ 328247 h 6072780"/>
                <a:gd name="connsiteX7403" fmla="*/ 11645815 w 12117871"/>
                <a:gd name="connsiteY7403" fmla="*/ 551227 h 6072780"/>
                <a:gd name="connsiteX7404" fmla="*/ 11610527 w 12117871"/>
                <a:gd name="connsiteY7404" fmla="*/ 551227 h 6072780"/>
                <a:gd name="connsiteX7405" fmla="*/ 11610527 w 12117871"/>
                <a:gd name="connsiteY7405" fmla="*/ 371444 h 6072780"/>
                <a:gd name="connsiteX7406" fmla="*/ 11589918 w 12117871"/>
                <a:gd name="connsiteY7406" fmla="*/ 383079 h 6072780"/>
                <a:gd name="connsiteX7407" fmla="*/ 11564745 w 12117871"/>
                <a:gd name="connsiteY7407" fmla="*/ 391521 h 6072780"/>
                <a:gd name="connsiteX7408" fmla="*/ 11564745 w 12117871"/>
                <a:gd name="connsiteY7408" fmla="*/ 361405 h 6072780"/>
                <a:gd name="connsiteX7409" fmla="*/ 11581780 w 12117871"/>
                <a:gd name="connsiteY7409" fmla="*/ 355321 h 6072780"/>
                <a:gd name="connsiteX7410" fmla="*/ 11597979 w 12117871"/>
                <a:gd name="connsiteY7410" fmla="*/ 348172 h 6072780"/>
                <a:gd name="connsiteX7411" fmla="*/ 11614102 w 12117871"/>
                <a:gd name="connsiteY7411" fmla="*/ 339350 h 6072780"/>
                <a:gd name="connsiteX7412" fmla="*/ 11630909 w 12117871"/>
                <a:gd name="connsiteY7412" fmla="*/ 328247 h 6072780"/>
                <a:gd name="connsiteX7413" fmla="*/ 11328134 w 12117871"/>
                <a:gd name="connsiteY7413" fmla="*/ 328247 h 6072780"/>
                <a:gd name="connsiteX7414" fmla="*/ 11343040 w 12117871"/>
                <a:gd name="connsiteY7414" fmla="*/ 328247 h 6072780"/>
                <a:gd name="connsiteX7415" fmla="*/ 11343040 w 12117871"/>
                <a:gd name="connsiteY7415" fmla="*/ 551227 h 6072780"/>
                <a:gd name="connsiteX7416" fmla="*/ 11307752 w 12117871"/>
                <a:gd name="connsiteY7416" fmla="*/ 551227 h 6072780"/>
                <a:gd name="connsiteX7417" fmla="*/ 11307752 w 12117871"/>
                <a:gd name="connsiteY7417" fmla="*/ 371444 h 6072780"/>
                <a:gd name="connsiteX7418" fmla="*/ 11287143 w 12117871"/>
                <a:gd name="connsiteY7418" fmla="*/ 383079 h 6072780"/>
                <a:gd name="connsiteX7419" fmla="*/ 11261970 w 12117871"/>
                <a:gd name="connsiteY7419" fmla="*/ 391521 h 6072780"/>
                <a:gd name="connsiteX7420" fmla="*/ 11261970 w 12117871"/>
                <a:gd name="connsiteY7420" fmla="*/ 361405 h 6072780"/>
                <a:gd name="connsiteX7421" fmla="*/ 11279005 w 12117871"/>
                <a:gd name="connsiteY7421" fmla="*/ 355321 h 6072780"/>
                <a:gd name="connsiteX7422" fmla="*/ 11295204 w 12117871"/>
                <a:gd name="connsiteY7422" fmla="*/ 348172 h 6072780"/>
                <a:gd name="connsiteX7423" fmla="*/ 11311327 w 12117871"/>
                <a:gd name="connsiteY7423" fmla="*/ 339350 h 6072780"/>
                <a:gd name="connsiteX7424" fmla="*/ 11328134 w 12117871"/>
                <a:gd name="connsiteY7424" fmla="*/ 328247 h 6072780"/>
                <a:gd name="connsiteX7425" fmla="*/ 10950970 w 12117871"/>
                <a:gd name="connsiteY7425" fmla="*/ 328247 h 6072780"/>
                <a:gd name="connsiteX7426" fmla="*/ 10965876 w 12117871"/>
                <a:gd name="connsiteY7426" fmla="*/ 328247 h 6072780"/>
                <a:gd name="connsiteX7427" fmla="*/ 10965876 w 12117871"/>
                <a:gd name="connsiteY7427" fmla="*/ 551227 h 6072780"/>
                <a:gd name="connsiteX7428" fmla="*/ 10930588 w 12117871"/>
                <a:gd name="connsiteY7428" fmla="*/ 551227 h 6072780"/>
                <a:gd name="connsiteX7429" fmla="*/ 10930588 w 12117871"/>
                <a:gd name="connsiteY7429" fmla="*/ 371444 h 6072780"/>
                <a:gd name="connsiteX7430" fmla="*/ 10909979 w 12117871"/>
                <a:gd name="connsiteY7430" fmla="*/ 383079 h 6072780"/>
                <a:gd name="connsiteX7431" fmla="*/ 10884806 w 12117871"/>
                <a:gd name="connsiteY7431" fmla="*/ 391521 h 6072780"/>
                <a:gd name="connsiteX7432" fmla="*/ 10884806 w 12117871"/>
                <a:gd name="connsiteY7432" fmla="*/ 361405 h 6072780"/>
                <a:gd name="connsiteX7433" fmla="*/ 10901841 w 12117871"/>
                <a:gd name="connsiteY7433" fmla="*/ 355321 h 6072780"/>
                <a:gd name="connsiteX7434" fmla="*/ 10918040 w 12117871"/>
                <a:gd name="connsiteY7434" fmla="*/ 348172 h 6072780"/>
                <a:gd name="connsiteX7435" fmla="*/ 10934163 w 12117871"/>
                <a:gd name="connsiteY7435" fmla="*/ 339350 h 6072780"/>
                <a:gd name="connsiteX7436" fmla="*/ 10950970 w 12117871"/>
                <a:gd name="connsiteY7436" fmla="*/ 328247 h 6072780"/>
                <a:gd name="connsiteX7437" fmla="*/ 10802113 w 12117871"/>
                <a:gd name="connsiteY7437" fmla="*/ 328247 h 6072780"/>
                <a:gd name="connsiteX7438" fmla="*/ 10817019 w 12117871"/>
                <a:gd name="connsiteY7438" fmla="*/ 328247 h 6072780"/>
                <a:gd name="connsiteX7439" fmla="*/ 10817019 w 12117871"/>
                <a:gd name="connsiteY7439" fmla="*/ 551227 h 6072780"/>
                <a:gd name="connsiteX7440" fmla="*/ 10781731 w 12117871"/>
                <a:gd name="connsiteY7440" fmla="*/ 551227 h 6072780"/>
                <a:gd name="connsiteX7441" fmla="*/ 10781731 w 12117871"/>
                <a:gd name="connsiteY7441" fmla="*/ 371444 h 6072780"/>
                <a:gd name="connsiteX7442" fmla="*/ 10761122 w 12117871"/>
                <a:gd name="connsiteY7442" fmla="*/ 383079 h 6072780"/>
                <a:gd name="connsiteX7443" fmla="*/ 10735949 w 12117871"/>
                <a:gd name="connsiteY7443" fmla="*/ 391521 h 6072780"/>
                <a:gd name="connsiteX7444" fmla="*/ 10735949 w 12117871"/>
                <a:gd name="connsiteY7444" fmla="*/ 361405 h 6072780"/>
                <a:gd name="connsiteX7445" fmla="*/ 10752984 w 12117871"/>
                <a:gd name="connsiteY7445" fmla="*/ 355321 h 6072780"/>
                <a:gd name="connsiteX7446" fmla="*/ 10769183 w 12117871"/>
                <a:gd name="connsiteY7446" fmla="*/ 348172 h 6072780"/>
                <a:gd name="connsiteX7447" fmla="*/ 10785306 w 12117871"/>
                <a:gd name="connsiteY7447" fmla="*/ 339350 h 6072780"/>
                <a:gd name="connsiteX7448" fmla="*/ 10802113 w 12117871"/>
                <a:gd name="connsiteY7448" fmla="*/ 328247 h 6072780"/>
                <a:gd name="connsiteX7449" fmla="*/ 10648195 w 12117871"/>
                <a:gd name="connsiteY7449" fmla="*/ 328247 h 6072780"/>
                <a:gd name="connsiteX7450" fmla="*/ 10663101 w 12117871"/>
                <a:gd name="connsiteY7450" fmla="*/ 328247 h 6072780"/>
                <a:gd name="connsiteX7451" fmla="*/ 10663101 w 12117871"/>
                <a:gd name="connsiteY7451" fmla="*/ 551227 h 6072780"/>
                <a:gd name="connsiteX7452" fmla="*/ 10627813 w 12117871"/>
                <a:gd name="connsiteY7452" fmla="*/ 551227 h 6072780"/>
                <a:gd name="connsiteX7453" fmla="*/ 10627813 w 12117871"/>
                <a:gd name="connsiteY7453" fmla="*/ 371444 h 6072780"/>
                <a:gd name="connsiteX7454" fmla="*/ 10607204 w 12117871"/>
                <a:gd name="connsiteY7454" fmla="*/ 383079 h 6072780"/>
                <a:gd name="connsiteX7455" fmla="*/ 10582031 w 12117871"/>
                <a:gd name="connsiteY7455" fmla="*/ 391521 h 6072780"/>
                <a:gd name="connsiteX7456" fmla="*/ 10582031 w 12117871"/>
                <a:gd name="connsiteY7456" fmla="*/ 361405 h 6072780"/>
                <a:gd name="connsiteX7457" fmla="*/ 10599066 w 12117871"/>
                <a:gd name="connsiteY7457" fmla="*/ 355321 h 6072780"/>
                <a:gd name="connsiteX7458" fmla="*/ 10615265 w 12117871"/>
                <a:gd name="connsiteY7458" fmla="*/ 348172 h 6072780"/>
                <a:gd name="connsiteX7459" fmla="*/ 10631388 w 12117871"/>
                <a:gd name="connsiteY7459" fmla="*/ 339350 h 6072780"/>
                <a:gd name="connsiteX7460" fmla="*/ 10648195 w 12117871"/>
                <a:gd name="connsiteY7460" fmla="*/ 328247 h 6072780"/>
                <a:gd name="connsiteX7461" fmla="*/ 10499338 w 12117871"/>
                <a:gd name="connsiteY7461" fmla="*/ 328247 h 6072780"/>
                <a:gd name="connsiteX7462" fmla="*/ 10514244 w 12117871"/>
                <a:gd name="connsiteY7462" fmla="*/ 328247 h 6072780"/>
                <a:gd name="connsiteX7463" fmla="*/ 10514244 w 12117871"/>
                <a:gd name="connsiteY7463" fmla="*/ 551227 h 6072780"/>
                <a:gd name="connsiteX7464" fmla="*/ 10478956 w 12117871"/>
                <a:gd name="connsiteY7464" fmla="*/ 551227 h 6072780"/>
                <a:gd name="connsiteX7465" fmla="*/ 10478956 w 12117871"/>
                <a:gd name="connsiteY7465" fmla="*/ 371444 h 6072780"/>
                <a:gd name="connsiteX7466" fmla="*/ 10458347 w 12117871"/>
                <a:gd name="connsiteY7466" fmla="*/ 383079 h 6072780"/>
                <a:gd name="connsiteX7467" fmla="*/ 10433174 w 12117871"/>
                <a:gd name="connsiteY7467" fmla="*/ 391521 h 6072780"/>
                <a:gd name="connsiteX7468" fmla="*/ 10433174 w 12117871"/>
                <a:gd name="connsiteY7468" fmla="*/ 361405 h 6072780"/>
                <a:gd name="connsiteX7469" fmla="*/ 10450209 w 12117871"/>
                <a:gd name="connsiteY7469" fmla="*/ 355321 h 6072780"/>
                <a:gd name="connsiteX7470" fmla="*/ 10466408 w 12117871"/>
                <a:gd name="connsiteY7470" fmla="*/ 348172 h 6072780"/>
                <a:gd name="connsiteX7471" fmla="*/ 10482531 w 12117871"/>
                <a:gd name="connsiteY7471" fmla="*/ 339350 h 6072780"/>
                <a:gd name="connsiteX7472" fmla="*/ 10499338 w 12117871"/>
                <a:gd name="connsiteY7472" fmla="*/ 328247 h 6072780"/>
                <a:gd name="connsiteX7473" fmla="*/ 9777947 w 12117871"/>
                <a:gd name="connsiteY7473" fmla="*/ 328247 h 6072780"/>
                <a:gd name="connsiteX7474" fmla="*/ 9792853 w 12117871"/>
                <a:gd name="connsiteY7474" fmla="*/ 328247 h 6072780"/>
                <a:gd name="connsiteX7475" fmla="*/ 9792853 w 12117871"/>
                <a:gd name="connsiteY7475" fmla="*/ 551227 h 6072780"/>
                <a:gd name="connsiteX7476" fmla="*/ 9757565 w 12117871"/>
                <a:gd name="connsiteY7476" fmla="*/ 551227 h 6072780"/>
                <a:gd name="connsiteX7477" fmla="*/ 9757565 w 12117871"/>
                <a:gd name="connsiteY7477" fmla="*/ 371444 h 6072780"/>
                <a:gd name="connsiteX7478" fmla="*/ 9736956 w 12117871"/>
                <a:gd name="connsiteY7478" fmla="*/ 383079 h 6072780"/>
                <a:gd name="connsiteX7479" fmla="*/ 9711783 w 12117871"/>
                <a:gd name="connsiteY7479" fmla="*/ 391521 h 6072780"/>
                <a:gd name="connsiteX7480" fmla="*/ 9711783 w 12117871"/>
                <a:gd name="connsiteY7480" fmla="*/ 361405 h 6072780"/>
                <a:gd name="connsiteX7481" fmla="*/ 9728818 w 12117871"/>
                <a:gd name="connsiteY7481" fmla="*/ 355321 h 6072780"/>
                <a:gd name="connsiteX7482" fmla="*/ 9745017 w 12117871"/>
                <a:gd name="connsiteY7482" fmla="*/ 348172 h 6072780"/>
                <a:gd name="connsiteX7483" fmla="*/ 9761140 w 12117871"/>
                <a:gd name="connsiteY7483" fmla="*/ 339350 h 6072780"/>
                <a:gd name="connsiteX7484" fmla="*/ 9777947 w 12117871"/>
                <a:gd name="connsiteY7484" fmla="*/ 328247 h 6072780"/>
                <a:gd name="connsiteX7485" fmla="*/ 9629090 w 12117871"/>
                <a:gd name="connsiteY7485" fmla="*/ 328247 h 6072780"/>
                <a:gd name="connsiteX7486" fmla="*/ 9643996 w 12117871"/>
                <a:gd name="connsiteY7486" fmla="*/ 328247 h 6072780"/>
                <a:gd name="connsiteX7487" fmla="*/ 9643996 w 12117871"/>
                <a:gd name="connsiteY7487" fmla="*/ 551227 h 6072780"/>
                <a:gd name="connsiteX7488" fmla="*/ 9608708 w 12117871"/>
                <a:gd name="connsiteY7488" fmla="*/ 551227 h 6072780"/>
                <a:gd name="connsiteX7489" fmla="*/ 9608708 w 12117871"/>
                <a:gd name="connsiteY7489" fmla="*/ 371444 h 6072780"/>
                <a:gd name="connsiteX7490" fmla="*/ 9588099 w 12117871"/>
                <a:gd name="connsiteY7490" fmla="*/ 383079 h 6072780"/>
                <a:gd name="connsiteX7491" fmla="*/ 9562926 w 12117871"/>
                <a:gd name="connsiteY7491" fmla="*/ 391521 h 6072780"/>
                <a:gd name="connsiteX7492" fmla="*/ 9562926 w 12117871"/>
                <a:gd name="connsiteY7492" fmla="*/ 361405 h 6072780"/>
                <a:gd name="connsiteX7493" fmla="*/ 9579961 w 12117871"/>
                <a:gd name="connsiteY7493" fmla="*/ 355321 h 6072780"/>
                <a:gd name="connsiteX7494" fmla="*/ 9596160 w 12117871"/>
                <a:gd name="connsiteY7494" fmla="*/ 348172 h 6072780"/>
                <a:gd name="connsiteX7495" fmla="*/ 9612283 w 12117871"/>
                <a:gd name="connsiteY7495" fmla="*/ 339350 h 6072780"/>
                <a:gd name="connsiteX7496" fmla="*/ 9629090 w 12117871"/>
                <a:gd name="connsiteY7496" fmla="*/ 328247 h 6072780"/>
                <a:gd name="connsiteX7497" fmla="*/ 8825985 w 12117871"/>
                <a:gd name="connsiteY7497" fmla="*/ 328247 h 6072780"/>
                <a:gd name="connsiteX7498" fmla="*/ 8840891 w 12117871"/>
                <a:gd name="connsiteY7498" fmla="*/ 328247 h 6072780"/>
                <a:gd name="connsiteX7499" fmla="*/ 8840891 w 12117871"/>
                <a:gd name="connsiteY7499" fmla="*/ 551227 h 6072780"/>
                <a:gd name="connsiteX7500" fmla="*/ 8805603 w 12117871"/>
                <a:gd name="connsiteY7500" fmla="*/ 551227 h 6072780"/>
                <a:gd name="connsiteX7501" fmla="*/ 8805603 w 12117871"/>
                <a:gd name="connsiteY7501" fmla="*/ 371444 h 6072780"/>
                <a:gd name="connsiteX7502" fmla="*/ 8784994 w 12117871"/>
                <a:gd name="connsiteY7502" fmla="*/ 383079 h 6072780"/>
                <a:gd name="connsiteX7503" fmla="*/ 8759821 w 12117871"/>
                <a:gd name="connsiteY7503" fmla="*/ 391521 h 6072780"/>
                <a:gd name="connsiteX7504" fmla="*/ 8759821 w 12117871"/>
                <a:gd name="connsiteY7504" fmla="*/ 361405 h 6072780"/>
                <a:gd name="connsiteX7505" fmla="*/ 8776856 w 12117871"/>
                <a:gd name="connsiteY7505" fmla="*/ 355321 h 6072780"/>
                <a:gd name="connsiteX7506" fmla="*/ 8793055 w 12117871"/>
                <a:gd name="connsiteY7506" fmla="*/ 348172 h 6072780"/>
                <a:gd name="connsiteX7507" fmla="*/ 8809178 w 12117871"/>
                <a:gd name="connsiteY7507" fmla="*/ 339350 h 6072780"/>
                <a:gd name="connsiteX7508" fmla="*/ 8825985 w 12117871"/>
                <a:gd name="connsiteY7508" fmla="*/ 328247 h 6072780"/>
                <a:gd name="connsiteX7509" fmla="*/ 8447378 w 12117871"/>
                <a:gd name="connsiteY7509" fmla="*/ 328247 h 6072780"/>
                <a:gd name="connsiteX7510" fmla="*/ 8462284 w 12117871"/>
                <a:gd name="connsiteY7510" fmla="*/ 328247 h 6072780"/>
                <a:gd name="connsiteX7511" fmla="*/ 8462284 w 12117871"/>
                <a:gd name="connsiteY7511" fmla="*/ 551227 h 6072780"/>
                <a:gd name="connsiteX7512" fmla="*/ 8426996 w 12117871"/>
                <a:gd name="connsiteY7512" fmla="*/ 551227 h 6072780"/>
                <a:gd name="connsiteX7513" fmla="*/ 8426996 w 12117871"/>
                <a:gd name="connsiteY7513" fmla="*/ 371444 h 6072780"/>
                <a:gd name="connsiteX7514" fmla="*/ 8406387 w 12117871"/>
                <a:gd name="connsiteY7514" fmla="*/ 383079 h 6072780"/>
                <a:gd name="connsiteX7515" fmla="*/ 8381214 w 12117871"/>
                <a:gd name="connsiteY7515" fmla="*/ 391521 h 6072780"/>
                <a:gd name="connsiteX7516" fmla="*/ 8381214 w 12117871"/>
                <a:gd name="connsiteY7516" fmla="*/ 361405 h 6072780"/>
                <a:gd name="connsiteX7517" fmla="*/ 8398249 w 12117871"/>
                <a:gd name="connsiteY7517" fmla="*/ 355321 h 6072780"/>
                <a:gd name="connsiteX7518" fmla="*/ 8414448 w 12117871"/>
                <a:gd name="connsiteY7518" fmla="*/ 348172 h 6072780"/>
                <a:gd name="connsiteX7519" fmla="*/ 8430571 w 12117871"/>
                <a:gd name="connsiteY7519" fmla="*/ 339350 h 6072780"/>
                <a:gd name="connsiteX7520" fmla="*/ 8447378 w 12117871"/>
                <a:gd name="connsiteY7520" fmla="*/ 328247 h 6072780"/>
                <a:gd name="connsiteX7521" fmla="*/ 8298521 w 12117871"/>
                <a:gd name="connsiteY7521" fmla="*/ 328247 h 6072780"/>
                <a:gd name="connsiteX7522" fmla="*/ 8313427 w 12117871"/>
                <a:gd name="connsiteY7522" fmla="*/ 328247 h 6072780"/>
                <a:gd name="connsiteX7523" fmla="*/ 8313427 w 12117871"/>
                <a:gd name="connsiteY7523" fmla="*/ 551227 h 6072780"/>
                <a:gd name="connsiteX7524" fmla="*/ 8278139 w 12117871"/>
                <a:gd name="connsiteY7524" fmla="*/ 551227 h 6072780"/>
                <a:gd name="connsiteX7525" fmla="*/ 8278139 w 12117871"/>
                <a:gd name="connsiteY7525" fmla="*/ 371444 h 6072780"/>
                <a:gd name="connsiteX7526" fmla="*/ 8257530 w 12117871"/>
                <a:gd name="connsiteY7526" fmla="*/ 383079 h 6072780"/>
                <a:gd name="connsiteX7527" fmla="*/ 8232357 w 12117871"/>
                <a:gd name="connsiteY7527" fmla="*/ 391521 h 6072780"/>
                <a:gd name="connsiteX7528" fmla="*/ 8232357 w 12117871"/>
                <a:gd name="connsiteY7528" fmla="*/ 361405 h 6072780"/>
                <a:gd name="connsiteX7529" fmla="*/ 8249392 w 12117871"/>
                <a:gd name="connsiteY7529" fmla="*/ 355321 h 6072780"/>
                <a:gd name="connsiteX7530" fmla="*/ 8265591 w 12117871"/>
                <a:gd name="connsiteY7530" fmla="*/ 348172 h 6072780"/>
                <a:gd name="connsiteX7531" fmla="*/ 8281714 w 12117871"/>
                <a:gd name="connsiteY7531" fmla="*/ 339350 h 6072780"/>
                <a:gd name="connsiteX7532" fmla="*/ 8298521 w 12117871"/>
                <a:gd name="connsiteY7532" fmla="*/ 328247 h 6072780"/>
                <a:gd name="connsiteX7533" fmla="*/ 8144603 w 12117871"/>
                <a:gd name="connsiteY7533" fmla="*/ 328247 h 6072780"/>
                <a:gd name="connsiteX7534" fmla="*/ 8159509 w 12117871"/>
                <a:gd name="connsiteY7534" fmla="*/ 328247 h 6072780"/>
                <a:gd name="connsiteX7535" fmla="*/ 8159509 w 12117871"/>
                <a:gd name="connsiteY7535" fmla="*/ 551227 h 6072780"/>
                <a:gd name="connsiteX7536" fmla="*/ 8124221 w 12117871"/>
                <a:gd name="connsiteY7536" fmla="*/ 551227 h 6072780"/>
                <a:gd name="connsiteX7537" fmla="*/ 8124221 w 12117871"/>
                <a:gd name="connsiteY7537" fmla="*/ 371444 h 6072780"/>
                <a:gd name="connsiteX7538" fmla="*/ 8103612 w 12117871"/>
                <a:gd name="connsiteY7538" fmla="*/ 383079 h 6072780"/>
                <a:gd name="connsiteX7539" fmla="*/ 8078439 w 12117871"/>
                <a:gd name="connsiteY7539" fmla="*/ 391521 h 6072780"/>
                <a:gd name="connsiteX7540" fmla="*/ 8078439 w 12117871"/>
                <a:gd name="connsiteY7540" fmla="*/ 361405 h 6072780"/>
                <a:gd name="connsiteX7541" fmla="*/ 8095474 w 12117871"/>
                <a:gd name="connsiteY7541" fmla="*/ 355321 h 6072780"/>
                <a:gd name="connsiteX7542" fmla="*/ 8111673 w 12117871"/>
                <a:gd name="connsiteY7542" fmla="*/ 348172 h 6072780"/>
                <a:gd name="connsiteX7543" fmla="*/ 8127796 w 12117871"/>
                <a:gd name="connsiteY7543" fmla="*/ 339350 h 6072780"/>
                <a:gd name="connsiteX7544" fmla="*/ 8144603 w 12117871"/>
                <a:gd name="connsiteY7544" fmla="*/ 328247 h 6072780"/>
                <a:gd name="connsiteX7545" fmla="*/ 7995746 w 12117871"/>
                <a:gd name="connsiteY7545" fmla="*/ 328247 h 6072780"/>
                <a:gd name="connsiteX7546" fmla="*/ 8010652 w 12117871"/>
                <a:gd name="connsiteY7546" fmla="*/ 328247 h 6072780"/>
                <a:gd name="connsiteX7547" fmla="*/ 8010652 w 12117871"/>
                <a:gd name="connsiteY7547" fmla="*/ 551227 h 6072780"/>
                <a:gd name="connsiteX7548" fmla="*/ 7975364 w 12117871"/>
                <a:gd name="connsiteY7548" fmla="*/ 551227 h 6072780"/>
                <a:gd name="connsiteX7549" fmla="*/ 7975364 w 12117871"/>
                <a:gd name="connsiteY7549" fmla="*/ 371444 h 6072780"/>
                <a:gd name="connsiteX7550" fmla="*/ 7954755 w 12117871"/>
                <a:gd name="connsiteY7550" fmla="*/ 383079 h 6072780"/>
                <a:gd name="connsiteX7551" fmla="*/ 7929582 w 12117871"/>
                <a:gd name="connsiteY7551" fmla="*/ 391521 h 6072780"/>
                <a:gd name="connsiteX7552" fmla="*/ 7929582 w 12117871"/>
                <a:gd name="connsiteY7552" fmla="*/ 361405 h 6072780"/>
                <a:gd name="connsiteX7553" fmla="*/ 7946617 w 12117871"/>
                <a:gd name="connsiteY7553" fmla="*/ 355321 h 6072780"/>
                <a:gd name="connsiteX7554" fmla="*/ 7962816 w 12117871"/>
                <a:gd name="connsiteY7554" fmla="*/ 348172 h 6072780"/>
                <a:gd name="connsiteX7555" fmla="*/ 7978939 w 12117871"/>
                <a:gd name="connsiteY7555" fmla="*/ 339350 h 6072780"/>
                <a:gd name="connsiteX7556" fmla="*/ 7995746 w 12117871"/>
                <a:gd name="connsiteY7556" fmla="*/ 328247 h 6072780"/>
                <a:gd name="connsiteX7557" fmla="*/ 7846889 w 12117871"/>
                <a:gd name="connsiteY7557" fmla="*/ 328247 h 6072780"/>
                <a:gd name="connsiteX7558" fmla="*/ 7861795 w 12117871"/>
                <a:gd name="connsiteY7558" fmla="*/ 328247 h 6072780"/>
                <a:gd name="connsiteX7559" fmla="*/ 7861795 w 12117871"/>
                <a:gd name="connsiteY7559" fmla="*/ 551227 h 6072780"/>
                <a:gd name="connsiteX7560" fmla="*/ 7826507 w 12117871"/>
                <a:gd name="connsiteY7560" fmla="*/ 551227 h 6072780"/>
                <a:gd name="connsiteX7561" fmla="*/ 7826507 w 12117871"/>
                <a:gd name="connsiteY7561" fmla="*/ 371444 h 6072780"/>
                <a:gd name="connsiteX7562" fmla="*/ 7805898 w 12117871"/>
                <a:gd name="connsiteY7562" fmla="*/ 383079 h 6072780"/>
                <a:gd name="connsiteX7563" fmla="*/ 7780725 w 12117871"/>
                <a:gd name="connsiteY7563" fmla="*/ 391521 h 6072780"/>
                <a:gd name="connsiteX7564" fmla="*/ 7780725 w 12117871"/>
                <a:gd name="connsiteY7564" fmla="*/ 361405 h 6072780"/>
                <a:gd name="connsiteX7565" fmla="*/ 7797760 w 12117871"/>
                <a:gd name="connsiteY7565" fmla="*/ 355321 h 6072780"/>
                <a:gd name="connsiteX7566" fmla="*/ 7813959 w 12117871"/>
                <a:gd name="connsiteY7566" fmla="*/ 348172 h 6072780"/>
                <a:gd name="connsiteX7567" fmla="*/ 7830082 w 12117871"/>
                <a:gd name="connsiteY7567" fmla="*/ 339350 h 6072780"/>
                <a:gd name="connsiteX7568" fmla="*/ 7846889 w 12117871"/>
                <a:gd name="connsiteY7568" fmla="*/ 328247 h 6072780"/>
                <a:gd name="connsiteX7569" fmla="*/ 7494802 w 12117871"/>
                <a:gd name="connsiteY7569" fmla="*/ 328247 h 6072780"/>
                <a:gd name="connsiteX7570" fmla="*/ 7509708 w 12117871"/>
                <a:gd name="connsiteY7570" fmla="*/ 328247 h 6072780"/>
                <a:gd name="connsiteX7571" fmla="*/ 7509708 w 12117871"/>
                <a:gd name="connsiteY7571" fmla="*/ 551227 h 6072780"/>
                <a:gd name="connsiteX7572" fmla="*/ 7474420 w 12117871"/>
                <a:gd name="connsiteY7572" fmla="*/ 551227 h 6072780"/>
                <a:gd name="connsiteX7573" fmla="*/ 7474420 w 12117871"/>
                <a:gd name="connsiteY7573" fmla="*/ 371444 h 6072780"/>
                <a:gd name="connsiteX7574" fmla="*/ 7453811 w 12117871"/>
                <a:gd name="connsiteY7574" fmla="*/ 383079 h 6072780"/>
                <a:gd name="connsiteX7575" fmla="*/ 7428638 w 12117871"/>
                <a:gd name="connsiteY7575" fmla="*/ 391521 h 6072780"/>
                <a:gd name="connsiteX7576" fmla="*/ 7428638 w 12117871"/>
                <a:gd name="connsiteY7576" fmla="*/ 361405 h 6072780"/>
                <a:gd name="connsiteX7577" fmla="*/ 7445673 w 12117871"/>
                <a:gd name="connsiteY7577" fmla="*/ 355321 h 6072780"/>
                <a:gd name="connsiteX7578" fmla="*/ 7461872 w 12117871"/>
                <a:gd name="connsiteY7578" fmla="*/ 348172 h 6072780"/>
                <a:gd name="connsiteX7579" fmla="*/ 7477995 w 12117871"/>
                <a:gd name="connsiteY7579" fmla="*/ 339350 h 6072780"/>
                <a:gd name="connsiteX7580" fmla="*/ 7494802 w 12117871"/>
                <a:gd name="connsiteY7580" fmla="*/ 328247 h 6072780"/>
                <a:gd name="connsiteX7581" fmla="*/ 7197088 w 12117871"/>
                <a:gd name="connsiteY7581" fmla="*/ 328247 h 6072780"/>
                <a:gd name="connsiteX7582" fmla="*/ 7211994 w 12117871"/>
                <a:gd name="connsiteY7582" fmla="*/ 328247 h 6072780"/>
                <a:gd name="connsiteX7583" fmla="*/ 7211994 w 12117871"/>
                <a:gd name="connsiteY7583" fmla="*/ 551227 h 6072780"/>
                <a:gd name="connsiteX7584" fmla="*/ 7176706 w 12117871"/>
                <a:gd name="connsiteY7584" fmla="*/ 551227 h 6072780"/>
                <a:gd name="connsiteX7585" fmla="*/ 7176706 w 12117871"/>
                <a:gd name="connsiteY7585" fmla="*/ 371444 h 6072780"/>
                <a:gd name="connsiteX7586" fmla="*/ 7156097 w 12117871"/>
                <a:gd name="connsiteY7586" fmla="*/ 383079 h 6072780"/>
                <a:gd name="connsiteX7587" fmla="*/ 7130924 w 12117871"/>
                <a:gd name="connsiteY7587" fmla="*/ 391521 h 6072780"/>
                <a:gd name="connsiteX7588" fmla="*/ 7130924 w 12117871"/>
                <a:gd name="connsiteY7588" fmla="*/ 361405 h 6072780"/>
                <a:gd name="connsiteX7589" fmla="*/ 7147959 w 12117871"/>
                <a:gd name="connsiteY7589" fmla="*/ 355321 h 6072780"/>
                <a:gd name="connsiteX7590" fmla="*/ 7164158 w 12117871"/>
                <a:gd name="connsiteY7590" fmla="*/ 348172 h 6072780"/>
                <a:gd name="connsiteX7591" fmla="*/ 7180281 w 12117871"/>
                <a:gd name="connsiteY7591" fmla="*/ 339350 h 6072780"/>
                <a:gd name="connsiteX7592" fmla="*/ 7197088 w 12117871"/>
                <a:gd name="connsiteY7592" fmla="*/ 328247 h 6072780"/>
                <a:gd name="connsiteX7593" fmla="*/ 6987676 w 12117871"/>
                <a:gd name="connsiteY7593" fmla="*/ 328247 h 6072780"/>
                <a:gd name="connsiteX7594" fmla="*/ 7058843 w 12117871"/>
                <a:gd name="connsiteY7594" fmla="*/ 438834 h 6072780"/>
                <a:gd name="connsiteX7595" fmla="*/ 7038757 w 12117871"/>
                <a:gd name="connsiteY7595" fmla="*/ 522414 h 6072780"/>
                <a:gd name="connsiteX7596" fmla="*/ 6982560 w 12117871"/>
                <a:gd name="connsiteY7596" fmla="*/ 551227 h 6072780"/>
                <a:gd name="connsiteX7597" fmla="*/ 6929975 w 12117871"/>
                <a:gd name="connsiteY7597" fmla="*/ 523693 h 6072780"/>
                <a:gd name="connsiteX7598" fmla="*/ 6911092 w 12117871"/>
                <a:gd name="connsiteY7598" fmla="*/ 444101 h 6072780"/>
                <a:gd name="connsiteX7599" fmla="*/ 6930802 w 12117871"/>
                <a:gd name="connsiteY7599" fmla="*/ 357586 h 6072780"/>
                <a:gd name="connsiteX7600" fmla="*/ 6987676 w 12117871"/>
                <a:gd name="connsiteY7600" fmla="*/ 328247 h 6072780"/>
                <a:gd name="connsiteX7601" fmla="*/ 6771166 w 12117871"/>
                <a:gd name="connsiteY7601" fmla="*/ 328247 h 6072780"/>
                <a:gd name="connsiteX7602" fmla="*/ 6842333 w 12117871"/>
                <a:gd name="connsiteY7602" fmla="*/ 438834 h 6072780"/>
                <a:gd name="connsiteX7603" fmla="*/ 6822247 w 12117871"/>
                <a:gd name="connsiteY7603" fmla="*/ 522414 h 6072780"/>
                <a:gd name="connsiteX7604" fmla="*/ 6766050 w 12117871"/>
                <a:gd name="connsiteY7604" fmla="*/ 551227 h 6072780"/>
                <a:gd name="connsiteX7605" fmla="*/ 6713465 w 12117871"/>
                <a:gd name="connsiteY7605" fmla="*/ 523693 h 6072780"/>
                <a:gd name="connsiteX7606" fmla="*/ 6694582 w 12117871"/>
                <a:gd name="connsiteY7606" fmla="*/ 444101 h 6072780"/>
                <a:gd name="connsiteX7607" fmla="*/ 6714292 w 12117871"/>
                <a:gd name="connsiteY7607" fmla="*/ 357586 h 6072780"/>
                <a:gd name="connsiteX7608" fmla="*/ 6771166 w 12117871"/>
                <a:gd name="connsiteY7608" fmla="*/ 328247 h 6072780"/>
                <a:gd name="connsiteX7609" fmla="*/ 6624859 w 12117871"/>
                <a:gd name="connsiteY7609" fmla="*/ 328247 h 6072780"/>
                <a:gd name="connsiteX7610" fmla="*/ 6639765 w 12117871"/>
                <a:gd name="connsiteY7610" fmla="*/ 328247 h 6072780"/>
                <a:gd name="connsiteX7611" fmla="*/ 6639765 w 12117871"/>
                <a:gd name="connsiteY7611" fmla="*/ 551227 h 6072780"/>
                <a:gd name="connsiteX7612" fmla="*/ 6604477 w 12117871"/>
                <a:gd name="connsiteY7612" fmla="*/ 551227 h 6072780"/>
                <a:gd name="connsiteX7613" fmla="*/ 6604477 w 12117871"/>
                <a:gd name="connsiteY7613" fmla="*/ 371444 h 6072780"/>
                <a:gd name="connsiteX7614" fmla="*/ 6583868 w 12117871"/>
                <a:gd name="connsiteY7614" fmla="*/ 383079 h 6072780"/>
                <a:gd name="connsiteX7615" fmla="*/ 6558695 w 12117871"/>
                <a:gd name="connsiteY7615" fmla="*/ 391521 h 6072780"/>
                <a:gd name="connsiteX7616" fmla="*/ 6558695 w 12117871"/>
                <a:gd name="connsiteY7616" fmla="*/ 361405 h 6072780"/>
                <a:gd name="connsiteX7617" fmla="*/ 6575730 w 12117871"/>
                <a:gd name="connsiteY7617" fmla="*/ 355321 h 6072780"/>
                <a:gd name="connsiteX7618" fmla="*/ 6591929 w 12117871"/>
                <a:gd name="connsiteY7618" fmla="*/ 348172 h 6072780"/>
                <a:gd name="connsiteX7619" fmla="*/ 6608052 w 12117871"/>
                <a:gd name="connsiteY7619" fmla="*/ 339350 h 6072780"/>
                <a:gd name="connsiteX7620" fmla="*/ 6624859 w 12117871"/>
                <a:gd name="connsiteY7620" fmla="*/ 328247 h 6072780"/>
                <a:gd name="connsiteX7621" fmla="*/ 6327145 w 12117871"/>
                <a:gd name="connsiteY7621" fmla="*/ 328247 h 6072780"/>
                <a:gd name="connsiteX7622" fmla="*/ 6342051 w 12117871"/>
                <a:gd name="connsiteY7622" fmla="*/ 328247 h 6072780"/>
                <a:gd name="connsiteX7623" fmla="*/ 6342051 w 12117871"/>
                <a:gd name="connsiteY7623" fmla="*/ 551227 h 6072780"/>
                <a:gd name="connsiteX7624" fmla="*/ 6306763 w 12117871"/>
                <a:gd name="connsiteY7624" fmla="*/ 551227 h 6072780"/>
                <a:gd name="connsiteX7625" fmla="*/ 6306763 w 12117871"/>
                <a:gd name="connsiteY7625" fmla="*/ 371444 h 6072780"/>
                <a:gd name="connsiteX7626" fmla="*/ 6286154 w 12117871"/>
                <a:gd name="connsiteY7626" fmla="*/ 383079 h 6072780"/>
                <a:gd name="connsiteX7627" fmla="*/ 6260981 w 12117871"/>
                <a:gd name="connsiteY7627" fmla="*/ 391521 h 6072780"/>
                <a:gd name="connsiteX7628" fmla="*/ 6260981 w 12117871"/>
                <a:gd name="connsiteY7628" fmla="*/ 361405 h 6072780"/>
                <a:gd name="connsiteX7629" fmla="*/ 6278016 w 12117871"/>
                <a:gd name="connsiteY7629" fmla="*/ 355321 h 6072780"/>
                <a:gd name="connsiteX7630" fmla="*/ 6294215 w 12117871"/>
                <a:gd name="connsiteY7630" fmla="*/ 348172 h 6072780"/>
                <a:gd name="connsiteX7631" fmla="*/ 6310338 w 12117871"/>
                <a:gd name="connsiteY7631" fmla="*/ 339350 h 6072780"/>
                <a:gd name="connsiteX7632" fmla="*/ 6327145 w 12117871"/>
                <a:gd name="connsiteY7632" fmla="*/ 328247 h 6072780"/>
                <a:gd name="connsiteX7633" fmla="*/ 6153389 w 12117871"/>
                <a:gd name="connsiteY7633" fmla="*/ 328247 h 6072780"/>
                <a:gd name="connsiteX7634" fmla="*/ 6224556 w 12117871"/>
                <a:gd name="connsiteY7634" fmla="*/ 438834 h 6072780"/>
                <a:gd name="connsiteX7635" fmla="*/ 6204470 w 12117871"/>
                <a:gd name="connsiteY7635" fmla="*/ 522414 h 6072780"/>
                <a:gd name="connsiteX7636" fmla="*/ 6148273 w 12117871"/>
                <a:gd name="connsiteY7636" fmla="*/ 551227 h 6072780"/>
                <a:gd name="connsiteX7637" fmla="*/ 6095688 w 12117871"/>
                <a:gd name="connsiteY7637" fmla="*/ 523693 h 6072780"/>
                <a:gd name="connsiteX7638" fmla="*/ 6076805 w 12117871"/>
                <a:gd name="connsiteY7638" fmla="*/ 444101 h 6072780"/>
                <a:gd name="connsiteX7639" fmla="*/ 6096515 w 12117871"/>
                <a:gd name="connsiteY7639" fmla="*/ 357586 h 6072780"/>
                <a:gd name="connsiteX7640" fmla="*/ 6153389 w 12117871"/>
                <a:gd name="connsiteY7640" fmla="*/ 328247 h 6072780"/>
                <a:gd name="connsiteX7641" fmla="*/ 5936879 w 12117871"/>
                <a:gd name="connsiteY7641" fmla="*/ 328247 h 6072780"/>
                <a:gd name="connsiteX7642" fmla="*/ 6008046 w 12117871"/>
                <a:gd name="connsiteY7642" fmla="*/ 438834 h 6072780"/>
                <a:gd name="connsiteX7643" fmla="*/ 5987960 w 12117871"/>
                <a:gd name="connsiteY7643" fmla="*/ 522414 h 6072780"/>
                <a:gd name="connsiteX7644" fmla="*/ 5931764 w 12117871"/>
                <a:gd name="connsiteY7644" fmla="*/ 551227 h 6072780"/>
                <a:gd name="connsiteX7645" fmla="*/ 5879177 w 12117871"/>
                <a:gd name="connsiteY7645" fmla="*/ 523693 h 6072780"/>
                <a:gd name="connsiteX7646" fmla="*/ 5860295 w 12117871"/>
                <a:gd name="connsiteY7646" fmla="*/ 444101 h 6072780"/>
                <a:gd name="connsiteX7647" fmla="*/ 5880005 w 12117871"/>
                <a:gd name="connsiteY7647" fmla="*/ 357586 h 6072780"/>
                <a:gd name="connsiteX7648" fmla="*/ 5936879 w 12117871"/>
                <a:gd name="connsiteY7648" fmla="*/ 328247 h 6072780"/>
                <a:gd name="connsiteX7649" fmla="*/ 5712771 w 12117871"/>
                <a:gd name="connsiteY7649" fmla="*/ 328247 h 6072780"/>
                <a:gd name="connsiteX7650" fmla="*/ 5783939 w 12117871"/>
                <a:gd name="connsiteY7650" fmla="*/ 438834 h 6072780"/>
                <a:gd name="connsiteX7651" fmla="*/ 5763853 w 12117871"/>
                <a:gd name="connsiteY7651" fmla="*/ 522414 h 6072780"/>
                <a:gd name="connsiteX7652" fmla="*/ 5707657 w 12117871"/>
                <a:gd name="connsiteY7652" fmla="*/ 551227 h 6072780"/>
                <a:gd name="connsiteX7653" fmla="*/ 5655071 w 12117871"/>
                <a:gd name="connsiteY7653" fmla="*/ 523693 h 6072780"/>
                <a:gd name="connsiteX7654" fmla="*/ 5636188 w 12117871"/>
                <a:gd name="connsiteY7654" fmla="*/ 444101 h 6072780"/>
                <a:gd name="connsiteX7655" fmla="*/ 5655899 w 12117871"/>
                <a:gd name="connsiteY7655" fmla="*/ 357586 h 6072780"/>
                <a:gd name="connsiteX7656" fmla="*/ 5712771 w 12117871"/>
                <a:gd name="connsiteY7656" fmla="*/ 328247 h 6072780"/>
                <a:gd name="connsiteX7657" fmla="*/ 5555491 w 12117871"/>
                <a:gd name="connsiteY7657" fmla="*/ 328247 h 6072780"/>
                <a:gd name="connsiteX7658" fmla="*/ 5570400 w 12117871"/>
                <a:gd name="connsiteY7658" fmla="*/ 328247 h 6072780"/>
                <a:gd name="connsiteX7659" fmla="*/ 5570400 w 12117871"/>
                <a:gd name="connsiteY7659" fmla="*/ 551227 h 6072780"/>
                <a:gd name="connsiteX7660" fmla="*/ 5535111 w 12117871"/>
                <a:gd name="connsiteY7660" fmla="*/ 551227 h 6072780"/>
                <a:gd name="connsiteX7661" fmla="*/ 5535111 w 12117871"/>
                <a:gd name="connsiteY7661" fmla="*/ 371444 h 6072780"/>
                <a:gd name="connsiteX7662" fmla="*/ 5514501 w 12117871"/>
                <a:gd name="connsiteY7662" fmla="*/ 383079 h 6072780"/>
                <a:gd name="connsiteX7663" fmla="*/ 5489329 w 12117871"/>
                <a:gd name="connsiteY7663" fmla="*/ 391521 h 6072780"/>
                <a:gd name="connsiteX7664" fmla="*/ 5489329 w 12117871"/>
                <a:gd name="connsiteY7664" fmla="*/ 361405 h 6072780"/>
                <a:gd name="connsiteX7665" fmla="*/ 5506363 w 12117871"/>
                <a:gd name="connsiteY7665" fmla="*/ 355321 h 6072780"/>
                <a:gd name="connsiteX7666" fmla="*/ 5522562 w 12117871"/>
                <a:gd name="connsiteY7666" fmla="*/ 348172 h 6072780"/>
                <a:gd name="connsiteX7667" fmla="*/ 5538684 w 12117871"/>
                <a:gd name="connsiteY7667" fmla="*/ 339350 h 6072780"/>
                <a:gd name="connsiteX7668" fmla="*/ 5555491 w 12117871"/>
                <a:gd name="connsiteY7668" fmla="*/ 328247 h 6072780"/>
                <a:gd name="connsiteX7669" fmla="*/ 5257777 w 12117871"/>
                <a:gd name="connsiteY7669" fmla="*/ 328247 h 6072780"/>
                <a:gd name="connsiteX7670" fmla="*/ 5272684 w 12117871"/>
                <a:gd name="connsiteY7670" fmla="*/ 328247 h 6072780"/>
                <a:gd name="connsiteX7671" fmla="*/ 5272684 w 12117871"/>
                <a:gd name="connsiteY7671" fmla="*/ 551227 h 6072780"/>
                <a:gd name="connsiteX7672" fmla="*/ 5237397 w 12117871"/>
                <a:gd name="connsiteY7672" fmla="*/ 551227 h 6072780"/>
                <a:gd name="connsiteX7673" fmla="*/ 5237397 w 12117871"/>
                <a:gd name="connsiteY7673" fmla="*/ 371444 h 6072780"/>
                <a:gd name="connsiteX7674" fmla="*/ 5216786 w 12117871"/>
                <a:gd name="connsiteY7674" fmla="*/ 383079 h 6072780"/>
                <a:gd name="connsiteX7675" fmla="*/ 5191614 w 12117871"/>
                <a:gd name="connsiteY7675" fmla="*/ 391521 h 6072780"/>
                <a:gd name="connsiteX7676" fmla="*/ 5191614 w 12117871"/>
                <a:gd name="connsiteY7676" fmla="*/ 361405 h 6072780"/>
                <a:gd name="connsiteX7677" fmla="*/ 5208650 w 12117871"/>
                <a:gd name="connsiteY7677" fmla="*/ 355321 h 6072780"/>
                <a:gd name="connsiteX7678" fmla="*/ 5224848 w 12117871"/>
                <a:gd name="connsiteY7678" fmla="*/ 348172 h 6072780"/>
                <a:gd name="connsiteX7679" fmla="*/ 5240970 w 12117871"/>
                <a:gd name="connsiteY7679" fmla="*/ 339350 h 6072780"/>
                <a:gd name="connsiteX7680" fmla="*/ 5257777 w 12117871"/>
                <a:gd name="connsiteY7680" fmla="*/ 328247 h 6072780"/>
                <a:gd name="connsiteX7681" fmla="*/ 4883032 w 12117871"/>
                <a:gd name="connsiteY7681" fmla="*/ 328247 h 6072780"/>
                <a:gd name="connsiteX7682" fmla="*/ 4897939 w 12117871"/>
                <a:gd name="connsiteY7682" fmla="*/ 328247 h 6072780"/>
                <a:gd name="connsiteX7683" fmla="*/ 4897939 w 12117871"/>
                <a:gd name="connsiteY7683" fmla="*/ 551227 h 6072780"/>
                <a:gd name="connsiteX7684" fmla="*/ 4862651 w 12117871"/>
                <a:gd name="connsiteY7684" fmla="*/ 551227 h 6072780"/>
                <a:gd name="connsiteX7685" fmla="*/ 4862651 w 12117871"/>
                <a:gd name="connsiteY7685" fmla="*/ 371444 h 6072780"/>
                <a:gd name="connsiteX7686" fmla="*/ 4842041 w 12117871"/>
                <a:gd name="connsiteY7686" fmla="*/ 383079 h 6072780"/>
                <a:gd name="connsiteX7687" fmla="*/ 4816869 w 12117871"/>
                <a:gd name="connsiteY7687" fmla="*/ 391521 h 6072780"/>
                <a:gd name="connsiteX7688" fmla="*/ 4816869 w 12117871"/>
                <a:gd name="connsiteY7688" fmla="*/ 361405 h 6072780"/>
                <a:gd name="connsiteX7689" fmla="*/ 4833904 w 12117871"/>
                <a:gd name="connsiteY7689" fmla="*/ 355321 h 6072780"/>
                <a:gd name="connsiteX7690" fmla="*/ 4850103 w 12117871"/>
                <a:gd name="connsiteY7690" fmla="*/ 348172 h 6072780"/>
                <a:gd name="connsiteX7691" fmla="*/ 4866225 w 12117871"/>
                <a:gd name="connsiteY7691" fmla="*/ 339350 h 6072780"/>
                <a:gd name="connsiteX7692" fmla="*/ 4883032 w 12117871"/>
                <a:gd name="connsiteY7692" fmla="*/ 328247 h 6072780"/>
                <a:gd name="connsiteX7693" fmla="*/ 4739424 w 12117871"/>
                <a:gd name="connsiteY7693" fmla="*/ 328247 h 6072780"/>
                <a:gd name="connsiteX7694" fmla="*/ 4754331 w 12117871"/>
                <a:gd name="connsiteY7694" fmla="*/ 328247 h 6072780"/>
                <a:gd name="connsiteX7695" fmla="*/ 4754331 w 12117871"/>
                <a:gd name="connsiteY7695" fmla="*/ 551227 h 6072780"/>
                <a:gd name="connsiteX7696" fmla="*/ 4719043 w 12117871"/>
                <a:gd name="connsiteY7696" fmla="*/ 551227 h 6072780"/>
                <a:gd name="connsiteX7697" fmla="*/ 4719043 w 12117871"/>
                <a:gd name="connsiteY7697" fmla="*/ 371444 h 6072780"/>
                <a:gd name="connsiteX7698" fmla="*/ 4698434 w 12117871"/>
                <a:gd name="connsiteY7698" fmla="*/ 383079 h 6072780"/>
                <a:gd name="connsiteX7699" fmla="*/ 4673261 w 12117871"/>
                <a:gd name="connsiteY7699" fmla="*/ 391521 h 6072780"/>
                <a:gd name="connsiteX7700" fmla="*/ 4673261 w 12117871"/>
                <a:gd name="connsiteY7700" fmla="*/ 361405 h 6072780"/>
                <a:gd name="connsiteX7701" fmla="*/ 4690296 w 12117871"/>
                <a:gd name="connsiteY7701" fmla="*/ 355321 h 6072780"/>
                <a:gd name="connsiteX7702" fmla="*/ 4706496 w 12117871"/>
                <a:gd name="connsiteY7702" fmla="*/ 348172 h 6072780"/>
                <a:gd name="connsiteX7703" fmla="*/ 4722617 w 12117871"/>
                <a:gd name="connsiteY7703" fmla="*/ 339350 h 6072780"/>
                <a:gd name="connsiteX7704" fmla="*/ 4739424 w 12117871"/>
                <a:gd name="connsiteY7704" fmla="*/ 328247 h 6072780"/>
                <a:gd name="connsiteX7705" fmla="*/ 4595816 w 12117871"/>
                <a:gd name="connsiteY7705" fmla="*/ 328247 h 6072780"/>
                <a:gd name="connsiteX7706" fmla="*/ 4610723 w 12117871"/>
                <a:gd name="connsiteY7706" fmla="*/ 328247 h 6072780"/>
                <a:gd name="connsiteX7707" fmla="*/ 4610723 w 12117871"/>
                <a:gd name="connsiteY7707" fmla="*/ 551227 h 6072780"/>
                <a:gd name="connsiteX7708" fmla="*/ 4575435 w 12117871"/>
                <a:gd name="connsiteY7708" fmla="*/ 551227 h 6072780"/>
                <a:gd name="connsiteX7709" fmla="*/ 4575435 w 12117871"/>
                <a:gd name="connsiteY7709" fmla="*/ 371444 h 6072780"/>
                <a:gd name="connsiteX7710" fmla="*/ 4554826 w 12117871"/>
                <a:gd name="connsiteY7710" fmla="*/ 383079 h 6072780"/>
                <a:gd name="connsiteX7711" fmla="*/ 4529653 w 12117871"/>
                <a:gd name="connsiteY7711" fmla="*/ 391521 h 6072780"/>
                <a:gd name="connsiteX7712" fmla="*/ 4529653 w 12117871"/>
                <a:gd name="connsiteY7712" fmla="*/ 361405 h 6072780"/>
                <a:gd name="connsiteX7713" fmla="*/ 4546689 w 12117871"/>
                <a:gd name="connsiteY7713" fmla="*/ 355321 h 6072780"/>
                <a:gd name="connsiteX7714" fmla="*/ 4562888 w 12117871"/>
                <a:gd name="connsiteY7714" fmla="*/ 348172 h 6072780"/>
                <a:gd name="connsiteX7715" fmla="*/ 4579010 w 12117871"/>
                <a:gd name="connsiteY7715" fmla="*/ 339350 h 6072780"/>
                <a:gd name="connsiteX7716" fmla="*/ 4595816 w 12117871"/>
                <a:gd name="connsiteY7716" fmla="*/ 328247 h 6072780"/>
                <a:gd name="connsiteX7717" fmla="*/ 4452209 w 12117871"/>
                <a:gd name="connsiteY7717" fmla="*/ 328247 h 6072780"/>
                <a:gd name="connsiteX7718" fmla="*/ 4467115 w 12117871"/>
                <a:gd name="connsiteY7718" fmla="*/ 328247 h 6072780"/>
                <a:gd name="connsiteX7719" fmla="*/ 4467115 w 12117871"/>
                <a:gd name="connsiteY7719" fmla="*/ 551227 h 6072780"/>
                <a:gd name="connsiteX7720" fmla="*/ 4431828 w 12117871"/>
                <a:gd name="connsiteY7720" fmla="*/ 551227 h 6072780"/>
                <a:gd name="connsiteX7721" fmla="*/ 4431828 w 12117871"/>
                <a:gd name="connsiteY7721" fmla="*/ 371444 h 6072780"/>
                <a:gd name="connsiteX7722" fmla="*/ 4411218 w 12117871"/>
                <a:gd name="connsiteY7722" fmla="*/ 383079 h 6072780"/>
                <a:gd name="connsiteX7723" fmla="*/ 4386045 w 12117871"/>
                <a:gd name="connsiteY7723" fmla="*/ 391521 h 6072780"/>
                <a:gd name="connsiteX7724" fmla="*/ 4386045 w 12117871"/>
                <a:gd name="connsiteY7724" fmla="*/ 361405 h 6072780"/>
                <a:gd name="connsiteX7725" fmla="*/ 4403080 w 12117871"/>
                <a:gd name="connsiteY7725" fmla="*/ 355321 h 6072780"/>
                <a:gd name="connsiteX7726" fmla="*/ 4419280 w 12117871"/>
                <a:gd name="connsiteY7726" fmla="*/ 348172 h 6072780"/>
                <a:gd name="connsiteX7727" fmla="*/ 4435402 w 12117871"/>
                <a:gd name="connsiteY7727" fmla="*/ 339350 h 6072780"/>
                <a:gd name="connsiteX7728" fmla="*/ 4452209 w 12117871"/>
                <a:gd name="connsiteY7728" fmla="*/ 328247 h 6072780"/>
                <a:gd name="connsiteX7729" fmla="*/ 3712039 w 12117871"/>
                <a:gd name="connsiteY7729" fmla="*/ 328247 h 6072780"/>
                <a:gd name="connsiteX7730" fmla="*/ 3726944 w 12117871"/>
                <a:gd name="connsiteY7730" fmla="*/ 328247 h 6072780"/>
                <a:gd name="connsiteX7731" fmla="*/ 3726944 w 12117871"/>
                <a:gd name="connsiteY7731" fmla="*/ 551227 h 6072780"/>
                <a:gd name="connsiteX7732" fmla="*/ 3691657 w 12117871"/>
                <a:gd name="connsiteY7732" fmla="*/ 551227 h 6072780"/>
                <a:gd name="connsiteX7733" fmla="*/ 3691657 w 12117871"/>
                <a:gd name="connsiteY7733" fmla="*/ 371444 h 6072780"/>
                <a:gd name="connsiteX7734" fmla="*/ 3671049 w 12117871"/>
                <a:gd name="connsiteY7734" fmla="*/ 383079 h 6072780"/>
                <a:gd name="connsiteX7735" fmla="*/ 3645875 w 12117871"/>
                <a:gd name="connsiteY7735" fmla="*/ 391521 h 6072780"/>
                <a:gd name="connsiteX7736" fmla="*/ 3645875 w 12117871"/>
                <a:gd name="connsiteY7736" fmla="*/ 361405 h 6072780"/>
                <a:gd name="connsiteX7737" fmla="*/ 3662911 w 12117871"/>
                <a:gd name="connsiteY7737" fmla="*/ 355321 h 6072780"/>
                <a:gd name="connsiteX7738" fmla="*/ 3679110 w 12117871"/>
                <a:gd name="connsiteY7738" fmla="*/ 348172 h 6072780"/>
                <a:gd name="connsiteX7739" fmla="*/ 3695232 w 12117871"/>
                <a:gd name="connsiteY7739" fmla="*/ 339350 h 6072780"/>
                <a:gd name="connsiteX7740" fmla="*/ 3712039 w 12117871"/>
                <a:gd name="connsiteY7740" fmla="*/ 328247 h 6072780"/>
                <a:gd name="connsiteX7741" fmla="*/ 3563183 w 12117871"/>
                <a:gd name="connsiteY7741" fmla="*/ 328247 h 6072780"/>
                <a:gd name="connsiteX7742" fmla="*/ 3578089 w 12117871"/>
                <a:gd name="connsiteY7742" fmla="*/ 328247 h 6072780"/>
                <a:gd name="connsiteX7743" fmla="*/ 3578089 w 12117871"/>
                <a:gd name="connsiteY7743" fmla="*/ 551227 h 6072780"/>
                <a:gd name="connsiteX7744" fmla="*/ 3542801 w 12117871"/>
                <a:gd name="connsiteY7744" fmla="*/ 551227 h 6072780"/>
                <a:gd name="connsiteX7745" fmla="*/ 3542801 w 12117871"/>
                <a:gd name="connsiteY7745" fmla="*/ 371444 h 6072780"/>
                <a:gd name="connsiteX7746" fmla="*/ 3522192 w 12117871"/>
                <a:gd name="connsiteY7746" fmla="*/ 383079 h 6072780"/>
                <a:gd name="connsiteX7747" fmla="*/ 3497018 w 12117871"/>
                <a:gd name="connsiteY7747" fmla="*/ 391521 h 6072780"/>
                <a:gd name="connsiteX7748" fmla="*/ 3497018 w 12117871"/>
                <a:gd name="connsiteY7748" fmla="*/ 361405 h 6072780"/>
                <a:gd name="connsiteX7749" fmla="*/ 3514053 w 12117871"/>
                <a:gd name="connsiteY7749" fmla="*/ 355321 h 6072780"/>
                <a:gd name="connsiteX7750" fmla="*/ 3530252 w 12117871"/>
                <a:gd name="connsiteY7750" fmla="*/ 348172 h 6072780"/>
                <a:gd name="connsiteX7751" fmla="*/ 3546374 w 12117871"/>
                <a:gd name="connsiteY7751" fmla="*/ 339350 h 6072780"/>
                <a:gd name="connsiteX7752" fmla="*/ 3563183 w 12117871"/>
                <a:gd name="connsiteY7752" fmla="*/ 328247 h 6072780"/>
                <a:gd name="connsiteX7753" fmla="*/ 2758514 w 12117871"/>
                <a:gd name="connsiteY7753" fmla="*/ 328247 h 6072780"/>
                <a:gd name="connsiteX7754" fmla="*/ 2773420 w 12117871"/>
                <a:gd name="connsiteY7754" fmla="*/ 328247 h 6072780"/>
                <a:gd name="connsiteX7755" fmla="*/ 2773420 w 12117871"/>
                <a:gd name="connsiteY7755" fmla="*/ 551227 h 6072780"/>
                <a:gd name="connsiteX7756" fmla="*/ 2738133 w 12117871"/>
                <a:gd name="connsiteY7756" fmla="*/ 551227 h 6072780"/>
                <a:gd name="connsiteX7757" fmla="*/ 2738133 w 12117871"/>
                <a:gd name="connsiteY7757" fmla="*/ 371444 h 6072780"/>
                <a:gd name="connsiteX7758" fmla="*/ 2717522 w 12117871"/>
                <a:gd name="connsiteY7758" fmla="*/ 383079 h 6072780"/>
                <a:gd name="connsiteX7759" fmla="*/ 2692349 w 12117871"/>
                <a:gd name="connsiteY7759" fmla="*/ 391521 h 6072780"/>
                <a:gd name="connsiteX7760" fmla="*/ 2692349 w 12117871"/>
                <a:gd name="connsiteY7760" fmla="*/ 361405 h 6072780"/>
                <a:gd name="connsiteX7761" fmla="*/ 2709386 w 12117871"/>
                <a:gd name="connsiteY7761" fmla="*/ 355321 h 6072780"/>
                <a:gd name="connsiteX7762" fmla="*/ 2725584 w 12117871"/>
                <a:gd name="connsiteY7762" fmla="*/ 348172 h 6072780"/>
                <a:gd name="connsiteX7763" fmla="*/ 2741707 w 12117871"/>
                <a:gd name="connsiteY7763" fmla="*/ 339350 h 6072780"/>
                <a:gd name="connsiteX7764" fmla="*/ 2758514 w 12117871"/>
                <a:gd name="connsiteY7764" fmla="*/ 328247 h 6072780"/>
                <a:gd name="connsiteX7765" fmla="*/ 2365755 w 12117871"/>
                <a:gd name="connsiteY7765" fmla="*/ 328247 h 6072780"/>
                <a:gd name="connsiteX7766" fmla="*/ 2380662 w 12117871"/>
                <a:gd name="connsiteY7766" fmla="*/ 328247 h 6072780"/>
                <a:gd name="connsiteX7767" fmla="*/ 2380662 w 12117871"/>
                <a:gd name="connsiteY7767" fmla="*/ 551227 h 6072780"/>
                <a:gd name="connsiteX7768" fmla="*/ 2345374 w 12117871"/>
                <a:gd name="connsiteY7768" fmla="*/ 551227 h 6072780"/>
                <a:gd name="connsiteX7769" fmla="*/ 2345374 w 12117871"/>
                <a:gd name="connsiteY7769" fmla="*/ 371444 h 6072780"/>
                <a:gd name="connsiteX7770" fmla="*/ 2324763 w 12117871"/>
                <a:gd name="connsiteY7770" fmla="*/ 383079 h 6072780"/>
                <a:gd name="connsiteX7771" fmla="*/ 2299591 w 12117871"/>
                <a:gd name="connsiteY7771" fmla="*/ 391521 h 6072780"/>
                <a:gd name="connsiteX7772" fmla="*/ 2299591 w 12117871"/>
                <a:gd name="connsiteY7772" fmla="*/ 361405 h 6072780"/>
                <a:gd name="connsiteX7773" fmla="*/ 2316626 w 12117871"/>
                <a:gd name="connsiteY7773" fmla="*/ 355321 h 6072780"/>
                <a:gd name="connsiteX7774" fmla="*/ 2332825 w 12117871"/>
                <a:gd name="connsiteY7774" fmla="*/ 348172 h 6072780"/>
                <a:gd name="connsiteX7775" fmla="*/ 2348947 w 12117871"/>
                <a:gd name="connsiteY7775" fmla="*/ 339350 h 6072780"/>
                <a:gd name="connsiteX7776" fmla="*/ 2365755 w 12117871"/>
                <a:gd name="connsiteY7776" fmla="*/ 328247 h 6072780"/>
                <a:gd name="connsiteX7777" fmla="*/ 2222148 w 12117871"/>
                <a:gd name="connsiteY7777" fmla="*/ 328247 h 6072780"/>
                <a:gd name="connsiteX7778" fmla="*/ 2237054 w 12117871"/>
                <a:gd name="connsiteY7778" fmla="*/ 328247 h 6072780"/>
                <a:gd name="connsiteX7779" fmla="*/ 2237054 w 12117871"/>
                <a:gd name="connsiteY7779" fmla="*/ 551227 h 6072780"/>
                <a:gd name="connsiteX7780" fmla="*/ 2201765 w 12117871"/>
                <a:gd name="connsiteY7780" fmla="*/ 551227 h 6072780"/>
                <a:gd name="connsiteX7781" fmla="*/ 2201765 w 12117871"/>
                <a:gd name="connsiteY7781" fmla="*/ 371444 h 6072780"/>
                <a:gd name="connsiteX7782" fmla="*/ 2181155 w 12117871"/>
                <a:gd name="connsiteY7782" fmla="*/ 383079 h 6072780"/>
                <a:gd name="connsiteX7783" fmla="*/ 2155983 w 12117871"/>
                <a:gd name="connsiteY7783" fmla="*/ 391521 h 6072780"/>
                <a:gd name="connsiteX7784" fmla="*/ 2155983 w 12117871"/>
                <a:gd name="connsiteY7784" fmla="*/ 361405 h 6072780"/>
                <a:gd name="connsiteX7785" fmla="*/ 2173018 w 12117871"/>
                <a:gd name="connsiteY7785" fmla="*/ 355321 h 6072780"/>
                <a:gd name="connsiteX7786" fmla="*/ 2189217 w 12117871"/>
                <a:gd name="connsiteY7786" fmla="*/ 348172 h 6072780"/>
                <a:gd name="connsiteX7787" fmla="*/ 2205340 w 12117871"/>
                <a:gd name="connsiteY7787" fmla="*/ 339350 h 6072780"/>
                <a:gd name="connsiteX7788" fmla="*/ 2222148 w 12117871"/>
                <a:gd name="connsiteY7788" fmla="*/ 328247 h 6072780"/>
                <a:gd name="connsiteX7789" fmla="*/ 2078538 w 12117871"/>
                <a:gd name="connsiteY7789" fmla="*/ 328247 h 6072780"/>
                <a:gd name="connsiteX7790" fmla="*/ 2093445 w 12117871"/>
                <a:gd name="connsiteY7790" fmla="*/ 328247 h 6072780"/>
                <a:gd name="connsiteX7791" fmla="*/ 2093445 w 12117871"/>
                <a:gd name="connsiteY7791" fmla="*/ 551227 h 6072780"/>
                <a:gd name="connsiteX7792" fmla="*/ 2058157 w 12117871"/>
                <a:gd name="connsiteY7792" fmla="*/ 551227 h 6072780"/>
                <a:gd name="connsiteX7793" fmla="*/ 2058157 w 12117871"/>
                <a:gd name="connsiteY7793" fmla="*/ 371444 h 6072780"/>
                <a:gd name="connsiteX7794" fmla="*/ 2037547 w 12117871"/>
                <a:gd name="connsiteY7794" fmla="*/ 383079 h 6072780"/>
                <a:gd name="connsiteX7795" fmla="*/ 2012375 w 12117871"/>
                <a:gd name="connsiteY7795" fmla="*/ 391521 h 6072780"/>
                <a:gd name="connsiteX7796" fmla="*/ 2012375 w 12117871"/>
                <a:gd name="connsiteY7796" fmla="*/ 361405 h 6072780"/>
                <a:gd name="connsiteX7797" fmla="*/ 2029410 w 12117871"/>
                <a:gd name="connsiteY7797" fmla="*/ 355321 h 6072780"/>
                <a:gd name="connsiteX7798" fmla="*/ 2045609 w 12117871"/>
                <a:gd name="connsiteY7798" fmla="*/ 348172 h 6072780"/>
                <a:gd name="connsiteX7799" fmla="*/ 2061730 w 12117871"/>
                <a:gd name="connsiteY7799" fmla="*/ 339350 h 6072780"/>
                <a:gd name="connsiteX7800" fmla="*/ 2078538 w 12117871"/>
                <a:gd name="connsiteY7800" fmla="*/ 328247 h 6072780"/>
                <a:gd name="connsiteX7801" fmla="*/ 1934932 w 12117871"/>
                <a:gd name="connsiteY7801" fmla="*/ 328247 h 6072780"/>
                <a:gd name="connsiteX7802" fmla="*/ 1949837 w 12117871"/>
                <a:gd name="connsiteY7802" fmla="*/ 328247 h 6072780"/>
                <a:gd name="connsiteX7803" fmla="*/ 1949837 w 12117871"/>
                <a:gd name="connsiteY7803" fmla="*/ 551227 h 6072780"/>
                <a:gd name="connsiteX7804" fmla="*/ 1914550 w 12117871"/>
                <a:gd name="connsiteY7804" fmla="*/ 551227 h 6072780"/>
                <a:gd name="connsiteX7805" fmla="*/ 1914550 w 12117871"/>
                <a:gd name="connsiteY7805" fmla="*/ 371444 h 6072780"/>
                <a:gd name="connsiteX7806" fmla="*/ 1893940 w 12117871"/>
                <a:gd name="connsiteY7806" fmla="*/ 383079 h 6072780"/>
                <a:gd name="connsiteX7807" fmla="*/ 1868767 w 12117871"/>
                <a:gd name="connsiteY7807" fmla="*/ 391521 h 6072780"/>
                <a:gd name="connsiteX7808" fmla="*/ 1868767 w 12117871"/>
                <a:gd name="connsiteY7808" fmla="*/ 361405 h 6072780"/>
                <a:gd name="connsiteX7809" fmla="*/ 1885803 w 12117871"/>
                <a:gd name="connsiteY7809" fmla="*/ 355321 h 6072780"/>
                <a:gd name="connsiteX7810" fmla="*/ 1902003 w 12117871"/>
                <a:gd name="connsiteY7810" fmla="*/ 348172 h 6072780"/>
                <a:gd name="connsiteX7811" fmla="*/ 1918124 w 12117871"/>
                <a:gd name="connsiteY7811" fmla="*/ 339350 h 6072780"/>
                <a:gd name="connsiteX7812" fmla="*/ 1934932 w 12117871"/>
                <a:gd name="connsiteY7812" fmla="*/ 328247 h 6072780"/>
                <a:gd name="connsiteX7813" fmla="*/ 1791323 w 12117871"/>
                <a:gd name="connsiteY7813" fmla="*/ 328247 h 6072780"/>
                <a:gd name="connsiteX7814" fmla="*/ 1806229 w 12117871"/>
                <a:gd name="connsiteY7814" fmla="*/ 328247 h 6072780"/>
                <a:gd name="connsiteX7815" fmla="*/ 1806229 w 12117871"/>
                <a:gd name="connsiteY7815" fmla="*/ 551227 h 6072780"/>
                <a:gd name="connsiteX7816" fmla="*/ 1770942 w 12117871"/>
                <a:gd name="connsiteY7816" fmla="*/ 551227 h 6072780"/>
                <a:gd name="connsiteX7817" fmla="*/ 1770942 w 12117871"/>
                <a:gd name="connsiteY7817" fmla="*/ 371444 h 6072780"/>
                <a:gd name="connsiteX7818" fmla="*/ 1750332 w 12117871"/>
                <a:gd name="connsiteY7818" fmla="*/ 383079 h 6072780"/>
                <a:gd name="connsiteX7819" fmla="*/ 1725159 w 12117871"/>
                <a:gd name="connsiteY7819" fmla="*/ 391521 h 6072780"/>
                <a:gd name="connsiteX7820" fmla="*/ 1725159 w 12117871"/>
                <a:gd name="connsiteY7820" fmla="*/ 361405 h 6072780"/>
                <a:gd name="connsiteX7821" fmla="*/ 1742195 w 12117871"/>
                <a:gd name="connsiteY7821" fmla="*/ 355321 h 6072780"/>
                <a:gd name="connsiteX7822" fmla="*/ 1758394 w 12117871"/>
                <a:gd name="connsiteY7822" fmla="*/ 348172 h 6072780"/>
                <a:gd name="connsiteX7823" fmla="*/ 1774516 w 12117871"/>
                <a:gd name="connsiteY7823" fmla="*/ 339350 h 6072780"/>
                <a:gd name="connsiteX7824" fmla="*/ 1791323 w 12117871"/>
                <a:gd name="connsiteY7824" fmla="*/ 328247 h 6072780"/>
                <a:gd name="connsiteX7825" fmla="*/ 1443625 w 12117871"/>
                <a:gd name="connsiteY7825" fmla="*/ 328247 h 6072780"/>
                <a:gd name="connsiteX7826" fmla="*/ 1458532 w 12117871"/>
                <a:gd name="connsiteY7826" fmla="*/ 328247 h 6072780"/>
                <a:gd name="connsiteX7827" fmla="*/ 1458532 w 12117871"/>
                <a:gd name="connsiteY7827" fmla="*/ 551227 h 6072780"/>
                <a:gd name="connsiteX7828" fmla="*/ 1423244 w 12117871"/>
                <a:gd name="connsiteY7828" fmla="*/ 551227 h 6072780"/>
                <a:gd name="connsiteX7829" fmla="*/ 1423244 w 12117871"/>
                <a:gd name="connsiteY7829" fmla="*/ 371444 h 6072780"/>
                <a:gd name="connsiteX7830" fmla="*/ 1402634 w 12117871"/>
                <a:gd name="connsiteY7830" fmla="*/ 383079 h 6072780"/>
                <a:gd name="connsiteX7831" fmla="*/ 1377462 w 12117871"/>
                <a:gd name="connsiteY7831" fmla="*/ 391521 h 6072780"/>
                <a:gd name="connsiteX7832" fmla="*/ 1377462 w 12117871"/>
                <a:gd name="connsiteY7832" fmla="*/ 361405 h 6072780"/>
                <a:gd name="connsiteX7833" fmla="*/ 1394497 w 12117871"/>
                <a:gd name="connsiteY7833" fmla="*/ 355321 h 6072780"/>
                <a:gd name="connsiteX7834" fmla="*/ 1410696 w 12117871"/>
                <a:gd name="connsiteY7834" fmla="*/ 348172 h 6072780"/>
                <a:gd name="connsiteX7835" fmla="*/ 1426818 w 12117871"/>
                <a:gd name="connsiteY7835" fmla="*/ 339350 h 6072780"/>
                <a:gd name="connsiteX7836" fmla="*/ 1443625 w 12117871"/>
                <a:gd name="connsiteY7836" fmla="*/ 328247 h 6072780"/>
                <a:gd name="connsiteX7837" fmla="*/ 1145912 w 12117871"/>
                <a:gd name="connsiteY7837" fmla="*/ 328247 h 6072780"/>
                <a:gd name="connsiteX7838" fmla="*/ 1160818 w 12117871"/>
                <a:gd name="connsiteY7838" fmla="*/ 328247 h 6072780"/>
                <a:gd name="connsiteX7839" fmla="*/ 1160818 w 12117871"/>
                <a:gd name="connsiteY7839" fmla="*/ 551227 h 6072780"/>
                <a:gd name="connsiteX7840" fmla="*/ 1125531 w 12117871"/>
                <a:gd name="connsiteY7840" fmla="*/ 551227 h 6072780"/>
                <a:gd name="connsiteX7841" fmla="*/ 1125531 w 12117871"/>
                <a:gd name="connsiteY7841" fmla="*/ 371444 h 6072780"/>
                <a:gd name="connsiteX7842" fmla="*/ 1104921 w 12117871"/>
                <a:gd name="connsiteY7842" fmla="*/ 383079 h 6072780"/>
                <a:gd name="connsiteX7843" fmla="*/ 1079749 w 12117871"/>
                <a:gd name="connsiteY7843" fmla="*/ 391521 h 6072780"/>
                <a:gd name="connsiteX7844" fmla="*/ 1079749 w 12117871"/>
                <a:gd name="connsiteY7844" fmla="*/ 361405 h 6072780"/>
                <a:gd name="connsiteX7845" fmla="*/ 1096784 w 12117871"/>
                <a:gd name="connsiteY7845" fmla="*/ 355321 h 6072780"/>
                <a:gd name="connsiteX7846" fmla="*/ 1112982 w 12117871"/>
                <a:gd name="connsiteY7846" fmla="*/ 348172 h 6072780"/>
                <a:gd name="connsiteX7847" fmla="*/ 1129105 w 12117871"/>
                <a:gd name="connsiteY7847" fmla="*/ 339350 h 6072780"/>
                <a:gd name="connsiteX7848" fmla="*/ 1145912 w 12117871"/>
                <a:gd name="connsiteY7848" fmla="*/ 328247 h 6072780"/>
                <a:gd name="connsiteX7849" fmla="*/ 934793 w 12117871"/>
                <a:gd name="connsiteY7849" fmla="*/ 328247 h 6072780"/>
                <a:gd name="connsiteX7850" fmla="*/ 1005960 w 12117871"/>
                <a:gd name="connsiteY7850" fmla="*/ 438834 h 6072780"/>
                <a:gd name="connsiteX7851" fmla="*/ 985874 w 12117871"/>
                <a:gd name="connsiteY7851" fmla="*/ 522414 h 6072780"/>
                <a:gd name="connsiteX7852" fmla="*/ 929678 w 12117871"/>
                <a:gd name="connsiteY7852" fmla="*/ 551227 h 6072780"/>
                <a:gd name="connsiteX7853" fmla="*/ 877091 w 12117871"/>
                <a:gd name="connsiteY7853" fmla="*/ 523693 h 6072780"/>
                <a:gd name="connsiteX7854" fmla="*/ 858210 w 12117871"/>
                <a:gd name="connsiteY7854" fmla="*/ 444101 h 6072780"/>
                <a:gd name="connsiteX7855" fmla="*/ 877920 w 12117871"/>
                <a:gd name="connsiteY7855" fmla="*/ 357586 h 6072780"/>
                <a:gd name="connsiteX7856" fmla="*/ 934793 w 12117871"/>
                <a:gd name="connsiteY7856" fmla="*/ 328247 h 6072780"/>
                <a:gd name="connsiteX7857" fmla="*/ 718517 w 12117871"/>
                <a:gd name="connsiteY7857" fmla="*/ 328247 h 6072780"/>
                <a:gd name="connsiteX7858" fmla="*/ 789684 w 12117871"/>
                <a:gd name="connsiteY7858" fmla="*/ 438834 h 6072780"/>
                <a:gd name="connsiteX7859" fmla="*/ 769597 w 12117871"/>
                <a:gd name="connsiteY7859" fmla="*/ 522414 h 6072780"/>
                <a:gd name="connsiteX7860" fmla="*/ 713402 w 12117871"/>
                <a:gd name="connsiteY7860" fmla="*/ 551227 h 6072780"/>
                <a:gd name="connsiteX7861" fmla="*/ 660816 w 12117871"/>
                <a:gd name="connsiteY7861" fmla="*/ 523693 h 6072780"/>
                <a:gd name="connsiteX7862" fmla="*/ 641934 w 12117871"/>
                <a:gd name="connsiteY7862" fmla="*/ 444101 h 6072780"/>
                <a:gd name="connsiteX7863" fmla="*/ 661644 w 12117871"/>
                <a:gd name="connsiteY7863" fmla="*/ 357586 h 6072780"/>
                <a:gd name="connsiteX7864" fmla="*/ 718517 w 12117871"/>
                <a:gd name="connsiteY7864" fmla="*/ 328247 h 6072780"/>
                <a:gd name="connsiteX7865" fmla="*/ 570384 w 12117871"/>
                <a:gd name="connsiteY7865" fmla="*/ 328247 h 6072780"/>
                <a:gd name="connsiteX7866" fmla="*/ 585291 w 12117871"/>
                <a:gd name="connsiteY7866" fmla="*/ 328247 h 6072780"/>
                <a:gd name="connsiteX7867" fmla="*/ 585291 w 12117871"/>
                <a:gd name="connsiteY7867" fmla="*/ 551227 h 6072780"/>
                <a:gd name="connsiteX7868" fmla="*/ 550003 w 12117871"/>
                <a:gd name="connsiteY7868" fmla="*/ 551227 h 6072780"/>
                <a:gd name="connsiteX7869" fmla="*/ 550003 w 12117871"/>
                <a:gd name="connsiteY7869" fmla="*/ 371444 h 6072780"/>
                <a:gd name="connsiteX7870" fmla="*/ 529393 w 12117871"/>
                <a:gd name="connsiteY7870" fmla="*/ 383079 h 6072780"/>
                <a:gd name="connsiteX7871" fmla="*/ 504221 w 12117871"/>
                <a:gd name="connsiteY7871" fmla="*/ 391521 h 6072780"/>
                <a:gd name="connsiteX7872" fmla="*/ 504221 w 12117871"/>
                <a:gd name="connsiteY7872" fmla="*/ 361405 h 6072780"/>
                <a:gd name="connsiteX7873" fmla="*/ 521256 w 12117871"/>
                <a:gd name="connsiteY7873" fmla="*/ 355321 h 6072780"/>
                <a:gd name="connsiteX7874" fmla="*/ 537455 w 12117871"/>
                <a:gd name="connsiteY7874" fmla="*/ 348172 h 6072780"/>
                <a:gd name="connsiteX7875" fmla="*/ 553578 w 12117871"/>
                <a:gd name="connsiteY7875" fmla="*/ 339350 h 6072780"/>
                <a:gd name="connsiteX7876" fmla="*/ 570384 w 12117871"/>
                <a:gd name="connsiteY7876" fmla="*/ 328247 h 6072780"/>
                <a:gd name="connsiteX7877" fmla="*/ 272671 w 12117871"/>
                <a:gd name="connsiteY7877" fmla="*/ 328247 h 6072780"/>
                <a:gd name="connsiteX7878" fmla="*/ 287576 w 12117871"/>
                <a:gd name="connsiteY7878" fmla="*/ 328247 h 6072780"/>
                <a:gd name="connsiteX7879" fmla="*/ 287576 w 12117871"/>
                <a:gd name="connsiteY7879" fmla="*/ 551227 h 6072780"/>
                <a:gd name="connsiteX7880" fmla="*/ 252289 w 12117871"/>
                <a:gd name="connsiteY7880" fmla="*/ 551227 h 6072780"/>
                <a:gd name="connsiteX7881" fmla="*/ 252289 w 12117871"/>
                <a:gd name="connsiteY7881" fmla="*/ 371444 h 6072780"/>
                <a:gd name="connsiteX7882" fmla="*/ 231681 w 12117871"/>
                <a:gd name="connsiteY7882" fmla="*/ 383079 h 6072780"/>
                <a:gd name="connsiteX7883" fmla="*/ 206507 w 12117871"/>
                <a:gd name="connsiteY7883" fmla="*/ 391521 h 6072780"/>
                <a:gd name="connsiteX7884" fmla="*/ 206507 w 12117871"/>
                <a:gd name="connsiteY7884" fmla="*/ 361405 h 6072780"/>
                <a:gd name="connsiteX7885" fmla="*/ 223541 w 12117871"/>
                <a:gd name="connsiteY7885" fmla="*/ 355321 h 6072780"/>
                <a:gd name="connsiteX7886" fmla="*/ 239740 w 12117871"/>
                <a:gd name="connsiteY7886" fmla="*/ 348172 h 6072780"/>
                <a:gd name="connsiteX7887" fmla="*/ 255864 w 12117871"/>
                <a:gd name="connsiteY7887" fmla="*/ 339350 h 6072780"/>
                <a:gd name="connsiteX7888" fmla="*/ 272671 w 12117871"/>
                <a:gd name="connsiteY7888" fmla="*/ 328247 h 6072780"/>
                <a:gd name="connsiteX7889" fmla="*/ 96910 w 12117871"/>
                <a:gd name="connsiteY7889" fmla="*/ 328247 h 6072780"/>
                <a:gd name="connsiteX7890" fmla="*/ 168078 w 12117871"/>
                <a:gd name="connsiteY7890" fmla="*/ 438834 h 6072780"/>
                <a:gd name="connsiteX7891" fmla="*/ 147992 w 12117871"/>
                <a:gd name="connsiteY7891" fmla="*/ 522414 h 6072780"/>
                <a:gd name="connsiteX7892" fmla="*/ 91795 w 12117871"/>
                <a:gd name="connsiteY7892" fmla="*/ 551227 h 6072780"/>
                <a:gd name="connsiteX7893" fmla="*/ 39210 w 12117871"/>
                <a:gd name="connsiteY7893" fmla="*/ 523693 h 6072780"/>
                <a:gd name="connsiteX7894" fmla="*/ 20327 w 12117871"/>
                <a:gd name="connsiteY7894" fmla="*/ 444101 h 6072780"/>
                <a:gd name="connsiteX7895" fmla="*/ 40037 w 12117871"/>
                <a:gd name="connsiteY7895" fmla="*/ 357586 h 6072780"/>
                <a:gd name="connsiteX7896" fmla="*/ 96910 w 12117871"/>
                <a:gd name="connsiteY7896" fmla="*/ 328247 h 6072780"/>
                <a:gd name="connsiteX7897" fmla="*/ 11909636 w 12117871"/>
                <a:gd name="connsiteY7897" fmla="*/ 27835 h 6072780"/>
                <a:gd name="connsiteX7898" fmla="*/ 11870366 w 12117871"/>
                <a:gd name="connsiteY7898" fmla="*/ 114349 h 6072780"/>
                <a:gd name="connsiteX7899" fmla="*/ 11908884 w 12117871"/>
                <a:gd name="connsiteY7899" fmla="*/ 195295 h 6072780"/>
                <a:gd name="connsiteX7900" fmla="*/ 11946799 w 12117871"/>
                <a:gd name="connsiteY7900" fmla="*/ 112995 h 6072780"/>
                <a:gd name="connsiteX7901" fmla="*/ 11909636 w 12117871"/>
                <a:gd name="connsiteY7901" fmla="*/ 27835 h 6072780"/>
                <a:gd name="connsiteX7902" fmla="*/ 11203074 w 12117871"/>
                <a:gd name="connsiteY7902" fmla="*/ 27835 h 6072780"/>
                <a:gd name="connsiteX7903" fmla="*/ 11163804 w 12117871"/>
                <a:gd name="connsiteY7903" fmla="*/ 114349 h 6072780"/>
                <a:gd name="connsiteX7904" fmla="*/ 11202322 w 12117871"/>
                <a:gd name="connsiteY7904" fmla="*/ 195295 h 6072780"/>
                <a:gd name="connsiteX7905" fmla="*/ 11240237 w 12117871"/>
                <a:gd name="connsiteY7905" fmla="*/ 112995 h 6072780"/>
                <a:gd name="connsiteX7906" fmla="*/ 11203074 w 12117871"/>
                <a:gd name="connsiteY7906" fmla="*/ 27835 h 6072780"/>
                <a:gd name="connsiteX7907" fmla="*/ 9955555 w 12117871"/>
                <a:gd name="connsiteY7907" fmla="*/ 27835 h 6072780"/>
                <a:gd name="connsiteX7908" fmla="*/ 9916285 w 12117871"/>
                <a:gd name="connsiteY7908" fmla="*/ 114349 h 6072780"/>
                <a:gd name="connsiteX7909" fmla="*/ 9954803 w 12117871"/>
                <a:gd name="connsiteY7909" fmla="*/ 195295 h 6072780"/>
                <a:gd name="connsiteX7910" fmla="*/ 9992718 w 12117871"/>
                <a:gd name="connsiteY7910" fmla="*/ 112995 h 6072780"/>
                <a:gd name="connsiteX7911" fmla="*/ 9955555 w 12117871"/>
                <a:gd name="connsiteY7911" fmla="*/ 27835 h 6072780"/>
                <a:gd name="connsiteX7912" fmla="*/ 9736111 w 12117871"/>
                <a:gd name="connsiteY7912" fmla="*/ 27835 h 6072780"/>
                <a:gd name="connsiteX7913" fmla="*/ 9696841 w 12117871"/>
                <a:gd name="connsiteY7913" fmla="*/ 114349 h 6072780"/>
                <a:gd name="connsiteX7914" fmla="*/ 9735359 w 12117871"/>
                <a:gd name="connsiteY7914" fmla="*/ 195295 h 6072780"/>
                <a:gd name="connsiteX7915" fmla="*/ 9773274 w 12117871"/>
                <a:gd name="connsiteY7915" fmla="*/ 112995 h 6072780"/>
                <a:gd name="connsiteX7916" fmla="*/ 9736111 w 12117871"/>
                <a:gd name="connsiteY7916" fmla="*/ 27835 h 6072780"/>
                <a:gd name="connsiteX7917" fmla="*/ 6381466 w 12117871"/>
                <a:gd name="connsiteY7917" fmla="*/ 27835 h 6072780"/>
                <a:gd name="connsiteX7918" fmla="*/ 6342196 w 12117871"/>
                <a:gd name="connsiteY7918" fmla="*/ 114349 h 6072780"/>
                <a:gd name="connsiteX7919" fmla="*/ 6380714 w 12117871"/>
                <a:gd name="connsiteY7919" fmla="*/ 195295 h 6072780"/>
                <a:gd name="connsiteX7920" fmla="*/ 6418629 w 12117871"/>
                <a:gd name="connsiteY7920" fmla="*/ 112995 h 6072780"/>
                <a:gd name="connsiteX7921" fmla="*/ 6381466 w 12117871"/>
                <a:gd name="connsiteY7921" fmla="*/ 27835 h 6072780"/>
                <a:gd name="connsiteX7922" fmla="*/ 5846380 w 12117871"/>
                <a:gd name="connsiteY7922" fmla="*/ 27835 h 6072780"/>
                <a:gd name="connsiteX7923" fmla="*/ 5807110 w 12117871"/>
                <a:gd name="connsiteY7923" fmla="*/ 114349 h 6072780"/>
                <a:gd name="connsiteX7924" fmla="*/ 5845628 w 12117871"/>
                <a:gd name="connsiteY7924" fmla="*/ 195295 h 6072780"/>
                <a:gd name="connsiteX7925" fmla="*/ 5883543 w 12117871"/>
                <a:gd name="connsiteY7925" fmla="*/ 112995 h 6072780"/>
                <a:gd name="connsiteX7926" fmla="*/ 5846380 w 12117871"/>
                <a:gd name="connsiteY7926" fmla="*/ 27835 h 6072780"/>
                <a:gd name="connsiteX7927" fmla="*/ 5148730 w 12117871"/>
                <a:gd name="connsiteY7927" fmla="*/ 27835 h 6072780"/>
                <a:gd name="connsiteX7928" fmla="*/ 5109460 w 12117871"/>
                <a:gd name="connsiteY7928" fmla="*/ 114349 h 6072780"/>
                <a:gd name="connsiteX7929" fmla="*/ 5147978 w 12117871"/>
                <a:gd name="connsiteY7929" fmla="*/ 195295 h 6072780"/>
                <a:gd name="connsiteX7930" fmla="*/ 5185893 w 12117871"/>
                <a:gd name="connsiteY7930" fmla="*/ 112995 h 6072780"/>
                <a:gd name="connsiteX7931" fmla="*/ 5148730 w 12117871"/>
                <a:gd name="connsiteY7931" fmla="*/ 27835 h 6072780"/>
                <a:gd name="connsiteX7932" fmla="*/ 3896993 w 12117871"/>
                <a:gd name="connsiteY7932" fmla="*/ 27835 h 6072780"/>
                <a:gd name="connsiteX7933" fmla="*/ 3857723 w 12117871"/>
                <a:gd name="connsiteY7933" fmla="*/ 114349 h 6072780"/>
                <a:gd name="connsiteX7934" fmla="*/ 3896240 w 12117871"/>
                <a:gd name="connsiteY7934" fmla="*/ 195295 h 6072780"/>
                <a:gd name="connsiteX7935" fmla="*/ 3934156 w 12117871"/>
                <a:gd name="connsiteY7935" fmla="*/ 112995 h 6072780"/>
                <a:gd name="connsiteX7936" fmla="*/ 3896993 w 12117871"/>
                <a:gd name="connsiteY7936" fmla="*/ 27835 h 6072780"/>
                <a:gd name="connsiteX7937" fmla="*/ 3672329 w 12117871"/>
                <a:gd name="connsiteY7937" fmla="*/ 27835 h 6072780"/>
                <a:gd name="connsiteX7938" fmla="*/ 3633059 w 12117871"/>
                <a:gd name="connsiteY7938" fmla="*/ 114349 h 6072780"/>
                <a:gd name="connsiteX7939" fmla="*/ 3671576 w 12117871"/>
                <a:gd name="connsiteY7939" fmla="*/ 195295 h 6072780"/>
                <a:gd name="connsiteX7940" fmla="*/ 3709492 w 12117871"/>
                <a:gd name="connsiteY7940" fmla="*/ 112995 h 6072780"/>
                <a:gd name="connsiteX7941" fmla="*/ 3672329 w 12117871"/>
                <a:gd name="connsiteY7941" fmla="*/ 27835 h 6072780"/>
                <a:gd name="connsiteX7942" fmla="*/ 310214 w 12117871"/>
                <a:gd name="connsiteY7942" fmla="*/ 27835 h 6072780"/>
                <a:gd name="connsiteX7943" fmla="*/ 270944 w 12117871"/>
                <a:gd name="connsiteY7943" fmla="*/ 114349 h 6072780"/>
                <a:gd name="connsiteX7944" fmla="*/ 309462 w 12117871"/>
                <a:gd name="connsiteY7944" fmla="*/ 195295 h 6072780"/>
                <a:gd name="connsiteX7945" fmla="*/ 347377 w 12117871"/>
                <a:gd name="connsiteY7945" fmla="*/ 112995 h 6072780"/>
                <a:gd name="connsiteX7946" fmla="*/ 310214 w 12117871"/>
                <a:gd name="connsiteY7946" fmla="*/ 27835 h 6072780"/>
                <a:gd name="connsiteX7947" fmla="*/ 12102965 w 12117871"/>
                <a:gd name="connsiteY7947" fmla="*/ 0 h 6072780"/>
                <a:gd name="connsiteX7948" fmla="*/ 12117871 w 12117871"/>
                <a:gd name="connsiteY7948" fmla="*/ 0 h 6072780"/>
                <a:gd name="connsiteX7949" fmla="*/ 12117871 w 12117871"/>
                <a:gd name="connsiteY7949" fmla="*/ 222980 h 6072780"/>
                <a:gd name="connsiteX7950" fmla="*/ 12082583 w 12117871"/>
                <a:gd name="connsiteY7950" fmla="*/ 222980 h 6072780"/>
                <a:gd name="connsiteX7951" fmla="*/ 12082583 w 12117871"/>
                <a:gd name="connsiteY7951" fmla="*/ 43196 h 6072780"/>
                <a:gd name="connsiteX7952" fmla="*/ 12061974 w 12117871"/>
                <a:gd name="connsiteY7952" fmla="*/ 54832 h 6072780"/>
                <a:gd name="connsiteX7953" fmla="*/ 12036801 w 12117871"/>
                <a:gd name="connsiteY7953" fmla="*/ 63274 h 6072780"/>
                <a:gd name="connsiteX7954" fmla="*/ 12036801 w 12117871"/>
                <a:gd name="connsiteY7954" fmla="*/ 33158 h 6072780"/>
                <a:gd name="connsiteX7955" fmla="*/ 12053836 w 12117871"/>
                <a:gd name="connsiteY7955" fmla="*/ 27074 h 6072780"/>
                <a:gd name="connsiteX7956" fmla="*/ 12070035 w 12117871"/>
                <a:gd name="connsiteY7956" fmla="*/ 19925 h 6072780"/>
                <a:gd name="connsiteX7957" fmla="*/ 12086158 w 12117871"/>
                <a:gd name="connsiteY7957" fmla="*/ 11103 h 6072780"/>
                <a:gd name="connsiteX7958" fmla="*/ 12102965 w 12117871"/>
                <a:gd name="connsiteY7958" fmla="*/ 0 h 6072780"/>
                <a:gd name="connsiteX7959" fmla="*/ 11911291 w 12117871"/>
                <a:gd name="connsiteY7959" fmla="*/ 0 h 6072780"/>
                <a:gd name="connsiteX7960" fmla="*/ 11982458 w 12117871"/>
                <a:gd name="connsiteY7960" fmla="*/ 110587 h 6072780"/>
                <a:gd name="connsiteX7961" fmla="*/ 11962372 w 12117871"/>
                <a:gd name="connsiteY7961" fmla="*/ 194167 h 6072780"/>
                <a:gd name="connsiteX7962" fmla="*/ 11906175 w 12117871"/>
                <a:gd name="connsiteY7962" fmla="*/ 222980 h 6072780"/>
                <a:gd name="connsiteX7963" fmla="*/ 11853590 w 12117871"/>
                <a:gd name="connsiteY7963" fmla="*/ 195446 h 6072780"/>
                <a:gd name="connsiteX7964" fmla="*/ 11834707 w 12117871"/>
                <a:gd name="connsiteY7964" fmla="*/ 115854 h 6072780"/>
                <a:gd name="connsiteX7965" fmla="*/ 11854417 w 12117871"/>
                <a:gd name="connsiteY7965" fmla="*/ 29339 h 6072780"/>
                <a:gd name="connsiteX7966" fmla="*/ 11911291 w 12117871"/>
                <a:gd name="connsiteY7966" fmla="*/ 0 h 6072780"/>
                <a:gd name="connsiteX7967" fmla="*/ 11204729 w 12117871"/>
                <a:gd name="connsiteY7967" fmla="*/ 0 h 6072780"/>
                <a:gd name="connsiteX7968" fmla="*/ 11275896 w 12117871"/>
                <a:gd name="connsiteY7968" fmla="*/ 110587 h 6072780"/>
                <a:gd name="connsiteX7969" fmla="*/ 11255810 w 12117871"/>
                <a:gd name="connsiteY7969" fmla="*/ 194167 h 6072780"/>
                <a:gd name="connsiteX7970" fmla="*/ 11199613 w 12117871"/>
                <a:gd name="connsiteY7970" fmla="*/ 222980 h 6072780"/>
                <a:gd name="connsiteX7971" fmla="*/ 11147028 w 12117871"/>
                <a:gd name="connsiteY7971" fmla="*/ 195446 h 6072780"/>
                <a:gd name="connsiteX7972" fmla="*/ 11128145 w 12117871"/>
                <a:gd name="connsiteY7972" fmla="*/ 115854 h 6072780"/>
                <a:gd name="connsiteX7973" fmla="*/ 11147855 w 12117871"/>
                <a:gd name="connsiteY7973" fmla="*/ 29339 h 6072780"/>
                <a:gd name="connsiteX7974" fmla="*/ 11204729 w 12117871"/>
                <a:gd name="connsiteY7974" fmla="*/ 0 h 6072780"/>
                <a:gd name="connsiteX7975" fmla="*/ 10831011 w 12117871"/>
                <a:gd name="connsiteY7975" fmla="*/ 0 h 6072780"/>
                <a:gd name="connsiteX7976" fmla="*/ 10845917 w 12117871"/>
                <a:gd name="connsiteY7976" fmla="*/ 0 h 6072780"/>
                <a:gd name="connsiteX7977" fmla="*/ 10845917 w 12117871"/>
                <a:gd name="connsiteY7977" fmla="*/ 222980 h 6072780"/>
                <a:gd name="connsiteX7978" fmla="*/ 10810629 w 12117871"/>
                <a:gd name="connsiteY7978" fmla="*/ 222980 h 6072780"/>
                <a:gd name="connsiteX7979" fmla="*/ 10810629 w 12117871"/>
                <a:gd name="connsiteY7979" fmla="*/ 43196 h 6072780"/>
                <a:gd name="connsiteX7980" fmla="*/ 10790020 w 12117871"/>
                <a:gd name="connsiteY7980" fmla="*/ 54832 h 6072780"/>
                <a:gd name="connsiteX7981" fmla="*/ 10764847 w 12117871"/>
                <a:gd name="connsiteY7981" fmla="*/ 63274 h 6072780"/>
                <a:gd name="connsiteX7982" fmla="*/ 10764847 w 12117871"/>
                <a:gd name="connsiteY7982" fmla="*/ 33158 h 6072780"/>
                <a:gd name="connsiteX7983" fmla="*/ 10781882 w 12117871"/>
                <a:gd name="connsiteY7983" fmla="*/ 27074 h 6072780"/>
                <a:gd name="connsiteX7984" fmla="*/ 10798081 w 12117871"/>
                <a:gd name="connsiteY7984" fmla="*/ 19925 h 6072780"/>
                <a:gd name="connsiteX7985" fmla="*/ 10814204 w 12117871"/>
                <a:gd name="connsiteY7985" fmla="*/ 11103 h 6072780"/>
                <a:gd name="connsiteX7986" fmla="*/ 10831011 w 12117871"/>
                <a:gd name="connsiteY7986" fmla="*/ 0 h 6072780"/>
                <a:gd name="connsiteX7987" fmla="*/ 10458803 w 12117871"/>
                <a:gd name="connsiteY7987" fmla="*/ 0 h 6072780"/>
                <a:gd name="connsiteX7988" fmla="*/ 10473709 w 12117871"/>
                <a:gd name="connsiteY7988" fmla="*/ 0 h 6072780"/>
                <a:gd name="connsiteX7989" fmla="*/ 10473709 w 12117871"/>
                <a:gd name="connsiteY7989" fmla="*/ 222980 h 6072780"/>
                <a:gd name="connsiteX7990" fmla="*/ 10438421 w 12117871"/>
                <a:gd name="connsiteY7990" fmla="*/ 222980 h 6072780"/>
                <a:gd name="connsiteX7991" fmla="*/ 10438421 w 12117871"/>
                <a:gd name="connsiteY7991" fmla="*/ 43196 h 6072780"/>
                <a:gd name="connsiteX7992" fmla="*/ 10417812 w 12117871"/>
                <a:gd name="connsiteY7992" fmla="*/ 54832 h 6072780"/>
                <a:gd name="connsiteX7993" fmla="*/ 10392639 w 12117871"/>
                <a:gd name="connsiteY7993" fmla="*/ 63274 h 6072780"/>
                <a:gd name="connsiteX7994" fmla="*/ 10392639 w 12117871"/>
                <a:gd name="connsiteY7994" fmla="*/ 33158 h 6072780"/>
                <a:gd name="connsiteX7995" fmla="*/ 10409674 w 12117871"/>
                <a:gd name="connsiteY7995" fmla="*/ 27074 h 6072780"/>
                <a:gd name="connsiteX7996" fmla="*/ 10425873 w 12117871"/>
                <a:gd name="connsiteY7996" fmla="*/ 19925 h 6072780"/>
                <a:gd name="connsiteX7997" fmla="*/ 10441996 w 12117871"/>
                <a:gd name="connsiteY7997" fmla="*/ 11103 h 6072780"/>
                <a:gd name="connsiteX7998" fmla="*/ 10458803 w 12117871"/>
                <a:gd name="connsiteY7998" fmla="*/ 0 h 6072780"/>
                <a:gd name="connsiteX7999" fmla="*/ 10171587 w 12117871"/>
                <a:gd name="connsiteY7999" fmla="*/ 0 h 6072780"/>
                <a:gd name="connsiteX8000" fmla="*/ 10186493 w 12117871"/>
                <a:gd name="connsiteY8000" fmla="*/ 0 h 6072780"/>
                <a:gd name="connsiteX8001" fmla="*/ 10186493 w 12117871"/>
                <a:gd name="connsiteY8001" fmla="*/ 222980 h 6072780"/>
                <a:gd name="connsiteX8002" fmla="*/ 10151205 w 12117871"/>
                <a:gd name="connsiteY8002" fmla="*/ 222980 h 6072780"/>
                <a:gd name="connsiteX8003" fmla="*/ 10151205 w 12117871"/>
                <a:gd name="connsiteY8003" fmla="*/ 43196 h 6072780"/>
                <a:gd name="connsiteX8004" fmla="*/ 10130596 w 12117871"/>
                <a:gd name="connsiteY8004" fmla="*/ 54832 h 6072780"/>
                <a:gd name="connsiteX8005" fmla="*/ 10105423 w 12117871"/>
                <a:gd name="connsiteY8005" fmla="*/ 63274 h 6072780"/>
                <a:gd name="connsiteX8006" fmla="*/ 10105423 w 12117871"/>
                <a:gd name="connsiteY8006" fmla="*/ 33158 h 6072780"/>
                <a:gd name="connsiteX8007" fmla="*/ 10122458 w 12117871"/>
                <a:gd name="connsiteY8007" fmla="*/ 27074 h 6072780"/>
                <a:gd name="connsiteX8008" fmla="*/ 10138657 w 12117871"/>
                <a:gd name="connsiteY8008" fmla="*/ 19925 h 6072780"/>
                <a:gd name="connsiteX8009" fmla="*/ 10154780 w 12117871"/>
                <a:gd name="connsiteY8009" fmla="*/ 11103 h 6072780"/>
                <a:gd name="connsiteX8010" fmla="*/ 10171587 w 12117871"/>
                <a:gd name="connsiteY8010" fmla="*/ 0 h 6072780"/>
                <a:gd name="connsiteX8011" fmla="*/ 9957210 w 12117871"/>
                <a:gd name="connsiteY8011" fmla="*/ 0 h 6072780"/>
                <a:gd name="connsiteX8012" fmla="*/ 10028377 w 12117871"/>
                <a:gd name="connsiteY8012" fmla="*/ 110587 h 6072780"/>
                <a:gd name="connsiteX8013" fmla="*/ 10008291 w 12117871"/>
                <a:gd name="connsiteY8013" fmla="*/ 194167 h 6072780"/>
                <a:gd name="connsiteX8014" fmla="*/ 9952094 w 12117871"/>
                <a:gd name="connsiteY8014" fmla="*/ 222980 h 6072780"/>
                <a:gd name="connsiteX8015" fmla="*/ 9899509 w 12117871"/>
                <a:gd name="connsiteY8015" fmla="*/ 195446 h 6072780"/>
                <a:gd name="connsiteX8016" fmla="*/ 9880626 w 12117871"/>
                <a:gd name="connsiteY8016" fmla="*/ 115854 h 6072780"/>
                <a:gd name="connsiteX8017" fmla="*/ 9900336 w 12117871"/>
                <a:gd name="connsiteY8017" fmla="*/ 29339 h 6072780"/>
                <a:gd name="connsiteX8018" fmla="*/ 9957210 w 12117871"/>
                <a:gd name="connsiteY8018" fmla="*/ 0 h 6072780"/>
                <a:gd name="connsiteX8019" fmla="*/ 9737766 w 12117871"/>
                <a:gd name="connsiteY8019" fmla="*/ 0 h 6072780"/>
                <a:gd name="connsiteX8020" fmla="*/ 9808933 w 12117871"/>
                <a:gd name="connsiteY8020" fmla="*/ 110587 h 6072780"/>
                <a:gd name="connsiteX8021" fmla="*/ 9788847 w 12117871"/>
                <a:gd name="connsiteY8021" fmla="*/ 194167 h 6072780"/>
                <a:gd name="connsiteX8022" fmla="*/ 9732650 w 12117871"/>
                <a:gd name="connsiteY8022" fmla="*/ 222980 h 6072780"/>
                <a:gd name="connsiteX8023" fmla="*/ 9680065 w 12117871"/>
                <a:gd name="connsiteY8023" fmla="*/ 195446 h 6072780"/>
                <a:gd name="connsiteX8024" fmla="*/ 9661182 w 12117871"/>
                <a:gd name="connsiteY8024" fmla="*/ 115854 h 6072780"/>
                <a:gd name="connsiteX8025" fmla="*/ 9680892 w 12117871"/>
                <a:gd name="connsiteY8025" fmla="*/ 29339 h 6072780"/>
                <a:gd name="connsiteX8026" fmla="*/ 9737766 w 12117871"/>
                <a:gd name="connsiteY8026" fmla="*/ 0 h 6072780"/>
                <a:gd name="connsiteX8027" fmla="*/ 9570779 w 12117871"/>
                <a:gd name="connsiteY8027" fmla="*/ 0 h 6072780"/>
                <a:gd name="connsiteX8028" fmla="*/ 9585685 w 12117871"/>
                <a:gd name="connsiteY8028" fmla="*/ 0 h 6072780"/>
                <a:gd name="connsiteX8029" fmla="*/ 9585685 w 12117871"/>
                <a:gd name="connsiteY8029" fmla="*/ 222980 h 6072780"/>
                <a:gd name="connsiteX8030" fmla="*/ 9550397 w 12117871"/>
                <a:gd name="connsiteY8030" fmla="*/ 222980 h 6072780"/>
                <a:gd name="connsiteX8031" fmla="*/ 9550397 w 12117871"/>
                <a:gd name="connsiteY8031" fmla="*/ 43196 h 6072780"/>
                <a:gd name="connsiteX8032" fmla="*/ 9529788 w 12117871"/>
                <a:gd name="connsiteY8032" fmla="*/ 54832 h 6072780"/>
                <a:gd name="connsiteX8033" fmla="*/ 9504615 w 12117871"/>
                <a:gd name="connsiteY8033" fmla="*/ 63274 h 6072780"/>
                <a:gd name="connsiteX8034" fmla="*/ 9504615 w 12117871"/>
                <a:gd name="connsiteY8034" fmla="*/ 33158 h 6072780"/>
                <a:gd name="connsiteX8035" fmla="*/ 9521650 w 12117871"/>
                <a:gd name="connsiteY8035" fmla="*/ 27074 h 6072780"/>
                <a:gd name="connsiteX8036" fmla="*/ 9537849 w 12117871"/>
                <a:gd name="connsiteY8036" fmla="*/ 19925 h 6072780"/>
                <a:gd name="connsiteX8037" fmla="*/ 9553972 w 12117871"/>
                <a:gd name="connsiteY8037" fmla="*/ 11103 h 6072780"/>
                <a:gd name="connsiteX8038" fmla="*/ 9570779 w 12117871"/>
                <a:gd name="connsiteY8038" fmla="*/ 0 h 6072780"/>
                <a:gd name="connsiteX8039" fmla="*/ 9283563 w 12117871"/>
                <a:gd name="connsiteY8039" fmla="*/ 0 h 6072780"/>
                <a:gd name="connsiteX8040" fmla="*/ 9298469 w 12117871"/>
                <a:gd name="connsiteY8040" fmla="*/ 0 h 6072780"/>
                <a:gd name="connsiteX8041" fmla="*/ 9298469 w 12117871"/>
                <a:gd name="connsiteY8041" fmla="*/ 222980 h 6072780"/>
                <a:gd name="connsiteX8042" fmla="*/ 9263181 w 12117871"/>
                <a:gd name="connsiteY8042" fmla="*/ 222980 h 6072780"/>
                <a:gd name="connsiteX8043" fmla="*/ 9263181 w 12117871"/>
                <a:gd name="connsiteY8043" fmla="*/ 43196 h 6072780"/>
                <a:gd name="connsiteX8044" fmla="*/ 9242572 w 12117871"/>
                <a:gd name="connsiteY8044" fmla="*/ 54832 h 6072780"/>
                <a:gd name="connsiteX8045" fmla="*/ 9217399 w 12117871"/>
                <a:gd name="connsiteY8045" fmla="*/ 63274 h 6072780"/>
                <a:gd name="connsiteX8046" fmla="*/ 9217399 w 12117871"/>
                <a:gd name="connsiteY8046" fmla="*/ 33158 h 6072780"/>
                <a:gd name="connsiteX8047" fmla="*/ 9234434 w 12117871"/>
                <a:gd name="connsiteY8047" fmla="*/ 27074 h 6072780"/>
                <a:gd name="connsiteX8048" fmla="*/ 9250633 w 12117871"/>
                <a:gd name="connsiteY8048" fmla="*/ 19925 h 6072780"/>
                <a:gd name="connsiteX8049" fmla="*/ 9266756 w 12117871"/>
                <a:gd name="connsiteY8049" fmla="*/ 11103 h 6072780"/>
                <a:gd name="connsiteX8050" fmla="*/ 9283563 w 12117871"/>
                <a:gd name="connsiteY8050" fmla="*/ 0 h 6072780"/>
                <a:gd name="connsiteX8051" fmla="*/ 8893772 w 12117871"/>
                <a:gd name="connsiteY8051" fmla="*/ 0 h 6072780"/>
                <a:gd name="connsiteX8052" fmla="*/ 8908678 w 12117871"/>
                <a:gd name="connsiteY8052" fmla="*/ 0 h 6072780"/>
                <a:gd name="connsiteX8053" fmla="*/ 8908678 w 12117871"/>
                <a:gd name="connsiteY8053" fmla="*/ 222980 h 6072780"/>
                <a:gd name="connsiteX8054" fmla="*/ 8873390 w 12117871"/>
                <a:gd name="connsiteY8054" fmla="*/ 222980 h 6072780"/>
                <a:gd name="connsiteX8055" fmla="*/ 8873390 w 12117871"/>
                <a:gd name="connsiteY8055" fmla="*/ 43196 h 6072780"/>
                <a:gd name="connsiteX8056" fmla="*/ 8852781 w 12117871"/>
                <a:gd name="connsiteY8056" fmla="*/ 54832 h 6072780"/>
                <a:gd name="connsiteX8057" fmla="*/ 8827608 w 12117871"/>
                <a:gd name="connsiteY8057" fmla="*/ 63274 h 6072780"/>
                <a:gd name="connsiteX8058" fmla="*/ 8827608 w 12117871"/>
                <a:gd name="connsiteY8058" fmla="*/ 33158 h 6072780"/>
                <a:gd name="connsiteX8059" fmla="*/ 8844643 w 12117871"/>
                <a:gd name="connsiteY8059" fmla="*/ 27074 h 6072780"/>
                <a:gd name="connsiteX8060" fmla="*/ 8860842 w 12117871"/>
                <a:gd name="connsiteY8060" fmla="*/ 19925 h 6072780"/>
                <a:gd name="connsiteX8061" fmla="*/ 8876965 w 12117871"/>
                <a:gd name="connsiteY8061" fmla="*/ 11103 h 6072780"/>
                <a:gd name="connsiteX8062" fmla="*/ 8893772 w 12117871"/>
                <a:gd name="connsiteY8062" fmla="*/ 0 h 6072780"/>
                <a:gd name="connsiteX8063" fmla="*/ 8750164 w 12117871"/>
                <a:gd name="connsiteY8063" fmla="*/ 0 h 6072780"/>
                <a:gd name="connsiteX8064" fmla="*/ 8765070 w 12117871"/>
                <a:gd name="connsiteY8064" fmla="*/ 0 h 6072780"/>
                <a:gd name="connsiteX8065" fmla="*/ 8765070 w 12117871"/>
                <a:gd name="connsiteY8065" fmla="*/ 222980 h 6072780"/>
                <a:gd name="connsiteX8066" fmla="*/ 8729782 w 12117871"/>
                <a:gd name="connsiteY8066" fmla="*/ 222980 h 6072780"/>
                <a:gd name="connsiteX8067" fmla="*/ 8729782 w 12117871"/>
                <a:gd name="connsiteY8067" fmla="*/ 43196 h 6072780"/>
                <a:gd name="connsiteX8068" fmla="*/ 8709173 w 12117871"/>
                <a:gd name="connsiteY8068" fmla="*/ 54832 h 6072780"/>
                <a:gd name="connsiteX8069" fmla="*/ 8684000 w 12117871"/>
                <a:gd name="connsiteY8069" fmla="*/ 63274 h 6072780"/>
                <a:gd name="connsiteX8070" fmla="*/ 8684000 w 12117871"/>
                <a:gd name="connsiteY8070" fmla="*/ 33158 h 6072780"/>
                <a:gd name="connsiteX8071" fmla="*/ 8701035 w 12117871"/>
                <a:gd name="connsiteY8071" fmla="*/ 27074 h 6072780"/>
                <a:gd name="connsiteX8072" fmla="*/ 8717234 w 12117871"/>
                <a:gd name="connsiteY8072" fmla="*/ 19925 h 6072780"/>
                <a:gd name="connsiteX8073" fmla="*/ 8733357 w 12117871"/>
                <a:gd name="connsiteY8073" fmla="*/ 11103 h 6072780"/>
                <a:gd name="connsiteX8074" fmla="*/ 8750164 w 12117871"/>
                <a:gd name="connsiteY8074" fmla="*/ 0 h 6072780"/>
                <a:gd name="connsiteX8075" fmla="*/ 8606556 w 12117871"/>
                <a:gd name="connsiteY8075" fmla="*/ 0 h 6072780"/>
                <a:gd name="connsiteX8076" fmla="*/ 8621462 w 12117871"/>
                <a:gd name="connsiteY8076" fmla="*/ 0 h 6072780"/>
                <a:gd name="connsiteX8077" fmla="*/ 8621462 w 12117871"/>
                <a:gd name="connsiteY8077" fmla="*/ 222980 h 6072780"/>
                <a:gd name="connsiteX8078" fmla="*/ 8586174 w 12117871"/>
                <a:gd name="connsiteY8078" fmla="*/ 222980 h 6072780"/>
                <a:gd name="connsiteX8079" fmla="*/ 8586174 w 12117871"/>
                <a:gd name="connsiteY8079" fmla="*/ 43196 h 6072780"/>
                <a:gd name="connsiteX8080" fmla="*/ 8565565 w 12117871"/>
                <a:gd name="connsiteY8080" fmla="*/ 54832 h 6072780"/>
                <a:gd name="connsiteX8081" fmla="*/ 8540392 w 12117871"/>
                <a:gd name="connsiteY8081" fmla="*/ 63274 h 6072780"/>
                <a:gd name="connsiteX8082" fmla="*/ 8540392 w 12117871"/>
                <a:gd name="connsiteY8082" fmla="*/ 33158 h 6072780"/>
                <a:gd name="connsiteX8083" fmla="*/ 8557427 w 12117871"/>
                <a:gd name="connsiteY8083" fmla="*/ 27074 h 6072780"/>
                <a:gd name="connsiteX8084" fmla="*/ 8573626 w 12117871"/>
                <a:gd name="connsiteY8084" fmla="*/ 19925 h 6072780"/>
                <a:gd name="connsiteX8085" fmla="*/ 8589749 w 12117871"/>
                <a:gd name="connsiteY8085" fmla="*/ 11103 h 6072780"/>
                <a:gd name="connsiteX8086" fmla="*/ 8606556 w 12117871"/>
                <a:gd name="connsiteY8086" fmla="*/ 0 h 6072780"/>
                <a:gd name="connsiteX8087" fmla="*/ 7844555 w 12117871"/>
                <a:gd name="connsiteY8087" fmla="*/ 0 h 6072780"/>
                <a:gd name="connsiteX8088" fmla="*/ 7859462 w 12117871"/>
                <a:gd name="connsiteY8088" fmla="*/ 0 h 6072780"/>
                <a:gd name="connsiteX8089" fmla="*/ 7859462 w 12117871"/>
                <a:gd name="connsiteY8089" fmla="*/ 222980 h 6072780"/>
                <a:gd name="connsiteX8090" fmla="*/ 7824174 w 12117871"/>
                <a:gd name="connsiteY8090" fmla="*/ 222980 h 6072780"/>
                <a:gd name="connsiteX8091" fmla="*/ 7824174 w 12117871"/>
                <a:gd name="connsiteY8091" fmla="*/ 43196 h 6072780"/>
                <a:gd name="connsiteX8092" fmla="*/ 7803564 w 12117871"/>
                <a:gd name="connsiteY8092" fmla="*/ 54832 h 6072780"/>
                <a:gd name="connsiteX8093" fmla="*/ 7778392 w 12117871"/>
                <a:gd name="connsiteY8093" fmla="*/ 63274 h 6072780"/>
                <a:gd name="connsiteX8094" fmla="*/ 7778392 w 12117871"/>
                <a:gd name="connsiteY8094" fmla="*/ 33158 h 6072780"/>
                <a:gd name="connsiteX8095" fmla="*/ 7795427 w 12117871"/>
                <a:gd name="connsiteY8095" fmla="*/ 27074 h 6072780"/>
                <a:gd name="connsiteX8096" fmla="*/ 7811626 w 12117871"/>
                <a:gd name="connsiteY8096" fmla="*/ 19925 h 6072780"/>
                <a:gd name="connsiteX8097" fmla="*/ 7827748 w 12117871"/>
                <a:gd name="connsiteY8097" fmla="*/ 11103 h 6072780"/>
                <a:gd name="connsiteX8098" fmla="*/ 7844555 w 12117871"/>
                <a:gd name="connsiteY8098" fmla="*/ 0 h 6072780"/>
                <a:gd name="connsiteX8099" fmla="*/ 7700947 w 12117871"/>
                <a:gd name="connsiteY8099" fmla="*/ 0 h 6072780"/>
                <a:gd name="connsiteX8100" fmla="*/ 7715854 w 12117871"/>
                <a:gd name="connsiteY8100" fmla="*/ 0 h 6072780"/>
                <a:gd name="connsiteX8101" fmla="*/ 7715854 w 12117871"/>
                <a:gd name="connsiteY8101" fmla="*/ 222980 h 6072780"/>
                <a:gd name="connsiteX8102" fmla="*/ 7680566 w 12117871"/>
                <a:gd name="connsiteY8102" fmla="*/ 222980 h 6072780"/>
                <a:gd name="connsiteX8103" fmla="*/ 7680566 w 12117871"/>
                <a:gd name="connsiteY8103" fmla="*/ 43196 h 6072780"/>
                <a:gd name="connsiteX8104" fmla="*/ 7659956 w 12117871"/>
                <a:gd name="connsiteY8104" fmla="*/ 54832 h 6072780"/>
                <a:gd name="connsiteX8105" fmla="*/ 7634784 w 12117871"/>
                <a:gd name="connsiteY8105" fmla="*/ 63274 h 6072780"/>
                <a:gd name="connsiteX8106" fmla="*/ 7634784 w 12117871"/>
                <a:gd name="connsiteY8106" fmla="*/ 33158 h 6072780"/>
                <a:gd name="connsiteX8107" fmla="*/ 7651819 w 12117871"/>
                <a:gd name="connsiteY8107" fmla="*/ 27074 h 6072780"/>
                <a:gd name="connsiteX8108" fmla="*/ 7668018 w 12117871"/>
                <a:gd name="connsiteY8108" fmla="*/ 19925 h 6072780"/>
                <a:gd name="connsiteX8109" fmla="*/ 7684140 w 12117871"/>
                <a:gd name="connsiteY8109" fmla="*/ 11103 h 6072780"/>
                <a:gd name="connsiteX8110" fmla="*/ 7700947 w 12117871"/>
                <a:gd name="connsiteY8110" fmla="*/ 0 h 6072780"/>
                <a:gd name="connsiteX8111" fmla="*/ 7413731 w 12117871"/>
                <a:gd name="connsiteY8111" fmla="*/ 0 h 6072780"/>
                <a:gd name="connsiteX8112" fmla="*/ 7428638 w 12117871"/>
                <a:gd name="connsiteY8112" fmla="*/ 0 h 6072780"/>
                <a:gd name="connsiteX8113" fmla="*/ 7428638 w 12117871"/>
                <a:gd name="connsiteY8113" fmla="*/ 222980 h 6072780"/>
                <a:gd name="connsiteX8114" fmla="*/ 7393350 w 12117871"/>
                <a:gd name="connsiteY8114" fmla="*/ 222980 h 6072780"/>
                <a:gd name="connsiteX8115" fmla="*/ 7393350 w 12117871"/>
                <a:gd name="connsiteY8115" fmla="*/ 43196 h 6072780"/>
                <a:gd name="connsiteX8116" fmla="*/ 7372740 w 12117871"/>
                <a:gd name="connsiteY8116" fmla="*/ 54832 h 6072780"/>
                <a:gd name="connsiteX8117" fmla="*/ 7347568 w 12117871"/>
                <a:gd name="connsiteY8117" fmla="*/ 63274 h 6072780"/>
                <a:gd name="connsiteX8118" fmla="*/ 7347568 w 12117871"/>
                <a:gd name="connsiteY8118" fmla="*/ 33158 h 6072780"/>
                <a:gd name="connsiteX8119" fmla="*/ 7364603 w 12117871"/>
                <a:gd name="connsiteY8119" fmla="*/ 27074 h 6072780"/>
                <a:gd name="connsiteX8120" fmla="*/ 7380802 w 12117871"/>
                <a:gd name="connsiteY8120" fmla="*/ 19925 h 6072780"/>
                <a:gd name="connsiteX8121" fmla="*/ 7396924 w 12117871"/>
                <a:gd name="connsiteY8121" fmla="*/ 11103 h 6072780"/>
                <a:gd name="connsiteX8122" fmla="*/ 7413731 w 12117871"/>
                <a:gd name="connsiteY8122" fmla="*/ 0 h 6072780"/>
                <a:gd name="connsiteX8123" fmla="*/ 7015147 w 12117871"/>
                <a:gd name="connsiteY8123" fmla="*/ 0 h 6072780"/>
                <a:gd name="connsiteX8124" fmla="*/ 7030053 w 12117871"/>
                <a:gd name="connsiteY8124" fmla="*/ 0 h 6072780"/>
                <a:gd name="connsiteX8125" fmla="*/ 7030053 w 12117871"/>
                <a:gd name="connsiteY8125" fmla="*/ 222980 h 6072780"/>
                <a:gd name="connsiteX8126" fmla="*/ 6994765 w 12117871"/>
                <a:gd name="connsiteY8126" fmla="*/ 222980 h 6072780"/>
                <a:gd name="connsiteX8127" fmla="*/ 6994765 w 12117871"/>
                <a:gd name="connsiteY8127" fmla="*/ 43196 h 6072780"/>
                <a:gd name="connsiteX8128" fmla="*/ 6974156 w 12117871"/>
                <a:gd name="connsiteY8128" fmla="*/ 54832 h 6072780"/>
                <a:gd name="connsiteX8129" fmla="*/ 6948983 w 12117871"/>
                <a:gd name="connsiteY8129" fmla="*/ 63274 h 6072780"/>
                <a:gd name="connsiteX8130" fmla="*/ 6948983 w 12117871"/>
                <a:gd name="connsiteY8130" fmla="*/ 33158 h 6072780"/>
                <a:gd name="connsiteX8131" fmla="*/ 6966018 w 12117871"/>
                <a:gd name="connsiteY8131" fmla="*/ 27074 h 6072780"/>
                <a:gd name="connsiteX8132" fmla="*/ 6982217 w 12117871"/>
                <a:gd name="connsiteY8132" fmla="*/ 19925 h 6072780"/>
                <a:gd name="connsiteX8133" fmla="*/ 6998340 w 12117871"/>
                <a:gd name="connsiteY8133" fmla="*/ 11103 h 6072780"/>
                <a:gd name="connsiteX8134" fmla="*/ 7015147 w 12117871"/>
                <a:gd name="connsiteY8134" fmla="*/ 0 h 6072780"/>
                <a:gd name="connsiteX8135" fmla="*/ 6871539 w 12117871"/>
                <a:gd name="connsiteY8135" fmla="*/ 0 h 6072780"/>
                <a:gd name="connsiteX8136" fmla="*/ 6886445 w 12117871"/>
                <a:gd name="connsiteY8136" fmla="*/ 0 h 6072780"/>
                <a:gd name="connsiteX8137" fmla="*/ 6886445 w 12117871"/>
                <a:gd name="connsiteY8137" fmla="*/ 222980 h 6072780"/>
                <a:gd name="connsiteX8138" fmla="*/ 6851157 w 12117871"/>
                <a:gd name="connsiteY8138" fmla="*/ 222980 h 6072780"/>
                <a:gd name="connsiteX8139" fmla="*/ 6851157 w 12117871"/>
                <a:gd name="connsiteY8139" fmla="*/ 43196 h 6072780"/>
                <a:gd name="connsiteX8140" fmla="*/ 6830548 w 12117871"/>
                <a:gd name="connsiteY8140" fmla="*/ 54832 h 6072780"/>
                <a:gd name="connsiteX8141" fmla="*/ 6805375 w 12117871"/>
                <a:gd name="connsiteY8141" fmla="*/ 63274 h 6072780"/>
                <a:gd name="connsiteX8142" fmla="*/ 6805375 w 12117871"/>
                <a:gd name="connsiteY8142" fmla="*/ 33158 h 6072780"/>
                <a:gd name="connsiteX8143" fmla="*/ 6822410 w 12117871"/>
                <a:gd name="connsiteY8143" fmla="*/ 27074 h 6072780"/>
                <a:gd name="connsiteX8144" fmla="*/ 6838609 w 12117871"/>
                <a:gd name="connsiteY8144" fmla="*/ 19925 h 6072780"/>
                <a:gd name="connsiteX8145" fmla="*/ 6854732 w 12117871"/>
                <a:gd name="connsiteY8145" fmla="*/ 11103 h 6072780"/>
                <a:gd name="connsiteX8146" fmla="*/ 6871539 w 12117871"/>
                <a:gd name="connsiteY8146" fmla="*/ 0 h 6072780"/>
                <a:gd name="connsiteX8147" fmla="*/ 6727931 w 12117871"/>
                <a:gd name="connsiteY8147" fmla="*/ 0 h 6072780"/>
                <a:gd name="connsiteX8148" fmla="*/ 6742837 w 12117871"/>
                <a:gd name="connsiteY8148" fmla="*/ 0 h 6072780"/>
                <a:gd name="connsiteX8149" fmla="*/ 6742837 w 12117871"/>
                <a:gd name="connsiteY8149" fmla="*/ 222980 h 6072780"/>
                <a:gd name="connsiteX8150" fmla="*/ 6707549 w 12117871"/>
                <a:gd name="connsiteY8150" fmla="*/ 222980 h 6072780"/>
                <a:gd name="connsiteX8151" fmla="*/ 6707549 w 12117871"/>
                <a:gd name="connsiteY8151" fmla="*/ 43196 h 6072780"/>
                <a:gd name="connsiteX8152" fmla="*/ 6686940 w 12117871"/>
                <a:gd name="connsiteY8152" fmla="*/ 54832 h 6072780"/>
                <a:gd name="connsiteX8153" fmla="*/ 6661767 w 12117871"/>
                <a:gd name="connsiteY8153" fmla="*/ 63274 h 6072780"/>
                <a:gd name="connsiteX8154" fmla="*/ 6661767 w 12117871"/>
                <a:gd name="connsiteY8154" fmla="*/ 33158 h 6072780"/>
                <a:gd name="connsiteX8155" fmla="*/ 6678802 w 12117871"/>
                <a:gd name="connsiteY8155" fmla="*/ 27074 h 6072780"/>
                <a:gd name="connsiteX8156" fmla="*/ 6695001 w 12117871"/>
                <a:gd name="connsiteY8156" fmla="*/ 19925 h 6072780"/>
                <a:gd name="connsiteX8157" fmla="*/ 6711124 w 12117871"/>
                <a:gd name="connsiteY8157" fmla="*/ 11103 h 6072780"/>
                <a:gd name="connsiteX8158" fmla="*/ 6727931 w 12117871"/>
                <a:gd name="connsiteY8158" fmla="*/ 0 h 6072780"/>
                <a:gd name="connsiteX8159" fmla="*/ 6584323 w 12117871"/>
                <a:gd name="connsiteY8159" fmla="*/ 0 h 6072780"/>
                <a:gd name="connsiteX8160" fmla="*/ 6599229 w 12117871"/>
                <a:gd name="connsiteY8160" fmla="*/ 0 h 6072780"/>
                <a:gd name="connsiteX8161" fmla="*/ 6599229 w 12117871"/>
                <a:gd name="connsiteY8161" fmla="*/ 222980 h 6072780"/>
                <a:gd name="connsiteX8162" fmla="*/ 6563941 w 12117871"/>
                <a:gd name="connsiteY8162" fmla="*/ 222980 h 6072780"/>
                <a:gd name="connsiteX8163" fmla="*/ 6563941 w 12117871"/>
                <a:gd name="connsiteY8163" fmla="*/ 43196 h 6072780"/>
                <a:gd name="connsiteX8164" fmla="*/ 6543332 w 12117871"/>
                <a:gd name="connsiteY8164" fmla="*/ 54832 h 6072780"/>
                <a:gd name="connsiteX8165" fmla="*/ 6518159 w 12117871"/>
                <a:gd name="connsiteY8165" fmla="*/ 63274 h 6072780"/>
                <a:gd name="connsiteX8166" fmla="*/ 6518159 w 12117871"/>
                <a:gd name="connsiteY8166" fmla="*/ 33158 h 6072780"/>
                <a:gd name="connsiteX8167" fmla="*/ 6535194 w 12117871"/>
                <a:gd name="connsiteY8167" fmla="*/ 27074 h 6072780"/>
                <a:gd name="connsiteX8168" fmla="*/ 6551393 w 12117871"/>
                <a:gd name="connsiteY8168" fmla="*/ 19925 h 6072780"/>
                <a:gd name="connsiteX8169" fmla="*/ 6567516 w 12117871"/>
                <a:gd name="connsiteY8169" fmla="*/ 11103 h 6072780"/>
                <a:gd name="connsiteX8170" fmla="*/ 6584323 w 12117871"/>
                <a:gd name="connsiteY8170" fmla="*/ 0 h 6072780"/>
                <a:gd name="connsiteX8171" fmla="*/ 6383121 w 12117871"/>
                <a:gd name="connsiteY8171" fmla="*/ 0 h 6072780"/>
                <a:gd name="connsiteX8172" fmla="*/ 6454288 w 12117871"/>
                <a:gd name="connsiteY8172" fmla="*/ 110587 h 6072780"/>
                <a:gd name="connsiteX8173" fmla="*/ 6434202 w 12117871"/>
                <a:gd name="connsiteY8173" fmla="*/ 194167 h 6072780"/>
                <a:gd name="connsiteX8174" fmla="*/ 6378005 w 12117871"/>
                <a:gd name="connsiteY8174" fmla="*/ 222980 h 6072780"/>
                <a:gd name="connsiteX8175" fmla="*/ 6325420 w 12117871"/>
                <a:gd name="connsiteY8175" fmla="*/ 195446 h 6072780"/>
                <a:gd name="connsiteX8176" fmla="*/ 6306537 w 12117871"/>
                <a:gd name="connsiteY8176" fmla="*/ 115854 h 6072780"/>
                <a:gd name="connsiteX8177" fmla="*/ 6326247 w 12117871"/>
                <a:gd name="connsiteY8177" fmla="*/ 29339 h 6072780"/>
                <a:gd name="connsiteX8178" fmla="*/ 6383121 w 12117871"/>
                <a:gd name="connsiteY8178" fmla="*/ 0 h 6072780"/>
                <a:gd name="connsiteX8179" fmla="*/ 6047993 w 12117871"/>
                <a:gd name="connsiteY8179" fmla="*/ 0 h 6072780"/>
                <a:gd name="connsiteX8180" fmla="*/ 6062899 w 12117871"/>
                <a:gd name="connsiteY8180" fmla="*/ 0 h 6072780"/>
                <a:gd name="connsiteX8181" fmla="*/ 6062899 w 12117871"/>
                <a:gd name="connsiteY8181" fmla="*/ 222980 h 6072780"/>
                <a:gd name="connsiteX8182" fmla="*/ 6027612 w 12117871"/>
                <a:gd name="connsiteY8182" fmla="*/ 222980 h 6072780"/>
                <a:gd name="connsiteX8183" fmla="*/ 6027612 w 12117871"/>
                <a:gd name="connsiteY8183" fmla="*/ 43196 h 6072780"/>
                <a:gd name="connsiteX8184" fmla="*/ 6007002 w 12117871"/>
                <a:gd name="connsiteY8184" fmla="*/ 54832 h 6072780"/>
                <a:gd name="connsiteX8185" fmla="*/ 5981830 w 12117871"/>
                <a:gd name="connsiteY8185" fmla="*/ 63274 h 6072780"/>
                <a:gd name="connsiteX8186" fmla="*/ 5981830 w 12117871"/>
                <a:gd name="connsiteY8186" fmla="*/ 33158 h 6072780"/>
                <a:gd name="connsiteX8187" fmla="*/ 5998864 w 12117871"/>
                <a:gd name="connsiteY8187" fmla="*/ 27074 h 6072780"/>
                <a:gd name="connsiteX8188" fmla="*/ 6015063 w 12117871"/>
                <a:gd name="connsiteY8188" fmla="*/ 19925 h 6072780"/>
                <a:gd name="connsiteX8189" fmla="*/ 6031186 w 12117871"/>
                <a:gd name="connsiteY8189" fmla="*/ 11103 h 6072780"/>
                <a:gd name="connsiteX8190" fmla="*/ 6047993 w 12117871"/>
                <a:gd name="connsiteY8190" fmla="*/ 0 h 6072780"/>
                <a:gd name="connsiteX8191" fmla="*/ 5848035 w 12117871"/>
                <a:gd name="connsiteY8191" fmla="*/ 0 h 6072780"/>
                <a:gd name="connsiteX8192" fmla="*/ 5919202 w 12117871"/>
                <a:gd name="connsiteY8192" fmla="*/ 110587 h 6072780"/>
                <a:gd name="connsiteX8193" fmla="*/ 5899116 w 12117871"/>
                <a:gd name="connsiteY8193" fmla="*/ 194167 h 6072780"/>
                <a:gd name="connsiteX8194" fmla="*/ 5842919 w 12117871"/>
                <a:gd name="connsiteY8194" fmla="*/ 222980 h 6072780"/>
                <a:gd name="connsiteX8195" fmla="*/ 5790334 w 12117871"/>
                <a:gd name="connsiteY8195" fmla="*/ 195446 h 6072780"/>
                <a:gd name="connsiteX8196" fmla="*/ 5771452 w 12117871"/>
                <a:gd name="connsiteY8196" fmla="*/ 115854 h 6072780"/>
                <a:gd name="connsiteX8197" fmla="*/ 5791162 w 12117871"/>
                <a:gd name="connsiteY8197" fmla="*/ 29339 h 6072780"/>
                <a:gd name="connsiteX8198" fmla="*/ 5848035 w 12117871"/>
                <a:gd name="connsiteY8198" fmla="*/ 0 h 6072780"/>
                <a:gd name="connsiteX8199" fmla="*/ 5150385 w 12117871"/>
                <a:gd name="connsiteY8199" fmla="*/ 0 h 6072780"/>
                <a:gd name="connsiteX8200" fmla="*/ 5221552 w 12117871"/>
                <a:gd name="connsiteY8200" fmla="*/ 110587 h 6072780"/>
                <a:gd name="connsiteX8201" fmla="*/ 5201466 w 12117871"/>
                <a:gd name="connsiteY8201" fmla="*/ 194167 h 6072780"/>
                <a:gd name="connsiteX8202" fmla="*/ 5145269 w 12117871"/>
                <a:gd name="connsiteY8202" fmla="*/ 222980 h 6072780"/>
                <a:gd name="connsiteX8203" fmla="*/ 5092684 w 12117871"/>
                <a:gd name="connsiteY8203" fmla="*/ 195446 h 6072780"/>
                <a:gd name="connsiteX8204" fmla="*/ 5073801 w 12117871"/>
                <a:gd name="connsiteY8204" fmla="*/ 115854 h 6072780"/>
                <a:gd name="connsiteX8205" fmla="*/ 5093512 w 12117871"/>
                <a:gd name="connsiteY8205" fmla="*/ 29339 h 6072780"/>
                <a:gd name="connsiteX8206" fmla="*/ 5150385 w 12117871"/>
                <a:gd name="connsiteY8206" fmla="*/ 0 h 6072780"/>
                <a:gd name="connsiteX8207" fmla="*/ 4776040 w 12117871"/>
                <a:gd name="connsiteY8207" fmla="*/ 0 h 6072780"/>
                <a:gd name="connsiteX8208" fmla="*/ 4790946 w 12117871"/>
                <a:gd name="connsiteY8208" fmla="*/ 0 h 6072780"/>
                <a:gd name="connsiteX8209" fmla="*/ 4790946 w 12117871"/>
                <a:gd name="connsiteY8209" fmla="*/ 222980 h 6072780"/>
                <a:gd name="connsiteX8210" fmla="*/ 4755658 w 12117871"/>
                <a:gd name="connsiteY8210" fmla="*/ 222980 h 6072780"/>
                <a:gd name="connsiteX8211" fmla="*/ 4755658 w 12117871"/>
                <a:gd name="connsiteY8211" fmla="*/ 43196 h 6072780"/>
                <a:gd name="connsiteX8212" fmla="*/ 4735049 w 12117871"/>
                <a:gd name="connsiteY8212" fmla="*/ 54832 h 6072780"/>
                <a:gd name="connsiteX8213" fmla="*/ 4709876 w 12117871"/>
                <a:gd name="connsiteY8213" fmla="*/ 63274 h 6072780"/>
                <a:gd name="connsiteX8214" fmla="*/ 4709876 w 12117871"/>
                <a:gd name="connsiteY8214" fmla="*/ 33158 h 6072780"/>
                <a:gd name="connsiteX8215" fmla="*/ 4726911 w 12117871"/>
                <a:gd name="connsiteY8215" fmla="*/ 27074 h 6072780"/>
                <a:gd name="connsiteX8216" fmla="*/ 4743110 w 12117871"/>
                <a:gd name="connsiteY8216" fmla="*/ 19925 h 6072780"/>
                <a:gd name="connsiteX8217" fmla="*/ 4759233 w 12117871"/>
                <a:gd name="connsiteY8217" fmla="*/ 11103 h 6072780"/>
                <a:gd name="connsiteX8218" fmla="*/ 4776040 w 12117871"/>
                <a:gd name="connsiteY8218" fmla="*/ 0 h 6072780"/>
                <a:gd name="connsiteX8219" fmla="*/ 4406756 w 12117871"/>
                <a:gd name="connsiteY8219" fmla="*/ 0 h 6072780"/>
                <a:gd name="connsiteX8220" fmla="*/ 4421663 w 12117871"/>
                <a:gd name="connsiteY8220" fmla="*/ 0 h 6072780"/>
                <a:gd name="connsiteX8221" fmla="*/ 4421663 w 12117871"/>
                <a:gd name="connsiteY8221" fmla="*/ 222980 h 6072780"/>
                <a:gd name="connsiteX8222" fmla="*/ 4386375 w 12117871"/>
                <a:gd name="connsiteY8222" fmla="*/ 222980 h 6072780"/>
                <a:gd name="connsiteX8223" fmla="*/ 4386375 w 12117871"/>
                <a:gd name="connsiteY8223" fmla="*/ 43196 h 6072780"/>
                <a:gd name="connsiteX8224" fmla="*/ 4365765 w 12117871"/>
                <a:gd name="connsiteY8224" fmla="*/ 54832 h 6072780"/>
                <a:gd name="connsiteX8225" fmla="*/ 4340593 w 12117871"/>
                <a:gd name="connsiteY8225" fmla="*/ 63274 h 6072780"/>
                <a:gd name="connsiteX8226" fmla="*/ 4340593 w 12117871"/>
                <a:gd name="connsiteY8226" fmla="*/ 33158 h 6072780"/>
                <a:gd name="connsiteX8227" fmla="*/ 4357628 w 12117871"/>
                <a:gd name="connsiteY8227" fmla="*/ 27074 h 6072780"/>
                <a:gd name="connsiteX8228" fmla="*/ 4373827 w 12117871"/>
                <a:gd name="connsiteY8228" fmla="*/ 19925 h 6072780"/>
                <a:gd name="connsiteX8229" fmla="*/ 4389949 w 12117871"/>
                <a:gd name="connsiteY8229" fmla="*/ 11103 h 6072780"/>
                <a:gd name="connsiteX8230" fmla="*/ 4406756 w 12117871"/>
                <a:gd name="connsiteY8230" fmla="*/ 0 h 6072780"/>
                <a:gd name="connsiteX8231" fmla="*/ 4106219 w 12117871"/>
                <a:gd name="connsiteY8231" fmla="*/ 0 h 6072780"/>
                <a:gd name="connsiteX8232" fmla="*/ 4121125 w 12117871"/>
                <a:gd name="connsiteY8232" fmla="*/ 0 h 6072780"/>
                <a:gd name="connsiteX8233" fmla="*/ 4121125 w 12117871"/>
                <a:gd name="connsiteY8233" fmla="*/ 222980 h 6072780"/>
                <a:gd name="connsiteX8234" fmla="*/ 4085837 w 12117871"/>
                <a:gd name="connsiteY8234" fmla="*/ 222980 h 6072780"/>
                <a:gd name="connsiteX8235" fmla="*/ 4085837 w 12117871"/>
                <a:gd name="connsiteY8235" fmla="*/ 43196 h 6072780"/>
                <a:gd name="connsiteX8236" fmla="*/ 4065228 w 12117871"/>
                <a:gd name="connsiteY8236" fmla="*/ 54832 h 6072780"/>
                <a:gd name="connsiteX8237" fmla="*/ 4040055 w 12117871"/>
                <a:gd name="connsiteY8237" fmla="*/ 63274 h 6072780"/>
                <a:gd name="connsiteX8238" fmla="*/ 4040055 w 12117871"/>
                <a:gd name="connsiteY8238" fmla="*/ 33158 h 6072780"/>
                <a:gd name="connsiteX8239" fmla="*/ 4057090 w 12117871"/>
                <a:gd name="connsiteY8239" fmla="*/ 27074 h 6072780"/>
                <a:gd name="connsiteX8240" fmla="*/ 4073289 w 12117871"/>
                <a:gd name="connsiteY8240" fmla="*/ 19925 h 6072780"/>
                <a:gd name="connsiteX8241" fmla="*/ 4089411 w 12117871"/>
                <a:gd name="connsiteY8241" fmla="*/ 11103 h 6072780"/>
                <a:gd name="connsiteX8242" fmla="*/ 4106219 w 12117871"/>
                <a:gd name="connsiteY8242" fmla="*/ 0 h 6072780"/>
                <a:gd name="connsiteX8243" fmla="*/ 3898647 w 12117871"/>
                <a:gd name="connsiteY8243" fmla="*/ 0 h 6072780"/>
                <a:gd name="connsiteX8244" fmla="*/ 3969815 w 12117871"/>
                <a:gd name="connsiteY8244" fmla="*/ 110587 h 6072780"/>
                <a:gd name="connsiteX8245" fmla="*/ 3949729 w 12117871"/>
                <a:gd name="connsiteY8245" fmla="*/ 194167 h 6072780"/>
                <a:gd name="connsiteX8246" fmla="*/ 3893532 w 12117871"/>
                <a:gd name="connsiteY8246" fmla="*/ 222980 h 6072780"/>
                <a:gd name="connsiteX8247" fmla="*/ 3840947 w 12117871"/>
                <a:gd name="connsiteY8247" fmla="*/ 195446 h 6072780"/>
                <a:gd name="connsiteX8248" fmla="*/ 3822064 w 12117871"/>
                <a:gd name="connsiteY8248" fmla="*/ 115854 h 6072780"/>
                <a:gd name="connsiteX8249" fmla="*/ 3841774 w 12117871"/>
                <a:gd name="connsiteY8249" fmla="*/ 29339 h 6072780"/>
                <a:gd name="connsiteX8250" fmla="*/ 3898647 w 12117871"/>
                <a:gd name="connsiteY8250" fmla="*/ 0 h 6072780"/>
                <a:gd name="connsiteX8251" fmla="*/ 3673983 w 12117871"/>
                <a:gd name="connsiteY8251" fmla="*/ 0 h 6072780"/>
                <a:gd name="connsiteX8252" fmla="*/ 3745151 w 12117871"/>
                <a:gd name="connsiteY8252" fmla="*/ 110587 h 6072780"/>
                <a:gd name="connsiteX8253" fmla="*/ 3725065 w 12117871"/>
                <a:gd name="connsiteY8253" fmla="*/ 194167 h 6072780"/>
                <a:gd name="connsiteX8254" fmla="*/ 3668868 w 12117871"/>
                <a:gd name="connsiteY8254" fmla="*/ 222980 h 6072780"/>
                <a:gd name="connsiteX8255" fmla="*/ 3616283 w 12117871"/>
                <a:gd name="connsiteY8255" fmla="*/ 195446 h 6072780"/>
                <a:gd name="connsiteX8256" fmla="*/ 3597400 w 12117871"/>
                <a:gd name="connsiteY8256" fmla="*/ 115854 h 6072780"/>
                <a:gd name="connsiteX8257" fmla="*/ 3617110 w 12117871"/>
                <a:gd name="connsiteY8257" fmla="*/ 29339 h 6072780"/>
                <a:gd name="connsiteX8258" fmla="*/ 3673983 w 12117871"/>
                <a:gd name="connsiteY8258" fmla="*/ 0 h 6072780"/>
                <a:gd name="connsiteX8259" fmla="*/ 3527532 w 12117871"/>
                <a:gd name="connsiteY8259" fmla="*/ 0 h 6072780"/>
                <a:gd name="connsiteX8260" fmla="*/ 3542438 w 12117871"/>
                <a:gd name="connsiteY8260" fmla="*/ 0 h 6072780"/>
                <a:gd name="connsiteX8261" fmla="*/ 3542438 w 12117871"/>
                <a:gd name="connsiteY8261" fmla="*/ 222980 h 6072780"/>
                <a:gd name="connsiteX8262" fmla="*/ 3507150 w 12117871"/>
                <a:gd name="connsiteY8262" fmla="*/ 222980 h 6072780"/>
                <a:gd name="connsiteX8263" fmla="*/ 3507150 w 12117871"/>
                <a:gd name="connsiteY8263" fmla="*/ 43196 h 6072780"/>
                <a:gd name="connsiteX8264" fmla="*/ 3486541 w 12117871"/>
                <a:gd name="connsiteY8264" fmla="*/ 54832 h 6072780"/>
                <a:gd name="connsiteX8265" fmla="*/ 3461368 w 12117871"/>
                <a:gd name="connsiteY8265" fmla="*/ 63274 h 6072780"/>
                <a:gd name="connsiteX8266" fmla="*/ 3461368 w 12117871"/>
                <a:gd name="connsiteY8266" fmla="*/ 33158 h 6072780"/>
                <a:gd name="connsiteX8267" fmla="*/ 3478403 w 12117871"/>
                <a:gd name="connsiteY8267" fmla="*/ 27074 h 6072780"/>
                <a:gd name="connsiteX8268" fmla="*/ 3494602 w 12117871"/>
                <a:gd name="connsiteY8268" fmla="*/ 19925 h 6072780"/>
                <a:gd name="connsiteX8269" fmla="*/ 3510724 w 12117871"/>
                <a:gd name="connsiteY8269" fmla="*/ 11103 h 6072780"/>
                <a:gd name="connsiteX8270" fmla="*/ 3527532 w 12117871"/>
                <a:gd name="connsiteY8270" fmla="*/ 0 h 6072780"/>
                <a:gd name="connsiteX8271" fmla="*/ 3222732 w 12117871"/>
                <a:gd name="connsiteY8271" fmla="*/ 0 h 6072780"/>
                <a:gd name="connsiteX8272" fmla="*/ 3237638 w 12117871"/>
                <a:gd name="connsiteY8272" fmla="*/ 0 h 6072780"/>
                <a:gd name="connsiteX8273" fmla="*/ 3237638 w 12117871"/>
                <a:gd name="connsiteY8273" fmla="*/ 222980 h 6072780"/>
                <a:gd name="connsiteX8274" fmla="*/ 3202350 w 12117871"/>
                <a:gd name="connsiteY8274" fmla="*/ 222980 h 6072780"/>
                <a:gd name="connsiteX8275" fmla="*/ 3202350 w 12117871"/>
                <a:gd name="connsiteY8275" fmla="*/ 43196 h 6072780"/>
                <a:gd name="connsiteX8276" fmla="*/ 3181741 w 12117871"/>
                <a:gd name="connsiteY8276" fmla="*/ 54832 h 6072780"/>
                <a:gd name="connsiteX8277" fmla="*/ 3156568 w 12117871"/>
                <a:gd name="connsiteY8277" fmla="*/ 63274 h 6072780"/>
                <a:gd name="connsiteX8278" fmla="*/ 3156568 w 12117871"/>
                <a:gd name="connsiteY8278" fmla="*/ 33158 h 6072780"/>
                <a:gd name="connsiteX8279" fmla="*/ 3173603 w 12117871"/>
                <a:gd name="connsiteY8279" fmla="*/ 27074 h 6072780"/>
                <a:gd name="connsiteX8280" fmla="*/ 3189802 w 12117871"/>
                <a:gd name="connsiteY8280" fmla="*/ 19925 h 6072780"/>
                <a:gd name="connsiteX8281" fmla="*/ 3205924 w 12117871"/>
                <a:gd name="connsiteY8281" fmla="*/ 11103 h 6072780"/>
                <a:gd name="connsiteX8282" fmla="*/ 3222732 w 12117871"/>
                <a:gd name="connsiteY8282" fmla="*/ 0 h 6072780"/>
                <a:gd name="connsiteX8283" fmla="*/ 2828037 w 12117871"/>
                <a:gd name="connsiteY8283" fmla="*/ 0 h 6072780"/>
                <a:gd name="connsiteX8284" fmla="*/ 2842943 w 12117871"/>
                <a:gd name="connsiteY8284" fmla="*/ 0 h 6072780"/>
                <a:gd name="connsiteX8285" fmla="*/ 2842943 w 12117871"/>
                <a:gd name="connsiteY8285" fmla="*/ 222980 h 6072780"/>
                <a:gd name="connsiteX8286" fmla="*/ 2807655 w 12117871"/>
                <a:gd name="connsiteY8286" fmla="*/ 222980 h 6072780"/>
                <a:gd name="connsiteX8287" fmla="*/ 2807655 w 12117871"/>
                <a:gd name="connsiteY8287" fmla="*/ 43196 h 6072780"/>
                <a:gd name="connsiteX8288" fmla="*/ 2787046 w 12117871"/>
                <a:gd name="connsiteY8288" fmla="*/ 54832 h 6072780"/>
                <a:gd name="connsiteX8289" fmla="*/ 2761873 w 12117871"/>
                <a:gd name="connsiteY8289" fmla="*/ 63274 h 6072780"/>
                <a:gd name="connsiteX8290" fmla="*/ 2761873 w 12117871"/>
                <a:gd name="connsiteY8290" fmla="*/ 33158 h 6072780"/>
                <a:gd name="connsiteX8291" fmla="*/ 2778908 w 12117871"/>
                <a:gd name="connsiteY8291" fmla="*/ 27074 h 6072780"/>
                <a:gd name="connsiteX8292" fmla="*/ 2795107 w 12117871"/>
                <a:gd name="connsiteY8292" fmla="*/ 19925 h 6072780"/>
                <a:gd name="connsiteX8293" fmla="*/ 2811229 w 12117871"/>
                <a:gd name="connsiteY8293" fmla="*/ 11103 h 6072780"/>
                <a:gd name="connsiteX8294" fmla="*/ 2828037 w 12117871"/>
                <a:gd name="connsiteY8294" fmla="*/ 0 h 6072780"/>
                <a:gd name="connsiteX8295" fmla="*/ 2677443 w 12117871"/>
                <a:gd name="connsiteY8295" fmla="*/ 0 h 6072780"/>
                <a:gd name="connsiteX8296" fmla="*/ 2692349 w 12117871"/>
                <a:gd name="connsiteY8296" fmla="*/ 0 h 6072780"/>
                <a:gd name="connsiteX8297" fmla="*/ 2692349 w 12117871"/>
                <a:gd name="connsiteY8297" fmla="*/ 222980 h 6072780"/>
                <a:gd name="connsiteX8298" fmla="*/ 2657061 w 12117871"/>
                <a:gd name="connsiteY8298" fmla="*/ 222980 h 6072780"/>
                <a:gd name="connsiteX8299" fmla="*/ 2657061 w 12117871"/>
                <a:gd name="connsiteY8299" fmla="*/ 43196 h 6072780"/>
                <a:gd name="connsiteX8300" fmla="*/ 2636452 w 12117871"/>
                <a:gd name="connsiteY8300" fmla="*/ 54832 h 6072780"/>
                <a:gd name="connsiteX8301" fmla="*/ 2611279 w 12117871"/>
                <a:gd name="connsiteY8301" fmla="*/ 63274 h 6072780"/>
                <a:gd name="connsiteX8302" fmla="*/ 2611279 w 12117871"/>
                <a:gd name="connsiteY8302" fmla="*/ 33158 h 6072780"/>
                <a:gd name="connsiteX8303" fmla="*/ 2628314 w 12117871"/>
                <a:gd name="connsiteY8303" fmla="*/ 27074 h 6072780"/>
                <a:gd name="connsiteX8304" fmla="*/ 2644513 w 12117871"/>
                <a:gd name="connsiteY8304" fmla="*/ 19925 h 6072780"/>
                <a:gd name="connsiteX8305" fmla="*/ 2660635 w 12117871"/>
                <a:gd name="connsiteY8305" fmla="*/ 11103 h 6072780"/>
                <a:gd name="connsiteX8306" fmla="*/ 2677443 w 12117871"/>
                <a:gd name="connsiteY8306" fmla="*/ 0 h 6072780"/>
                <a:gd name="connsiteX8307" fmla="*/ 2544118 w 12117871"/>
                <a:gd name="connsiteY8307" fmla="*/ 0 h 6072780"/>
                <a:gd name="connsiteX8308" fmla="*/ 2559024 w 12117871"/>
                <a:gd name="connsiteY8308" fmla="*/ 0 h 6072780"/>
                <a:gd name="connsiteX8309" fmla="*/ 2559024 w 12117871"/>
                <a:gd name="connsiteY8309" fmla="*/ 222980 h 6072780"/>
                <a:gd name="connsiteX8310" fmla="*/ 2523736 w 12117871"/>
                <a:gd name="connsiteY8310" fmla="*/ 222980 h 6072780"/>
                <a:gd name="connsiteX8311" fmla="*/ 2523736 w 12117871"/>
                <a:gd name="connsiteY8311" fmla="*/ 43196 h 6072780"/>
                <a:gd name="connsiteX8312" fmla="*/ 2503127 w 12117871"/>
                <a:gd name="connsiteY8312" fmla="*/ 54832 h 6072780"/>
                <a:gd name="connsiteX8313" fmla="*/ 2477954 w 12117871"/>
                <a:gd name="connsiteY8313" fmla="*/ 63274 h 6072780"/>
                <a:gd name="connsiteX8314" fmla="*/ 2477954 w 12117871"/>
                <a:gd name="connsiteY8314" fmla="*/ 33158 h 6072780"/>
                <a:gd name="connsiteX8315" fmla="*/ 2494989 w 12117871"/>
                <a:gd name="connsiteY8315" fmla="*/ 27074 h 6072780"/>
                <a:gd name="connsiteX8316" fmla="*/ 2511188 w 12117871"/>
                <a:gd name="connsiteY8316" fmla="*/ 19925 h 6072780"/>
                <a:gd name="connsiteX8317" fmla="*/ 2527310 w 12117871"/>
                <a:gd name="connsiteY8317" fmla="*/ 11103 h 6072780"/>
                <a:gd name="connsiteX8318" fmla="*/ 2544118 w 12117871"/>
                <a:gd name="connsiteY8318" fmla="*/ 0 h 6072780"/>
                <a:gd name="connsiteX8319" fmla="*/ 1790454 w 12117871"/>
                <a:gd name="connsiteY8319" fmla="*/ 0 h 6072780"/>
                <a:gd name="connsiteX8320" fmla="*/ 1805360 w 12117871"/>
                <a:gd name="connsiteY8320" fmla="*/ 0 h 6072780"/>
                <a:gd name="connsiteX8321" fmla="*/ 1805360 w 12117871"/>
                <a:gd name="connsiteY8321" fmla="*/ 222980 h 6072780"/>
                <a:gd name="connsiteX8322" fmla="*/ 1770072 w 12117871"/>
                <a:gd name="connsiteY8322" fmla="*/ 222980 h 6072780"/>
                <a:gd name="connsiteX8323" fmla="*/ 1770072 w 12117871"/>
                <a:gd name="connsiteY8323" fmla="*/ 43196 h 6072780"/>
                <a:gd name="connsiteX8324" fmla="*/ 1749463 w 12117871"/>
                <a:gd name="connsiteY8324" fmla="*/ 54832 h 6072780"/>
                <a:gd name="connsiteX8325" fmla="*/ 1724290 w 12117871"/>
                <a:gd name="connsiteY8325" fmla="*/ 63274 h 6072780"/>
                <a:gd name="connsiteX8326" fmla="*/ 1724290 w 12117871"/>
                <a:gd name="connsiteY8326" fmla="*/ 33158 h 6072780"/>
                <a:gd name="connsiteX8327" fmla="*/ 1741325 w 12117871"/>
                <a:gd name="connsiteY8327" fmla="*/ 27074 h 6072780"/>
                <a:gd name="connsiteX8328" fmla="*/ 1757524 w 12117871"/>
                <a:gd name="connsiteY8328" fmla="*/ 19925 h 6072780"/>
                <a:gd name="connsiteX8329" fmla="*/ 1773647 w 12117871"/>
                <a:gd name="connsiteY8329" fmla="*/ 11103 h 6072780"/>
                <a:gd name="connsiteX8330" fmla="*/ 1790454 w 12117871"/>
                <a:gd name="connsiteY8330" fmla="*/ 0 h 6072780"/>
                <a:gd name="connsiteX8331" fmla="*/ 1637062 w 12117871"/>
                <a:gd name="connsiteY8331" fmla="*/ 0 h 6072780"/>
                <a:gd name="connsiteX8332" fmla="*/ 1651968 w 12117871"/>
                <a:gd name="connsiteY8332" fmla="*/ 0 h 6072780"/>
                <a:gd name="connsiteX8333" fmla="*/ 1651968 w 12117871"/>
                <a:gd name="connsiteY8333" fmla="*/ 222980 h 6072780"/>
                <a:gd name="connsiteX8334" fmla="*/ 1616680 w 12117871"/>
                <a:gd name="connsiteY8334" fmla="*/ 222980 h 6072780"/>
                <a:gd name="connsiteX8335" fmla="*/ 1616680 w 12117871"/>
                <a:gd name="connsiteY8335" fmla="*/ 43196 h 6072780"/>
                <a:gd name="connsiteX8336" fmla="*/ 1596071 w 12117871"/>
                <a:gd name="connsiteY8336" fmla="*/ 54832 h 6072780"/>
                <a:gd name="connsiteX8337" fmla="*/ 1570898 w 12117871"/>
                <a:gd name="connsiteY8337" fmla="*/ 63274 h 6072780"/>
                <a:gd name="connsiteX8338" fmla="*/ 1570898 w 12117871"/>
                <a:gd name="connsiteY8338" fmla="*/ 33158 h 6072780"/>
                <a:gd name="connsiteX8339" fmla="*/ 1587933 w 12117871"/>
                <a:gd name="connsiteY8339" fmla="*/ 27074 h 6072780"/>
                <a:gd name="connsiteX8340" fmla="*/ 1604132 w 12117871"/>
                <a:gd name="connsiteY8340" fmla="*/ 19925 h 6072780"/>
                <a:gd name="connsiteX8341" fmla="*/ 1620255 w 12117871"/>
                <a:gd name="connsiteY8341" fmla="*/ 11103 h 6072780"/>
                <a:gd name="connsiteX8342" fmla="*/ 1637062 w 12117871"/>
                <a:gd name="connsiteY8342" fmla="*/ 0 h 6072780"/>
                <a:gd name="connsiteX8343" fmla="*/ 1342993 w 12117871"/>
                <a:gd name="connsiteY8343" fmla="*/ 0 h 6072780"/>
                <a:gd name="connsiteX8344" fmla="*/ 1357899 w 12117871"/>
                <a:gd name="connsiteY8344" fmla="*/ 0 h 6072780"/>
                <a:gd name="connsiteX8345" fmla="*/ 1357899 w 12117871"/>
                <a:gd name="connsiteY8345" fmla="*/ 222980 h 6072780"/>
                <a:gd name="connsiteX8346" fmla="*/ 1322611 w 12117871"/>
                <a:gd name="connsiteY8346" fmla="*/ 222980 h 6072780"/>
                <a:gd name="connsiteX8347" fmla="*/ 1322611 w 12117871"/>
                <a:gd name="connsiteY8347" fmla="*/ 43196 h 6072780"/>
                <a:gd name="connsiteX8348" fmla="*/ 1302002 w 12117871"/>
                <a:gd name="connsiteY8348" fmla="*/ 54832 h 6072780"/>
                <a:gd name="connsiteX8349" fmla="*/ 1276829 w 12117871"/>
                <a:gd name="connsiteY8349" fmla="*/ 63274 h 6072780"/>
                <a:gd name="connsiteX8350" fmla="*/ 1276829 w 12117871"/>
                <a:gd name="connsiteY8350" fmla="*/ 33158 h 6072780"/>
                <a:gd name="connsiteX8351" fmla="*/ 1293864 w 12117871"/>
                <a:gd name="connsiteY8351" fmla="*/ 27074 h 6072780"/>
                <a:gd name="connsiteX8352" fmla="*/ 1310063 w 12117871"/>
                <a:gd name="connsiteY8352" fmla="*/ 19925 h 6072780"/>
                <a:gd name="connsiteX8353" fmla="*/ 1326186 w 12117871"/>
                <a:gd name="connsiteY8353" fmla="*/ 11103 h 6072780"/>
                <a:gd name="connsiteX8354" fmla="*/ 1342993 w 12117871"/>
                <a:gd name="connsiteY8354" fmla="*/ 0 h 6072780"/>
                <a:gd name="connsiteX8355" fmla="*/ 967854 w 12117871"/>
                <a:gd name="connsiteY8355" fmla="*/ 0 h 6072780"/>
                <a:gd name="connsiteX8356" fmla="*/ 982760 w 12117871"/>
                <a:gd name="connsiteY8356" fmla="*/ 0 h 6072780"/>
                <a:gd name="connsiteX8357" fmla="*/ 982760 w 12117871"/>
                <a:gd name="connsiteY8357" fmla="*/ 222980 h 6072780"/>
                <a:gd name="connsiteX8358" fmla="*/ 947472 w 12117871"/>
                <a:gd name="connsiteY8358" fmla="*/ 222980 h 6072780"/>
                <a:gd name="connsiteX8359" fmla="*/ 947472 w 12117871"/>
                <a:gd name="connsiteY8359" fmla="*/ 43196 h 6072780"/>
                <a:gd name="connsiteX8360" fmla="*/ 926863 w 12117871"/>
                <a:gd name="connsiteY8360" fmla="*/ 54832 h 6072780"/>
                <a:gd name="connsiteX8361" fmla="*/ 901690 w 12117871"/>
                <a:gd name="connsiteY8361" fmla="*/ 63274 h 6072780"/>
                <a:gd name="connsiteX8362" fmla="*/ 901690 w 12117871"/>
                <a:gd name="connsiteY8362" fmla="*/ 33158 h 6072780"/>
                <a:gd name="connsiteX8363" fmla="*/ 918725 w 12117871"/>
                <a:gd name="connsiteY8363" fmla="*/ 27074 h 6072780"/>
                <a:gd name="connsiteX8364" fmla="*/ 934924 w 12117871"/>
                <a:gd name="connsiteY8364" fmla="*/ 19925 h 6072780"/>
                <a:gd name="connsiteX8365" fmla="*/ 951047 w 12117871"/>
                <a:gd name="connsiteY8365" fmla="*/ 11103 h 6072780"/>
                <a:gd name="connsiteX8366" fmla="*/ 967854 w 12117871"/>
                <a:gd name="connsiteY8366" fmla="*/ 0 h 6072780"/>
                <a:gd name="connsiteX8367" fmla="*/ 818997 w 12117871"/>
                <a:gd name="connsiteY8367" fmla="*/ 0 h 6072780"/>
                <a:gd name="connsiteX8368" fmla="*/ 833903 w 12117871"/>
                <a:gd name="connsiteY8368" fmla="*/ 0 h 6072780"/>
                <a:gd name="connsiteX8369" fmla="*/ 833903 w 12117871"/>
                <a:gd name="connsiteY8369" fmla="*/ 222980 h 6072780"/>
                <a:gd name="connsiteX8370" fmla="*/ 798615 w 12117871"/>
                <a:gd name="connsiteY8370" fmla="*/ 222980 h 6072780"/>
                <a:gd name="connsiteX8371" fmla="*/ 798615 w 12117871"/>
                <a:gd name="connsiteY8371" fmla="*/ 43196 h 6072780"/>
                <a:gd name="connsiteX8372" fmla="*/ 778006 w 12117871"/>
                <a:gd name="connsiteY8372" fmla="*/ 54832 h 6072780"/>
                <a:gd name="connsiteX8373" fmla="*/ 752833 w 12117871"/>
                <a:gd name="connsiteY8373" fmla="*/ 63274 h 6072780"/>
                <a:gd name="connsiteX8374" fmla="*/ 752833 w 12117871"/>
                <a:gd name="connsiteY8374" fmla="*/ 33158 h 6072780"/>
                <a:gd name="connsiteX8375" fmla="*/ 769868 w 12117871"/>
                <a:gd name="connsiteY8375" fmla="*/ 27074 h 6072780"/>
                <a:gd name="connsiteX8376" fmla="*/ 786067 w 12117871"/>
                <a:gd name="connsiteY8376" fmla="*/ 19925 h 6072780"/>
                <a:gd name="connsiteX8377" fmla="*/ 802190 w 12117871"/>
                <a:gd name="connsiteY8377" fmla="*/ 11103 h 6072780"/>
                <a:gd name="connsiteX8378" fmla="*/ 818997 w 12117871"/>
                <a:gd name="connsiteY8378" fmla="*/ 0 h 6072780"/>
                <a:gd name="connsiteX8379" fmla="*/ 670140 w 12117871"/>
                <a:gd name="connsiteY8379" fmla="*/ 0 h 6072780"/>
                <a:gd name="connsiteX8380" fmla="*/ 685046 w 12117871"/>
                <a:gd name="connsiteY8380" fmla="*/ 0 h 6072780"/>
                <a:gd name="connsiteX8381" fmla="*/ 685046 w 12117871"/>
                <a:gd name="connsiteY8381" fmla="*/ 222980 h 6072780"/>
                <a:gd name="connsiteX8382" fmla="*/ 649758 w 12117871"/>
                <a:gd name="connsiteY8382" fmla="*/ 222980 h 6072780"/>
                <a:gd name="connsiteX8383" fmla="*/ 649758 w 12117871"/>
                <a:gd name="connsiteY8383" fmla="*/ 43196 h 6072780"/>
                <a:gd name="connsiteX8384" fmla="*/ 629149 w 12117871"/>
                <a:gd name="connsiteY8384" fmla="*/ 54832 h 6072780"/>
                <a:gd name="connsiteX8385" fmla="*/ 603976 w 12117871"/>
                <a:gd name="connsiteY8385" fmla="*/ 63274 h 6072780"/>
                <a:gd name="connsiteX8386" fmla="*/ 603976 w 12117871"/>
                <a:gd name="connsiteY8386" fmla="*/ 33158 h 6072780"/>
                <a:gd name="connsiteX8387" fmla="*/ 621011 w 12117871"/>
                <a:gd name="connsiteY8387" fmla="*/ 27074 h 6072780"/>
                <a:gd name="connsiteX8388" fmla="*/ 637210 w 12117871"/>
                <a:gd name="connsiteY8388" fmla="*/ 19925 h 6072780"/>
                <a:gd name="connsiteX8389" fmla="*/ 653333 w 12117871"/>
                <a:gd name="connsiteY8389" fmla="*/ 11103 h 6072780"/>
                <a:gd name="connsiteX8390" fmla="*/ 670140 w 12117871"/>
                <a:gd name="connsiteY8390" fmla="*/ 0 h 6072780"/>
                <a:gd name="connsiteX8391" fmla="*/ 521283 w 12117871"/>
                <a:gd name="connsiteY8391" fmla="*/ 0 h 6072780"/>
                <a:gd name="connsiteX8392" fmla="*/ 536189 w 12117871"/>
                <a:gd name="connsiteY8392" fmla="*/ 0 h 6072780"/>
                <a:gd name="connsiteX8393" fmla="*/ 536189 w 12117871"/>
                <a:gd name="connsiteY8393" fmla="*/ 222980 h 6072780"/>
                <a:gd name="connsiteX8394" fmla="*/ 500901 w 12117871"/>
                <a:gd name="connsiteY8394" fmla="*/ 222980 h 6072780"/>
                <a:gd name="connsiteX8395" fmla="*/ 500901 w 12117871"/>
                <a:gd name="connsiteY8395" fmla="*/ 43196 h 6072780"/>
                <a:gd name="connsiteX8396" fmla="*/ 480292 w 12117871"/>
                <a:gd name="connsiteY8396" fmla="*/ 54832 h 6072780"/>
                <a:gd name="connsiteX8397" fmla="*/ 455119 w 12117871"/>
                <a:gd name="connsiteY8397" fmla="*/ 63274 h 6072780"/>
                <a:gd name="connsiteX8398" fmla="*/ 455119 w 12117871"/>
                <a:gd name="connsiteY8398" fmla="*/ 33158 h 6072780"/>
                <a:gd name="connsiteX8399" fmla="*/ 472154 w 12117871"/>
                <a:gd name="connsiteY8399" fmla="*/ 27074 h 6072780"/>
                <a:gd name="connsiteX8400" fmla="*/ 488353 w 12117871"/>
                <a:gd name="connsiteY8400" fmla="*/ 19925 h 6072780"/>
                <a:gd name="connsiteX8401" fmla="*/ 504476 w 12117871"/>
                <a:gd name="connsiteY8401" fmla="*/ 11103 h 6072780"/>
                <a:gd name="connsiteX8402" fmla="*/ 521283 w 12117871"/>
                <a:gd name="connsiteY8402" fmla="*/ 0 h 6072780"/>
                <a:gd name="connsiteX8403" fmla="*/ 311869 w 12117871"/>
                <a:gd name="connsiteY8403" fmla="*/ 0 h 6072780"/>
                <a:gd name="connsiteX8404" fmla="*/ 383036 w 12117871"/>
                <a:gd name="connsiteY8404" fmla="*/ 110587 h 6072780"/>
                <a:gd name="connsiteX8405" fmla="*/ 362950 w 12117871"/>
                <a:gd name="connsiteY8405" fmla="*/ 194167 h 6072780"/>
                <a:gd name="connsiteX8406" fmla="*/ 306753 w 12117871"/>
                <a:gd name="connsiteY8406" fmla="*/ 222980 h 6072780"/>
                <a:gd name="connsiteX8407" fmla="*/ 254168 w 12117871"/>
                <a:gd name="connsiteY8407" fmla="*/ 195446 h 6072780"/>
                <a:gd name="connsiteX8408" fmla="*/ 235285 w 12117871"/>
                <a:gd name="connsiteY8408" fmla="*/ 115854 h 6072780"/>
                <a:gd name="connsiteX8409" fmla="*/ 254995 w 12117871"/>
                <a:gd name="connsiteY8409" fmla="*/ 29339 h 6072780"/>
                <a:gd name="connsiteX8410" fmla="*/ 311869 w 12117871"/>
                <a:gd name="connsiteY8410" fmla="*/ 0 h 607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Lst>
              <a:rect l="l" t="t" r="r" b="b"/>
              <a:pathLst>
                <a:path w="12117871" h="6072780">
                  <a:moveTo>
                    <a:pt x="11876198" y="5869975"/>
                  </a:moveTo>
                  <a:cubicBezTo>
                    <a:pt x="11850018" y="5869975"/>
                    <a:pt x="11836928" y="5898813"/>
                    <a:pt x="11836928" y="5956489"/>
                  </a:cubicBezTo>
                  <a:cubicBezTo>
                    <a:pt x="11836928" y="6010453"/>
                    <a:pt x="11849767" y="6037436"/>
                    <a:pt x="11875446" y="6037436"/>
                  </a:cubicBezTo>
                  <a:cubicBezTo>
                    <a:pt x="11900722" y="6037436"/>
                    <a:pt x="11913361" y="6010002"/>
                    <a:pt x="11913361" y="5955135"/>
                  </a:cubicBezTo>
                  <a:cubicBezTo>
                    <a:pt x="11913361" y="5898362"/>
                    <a:pt x="11900973" y="5869975"/>
                    <a:pt x="11876198" y="5869975"/>
                  </a:cubicBezTo>
                  <a:close/>
                  <a:moveTo>
                    <a:pt x="6366335" y="5869975"/>
                  </a:moveTo>
                  <a:cubicBezTo>
                    <a:pt x="6340155" y="5869975"/>
                    <a:pt x="6327065" y="5898813"/>
                    <a:pt x="6327065" y="5956489"/>
                  </a:cubicBezTo>
                  <a:cubicBezTo>
                    <a:pt x="6327065" y="6010453"/>
                    <a:pt x="6339904" y="6037436"/>
                    <a:pt x="6365583" y="6037436"/>
                  </a:cubicBezTo>
                  <a:cubicBezTo>
                    <a:pt x="6390860" y="6037436"/>
                    <a:pt x="6403498" y="6010002"/>
                    <a:pt x="6403498" y="5955135"/>
                  </a:cubicBezTo>
                  <a:cubicBezTo>
                    <a:pt x="6403498" y="5898362"/>
                    <a:pt x="6391110" y="5869975"/>
                    <a:pt x="6366335" y="5869975"/>
                  </a:cubicBezTo>
                  <a:close/>
                  <a:moveTo>
                    <a:pt x="5088792" y="5869975"/>
                  </a:moveTo>
                  <a:cubicBezTo>
                    <a:pt x="5062613" y="5869975"/>
                    <a:pt x="5049522" y="5898813"/>
                    <a:pt x="5049522" y="5956489"/>
                  </a:cubicBezTo>
                  <a:cubicBezTo>
                    <a:pt x="5049522" y="6010453"/>
                    <a:pt x="5062362" y="6037436"/>
                    <a:pt x="5088041" y="6037436"/>
                  </a:cubicBezTo>
                  <a:cubicBezTo>
                    <a:pt x="5113318" y="6037436"/>
                    <a:pt x="5125957" y="6010002"/>
                    <a:pt x="5125957" y="5955135"/>
                  </a:cubicBezTo>
                  <a:cubicBezTo>
                    <a:pt x="5125957" y="5898362"/>
                    <a:pt x="5113567" y="5869975"/>
                    <a:pt x="5088792" y="5869975"/>
                  </a:cubicBezTo>
                  <a:close/>
                  <a:moveTo>
                    <a:pt x="12062430" y="5849800"/>
                  </a:moveTo>
                  <a:lnTo>
                    <a:pt x="12077336" y="5849800"/>
                  </a:lnTo>
                  <a:lnTo>
                    <a:pt x="12077336" y="6072780"/>
                  </a:lnTo>
                  <a:lnTo>
                    <a:pt x="12042048" y="6072780"/>
                  </a:lnTo>
                  <a:lnTo>
                    <a:pt x="12042048" y="5892997"/>
                  </a:lnTo>
                  <a:cubicBezTo>
                    <a:pt x="12035660" y="5897560"/>
                    <a:pt x="12028790" y="5901438"/>
                    <a:pt x="12021439" y="5904633"/>
                  </a:cubicBezTo>
                  <a:cubicBezTo>
                    <a:pt x="12014087" y="5907827"/>
                    <a:pt x="12005696" y="5910640"/>
                    <a:pt x="11996266" y="5913074"/>
                  </a:cubicBezTo>
                  <a:lnTo>
                    <a:pt x="11996266" y="5882958"/>
                  </a:lnTo>
                  <a:cubicBezTo>
                    <a:pt x="12002147" y="5881032"/>
                    <a:pt x="12007826" y="5879004"/>
                    <a:pt x="12013301" y="5876874"/>
                  </a:cubicBezTo>
                  <a:cubicBezTo>
                    <a:pt x="12018777" y="5874745"/>
                    <a:pt x="12024177" y="5872362"/>
                    <a:pt x="12029500" y="5869725"/>
                  </a:cubicBezTo>
                  <a:cubicBezTo>
                    <a:pt x="12034824" y="5867089"/>
                    <a:pt x="12040198" y="5864148"/>
                    <a:pt x="12045623" y="5860904"/>
                  </a:cubicBezTo>
                  <a:cubicBezTo>
                    <a:pt x="12051048" y="5857659"/>
                    <a:pt x="12056650" y="5853958"/>
                    <a:pt x="12062430" y="5849800"/>
                  </a:cubicBezTo>
                  <a:close/>
                  <a:moveTo>
                    <a:pt x="10143427" y="5849800"/>
                  </a:moveTo>
                  <a:lnTo>
                    <a:pt x="10158333" y="5849800"/>
                  </a:lnTo>
                  <a:lnTo>
                    <a:pt x="10158333" y="6072780"/>
                  </a:lnTo>
                  <a:lnTo>
                    <a:pt x="10123045" y="6072780"/>
                  </a:lnTo>
                  <a:lnTo>
                    <a:pt x="10123045" y="5892997"/>
                  </a:lnTo>
                  <a:cubicBezTo>
                    <a:pt x="10116657" y="5897560"/>
                    <a:pt x="10109787" y="5901438"/>
                    <a:pt x="10102436" y="5904633"/>
                  </a:cubicBezTo>
                  <a:cubicBezTo>
                    <a:pt x="10095084" y="5907827"/>
                    <a:pt x="10086693" y="5910640"/>
                    <a:pt x="10077263" y="5913074"/>
                  </a:cubicBezTo>
                  <a:lnTo>
                    <a:pt x="10077263" y="5882958"/>
                  </a:lnTo>
                  <a:cubicBezTo>
                    <a:pt x="10083144" y="5881032"/>
                    <a:pt x="10088823" y="5879004"/>
                    <a:pt x="10094298" y="5876874"/>
                  </a:cubicBezTo>
                  <a:cubicBezTo>
                    <a:pt x="10099774" y="5874745"/>
                    <a:pt x="10105174" y="5872362"/>
                    <a:pt x="10110497" y="5869725"/>
                  </a:cubicBezTo>
                  <a:cubicBezTo>
                    <a:pt x="10115821" y="5867089"/>
                    <a:pt x="10121195" y="5864148"/>
                    <a:pt x="10126620" y="5860904"/>
                  </a:cubicBezTo>
                  <a:cubicBezTo>
                    <a:pt x="10132045" y="5857659"/>
                    <a:pt x="10137647" y="5853958"/>
                    <a:pt x="10143427" y="5849800"/>
                  </a:cubicBezTo>
                  <a:close/>
                  <a:moveTo>
                    <a:pt x="9254256" y="5849800"/>
                  </a:moveTo>
                  <a:lnTo>
                    <a:pt x="9269162" y="5849800"/>
                  </a:lnTo>
                  <a:lnTo>
                    <a:pt x="9269162" y="6072780"/>
                  </a:lnTo>
                  <a:lnTo>
                    <a:pt x="9233874" y="6072780"/>
                  </a:lnTo>
                  <a:lnTo>
                    <a:pt x="9233874" y="5892997"/>
                  </a:lnTo>
                  <a:cubicBezTo>
                    <a:pt x="9227486" y="5897560"/>
                    <a:pt x="9220616" y="5901438"/>
                    <a:pt x="9213265" y="5904633"/>
                  </a:cubicBezTo>
                  <a:cubicBezTo>
                    <a:pt x="9205913" y="5907827"/>
                    <a:pt x="9197522" y="5910640"/>
                    <a:pt x="9188092" y="5913074"/>
                  </a:cubicBezTo>
                  <a:lnTo>
                    <a:pt x="9188092" y="5882958"/>
                  </a:lnTo>
                  <a:cubicBezTo>
                    <a:pt x="9193973" y="5881032"/>
                    <a:pt x="9199652" y="5879004"/>
                    <a:pt x="9205127" y="5876874"/>
                  </a:cubicBezTo>
                  <a:cubicBezTo>
                    <a:pt x="9210603" y="5874745"/>
                    <a:pt x="9216003" y="5872362"/>
                    <a:pt x="9221326" y="5869725"/>
                  </a:cubicBezTo>
                  <a:cubicBezTo>
                    <a:pt x="9226650" y="5867089"/>
                    <a:pt x="9232024" y="5864148"/>
                    <a:pt x="9237449" y="5860904"/>
                  </a:cubicBezTo>
                  <a:cubicBezTo>
                    <a:pt x="9242874" y="5857659"/>
                    <a:pt x="9248476" y="5853958"/>
                    <a:pt x="9254256" y="5849800"/>
                  </a:cubicBezTo>
                  <a:close/>
                  <a:moveTo>
                    <a:pt x="7015147" y="5849800"/>
                  </a:moveTo>
                  <a:lnTo>
                    <a:pt x="7030053" y="5849800"/>
                  </a:lnTo>
                  <a:lnTo>
                    <a:pt x="7030053" y="6072780"/>
                  </a:lnTo>
                  <a:lnTo>
                    <a:pt x="6994765" y="6072780"/>
                  </a:lnTo>
                  <a:lnTo>
                    <a:pt x="6994765" y="5892997"/>
                  </a:lnTo>
                  <a:cubicBezTo>
                    <a:pt x="6988377" y="5897560"/>
                    <a:pt x="6981508" y="5901438"/>
                    <a:pt x="6974156" y="5904633"/>
                  </a:cubicBezTo>
                  <a:cubicBezTo>
                    <a:pt x="6966804" y="5907827"/>
                    <a:pt x="6958414" y="5910640"/>
                    <a:pt x="6948983" y="5913074"/>
                  </a:cubicBezTo>
                  <a:lnTo>
                    <a:pt x="6948983" y="5882958"/>
                  </a:lnTo>
                  <a:cubicBezTo>
                    <a:pt x="6954864" y="5881032"/>
                    <a:pt x="6960543" y="5879004"/>
                    <a:pt x="6966018" y="5876874"/>
                  </a:cubicBezTo>
                  <a:cubicBezTo>
                    <a:pt x="6971494" y="5874745"/>
                    <a:pt x="6976894" y="5872362"/>
                    <a:pt x="6982217" y="5869725"/>
                  </a:cubicBezTo>
                  <a:cubicBezTo>
                    <a:pt x="6987541" y="5867089"/>
                    <a:pt x="6992915" y="5864148"/>
                    <a:pt x="6998340" y="5860904"/>
                  </a:cubicBezTo>
                  <a:cubicBezTo>
                    <a:pt x="7003765" y="5857659"/>
                    <a:pt x="7009367" y="5853958"/>
                    <a:pt x="7015147" y="5849800"/>
                  </a:cubicBezTo>
                  <a:close/>
                  <a:moveTo>
                    <a:pt x="4694968" y="5849800"/>
                  </a:moveTo>
                  <a:lnTo>
                    <a:pt x="4709876" y="5849800"/>
                  </a:lnTo>
                  <a:lnTo>
                    <a:pt x="4709876" y="6072780"/>
                  </a:lnTo>
                  <a:lnTo>
                    <a:pt x="4674589" y="6072780"/>
                  </a:lnTo>
                  <a:lnTo>
                    <a:pt x="4674589" y="5892997"/>
                  </a:lnTo>
                  <a:cubicBezTo>
                    <a:pt x="4668200" y="5897560"/>
                    <a:pt x="4661331" y="5901438"/>
                    <a:pt x="4653978" y="5904633"/>
                  </a:cubicBezTo>
                  <a:cubicBezTo>
                    <a:pt x="4646628" y="5907827"/>
                    <a:pt x="4638236" y="5910640"/>
                    <a:pt x="4628805" y="5913074"/>
                  </a:cubicBezTo>
                  <a:lnTo>
                    <a:pt x="4628805" y="5882958"/>
                  </a:lnTo>
                  <a:cubicBezTo>
                    <a:pt x="4634687" y="5881032"/>
                    <a:pt x="4640364" y="5879004"/>
                    <a:pt x="4645841" y="5876874"/>
                  </a:cubicBezTo>
                  <a:cubicBezTo>
                    <a:pt x="4651316" y="5874745"/>
                    <a:pt x="4656717" y="5872362"/>
                    <a:pt x="4662040" y="5869725"/>
                  </a:cubicBezTo>
                  <a:cubicBezTo>
                    <a:pt x="4667363" y="5867089"/>
                    <a:pt x="4672738" y="5864148"/>
                    <a:pt x="4678162" y="5860904"/>
                  </a:cubicBezTo>
                  <a:cubicBezTo>
                    <a:pt x="4683588" y="5857659"/>
                    <a:pt x="4689190" y="5853958"/>
                    <a:pt x="4694968" y="5849800"/>
                  </a:cubicBezTo>
                  <a:close/>
                  <a:moveTo>
                    <a:pt x="3158682" y="5849800"/>
                  </a:moveTo>
                  <a:lnTo>
                    <a:pt x="3173587" y="5849800"/>
                  </a:lnTo>
                  <a:lnTo>
                    <a:pt x="3173587" y="6072780"/>
                  </a:lnTo>
                  <a:lnTo>
                    <a:pt x="3138299" y="6072780"/>
                  </a:lnTo>
                  <a:lnTo>
                    <a:pt x="3138299" y="5892997"/>
                  </a:lnTo>
                  <a:cubicBezTo>
                    <a:pt x="3131912" y="5897560"/>
                    <a:pt x="3125042" y="5901438"/>
                    <a:pt x="3117690" y="5904633"/>
                  </a:cubicBezTo>
                  <a:cubicBezTo>
                    <a:pt x="3110339" y="5907827"/>
                    <a:pt x="3101948" y="5910640"/>
                    <a:pt x="3092517" y="5913074"/>
                  </a:cubicBezTo>
                  <a:lnTo>
                    <a:pt x="3092517" y="5882958"/>
                  </a:lnTo>
                  <a:cubicBezTo>
                    <a:pt x="3098398" y="5881032"/>
                    <a:pt x="3104077" y="5879004"/>
                    <a:pt x="3109553" y="5876874"/>
                  </a:cubicBezTo>
                  <a:cubicBezTo>
                    <a:pt x="3115028" y="5874745"/>
                    <a:pt x="3120428" y="5872362"/>
                    <a:pt x="3125751" y="5869725"/>
                  </a:cubicBezTo>
                  <a:cubicBezTo>
                    <a:pt x="3131075" y="5867089"/>
                    <a:pt x="3136449" y="5864148"/>
                    <a:pt x="3141875" y="5860904"/>
                  </a:cubicBezTo>
                  <a:cubicBezTo>
                    <a:pt x="3147300" y="5857659"/>
                    <a:pt x="3152901" y="5853958"/>
                    <a:pt x="3158682" y="5849800"/>
                  </a:cubicBezTo>
                  <a:close/>
                  <a:moveTo>
                    <a:pt x="2489154" y="5849800"/>
                  </a:moveTo>
                  <a:lnTo>
                    <a:pt x="2504060" y="5849800"/>
                  </a:lnTo>
                  <a:lnTo>
                    <a:pt x="2504060" y="6072780"/>
                  </a:lnTo>
                  <a:lnTo>
                    <a:pt x="2468772" y="6072780"/>
                  </a:lnTo>
                  <a:lnTo>
                    <a:pt x="2468772" y="5892997"/>
                  </a:lnTo>
                  <a:cubicBezTo>
                    <a:pt x="2462385" y="5897560"/>
                    <a:pt x="2455514" y="5901438"/>
                    <a:pt x="2448163" y="5904633"/>
                  </a:cubicBezTo>
                  <a:cubicBezTo>
                    <a:pt x="2440812" y="5907827"/>
                    <a:pt x="2432420" y="5910640"/>
                    <a:pt x="2422990" y="5913074"/>
                  </a:cubicBezTo>
                  <a:lnTo>
                    <a:pt x="2422990" y="5882958"/>
                  </a:lnTo>
                  <a:cubicBezTo>
                    <a:pt x="2428871" y="5881032"/>
                    <a:pt x="2434551" y="5879004"/>
                    <a:pt x="2440025" y="5876874"/>
                  </a:cubicBezTo>
                  <a:cubicBezTo>
                    <a:pt x="2445502" y="5874745"/>
                    <a:pt x="2450900" y="5872362"/>
                    <a:pt x="2456224" y="5869725"/>
                  </a:cubicBezTo>
                  <a:cubicBezTo>
                    <a:pt x="2461549" y="5867089"/>
                    <a:pt x="2466922" y="5864148"/>
                    <a:pt x="2472346" y="5860904"/>
                  </a:cubicBezTo>
                  <a:cubicBezTo>
                    <a:pt x="2477772" y="5857659"/>
                    <a:pt x="2483374" y="5853958"/>
                    <a:pt x="2489154" y="5849800"/>
                  </a:cubicBezTo>
                  <a:close/>
                  <a:moveTo>
                    <a:pt x="1599916" y="5849800"/>
                  </a:moveTo>
                  <a:lnTo>
                    <a:pt x="1614822" y="5849800"/>
                  </a:lnTo>
                  <a:lnTo>
                    <a:pt x="1614822" y="6072780"/>
                  </a:lnTo>
                  <a:lnTo>
                    <a:pt x="1579534" y="6072780"/>
                  </a:lnTo>
                  <a:lnTo>
                    <a:pt x="1579534" y="5892997"/>
                  </a:lnTo>
                  <a:cubicBezTo>
                    <a:pt x="1573146" y="5897560"/>
                    <a:pt x="1566276" y="5901438"/>
                    <a:pt x="1558925" y="5904633"/>
                  </a:cubicBezTo>
                  <a:cubicBezTo>
                    <a:pt x="1551573" y="5907827"/>
                    <a:pt x="1543182" y="5910640"/>
                    <a:pt x="1533752" y="5913074"/>
                  </a:cubicBezTo>
                  <a:lnTo>
                    <a:pt x="1533752" y="5882958"/>
                  </a:lnTo>
                  <a:cubicBezTo>
                    <a:pt x="1539633" y="5881032"/>
                    <a:pt x="1545312" y="5879004"/>
                    <a:pt x="1550787" y="5876874"/>
                  </a:cubicBezTo>
                  <a:cubicBezTo>
                    <a:pt x="1556263" y="5874745"/>
                    <a:pt x="1561663" y="5872362"/>
                    <a:pt x="1566986" y="5869725"/>
                  </a:cubicBezTo>
                  <a:cubicBezTo>
                    <a:pt x="1572310" y="5867089"/>
                    <a:pt x="1577684" y="5864148"/>
                    <a:pt x="1583109" y="5860904"/>
                  </a:cubicBezTo>
                  <a:cubicBezTo>
                    <a:pt x="1588534" y="5857659"/>
                    <a:pt x="1594136" y="5853958"/>
                    <a:pt x="1599916" y="5849800"/>
                  </a:cubicBezTo>
                  <a:close/>
                  <a:moveTo>
                    <a:pt x="480750" y="5849800"/>
                  </a:moveTo>
                  <a:lnTo>
                    <a:pt x="495656" y="5849800"/>
                  </a:lnTo>
                  <a:lnTo>
                    <a:pt x="495656" y="6072780"/>
                  </a:lnTo>
                  <a:lnTo>
                    <a:pt x="460368" y="6072780"/>
                  </a:lnTo>
                  <a:lnTo>
                    <a:pt x="460368" y="5892997"/>
                  </a:lnTo>
                  <a:cubicBezTo>
                    <a:pt x="453980" y="5897560"/>
                    <a:pt x="447110" y="5901438"/>
                    <a:pt x="439759" y="5904633"/>
                  </a:cubicBezTo>
                  <a:cubicBezTo>
                    <a:pt x="432407" y="5907827"/>
                    <a:pt x="424016" y="5910640"/>
                    <a:pt x="414586" y="5913074"/>
                  </a:cubicBezTo>
                  <a:lnTo>
                    <a:pt x="414586" y="5882958"/>
                  </a:lnTo>
                  <a:cubicBezTo>
                    <a:pt x="420467" y="5881032"/>
                    <a:pt x="426146" y="5879004"/>
                    <a:pt x="431621" y="5876874"/>
                  </a:cubicBezTo>
                  <a:cubicBezTo>
                    <a:pt x="437097" y="5874745"/>
                    <a:pt x="442497" y="5872362"/>
                    <a:pt x="447821" y="5869725"/>
                  </a:cubicBezTo>
                  <a:cubicBezTo>
                    <a:pt x="453144" y="5867089"/>
                    <a:pt x="458518" y="5864148"/>
                    <a:pt x="463943" y="5860904"/>
                  </a:cubicBezTo>
                  <a:cubicBezTo>
                    <a:pt x="469368" y="5857659"/>
                    <a:pt x="474970" y="5853958"/>
                    <a:pt x="480750" y="5849800"/>
                  </a:cubicBezTo>
                  <a:close/>
                  <a:moveTo>
                    <a:pt x="11877853" y="5842140"/>
                  </a:moveTo>
                  <a:cubicBezTo>
                    <a:pt x="11925297" y="5842140"/>
                    <a:pt x="11949020" y="5879003"/>
                    <a:pt x="11949020" y="5952728"/>
                  </a:cubicBezTo>
                  <a:cubicBezTo>
                    <a:pt x="11949020" y="5989239"/>
                    <a:pt x="11942324" y="6017099"/>
                    <a:pt x="11928934" y="6036307"/>
                  </a:cubicBezTo>
                  <a:cubicBezTo>
                    <a:pt x="11915543" y="6055516"/>
                    <a:pt x="11896811" y="6065120"/>
                    <a:pt x="11872737" y="6065120"/>
                  </a:cubicBezTo>
                  <a:cubicBezTo>
                    <a:pt x="11850269" y="6065120"/>
                    <a:pt x="11832740" y="6055942"/>
                    <a:pt x="11820152" y="6037586"/>
                  </a:cubicBezTo>
                  <a:cubicBezTo>
                    <a:pt x="11807563" y="6019230"/>
                    <a:pt x="11801269" y="5992699"/>
                    <a:pt x="11801269" y="5957994"/>
                  </a:cubicBezTo>
                  <a:cubicBezTo>
                    <a:pt x="11801269" y="5919877"/>
                    <a:pt x="11807839" y="5891040"/>
                    <a:pt x="11820979" y="5871480"/>
                  </a:cubicBezTo>
                  <a:cubicBezTo>
                    <a:pt x="11834120" y="5851920"/>
                    <a:pt x="11853077" y="5842140"/>
                    <a:pt x="11877853" y="5842140"/>
                  </a:cubicBezTo>
                  <a:close/>
                  <a:moveTo>
                    <a:pt x="6367990" y="5842140"/>
                  </a:moveTo>
                  <a:cubicBezTo>
                    <a:pt x="6415435" y="5842140"/>
                    <a:pt x="6439157" y="5879003"/>
                    <a:pt x="6439157" y="5952728"/>
                  </a:cubicBezTo>
                  <a:cubicBezTo>
                    <a:pt x="6439157" y="5989239"/>
                    <a:pt x="6432462" y="6017099"/>
                    <a:pt x="6419071" y="6036307"/>
                  </a:cubicBezTo>
                  <a:cubicBezTo>
                    <a:pt x="6405680" y="6055516"/>
                    <a:pt x="6386948" y="6065120"/>
                    <a:pt x="6362874" y="6065120"/>
                  </a:cubicBezTo>
                  <a:cubicBezTo>
                    <a:pt x="6340406" y="6065120"/>
                    <a:pt x="6322877" y="6055942"/>
                    <a:pt x="6310289" y="6037586"/>
                  </a:cubicBezTo>
                  <a:cubicBezTo>
                    <a:pt x="6297700" y="6019230"/>
                    <a:pt x="6291406" y="5992699"/>
                    <a:pt x="6291406" y="5957994"/>
                  </a:cubicBezTo>
                  <a:cubicBezTo>
                    <a:pt x="6291406" y="5919877"/>
                    <a:pt x="6297976" y="5891040"/>
                    <a:pt x="6311116" y="5871480"/>
                  </a:cubicBezTo>
                  <a:cubicBezTo>
                    <a:pt x="6324257" y="5851920"/>
                    <a:pt x="6343214" y="5842140"/>
                    <a:pt x="6367990" y="5842140"/>
                  </a:cubicBezTo>
                  <a:close/>
                  <a:moveTo>
                    <a:pt x="5090447" y="5842140"/>
                  </a:moveTo>
                  <a:cubicBezTo>
                    <a:pt x="5137892" y="5842140"/>
                    <a:pt x="5161614" y="5879003"/>
                    <a:pt x="5161614" y="5952728"/>
                  </a:cubicBezTo>
                  <a:cubicBezTo>
                    <a:pt x="5161614" y="5989239"/>
                    <a:pt x="5154919" y="6017099"/>
                    <a:pt x="5141528" y="6036307"/>
                  </a:cubicBezTo>
                  <a:cubicBezTo>
                    <a:pt x="5128136" y="6055516"/>
                    <a:pt x="5109405" y="6065120"/>
                    <a:pt x="5085331" y="6065120"/>
                  </a:cubicBezTo>
                  <a:cubicBezTo>
                    <a:pt x="5062862" y="6065120"/>
                    <a:pt x="5045334" y="6055942"/>
                    <a:pt x="5032746" y="6037586"/>
                  </a:cubicBezTo>
                  <a:cubicBezTo>
                    <a:pt x="5020157" y="6019230"/>
                    <a:pt x="5013863" y="5992699"/>
                    <a:pt x="5013863" y="5957994"/>
                  </a:cubicBezTo>
                  <a:cubicBezTo>
                    <a:pt x="5013863" y="5919877"/>
                    <a:pt x="5020435" y="5891040"/>
                    <a:pt x="5033573" y="5871480"/>
                  </a:cubicBezTo>
                  <a:cubicBezTo>
                    <a:pt x="5046714" y="5851920"/>
                    <a:pt x="5065671" y="5842140"/>
                    <a:pt x="5090447" y="5842140"/>
                  </a:cubicBezTo>
                  <a:close/>
                  <a:moveTo>
                    <a:pt x="11874294" y="5532345"/>
                  </a:moveTo>
                  <a:cubicBezTo>
                    <a:pt x="11848114" y="5532345"/>
                    <a:pt x="11835024" y="5561182"/>
                    <a:pt x="11835024" y="5618858"/>
                  </a:cubicBezTo>
                  <a:cubicBezTo>
                    <a:pt x="11835024" y="5672823"/>
                    <a:pt x="11847863" y="5699805"/>
                    <a:pt x="11873542" y="5699805"/>
                  </a:cubicBezTo>
                  <a:cubicBezTo>
                    <a:pt x="11898818" y="5699805"/>
                    <a:pt x="11911457" y="5672371"/>
                    <a:pt x="11911457" y="5617504"/>
                  </a:cubicBezTo>
                  <a:cubicBezTo>
                    <a:pt x="11911457" y="5560731"/>
                    <a:pt x="11899069" y="5532345"/>
                    <a:pt x="11874294" y="5532345"/>
                  </a:cubicBezTo>
                  <a:close/>
                  <a:moveTo>
                    <a:pt x="9936214" y="5532345"/>
                  </a:moveTo>
                  <a:cubicBezTo>
                    <a:pt x="9910034" y="5532345"/>
                    <a:pt x="9896944" y="5561183"/>
                    <a:pt x="9896944" y="5618859"/>
                  </a:cubicBezTo>
                  <a:cubicBezTo>
                    <a:pt x="9896944" y="5672823"/>
                    <a:pt x="9909783" y="5699806"/>
                    <a:pt x="9935462" y="5699806"/>
                  </a:cubicBezTo>
                  <a:cubicBezTo>
                    <a:pt x="9960738" y="5699806"/>
                    <a:pt x="9973377" y="5672372"/>
                    <a:pt x="9973377" y="5617505"/>
                  </a:cubicBezTo>
                  <a:cubicBezTo>
                    <a:pt x="9973377" y="5560732"/>
                    <a:pt x="9960989" y="5532345"/>
                    <a:pt x="9936214" y="5532345"/>
                  </a:cubicBezTo>
                  <a:close/>
                  <a:moveTo>
                    <a:pt x="6366335" y="5532345"/>
                  </a:moveTo>
                  <a:cubicBezTo>
                    <a:pt x="6340155" y="5532345"/>
                    <a:pt x="6327065" y="5561182"/>
                    <a:pt x="6327065" y="5618858"/>
                  </a:cubicBezTo>
                  <a:cubicBezTo>
                    <a:pt x="6327065" y="5672823"/>
                    <a:pt x="6339904" y="5699805"/>
                    <a:pt x="6365583" y="5699805"/>
                  </a:cubicBezTo>
                  <a:cubicBezTo>
                    <a:pt x="6390860" y="5699805"/>
                    <a:pt x="6403498" y="5672371"/>
                    <a:pt x="6403498" y="5617504"/>
                  </a:cubicBezTo>
                  <a:cubicBezTo>
                    <a:pt x="6403498" y="5560731"/>
                    <a:pt x="6391110" y="5532345"/>
                    <a:pt x="6366335" y="5532345"/>
                  </a:cubicBezTo>
                  <a:close/>
                  <a:moveTo>
                    <a:pt x="5088792" y="5532345"/>
                  </a:moveTo>
                  <a:cubicBezTo>
                    <a:pt x="5062613" y="5532345"/>
                    <a:pt x="5049522" y="5561182"/>
                    <a:pt x="5049522" y="5618858"/>
                  </a:cubicBezTo>
                  <a:cubicBezTo>
                    <a:pt x="5049522" y="5672823"/>
                    <a:pt x="5062362" y="5699805"/>
                    <a:pt x="5088041" y="5699805"/>
                  </a:cubicBezTo>
                  <a:cubicBezTo>
                    <a:pt x="5113318" y="5699805"/>
                    <a:pt x="5125957" y="5672371"/>
                    <a:pt x="5125957" y="5617504"/>
                  </a:cubicBezTo>
                  <a:cubicBezTo>
                    <a:pt x="5125957" y="5560731"/>
                    <a:pt x="5113567" y="5532345"/>
                    <a:pt x="5088792" y="5532345"/>
                  </a:cubicBezTo>
                  <a:close/>
                  <a:moveTo>
                    <a:pt x="11875949" y="5504510"/>
                  </a:moveTo>
                  <a:cubicBezTo>
                    <a:pt x="11923393" y="5504510"/>
                    <a:pt x="11947116" y="5541372"/>
                    <a:pt x="11947116" y="5615097"/>
                  </a:cubicBezTo>
                  <a:cubicBezTo>
                    <a:pt x="11947116" y="5651608"/>
                    <a:pt x="11940420" y="5679468"/>
                    <a:pt x="11927030" y="5698677"/>
                  </a:cubicBezTo>
                  <a:cubicBezTo>
                    <a:pt x="11913639" y="5717885"/>
                    <a:pt x="11894907" y="5727490"/>
                    <a:pt x="11870833" y="5727490"/>
                  </a:cubicBezTo>
                  <a:cubicBezTo>
                    <a:pt x="11848365" y="5727490"/>
                    <a:pt x="11830836" y="5718312"/>
                    <a:pt x="11818248" y="5699956"/>
                  </a:cubicBezTo>
                  <a:cubicBezTo>
                    <a:pt x="11805659" y="5681600"/>
                    <a:pt x="11799365" y="5655069"/>
                    <a:pt x="11799365" y="5620363"/>
                  </a:cubicBezTo>
                  <a:cubicBezTo>
                    <a:pt x="11799365" y="5582247"/>
                    <a:pt x="11805935" y="5553409"/>
                    <a:pt x="11819075" y="5533849"/>
                  </a:cubicBezTo>
                  <a:cubicBezTo>
                    <a:pt x="11832216" y="5514290"/>
                    <a:pt x="11851173" y="5504510"/>
                    <a:pt x="11875949" y="5504510"/>
                  </a:cubicBezTo>
                  <a:close/>
                  <a:moveTo>
                    <a:pt x="9937869" y="5504510"/>
                  </a:moveTo>
                  <a:cubicBezTo>
                    <a:pt x="9985313" y="5504510"/>
                    <a:pt x="10009036" y="5541373"/>
                    <a:pt x="10009036" y="5615098"/>
                  </a:cubicBezTo>
                  <a:cubicBezTo>
                    <a:pt x="10009036" y="5651609"/>
                    <a:pt x="10002340" y="5679469"/>
                    <a:pt x="9988950" y="5698677"/>
                  </a:cubicBezTo>
                  <a:cubicBezTo>
                    <a:pt x="9975559" y="5717886"/>
                    <a:pt x="9956827" y="5727490"/>
                    <a:pt x="9932753" y="5727490"/>
                  </a:cubicBezTo>
                  <a:cubicBezTo>
                    <a:pt x="9910285" y="5727490"/>
                    <a:pt x="9892756" y="5718312"/>
                    <a:pt x="9880168" y="5699956"/>
                  </a:cubicBezTo>
                  <a:cubicBezTo>
                    <a:pt x="9867579" y="5681600"/>
                    <a:pt x="9861285" y="5655069"/>
                    <a:pt x="9861285" y="5620364"/>
                  </a:cubicBezTo>
                  <a:cubicBezTo>
                    <a:pt x="9861285" y="5582247"/>
                    <a:pt x="9867855" y="5553410"/>
                    <a:pt x="9880995" y="5533850"/>
                  </a:cubicBezTo>
                  <a:cubicBezTo>
                    <a:pt x="9894136" y="5514290"/>
                    <a:pt x="9913093" y="5504510"/>
                    <a:pt x="9937869" y="5504510"/>
                  </a:cubicBezTo>
                  <a:close/>
                  <a:moveTo>
                    <a:pt x="6367990" y="5504510"/>
                  </a:moveTo>
                  <a:cubicBezTo>
                    <a:pt x="6415435" y="5504510"/>
                    <a:pt x="6439157" y="5541372"/>
                    <a:pt x="6439157" y="5615097"/>
                  </a:cubicBezTo>
                  <a:cubicBezTo>
                    <a:pt x="6439157" y="5651608"/>
                    <a:pt x="6432462" y="5679468"/>
                    <a:pt x="6419071" y="5698677"/>
                  </a:cubicBezTo>
                  <a:cubicBezTo>
                    <a:pt x="6405680" y="5717885"/>
                    <a:pt x="6386948" y="5727490"/>
                    <a:pt x="6362874" y="5727490"/>
                  </a:cubicBezTo>
                  <a:cubicBezTo>
                    <a:pt x="6340406" y="5727490"/>
                    <a:pt x="6322877" y="5718312"/>
                    <a:pt x="6310289" y="5699956"/>
                  </a:cubicBezTo>
                  <a:cubicBezTo>
                    <a:pt x="6297700" y="5681600"/>
                    <a:pt x="6291406" y="5655069"/>
                    <a:pt x="6291406" y="5620363"/>
                  </a:cubicBezTo>
                  <a:cubicBezTo>
                    <a:pt x="6291406" y="5582247"/>
                    <a:pt x="6297976" y="5553409"/>
                    <a:pt x="6311116" y="5533849"/>
                  </a:cubicBezTo>
                  <a:cubicBezTo>
                    <a:pt x="6324257" y="5514290"/>
                    <a:pt x="6343214" y="5504510"/>
                    <a:pt x="6367990" y="5504510"/>
                  </a:cubicBezTo>
                  <a:close/>
                  <a:moveTo>
                    <a:pt x="5090447" y="5504510"/>
                  </a:moveTo>
                  <a:cubicBezTo>
                    <a:pt x="5137892" y="5504510"/>
                    <a:pt x="5161614" y="5541372"/>
                    <a:pt x="5161614" y="5615097"/>
                  </a:cubicBezTo>
                  <a:cubicBezTo>
                    <a:pt x="5161614" y="5651608"/>
                    <a:pt x="5154919" y="5679468"/>
                    <a:pt x="5141528" y="5698677"/>
                  </a:cubicBezTo>
                  <a:cubicBezTo>
                    <a:pt x="5128136" y="5717885"/>
                    <a:pt x="5109405" y="5727490"/>
                    <a:pt x="5085331" y="5727490"/>
                  </a:cubicBezTo>
                  <a:cubicBezTo>
                    <a:pt x="5062862" y="5727490"/>
                    <a:pt x="5045334" y="5718312"/>
                    <a:pt x="5032746" y="5699956"/>
                  </a:cubicBezTo>
                  <a:cubicBezTo>
                    <a:pt x="5020157" y="5681600"/>
                    <a:pt x="5013863" y="5655069"/>
                    <a:pt x="5013863" y="5620363"/>
                  </a:cubicBezTo>
                  <a:cubicBezTo>
                    <a:pt x="5013863" y="5582247"/>
                    <a:pt x="5020435" y="5553409"/>
                    <a:pt x="5033573" y="5533849"/>
                  </a:cubicBezTo>
                  <a:cubicBezTo>
                    <a:pt x="5046714" y="5514290"/>
                    <a:pt x="5065671" y="5504510"/>
                    <a:pt x="5090447" y="5504510"/>
                  </a:cubicBezTo>
                  <a:close/>
                  <a:moveTo>
                    <a:pt x="12062430" y="5494669"/>
                  </a:moveTo>
                  <a:lnTo>
                    <a:pt x="12077336" y="5494669"/>
                  </a:lnTo>
                  <a:lnTo>
                    <a:pt x="12077336" y="5717649"/>
                  </a:lnTo>
                  <a:lnTo>
                    <a:pt x="12042048" y="5717649"/>
                  </a:lnTo>
                  <a:lnTo>
                    <a:pt x="12042048" y="5537865"/>
                  </a:lnTo>
                  <a:cubicBezTo>
                    <a:pt x="12035660" y="5542428"/>
                    <a:pt x="12028790" y="5546307"/>
                    <a:pt x="12021439" y="5549501"/>
                  </a:cubicBezTo>
                  <a:cubicBezTo>
                    <a:pt x="12014087" y="5552695"/>
                    <a:pt x="12005696" y="5555509"/>
                    <a:pt x="11996266" y="5557943"/>
                  </a:cubicBezTo>
                  <a:lnTo>
                    <a:pt x="11996266" y="5527827"/>
                  </a:lnTo>
                  <a:cubicBezTo>
                    <a:pt x="12002147" y="5525900"/>
                    <a:pt x="12007826" y="5523872"/>
                    <a:pt x="12013301" y="5521743"/>
                  </a:cubicBezTo>
                  <a:cubicBezTo>
                    <a:pt x="12018777" y="5519614"/>
                    <a:pt x="12024177" y="5517230"/>
                    <a:pt x="12029500" y="5514594"/>
                  </a:cubicBezTo>
                  <a:cubicBezTo>
                    <a:pt x="12034824" y="5511958"/>
                    <a:pt x="12040198" y="5509017"/>
                    <a:pt x="12045623" y="5505772"/>
                  </a:cubicBezTo>
                  <a:cubicBezTo>
                    <a:pt x="12051048" y="5502527"/>
                    <a:pt x="12056650" y="5498826"/>
                    <a:pt x="12062430" y="5494669"/>
                  </a:cubicBezTo>
                  <a:close/>
                  <a:moveTo>
                    <a:pt x="10143427" y="5494669"/>
                  </a:moveTo>
                  <a:lnTo>
                    <a:pt x="10158333" y="5494669"/>
                  </a:lnTo>
                  <a:lnTo>
                    <a:pt x="10158333" y="5717649"/>
                  </a:lnTo>
                  <a:lnTo>
                    <a:pt x="10123045" y="5717649"/>
                  </a:lnTo>
                  <a:lnTo>
                    <a:pt x="10123045" y="5537866"/>
                  </a:lnTo>
                  <a:cubicBezTo>
                    <a:pt x="10116657" y="5542429"/>
                    <a:pt x="10109787" y="5546307"/>
                    <a:pt x="10102436" y="5549502"/>
                  </a:cubicBezTo>
                  <a:cubicBezTo>
                    <a:pt x="10095084" y="5552696"/>
                    <a:pt x="10086693" y="5555509"/>
                    <a:pt x="10077263" y="5557943"/>
                  </a:cubicBezTo>
                  <a:lnTo>
                    <a:pt x="10077263" y="5527827"/>
                  </a:lnTo>
                  <a:cubicBezTo>
                    <a:pt x="10083144" y="5525901"/>
                    <a:pt x="10088823" y="5523873"/>
                    <a:pt x="10094298" y="5521743"/>
                  </a:cubicBezTo>
                  <a:cubicBezTo>
                    <a:pt x="10099774" y="5519614"/>
                    <a:pt x="10105174" y="5517231"/>
                    <a:pt x="10110497" y="5514594"/>
                  </a:cubicBezTo>
                  <a:cubicBezTo>
                    <a:pt x="10115821" y="5511958"/>
                    <a:pt x="10121195" y="5509017"/>
                    <a:pt x="10126620" y="5505773"/>
                  </a:cubicBezTo>
                  <a:cubicBezTo>
                    <a:pt x="10132045" y="5502528"/>
                    <a:pt x="10137647" y="5498827"/>
                    <a:pt x="10143427" y="5494669"/>
                  </a:cubicBezTo>
                  <a:close/>
                  <a:moveTo>
                    <a:pt x="9254256" y="5494669"/>
                  </a:moveTo>
                  <a:lnTo>
                    <a:pt x="9269162" y="5494669"/>
                  </a:lnTo>
                  <a:lnTo>
                    <a:pt x="9269162" y="5717649"/>
                  </a:lnTo>
                  <a:lnTo>
                    <a:pt x="9233874" y="5717649"/>
                  </a:lnTo>
                  <a:lnTo>
                    <a:pt x="9233874" y="5537865"/>
                  </a:lnTo>
                  <a:cubicBezTo>
                    <a:pt x="9227486" y="5542428"/>
                    <a:pt x="9220616" y="5546307"/>
                    <a:pt x="9213265" y="5549501"/>
                  </a:cubicBezTo>
                  <a:cubicBezTo>
                    <a:pt x="9205913" y="5552695"/>
                    <a:pt x="9197522" y="5555509"/>
                    <a:pt x="9188092" y="5557943"/>
                  </a:cubicBezTo>
                  <a:lnTo>
                    <a:pt x="9188092" y="5527827"/>
                  </a:lnTo>
                  <a:cubicBezTo>
                    <a:pt x="9193973" y="5525900"/>
                    <a:pt x="9199652" y="5523872"/>
                    <a:pt x="9205127" y="5521743"/>
                  </a:cubicBezTo>
                  <a:cubicBezTo>
                    <a:pt x="9210603" y="5519614"/>
                    <a:pt x="9216003" y="5517230"/>
                    <a:pt x="9221326" y="5514594"/>
                  </a:cubicBezTo>
                  <a:cubicBezTo>
                    <a:pt x="9226650" y="5511958"/>
                    <a:pt x="9232024" y="5509017"/>
                    <a:pt x="9237449" y="5505772"/>
                  </a:cubicBezTo>
                  <a:cubicBezTo>
                    <a:pt x="9242874" y="5502527"/>
                    <a:pt x="9248476" y="5498826"/>
                    <a:pt x="9254256" y="5494669"/>
                  </a:cubicBezTo>
                  <a:close/>
                  <a:moveTo>
                    <a:pt x="7851748" y="5494669"/>
                  </a:moveTo>
                  <a:lnTo>
                    <a:pt x="7866654" y="5494669"/>
                  </a:lnTo>
                  <a:lnTo>
                    <a:pt x="7866654" y="5717649"/>
                  </a:lnTo>
                  <a:lnTo>
                    <a:pt x="7831366" y="5717649"/>
                  </a:lnTo>
                  <a:lnTo>
                    <a:pt x="7831366" y="5537866"/>
                  </a:lnTo>
                  <a:cubicBezTo>
                    <a:pt x="7824978" y="5542429"/>
                    <a:pt x="7818109" y="5546307"/>
                    <a:pt x="7810757" y="5549502"/>
                  </a:cubicBezTo>
                  <a:cubicBezTo>
                    <a:pt x="7803405" y="5552696"/>
                    <a:pt x="7795015" y="5555509"/>
                    <a:pt x="7785584" y="5557943"/>
                  </a:cubicBezTo>
                  <a:lnTo>
                    <a:pt x="7785584" y="5527827"/>
                  </a:lnTo>
                  <a:cubicBezTo>
                    <a:pt x="7791465" y="5525901"/>
                    <a:pt x="7797144" y="5523873"/>
                    <a:pt x="7802619" y="5521743"/>
                  </a:cubicBezTo>
                  <a:cubicBezTo>
                    <a:pt x="7808095" y="5519614"/>
                    <a:pt x="7813495" y="5517231"/>
                    <a:pt x="7818818" y="5514594"/>
                  </a:cubicBezTo>
                  <a:cubicBezTo>
                    <a:pt x="7824142" y="5511958"/>
                    <a:pt x="7829516" y="5509017"/>
                    <a:pt x="7834941" y="5505773"/>
                  </a:cubicBezTo>
                  <a:cubicBezTo>
                    <a:pt x="7840366" y="5502528"/>
                    <a:pt x="7845968" y="5498827"/>
                    <a:pt x="7851748" y="5494669"/>
                  </a:cubicBezTo>
                  <a:close/>
                  <a:moveTo>
                    <a:pt x="7015147" y="5494669"/>
                  </a:moveTo>
                  <a:lnTo>
                    <a:pt x="7030053" y="5494669"/>
                  </a:lnTo>
                  <a:lnTo>
                    <a:pt x="7030053" y="5717649"/>
                  </a:lnTo>
                  <a:lnTo>
                    <a:pt x="6994765" y="5717649"/>
                  </a:lnTo>
                  <a:lnTo>
                    <a:pt x="6994765" y="5537865"/>
                  </a:lnTo>
                  <a:cubicBezTo>
                    <a:pt x="6988377" y="5542428"/>
                    <a:pt x="6981508" y="5546307"/>
                    <a:pt x="6974156" y="5549501"/>
                  </a:cubicBezTo>
                  <a:cubicBezTo>
                    <a:pt x="6966804" y="5552695"/>
                    <a:pt x="6958414" y="5555509"/>
                    <a:pt x="6948983" y="5557943"/>
                  </a:cubicBezTo>
                  <a:lnTo>
                    <a:pt x="6948983" y="5527827"/>
                  </a:lnTo>
                  <a:cubicBezTo>
                    <a:pt x="6954864" y="5525900"/>
                    <a:pt x="6960543" y="5523872"/>
                    <a:pt x="6966018" y="5521743"/>
                  </a:cubicBezTo>
                  <a:cubicBezTo>
                    <a:pt x="6971494" y="5519614"/>
                    <a:pt x="6976894" y="5517230"/>
                    <a:pt x="6982217" y="5514594"/>
                  </a:cubicBezTo>
                  <a:cubicBezTo>
                    <a:pt x="6987541" y="5511958"/>
                    <a:pt x="6992915" y="5509017"/>
                    <a:pt x="6998340" y="5505772"/>
                  </a:cubicBezTo>
                  <a:cubicBezTo>
                    <a:pt x="7003765" y="5502527"/>
                    <a:pt x="7009367" y="5498826"/>
                    <a:pt x="7015147" y="5494669"/>
                  </a:cubicBezTo>
                  <a:close/>
                  <a:moveTo>
                    <a:pt x="4694968" y="5494669"/>
                  </a:moveTo>
                  <a:lnTo>
                    <a:pt x="4709876" y="5494669"/>
                  </a:lnTo>
                  <a:lnTo>
                    <a:pt x="4709876" y="5717649"/>
                  </a:lnTo>
                  <a:lnTo>
                    <a:pt x="4674589" y="5717649"/>
                  </a:lnTo>
                  <a:lnTo>
                    <a:pt x="4674589" y="5537865"/>
                  </a:lnTo>
                  <a:cubicBezTo>
                    <a:pt x="4668200" y="5542428"/>
                    <a:pt x="4661331" y="5546307"/>
                    <a:pt x="4653978" y="5549501"/>
                  </a:cubicBezTo>
                  <a:cubicBezTo>
                    <a:pt x="4646628" y="5552695"/>
                    <a:pt x="4638236" y="5555509"/>
                    <a:pt x="4628805" y="5557943"/>
                  </a:cubicBezTo>
                  <a:lnTo>
                    <a:pt x="4628805" y="5527827"/>
                  </a:lnTo>
                  <a:cubicBezTo>
                    <a:pt x="4634687" y="5525900"/>
                    <a:pt x="4640364" y="5523872"/>
                    <a:pt x="4645841" y="5521743"/>
                  </a:cubicBezTo>
                  <a:cubicBezTo>
                    <a:pt x="4651316" y="5519614"/>
                    <a:pt x="4656717" y="5517230"/>
                    <a:pt x="4662040" y="5514594"/>
                  </a:cubicBezTo>
                  <a:cubicBezTo>
                    <a:pt x="4667363" y="5511958"/>
                    <a:pt x="4672738" y="5509017"/>
                    <a:pt x="4678162" y="5505772"/>
                  </a:cubicBezTo>
                  <a:cubicBezTo>
                    <a:pt x="4683588" y="5502527"/>
                    <a:pt x="4689190" y="5498826"/>
                    <a:pt x="4694968" y="5494669"/>
                  </a:cubicBezTo>
                  <a:close/>
                  <a:moveTo>
                    <a:pt x="3158682" y="5494669"/>
                  </a:moveTo>
                  <a:lnTo>
                    <a:pt x="3173587" y="5494669"/>
                  </a:lnTo>
                  <a:lnTo>
                    <a:pt x="3173587" y="5717649"/>
                  </a:lnTo>
                  <a:lnTo>
                    <a:pt x="3138299" y="5717649"/>
                  </a:lnTo>
                  <a:lnTo>
                    <a:pt x="3138299" y="5537866"/>
                  </a:lnTo>
                  <a:cubicBezTo>
                    <a:pt x="3131912" y="5542429"/>
                    <a:pt x="3125042" y="5546307"/>
                    <a:pt x="3117690" y="5549502"/>
                  </a:cubicBezTo>
                  <a:cubicBezTo>
                    <a:pt x="3110339" y="5552696"/>
                    <a:pt x="3101948" y="5555509"/>
                    <a:pt x="3092517" y="5557943"/>
                  </a:cubicBezTo>
                  <a:lnTo>
                    <a:pt x="3092517" y="5527827"/>
                  </a:lnTo>
                  <a:cubicBezTo>
                    <a:pt x="3098398" y="5525901"/>
                    <a:pt x="3104077" y="5523873"/>
                    <a:pt x="3109553" y="5521743"/>
                  </a:cubicBezTo>
                  <a:cubicBezTo>
                    <a:pt x="3115028" y="5519614"/>
                    <a:pt x="3120428" y="5517231"/>
                    <a:pt x="3125751" y="5514594"/>
                  </a:cubicBezTo>
                  <a:cubicBezTo>
                    <a:pt x="3131075" y="5511958"/>
                    <a:pt x="3136449" y="5509017"/>
                    <a:pt x="3141875" y="5505773"/>
                  </a:cubicBezTo>
                  <a:cubicBezTo>
                    <a:pt x="3147300" y="5502528"/>
                    <a:pt x="3152901" y="5498827"/>
                    <a:pt x="3158682" y="5494669"/>
                  </a:cubicBezTo>
                  <a:close/>
                  <a:moveTo>
                    <a:pt x="2489154" y="5494669"/>
                  </a:moveTo>
                  <a:lnTo>
                    <a:pt x="2504060" y="5494669"/>
                  </a:lnTo>
                  <a:lnTo>
                    <a:pt x="2504060" y="5717649"/>
                  </a:lnTo>
                  <a:lnTo>
                    <a:pt x="2468772" y="5717649"/>
                  </a:lnTo>
                  <a:lnTo>
                    <a:pt x="2468772" y="5537866"/>
                  </a:lnTo>
                  <a:cubicBezTo>
                    <a:pt x="2462385" y="5542429"/>
                    <a:pt x="2455514" y="5546307"/>
                    <a:pt x="2448163" y="5549502"/>
                  </a:cubicBezTo>
                  <a:cubicBezTo>
                    <a:pt x="2440812" y="5552696"/>
                    <a:pt x="2432420" y="5555509"/>
                    <a:pt x="2422990" y="5557943"/>
                  </a:cubicBezTo>
                  <a:lnTo>
                    <a:pt x="2422990" y="5527827"/>
                  </a:lnTo>
                  <a:cubicBezTo>
                    <a:pt x="2428871" y="5525901"/>
                    <a:pt x="2434551" y="5523873"/>
                    <a:pt x="2440025" y="5521743"/>
                  </a:cubicBezTo>
                  <a:cubicBezTo>
                    <a:pt x="2445502" y="5519614"/>
                    <a:pt x="2450900" y="5517231"/>
                    <a:pt x="2456224" y="5514594"/>
                  </a:cubicBezTo>
                  <a:cubicBezTo>
                    <a:pt x="2461549" y="5511958"/>
                    <a:pt x="2466922" y="5509017"/>
                    <a:pt x="2472346" y="5505773"/>
                  </a:cubicBezTo>
                  <a:cubicBezTo>
                    <a:pt x="2477772" y="5502528"/>
                    <a:pt x="2483374" y="5498827"/>
                    <a:pt x="2489154" y="5494669"/>
                  </a:cubicBezTo>
                  <a:close/>
                  <a:moveTo>
                    <a:pt x="1599916" y="5494669"/>
                  </a:moveTo>
                  <a:lnTo>
                    <a:pt x="1614822" y="5494669"/>
                  </a:lnTo>
                  <a:lnTo>
                    <a:pt x="1614822" y="5717649"/>
                  </a:lnTo>
                  <a:lnTo>
                    <a:pt x="1579534" y="5717649"/>
                  </a:lnTo>
                  <a:lnTo>
                    <a:pt x="1579534" y="5537866"/>
                  </a:lnTo>
                  <a:cubicBezTo>
                    <a:pt x="1573146" y="5542429"/>
                    <a:pt x="1566276" y="5546307"/>
                    <a:pt x="1558925" y="5549502"/>
                  </a:cubicBezTo>
                  <a:cubicBezTo>
                    <a:pt x="1551573" y="5552696"/>
                    <a:pt x="1543182" y="5555509"/>
                    <a:pt x="1533752" y="5557943"/>
                  </a:cubicBezTo>
                  <a:lnTo>
                    <a:pt x="1533752" y="5527827"/>
                  </a:lnTo>
                  <a:cubicBezTo>
                    <a:pt x="1539633" y="5525901"/>
                    <a:pt x="1545312" y="5523873"/>
                    <a:pt x="1550787" y="5521743"/>
                  </a:cubicBezTo>
                  <a:cubicBezTo>
                    <a:pt x="1556263" y="5519614"/>
                    <a:pt x="1561663" y="5517231"/>
                    <a:pt x="1566986" y="5514594"/>
                  </a:cubicBezTo>
                  <a:cubicBezTo>
                    <a:pt x="1572310" y="5511958"/>
                    <a:pt x="1577684" y="5509017"/>
                    <a:pt x="1583109" y="5505773"/>
                  </a:cubicBezTo>
                  <a:cubicBezTo>
                    <a:pt x="1588534" y="5502528"/>
                    <a:pt x="1594136" y="5498827"/>
                    <a:pt x="1599916" y="5494669"/>
                  </a:cubicBezTo>
                  <a:close/>
                  <a:moveTo>
                    <a:pt x="480750" y="5494669"/>
                  </a:moveTo>
                  <a:lnTo>
                    <a:pt x="495656" y="5494669"/>
                  </a:lnTo>
                  <a:lnTo>
                    <a:pt x="495656" y="5717649"/>
                  </a:lnTo>
                  <a:lnTo>
                    <a:pt x="460368" y="5717649"/>
                  </a:lnTo>
                  <a:lnTo>
                    <a:pt x="460368" y="5537866"/>
                  </a:lnTo>
                  <a:cubicBezTo>
                    <a:pt x="453980" y="5542429"/>
                    <a:pt x="447110" y="5546307"/>
                    <a:pt x="439759" y="5549502"/>
                  </a:cubicBezTo>
                  <a:cubicBezTo>
                    <a:pt x="432407" y="5552696"/>
                    <a:pt x="424016" y="5555509"/>
                    <a:pt x="414586" y="5557943"/>
                  </a:cubicBezTo>
                  <a:lnTo>
                    <a:pt x="414586" y="5527827"/>
                  </a:lnTo>
                  <a:cubicBezTo>
                    <a:pt x="420467" y="5525901"/>
                    <a:pt x="426146" y="5523873"/>
                    <a:pt x="431621" y="5521743"/>
                  </a:cubicBezTo>
                  <a:cubicBezTo>
                    <a:pt x="437097" y="5519614"/>
                    <a:pt x="442497" y="5517231"/>
                    <a:pt x="447821" y="5514594"/>
                  </a:cubicBezTo>
                  <a:cubicBezTo>
                    <a:pt x="453144" y="5511958"/>
                    <a:pt x="458518" y="5509017"/>
                    <a:pt x="463943" y="5505773"/>
                  </a:cubicBezTo>
                  <a:cubicBezTo>
                    <a:pt x="469368" y="5502528"/>
                    <a:pt x="474970" y="5498827"/>
                    <a:pt x="480750" y="5494669"/>
                  </a:cubicBezTo>
                  <a:close/>
                  <a:moveTo>
                    <a:pt x="476799" y="5197154"/>
                  </a:moveTo>
                  <a:cubicBezTo>
                    <a:pt x="450619" y="5197154"/>
                    <a:pt x="437529" y="5225992"/>
                    <a:pt x="437529" y="5283668"/>
                  </a:cubicBezTo>
                  <a:cubicBezTo>
                    <a:pt x="437529" y="5337632"/>
                    <a:pt x="450368" y="5364615"/>
                    <a:pt x="476046" y="5364615"/>
                  </a:cubicBezTo>
                  <a:cubicBezTo>
                    <a:pt x="501323" y="5364615"/>
                    <a:pt x="513962" y="5337181"/>
                    <a:pt x="513962" y="5282314"/>
                  </a:cubicBezTo>
                  <a:cubicBezTo>
                    <a:pt x="513962" y="5225541"/>
                    <a:pt x="501574" y="5197154"/>
                    <a:pt x="476799" y="5197154"/>
                  </a:cubicBezTo>
                  <a:close/>
                  <a:moveTo>
                    <a:pt x="11874294" y="5184874"/>
                  </a:moveTo>
                  <a:cubicBezTo>
                    <a:pt x="11848114" y="5184874"/>
                    <a:pt x="11835024" y="5213711"/>
                    <a:pt x="11835024" y="5271387"/>
                  </a:cubicBezTo>
                  <a:cubicBezTo>
                    <a:pt x="11835024" y="5325352"/>
                    <a:pt x="11847863" y="5352334"/>
                    <a:pt x="11873542" y="5352334"/>
                  </a:cubicBezTo>
                  <a:cubicBezTo>
                    <a:pt x="11898818" y="5352334"/>
                    <a:pt x="11911457" y="5324900"/>
                    <a:pt x="11911457" y="5270033"/>
                  </a:cubicBezTo>
                  <a:cubicBezTo>
                    <a:pt x="11911457" y="5213260"/>
                    <a:pt x="11899069" y="5184874"/>
                    <a:pt x="11874294" y="5184874"/>
                  </a:cubicBezTo>
                  <a:close/>
                  <a:moveTo>
                    <a:pt x="9936214" y="5184874"/>
                  </a:moveTo>
                  <a:cubicBezTo>
                    <a:pt x="9910034" y="5184874"/>
                    <a:pt x="9896944" y="5213712"/>
                    <a:pt x="9896944" y="5271388"/>
                  </a:cubicBezTo>
                  <a:cubicBezTo>
                    <a:pt x="9896944" y="5325352"/>
                    <a:pt x="9909783" y="5352335"/>
                    <a:pt x="9935462" y="5352335"/>
                  </a:cubicBezTo>
                  <a:cubicBezTo>
                    <a:pt x="9960738" y="5352335"/>
                    <a:pt x="9973377" y="5324901"/>
                    <a:pt x="9973377" y="5270034"/>
                  </a:cubicBezTo>
                  <a:cubicBezTo>
                    <a:pt x="9973377" y="5213261"/>
                    <a:pt x="9960989" y="5184874"/>
                    <a:pt x="9936214" y="5184874"/>
                  </a:cubicBezTo>
                  <a:close/>
                  <a:moveTo>
                    <a:pt x="6366335" y="5184874"/>
                  </a:moveTo>
                  <a:cubicBezTo>
                    <a:pt x="6340155" y="5184874"/>
                    <a:pt x="6327065" y="5213711"/>
                    <a:pt x="6327065" y="5271387"/>
                  </a:cubicBezTo>
                  <a:cubicBezTo>
                    <a:pt x="6327065" y="5325352"/>
                    <a:pt x="6339904" y="5352334"/>
                    <a:pt x="6365583" y="5352334"/>
                  </a:cubicBezTo>
                  <a:cubicBezTo>
                    <a:pt x="6390860" y="5352334"/>
                    <a:pt x="6403498" y="5324900"/>
                    <a:pt x="6403498" y="5270033"/>
                  </a:cubicBezTo>
                  <a:cubicBezTo>
                    <a:pt x="6403498" y="5213260"/>
                    <a:pt x="6391110" y="5184874"/>
                    <a:pt x="6366335" y="5184874"/>
                  </a:cubicBezTo>
                  <a:close/>
                  <a:moveTo>
                    <a:pt x="5088792" y="5184874"/>
                  </a:moveTo>
                  <a:cubicBezTo>
                    <a:pt x="5062613" y="5184874"/>
                    <a:pt x="5049522" y="5213711"/>
                    <a:pt x="5049522" y="5271387"/>
                  </a:cubicBezTo>
                  <a:cubicBezTo>
                    <a:pt x="5049522" y="5325352"/>
                    <a:pt x="5062362" y="5352334"/>
                    <a:pt x="5088041" y="5352334"/>
                  </a:cubicBezTo>
                  <a:cubicBezTo>
                    <a:pt x="5113318" y="5352334"/>
                    <a:pt x="5125957" y="5324900"/>
                    <a:pt x="5125957" y="5270033"/>
                  </a:cubicBezTo>
                  <a:cubicBezTo>
                    <a:pt x="5125957" y="5213260"/>
                    <a:pt x="5113567" y="5184874"/>
                    <a:pt x="5088792" y="5184874"/>
                  </a:cubicBezTo>
                  <a:close/>
                  <a:moveTo>
                    <a:pt x="478454" y="5169319"/>
                  </a:moveTo>
                  <a:cubicBezTo>
                    <a:pt x="525898" y="5169319"/>
                    <a:pt x="549621" y="5206182"/>
                    <a:pt x="549621" y="5279907"/>
                  </a:cubicBezTo>
                  <a:cubicBezTo>
                    <a:pt x="549621" y="5316418"/>
                    <a:pt x="542925" y="5344278"/>
                    <a:pt x="529535" y="5363486"/>
                  </a:cubicBezTo>
                  <a:cubicBezTo>
                    <a:pt x="516144" y="5382695"/>
                    <a:pt x="497412" y="5392299"/>
                    <a:pt x="473338" y="5392299"/>
                  </a:cubicBezTo>
                  <a:cubicBezTo>
                    <a:pt x="450870" y="5392299"/>
                    <a:pt x="433341" y="5383121"/>
                    <a:pt x="420753" y="5364765"/>
                  </a:cubicBezTo>
                  <a:cubicBezTo>
                    <a:pt x="408164" y="5346409"/>
                    <a:pt x="401870" y="5319878"/>
                    <a:pt x="401870" y="5285173"/>
                  </a:cubicBezTo>
                  <a:cubicBezTo>
                    <a:pt x="401870" y="5247056"/>
                    <a:pt x="408440" y="5218219"/>
                    <a:pt x="421580" y="5198659"/>
                  </a:cubicBezTo>
                  <a:cubicBezTo>
                    <a:pt x="434721" y="5179099"/>
                    <a:pt x="453678" y="5169319"/>
                    <a:pt x="478454" y="5169319"/>
                  </a:cubicBezTo>
                  <a:close/>
                  <a:moveTo>
                    <a:pt x="12062430" y="5157039"/>
                  </a:moveTo>
                  <a:lnTo>
                    <a:pt x="12077336" y="5157039"/>
                  </a:lnTo>
                  <a:lnTo>
                    <a:pt x="12077336" y="5380019"/>
                  </a:lnTo>
                  <a:lnTo>
                    <a:pt x="12042048" y="5380019"/>
                  </a:lnTo>
                  <a:lnTo>
                    <a:pt x="12042048" y="5200235"/>
                  </a:lnTo>
                  <a:cubicBezTo>
                    <a:pt x="12035660" y="5204798"/>
                    <a:pt x="12028790" y="5208677"/>
                    <a:pt x="12021439" y="5211871"/>
                  </a:cubicBezTo>
                  <a:cubicBezTo>
                    <a:pt x="12014087" y="5215065"/>
                    <a:pt x="12005696" y="5217879"/>
                    <a:pt x="11996266" y="5220313"/>
                  </a:cubicBezTo>
                  <a:lnTo>
                    <a:pt x="11996266" y="5190197"/>
                  </a:lnTo>
                  <a:cubicBezTo>
                    <a:pt x="12002147" y="5188270"/>
                    <a:pt x="12007826" y="5186242"/>
                    <a:pt x="12013301" y="5184113"/>
                  </a:cubicBezTo>
                  <a:cubicBezTo>
                    <a:pt x="12018777" y="5181984"/>
                    <a:pt x="12024177" y="5179600"/>
                    <a:pt x="12029500" y="5176964"/>
                  </a:cubicBezTo>
                  <a:cubicBezTo>
                    <a:pt x="12034824" y="5174328"/>
                    <a:pt x="12040198" y="5171387"/>
                    <a:pt x="12045623" y="5168142"/>
                  </a:cubicBezTo>
                  <a:cubicBezTo>
                    <a:pt x="12051048" y="5164897"/>
                    <a:pt x="12056650" y="5161196"/>
                    <a:pt x="12062430" y="5157039"/>
                  </a:cubicBezTo>
                  <a:close/>
                  <a:moveTo>
                    <a:pt x="11875949" y="5157039"/>
                  </a:moveTo>
                  <a:cubicBezTo>
                    <a:pt x="11923393" y="5157039"/>
                    <a:pt x="11947116" y="5193901"/>
                    <a:pt x="11947116" y="5267626"/>
                  </a:cubicBezTo>
                  <a:cubicBezTo>
                    <a:pt x="11947116" y="5304137"/>
                    <a:pt x="11940420" y="5331997"/>
                    <a:pt x="11927030" y="5351206"/>
                  </a:cubicBezTo>
                  <a:cubicBezTo>
                    <a:pt x="11913639" y="5370414"/>
                    <a:pt x="11894907" y="5380019"/>
                    <a:pt x="11870833" y="5380019"/>
                  </a:cubicBezTo>
                  <a:cubicBezTo>
                    <a:pt x="11848365" y="5380019"/>
                    <a:pt x="11830836" y="5370841"/>
                    <a:pt x="11818248" y="5352485"/>
                  </a:cubicBezTo>
                  <a:cubicBezTo>
                    <a:pt x="11805659" y="5334129"/>
                    <a:pt x="11799365" y="5307598"/>
                    <a:pt x="11799365" y="5272892"/>
                  </a:cubicBezTo>
                  <a:cubicBezTo>
                    <a:pt x="11799365" y="5234776"/>
                    <a:pt x="11805935" y="5205938"/>
                    <a:pt x="11819075" y="5186378"/>
                  </a:cubicBezTo>
                  <a:cubicBezTo>
                    <a:pt x="11832216" y="5166819"/>
                    <a:pt x="11851173" y="5157039"/>
                    <a:pt x="11875949" y="5157039"/>
                  </a:cubicBezTo>
                  <a:close/>
                  <a:moveTo>
                    <a:pt x="10143427" y="5157039"/>
                  </a:moveTo>
                  <a:lnTo>
                    <a:pt x="10158333" y="5157039"/>
                  </a:lnTo>
                  <a:lnTo>
                    <a:pt x="10158333" y="5380019"/>
                  </a:lnTo>
                  <a:lnTo>
                    <a:pt x="10123045" y="5380019"/>
                  </a:lnTo>
                  <a:lnTo>
                    <a:pt x="10123045" y="5200236"/>
                  </a:lnTo>
                  <a:cubicBezTo>
                    <a:pt x="10116657" y="5204799"/>
                    <a:pt x="10109787" y="5208677"/>
                    <a:pt x="10102436" y="5211872"/>
                  </a:cubicBezTo>
                  <a:cubicBezTo>
                    <a:pt x="10095084" y="5215066"/>
                    <a:pt x="10086693" y="5217879"/>
                    <a:pt x="10077263" y="5220313"/>
                  </a:cubicBezTo>
                  <a:lnTo>
                    <a:pt x="10077263" y="5190197"/>
                  </a:lnTo>
                  <a:cubicBezTo>
                    <a:pt x="10083144" y="5188271"/>
                    <a:pt x="10088823" y="5186243"/>
                    <a:pt x="10094298" y="5184113"/>
                  </a:cubicBezTo>
                  <a:cubicBezTo>
                    <a:pt x="10099774" y="5181984"/>
                    <a:pt x="10105174" y="5179601"/>
                    <a:pt x="10110497" y="5176964"/>
                  </a:cubicBezTo>
                  <a:cubicBezTo>
                    <a:pt x="10115821" y="5174328"/>
                    <a:pt x="10121195" y="5171387"/>
                    <a:pt x="10126620" y="5168143"/>
                  </a:cubicBezTo>
                  <a:cubicBezTo>
                    <a:pt x="10132045" y="5164898"/>
                    <a:pt x="10137647" y="5161197"/>
                    <a:pt x="10143427" y="5157039"/>
                  </a:cubicBezTo>
                  <a:close/>
                  <a:moveTo>
                    <a:pt x="9937869" y="5157039"/>
                  </a:moveTo>
                  <a:cubicBezTo>
                    <a:pt x="9985313" y="5157039"/>
                    <a:pt x="10009036" y="5193902"/>
                    <a:pt x="10009036" y="5267627"/>
                  </a:cubicBezTo>
                  <a:cubicBezTo>
                    <a:pt x="10009036" y="5304138"/>
                    <a:pt x="10002340" y="5331998"/>
                    <a:pt x="9988950" y="5351206"/>
                  </a:cubicBezTo>
                  <a:cubicBezTo>
                    <a:pt x="9975559" y="5370415"/>
                    <a:pt x="9956827" y="5380019"/>
                    <a:pt x="9932753" y="5380019"/>
                  </a:cubicBezTo>
                  <a:cubicBezTo>
                    <a:pt x="9910285" y="5380019"/>
                    <a:pt x="9892756" y="5370841"/>
                    <a:pt x="9880168" y="5352485"/>
                  </a:cubicBezTo>
                  <a:cubicBezTo>
                    <a:pt x="9867579" y="5334129"/>
                    <a:pt x="9861285" y="5307598"/>
                    <a:pt x="9861285" y="5272893"/>
                  </a:cubicBezTo>
                  <a:cubicBezTo>
                    <a:pt x="9861285" y="5234776"/>
                    <a:pt x="9867855" y="5205939"/>
                    <a:pt x="9880995" y="5186379"/>
                  </a:cubicBezTo>
                  <a:cubicBezTo>
                    <a:pt x="9894136" y="5166819"/>
                    <a:pt x="9913093" y="5157039"/>
                    <a:pt x="9937869" y="5157039"/>
                  </a:cubicBezTo>
                  <a:close/>
                  <a:moveTo>
                    <a:pt x="9254256" y="5157039"/>
                  </a:moveTo>
                  <a:lnTo>
                    <a:pt x="9269162" y="5157039"/>
                  </a:lnTo>
                  <a:lnTo>
                    <a:pt x="9269162" y="5380019"/>
                  </a:lnTo>
                  <a:lnTo>
                    <a:pt x="9233874" y="5380019"/>
                  </a:lnTo>
                  <a:lnTo>
                    <a:pt x="9233874" y="5200235"/>
                  </a:lnTo>
                  <a:cubicBezTo>
                    <a:pt x="9227486" y="5204798"/>
                    <a:pt x="9220616" y="5208677"/>
                    <a:pt x="9213265" y="5211871"/>
                  </a:cubicBezTo>
                  <a:cubicBezTo>
                    <a:pt x="9205913" y="5215065"/>
                    <a:pt x="9197522" y="5217879"/>
                    <a:pt x="9188092" y="5220313"/>
                  </a:cubicBezTo>
                  <a:lnTo>
                    <a:pt x="9188092" y="5190197"/>
                  </a:lnTo>
                  <a:cubicBezTo>
                    <a:pt x="9193973" y="5188270"/>
                    <a:pt x="9199652" y="5186242"/>
                    <a:pt x="9205127" y="5184113"/>
                  </a:cubicBezTo>
                  <a:cubicBezTo>
                    <a:pt x="9210603" y="5181984"/>
                    <a:pt x="9216003" y="5179600"/>
                    <a:pt x="9221326" y="5176964"/>
                  </a:cubicBezTo>
                  <a:cubicBezTo>
                    <a:pt x="9226650" y="5174328"/>
                    <a:pt x="9232024" y="5171387"/>
                    <a:pt x="9237449" y="5168142"/>
                  </a:cubicBezTo>
                  <a:cubicBezTo>
                    <a:pt x="9242874" y="5164897"/>
                    <a:pt x="9248476" y="5161196"/>
                    <a:pt x="9254256" y="5157039"/>
                  </a:cubicBezTo>
                  <a:close/>
                  <a:moveTo>
                    <a:pt x="7851748" y="5157039"/>
                  </a:moveTo>
                  <a:lnTo>
                    <a:pt x="7866654" y="5157039"/>
                  </a:lnTo>
                  <a:lnTo>
                    <a:pt x="7866654" y="5380019"/>
                  </a:lnTo>
                  <a:lnTo>
                    <a:pt x="7831366" y="5380019"/>
                  </a:lnTo>
                  <a:lnTo>
                    <a:pt x="7831366" y="5200236"/>
                  </a:lnTo>
                  <a:cubicBezTo>
                    <a:pt x="7824978" y="5204799"/>
                    <a:pt x="7818109" y="5208677"/>
                    <a:pt x="7810757" y="5211872"/>
                  </a:cubicBezTo>
                  <a:cubicBezTo>
                    <a:pt x="7803405" y="5215066"/>
                    <a:pt x="7795015" y="5217879"/>
                    <a:pt x="7785584" y="5220313"/>
                  </a:cubicBezTo>
                  <a:lnTo>
                    <a:pt x="7785584" y="5190197"/>
                  </a:lnTo>
                  <a:cubicBezTo>
                    <a:pt x="7791465" y="5188271"/>
                    <a:pt x="7797144" y="5186243"/>
                    <a:pt x="7802619" y="5184113"/>
                  </a:cubicBezTo>
                  <a:cubicBezTo>
                    <a:pt x="7808095" y="5181984"/>
                    <a:pt x="7813495" y="5179601"/>
                    <a:pt x="7818818" y="5176964"/>
                  </a:cubicBezTo>
                  <a:cubicBezTo>
                    <a:pt x="7824142" y="5174328"/>
                    <a:pt x="7829516" y="5171387"/>
                    <a:pt x="7834941" y="5168143"/>
                  </a:cubicBezTo>
                  <a:cubicBezTo>
                    <a:pt x="7840366" y="5164898"/>
                    <a:pt x="7845968" y="5161197"/>
                    <a:pt x="7851748" y="5157039"/>
                  </a:cubicBezTo>
                  <a:close/>
                  <a:moveTo>
                    <a:pt x="7015147" y="5157039"/>
                  </a:moveTo>
                  <a:lnTo>
                    <a:pt x="7030053" y="5157039"/>
                  </a:lnTo>
                  <a:lnTo>
                    <a:pt x="7030053" y="5380019"/>
                  </a:lnTo>
                  <a:lnTo>
                    <a:pt x="6994765" y="5380019"/>
                  </a:lnTo>
                  <a:lnTo>
                    <a:pt x="6994765" y="5200235"/>
                  </a:lnTo>
                  <a:cubicBezTo>
                    <a:pt x="6988377" y="5204798"/>
                    <a:pt x="6981508" y="5208677"/>
                    <a:pt x="6974156" y="5211871"/>
                  </a:cubicBezTo>
                  <a:cubicBezTo>
                    <a:pt x="6966804" y="5215065"/>
                    <a:pt x="6958414" y="5217879"/>
                    <a:pt x="6948983" y="5220313"/>
                  </a:cubicBezTo>
                  <a:lnTo>
                    <a:pt x="6948983" y="5190197"/>
                  </a:lnTo>
                  <a:cubicBezTo>
                    <a:pt x="6954864" y="5188270"/>
                    <a:pt x="6960543" y="5186242"/>
                    <a:pt x="6966018" y="5184113"/>
                  </a:cubicBezTo>
                  <a:cubicBezTo>
                    <a:pt x="6971494" y="5181984"/>
                    <a:pt x="6976894" y="5179600"/>
                    <a:pt x="6982217" y="5176964"/>
                  </a:cubicBezTo>
                  <a:cubicBezTo>
                    <a:pt x="6987541" y="5174328"/>
                    <a:pt x="6992915" y="5171387"/>
                    <a:pt x="6998340" y="5168142"/>
                  </a:cubicBezTo>
                  <a:cubicBezTo>
                    <a:pt x="7003765" y="5164897"/>
                    <a:pt x="7009367" y="5161196"/>
                    <a:pt x="7015147" y="5157039"/>
                  </a:cubicBezTo>
                  <a:close/>
                  <a:moveTo>
                    <a:pt x="6584323" y="5157039"/>
                  </a:moveTo>
                  <a:lnTo>
                    <a:pt x="6599229" y="5157039"/>
                  </a:lnTo>
                  <a:lnTo>
                    <a:pt x="6599229" y="5380019"/>
                  </a:lnTo>
                  <a:lnTo>
                    <a:pt x="6563941" y="5380019"/>
                  </a:lnTo>
                  <a:lnTo>
                    <a:pt x="6563941" y="5200235"/>
                  </a:lnTo>
                  <a:cubicBezTo>
                    <a:pt x="6557553" y="5204798"/>
                    <a:pt x="6550684" y="5208677"/>
                    <a:pt x="6543332" y="5211871"/>
                  </a:cubicBezTo>
                  <a:cubicBezTo>
                    <a:pt x="6535980" y="5215065"/>
                    <a:pt x="6527590" y="5217879"/>
                    <a:pt x="6518159" y="5220313"/>
                  </a:cubicBezTo>
                  <a:lnTo>
                    <a:pt x="6518159" y="5190197"/>
                  </a:lnTo>
                  <a:cubicBezTo>
                    <a:pt x="6524040" y="5188270"/>
                    <a:pt x="6529719" y="5186242"/>
                    <a:pt x="6535194" y="5184113"/>
                  </a:cubicBezTo>
                  <a:cubicBezTo>
                    <a:pt x="6540670" y="5181984"/>
                    <a:pt x="6546070" y="5179600"/>
                    <a:pt x="6551393" y="5176964"/>
                  </a:cubicBezTo>
                  <a:cubicBezTo>
                    <a:pt x="6556717" y="5174328"/>
                    <a:pt x="6562091" y="5171387"/>
                    <a:pt x="6567516" y="5168142"/>
                  </a:cubicBezTo>
                  <a:cubicBezTo>
                    <a:pt x="6572941" y="5164897"/>
                    <a:pt x="6578543" y="5161196"/>
                    <a:pt x="6584323" y="5157039"/>
                  </a:cubicBezTo>
                  <a:close/>
                  <a:moveTo>
                    <a:pt x="6367990" y="5157039"/>
                  </a:moveTo>
                  <a:cubicBezTo>
                    <a:pt x="6415435" y="5157039"/>
                    <a:pt x="6439157" y="5193901"/>
                    <a:pt x="6439157" y="5267626"/>
                  </a:cubicBezTo>
                  <a:cubicBezTo>
                    <a:pt x="6439157" y="5304137"/>
                    <a:pt x="6432462" y="5331997"/>
                    <a:pt x="6419071" y="5351206"/>
                  </a:cubicBezTo>
                  <a:cubicBezTo>
                    <a:pt x="6405680" y="5370414"/>
                    <a:pt x="6386948" y="5380019"/>
                    <a:pt x="6362874" y="5380019"/>
                  </a:cubicBezTo>
                  <a:cubicBezTo>
                    <a:pt x="6340406" y="5380019"/>
                    <a:pt x="6322877" y="5370841"/>
                    <a:pt x="6310289" y="5352485"/>
                  </a:cubicBezTo>
                  <a:cubicBezTo>
                    <a:pt x="6297700" y="5334129"/>
                    <a:pt x="6291406" y="5307598"/>
                    <a:pt x="6291406" y="5272892"/>
                  </a:cubicBezTo>
                  <a:cubicBezTo>
                    <a:pt x="6291406" y="5234776"/>
                    <a:pt x="6297976" y="5205938"/>
                    <a:pt x="6311116" y="5186378"/>
                  </a:cubicBezTo>
                  <a:cubicBezTo>
                    <a:pt x="6324257" y="5166819"/>
                    <a:pt x="6343214" y="5157039"/>
                    <a:pt x="6367990" y="5157039"/>
                  </a:cubicBezTo>
                  <a:close/>
                  <a:moveTo>
                    <a:pt x="5975659" y="5157039"/>
                  </a:moveTo>
                  <a:lnTo>
                    <a:pt x="5990568" y="5157039"/>
                  </a:lnTo>
                  <a:lnTo>
                    <a:pt x="5990568" y="5380019"/>
                  </a:lnTo>
                  <a:lnTo>
                    <a:pt x="5955278" y="5380019"/>
                  </a:lnTo>
                  <a:lnTo>
                    <a:pt x="5955278" y="5200235"/>
                  </a:lnTo>
                  <a:cubicBezTo>
                    <a:pt x="5948891" y="5204798"/>
                    <a:pt x="5942020" y="5208677"/>
                    <a:pt x="5934669" y="5211871"/>
                  </a:cubicBezTo>
                  <a:cubicBezTo>
                    <a:pt x="5927317" y="5215065"/>
                    <a:pt x="5918927" y="5217879"/>
                    <a:pt x="5909498" y="5220313"/>
                  </a:cubicBezTo>
                  <a:lnTo>
                    <a:pt x="5909498" y="5190197"/>
                  </a:lnTo>
                  <a:cubicBezTo>
                    <a:pt x="5915377" y="5188270"/>
                    <a:pt x="5921055" y="5186242"/>
                    <a:pt x="5926531" y="5184113"/>
                  </a:cubicBezTo>
                  <a:cubicBezTo>
                    <a:pt x="5932007" y="5181984"/>
                    <a:pt x="5937407" y="5179600"/>
                    <a:pt x="5942730" y="5176964"/>
                  </a:cubicBezTo>
                  <a:cubicBezTo>
                    <a:pt x="5948054" y="5174328"/>
                    <a:pt x="5953429" y="5171387"/>
                    <a:pt x="5958852" y="5168142"/>
                  </a:cubicBezTo>
                  <a:cubicBezTo>
                    <a:pt x="5964279" y="5164897"/>
                    <a:pt x="5969881" y="5161196"/>
                    <a:pt x="5975659" y="5157039"/>
                  </a:cubicBezTo>
                  <a:close/>
                  <a:moveTo>
                    <a:pt x="5090447" y="5157039"/>
                  </a:moveTo>
                  <a:cubicBezTo>
                    <a:pt x="5137892" y="5157039"/>
                    <a:pt x="5161614" y="5193901"/>
                    <a:pt x="5161614" y="5267626"/>
                  </a:cubicBezTo>
                  <a:cubicBezTo>
                    <a:pt x="5161614" y="5304137"/>
                    <a:pt x="5154919" y="5331997"/>
                    <a:pt x="5141528" y="5351206"/>
                  </a:cubicBezTo>
                  <a:cubicBezTo>
                    <a:pt x="5128136" y="5370414"/>
                    <a:pt x="5109405" y="5380019"/>
                    <a:pt x="5085331" y="5380019"/>
                  </a:cubicBezTo>
                  <a:cubicBezTo>
                    <a:pt x="5062862" y="5380019"/>
                    <a:pt x="5045334" y="5370841"/>
                    <a:pt x="5032746" y="5352485"/>
                  </a:cubicBezTo>
                  <a:cubicBezTo>
                    <a:pt x="5020157" y="5334129"/>
                    <a:pt x="5013863" y="5307598"/>
                    <a:pt x="5013863" y="5272892"/>
                  </a:cubicBezTo>
                  <a:cubicBezTo>
                    <a:pt x="5013863" y="5234776"/>
                    <a:pt x="5020435" y="5205938"/>
                    <a:pt x="5033573" y="5186378"/>
                  </a:cubicBezTo>
                  <a:cubicBezTo>
                    <a:pt x="5046714" y="5166819"/>
                    <a:pt x="5065671" y="5157039"/>
                    <a:pt x="5090447" y="5157039"/>
                  </a:cubicBezTo>
                  <a:close/>
                  <a:moveTo>
                    <a:pt x="4694968" y="5157039"/>
                  </a:moveTo>
                  <a:lnTo>
                    <a:pt x="4709876" y="5157039"/>
                  </a:lnTo>
                  <a:lnTo>
                    <a:pt x="4709876" y="5380019"/>
                  </a:lnTo>
                  <a:lnTo>
                    <a:pt x="4674589" y="5380019"/>
                  </a:lnTo>
                  <a:lnTo>
                    <a:pt x="4674589" y="5200235"/>
                  </a:lnTo>
                  <a:cubicBezTo>
                    <a:pt x="4668200" y="5204798"/>
                    <a:pt x="4661331" y="5208677"/>
                    <a:pt x="4653978" y="5211871"/>
                  </a:cubicBezTo>
                  <a:cubicBezTo>
                    <a:pt x="4646628" y="5215065"/>
                    <a:pt x="4638236" y="5217879"/>
                    <a:pt x="4628805" y="5220313"/>
                  </a:cubicBezTo>
                  <a:lnTo>
                    <a:pt x="4628805" y="5190197"/>
                  </a:lnTo>
                  <a:cubicBezTo>
                    <a:pt x="4634687" y="5188270"/>
                    <a:pt x="4640364" y="5186242"/>
                    <a:pt x="4645841" y="5184113"/>
                  </a:cubicBezTo>
                  <a:cubicBezTo>
                    <a:pt x="4651316" y="5181984"/>
                    <a:pt x="4656717" y="5179600"/>
                    <a:pt x="4662040" y="5176964"/>
                  </a:cubicBezTo>
                  <a:cubicBezTo>
                    <a:pt x="4667363" y="5174328"/>
                    <a:pt x="4672738" y="5171387"/>
                    <a:pt x="4678162" y="5168142"/>
                  </a:cubicBezTo>
                  <a:cubicBezTo>
                    <a:pt x="4683588" y="5164897"/>
                    <a:pt x="4689190" y="5161196"/>
                    <a:pt x="4694968" y="5157039"/>
                  </a:cubicBezTo>
                  <a:close/>
                  <a:moveTo>
                    <a:pt x="3158682" y="5157039"/>
                  </a:moveTo>
                  <a:lnTo>
                    <a:pt x="3173587" y="5157039"/>
                  </a:lnTo>
                  <a:lnTo>
                    <a:pt x="3173587" y="5380019"/>
                  </a:lnTo>
                  <a:lnTo>
                    <a:pt x="3138299" y="5380019"/>
                  </a:lnTo>
                  <a:lnTo>
                    <a:pt x="3138299" y="5200236"/>
                  </a:lnTo>
                  <a:cubicBezTo>
                    <a:pt x="3131912" y="5204799"/>
                    <a:pt x="3125042" y="5208677"/>
                    <a:pt x="3117690" y="5211872"/>
                  </a:cubicBezTo>
                  <a:cubicBezTo>
                    <a:pt x="3110339" y="5215066"/>
                    <a:pt x="3101948" y="5217879"/>
                    <a:pt x="3092517" y="5220313"/>
                  </a:cubicBezTo>
                  <a:lnTo>
                    <a:pt x="3092517" y="5190197"/>
                  </a:lnTo>
                  <a:cubicBezTo>
                    <a:pt x="3098398" y="5188271"/>
                    <a:pt x="3104077" y="5186243"/>
                    <a:pt x="3109553" y="5184113"/>
                  </a:cubicBezTo>
                  <a:cubicBezTo>
                    <a:pt x="3115028" y="5181984"/>
                    <a:pt x="3120428" y="5179601"/>
                    <a:pt x="3125751" y="5176964"/>
                  </a:cubicBezTo>
                  <a:cubicBezTo>
                    <a:pt x="3131075" y="5174328"/>
                    <a:pt x="3136449" y="5171387"/>
                    <a:pt x="3141875" y="5168143"/>
                  </a:cubicBezTo>
                  <a:cubicBezTo>
                    <a:pt x="3147300" y="5164898"/>
                    <a:pt x="3152901" y="5161197"/>
                    <a:pt x="3158682" y="5157039"/>
                  </a:cubicBezTo>
                  <a:close/>
                  <a:moveTo>
                    <a:pt x="2489154" y="5157039"/>
                  </a:moveTo>
                  <a:lnTo>
                    <a:pt x="2504060" y="5157039"/>
                  </a:lnTo>
                  <a:lnTo>
                    <a:pt x="2504060" y="5380019"/>
                  </a:lnTo>
                  <a:lnTo>
                    <a:pt x="2468772" y="5380019"/>
                  </a:lnTo>
                  <a:lnTo>
                    <a:pt x="2468772" y="5200236"/>
                  </a:lnTo>
                  <a:cubicBezTo>
                    <a:pt x="2462385" y="5204799"/>
                    <a:pt x="2455514" y="5208677"/>
                    <a:pt x="2448163" y="5211872"/>
                  </a:cubicBezTo>
                  <a:cubicBezTo>
                    <a:pt x="2440812" y="5215066"/>
                    <a:pt x="2432420" y="5217879"/>
                    <a:pt x="2422990" y="5220313"/>
                  </a:cubicBezTo>
                  <a:lnTo>
                    <a:pt x="2422990" y="5190197"/>
                  </a:lnTo>
                  <a:cubicBezTo>
                    <a:pt x="2428871" y="5188271"/>
                    <a:pt x="2434551" y="5186243"/>
                    <a:pt x="2440025" y="5184113"/>
                  </a:cubicBezTo>
                  <a:cubicBezTo>
                    <a:pt x="2445502" y="5181984"/>
                    <a:pt x="2450900" y="5179601"/>
                    <a:pt x="2456224" y="5176964"/>
                  </a:cubicBezTo>
                  <a:cubicBezTo>
                    <a:pt x="2461549" y="5174328"/>
                    <a:pt x="2466922" y="5171387"/>
                    <a:pt x="2472346" y="5168143"/>
                  </a:cubicBezTo>
                  <a:cubicBezTo>
                    <a:pt x="2477772" y="5164898"/>
                    <a:pt x="2483374" y="5161197"/>
                    <a:pt x="2489154" y="5157039"/>
                  </a:cubicBezTo>
                  <a:close/>
                  <a:moveTo>
                    <a:pt x="1599916" y="5157039"/>
                  </a:moveTo>
                  <a:lnTo>
                    <a:pt x="1614822" y="5157039"/>
                  </a:lnTo>
                  <a:lnTo>
                    <a:pt x="1614822" y="5380019"/>
                  </a:lnTo>
                  <a:lnTo>
                    <a:pt x="1579534" y="5380019"/>
                  </a:lnTo>
                  <a:lnTo>
                    <a:pt x="1579534" y="5200236"/>
                  </a:lnTo>
                  <a:cubicBezTo>
                    <a:pt x="1573146" y="5204799"/>
                    <a:pt x="1566276" y="5208677"/>
                    <a:pt x="1558925" y="5211872"/>
                  </a:cubicBezTo>
                  <a:cubicBezTo>
                    <a:pt x="1551573" y="5215066"/>
                    <a:pt x="1543182" y="5217879"/>
                    <a:pt x="1533752" y="5220313"/>
                  </a:cubicBezTo>
                  <a:lnTo>
                    <a:pt x="1533752" y="5190197"/>
                  </a:lnTo>
                  <a:cubicBezTo>
                    <a:pt x="1539633" y="5188271"/>
                    <a:pt x="1545312" y="5186243"/>
                    <a:pt x="1550787" y="5184113"/>
                  </a:cubicBezTo>
                  <a:cubicBezTo>
                    <a:pt x="1556263" y="5181984"/>
                    <a:pt x="1561663" y="5179601"/>
                    <a:pt x="1566986" y="5176964"/>
                  </a:cubicBezTo>
                  <a:cubicBezTo>
                    <a:pt x="1572310" y="5174328"/>
                    <a:pt x="1577684" y="5171387"/>
                    <a:pt x="1583109" y="5168143"/>
                  </a:cubicBezTo>
                  <a:cubicBezTo>
                    <a:pt x="1588534" y="5164898"/>
                    <a:pt x="1594136" y="5161197"/>
                    <a:pt x="1599916" y="5157039"/>
                  </a:cubicBezTo>
                  <a:close/>
                  <a:moveTo>
                    <a:pt x="11874294" y="4871804"/>
                  </a:moveTo>
                  <a:cubicBezTo>
                    <a:pt x="11848114" y="4871804"/>
                    <a:pt x="11835024" y="4900641"/>
                    <a:pt x="11835024" y="4958317"/>
                  </a:cubicBezTo>
                  <a:cubicBezTo>
                    <a:pt x="11835024" y="5012282"/>
                    <a:pt x="11847863" y="5039264"/>
                    <a:pt x="11873542" y="5039264"/>
                  </a:cubicBezTo>
                  <a:cubicBezTo>
                    <a:pt x="11898818" y="5039264"/>
                    <a:pt x="11911457" y="5011830"/>
                    <a:pt x="11911457" y="4956963"/>
                  </a:cubicBezTo>
                  <a:cubicBezTo>
                    <a:pt x="11911457" y="4900190"/>
                    <a:pt x="11899069" y="4871804"/>
                    <a:pt x="11874294" y="4871804"/>
                  </a:cubicBezTo>
                  <a:close/>
                  <a:moveTo>
                    <a:pt x="11189148" y="4871804"/>
                  </a:moveTo>
                  <a:cubicBezTo>
                    <a:pt x="11162968" y="4871804"/>
                    <a:pt x="11149878" y="4900642"/>
                    <a:pt x="11149878" y="4958318"/>
                  </a:cubicBezTo>
                  <a:cubicBezTo>
                    <a:pt x="11149878" y="5012282"/>
                    <a:pt x="11162717" y="5039265"/>
                    <a:pt x="11188396" y="5039265"/>
                  </a:cubicBezTo>
                  <a:cubicBezTo>
                    <a:pt x="11213672" y="5039265"/>
                    <a:pt x="11226311" y="5011831"/>
                    <a:pt x="11226311" y="4956964"/>
                  </a:cubicBezTo>
                  <a:cubicBezTo>
                    <a:pt x="11226311" y="4900191"/>
                    <a:pt x="11213923" y="4871804"/>
                    <a:pt x="11189148" y="4871804"/>
                  </a:cubicBezTo>
                  <a:close/>
                  <a:moveTo>
                    <a:pt x="9936214" y="4871804"/>
                  </a:moveTo>
                  <a:cubicBezTo>
                    <a:pt x="9910034" y="4871804"/>
                    <a:pt x="9896944" y="4900641"/>
                    <a:pt x="9896944" y="4958317"/>
                  </a:cubicBezTo>
                  <a:cubicBezTo>
                    <a:pt x="9896944" y="5012282"/>
                    <a:pt x="9909783" y="5039264"/>
                    <a:pt x="9935462" y="5039264"/>
                  </a:cubicBezTo>
                  <a:cubicBezTo>
                    <a:pt x="9960738" y="5039264"/>
                    <a:pt x="9973377" y="5011830"/>
                    <a:pt x="9973377" y="4956963"/>
                  </a:cubicBezTo>
                  <a:cubicBezTo>
                    <a:pt x="9973377" y="4900190"/>
                    <a:pt x="9960989" y="4871804"/>
                    <a:pt x="9936214" y="4871804"/>
                  </a:cubicBezTo>
                  <a:close/>
                  <a:moveTo>
                    <a:pt x="6366335" y="4871804"/>
                  </a:moveTo>
                  <a:cubicBezTo>
                    <a:pt x="6340155" y="4871804"/>
                    <a:pt x="6327065" y="4900641"/>
                    <a:pt x="6327065" y="4958317"/>
                  </a:cubicBezTo>
                  <a:cubicBezTo>
                    <a:pt x="6327065" y="5012282"/>
                    <a:pt x="6339904" y="5039264"/>
                    <a:pt x="6365583" y="5039264"/>
                  </a:cubicBezTo>
                  <a:cubicBezTo>
                    <a:pt x="6390860" y="5039264"/>
                    <a:pt x="6403498" y="5011830"/>
                    <a:pt x="6403498" y="4956963"/>
                  </a:cubicBezTo>
                  <a:cubicBezTo>
                    <a:pt x="6403498" y="4900190"/>
                    <a:pt x="6391110" y="4871804"/>
                    <a:pt x="6366335" y="4871804"/>
                  </a:cubicBezTo>
                  <a:close/>
                  <a:moveTo>
                    <a:pt x="5088792" y="4871804"/>
                  </a:moveTo>
                  <a:cubicBezTo>
                    <a:pt x="5062613" y="4871804"/>
                    <a:pt x="5049522" y="4900641"/>
                    <a:pt x="5049522" y="4958317"/>
                  </a:cubicBezTo>
                  <a:cubicBezTo>
                    <a:pt x="5049522" y="5012282"/>
                    <a:pt x="5062362" y="5039264"/>
                    <a:pt x="5088041" y="5039264"/>
                  </a:cubicBezTo>
                  <a:cubicBezTo>
                    <a:pt x="5113318" y="5039264"/>
                    <a:pt x="5125957" y="5011830"/>
                    <a:pt x="5125957" y="4956963"/>
                  </a:cubicBezTo>
                  <a:cubicBezTo>
                    <a:pt x="5125957" y="4900190"/>
                    <a:pt x="5113567" y="4871804"/>
                    <a:pt x="5088792" y="4871804"/>
                  </a:cubicBezTo>
                  <a:close/>
                  <a:moveTo>
                    <a:pt x="3614881" y="4871804"/>
                  </a:moveTo>
                  <a:cubicBezTo>
                    <a:pt x="3588702" y="4871804"/>
                    <a:pt x="3575611" y="4900642"/>
                    <a:pt x="3575611" y="4958318"/>
                  </a:cubicBezTo>
                  <a:cubicBezTo>
                    <a:pt x="3575611" y="5012282"/>
                    <a:pt x="3588451" y="5039265"/>
                    <a:pt x="3614130" y="5039265"/>
                  </a:cubicBezTo>
                  <a:cubicBezTo>
                    <a:pt x="3639407" y="5039265"/>
                    <a:pt x="3652044" y="5011831"/>
                    <a:pt x="3652044" y="4956964"/>
                  </a:cubicBezTo>
                  <a:cubicBezTo>
                    <a:pt x="3652044" y="4900191"/>
                    <a:pt x="3639656" y="4871804"/>
                    <a:pt x="3614881" y="4871804"/>
                  </a:cubicBezTo>
                  <a:close/>
                  <a:moveTo>
                    <a:pt x="12062430" y="4843969"/>
                  </a:moveTo>
                  <a:lnTo>
                    <a:pt x="12077336" y="4843969"/>
                  </a:lnTo>
                  <a:lnTo>
                    <a:pt x="12077336" y="5066949"/>
                  </a:lnTo>
                  <a:lnTo>
                    <a:pt x="12042048" y="5066949"/>
                  </a:lnTo>
                  <a:lnTo>
                    <a:pt x="12042048" y="4887165"/>
                  </a:lnTo>
                  <a:cubicBezTo>
                    <a:pt x="12035660" y="4891728"/>
                    <a:pt x="12028790" y="4895607"/>
                    <a:pt x="12021439" y="4898801"/>
                  </a:cubicBezTo>
                  <a:cubicBezTo>
                    <a:pt x="12014087" y="4901995"/>
                    <a:pt x="12005696" y="4904809"/>
                    <a:pt x="11996266" y="4907243"/>
                  </a:cubicBezTo>
                  <a:lnTo>
                    <a:pt x="11996266" y="4877127"/>
                  </a:lnTo>
                  <a:cubicBezTo>
                    <a:pt x="12002147" y="4875200"/>
                    <a:pt x="12007826" y="4873172"/>
                    <a:pt x="12013301" y="4871043"/>
                  </a:cubicBezTo>
                  <a:cubicBezTo>
                    <a:pt x="12018777" y="4868914"/>
                    <a:pt x="12024177" y="4866530"/>
                    <a:pt x="12029500" y="4863894"/>
                  </a:cubicBezTo>
                  <a:cubicBezTo>
                    <a:pt x="12034824" y="4861258"/>
                    <a:pt x="12040198" y="4858317"/>
                    <a:pt x="12045623" y="4855072"/>
                  </a:cubicBezTo>
                  <a:cubicBezTo>
                    <a:pt x="12051048" y="4851827"/>
                    <a:pt x="12056650" y="4848126"/>
                    <a:pt x="12062430" y="4843969"/>
                  </a:cubicBezTo>
                  <a:close/>
                  <a:moveTo>
                    <a:pt x="11875949" y="4843969"/>
                  </a:moveTo>
                  <a:cubicBezTo>
                    <a:pt x="11923393" y="4843969"/>
                    <a:pt x="11947116" y="4880831"/>
                    <a:pt x="11947116" y="4954556"/>
                  </a:cubicBezTo>
                  <a:cubicBezTo>
                    <a:pt x="11947116" y="4991067"/>
                    <a:pt x="11940420" y="5018927"/>
                    <a:pt x="11927030" y="5038136"/>
                  </a:cubicBezTo>
                  <a:cubicBezTo>
                    <a:pt x="11913639" y="5057344"/>
                    <a:pt x="11894907" y="5066949"/>
                    <a:pt x="11870833" y="5066949"/>
                  </a:cubicBezTo>
                  <a:cubicBezTo>
                    <a:pt x="11848365" y="5066949"/>
                    <a:pt x="11830836" y="5057771"/>
                    <a:pt x="11818248" y="5039415"/>
                  </a:cubicBezTo>
                  <a:cubicBezTo>
                    <a:pt x="11805659" y="5021059"/>
                    <a:pt x="11799365" y="4994528"/>
                    <a:pt x="11799365" y="4959822"/>
                  </a:cubicBezTo>
                  <a:cubicBezTo>
                    <a:pt x="11799365" y="4921706"/>
                    <a:pt x="11805935" y="4892868"/>
                    <a:pt x="11819075" y="4873308"/>
                  </a:cubicBezTo>
                  <a:cubicBezTo>
                    <a:pt x="11832216" y="4853749"/>
                    <a:pt x="11851173" y="4843969"/>
                    <a:pt x="11875949" y="4843969"/>
                  </a:cubicBezTo>
                  <a:close/>
                  <a:moveTo>
                    <a:pt x="11190803" y="4843969"/>
                  </a:moveTo>
                  <a:cubicBezTo>
                    <a:pt x="11238247" y="4843969"/>
                    <a:pt x="11261970" y="4880832"/>
                    <a:pt x="11261970" y="4954557"/>
                  </a:cubicBezTo>
                  <a:cubicBezTo>
                    <a:pt x="11261970" y="4991068"/>
                    <a:pt x="11255274" y="5018928"/>
                    <a:pt x="11241884" y="5038136"/>
                  </a:cubicBezTo>
                  <a:cubicBezTo>
                    <a:pt x="11228493" y="5057345"/>
                    <a:pt x="11209761" y="5066949"/>
                    <a:pt x="11185687" y="5066949"/>
                  </a:cubicBezTo>
                  <a:cubicBezTo>
                    <a:pt x="11163219" y="5066949"/>
                    <a:pt x="11145690" y="5057771"/>
                    <a:pt x="11133102" y="5039415"/>
                  </a:cubicBezTo>
                  <a:cubicBezTo>
                    <a:pt x="11120513" y="5021059"/>
                    <a:pt x="11114219" y="4994528"/>
                    <a:pt x="11114219" y="4959823"/>
                  </a:cubicBezTo>
                  <a:cubicBezTo>
                    <a:pt x="11114219" y="4921706"/>
                    <a:pt x="11120789" y="4892869"/>
                    <a:pt x="11133929" y="4873309"/>
                  </a:cubicBezTo>
                  <a:cubicBezTo>
                    <a:pt x="11147070" y="4853749"/>
                    <a:pt x="11166027" y="4843969"/>
                    <a:pt x="11190803" y="4843969"/>
                  </a:cubicBezTo>
                  <a:close/>
                  <a:moveTo>
                    <a:pt x="10143427" y="4843969"/>
                  </a:moveTo>
                  <a:lnTo>
                    <a:pt x="10158333" y="4843969"/>
                  </a:lnTo>
                  <a:lnTo>
                    <a:pt x="10158333" y="5066949"/>
                  </a:lnTo>
                  <a:lnTo>
                    <a:pt x="10123045" y="5066949"/>
                  </a:lnTo>
                  <a:lnTo>
                    <a:pt x="10123045" y="4887165"/>
                  </a:lnTo>
                  <a:cubicBezTo>
                    <a:pt x="10116657" y="4891728"/>
                    <a:pt x="10109787" y="4895607"/>
                    <a:pt x="10102436" y="4898801"/>
                  </a:cubicBezTo>
                  <a:cubicBezTo>
                    <a:pt x="10095084" y="4901995"/>
                    <a:pt x="10086693" y="4904809"/>
                    <a:pt x="10077263" y="4907243"/>
                  </a:cubicBezTo>
                  <a:lnTo>
                    <a:pt x="10077263" y="4877127"/>
                  </a:lnTo>
                  <a:cubicBezTo>
                    <a:pt x="10083144" y="4875200"/>
                    <a:pt x="10088823" y="4873172"/>
                    <a:pt x="10094298" y="4871043"/>
                  </a:cubicBezTo>
                  <a:cubicBezTo>
                    <a:pt x="10099774" y="4868914"/>
                    <a:pt x="10105174" y="4866530"/>
                    <a:pt x="10110497" y="4863894"/>
                  </a:cubicBezTo>
                  <a:cubicBezTo>
                    <a:pt x="10115821" y="4861258"/>
                    <a:pt x="10121195" y="4858317"/>
                    <a:pt x="10126620" y="4855072"/>
                  </a:cubicBezTo>
                  <a:cubicBezTo>
                    <a:pt x="10132045" y="4851827"/>
                    <a:pt x="10137647" y="4848126"/>
                    <a:pt x="10143427" y="4843969"/>
                  </a:cubicBezTo>
                  <a:close/>
                  <a:moveTo>
                    <a:pt x="9937869" y="4843969"/>
                  </a:moveTo>
                  <a:cubicBezTo>
                    <a:pt x="9985313" y="4843969"/>
                    <a:pt x="10009036" y="4880831"/>
                    <a:pt x="10009036" y="4954556"/>
                  </a:cubicBezTo>
                  <a:cubicBezTo>
                    <a:pt x="10009036" y="4991067"/>
                    <a:pt x="10002340" y="5018927"/>
                    <a:pt x="9988950" y="5038136"/>
                  </a:cubicBezTo>
                  <a:cubicBezTo>
                    <a:pt x="9975559" y="5057344"/>
                    <a:pt x="9956827" y="5066949"/>
                    <a:pt x="9932753" y="5066949"/>
                  </a:cubicBezTo>
                  <a:cubicBezTo>
                    <a:pt x="9910285" y="5066949"/>
                    <a:pt x="9892756" y="5057771"/>
                    <a:pt x="9880168" y="5039415"/>
                  </a:cubicBezTo>
                  <a:cubicBezTo>
                    <a:pt x="9867579" y="5021059"/>
                    <a:pt x="9861285" y="4994528"/>
                    <a:pt x="9861285" y="4959822"/>
                  </a:cubicBezTo>
                  <a:cubicBezTo>
                    <a:pt x="9861285" y="4921706"/>
                    <a:pt x="9867855" y="4892868"/>
                    <a:pt x="9880995" y="4873308"/>
                  </a:cubicBezTo>
                  <a:cubicBezTo>
                    <a:pt x="9894136" y="4853749"/>
                    <a:pt x="9913093" y="4843969"/>
                    <a:pt x="9937869" y="4843969"/>
                  </a:cubicBezTo>
                  <a:close/>
                  <a:moveTo>
                    <a:pt x="9557012" y="4843969"/>
                  </a:moveTo>
                  <a:lnTo>
                    <a:pt x="9571918" y="4843969"/>
                  </a:lnTo>
                  <a:lnTo>
                    <a:pt x="9571918" y="5066949"/>
                  </a:lnTo>
                  <a:lnTo>
                    <a:pt x="9536630" y="5066949"/>
                  </a:lnTo>
                  <a:lnTo>
                    <a:pt x="9536630" y="4887165"/>
                  </a:lnTo>
                  <a:cubicBezTo>
                    <a:pt x="9530242" y="4891728"/>
                    <a:pt x="9523372" y="4895607"/>
                    <a:pt x="9516021" y="4898801"/>
                  </a:cubicBezTo>
                  <a:cubicBezTo>
                    <a:pt x="9508669" y="4901995"/>
                    <a:pt x="9500278" y="4904809"/>
                    <a:pt x="9490848" y="4907243"/>
                  </a:cubicBezTo>
                  <a:lnTo>
                    <a:pt x="9490848" y="4877127"/>
                  </a:lnTo>
                  <a:cubicBezTo>
                    <a:pt x="9496729" y="4875200"/>
                    <a:pt x="9502408" y="4873172"/>
                    <a:pt x="9507883" y="4871043"/>
                  </a:cubicBezTo>
                  <a:cubicBezTo>
                    <a:pt x="9513359" y="4868914"/>
                    <a:pt x="9518759" y="4866530"/>
                    <a:pt x="9524082" y="4863894"/>
                  </a:cubicBezTo>
                  <a:cubicBezTo>
                    <a:pt x="9529406" y="4861258"/>
                    <a:pt x="9534780" y="4858317"/>
                    <a:pt x="9540205" y="4855072"/>
                  </a:cubicBezTo>
                  <a:cubicBezTo>
                    <a:pt x="9545630" y="4851827"/>
                    <a:pt x="9551232" y="4848126"/>
                    <a:pt x="9557012" y="4843969"/>
                  </a:cubicBezTo>
                  <a:close/>
                  <a:moveTo>
                    <a:pt x="9254256" y="4843969"/>
                  </a:moveTo>
                  <a:lnTo>
                    <a:pt x="9269162" y="4843969"/>
                  </a:lnTo>
                  <a:lnTo>
                    <a:pt x="9269162" y="5066949"/>
                  </a:lnTo>
                  <a:lnTo>
                    <a:pt x="9233874" y="5066949"/>
                  </a:lnTo>
                  <a:lnTo>
                    <a:pt x="9233874" y="4887165"/>
                  </a:lnTo>
                  <a:cubicBezTo>
                    <a:pt x="9227486" y="4891728"/>
                    <a:pt x="9220616" y="4895607"/>
                    <a:pt x="9213265" y="4898801"/>
                  </a:cubicBezTo>
                  <a:cubicBezTo>
                    <a:pt x="9205913" y="4901995"/>
                    <a:pt x="9197522" y="4904809"/>
                    <a:pt x="9188092" y="4907243"/>
                  </a:cubicBezTo>
                  <a:lnTo>
                    <a:pt x="9188092" y="4877127"/>
                  </a:lnTo>
                  <a:cubicBezTo>
                    <a:pt x="9193973" y="4875200"/>
                    <a:pt x="9199652" y="4873172"/>
                    <a:pt x="9205127" y="4871043"/>
                  </a:cubicBezTo>
                  <a:cubicBezTo>
                    <a:pt x="9210603" y="4868914"/>
                    <a:pt x="9216003" y="4866530"/>
                    <a:pt x="9221326" y="4863894"/>
                  </a:cubicBezTo>
                  <a:cubicBezTo>
                    <a:pt x="9226650" y="4861258"/>
                    <a:pt x="9232024" y="4858317"/>
                    <a:pt x="9237449" y="4855072"/>
                  </a:cubicBezTo>
                  <a:cubicBezTo>
                    <a:pt x="9242874" y="4851827"/>
                    <a:pt x="9248476" y="4848126"/>
                    <a:pt x="9254256" y="4843969"/>
                  </a:cubicBezTo>
                  <a:close/>
                  <a:moveTo>
                    <a:pt x="7851748" y="4843969"/>
                  </a:moveTo>
                  <a:lnTo>
                    <a:pt x="7866654" y="4843969"/>
                  </a:lnTo>
                  <a:lnTo>
                    <a:pt x="7866654" y="5066949"/>
                  </a:lnTo>
                  <a:lnTo>
                    <a:pt x="7831366" y="5066949"/>
                  </a:lnTo>
                  <a:lnTo>
                    <a:pt x="7831366" y="4887165"/>
                  </a:lnTo>
                  <a:cubicBezTo>
                    <a:pt x="7824978" y="4891728"/>
                    <a:pt x="7818109" y="4895607"/>
                    <a:pt x="7810757" y="4898801"/>
                  </a:cubicBezTo>
                  <a:cubicBezTo>
                    <a:pt x="7803405" y="4901995"/>
                    <a:pt x="7795015" y="4904809"/>
                    <a:pt x="7785584" y="4907243"/>
                  </a:cubicBezTo>
                  <a:lnTo>
                    <a:pt x="7785584" y="4877127"/>
                  </a:lnTo>
                  <a:cubicBezTo>
                    <a:pt x="7791465" y="4875200"/>
                    <a:pt x="7797144" y="4873172"/>
                    <a:pt x="7802619" y="4871043"/>
                  </a:cubicBezTo>
                  <a:cubicBezTo>
                    <a:pt x="7808095" y="4868914"/>
                    <a:pt x="7813495" y="4866530"/>
                    <a:pt x="7818818" y="4863894"/>
                  </a:cubicBezTo>
                  <a:cubicBezTo>
                    <a:pt x="7824142" y="4861258"/>
                    <a:pt x="7829516" y="4858317"/>
                    <a:pt x="7834941" y="4855072"/>
                  </a:cubicBezTo>
                  <a:cubicBezTo>
                    <a:pt x="7840366" y="4851827"/>
                    <a:pt x="7845968" y="4848126"/>
                    <a:pt x="7851748" y="4843969"/>
                  </a:cubicBezTo>
                  <a:close/>
                  <a:moveTo>
                    <a:pt x="7015147" y="4843969"/>
                  </a:moveTo>
                  <a:lnTo>
                    <a:pt x="7030053" y="4843969"/>
                  </a:lnTo>
                  <a:lnTo>
                    <a:pt x="7030053" y="5066949"/>
                  </a:lnTo>
                  <a:lnTo>
                    <a:pt x="6994765" y="5066949"/>
                  </a:lnTo>
                  <a:lnTo>
                    <a:pt x="6994765" y="4887165"/>
                  </a:lnTo>
                  <a:cubicBezTo>
                    <a:pt x="6988377" y="4891728"/>
                    <a:pt x="6981508" y="4895607"/>
                    <a:pt x="6974156" y="4898801"/>
                  </a:cubicBezTo>
                  <a:cubicBezTo>
                    <a:pt x="6966804" y="4901995"/>
                    <a:pt x="6958414" y="4904809"/>
                    <a:pt x="6948983" y="4907243"/>
                  </a:cubicBezTo>
                  <a:lnTo>
                    <a:pt x="6948983" y="4877127"/>
                  </a:lnTo>
                  <a:cubicBezTo>
                    <a:pt x="6954864" y="4875200"/>
                    <a:pt x="6960543" y="4873172"/>
                    <a:pt x="6966018" y="4871043"/>
                  </a:cubicBezTo>
                  <a:cubicBezTo>
                    <a:pt x="6971494" y="4868914"/>
                    <a:pt x="6976894" y="4866530"/>
                    <a:pt x="6982217" y="4863894"/>
                  </a:cubicBezTo>
                  <a:cubicBezTo>
                    <a:pt x="6987541" y="4861258"/>
                    <a:pt x="6992915" y="4858317"/>
                    <a:pt x="6998340" y="4855072"/>
                  </a:cubicBezTo>
                  <a:cubicBezTo>
                    <a:pt x="7003765" y="4851827"/>
                    <a:pt x="7009367" y="4848126"/>
                    <a:pt x="7015147" y="4843969"/>
                  </a:cubicBezTo>
                  <a:close/>
                  <a:moveTo>
                    <a:pt x="6584323" y="4843969"/>
                  </a:moveTo>
                  <a:lnTo>
                    <a:pt x="6599229" y="4843969"/>
                  </a:lnTo>
                  <a:lnTo>
                    <a:pt x="6599229" y="5066949"/>
                  </a:lnTo>
                  <a:lnTo>
                    <a:pt x="6563941" y="5066949"/>
                  </a:lnTo>
                  <a:lnTo>
                    <a:pt x="6563941" y="4887165"/>
                  </a:lnTo>
                  <a:cubicBezTo>
                    <a:pt x="6557553" y="4891728"/>
                    <a:pt x="6550684" y="4895607"/>
                    <a:pt x="6543332" y="4898801"/>
                  </a:cubicBezTo>
                  <a:cubicBezTo>
                    <a:pt x="6535980" y="4901995"/>
                    <a:pt x="6527590" y="4904809"/>
                    <a:pt x="6518159" y="4907243"/>
                  </a:cubicBezTo>
                  <a:lnTo>
                    <a:pt x="6518159" y="4877127"/>
                  </a:lnTo>
                  <a:cubicBezTo>
                    <a:pt x="6524040" y="4875200"/>
                    <a:pt x="6529719" y="4873172"/>
                    <a:pt x="6535194" y="4871043"/>
                  </a:cubicBezTo>
                  <a:cubicBezTo>
                    <a:pt x="6540670" y="4868914"/>
                    <a:pt x="6546070" y="4866530"/>
                    <a:pt x="6551393" y="4863894"/>
                  </a:cubicBezTo>
                  <a:cubicBezTo>
                    <a:pt x="6556717" y="4861258"/>
                    <a:pt x="6562091" y="4858317"/>
                    <a:pt x="6567516" y="4855072"/>
                  </a:cubicBezTo>
                  <a:cubicBezTo>
                    <a:pt x="6572941" y="4851827"/>
                    <a:pt x="6578543" y="4848126"/>
                    <a:pt x="6584323" y="4843969"/>
                  </a:cubicBezTo>
                  <a:close/>
                  <a:moveTo>
                    <a:pt x="6367990" y="4843969"/>
                  </a:moveTo>
                  <a:cubicBezTo>
                    <a:pt x="6415435" y="4843969"/>
                    <a:pt x="6439157" y="4880831"/>
                    <a:pt x="6439157" y="4954556"/>
                  </a:cubicBezTo>
                  <a:cubicBezTo>
                    <a:pt x="6439157" y="4991067"/>
                    <a:pt x="6432462" y="5018927"/>
                    <a:pt x="6419071" y="5038136"/>
                  </a:cubicBezTo>
                  <a:cubicBezTo>
                    <a:pt x="6405680" y="5057344"/>
                    <a:pt x="6386948" y="5066949"/>
                    <a:pt x="6362874" y="5066949"/>
                  </a:cubicBezTo>
                  <a:cubicBezTo>
                    <a:pt x="6340406" y="5066949"/>
                    <a:pt x="6322877" y="5057771"/>
                    <a:pt x="6310289" y="5039415"/>
                  </a:cubicBezTo>
                  <a:cubicBezTo>
                    <a:pt x="6297700" y="5021059"/>
                    <a:pt x="6291406" y="4994528"/>
                    <a:pt x="6291406" y="4959822"/>
                  </a:cubicBezTo>
                  <a:cubicBezTo>
                    <a:pt x="6291406" y="4921706"/>
                    <a:pt x="6297976" y="4892868"/>
                    <a:pt x="6311116" y="4873308"/>
                  </a:cubicBezTo>
                  <a:cubicBezTo>
                    <a:pt x="6324257" y="4853749"/>
                    <a:pt x="6343214" y="4843969"/>
                    <a:pt x="6367990" y="4843969"/>
                  </a:cubicBezTo>
                  <a:close/>
                  <a:moveTo>
                    <a:pt x="5975659" y="4843969"/>
                  </a:moveTo>
                  <a:lnTo>
                    <a:pt x="5990568" y="4843969"/>
                  </a:lnTo>
                  <a:lnTo>
                    <a:pt x="5990568" y="5066949"/>
                  </a:lnTo>
                  <a:lnTo>
                    <a:pt x="5955278" y="5066949"/>
                  </a:lnTo>
                  <a:lnTo>
                    <a:pt x="5955278" y="4887165"/>
                  </a:lnTo>
                  <a:cubicBezTo>
                    <a:pt x="5948891" y="4891728"/>
                    <a:pt x="5942020" y="4895607"/>
                    <a:pt x="5934669" y="4898801"/>
                  </a:cubicBezTo>
                  <a:cubicBezTo>
                    <a:pt x="5927317" y="4901995"/>
                    <a:pt x="5918927" y="4904809"/>
                    <a:pt x="5909498" y="4907243"/>
                  </a:cubicBezTo>
                  <a:lnTo>
                    <a:pt x="5909498" y="4877127"/>
                  </a:lnTo>
                  <a:cubicBezTo>
                    <a:pt x="5915377" y="4875200"/>
                    <a:pt x="5921055" y="4873172"/>
                    <a:pt x="5926531" y="4871043"/>
                  </a:cubicBezTo>
                  <a:cubicBezTo>
                    <a:pt x="5932007" y="4868914"/>
                    <a:pt x="5937407" y="4866530"/>
                    <a:pt x="5942730" y="4863894"/>
                  </a:cubicBezTo>
                  <a:cubicBezTo>
                    <a:pt x="5948054" y="4861258"/>
                    <a:pt x="5953429" y="4858317"/>
                    <a:pt x="5958852" y="4855072"/>
                  </a:cubicBezTo>
                  <a:cubicBezTo>
                    <a:pt x="5964279" y="4851827"/>
                    <a:pt x="5969881" y="4848126"/>
                    <a:pt x="5975659" y="4843969"/>
                  </a:cubicBezTo>
                  <a:close/>
                  <a:moveTo>
                    <a:pt x="5090447" y="4843969"/>
                  </a:moveTo>
                  <a:cubicBezTo>
                    <a:pt x="5137892" y="4843969"/>
                    <a:pt x="5161614" y="4880831"/>
                    <a:pt x="5161614" y="4954556"/>
                  </a:cubicBezTo>
                  <a:cubicBezTo>
                    <a:pt x="5161614" y="4991067"/>
                    <a:pt x="5154919" y="5018927"/>
                    <a:pt x="5141528" y="5038136"/>
                  </a:cubicBezTo>
                  <a:cubicBezTo>
                    <a:pt x="5128136" y="5057344"/>
                    <a:pt x="5109405" y="5066949"/>
                    <a:pt x="5085331" y="5066949"/>
                  </a:cubicBezTo>
                  <a:cubicBezTo>
                    <a:pt x="5062862" y="5066949"/>
                    <a:pt x="5045334" y="5057771"/>
                    <a:pt x="5032746" y="5039415"/>
                  </a:cubicBezTo>
                  <a:cubicBezTo>
                    <a:pt x="5020157" y="5021059"/>
                    <a:pt x="5013863" y="4994528"/>
                    <a:pt x="5013863" y="4959822"/>
                  </a:cubicBezTo>
                  <a:cubicBezTo>
                    <a:pt x="5013863" y="4921706"/>
                    <a:pt x="5020435" y="4892868"/>
                    <a:pt x="5033573" y="4873308"/>
                  </a:cubicBezTo>
                  <a:cubicBezTo>
                    <a:pt x="5046714" y="4853749"/>
                    <a:pt x="5065671" y="4843969"/>
                    <a:pt x="5090447" y="4843969"/>
                  </a:cubicBezTo>
                  <a:close/>
                  <a:moveTo>
                    <a:pt x="4694968" y="4843969"/>
                  </a:moveTo>
                  <a:lnTo>
                    <a:pt x="4709876" y="4843969"/>
                  </a:lnTo>
                  <a:lnTo>
                    <a:pt x="4709876" y="5066949"/>
                  </a:lnTo>
                  <a:lnTo>
                    <a:pt x="4674589" y="5066949"/>
                  </a:lnTo>
                  <a:lnTo>
                    <a:pt x="4674589" y="4887165"/>
                  </a:lnTo>
                  <a:cubicBezTo>
                    <a:pt x="4668200" y="4891728"/>
                    <a:pt x="4661331" y="4895607"/>
                    <a:pt x="4653978" y="4898801"/>
                  </a:cubicBezTo>
                  <a:cubicBezTo>
                    <a:pt x="4646628" y="4901995"/>
                    <a:pt x="4638236" y="4904809"/>
                    <a:pt x="4628805" y="4907243"/>
                  </a:cubicBezTo>
                  <a:lnTo>
                    <a:pt x="4628805" y="4877127"/>
                  </a:lnTo>
                  <a:cubicBezTo>
                    <a:pt x="4634687" y="4875200"/>
                    <a:pt x="4640364" y="4873172"/>
                    <a:pt x="4645841" y="4871043"/>
                  </a:cubicBezTo>
                  <a:cubicBezTo>
                    <a:pt x="4651316" y="4868914"/>
                    <a:pt x="4656717" y="4866530"/>
                    <a:pt x="4662040" y="4863894"/>
                  </a:cubicBezTo>
                  <a:cubicBezTo>
                    <a:pt x="4667363" y="4861258"/>
                    <a:pt x="4672738" y="4858317"/>
                    <a:pt x="4678162" y="4855072"/>
                  </a:cubicBezTo>
                  <a:cubicBezTo>
                    <a:pt x="4683588" y="4851827"/>
                    <a:pt x="4689190" y="4848126"/>
                    <a:pt x="4694968" y="4843969"/>
                  </a:cubicBezTo>
                  <a:close/>
                  <a:moveTo>
                    <a:pt x="4345906" y="4843969"/>
                  </a:moveTo>
                  <a:lnTo>
                    <a:pt x="4360813" y="4843969"/>
                  </a:lnTo>
                  <a:lnTo>
                    <a:pt x="4360813" y="5066949"/>
                  </a:lnTo>
                  <a:lnTo>
                    <a:pt x="4325525" y="5066949"/>
                  </a:lnTo>
                  <a:lnTo>
                    <a:pt x="4325525" y="4887165"/>
                  </a:lnTo>
                  <a:cubicBezTo>
                    <a:pt x="4319138" y="4891728"/>
                    <a:pt x="4312268" y="4895607"/>
                    <a:pt x="4304915" y="4898801"/>
                  </a:cubicBezTo>
                  <a:cubicBezTo>
                    <a:pt x="4297564" y="4901995"/>
                    <a:pt x="4289174" y="4904809"/>
                    <a:pt x="4279743" y="4907243"/>
                  </a:cubicBezTo>
                  <a:lnTo>
                    <a:pt x="4279743" y="4877127"/>
                  </a:lnTo>
                  <a:cubicBezTo>
                    <a:pt x="4285625" y="4875200"/>
                    <a:pt x="4291302" y="4873172"/>
                    <a:pt x="4296778" y="4871043"/>
                  </a:cubicBezTo>
                  <a:cubicBezTo>
                    <a:pt x="4302254" y="4868914"/>
                    <a:pt x="4307653" y="4866530"/>
                    <a:pt x="4312977" y="4863894"/>
                  </a:cubicBezTo>
                  <a:cubicBezTo>
                    <a:pt x="4318300" y="4861258"/>
                    <a:pt x="4323675" y="4858317"/>
                    <a:pt x="4329099" y="4855072"/>
                  </a:cubicBezTo>
                  <a:cubicBezTo>
                    <a:pt x="4334525" y="4851827"/>
                    <a:pt x="4340127" y="4848126"/>
                    <a:pt x="4345906" y="4843969"/>
                  </a:cubicBezTo>
                  <a:close/>
                  <a:moveTo>
                    <a:pt x="3616537" y="4843969"/>
                  </a:moveTo>
                  <a:cubicBezTo>
                    <a:pt x="3663981" y="4843969"/>
                    <a:pt x="3687703" y="4880832"/>
                    <a:pt x="3687703" y="4954557"/>
                  </a:cubicBezTo>
                  <a:cubicBezTo>
                    <a:pt x="3687703" y="4991068"/>
                    <a:pt x="3681008" y="5018928"/>
                    <a:pt x="3667617" y="5038136"/>
                  </a:cubicBezTo>
                  <a:cubicBezTo>
                    <a:pt x="3654226" y="5057345"/>
                    <a:pt x="3635494" y="5066949"/>
                    <a:pt x="3611420" y="5066949"/>
                  </a:cubicBezTo>
                  <a:cubicBezTo>
                    <a:pt x="3588952" y="5066949"/>
                    <a:pt x="3571422" y="5057771"/>
                    <a:pt x="3558835" y="5039415"/>
                  </a:cubicBezTo>
                  <a:cubicBezTo>
                    <a:pt x="3546246" y="5021059"/>
                    <a:pt x="3539952" y="4994528"/>
                    <a:pt x="3539952" y="4959823"/>
                  </a:cubicBezTo>
                  <a:cubicBezTo>
                    <a:pt x="3539952" y="4921706"/>
                    <a:pt x="3546522" y="4892869"/>
                    <a:pt x="3559662" y="4873309"/>
                  </a:cubicBezTo>
                  <a:cubicBezTo>
                    <a:pt x="3572804" y="4853749"/>
                    <a:pt x="3591760" y="4843969"/>
                    <a:pt x="3616537" y="4843969"/>
                  </a:cubicBezTo>
                  <a:close/>
                  <a:moveTo>
                    <a:pt x="3454863" y="4843969"/>
                  </a:moveTo>
                  <a:lnTo>
                    <a:pt x="3469768" y="4843969"/>
                  </a:lnTo>
                  <a:lnTo>
                    <a:pt x="3469768" y="5066949"/>
                  </a:lnTo>
                  <a:lnTo>
                    <a:pt x="3434481" y="5066949"/>
                  </a:lnTo>
                  <a:lnTo>
                    <a:pt x="3434481" y="4887166"/>
                  </a:lnTo>
                  <a:cubicBezTo>
                    <a:pt x="3428092" y="4891729"/>
                    <a:pt x="3421223" y="4895607"/>
                    <a:pt x="3413872" y="4898802"/>
                  </a:cubicBezTo>
                  <a:cubicBezTo>
                    <a:pt x="3406519" y="4901996"/>
                    <a:pt x="3398129" y="4904809"/>
                    <a:pt x="3388698" y="4907243"/>
                  </a:cubicBezTo>
                  <a:lnTo>
                    <a:pt x="3388698" y="4877127"/>
                  </a:lnTo>
                  <a:cubicBezTo>
                    <a:pt x="3394580" y="4875201"/>
                    <a:pt x="3400259" y="4873173"/>
                    <a:pt x="3405734" y="4871043"/>
                  </a:cubicBezTo>
                  <a:cubicBezTo>
                    <a:pt x="3411209" y="4868914"/>
                    <a:pt x="3416609" y="4866531"/>
                    <a:pt x="3421933" y="4863894"/>
                  </a:cubicBezTo>
                  <a:cubicBezTo>
                    <a:pt x="3427256" y="4861258"/>
                    <a:pt x="3432632" y="4858317"/>
                    <a:pt x="3438054" y="4855073"/>
                  </a:cubicBezTo>
                  <a:cubicBezTo>
                    <a:pt x="3443480" y="4851828"/>
                    <a:pt x="3449083" y="4848127"/>
                    <a:pt x="3454863" y="4843969"/>
                  </a:cubicBezTo>
                  <a:close/>
                  <a:moveTo>
                    <a:pt x="3158682" y="4843969"/>
                  </a:moveTo>
                  <a:lnTo>
                    <a:pt x="3173587" y="4843969"/>
                  </a:lnTo>
                  <a:lnTo>
                    <a:pt x="3173587" y="5066949"/>
                  </a:lnTo>
                  <a:lnTo>
                    <a:pt x="3138299" y="5066949"/>
                  </a:lnTo>
                  <a:lnTo>
                    <a:pt x="3138299" y="4887166"/>
                  </a:lnTo>
                  <a:cubicBezTo>
                    <a:pt x="3131912" y="4891729"/>
                    <a:pt x="3125042" y="4895607"/>
                    <a:pt x="3117690" y="4898802"/>
                  </a:cubicBezTo>
                  <a:cubicBezTo>
                    <a:pt x="3110339" y="4901996"/>
                    <a:pt x="3101948" y="4904809"/>
                    <a:pt x="3092517" y="4907243"/>
                  </a:cubicBezTo>
                  <a:lnTo>
                    <a:pt x="3092517" y="4877127"/>
                  </a:lnTo>
                  <a:cubicBezTo>
                    <a:pt x="3098398" y="4875201"/>
                    <a:pt x="3104077" y="4873173"/>
                    <a:pt x="3109553" y="4871043"/>
                  </a:cubicBezTo>
                  <a:cubicBezTo>
                    <a:pt x="3115028" y="4868914"/>
                    <a:pt x="3120428" y="4866531"/>
                    <a:pt x="3125751" y="4863894"/>
                  </a:cubicBezTo>
                  <a:cubicBezTo>
                    <a:pt x="3131075" y="4861258"/>
                    <a:pt x="3136449" y="4858317"/>
                    <a:pt x="3141875" y="4855073"/>
                  </a:cubicBezTo>
                  <a:cubicBezTo>
                    <a:pt x="3147300" y="4851828"/>
                    <a:pt x="3152901" y="4848127"/>
                    <a:pt x="3158682" y="4843969"/>
                  </a:cubicBezTo>
                  <a:close/>
                  <a:moveTo>
                    <a:pt x="2489154" y="4843969"/>
                  </a:moveTo>
                  <a:lnTo>
                    <a:pt x="2504060" y="4843969"/>
                  </a:lnTo>
                  <a:lnTo>
                    <a:pt x="2504060" y="5066949"/>
                  </a:lnTo>
                  <a:lnTo>
                    <a:pt x="2468772" y="5066949"/>
                  </a:lnTo>
                  <a:lnTo>
                    <a:pt x="2468772" y="4887166"/>
                  </a:lnTo>
                  <a:cubicBezTo>
                    <a:pt x="2462385" y="4891729"/>
                    <a:pt x="2455514" y="4895607"/>
                    <a:pt x="2448163" y="4898802"/>
                  </a:cubicBezTo>
                  <a:cubicBezTo>
                    <a:pt x="2440812" y="4901996"/>
                    <a:pt x="2432420" y="4904809"/>
                    <a:pt x="2422990" y="4907243"/>
                  </a:cubicBezTo>
                  <a:lnTo>
                    <a:pt x="2422990" y="4877127"/>
                  </a:lnTo>
                  <a:cubicBezTo>
                    <a:pt x="2428871" y="4875201"/>
                    <a:pt x="2434551" y="4873173"/>
                    <a:pt x="2440025" y="4871043"/>
                  </a:cubicBezTo>
                  <a:cubicBezTo>
                    <a:pt x="2445502" y="4868914"/>
                    <a:pt x="2450900" y="4866531"/>
                    <a:pt x="2456224" y="4863894"/>
                  </a:cubicBezTo>
                  <a:cubicBezTo>
                    <a:pt x="2461549" y="4861258"/>
                    <a:pt x="2466922" y="4858317"/>
                    <a:pt x="2472346" y="4855073"/>
                  </a:cubicBezTo>
                  <a:cubicBezTo>
                    <a:pt x="2477772" y="4851828"/>
                    <a:pt x="2483374" y="4848127"/>
                    <a:pt x="2489154" y="4843969"/>
                  </a:cubicBezTo>
                  <a:close/>
                  <a:moveTo>
                    <a:pt x="1599916" y="4843969"/>
                  </a:moveTo>
                  <a:lnTo>
                    <a:pt x="1614822" y="4843969"/>
                  </a:lnTo>
                  <a:lnTo>
                    <a:pt x="1614822" y="5066949"/>
                  </a:lnTo>
                  <a:lnTo>
                    <a:pt x="1579534" y="5066949"/>
                  </a:lnTo>
                  <a:lnTo>
                    <a:pt x="1579534" y="4887166"/>
                  </a:lnTo>
                  <a:cubicBezTo>
                    <a:pt x="1573146" y="4891729"/>
                    <a:pt x="1566276" y="4895607"/>
                    <a:pt x="1558925" y="4898802"/>
                  </a:cubicBezTo>
                  <a:cubicBezTo>
                    <a:pt x="1551573" y="4901996"/>
                    <a:pt x="1543182" y="4904809"/>
                    <a:pt x="1533752" y="4907243"/>
                  </a:cubicBezTo>
                  <a:lnTo>
                    <a:pt x="1533752" y="4877127"/>
                  </a:lnTo>
                  <a:cubicBezTo>
                    <a:pt x="1539633" y="4875201"/>
                    <a:pt x="1545312" y="4873173"/>
                    <a:pt x="1550787" y="4871043"/>
                  </a:cubicBezTo>
                  <a:cubicBezTo>
                    <a:pt x="1556263" y="4868914"/>
                    <a:pt x="1561663" y="4866531"/>
                    <a:pt x="1566986" y="4863894"/>
                  </a:cubicBezTo>
                  <a:cubicBezTo>
                    <a:pt x="1572310" y="4861258"/>
                    <a:pt x="1577684" y="4858317"/>
                    <a:pt x="1583109" y="4855073"/>
                  </a:cubicBezTo>
                  <a:cubicBezTo>
                    <a:pt x="1588534" y="4851828"/>
                    <a:pt x="1594136" y="4848127"/>
                    <a:pt x="1599916" y="4843969"/>
                  </a:cubicBezTo>
                  <a:close/>
                  <a:moveTo>
                    <a:pt x="1302202" y="4843969"/>
                  </a:moveTo>
                  <a:lnTo>
                    <a:pt x="1317108" y="4843969"/>
                  </a:lnTo>
                  <a:lnTo>
                    <a:pt x="1317108" y="5066949"/>
                  </a:lnTo>
                  <a:lnTo>
                    <a:pt x="1281820" y="5066949"/>
                  </a:lnTo>
                  <a:lnTo>
                    <a:pt x="1281820" y="4887166"/>
                  </a:lnTo>
                  <a:cubicBezTo>
                    <a:pt x="1275432" y="4891729"/>
                    <a:pt x="1268562" y="4895607"/>
                    <a:pt x="1261211" y="4898802"/>
                  </a:cubicBezTo>
                  <a:cubicBezTo>
                    <a:pt x="1253859" y="4901996"/>
                    <a:pt x="1245468" y="4904809"/>
                    <a:pt x="1236038" y="4907243"/>
                  </a:cubicBezTo>
                  <a:lnTo>
                    <a:pt x="1236038" y="4877127"/>
                  </a:lnTo>
                  <a:cubicBezTo>
                    <a:pt x="1241919" y="4875201"/>
                    <a:pt x="1247598" y="4873173"/>
                    <a:pt x="1253073" y="4871043"/>
                  </a:cubicBezTo>
                  <a:cubicBezTo>
                    <a:pt x="1258549" y="4868914"/>
                    <a:pt x="1263949" y="4866531"/>
                    <a:pt x="1269272" y="4863894"/>
                  </a:cubicBezTo>
                  <a:cubicBezTo>
                    <a:pt x="1274596" y="4861258"/>
                    <a:pt x="1279970" y="4858317"/>
                    <a:pt x="1285395" y="4855073"/>
                  </a:cubicBezTo>
                  <a:cubicBezTo>
                    <a:pt x="1290820" y="4851828"/>
                    <a:pt x="1296422" y="4848127"/>
                    <a:pt x="1302202" y="4843969"/>
                  </a:cubicBezTo>
                  <a:close/>
                  <a:moveTo>
                    <a:pt x="927321" y="4843969"/>
                  </a:moveTo>
                  <a:lnTo>
                    <a:pt x="942227" y="4843969"/>
                  </a:lnTo>
                  <a:lnTo>
                    <a:pt x="942227" y="5066949"/>
                  </a:lnTo>
                  <a:lnTo>
                    <a:pt x="906939" y="5066949"/>
                  </a:lnTo>
                  <a:lnTo>
                    <a:pt x="906939" y="4887166"/>
                  </a:lnTo>
                  <a:cubicBezTo>
                    <a:pt x="900551" y="4891729"/>
                    <a:pt x="893681" y="4895607"/>
                    <a:pt x="886330" y="4898802"/>
                  </a:cubicBezTo>
                  <a:cubicBezTo>
                    <a:pt x="878978" y="4901996"/>
                    <a:pt x="870587" y="4904809"/>
                    <a:pt x="861157" y="4907243"/>
                  </a:cubicBezTo>
                  <a:lnTo>
                    <a:pt x="861157" y="4877127"/>
                  </a:lnTo>
                  <a:cubicBezTo>
                    <a:pt x="867038" y="4875201"/>
                    <a:pt x="872717" y="4873173"/>
                    <a:pt x="878192" y="4871043"/>
                  </a:cubicBezTo>
                  <a:cubicBezTo>
                    <a:pt x="883668" y="4868914"/>
                    <a:pt x="889068" y="4866531"/>
                    <a:pt x="894391" y="4863894"/>
                  </a:cubicBezTo>
                  <a:cubicBezTo>
                    <a:pt x="899715" y="4861258"/>
                    <a:pt x="905089" y="4858317"/>
                    <a:pt x="910514" y="4855073"/>
                  </a:cubicBezTo>
                  <a:cubicBezTo>
                    <a:pt x="915939" y="4851828"/>
                    <a:pt x="921541" y="4848127"/>
                    <a:pt x="927321" y="4843969"/>
                  </a:cubicBezTo>
                  <a:close/>
                  <a:moveTo>
                    <a:pt x="778464" y="4843969"/>
                  </a:moveTo>
                  <a:lnTo>
                    <a:pt x="793370" y="4843969"/>
                  </a:lnTo>
                  <a:lnTo>
                    <a:pt x="793370" y="5066949"/>
                  </a:lnTo>
                  <a:lnTo>
                    <a:pt x="758082" y="5066949"/>
                  </a:lnTo>
                  <a:lnTo>
                    <a:pt x="758082" y="4887166"/>
                  </a:lnTo>
                  <a:cubicBezTo>
                    <a:pt x="751694" y="4891729"/>
                    <a:pt x="744824" y="4895607"/>
                    <a:pt x="737473" y="4898802"/>
                  </a:cubicBezTo>
                  <a:cubicBezTo>
                    <a:pt x="730121" y="4901996"/>
                    <a:pt x="721730" y="4904809"/>
                    <a:pt x="712300" y="4907243"/>
                  </a:cubicBezTo>
                  <a:lnTo>
                    <a:pt x="712300" y="4877127"/>
                  </a:lnTo>
                  <a:cubicBezTo>
                    <a:pt x="718181" y="4875201"/>
                    <a:pt x="723860" y="4873173"/>
                    <a:pt x="729335" y="4871043"/>
                  </a:cubicBezTo>
                  <a:cubicBezTo>
                    <a:pt x="734811" y="4868914"/>
                    <a:pt x="740211" y="4866531"/>
                    <a:pt x="745535" y="4863894"/>
                  </a:cubicBezTo>
                  <a:cubicBezTo>
                    <a:pt x="750858" y="4861258"/>
                    <a:pt x="756232" y="4858317"/>
                    <a:pt x="761657" y="4855073"/>
                  </a:cubicBezTo>
                  <a:cubicBezTo>
                    <a:pt x="767082" y="4851828"/>
                    <a:pt x="772684" y="4848127"/>
                    <a:pt x="778464" y="4843969"/>
                  </a:cubicBezTo>
                  <a:close/>
                  <a:moveTo>
                    <a:pt x="629607" y="4843969"/>
                  </a:moveTo>
                  <a:lnTo>
                    <a:pt x="644513" y="4843969"/>
                  </a:lnTo>
                  <a:lnTo>
                    <a:pt x="644513" y="5066949"/>
                  </a:lnTo>
                  <a:lnTo>
                    <a:pt x="609225" y="5066949"/>
                  </a:lnTo>
                  <a:lnTo>
                    <a:pt x="609225" y="4887166"/>
                  </a:lnTo>
                  <a:cubicBezTo>
                    <a:pt x="602837" y="4891729"/>
                    <a:pt x="595967" y="4895607"/>
                    <a:pt x="588616" y="4898802"/>
                  </a:cubicBezTo>
                  <a:cubicBezTo>
                    <a:pt x="581264" y="4901996"/>
                    <a:pt x="572873" y="4904809"/>
                    <a:pt x="563443" y="4907243"/>
                  </a:cubicBezTo>
                  <a:lnTo>
                    <a:pt x="563443" y="4877127"/>
                  </a:lnTo>
                  <a:cubicBezTo>
                    <a:pt x="569324" y="4875201"/>
                    <a:pt x="575003" y="4873173"/>
                    <a:pt x="580478" y="4871043"/>
                  </a:cubicBezTo>
                  <a:cubicBezTo>
                    <a:pt x="585954" y="4868914"/>
                    <a:pt x="591354" y="4866531"/>
                    <a:pt x="596677" y="4863894"/>
                  </a:cubicBezTo>
                  <a:cubicBezTo>
                    <a:pt x="602001" y="4861258"/>
                    <a:pt x="607375" y="4858317"/>
                    <a:pt x="612800" y="4855073"/>
                  </a:cubicBezTo>
                  <a:cubicBezTo>
                    <a:pt x="618225" y="4851828"/>
                    <a:pt x="623827" y="4848127"/>
                    <a:pt x="629607" y="4843969"/>
                  </a:cubicBezTo>
                  <a:close/>
                  <a:moveTo>
                    <a:pt x="480750" y="4843969"/>
                  </a:moveTo>
                  <a:lnTo>
                    <a:pt x="495656" y="4843969"/>
                  </a:lnTo>
                  <a:lnTo>
                    <a:pt x="495656" y="5066949"/>
                  </a:lnTo>
                  <a:lnTo>
                    <a:pt x="460368" y="5066949"/>
                  </a:lnTo>
                  <a:lnTo>
                    <a:pt x="460368" y="4887166"/>
                  </a:lnTo>
                  <a:cubicBezTo>
                    <a:pt x="453980" y="4891729"/>
                    <a:pt x="447110" y="4895607"/>
                    <a:pt x="439759" y="4898802"/>
                  </a:cubicBezTo>
                  <a:cubicBezTo>
                    <a:pt x="432407" y="4901996"/>
                    <a:pt x="424016" y="4904809"/>
                    <a:pt x="414586" y="4907243"/>
                  </a:cubicBezTo>
                  <a:lnTo>
                    <a:pt x="414586" y="4877127"/>
                  </a:lnTo>
                  <a:cubicBezTo>
                    <a:pt x="420467" y="4875201"/>
                    <a:pt x="426146" y="4873173"/>
                    <a:pt x="431621" y="4871043"/>
                  </a:cubicBezTo>
                  <a:cubicBezTo>
                    <a:pt x="437097" y="4868914"/>
                    <a:pt x="442497" y="4866531"/>
                    <a:pt x="447821" y="4863894"/>
                  </a:cubicBezTo>
                  <a:cubicBezTo>
                    <a:pt x="453144" y="4861258"/>
                    <a:pt x="458518" y="4858317"/>
                    <a:pt x="463943" y="4855073"/>
                  </a:cubicBezTo>
                  <a:cubicBezTo>
                    <a:pt x="469368" y="4851828"/>
                    <a:pt x="474970" y="4848127"/>
                    <a:pt x="480750" y="4843969"/>
                  </a:cubicBezTo>
                  <a:close/>
                  <a:moveTo>
                    <a:pt x="11874294" y="4534174"/>
                  </a:moveTo>
                  <a:cubicBezTo>
                    <a:pt x="11848114" y="4534174"/>
                    <a:pt x="11835024" y="4563011"/>
                    <a:pt x="11835024" y="4620687"/>
                  </a:cubicBezTo>
                  <a:cubicBezTo>
                    <a:pt x="11835024" y="4674652"/>
                    <a:pt x="11847863" y="4701634"/>
                    <a:pt x="11873542" y="4701634"/>
                  </a:cubicBezTo>
                  <a:cubicBezTo>
                    <a:pt x="11898818" y="4701634"/>
                    <a:pt x="11911457" y="4674200"/>
                    <a:pt x="11911457" y="4619333"/>
                  </a:cubicBezTo>
                  <a:cubicBezTo>
                    <a:pt x="11911457" y="4562560"/>
                    <a:pt x="11899069" y="4534174"/>
                    <a:pt x="11874294" y="4534174"/>
                  </a:cubicBezTo>
                  <a:close/>
                  <a:moveTo>
                    <a:pt x="11189148" y="4534174"/>
                  </a:moveTo>
                  <a:cubicBezTo>
                    <a:pt x="11162968" y="4534174"/>
                    <a:pt x="11149878" y="4563011"/>
                    <a:pt x="11149878" y="4620687"/>
                  </a:cubicBezTo>
                  <a:cubicBezTo>
                    <a:pt x="11149878" y="4674652"/>
                    <a:pt x="11162717" y="4701634"/>
                    <a:pt x="11188396" y="4701634"/>
                  </a:cubicBezTo>
                  <a:cubicBezTo>
                    <a:pt x="11213672" y="4701634"/>
                    <a:pt x="11226311" y="4674200"/>
                    <a:pt x="11226311" y="4619333"/>
                  </a:cubicBezTo>
                  <a:cubicBezTo>
                    <a:pt x="11226311" y="4562560"/>
                    <a:pt x="11213923" y="4534174"/>
                    <a:pt x="11189148" y="4534174"/>
                  </a:cubicBezTo>
                  <a:close/>
                  <a:moveTo>
                    <a:pt x="9936214" y="4534174"/>
                  </a:moveTo>
                  <a:cubicBezTo>
                    <a:pt x="9910034" y="4534174"/>
                    <a:pt x="9896944" y="4563011"/>
                    <a:pt x="9896944" y="4620687"/>
                  </a:cubicBezTo>
                  <a:cubicBezTo>
                    <a:pt x="9896944" y="4674652"/>
                    <a:pt x="9909783" y="4701634"/>
                    <a:pt x="9935462" y="4701634"/>
                  </a:cubicBezTo>
                  <a:cubicBezTo>
                    <a:pt x="9960738" y="4701634"/>
                    <a:pt x="9973377" y="4674200"/>
                    <a:pt x="9973377" y="4619333"/>
                  </a:cubicBezTo>
                  <a:cubicBezTo>
                    <a:pt x="9973377" y="4562560"/>
                    <a:pt x="9960989" y="4534174"/>
                    <a:pt x="9936214" y="4534174"/>
                  </a:cubicBezTo>
                  <a:close/>
                  <a:moveTo>
                    <a:pt x="9713703" y="4534174"/>
                  </a:moveTo>
                  <a:cubicBezTo>
                    <a:pt x="9687523" y="4534174"/>
                    <a:pt x="9674433" y="4563011"/>
                    <a:pt x="9674433" y="4620687"/>
                  </a:cubicBezTo>
                  <a:cubicBezTo>
                    <a:pt x="9674433" y="4674652"/>
                    <a:pt x="9687272" y="4701634"/>
                    <a:pt x="9712951" y="4701634"/>
                  </a:cubicBezTo>
                  <a:cubicBezTo>
                    <a:pt x="9738227" y="4701634"/>
                    <a:pt x="9750866" y="4674200"/>
                    <a:pt x="9750866" y="4619333"/>
                  </a:cubicBezTo>
                  <a:cubicBezTo>
                    <a:pt x="9750866" y="4562560"/>
                    <a:pt x="9738478" y="4534174"/>
                    <a:pt x="9713703" y="4534174"/>
                  </a:cubicBezTo>
                  <a:close/>
                  <a:moveTo>
                    <a:pt x="6372301" y="4534174"/>
                  </a:moveTo>
                  <a:cubicBezTo>
                    <a:pt x="6346121" y="4534174"/>
                    <a:pt x="6333031" y="4563011"/>
                    <a:pt x="6333031" y="4620687"/>
                  </a:cubicBezTo>
                  <a:cubicBezTo>
                    <a:pt x="6333031" y="4674652"/>
                    <a:pt x="6345870" y="4701634"/>
                    <a:pt x="6371549" y="4701634"/>
                  </a:cubicBezTo>
                  <a:cubicBezTo>
                    <a:pt x="6396826" y="4701634"/>
                    <a:pt x="6409464" y="4674200"/>
                    <a:pt x="6409464" y="4619333"/>
                  </a:cubicBezTo>
                  <a:cubicBezTo>
                    <a:pt x="6409464" y="4562560"/>
                    <a:pt x="6397076" y="4534174"/>
                    <a:pt x="6372301" y="4534174"/>
                  </a:cubicBezTo>
                  <a:close/>
                  <a:moveTo>
                    <a:pt x="5784617" y="4534174"/>
                  </a:moveTo>
                  <a:cubicBezTo>
                    <a:pt x="5758439" y="4534174"/>
                    <a:pt x="5745350" y="4563011"/>
                    <a:pt x="5745350" y="4620687"/>
                  </a:cubicBezTo>
                  <a:cubicBezTo>
                    <a:pt x="5745350" y="4674652"/>
                    <a:pt x="5758187" y="4701634"/>
                    <a:pt x="5783865" y="4701634"/>
                  </a:cubicBezTo>
                  <a:cubicBezTo>
                    <a:pt x="5809143" y="4701634"/>
                    <a:pt x="5821781" y="4674200"/>
                    <a:pt x="5821781" y="4619333"/>
                  </a:cubicBezTo>
                  <a:cubicBezTo>
                    <a:pt x="5821781" y="4562560"/>
                    <a:pt x="5809394" y="4534174"/>
                    <a:pt x="5784617" y="4534174"/>
                  </a:cubicBezTo>
                  <a:close/>
                  <a:moveTo>
                    <a:pt x="5091629" y="4534174"/>
                  </a:moveTo>
                  <a:cubicBezTo>
                    <a:pt x="5065449" y="4534174"/>
                    <a:pt x="5052358" y="4563011"/>
                    <a:pt x="5052358" y="4620687"/>
                  </a:cubicBezTo>
                  <a:cubicBezTo>
                    <a:pt x="5052358" y="4674652"/>
                    <a:pt x="5065200" y="4701634"/>
                    <a:pt x="5090877" y="4701634"/>
                  </a:cubicBezTo>
                  <a:cubicBezTo>
                    <a:pt x="5116154" y="4701634"/>
                    <a:pt x="5128792" y="4674200"/>
                    <a:pt x="5128792" y="4619333"/>
                  </a:cubicBezTo>
                  <a:cubicBezTo>
                    <a:pt x="5128792" y="4562560"/>
                    <a:pt x="5116404" y="4534174"/>
                    <a:pt x="5091629" y="4534174"/>
                  </a:cubicBezTo>
                  <a:close/>
                  <a:moveTo>
                    <a:pt x="3837392" y="4534174"/>
                  </a:moveTo>
                  <a:cubicBezTo>
                    <a:pt x="3811212" y="4534174"/>
                    <a:pt x="3798122" y="4563011"/>
                    <a:pt x="3798122" y="4620687"/>
                  </a:cubicBezTo>
                  <a:cubicBezTo>
                    <a:pt x="3798122" y="4674652"/>
                    <a:pt x="3810961" y="4701634"/>
                    <a:pt x="3836640" y="4701634"/>
                  </a:cubicBezTo>
                  <a:cubicBezTo>
                    <a:pt x="3861916" y="4701634"/>
                    <a:pt x="3874555" y="4674200"/>
                    <a:pt x="3874555" y="4619333"/>
                  </a:cubicBezTo>
                  <a:cubicBezTo>
                    <a:pt x="3874555" y="4562560"/>
                    <a:pt x="3862167" y="4534174"/>
                    <a:pt x="3837392" y="4534174"/>
                  </a:cubicBezTo>
                  <a:close/>
                  <a:moveTo>
                    <a:pt x="3614881" y="4534174"/>
                  </a:moveTo>
                  <a:cubicBezTo>
                    <a:pt x="3588702" y="4534174"/>
                    <a:pt x="3575611" y="4563011"/>
                    <a:pt x="3575611" y="4620687"/>
                  </a:cubicBezTo>
                  <a:cubicBezTo>
                    <a:pt x="3575611" y="4674652"/>
                    <a:pt x="3588451" y="4701634"/>
                    <a:pt x="3614130" y="4701634"/>
                  </a:cubicBezTo>
                  <a:cubicBezTo>
                    <a:pt x="3639407" y="4701634"/>
                    <a:pt x="3652044" y="4674200"/>
                    <a:pt x="3652044" y="4619333"/>
                  </a:cubicBezTo>
                  <a:cubicBezTo>
                    <a:pt x="3652044" y="4562560"/>
                    <a:pt x="3639656" y="4534174"/>
                    <a:pt x="3614881" y="4534174"/>
                  </a:cubicBezTo>
                  <a:close/>
                  <a:moveTo>
                    <a:pt x="954478" y="4534174"/>
                  </a:moveTo>
                  <a:cubicBezTo>
                    <a:pt x="928298" y="4534174"/>
                    <a:pt x="915208" y="4563012"/>
                    <a:pt x="915208" y="4620688"/>
                  </a:cubicBezTo>
                  <a:cubicBezTo>
                    <a:pt x="915208" y="4674652"/>
                    <a:pt x="928047" y="4701635"/>
                    <a:pt x="953726" y="4701635"/>
                  </a:cubicBezTo>
                  <a:cubicBezTo>
                    <a:pt x="979003" y="4701635"/>
                    <a:pt x="991641" y="4674201"/>
                    <a:pt x="991641" y="4619334"/>
                  </a:cubicBezTo>
                  <a:cubicBezTo>
                    <a:pt x="991641" y="4562561"/>
                    <a:pt x="979253" y="4534174"/>
                    <a:pt x="954478" y="4534174"/>
                  </a:cubicBezTo>
                  <a:close/>
                  <a:moveTo>
                    <a:pt x="778131" y="4534174"/>
                  </a:moveTo>
                  <a:cubicBezTo>
                    <a:pt x="751951" y="4534174"/>
                    <a:pt x="738861" y="4563012"/>
                    <a:pt x="738861" y="4620688"/>
                  </a:cubicBezTo>
                  <a:cubicBezTo>
                    <a:pt x="738861" y="4674652"/>
                    <a:pt x="751700" y="4701635"/>
                    <a:pt x="777378" y="4701635"/>
                  </a:cubicBezTo>
                  <a:cubicBezTo>
                    <a:pt x="802655" y="4701635"/>
                    <a:pt x="815294" y="4674201"/>
                    <a:pt x="815294" y="4619334"/>
                  </a:cubicBezTo>
                  <a:cubicBezTo>
                    <a:pt x="815294" y="4562561"/>
                    <a:pt x="802906" y="4534174"/>
                    <a:pt x="778131" y="4534174"/>
                  </a:cubicBezTo>
                  <a:close/>
                  <a:moveTo>
                    <a:pt x="141104" y="4534174"/>
                  </a:moveTo>
                  <a:cubicBezTo>
                    <a:pt x="114924" y="4534174"/>
                    <a:pt x="101834" y="4563012"/>
                    <a:pt x="101834" y="4620688"/>
                  </a:cubicBezTo>
                  <a:cubicBezTo>
                    <a:pt x="101834" y="4674652"/>
                    <a:pt x="114673" y="4701635"/>
                    <a:pt x="140352" y="4701635"/>
                  </a:cubicBezTo>
                  <a:cubicBezTo>
                    <a:pt x="165629" y="4701635"/>
                    <a:pt x="178267" y="4674201"/>
                    <a:pt x="178267" y="4619334"/>
                  </a:cubicBezTo>
                  <a:cubicBezTo>
                    <a:pt x="178267" y="4562561"/>
                    <a:pt x="165879" y="4534174"/>
                    <a:pt x="141104" y="4534174"/>
                  </a:cubicBezTo>
                  <a:close/>
                  <a:moveTo>
                    <a:pt x="12062430" y="4506339"/>
                  </a:moveTo>
                  <a:lnTo>
                    <a:pt x="12077336" y="4506339"/>
                  </a:lnTo>
                  <a:lnTo>
                    <a:pt x="12077336" y="4729319"/>
                  </a:lnTo>
                  <a:lnTo>
                    <a:pt x="12042048" y="4729319"/>
                  </a:lnTo>
                  <a:lnTo>
                    <a:pt x="12042048" y="4549535"/>
                  </a:lnTo>
                  <a:cubicBezTo>
                    <a:pt x="12035660" y="4554098"/>
                    <a:pt x="12028790" y="4557977"/>
                    <a:pt x="12021439" y="4561171"/>
                  </a:cubicBezTo>
                  <a:cubicBezTo>
                    <a:pt x="12014087" y="4564365"/>
                    <a:pt x="12005696" y="4567179"/>
                    <a:pt x="11996266" y="4569613"/>
                  </a:cubicBezTo>
                  <a:lnTo>
                    <a:pt x="11996266" y="4539497"/>
                  </a:lnTo>
                  <a:cubicBezTo>
                    <a:pt x="12002147" y="4537570"/>
                    <a:pt x="12007826" y="4535542"/>
                    <a:pt x="12013301" y="4533413"/>
                  </a:cubicBezTo>
                  <a:cubicBezTo>
                    <a:pt x="12018777" y="4531284"/>
                    <a:pt x="12024177" y="4528900"/>
                    <a:pt x="12029500" y="4526264"/>
                  </a:cubicBezTo>
                  <a:cubicBezTo>
                    <a:pt x="12034824" y="4523628"/>
                    <a:pt x="12040198" y="4520687"/>
                    <a:pt x="12045623" y="4517442"/>
                  </a:cubicBezTo>
                  <a:cubicBezTo>
                    <a:pt x="12051048" y="4514197"/>
                    <a:pt x="12056650" y="4510496"/>
                    <a:pt x="12062430" y="4506339"/>
                  </a:cubicBezTo>
                  <a:close/>
                  <a:moveTo>
                    <a:pt x="11875949" y="4506339"/>
                  </a:moveTo>
                  <a:cubicBezTo>
                    <a:pt x="11923393" y="4506339"/>
                    <a:pt x="11947116" y="4543201"/>
                    <a:pt x="11947116" y="4616926"/>
                  </a:cubicBezTo>
                  <a:cubicBezTo>
                    <a:pt x="11947116" y="4653437"/>
                    <a:pt x="11940420" y="4681297"/>
                    <a:pt x="11927030" y="4700506"/>
                  </a:cubicBezTo>
                  <a:cubicBezTo>
                    <a:pt x="11913639" y="4719714"/>
                    <a:pt x="11894907" y="4729319"/>
                    <a:pt x="11870833" y="4729319"/>
                  </a:cubicBezTo>
                  <a:cubicBezTo>
                    <a:pt x="11848365" y="4729319"/>
                    <a:pt x="11830836" y="4720141"/>
                    <a:pt x="11818248" y="4701785"/>
                  </a:cubicBezTo>
                  <a:cubicBezTo>
                    <a:pt x="11805659" y="4683429"/>
                    <a:pt x="11799365" y="4656898"/>
                    <a:pt x="11799365" y="4622192"/>
                  </a:cubicBezTo>
                  <a:cubicBezTo>
                    <a:pt x="11799365" y="4584076"/>
                    <a:pt x="11805935" y="4555238"/>
                    <a:pt x="11819075" y="4535678"/>
                  </a:cubicBezTo>
                  <a:cubicBezTo>
                    <a:pt x="11832216" y="4516119"/>
                    <a:pt x="11851173" y="4506339"/>
                    <a:pt x="11875949" y="4506339"/>
                  </a:cubicBezTo>
                  <a:close/>
                  <a:moveTo>
                    <a:pt x="11190803" y="4506339"/>
                  </a:moveTo>
                  <a:cubicBezTo>
                    <a:pt x="11238247" y="4506339"/>
                    <a:pt x="11261970" y="4543201"/>
                    <a:pt x="11261970" y="4616926"/>
                  </a:cubicBezTo>
                  <a:cubicBezTo>
                    <a:pt x="11261970" y="4653437"/>
                    <a:pt x="11255274" y="4681297"/>
                    <a:pt x="11241884" y="4700506"/>
                  </a:cubicBezTo>
                  <a:cubicBezTo>
                    <a:pt x="11228493" y="4719714"/>
                    <a:pt x="11209761" y="4729319"/>
                    <a:pt x="11185687" y="4729319"/>
                  </a:cubicBezTo>
                  <a:cubicBezTo>
                    <a:pt x="11163219" y="4729319"/>
                    <a:pt x="11145690" y="4720141"/>
                    <a:pt x="11133102" y="4701785"/>
                  </a:cubicBezTo>
                  <a:cubicBezTo>
                    <a:pt x="11120513" y="4683429"/>
                    <a:pt x="11114219" y="4656898"/>
                    <a:pt x="11114219" y="4622192"/>
                  </a:cubicBezTo>
                  <a:cubicBezTo>
                    <a:pt x="11114219" y="4584076"/>
                    <a:pt x="11120789" y="4555238"/>
                    <a:pt x="11133929" y="4535678"/>
                  </a:cubicBezTo>
                  <a:cubicBezTo>
                    <a:pt x="11147070" y="4516119"/>
                    <a:pt x="11166027" y="4506339"/>
                    <a:pt x="11190803" y="4506339"/>
                  </a:cubicBezTo>
                  <a:close/>
                  <a:moveTo>
                    <a:pt x="10143427" y="4506339"/>
                  </a:moveTo>
                  <a:lnTo>
                    <a:pt x="10158333" y="4506339"/>
                  </a:lnTo>
                  <a:lnTo>
                    <a:pt x="10158333" y="4729319"/>
                  </a:lnTo>
                  <a:lnTo>
                    <a:pt x="10123045" y="4729319"/>
                  </a:lnTo>
                  <a:lnTo>
                    <a:pt x="10123045" y="4549535"/>
                  </a:lnTo>
                  <a:cubicBezTo>
                    <a:pt x="10116657" y="4554098"/>
                    <a:pt x="10109787" y="4557977"/>
                    <a:pt x="10102436" y="4561171"/>
                  </a:cubicBezTo>
                  <a:cubicBezTo>
                    <a:pt x="10095084" y="4564365"/>
                    <a:pt x="10086693" y="4567179"/>
                    <a:pt x="10077263" y="4569613"/>
                  </a:cubicBezTo>
                  <a:lnTo>
                    <a:pt x="10077263" y="4539497"/>
                  </a:lnTo>
                  <a:cubicBezTo>
                    <a:pt x="10083144" y="4537570"/>
                    <a:pt x="10088823" y="4535542"/>
                    <a:pt x="10094298" y="4533413"/>
                  </a:cubicBezTo>
                  <a:cubicBezTo>
                    <a:pt x="10099774" y="4531284"/>
                    <a:pt x="10105174" y="4528900"/>
                    <a:pt x="10110497" y="4526264"/>
                  </a:cubicBezTo>
                  <a:cubicBezTo>
                    <a:pt x="10115821" y="4523628"/>
                    <a:pt x="10121195" y="4520687"/>
                    <a:pt x="10126620" y="4517442"/>
                  </a:cubicBezTo>
                  <a:cubicBezTo>
                    <a:pt x="10132045" y="4514197"/>
                    <a:pt x="10137647" y="4510496"/>
                    <a:pt x="10143427" y="4506339"/>
                  </a:cubicBezTo>
                  <a:close/>
                  <a:moveTo>
                    <a:pt x="9937869" y="4506339"/>
                  </a:moveTo>
                  <a:cubicBezTo>
                    <a:pt x="9985313" y="4506339"/>
                    <a:pt x="10009036" y="4543201"/>
                    <a:pt x="10009036" y="4616926"/>
                  </a:cubicBezTo>
                  <a:cubicBezTo>
                    <a:pt x="10009036" y="4653437"/>
                    <a:pt x="10002340" y="4681297"/>
                    <a:pt x="9988950" y="4700506"/>
                  </a:cubicBezTo>
                  <a:cubicBezTo>
                    <a:pt x="9975559" y="4719714"/>
                    <a:pt x="9956827" y="4729319"/>
                    <a:pt x="9932753" y="4729319"/>
                  </a:cubicBezTo>
                  <a:cubicBezTo>
                    <a:pt x="9910285" y="4729319"/>
                    <a:pt x="9892756" y="4720141"/>
                    <a:pt x="9880168" y="4701785"/>
                  </a:cubicBezTo>
                  <a:cubicBezTo>
                    <a:pt x="9867579" y="4683429"/>
                    <a:pt x="9861285" y="4656898"/>
                    <a:pt x="9861285" y="4622192"/>
                  </a:cubicBezTo>
                  <a:cubicBezTo>
                    <a:pt x="9861285" y="4584076"/>
                    <a:pt x="9867855" y="4555238"/>
                    <a:pt x="9880995" y="4535678"/>
                  </a:cubicBezTo>
                  <a:cubicBezTo>
                    <a:pt x="9894136" y="4516119"/>
                    <a:pt x="9913093" y="4506339"/>
                    <a:pt x="9937869" y="4506339"/>
                  </a:cubicBezTo>
                  <a:close/>
                  <a:moveTo>
                    <a:pt x="9715358" y="4506339"/>
                  </a:moveTo>
                  <a:cubicBezTo>
                    <a:pt x="9762802" y="4506339"/>
                    <a:pt x="9786525" y="4543201"/>
                    <a:pt x="9786525" y="4616926"/>
                  </a:cubicBezTo>
                  <a:cubicBezTo>
                    <a:pt x="9786525" y="4653437"/>
                    <a:pt x="9779829" y="4681297"/>
                    <a:pt x="9766439" y="4700506"/>
                  </a:cubicBezTo>
                  <a:cubicBezTo>
                    <a:pt x="9753048" y="4719714"/>
                    <a:pt x="9734316" y="4729319"/>
                    <a:pt x="9710242" y="4729319"/>
                  </a:cubicBezTo>
                  <a:cubicBezTo>
                    <a:pt x="9687774" y="4729319"/>
                    <a:pt x="9670245" y="4720141"/>
                    <a:pt x="9657657" y="4701785"/>
                  </a:cubicBezTo>
                  <a:cubicBezTo>
                    <a:pt x="9645068" y="4683429"/>
                    <a:pt x="9638774" y="4656898"/>
                    <a:pt x="9638774" y="4622192"/>
                  </a:cubicBezTo>
                  <a:cubicBezTo>
                    <a:pt x="9638774" y="4584076"/>
                    <a:pt x="9645344" y="4555238"/>
                    <a:pt x="9658484" y="4535678"/>
                  </a:cubicBezTo>
                  <a:cubicBezTo>
                    <a:pt x="9671625" y="4516119"/>
                    <a:pt x="9690582" y="4506339"/>
                    <a:pt x="9715358" y="4506339"/>
                  </a:cubicBezTo>
                  <a:close/>
                  <a:moveTo>
                    <a:pt x="9557012" y="4506339"/>
                  </a:moveTo>
                  <a:lnTo>
                    <a:pt x="9571918" y="4506339"/>
                  </a:lnTo>
                  <a:lnTo>
                    <a:pt x="9571918" y="4729319"/>
                  </a:lnTo>
                  <a:lnTo>
                    <a:pt x="9536630" y="4729319"/>
                  </a:lnTo>
                  <a:lnTo>
                    <a:pt x="9536630" y="4549535"/>
                  </a:lnTo>
                  <a:cubicBezTo>
                    <a:pt x="9530242" y="4554098"/>
                    <a:pt x="9523372" y="4557977"/>
                    <a:pt x="9516021" y="4561171"/>
                  </a:cubicBezTo>
                  <a:cubicBezTo>
                    <a:pt x="9508669" y="4564365"/>
                    <a:pt x="9500278" y="4567179"/>
                    <a:pt x="9490848" y="4569613"/>
                  </a:cubicBezTo>
                  <a:lnTo>
                    <a:pt x="9490848" y="4539497"/>
                  </a:lnTo>
                  <a:cubicBezTo>
                    <a:pt x="9496729" y="4537570"/>
                    <a:pt x="9502408" y="4535542"/>
                    <a:pt x="9507883" y="4533413"/>
                  </a:cubicBezTo>
                  <a:cubicBezTo>
                    <a:pt x="9513359" y="4531284"/>
                    <a:pt x="9518759" y="4528900"/>
                    <a:pt x="9524082" y="4526264"/>
                  </a:cubicBezTo>
                  <a:cubicBezTo>
                    <a:pt x="9529406" y="4523628"/>
                    <a:pt x="9534780" y="4520687"/>
                    <a:pt x="9540205" y="4517442"/>
                  </a:cubicBezTo>
                  <a:cubicBezTo>
                    <a:pt x="9545630" y="4514197"/>
                    <a:pt x="9551232" y="4510496"/>
                    <a:pt x="9557012" y="4506339"/>
                  </a:cubicBezTo>
                  <a:close/>
                  <a:moveTo>
                    <a:pt x="9254256" y="4506339"/>
                  </a:moveTo>
                  <a:lnTo>
                    <a:pt x="9269162" y="4506339"/>
                  </a:lnTo>
                  <a:lnTo>
                    <a:pt x="9269162" y="4729319"/>
                  </a:lnTo>
                  <a:lnTo>
                    <a:pt x="9233874" y="4729319"/>
                  </a:lnTo>
                  <a:lnTo>
                    <a:pt x="9233874" y="4549535"/>
                  </a:lnTo>
                  <a:cubicBezTo>
                    <a:pt x="9227486" y="4554098"/>
                    <a:pt x="9220616" y="4557977"/>
                    <a:pt x="9213265" y="4561171"/>
                  </a:cubicBezTo>
                  <a:cubicBezTo>
                    <a:pt x="9205913" y="4564365"/>
                    <a:pt x="9197522" y="4567179"/>
                    <a:pt x="9188092" y="4569613"/>
                  </a:cubicBezTo>
                  <a:lnTo>
                    <a:pt x="9188092" y="4539497"/>
                  </a:lnTo>
                  <a:cubicBezTo>
                    <a:pt x="9193973" y="4537570"/>
                    <a:pt x="9199652" y="4535542"/>
                    <a:pt x="9205127" y="4533413"/>
                  </a:cubicBezTo>
                  <a:cubicBezTo>
                    <a:pt x="9210603" y="4531284"/>
                    <a:pt x="9216003" y="4528900"/>
                    <a:pt x="9221326" y="4526264"/>
                  </a:cubicBezTo>
                  <a:cubicBezTo>
                    <a:pt x="9226650" y="4523628"/>
                    <a:pt x="9232024" y="4520687"/>
                    <a:pt x="9237449" y="4517442"/>
                  </a:cubicBezTo>
                  <a:cubicBezTo>
                    <a:pt x="9242874" y="4514197"/>
                    <a:pt x="9248476" y="4510496"/>
                    <a:pt x="9254256" y="4506339"/>
                  </a:cubicBezTo>
                  <a:close/>
                  <a:moveTo>
                    <a:pt x="7851748" y="4506339"/>
                  </a:moveTo>
                  <a:lnTo>
                    <a:pt x="7866654" y="4506339"/>
                  </a:lnTo>
                  <a:lnTo>
                    <a:pt x="7866654" y="4729319"/>
                  </a:lnTo>
                  <a:lnTo>
                    <a:pt x="7831366" y="4729319"/>
                  </a:lnTo>
                  <a:lnTo>
                    <a:pt x="7831366" y="4549535"/>
                  </a:lnTo>
                  <a:cubicBezTo>
                    <a:pt x="7824978" y="4554098"/>
                    <a:pt x="7818109" y="4557977"/>
                    <a:pt x="7810757" y="4561171"/>
                  </a:cubicBezTo>
                  <a:cubicBezTo>
                    <a:pt x="7803405" y="4564365"/>
                    <a:pt x="7795015" y="4567179"/>
                    <a:pt x="7785584" y="4569613"/>
                  </a:cubicBezTo>
                  <a:lnTo>
                    <a:pt x="7785584" y="4539497"/>
                  </a:lnTo>
                  <a:cubicBezTo>
                    <a:pt x="7791465" y="4537570"/>
                    <a:pt x="7797144" y="4535542"/>
                    <a:pt x="7802619" y="4533413"/>
                  </a:cubicBezTo>
                  <a:cubicBezTo>
                    <a:pt x="7808095" y="4531284"/>
                    <a:pt x="7813495" y="4528900"/>
                    <a:pt x="7818818" y="4526264"/>
                  </a:cubicBezTo>
                  <a:cubicBezTo>
                    <a:pt x="7824142" y="4523628"/>
                    <a:pt x="7829516" y="4520687"/>
                    <a:pt x="7834941" y="4517442"/>
                  </a:cubicBezTo>
                  <a:cubicBezTo>
                    <a:pt x="7840366" y="4514197"/>
                    <a:pt x="7845968" y="4510496"/>
                    <a:pt x="7851748" y="4506339"/>
                  </a:cubicBezTo>
                  <a:close/>
                  <a:moveTo>
                    <a:pt x="7413731" y="4506339"/>
                  </a:moveTo>
                  <a:lnTo>
                    <a:pt x="7428637" y="4506339"/>
                  </a:lnTo>
                  <a:lnTo>
                    <a:pt x="7428637" y="4729319"/>
                  </a:lnTo>
                  <a:lnTo>
                    <a:pt x="7393349" y="4729319"/>
                  </a:lnTo>
                  <a:lnTo>
                    <a:pt x="7393349" y="4549535"/>
                  </a:lnTo>
                  <a:cubicBezTo>
                    <a:pt x="7386961" y="4554098"/>
                    <a:pt x="7380092" y="4557977"/>
                    <a:pt x="7372740" y="4561171"/>
                  </a:cubicBezTo>
                  <a:cubicBezTo>
                    <a:pt x="7365388" y="4564365"/>
                    <a:pt x="7356998" y="4567179"/>
                    <a:pt x="7347567" y="4569613"/>
                  </a:cubicBezTo>
                  <a:lnTo>
                    <a:pt x="7347567" y="4539497"/>
                  </a:lnTo>
                  <a:cubicBezTo>
                    <a:pt x="7353448" y="4537570"/>
                    <a:pt x="7359127" y="4535542"/>
                    <a:pt x="7364602" y="4533413"/>
                  </a:cubicBezTo>
                  <a:cubicBezTo>
                    <a:pt x="7370078" y="4531284"/>
                    <a:pt x="7375478" y="4528900"/>
                    <a:pt x="7380801" y="4526264"/>
                  </a:cubicBezTo>
                  <a:cubicBezTo>
                    <a:pt x="7386125" y="4523628"/>
                    <a:pt x="7391499" y="4520687"/>
                    <a:pt x="7396924" y="4517442"/>
                  </a:cubicBezTo>
                  <a:cubicBezTo>
                    <a:pt x="7402349" y="4514197"/>
                    <a:pt x="7407951" y="4510496"/>
                    <a:pt x="7413731" y="4506339"/>
                  </a:cubicBezTo>
                  <a:close/>
                  <a:moveTo>
                    <a:pt x="7015147" y="4506339"/>
                  </a:moveTo>
                  <a:lnTo>
                    <a:pt x="7030053" y="4506339"/>
                  </a:lnTo>
                  <a:lnTo>
                    <a:pt x="7030053" y="4729319"/>
                  </a:lnTo>
                  <a:lnTo>
                    <a:pt x="6994765" y="4729319"/>
                  </a:lnTo>
                  <a:lnTo>
                    <a:pt x="6994765" y="4549535"/>
                  </a:lnTo>
                  <a:cubicBezTo>
                    <a:pt x="6988377" y="4554098"/>
                    <a:pt x="6981508" y="4557977"/>
                    <a:pt x="6974156" y="4561171"/>
                  </a:cubicBezTo>
                  <a:cubicBezTo>
                    <a:pt x="6966804" y="4564365"/>
                    <a:pt x="6958414" y="4567179"/>
                    <a:pt x="6948983" y="4569613"/>
                  </a:cubicBezTo>
                  <a:lnTo>
                    <a:pt x="6948983" y="4539497"/>
                  </a:lnTo>
                  <a:cubicBezTo>
                    <a:pt x="6954864" y="4537570"/>
                    <a:pt x="6960543" y="4535542"/>
                    <a:pt x="6966018" y="4533413"/>
                  </a:cubicBezTo>
                  <a:cubicBezTo>
                    <a:pt x="6971494" y="4531284"/>
                    <a:pt x="6976894" y="4528900"/>
                    <a:pt x="6982217" y="4526264"/>
                  </a:cubicBezTo>
                  <a:cubicBezTo>
                    <a:pt x="6987541" y="4523628"/>
                    <a:pt x="6992915" y="4520687"/>
                    <a:pt x="6998340" y="4517442"/>
                  </a:cubicBezTo>
                  <a:cubicBezTo>
                    <a:pt x="7003765" y="4514197"/>
                    <a:pt x="7009367" y="4510496"/>
                    <a:pt x="7015147" y="4506339"/>
                  </a:cubicBezTo>
                  <a:close/>
                  <a:moveTo>
                    <a:pt x="6727931" y="4506339"/>
                  </a:moveTo>
                  <a:lnTo>
                    <a:pt x="6742837" y="4506339"/>
                  </a:lnTo>
                  <a:lnTo>
                    <a:pt x="6742837" y="4729319"/>
                  </a:lnTo>
                  <a:lnTo>
                    <a:pt x="6707549" y="4729319"/>
                  </a:lnTo>
                  <a:lnTo>
                    <a:pt x="6707549" y="4549535"/>
                  </a:lnTo>
                  <a:cubicBezTo>
                    <a:pt x="6701161" y="4554098"/>
                    <a:pt x="6694292" y="4557977"/>
                    <a:pt x="6686940" y="4561171"/>
                  </a:cubicBezTo>
                  <a:cubicBezTo>
                    <a:pt x="6679588" y="4564365"/>
                    <a:pt x="6671198" y="4567179"/>
                    <a:pt x="6661767" y="4569613"/>
                  </a:cubicBezTo>
                  <a:lnTo>
                    <a:pt x="6661767" y="4539497"/>
                  </a:lnTo>
                  <a:cubicBezTo>
                    <a:pt x="6667648" y="4537570"/>
                    <a:pt x="6673327" y="4535542"/>
                    <a:pt x="6678802" y="4533413"/>
                  </a:cubicBezTo>
                  <a:cubicBezTo>
                    <a:pt x="6684278" y="4531284"/>
                    <a:pt x="6689678" y="4528900"/>
                    <a:pt x="6695001" y="4526264"/>
                  </a:cubicBezTo>
                  <a:cubicBezTo>
                    <a:pt x="6700325" y="4523628"/>
                    <a:pt x="6705699" y="4520687"/>
                    <a:pt x="6711124" y="4517442"/>
                  </a:cubicBezTo>
                  <a:cubicBezTo>
                    <a:pt x="6716549" y="4514197"/>
                    <a:pt x="6722151" y="4510496"/>
                    <a:pt x="6727931" y="4506339"/>
                  </a:cubicBezTo>
                  <a:close/>
                  <a:moveTo>
                    <a:pt x="6584323" y="4506339"/>
                  </a:moveTo>
                  <a:lnTo>
                    <a:pt x="6599229" y="4506339"/>
                  </a:lnTo>
                  <a:lnTo>
                    <a:pt x="6599229" y="4729319"/>
                  </a:lnTo>
                  <a:lnTo>
                    <a:pt x="6563941" y="4729319"/>
                  </a:lnTo>
                  <a:lnTo>
                    <a:pt x="6563941" y="4549535"/>
                  </a:lnTo>
                  <a:cubicBezTo>
                    <a:pt x="6557553" y="4554098"/>
                    <a:pt x="6550684" y="4557977"/>
                    <a:pt x="6543332" y="4561171"/>
                  </a:cubicBezTo>
                  <a:cubicBezTo>
                    <a:pt x="6535980" y="4564365"/>
                    <a:pt x="6527590" y="4567179"/>
                    <a:pt x="6518159" y="4569613"/>
                  </a:cubicBezTo>
                  <a:lnTo>
                    <a:pt x="6518159" y="4539497"/>
                  </a:lnTo>
                  <a:cubicBezTo>
                    <a:pt x="6524040" y="4537570"/>
                    <a:pt x="6529719" y="4535542"/>
                    <a:pt x="6535194" y="4533413"/>
                  </a:cubicBezTo>
                  <a:cubicBezTo>
                    <a:pt x="6540670" y="4531284"/>
                    <a:pt x="6546070" y="4528900"/>
                    <a:pt x="6551393" y="4526264"/>
                  </a:cubicBezTo>
                  <a:cubicBezTo>
                    <a:pt x="6556717" y="4523628"/>
                    <a:pt x="6562091" y="4520687"/>
                    <a:pt x="6567516" y="4517442"/>
                  </a:cubicBezTo>
                  <a:cubicBezTo>
                    <a:pt x="6572941" y="4514197"/>
                    <a:pt x="6578543" y="4510496"/>
                    <a:pt x="6584323" y="4506339"/>
                  </a:cubicBezTo>
                  <a:close/>
                  <a:moveTo>
                    <a:pt x="6373956" y="4506339"/>
                  </a:moveTo>
                  <a:cubicBezTo>
                    <a:pt x="6421401" y="4506339"/>
                    <a:pt x="6445123" y="4543201"/>
                    <a:pt x="6445123" y="4616926"/>
                  </a:cubicBezTo>
                  <a:cubicBezTo>
                    <a:pt x="6445123" y="4653437"/>
                    <a:pt x="6438428" y="4681297"/>
                    <a:pt x="6425037" y="4700506"/>
                  </a:cubicBezTo>
                  <a:cubicBezTo>
                    <a:pt x="6411646" y="4719714"/>
                    <a:pt x="6392914" y="4729319"/>
                    <a:pt x="6368840" y="4729319"/>
                  </a:cubicBezTo>
                  <a:cubicBezTo>
                    <a:pt x="6346372" y="4729319"/>
                    <a:pt x="6328843" y="4720141"/>
                    <a:pt x="6316255" y="4701785"/>
                  </a:cubicBezTo>
                  <a:cubicBezTo>
                    <a:pt x="6303666" y="4683429"/>
                    <a:pt x="6297372" y="4656898"/>
                    <a:pt x="6297372" y="4622192"/>
                  </a:cubicBezTo>
                  <a:cubicBezTo>
                    <a:pt x="6297372" y="4584076"/>
                    <a:pt x="6303942" y="4555238"/>
                    <a:pt x="6317082" y="4535678"/>
                  </a:cubicBezTo>
                  <a:cubicBezTo>
                    <a:pt x="6330223" y="4516119"/>
                    <a:pt x="6349180" y="4506339"/>
                    <a:pt x="6373956" y="4506339"/>
                  </a:cubicBezTo>
                  <a:close/>
                  <a:moveTo>
                    <a:pt x="5975659" y="4506339"/>
                  </a:moveTo>
                  <a:lnTo>
                    <a:pt x="5990568" y="4506339"/>
                  </a:lnTo>
                  <a:lnTo>
                    <a:pt x="5990568" y="4729319"/>
                  </a:lnTo>
                  <a:lnTo>
                    <a:pt x="5955278" y="4729319"/>
                  </a:lnTo>
                  <a:lnTo>
                    <a:pt x="5955278" y="4549535"/>
                  </a:lnTo>
                  <a:cubicBezTo>
                    <a:pt x="5948891" y="4554098"/>
                    <a:pt x="5942020" y="4557977"/>
                    <a:pt x="5934669" y="4561171"/>
                  </a:cubicBezTo>
                  <a:cubicBezTo>
                    <a:pt x="5927317" y="4564365"/>
                    <a:pt x="5918927" y="4567179"/>
                    <a:pt x="5909498" y="4569613"/>
                  </a:cubicBezTo>
                  <a:lnTo>
                    <a:pt x="5909498" y="4539497"/>
                  </a:lnTo>
                  <a:cubicBezTo>
                    <a:pt x="5915377" y="4537570"/>
                    <a:pt x="5921055" y="4535542"/>
                    <a:pt x="5926531" y="4533413"/>
                  </a:cubicBezTo>
                  <a:cubicBezTo>
                    <a:pt x="5932007" y="4531284"/>
                    <a:pt x="5937407" y="4528900"/>
                    <a:pt x="5942730" y="4526264"/>
                  </a:cubicBezTo>
                  <a:cubicBezTo>
                    <a:pt x="5948054" y="4523628"/>
                    <a:pt x="5953429" y="4520687"/>
                    <a:pt x="5958852" y="4517442"/>
                  </a:cubicBezTo>
                  <a:cubicBezTo>
                    <a:pt x="5964279" y="4514197"/>
                    <a:pt x="5969881" y="4510496"/>
                    <a:pt x="5975659" y="4506339"/>
                  </a:cubicBezTo>
                  <a:close/>
                  <a:moveTo>
                    <a:pt x="5786272" y="4506339"/>
                  </a:moveTo>
                  <a:cubicBezTo>
                    <a:pt x="5833719" y="4506339"/>
                    <a:pt x="5857440" y="4543201"/>
                    <a:pt x="5857440" y="4616926"/>
                  </a:cubicBezTo>
                  <a:cubicBezTo>
                    <a:pt x="5857440" y="4653437"/>
                    <a:pt x="5850744" y="4681297"/>
                    <a:pt x="5837355" y="4700506"/>
                  </a:cubicBezTo>
                  <a:cubicBezTo>
                    <a:pt x="5823963" y="4719714"/>
                    <a:pt x="5805230" y="4729319"/>
                    <a:pt x="5781158" y="4729319"/>
                  </a:cubicBezTo>
                  <a:cubicBezTo>
                    <a:pt x="5758689" y="4729319"/>
                    <a:pt x="5741161" y="4720141"/>
                    <a:pt x="5728572" y="4701785"/>
                  </a:cubicBezTo>
                  <a:cubicBezTo>
                    <a:pt x="5715984" y="4683429"/>
                    <a:pt x="5709690" y="4656898"/>
                    <a:pt x="5709690" y="4622192"/>
                  </a:cubicBezTo>
                  <a:cubicBezTo>
                    <a:pt x="5709690" y="4584076"/>
                    <a:pt x="5716259" y="4555238"/>
                    <a:pt x="5729400" y="4535678"/>
                  </a:cubicBezTo>
                  <a:cubicBezTo>
                    <a:pt x="5742540" y="4516119"/>
                    <a:pt x="5761498" y="4506339"/>
                    <a:pt x="5786272" y="4506339"/>
                  </a:cubicBezTo>
                  <a:close/>
                  <a:moveTo>
                    <a:pt x="5093284" y="4506339"/>
                  </a:moveTo>
                  <a:cubicBezTo>
                    <a:pt x="5140729" y="4506339"/>
                    <a:pt x="5164451" y="4543201"/>
                    <a:pt x="5164451" y="4616926"/>
                  </a:cubicBezTo>
                  <a:cubicBezTo>
                    <a:pt x="5164451" y="4653437"/>
                    <a:pt x="5157756" y="4681297"/>
                    <a:pt x="5144364" y="4700506"/>
                  </a:cubicBezTo>
                  <a:cubicBezTo>
                    <a:pt x="5130974" y="4719714"/>
                    <a:pt x="5112242" y="4729319"/>
                    <a:pt x="5088168" y="4729319"/>
                  </a:cubicBezTo>
                  <a:cubicBezTo>
                    <a:pt x="5065701" y="4729319"/>
                    <a:pt x="5048170" y="4720141"/>
                    <a:pt x="5035583" y="4701785"/>
                  </a:cubicBezTo>
                  <a:cubicBezTo>
                    <a:pt x="5022994" y="4683429"/>
                    <a:pt x="5016700" y="4656898"/>
                    <a:pt x="5016700" y="4622192"/>
                  </a:cubicBezTo>
                  <a:cubicBezTo>
                    <a:pt x="5016700" y="4584076"/>
                    <a:pt x="5023271" y="4555238"/>
                    <a:pt x="5036410" y="4535678"/>
                  </a:cubicBezTo>
                  <a:cubicBezTo>
                    <a:pt x="5049553" y="4516119"/>
                    <a:pt x="5068509" y="4506339"/>
                    <a:pt x="5093284" y="4506339"/>
                  </a:cubicBezTo>
                  <a:close/>
                  <a:moveTo>
                    <a:pt x="4694968" y="4506339"/>
                  </a:moveTo>
                  <a:lnTo>
                    <a:pt x="4709876" y="4506339"/>
                  </a:lnTo>
                  <a:lnTo>
                    <a:pt x="4709876" y="4729319"/>
                  </a:lnTo>
                  <a:lnTo>
                    <a:pt x="4674589" y="4729319"/>
                  </a:lnTo>
                  <a:lnTo>
                    <a:pt x="4674589" y="4549535"/>
                  </a:lnTo>
                  <a:cubicBezTo>
                    <a:pt x="4668200" y="4554098"/>
                    <a:pt x="4661331" y="4557977"/>
                    <a:pt x="4653978" y="4561171"/>
                  </a:cubicBezTo>
                  <a:cubicBezTo>
                    <a:pt x="4646628" y="4564365"/>
                    <a:pt x="4638236" y="4567179"/>
                    <a:pt x="4628805" y="4569613"/>
                  </a:cubicBezTo>
                  <a:lnTo>
                    <a:pt x="4628805" y="4539497"/>
                  </a:lnTo>
                  <a:cubicBezTo>
                    <a:pt x="4634687" y="4537570"/>
                    <a:pt x="4640364" y="4535542"/>
                    <a:pt x="4645841" y="4533413"/>
                  </a:cubicBezTo>
                  <a:cubicBezTo>
                    <a:pt x="4651316" y="4531284"/>
                    <a:pt x="4656717" y="4528900"/>
                    <a:pt x="4662040" y="4526264"/>
                  </a:cubicBezTo>
                  <a:cubicBezTo>
                    <a:pt x="4667363" y="4523628"/>
                    <a:pt x="4672738" y="4520687"/>
                    <a:pt x="4678162" y="4517442"/>
                  </a:cubicBezTo>
                  <a:cubicBezTo>
                    <a:pt x="4683588" y="4514197"/>
                    <a:pt x="4689190" y="4510496"/>
                    <a:pt x="4694968" y="4506339"/>
                  </a:cubicBezTo>
                  <a:close/>
                  <a:moveTo>
                    <a:pt x="4345906" y="4506339"/>
                  </a:moveTo>
                  <a:lnTo>
                    <a:pt x="4360813" y="4506339"/>
                  </a:lnTo>
                  <a:lnTo>
                    <a:pt x="4360813" y="4729319"/>
                  </a:lnTo>
                  <a:lnTo>
                    <a:pt x="4325525" y="4729319"/>
                  </a:lnTo>
                  <a:lnTo>
                    <a:pt x="4325525" y="4549535"/>
                  </a:lnTo>
                  <a:cubicBezTo>
                    <a:pt x="4319138" y="4554098"/>
                    <a:pt x="4312268" y="4557977"/>
                    <a:pt x="4304915" y="4561171"/>
                  </a:cubicBezTo>
                  <a:cubicBezTo>
                    <a:pt x="4297564" y="4564365"/>
                    <a:pt x="4289174" y="4567179"/>
                    <a:pt x="4279743" y="4569613"/>
                  </a:cubicBezTo>
                  <a:lnTo>
                    <a:pt x="4279743" y="4539497"/>
                  </a:lnTo>
                  <a:cubicBezTo>
                    <a:pt x="4285625" y="4537570"/>
                    <a:pt x="4291302" y="4535542"/>
                    <a:pt x="4296778" y="4533413"/>
                  </a:cubicBezTo>
                  <a:cubicBezTo>
                    <a:pt x="4302254" y="4531284"/>
                    <a:pt x="4307653" y="4528900"/>
                    <a:pt x="4312977" y="4526264"/>
                  </a:cubicBezTo>
                  <a:cubicBezTo>
                    <a:pt x="4318300" y="4523628"/>
                    <a:pt x="4323675" y="4520687"/>
                    <a:pt x="4329099" y="4517442"/>
                  </a:cubicBezTo>
                  <a:cubicBezTo>
                    <a:pt x="4334525" y="4514197"/>
                    <a:pt x="4340127" y="4510496"/>
                    <a:pt x="4345906" y="4506339"/>
                  </a:cubicBezTo>
                  <a:close/>
                  <a:moveTo>
                    <a:pt x="3839047" y="4506339"/>
                  </a:moveTo>
                  <a:cubicBezTo>
                    <a:pt x="3886491" y="4506339"/>
                    <a:pt x="3910214" y="4543201"/>
                    <a:pt x="3910214" y="4616926"/>
                  </a:cubicBezTo>
                  <a:cubicBezTo>
                    <a:pt x="3910214" y="4653437"/>
                    <a:pt x="3903519" y="4681297"/>
                    <a:pt x="3890128" y="4700506"/>
                  </a:cubicBezTo>
                  <a:cubicBezTo>
                    <a:pt x="3876737" y="4719714"/>
                    <a:pt x="3858005" y="4729319"/>
                    <a:pt x="3833931" y="4729319"/>
                  </a:cubicBezTo>
                  <a:cubicBezTo>
                    <a:pt x="3811463" y="4729319"/>
                    <a:pt x="3793934" y="4720141"/>
                    <a:pt x="3781346" y="4701785"/>
                  </a:cubicBezTo>
                  <a:cubicBezTo>
                    <a:pt x="3768757" y="4683429"/>
                    <a:pt x="3762464" y="4656898"/>
                    <a:pt x="3762464" y="4622192"/>
                  </a:cubicBezTo>
                  <a:cubicBezTo>
                    <a:pt x="3762464" y="4584076"/>
                    <a:pt x="3769034" y="4555238"/>
                    <a:pt x="3782173" y="4535678"/>
                  </a:cubicBezTo>
                  <a:cubicBezTo>
                    <a:pt x="3795313" y="4516119"/>
                    <a:pt x="3814271" y="4506339"/>
                    <a:pt x="3839047" y="4506339"/>
                  </a:cubicBezTo>
                  <a:close/>
                  <a:moveTo>
                    <a:pt x="3616537" y="4506339"/>
                  </a:moveTo>
                  <a:cubicBezTo>
                    <a:pt x="3663981" y="4506339"/>
                    <a:pt x="3687703" y="4543201"/>
                    <a:pt x="3687703" y="4616926"/>
                  </a:cubicBezTo>
                  <a:cubicBezTo>
                    <a:pt x="3687703" y="4653437"/>
                    <a:pt x="3681008" y="4681297"/>
                    <a:pt x="3667617" y="4700506"/>
                  </a:cubicBezTo>
                  <a:cubicBezTo>
                    <a:pt x="3654226" y="4719714"/>
                    <a:pt x="3635494" y="4729319"/>
                    <a:pt x="3611420" y="4729319"/>
                  </a:cubicBezTo>
                  <a:cubicBezTo>
                    <a:pt x="3588952" y="4729319"/>
                    <a:pt x="3571422" y="4720141"/>
                    <a:pt x="3558835" y="4701785"/>
                  </a:cubicBezTo>
                  <a:cubicBezTo>
                    <a:pt x="3546246" y="4683429"/>
                    <a:pt x="3539952" y="4656898"/>
                    <a:pt x="3539952" y="4622192"/>
                  </a:cubicBezTo>
                  <a:cubicBezTo>
                    <a:pt x="3539952" y="4584076"/>
                    <a:pt x="3546522" y="4555238"/>
                    <a:pt x="3559662" y="4535678"/>
                  </a:cubicBezTo>
                  <a:cubicBezTo>
                    <a:pt x="3572804" y="4516119"/>
                    <a:pt x="3591760" y="4506339"/>
                    <a:pt x="3616537" y="4506339"/>
                  </a:cubicBezTo>
                  <a:close/>
                  <a:moveTo>
                    <a:pt x="3454863" y="4506339"/>
                  </a:moveTo>
                  <a:lnTo>
                    <a:pt x="3469768" y="4506339"/>
                  </a:lnTo>
                  <a:lnTo>
                    <a:pt x="3469768" y="4729319"/>
                  </a:lnTo>
                  <a:lnTo>
                    <a:pt x="3434481" y="4729319"/>
                  </a:lnTo>
                  <a:lnTo>
                    <a:pt x="3434481" y="4549535"/>
                  </a:lnTo>
                  <a:cubicBezTo>
                    <a:pt x="3428092" y="4554098"/>
                    <a:pt x="3421223" y="4557977"/>
                    <a:pt x="3413872" y="4561171"/>
                  </a:cubicBezTo>
                  <a:cubicBezTo>
                    <a:pt x="3406519" y="4564365"/>
                    <a:pt x="3398129" y="4567179"/>
                    <a:pt x="3388698" y="4569613"/>
                  </a:cubicBezTo>
                  <a:lnTo>
                    <a:pt x="3388698" y="4539497"/>
                  </a:lnTo>
                  <a:cubicBezTo>
                    <a:pt x="3394580" y="4537570"/>
                    <a:pt x="3400259" y="4535542"/>
                    <a:pt x="3405734" y="4533413"/>
                  </a:cubicBezTo>
                  <a:cubicBezTo>
                    <a:pt x="3411209" y="4531284"/>
                    <a:pt x="3416609" y="4528900"/>
                    <a:pt x="3421933" y="4526264"/>
                  </a:cubicBezTo>
                  <a:cubicBezTo>
                    <a:pt x="3427256" y="4523628"/>
                    <a:pt x="3432632" y="4520687"/>
                    <a:pt x="3438054" y="4517442"/>
                  </a:cubicBezTo>
                  <a:cubicBezTo>
                    <a:pt x="3443480" y="4514197"/>
                    <a:pt x="3449083" y="4510496"/>
                    <a:pt x="3454863" y="4506339"/>
                  </a:cubicBezTo>
                  <a:close/>
                  <a:moveTo>
                    <a:pt x="3158682" y="4506339"/>
                  </a:moveTo>
                  <a:lnTo>
                    <a:pt x="3173587" y="4506339"/>
                  </a:lnTo>
                  <a:lnTo>
                    <a:pt x="3173587" y="4729319"/>
                  </a:lnTo>
                  <a:lnTo>
                    <a:pt x="3138299" y="4729319"/>
                  </a:lnTo>
                  <a:lnTo>
                    <a:pt x="3138299" y="4549536"/>
                  </a:lnTo>
                  <a:cubicBezTo>
                    <a:pt x="3131912" y="4554099"/>
                    <a:pt x="3125042" y="4557977"/>
                    <a:pt x="3117690" y="4561172"/>
                  </a:cubicBezTo>
                  <a:cubicBezTo>
                    <a:pt x="3110339" y="4564366"/>
                    <a:pt x="3101948" y="4567179"/>
                    <a:pt x="3092517" y="4569613"/>
                  </a:cubicBezTo>
                  <a:lnTo>
                    <a:pt x="3092517" y="4539497"/>
                  </a:lnTo>
                  <a:cubicBezTo>
                    <a:pt x="3098398" y="4537571"/>
                    <a:pt x="3104077" y="4535543"/>
                    <a:pt x="3109553" y="4533413"/>
                  </a:cubicBezTo>
                  <a:cubicBezTo>
                    <a:pt x="3115028" y="4531284"/>
                    <a:pt x="3120428" y="4528901"/>
                    <a:pt x="3125751" y="4526264"/>
                  </a:cubicBezTo>
                  <a:cubicBezTo>
                    <a:pt x="3131075" y="4523628"/>
                    <a:pt x="3136449" y="4520687"/>
                    <a:pt x="3141875" y="4517443"/>
                  </a:cubicBezTo>
                  <a:cubicBezTo>
                    <a:pt x="3147300" y="4514198"/>
                    <a:pt x="3152901" y="4510497"/>
                    <a:pt x="3158682" y="4506339"/>
                  </a:cubicBezTo>
                  <a:close/>
                  <a:moveTo>
                    <a:pt x="2489154" y="4506339"/>
                  </a:moveTo>
                  <a:lnTo>
                    <a:pt x="2504060" y="4506339"/>
                  </a:lnTo>
                  <a:lnTo>
                    <a:pt x="2504060" y="4729319"/>
                  </a:lnTo>
                  <a:lnTo>
                    <a:pt x="2468772" y="4729319"/>
                  </a:lnTo>
                  <a:lnTo>
                    <a:pt x="2468772" y="4549536"/>
                  </a:lnTo>
                  <a:cubicBezTo>
                    <a:pt x="2462385" y="4554099"/>
                    <a:pt x="2455514" y="4557977"/>
                    <a:pt x="2448163" y="4561172"/>
                  </a:cubicBezTo>
                  <a:cubicBezTo>
                    <a:pt x="2440812" y="4564366"/>
                    <a:pt x="2432420" y="4567179"/>
                    <a:pt x="2422990" y="4569613"/>
                  </a:cubicBezTo>
                  <a:lnTo>
                    <a:pt x="2422990" y="4539497"/>
                  </a:lnTo>
                  <a:cubicBezTo>
                    <a:pt x="2428871" y="4537571"/>
                    <a:pt x="2434551" y="4535543"/>
                    <a:pt x="2440025" y="4533413"/>
                  </a:cubicBezTo>
                  <a:cubicBezTo>
                    <a:pt x="2445502" y="4531284"/>
                    <a:pt x="2450900" y="4528901"/>
                    <a:pt x="2456224" y="4526264"/>
                  </a:cubicBezTo>
                  <a:cubicBezTo>
                    <a:pt x="2461549" y="4523628"/>
                    <a:pt x="2466922" y="4520687"/>
                    <a:pt x="2472346" y="4517443"/>
                  </a:cubicBezTo>
                  <a:cubicBezTo>
                    <a:pt x="2477772" y="4514198"/>
                    <a:pt x="2483374" y="4510497"/>
                    <a:pt x="2489154" y="4506339"/>
                  </a:cubicBezTo>
                  <a:close/>
                  <a:moveTo>
                    <a:pt x="1599916" y="4506339"/>
                  </a:moveTo>
                  <a:lnTo>
                    <a:pt x="1614822" y="4506339"/>
                  </a:lnTo>
                  <a:lnTo>
                    <a:pt x="1614822" y="4729319"/>
                  </a:lnTo>
                  <a:lnTo>
                    <a:pt x="1579534" y="4729319"/>
                  </a:lnTo>
                  <a:lnTo>
                    <a:pt x="1579534" y="4549536"/>
                  </a:lnTo>
                  <a:cubicBezTo>
                    <a:pt x="1573146" y="4554099"/>
                    <a:pt x="1566276" y="4557977"/>
                    <a:pt x="1558925" y="4561172"/>
                  </a:cubicBezTo>
                  <a:cubicBezTo>
                    <a:pt x="1551573" y="4564366"/>
                    <a:pt x="1543182" y="4567179"/>
                    <a:pt x="1533752" y="4569613"/>
                  </a:cubicBezTo>
                  <a:lnTo>
                    <a:pt x="1533752" y="4539497"/>
                  </a:lnTo>
                  <a:cubicBezTo>
                    <a:pt x="1539633" y="4537571"/>
                    <a:pt x="1545312" y="4535543"/>
                    <a:pt x="1550787" y="4533413"/>
                  </a:cubicBezTo>
                  <a:cubicBezTo>
                    <a:pt x="1556263" y="4531284"/>
                    <a:pt x="1561663" y="4528901"/>
                    <a:pt x="1566986" y="4526264"/>
                  </a:cubicBezTo>
                  <a:cubicBezTo>
                    <a:pt x="1572310" y="4523628"/>
                    <a:pt x="1577684" y="4520687"/>
                    <a:pt x="1583109" y="4517443"/>
                  </a:cubicBezTo>
                  <a:cubicBezTo>
                    <a:pt x="1588534" y="4514198"/>
                    <a:pt x="1594136" y="4510497"/>
                    <a:pt x="1599916" y="4506339"/>
                  </a:cubicBezTo>
                  <a:close/>
                  <a:moveTo>
                    <a:pt x="1302202" y="4506339"/>
                  </a:moveTo>
                  <a:lnTo>
                    <a:pt x="1317108" y="4506339"/>
                  </a:lnTo>
                  <a:lnTo>
                    <a:pt x="1317108" y="4729319"/>
                  </a:lnTo>
                  <a:lnTo>
                    <a:pt x="1281820" y="4729319"/>
                  </a:lnTo>
                  <a:lnTo>
                    <a:pt x="1281820" y="4549536"/>
                  </a:lnTo>
                  <a:cubicBezTo>
                    <a:pt x="1275432" y="4554099"/>
                    <a:pt x="1268562" y="4557977"/>
                    <a:pt x="1261211" y="4561172"/>
                  </a:cubicBezTo>
                  <a:cubicBezTo>
                    <a:pt x="1253859" y="4564366"/>
                    <a:pt x="1245468" y="4567179"/>
                    <a:pt x="1236038" y="4569613"/>
                  </a:cubicBezTo>
                  <a:lnTo>
                    <a:pt x="1236038" y="4539497"/>
                  </a:lnTo>
                  <a:cubicBezTo>
                    <a:pt x="1241919" y="4537571"/>
                    <a:pt x="1247598" y="4535543"/>
                    <a:pt x="1253073" y="4533413"/>
                  </a:cubicBezTo>
                  <a:cubicBezTo>
                    <a:pt x="1258549" y="4531284"/>
                    <a:pt x="1263949" y="4528901"/>
                    <a:pt x="1269272" y="4526264"/>
                  </a:cubicBezTo>
                  <a:cubicBezTo>
                    <a:pt x="1274596" y="4523628"/>
                    <a:pt x="1279970" y="4520687"/>
                    <a:pt x="1285395" y="4517443"/>
                  </a:cubicBezTo>
                  <a:cubicBezTo>
                    <a:pt x="1290820" y="4514198"/>
                    <a:pt x="1296422" y="4510497"/>
                    <a:pt x="1302202" y="4506339"/>
                  </a:cubicBezTo>
                  <a:close/>
                  <a:moveTo>
                    <a:pt x="956133" y="4506339"/>
                  </a:moveTo>
                  <a:cubicBezTo>
                    <a:pt x="1003577" y="4506339"/>
                    <a:pt x="1027300" y="4543202"/>
                    <a:pt x="1027300" y="4616927"/>
                  </a:cubicBezTo>
                  <a:cubicBezTo>
                    <a:pt x="1027300" y="4653438"/>
                    <a:pt x="1020604" y="4681298"/>
                    <a:pt x="1007214" y="4700506"/>
                  </a:cubicBezTo>
                  <a:cubicBezTo>
                    <a:pt x="993823" y="4719715"/>
                    <a:pt x="975091" y="4729319"/>
                    <a:pt x="951017" y="4729319"/>
                  </a:cubicBezTo>
                  <a:cubicBezTo>
                    <a:pt x="928549" y="4729319"/>
                    <a:pt x="911020" y="4720141"/>
                    <a:pt x="898432" y="4701785"/>
                  </a:cubicBezTo>
                  <a:cubicBezTo>
                    <a:pt x="885843" y="4683429"/>
                    <a:pt x="879549" y="4656898"/>
                    <a:pt x="879549" y="4622193"/>
                  </a:cubicBezTo>
                  <a:cubicBezTo>
                    <a:pt x="879549" y="4584076"/>
                    <a:pt x="886119" y="4555239"/>
                    <a:pt x="899259" y="4535679"/>
                  </a:cubicBezTo>
                  <a:cubicBezTo>
                    <a:pt x="912400" y="4516119"/>
                    <a:pt x="931357" y="4506339"/>
                    <a:pt x="956133" y="4506339"/>
                  </a:cubicBezTo>
                  <a:close/>
                  <a:moveTo>
                    <a:pt x="779786" y="4506339"/>
                  </a:moveTo>
                  <a:cubicBezTo>
                    <a:pt x="827230" y="4506339"/>
                    <a:pt x="850953" y="4543202"/>
                    <a:pt x="850953" y="4616927"/>
                  </a:cubicBezTo>
                  <a:cubicBezTo>
                    <a:pt x="850953" y="4653438"/>
                    <a:pt x="844257" y="4681298"/>
                    <a:pt x="830867" y="4700506"/>
                  </a:cubicBezTo>
                  <a:cubicBezTo>
                    <a:pt x="817476" y="4719715"/>
                    <a:pt x="798744" y="4729319"/>
                    <a:pt x="774670" y="4729319"/>
                  </a:cubicBezTo>
                  <a:cubicBezTo>
                    <a:pt x="752202" y="4729319"/>
                    <a:pt x="734673" y="4720141"/>
                    <a:pt x="722085" y="4701785"/>
                  </a:cubicBezTo>
                  <a:cubicBezTo>
                    <a:pt x="709496" y="4683429"/>
                    <a:pt x="703202" y="4656898"/>
                    <a:pt x="703202" y="4622193"/>
                  </a:cubicBezTo>
                  <a:cubicBezTo>
                    <a:pt x="703202" y="4584076"/>
                    <a:pt x="709772" y="4555239"/>
                    <a:pt x="722912" y="4535679"/>
                  </a:cubicBezTo>
                  <a:cubicBezTo>
                    <a:pt x="736053" y="4516119"/>
                    <a:pt x="755010" y="4506339"/>
                    <a:pt x="779786" y="4506339"/>
                  </a:cubicBezTo>
                  <a:close/>
                  <a:moveTo>
                    <a:pt x="629607" y="4506339"/>
                  </a:moveTo>
                  <a:lnTo>
                    <a:pt x="644513" y="4506339"/>
                  </a:lnTo>
                  <a:lnTo>
                    <a:pt x="644513" y="4729319"/>
                  </a:lnTo>
                  <a:lnTo>
                    <a:pt x="609225" y="4729319"/>
                  </a:lnTo>
                  <a:lnTo>
                    <a:pt x="609225" y="4549536"/>
                  </a:lnTo>
                  <a:cubicBezTo>
                    <a:pt x="602837" y="4554099"/>
                    <a:pt x="595967" y="4557977"/>
                    <a:pt x="588616" y="4561172"/>
                  </a:cubicBezTo>
                  <a:cubicBezTo>
                    <a:pt x="581264" y="4564366"/>
                    <a:pt x="572873" y="4567179"/>
                    <a:pt x="563443" y="4569613"/>
                  </a:cubicBezTo>
                  <a:lnTo>
                    <a:pt x="563443" y="4539497"/>
                  </a:lnTo>
                  <a:cubicBezTo>
                    <a:pt x="569324" y="4537571"/>
                    <a:pt x="575003" y="4535543"/>
                    <a:pt x="580478" y="4533413"/>
                  </a:cubicBezTo>
                  <a:cubicBezTo>
                    <a:pt x="585954" y="4531284"/>
                    <a:pt x="591354" y="4528901"/>
                    <a:pt x="596677" y="4526264"/>
                  </a:cubicBezTo>
                  <a:cubicBezTo>
                    <a:pt x="602001" y="4523628"/>
                    <a:pt x="607375" y="4520687"/>
                    <a:pt x="612800" y="4517443"/>
                  </a:cubicBezTo>
                  <a:cubicBezTo>
                    <a:pt x="618225" y="4514198"/>
                    <a:pt x="623827" y="4510497"/>
                    <a:pt x="629607" y="4506339"/>
                  </a:cubicBezTo>
                  <a:close/>
                  <a:moveTo>
                    <a:pt x="480750" y="4506339"/>
                  </a:moveTo>
                  <a:lnTo>
                    <a:pt x="495656" y="4506339"/>
                  </a:lnTo>
                  <a:lnTo>
                    <a:pt x="495656" y="4729319"/>
                  </a:lnTo>
                  <a:lnTo>
                    <a:pt x="460368" y="4729319"/>
                  </a:lnTo>
                  <a:lnTo>
                    <a:pt x="460368" y="4549536"/>
                  </a:lnTo>
                  <a:cubicBezTo>
                    <a:pt x="453980" y="4554099"/>
                    <a:pt x="447110" y="4557977"/>
                    <a:pt x="439759" y="4561172"/>
                  </a:cubicBezTo>
                  <a:cubicBezTo>
                    <a:pt x="432407" y="4564366"/>
                    <a:pt x="424016" y="4567179"/>
                    <a:pt x="414586" y="4569613"/>
                  </a:cubicBezTo>
                  <a:lnTo>
                    <a:pt x="414586" y="4539497"/>
                  </a:lnTo>
                  <a:cubicBezTo>
                    <a:pt x="420467" y="4537571"/>
                    <a:pt x="426146" y="4535543"/>
                    <a:pt x="431621" y="4533413"/>
                  </a:cubicBezTo>
                  <a:cubicBezTo>
                    <a:pt x="437097" y="4531284"/>
                    <a:pt x="442497" y="4528901"/>
                    <a:pt x="447821" y="4526264"/>
                  </a:cubicBezTo>
                  <a:cubicBezTo>
                    <a:pt x="453144" y="4523628"/>
                    <a:pt x="458518" y="4520687"/>
                    <a:pt x="463943" y="4517443"/>
                  </a:cubicBezTo>
                  <a:cubicBezTo>
                    <a:pt x="469368" y="4514198"/>
                    <a:pt x="474970" y="4510497"/>
                    <a:pt x="480750" y="4506339"/>
                  </a:cubicBezTo>
                  <a:close/>
                  <a:moveTo>
                    <a:pt x="142759" y="4506339"/>
                  </a:moveTo>
                  <a:cubicBezTo>
                    <a:pt x="190204" y="4506339"/>
                    <a:pt x="213926" y="4543202"/>
                    <a:pt x="213926" y="4616927"/>
                  </a:cubicBezTo>
                  <a:cubicBezTo>
                    <a:pt x="213926" y="4653438"/>
                    <a:pt x="207231" y="4681298"/>
                    <a:pt x="193840" y="4700506"/>
                  </a:cubicBezTo>
                  <a:cubicBezTo>
                    <a:pt x="180449" y="4719715"/>
                    <a:pt x="161717" y="4729319"/>
                    <a:pt x="137643" y="4729319"/>
                  </a:cubicBezTo>
                  <a:cubicBezTo>
                    <a:pt x="115175" y="4729319"/>
                    <a:pt x="97646" y="4720141"/>
                    <a:pt x="85058" y="4701785"/>
                  </a:cubicBezTo>
                  <a:cubicBezTo>
                    <a:pt x="72470" y="4683429"/>
                    <a:pt x="66175" y="4656898"/>
                    <a:pt x="66175" y="4622193"/>
                  </a:cubicBezTo>
                  <a:cubicBezTo>
                    <a:pt x="66175" y="4584076"/>
                    <a:pt x="72745" y="4555239"/>
                    <a:pt x="85885" y="4535679"/>
                  </a:cubicBezTo>
                  <a:cubicBezTo>
                    <a:pt x="99026" y="4516119"/>
                    <a:pt x="117983" y="4506339"/>
                    <a:pt x="142759" y="4506339"/>
                  </a:cubicBezTo>
                  <a:close/>
                  <a:moveTo>
                    <a:pt x="11874294" y="4186703"/>
                  </a:moveTo>
                  <a:cubicBezTo>
                    <a:pt x="11848114" y="4186703"/>
                    <a:pt x="11835024" y="4215540"/>
                    <a:pt x="11835024" y="4273216"/>
                  </a:cubicBezTo>
                  <a:cubicBezTo>
                    <a:pt x="11835024" y="4327181"/>
                    <a:pt x="11847863" y="4354163"/>
                    <a:pt x="11873542" y="4354163"/>
                  </a:cubicBezTo>
                  <a:cubicBezTo>
                    <a:pt x="11898818" y="4354163"/>
                    <a:pt x="11911457" y="4326729"/>
                    <a:pt x="11911457" y="4271862"/>
                  </a:cubicBezTo>
                  <a:cubicBezTo>
                    <a:pt x="11911457" y="4215089"/>
                    <a:pt x="11899069" y="4186703"/>
                    <a:pt x="11874294" y="4186703"/>
                  </a:cubicBezTo>
                  <a:close/>
                  <a:moveTo>
                    <a:pt x="11189148" y="4186703"/>
                  </a:moveTo>
                  <a:cubicBezTo>
                    <a:pt x="11162968" y="4186703"/>
                    <a:pt x="11149878" y="4215540"/>
                    <a:pt x="11149878" y="4273216"/>
                  </a:cubicBezTo>
                  <a:cubicBezTo>
                    <a:pt x="11149878" y="4327181"/>
                    <a:pt x="11162717" y="4354163"/>
                    <a:pt x="11188396" y="4354163"/>
                  </a:cubicBezTo>
                  <a:cubicBezTo>
                    <a:pt x="11213672" y="4354163"/>
                    <a:pt x="11226311" y="4326729"/>
                    <a:pt x="11226311" y="4271862"/>
                  </a:cubicBezTo>
                  <a:cubicBezTo>
                    <a:pt x="11226311" y="4215089"/>
                    <a:pt x="11213923" y="4186703"/>
                    <a:pt x="11189148" y="4186703"/>
                  </a:cubicBezTo>
                  <a:close/>
                  <a:moveTo>
                    <a:pt x="9936214" y="4186703"/>
                  </a:moveTo>
                  <a:cubicBezTo>
                    <a:pt x="9910034" y="4186703"/>
                    <a:pt x="9896944" y="4215540"/>
                    <a:pt x="9896944" y="4273216"/>
                  </a:cubicBezTo>
                  <a:cubicBezTo>
                    <a:pt x="9896944" y="4327181"/>
                    <a:pt x="9909783" y="4354163"/>
                    <a:pt x="9935462" y="4354163"/>
                  </a:cubicBezTo>
                  <a:cubicBezTo>
                    <a:pt x="9960738" y="4354163"/>
                    <a:pt x="9973377" y="4326729"/>
                    <a:pt x="9973377" y="4271862"/>
                  </a:cubicBezTo>
                  <a:cubicBezTo>
                    <a:pt x="9973377" y="4215089"/>
                    <a:pt x="9960989" y="4186703"/>
                    <a:pt x="9936214" y="4186703"/>
                  </a:cubicBezTo>
                  <a:close/>
                  <a:moveTo>
                    <a:pt x="9713703" y="4186703"/>
                  </a:moveTo>
                  <a:cubicBezTo>
                    <a:pt x="9687523" y="4186703"/>
                    <a:pt x="9674433" y="4215540"/>
                    <a:pt x="9674433" y="4273216"/>
                  </a:cubicBezTo>
                  <a:cubicBezTo>
                    <a:pt x="9674433" y="4327181"/>
                    <a:pt x="9687272" y="4354163"/>
                    <a:pt x="9712951" y="4354163"/>
                  </a:cubicBezTo>
                  <a:cubicBezTo>
                    <a:pt x="9738227" y="4354163"/>
                    <a:pt x="9750866" y="4326729"/>
                    <a:pt x="9750866" y="4271862"/>
                  </a:cubicBezTo>
                  <a:cubicBezTo>
                    <a:pt x="9750866" y="4215089"/>
                    <a:pt x="9738478" y="4186703"/>
                    <a:pt x="9713703" y="4186703"/>
                  </a:cubicBezTo>
                  <a:close/>
                  <a:moveTo>
                    <a:pt x="6372301" y="4186703"/>
                  </a:moveTo>
                  <a:cubicBezTo>
                    <a:pt x="6346121" y="4186703"/>
                    <a:pt x="6333031" y="4215540"/>
                    <a:pt x="6333031" y="4273216"/>
                  </a:cubicBezTo>
                  <a:cubicBezTo>
                    <a:pt x="6333031" y="4327181"/>
                    <a:pt x="6345870" y="4354163"/>
                    <a:pt x="6371549" y="4354163"/>
                  </a:cubicBezTo>
                  <a:cubicBezTo>
                    <a:pt x="6396826" y="4354163"/>
                    <a:pt x="6409464" y="4326729"/>
                    <a:pt x="6409464" y="4271862"/>
                  </a:cubicBezTo>
                  <a:cubicBezTo>
                    <a:pt x="6409464" y="4215089"/>
                    <a:pt x="6397076" y="4186703"/>
                    <a:pt x="6372301" y="4186703"/>
                  </a:cubicBezTo>
                  <a:close/>
                  <a:moveTo>
                    <a:pt x="5784617" y="4186703"/>
                  </a:moveTo>
                  <a:cubicBezTo>
                    <a:pt x="5758439" y="4186703"/>
                    <a:pt x="5745350" y="4215540"/>
                    <a:pt x="5745350" y="4273216"/>
                  </a:cubicBezTo>
                  <a:cubicBezTo>
                    <a:pt x="5745350" y="4327181"/>
                    <a:pt x="5758187" y="4354163"/>
                    <a:pt x="5783865" y="4354163"/>
                  </a:cubicBezTo>
                  <a:cubicBezTo>
                    <a:pt x="5809143" y="4354163"/>
                    <a:pt x="5821781" y="4326729"/>
                    <a:pt x="5821781" y="4271862"/>
                  </a:cubicBezTo>
                  <a:cubicBezTo>
                    <a:pt x="5821781" y="4215089"/>
                    <a:pt x="5809394" y="4186703"/>
                    <a:pt x="5784617" y="4186703"/>
                  </a:cubicBezTo>
                  <a:close/>
                  <a:moveTo>
                    <a:pt x="5091629" y="4186703"/>
                  </a:moveTo>
                  <a:cubicBezTo>
                    <a:pt x="5065449" y="4186703"/>
                    <a:pt x="5052358" y="4215540"/>
                    <a:pt x="5052358" y="4273216"/>
                  </a:cubicBezTo>
                  <a:cubicBezTo>
                    <a:pt x="5052358" y="4327181"/>
                    <a:pt x="5065200" y="4354163"/>
                    <a:pt x="5090877" y="4354163"/>
                  </a:cubicBezTo>
                  <a:cubicBezTo>
                    <a:pt x="5116154" y="4354163"/>
                    <a:pt x="5128792" y="4326729"/>
                    <a:pt x="5128792" y="4271862"/>
                  </a:cubicBezTo>
                  <a:cubicBezTo>
                    <a:pt x="5128792" y="4215089"/>
                    <a:pt x="5116404" y="4186703"/>
                    <a:pt x="5091629" y="4186703"/>
                  </a:cubicBezTo>
                  <a:close/>
                  <a:moveTo>
                    <a:pt x="3837392" y="4186703"/>
                  </a:moveTo>
                  <a:cubicBezTo>
                    <a:pt x="3811212" y="4186703"/>
                    <a:pt x="3798122" y="4215540"/>
                    <a:pt x="3798122" y="4273216"/>
                  </a:cubicBezTo>
                  <a:cubicBezTo>
                    <a:pt x="3798122" y="4327181"/>
                    <a:pt x="3810961" y="4354163"/>
                    <a:pt x="3836640" y="4354163"/>
                  </a:cubicBezTo>
                  <a:cubicBezTo>
                    <a:pt x="3861916" y="4354163"/>
                    <a:pt x="3874555" y="4326729"/>
                    <a:pt x="3874555" y="4271862"/>
                  </a:cubicBezTo>
                  <a:cubicBezTo>
                    <a:pt x="3874555" y="4215089"/>
                    <a:pt x="3862167" y="4186703"/>
                    <a:pt x="3837392" y="4186703"/>
                  </a:cubicBezTo>
                  <a:close/>
                  <a:moveTo>
                    <a:pt x="3614881" y="4186703"/>
                  </a:moveTo>
                  <a:cubicBezTo>
                    <a:pt x="3588702" y="4186703"/>
                    <a:pt x="3575611" y="4215540"/>
                    <a:pt x="3575611" y="4273216"/>
                  </a:cubicBezTo>
                  <a:cubicBezTo>
                    <a:pt x="3575611" y="4327181"/>
                    <a:pt x="3588451" y="4354163"/>
                    <a:pt x="3614130" y="4354163"/>
                  </a:cubicBezTo>
                  <a:cubicBezTo>
                    <a:pt x="3639407" y="4354163"/>
                    <a:pt x="3652044" y="4326729"/>
                    <a:pt x="3652044" y="4271862"/>
                  </a:cubicBezTo>
                  <a:cubicBezTo>
                    <a:pt x="3652044" y="4215089"/>
                    <a:pt x="3639656" y="4186703"/>
                    <a:pt x="3614881" y="4186703"/>
                  </a:cubicBezTo>
                  <a:close/>
                  <a:moveTo>
                    <a:pt x="10438235" y="4158869"/>
                  </a:moveTo>
                  <a:lnTo>
                    <a:pt x="10453141" y="4158869"/>
                  </a:lnTo>
                  <a:lnTo>
                    <a:pt x="10453141" y="4381849"/>
                  </a:lnTo>
                  <a:lnTo>
                    <a:pt x="10417853" y="4381849"/>
                  </a:lnTo>
                  <a:lnTo>
                    <a:pt x="10417853" y="4202066"/>
                  </a:lnTo>
                  <a:cubicBezTo>
                    <a:pt x="10411465" y="4206629"/>
                    <a:pt x="10404595" y="4210507"/>
                    <a:pt x="10397244" y="4213702"/>
                  </a:cubicBezTo>
                  <a:cubicBezTo>
                    <a:pt x="10389892" y="4216896"/>
                    <a:pt x="10381501" y="4219709"/>
                    <a:pt x="10372071" y="4222143"/>
                  </a:cubicBezTo>
                  <a:lnTo>
                    <a:pt x="10372071" y="4192027"/>
                  </a:lnTo>
                  <a:cubicBezTo>
                    <a:pt x="10377952" y="4190101"/>
                    <a:pt x="10383631" y="4188073"/>
                    <a:pt x="10389106" y="4185943"/>
                  </a:cubicBezTo>
                  <a:cubicBezTo>
                    <a:pt x="10394582" y="4183814"/>
                    <a:pt x="10399982" y="4181431"/>
                    <a:pt x="10405305" y="4178794"/>
                  </a:cubicBezTo>
                  <a:cubicBezTo>
                    <a:pt x="10410629" y="4176158"/>
                    <a:pt x="10416003" y="4173217"/>
                    <a:pt x="10421428" y="4169973"/>
                  </a:cubicBezTo>
                  <a:cubicBezTo>
                    <a:pt x="10426853" y="4166728"/>
                    <a:pt x="10432455" y="4163027"/>
                    <a:pt x="10438235" y="4158869"/>
                  </a:cubicBezTo>
                  <a:close/>
                  <a:moveTo>
                    <a:pt x="12062430" y="4158868"/>
                  </a:moveTo>
                  <a:lnTo>
                    <a:pt x="12077336" y="4158868"/>
                  </a:lnTo>
                  <a:lnTo>
                    <a:pt x="12077336" y="4381848"/>
                  </a:lnTo>
                  <a:lnTo>
                    <a:pt x="12042048" y="4381848"/>
                  </a:lnTo>
                  <a:lnTo>
                    <a:pt x="12042048" y="4202064"/>
                  </a:lnTo>
                  <a:cubicBezTo>
                    <a:pt x="12035660" y="4206627"/>
                    <a:pt x="12028790" y="4210506"/>
                    <a:pt x="12021439" y="4213700"/>
                  </a:cubicBezTo>
                  <a:cubicBezTo>
                    <a:pt x="12014087" y="4216894"/>
                    <a:pt x="12005696" y="4219708"/>
                    <a:pt x="11996266" y="4222142"/>
                  </a:cubicBezTo>
                  <a:lnTo>
                    <a:pt x="11996266" y="4192026"/>
                  </a:lnTo>
                  <a:cubicBezTo>
                    <a:pt x="12002147" y="4190099"/>
                    <a:pt x="12007826" y="4188071"/>
                    <a:pt x="12013301" y="4185942"/>
                  </a:cubicBezTo>
                  <a:cubicBezTo>
                    <a:pt x="12018777" y="4183813"/>
                    <a:pt x="12024177" y="4181429"/>
                    <a:pt x="12029500" y="4178793"/>
                  </a:cubicBezTo>
                  <a:cubicBezTo>
                    <a:pt x="12034824" y="4176157"/>
                    <a:pt x="12040198" y="4173216"/>
                    <a:pt x="12045623" y="4169971"/>
                  </a:cubicBezTo>
                  <a:cubicBezTo>
                    <a:pt x="12051048" y="4166726"/>
                    <a:pt x="12056650" y="4163025"/>
                    <a:pt x="12062430" y="4158868"/>
                  </a:cubicBezTo>
                  <a:close/>
                  <a:moveTo>
                    <a:pt x="11875949" y="4158868"/>
                  </a:moveTo>
                  <a:cubicBezTo>
                    <a:pt x="11923393" y="4158868"/>
                    <a:pt x="11947116" y="4195730"/>
                    <a:pt x="11947116" y="4269455"/>
                  </a:cubicBezTo>
                  <a:cubicBezTo>
                    <a:pt x="11947116" y="4305966"/>
                    <a:pt x="11940420" y="4333826"/>
                    <a:pt x="11927030" y="4353035"/>
                  </a:cubicBezTo>
                  <a:cubicBezTo>
                    <a:pt x="11913639" y="4372243"/>
                    <a:pt x="11894907" y="4381848"/>
                    <a:pt x="11870833" y="4381848"/>
                  </a:cubicBezTo>
                  <a:cubicBezTo>
                    <a:pt x="11848365" y="4381848"/>
                    <a:pt x="11830836" y="4372670"/>
                    <a:pt x="11818248" y="4354314"/>
                  </a:cubicBezTo>
                  <a:cubicBezTo>
                    <a:pt x="11805659" y="4335958"/>
                    <a:pt x="11799365" y="4309427"/>
                    <a:pt x="11799365" y="4274721"/>
                  </a:cubicBezTo>
                  <a:cubicBezTo>
                    <a:pt x="11799365" y="4236605"/>
                    <a:pt x="11805935" y="4207767"/>
                    <a:pt x="11819075" y="4188207"/>
                  </a:cubicBezTo>
                  <a:cubicBezTo>
                    <a:pt x="11832216" y="4168648"/>
                    <a:pt x="11851173" y="4158868"/>
                    <a:pt x="11875949" y="4158868"/>
                  </a:cubicBezTo>
                  <a:close/>
                  <a:moveTo>
                    <a:pt x="11190803" y="4158868"/>
                  </a:moveTo>
                  <a:cubicBezTo>
                    <a:pt x="11238247" y="4158868"/>
                    <a:pt x="11261970" y="4195730"/>
                    <a:pt x="11261970" y="4269455"/>
                  </a:cubicBezTo>
                  <a:cubicBezTo>
                    <a:pt x="11261970" y="4305966"/>
                    <a:pt x="11255274" y="4333826"/>
                    <a:pt x="11241884" y="4353035"/>
                  </a:cubicBezTo>
                  <a:cubicBezTo>
                    <a:pt x="11228493" y="4372243"/>
                    <a:pt x="11209761" y="4381848"/>
                    <a:pt x="11185687" y="4381848"/>
                  </a:cubicBezTo>
                  <a:cubicBezTo>
                    <a:pt x="11163219" y="4381848"/>
                    <a:pt x="11145690" y="4372670"/>
                    <a:pt x="11133102" y="4354314"/>
                  </a:cubicBezTo>
                  <a:cubicBezTo>
                    <a:pt x="11120513" y="4335958"/>
                    <a:pt x="11114219" y="4309427"/>
                    <a:pt x="11114219" y="4274721"/>
                  </a:cubicBezTo>
                  <a:cubicBezTo>
                    <a:pt x="11114219" y="4236605"/>
                    <a:pt x="11120789" y="4207767"/>
                    <a:pt x="11133929" y="4188207"/>
                  </a:cubicBezTo>
                  <a:cubicBezTo>
                    <a:pt x="11147070" y="4168648"/>
                    <a:pt x="11166027" y="4158868"/>
                    <a:pt x="11190803" y="4158868"/>
                  </a:cubicBezTo>
                  <a:close/>
                  <a:moveTo>
                    <a:pt x="10143427" y="4158868"/>
                  </a:moveTo>
                  <a:lnTo>
                    <a:pt x="10158333" y="4158868"/>
                  </a:lnTo>
                  <a:lnTo>
                    <a:pt x="10158333" y="4381848"/>
                  </a:lnTo>
                  <a:lnTo>
                    <a:pt x="10123045" y="4381848"/>
                  </a:lnTo>
                  <a:lnTo>
                    <a:pt x="10123045" y="4202064"/>
                  </a:lnTo>
                  <a:cubicBezTo>
                    <a:pt x="10116657" y="4206627"/>
                    <a:pt x="10109787" y="4210506"/>
                    <a:pt x="10102436" y="4213700"/>
                  </a:cubicBezTo>
                  <a:cubicBezTo>
                    <a:pt x="10095084" y="4216894"/>
                    <a:pt x="10086693" y="4219708"/>
                    <a:pt x="10077263" y="4222142"/>
                  </a:cubicBezTo>
                  <a:lnTo>
                    <a:pt x="10077263" y="4192026"/>
                  </a:lnTo>
                  <a:cubicBezTo>
                    <a:pt x="10083144" y="4190099"/>
                    <a:pt x="10088823" y="4188071"/>
                    <a:pt x="10094298" y="4185942"/>
                  </a:cubicBezTo>
                  <a:cubicBezTo>
                    <a:pt x="10099774" y="4183813"/>
                    <a:pt x="10105174" y="4181429"/>
                    <a:pt x="10110497" y="4178793"/>
                  </a:cubicBezTo>
                  <a:cubicBezTo>
                    <a:pt x="10115821" y="4176157"/>
                    <a:pt x="10121195" y="4173216"/>
                    <a:pt x="10126620" y="4169971"/>
                  </a:cubicBezTo>
                  <a:cubicBezTo>
                    <a:pt x="10132045" y="4166726"/>
                    <a:pt x="10137647" y="4163025"/>
                    <a:pt x="10143427" y="4158868"/>
                  </a:cubicBezTo>
                  <a:close/>
                  <a:moveTo>
                    <a:pt x="9937869" y="4158868"/>
                  </a:moveTo>
                  <a:cubicBezTo>
                    <a:pt x="9985313" y="4158868"/>
                    <a:pt x="10009036" y="4195730"/>
                    <a:pt x="10009036" y="4269455"/>
                  </a:cubicBezTo>
                  <a:cubicBezTo>
                    <a:pt x="10009036" y="4305966"/>
                    <a:pt x="10002340" y="4333826"/>
                    <a:pt x="9988950" y="4353035"/>
                  </a:cubicBezTo>
                  <a:cubicBezTo>
                    <a:pt x="9975559" y="4372243"/>
                    <a:pt x="9956827" y="4381848"/>
                    <a:pt x="9932753" y="4381848"/>
                  </a:cubicBezTo>
                  <a:cubicBezTo>
                    <a:pt x="9910285" y="4381848"/>
                    <a:pt x="9892756" y="4372670"/>
                    <a:pt x="9880168" y="4354314"/>
                  </a:cubicBezTo>
                  <a:cubicBezTo>
                    <a:pt x="9867579" y="4335958"/>
                    <a:pt x="9861285" y="4309427"/>
                    <a:pt x="9861285" y="4274721"/>
                  </a:cubicBezTo>
                  <a:cubicBezTo>
                    <a:pt x="9861285" y="4236605"/>
                    <a:pt x="9867855" y="4207767"/>
                    <a:pt x="9880995" y="4188207"/>
                  </a:cubicBezTo>
                  <a:cubicBezTo>
                    <a:pt x="9894136" y="4168648"/>
                    <a:pt x="9913093" y="4158868"/>
                    <a:pt x="9937869" y="4158868"/>
                  </a:cubicBezTo>
                  <a:close/>
                  <a:moveTo>
                    <a:pt x="9715358" y="4158868"/>
                  </a:moveTo>
                  <a:cubicBezTo>
                    <a:pt x="9762802" y="4158868"/>
                    <a:pt x="9786525" y="4195730"/>
                    <a:pt x="9786525" y="4269455"/>
                  </a:cubicBezTo>
                  <a:cubicBezTo>
                    <a:pt x="9786525" y="4305966"/>
                    <a:pt x="9779829" y="4333826"/>
                    <a:pt x="9766439" y="4353035"/>
                  </a:cubicBezTo>
                  <a:cubicBezTo>
                    <a:pt x="9753048" y="4372243"/>
                    <a:pt x="9734316" y="4381848"/>
                    <a:pt x="9710242" y="4381848"/>
                  </a:cubicBezTo>
                  <a:cubicBezTo>
                    <a:pt x="9687774" y="4381848"/>
                    <a:pt x="9670245" y="4372670"/>
                    <a:pt x="9657657" y="4354314"/>
                  </a:cubicBezTo>
                  <a:cubicBezTo>
                    <a:pt x="9645068" y="4335958"/>
                    <a:pt x="9638774" y="4309427"/>
                    <a:pt x="9638774" y="4274721"/>
                  </a:cubicBezTo>
                  <a:cubicBezTo>
                    <a:pt x="9638774" y="4236605"/>
                    <a:pt x="9645344" y="4207767"/>
                    <a:pt x="9658484" y="4188207"/>
                  </a:cubicBezTo>
                  <a:cubicBezTo>
                    <a:pt x="9671625" y="4168648"/>
                    <a:pt x="9690582" y="4158868"/>
                    <a:pt x="9715358" y="4158868"/>
                  </a:cubicBezTo>
                  <a:close/>
                  <a:moveTo>
                    <a:pt x="9557012" y="4158868"/>
                  </a:moveTo>
                  <a:lnTo>
                    <a:pt x="9571918" y="4158868"/>
                  </a:lnTo>
                  <a:lnTo>
                    <a:pt x="9571918" y="4381848"/>
                  </a:lnTo>
                  <a:lnTo>
                    <a:pt x="9536630" y="4381848"/>
                  </a:lnTo>
                  <a:lnTo>
                    <a:pt x="9536630" y="4202064"/>
                  </a:lnTo>
                  <a:cubicBezTo>
                    <a:pt x="9530242" y="4206627"/>
                    <a:pt x="9523372" y="4210506"/>
                    <a:pt x="9516021" y="4213700"/>
                  </a:cubicBezTo>
                  <a:cubicBezTo>
                    <a:pt x="9508669" y="4216894"/>
                    <a:pt x="9500278" y="4219708"/>
                    <a:pt x="9490848" y="4222142"/>
                  </a:cubicBezTo>
                  <a:lnTo>
                    <a:pt x="9490848" y="4192026"/>
                  </a:lnTo>
                  <a:cubicBezTo>
                    <a:pt x="9496729" y="4190099"/>
                    <a:pt x="9502408" y="4188071"/>
                    <a:pt x="9507883" y="4185942"/>
                  </a:cubicBezTo>
                  <a:cubicBezTo>
                    <a:pt x="9513359" y="4183813"/>
                    <a:pt x="9518759" y="4181429"/>
                    <a:pt x="9524082" y="4178793"/>
                  </a:cubicBezTo>
                  <a:cubicBezTo>
                    <a:pt x="9529406" y="4176157"/>
                    <a:pt x="9534780" y="4173216"/>
                    <a:pt x="9540205" y="4169971"/>
                  </a:cubicBezTo>
                  <a:cubicBezTo>
                    <a:pt x="9545630" y="4166726"/>
                    <a:pt x="9551232" y="4163025"/>
                    <a:pt x="9557012" y="4158868"/>
                  </a:cubicBezTo>
                  <a:close/>
                  <a:moveTo>
                    <a:pt x="9254256" y="4158868"/>
                  </a:moveTo>
                  <a:lnTo>
                    <a:pt x="9269162" y="4158868"/>
                  </a:lnTo>
                  <a:lnTo>
                    <a:pt x="9269162" y="4381848"/>
                  </a:lnTo>
                  <a:lnTo>
                    <a:pt x="9233874" y="4381848"/>
                  </a:lnTo>
                  <a:lnTo>
                    <a:pt x="9233874" y="4202064"/>
                  </a:lnTo>
                  <a:cubicBezTo>
                    <a:pt x="9227486" y="4206627"/>
                    <a:pt x="9220616" y="4210506"/>
                    <a:pt x="9213265" y="4213700"/>
                  </a:cubicBezTo>
                  <a:cubicBezTo>
                    <a:pt x="9205913" y="4216894"/>
                    <a:pt x="9197522" y="4219708"/>
                    <a:pt x="9188092" y="4222142"/>
                  </a:cubicBezTo>
                  <a:lnTo>
                    <a:pt x="9188092" y="4192026"/>
                  </a:lnTo>
                  <a:cubicBezTo>
                    <a:pt x="9193973" y="4190099"/>
                    <a:pt x="9199652" y="4188071"/>
                    <a:pt x="9205127" y="4185942"/>
                  </a:cubicBezTo>
                  <a:cubicBezTo>
                    <a:pt x="9210603" y="4183813"/>
                    <a:pt x="9216003" y="4181429"/>
                    <a:pt x="9221326" y="4178793"/>
                  </a:cubicBezTo>
                  <a:cubicBezTo>
                    <a:pt x="9226650" y="4176157"/>
                    <a:pt x="9232024" y="4173216"/>
                    <a:pt x="9237449" y="4169971"/>
                  </a:cubicBezTo>
                  <a:cubicBezTo>
                    <a:pt x="9242874" y="4166726"/>
                    <a:pt x="9248476" y="4163025"/>
                    <a:pt x="9254256" y="4158868"/>
                  </a:cubicBezTo>
                  <a:close/>
                  <a:moveTo>
                    <a:pt x="8744915" y="4158868"/>
                  </a:moveTo>
                  <a:lnTo>
                    <a:pt x="8759821" y="4158868"/>
                  </a:lnTo>
                  <a:lnTo>
                    <a:pt x="8759821" y="4381848"/>
                  </a:lnTo>
                  <a:lnTo>
                    <a:pt x="8724533" y="4381848"/>
                  </a:lnTo>
                  <a:lnTo>
                    <a:pt x="8724533" y="4202065"/>
                  </a:lnTo>
                  <a:cubicBezTo>
                    <a:pt x="8718145" y="4206628"/>
                    <a:pt x="8711275" y="4210506"/>
                    <a:pt x="8703924" y="4213701"/>
                  </a:cubicBezTo>
                  <a:cubicBezTo>
                    <a:pt x="8696572" y="4216895"/>
                    <a:pt x="8688181" y="4219708"/>
                    <a:pt x="8678751" y="4222142"/>
                  </a:cubicBezTo>
                  <a:lnTo>
                    <a:pt x="8678751" y="4192026"/>
                  </a:lnTo>
                  <a:cubicBezTo>
                    <a:pt x="8684632" y="4190100"/>
                    <a:pt x="8690311" y="4188072"/>
                    <a:pt x="8695786" y="4185942"/>
                  </a:cubicBezTo>
                  <a:cubicBezTo>
                    <a:pt x="8701262" y="4183813"/>
                    <a:pt x="8706662" y="4181430"/>
                    <a:pt x="8711985" y="4178793"/>
                  </a:cubicBezTo>
                  <a:cubicBezTo>
                    <a:pt x="8717309" y="4176157"/>
                    <a:pt x="8722683" y="4173216"/>
                    <a:pt x="8728108" y="4169972"/>
                  </a:cubicBezTo>
                  <a:cubicBezTo>
                    <a:pt x="8733533" y="4166727"/>
                    <a:pt x="8739135" y="4163026"/>
                    <a:pt x="8744915" y="4158868"/>
                  </a:cubicBezTo>
                  <a:close/>
                  <a:moveTo>
                    <a:pt x="7851748" y="4158868"/>
                  </a:moveTo>
                  <a:lnTo>
                    <a:pt x="7866654" y="4158868"/>
                  </a:lnTo>
                  <a:lnTo>
                    <a:pt x="7866654" y="4381848"/>
                  </a:lnTo>
                  <a:lnTo>
                    <a:pt x="7831366" y="4381848"/>
                  </a:lnTo>
                  <a:lnTo>
                    <a:pt x="7831366" y="4202064"/>
                  </a:lnTo>
                  <a:cubicBezTo>
                    <a:pt x="7824978" y="4206627"/>
                    <a:pt x="7818109" y="4210506"/>
                    <a:pt x="7810757" y="4213700"/>
                  </a:cubicBezTo>
                  <a:cubicBezTo>
                    <a:pt x="7803405" y="4216894"/>
                    <a:pt x="7795015" y="4219708"/>
                    <a:pt x="7785584" y="4222142"/>
                  </a:cubicBezTo>
                  <a:lnTo>
                    <a:pt x="7785584" y="4192026"/>
                  </a:lnTo>
                  <a:cubicBezTo>
                    <a:pt x="7791465" y="4190099"/>
                    <a:pt x="7797144" y="4188071"/>
                    <a:pt x="7802619" y="4185942"/>
                  </a:cubicBezTo>
                  <a:cubicBezTo>
                    <a:pt x="7808095" y="4183813"/>
                    <a:pt x="7813495" y="4181429"/>
                    <a:pt x="7818818" y="4178793"/>
                  </a:cubicBezTo>
                  <a:cubicBezTo>
                    <a:pt x="7824142" y="4176157"/>
                    <a:pt x="7829516" y="4173216"/>
                    <a:pt x="7834941" y="4169971"/>
                  </a:cubicBezTo>
                  <a:cubicBezTo>
                    <a:pt x="7840366" y="4166726"/>
                    <a:pt x="7845968" y="4163025"/>
                    <a:pt x="7851748" y="4158868"/>
                  </a:cubicBezTo>
                  <a:close/>
                  <a:moveTo>
                    <a:pt x="7413731" y="4158868"/>
                  </a:moveTo>
                  <a:lnTo>
                    <a:pt x="7428637" y="4158868"/>
                  </a:lnTo>
                  <a:lnTo>
                    <a:pt x="7428637" y="4381848"/>
                  </a:lnTo>
                  <a:lnTo>
                    <a:pt x="7393349" y="4381848"/>
                  </a:lnTo>
                  <a:lnTo>
                    <a:pt x="7393349" y="4202064"/>
                  </a:lnTo>
                  <a:cubicBezTo>
                    <a:pt x="7386961" y="4206627"/>
                    <a:pt x="7380092" y="4210506"/>
                    <a:pt x="7372740" y="4213700"/>
                  </a:cubicBezTo>
                  <a:cubicBezTo>
                    <a:pt x="7365388" y="4216894"/>
                    <a:pt x="7356998" y="4219708"/>
                    <a:pt x="7347567" y="4222142"/>
                  </a:cubicBezTo>
                  <a:lnTo>
                    <a:pt x="7347567" y="4192026"/>
                  </a:lnTo>
                  <a:cubicBezTo>
                    <a:pt x="7353448" y="4190099"/>
                    <a:pt x="7359127" y="4188071"/>
                    <a:pt x="7364602" y="4185942"/>
                  </a:cubicBezTo>
                  <a:cubicBezTo>
                    <a:pt x="7370078" y="4183813"/>
                    <a:pt x="7375478" y="4181429"/>
                    <a:pt x="7380801" y="4178793"/>
                  </a:cubicBezTo>
                  <a:cubicBezTo>
                    <a:pt x="7386125" y="4176157"/>
                    <a:pt x="7391499" y="4173216"/>
                    <a:pt x="7396924" y="4169971"/>
                  </a:cubicBezTo>
                  <a:cubicBezTo>
                    <a:pt x="7402349" y="4166726"/>
                    <a:pt x="7407951" y="4163025"/>
                    <a:pt x="7413731" y="4158868"/>
                  </a:cubicBezTo>
                  <a:close/>
                  <a:moveTo>
                    <a:pt x="7015147" y="4158868"/>
                  </a:moveTo>
                  <a:lnTo>
                    <a:pt x="7030053" y="4158868"/>
                  </a:lnTo>
                  <a:lnTo>
                    <a:pt x="7030053" y="4381848"/>
                  </a:lnTo>
                  <a:lnTo>
                    <a:pt x="6994765" y="4381848"/>
                  </a:lnTo>
                  <a:lnTo>
                    <a:pt x="6994765" y="4202064"/>
                  </a:lnTo>
                  <a:cubicBezTo>
                    <a:pt x="6988377" y="4206627"/>
                    <a:pt x="6981508" y="4210506"/>
                    <a:pt x="6974156" y="4213700"/>
                  </a:cubicBezTo>
                  <a:cubicBezTo>
                    <a:pt x="6966804" y="4216894"/>
                    <a:pt x="6958414" y="4219708"/>
                    <a:pt x="6948983" y="4222142"/>
                  </a:cubicBezTo>
                  <a:lnTo>
                    <a:pt x="6948983" y="4192026"/>
                  </a:lnTo>
                  <a:cubicBezTo>
                    <a:pt x="6954864" y="4190099"/>
                    <a:pt x="6960543" y="4188071"/>
                    <a:pt x="6966018" y="4185942"/>
                  </a:cubicBezTo>
                  <a:cubicBezTo>
                    <a:pt x="6971494" y="4183813"/>
                    <a:pt x="6976894" y="4181429"/>
                    <a:pt x="6982217" y="4178793"/>
                  </a:cubicBezTo>
                  <a:cubicBezTo>
                    <a:pt x="6987541" y="4176157"/>
                    <a:pt x="6992915" y="4173216"/>
                    <a:pt x="6998340" y="4169971"/>
                  </a:cubicBezTo>
                  <a:cubicBezTo>
                    <a:pt x="7003765" y="4166726"/>
                    <a:pt x="7009367" y="4163025"/>
                    <a:pt x="7015147" y="4158868"/>
                  </a:cubicBezTo>
                  <a:close/>
                  <a:moveTo>
                    <a:pt x="6727931" y="4158868"/>
                  </a:moveTo>
                  <a:lnTo>
                    <a:pt x="6742837" y="4158868"/>
                  </a:lnTo>
                  <a:lnTo>
                    <a:pt x="6742837" y="4381848"/>
                  </a:lnTo>
                  <a:lnTo>
                    <a:pt x="6707549" y="4381848"/>
                  </a:lnTo>
                  <a:lnTo>
                    <a:pt x="6707549" y="4202064"/>
                  </a:lnTo>
                  <a:cubicBezTo>
                    <a:pt x="6701161" y="4206627"/>
                    <a:pt x="6694292" y="4210506"/>
                    <a:pt x="6686940" y="4213700"/>
                  </a:cubicBezTo>
                  <a:cubicBezTo>
                    <a:pt x="6679588" y="4216894"/>
                    <a:pt x="6671198" y="4219708"/>
                    <a:pt x="6661767" y="4222142"/>
                  </a:cubicBezTo>
                  <a:lnTo>
                    <a:pt x="6661767" y="4192026"/>
                  </a:lnTo>
                  <a:cubicBezTo>
                    <a:pt x="6667648" y="4190099"/>
                    <a:pt x="6673327" y="4188071"/>
                    <a:pt x="6678802" y="4185942"/>
                  </a:cubicBezTo>
                  <a:cubicBezTo>
                    <a:pt x="6684278" y="4183813"/>
                    <a:pt x="6689678" y="4181429"/>
                    <a:pt x="6695001" y="4178793"/>
                  </a:cubicBezTo>
                  <a:cubicBezTo>
                    <a:pt x="6700325" y="4176157"/>
                    <a:pt x="6705699" y="4173216"/>
                    <a:pt x="6711124" y="4169971"/>
                  </a:cubicBezTo>
                  <a:cubicBezTo>
                    <a:pt x="6716549" y="4166726"/>
                    <a:pt x="6722151" y="4163025"/>
                    <a:pt x="6727931" y="4158868"/>
                  </a:cubicBezTo>
                  <a:close/>
                  <a:moveTo>
                    <a:pt x="6584323" y="4158868"/>
                  </a:moveTo>
                  <a:lnTo>
                    <a:pt x="6599229" y="4158868"/>
                  </a:lnTo>
                  <a:lnTo>
                    <a:pt x="6599229" y="4381848"/>
                  </a:lnTo>
                  <a:lnTo>
                    <a:pt x="6563941" y="4381848"/>
                  </a:lnTo>
                  <a:lnTo>
                    <a:pt x="6563941" y="4202064"/>
                  </a:lnTo>
                  <a:cubicBezTo>
                    <a:pt x="6557553" y="4206627"/>
                    <a:pt x="6550684" y="4210506"/>
                    <a:pt x="6543332" y="4213700"/>
                  </a:cubicBezTo>
                  <a:cubicBezTo>
                    <a:pt x="6535980" y="4216894"/>
                    <a:pt x="6527590" y="4219708"/>
                    <a:pt x="6518159" y="4222142"/>
                  </a:cubicBezTo>
                  <a:lnTo>
                    <a:pt x="6518159" y="4192026"/>
                  </a:lnTo>
                  <a:cubicBezTo>
                    <a:pt x="6524040" y="4190099"/>
                    <a:pt x="6529719" y="4188071"/>
                    <a:pt x="6535194" y="4185942"/>
                  </a:cubicBezTo>
                  <a:cubicBezTo>
                    <a:pt x="6540670" y="4183813"/>
                    <a:pt x="6546070" y="4181429"/>
                    <a:pt x="6551393" y="4178793"/>
                  </a:cubicBezTo>
                  <a:cubicBezTo>
                    <a:pt x="6556717" y="4176157"/>
                    <a:pt x="6562091" y="4173216"/>
                    <a:pt x="6567516" y="4169971"/>
                  </a:cubicBezTo>
                  <a:cubicBezTo>
                    <a:pt x="6572941" y="4166726"/>
                    <a:pt x="6578543" y="4163025"/>
                    <a:pt x="6584323" y="4158868"/>
                  </a:cubicBezTo>
                  <a:close/>
                  <a:moveTo>
                    <a:pt x="6373956" y="4158868"/>
                  </a:moveTo>
                  <a:cubicBezTo>
                    <a:pt x="6421401" y="4158868"/>
                    <a:pt x="6445123" y="4195730"/>
                    <a:pt x="6445123" y="4269455"/>
                  </a:cubicBezTo>
                  <a:cubicBezTo>
                    <a:pt x="6445123" y="4305966"/>
                    <a:pt x="6438428" y="4333826"/>
                    <a:pt x="6425037" y="4353035"/>
                  </a:cubicBezTo>
                  <a:cubicBezTo>
                    <a:pt x="6411646" y="4372243"/>
                    <a:pt x="6392914" y="4381848"/>
                    <a:pt x="6368840" y="4381848"/>
                  </a:cubicBezTo>
                  <a:cubicBezTo>
                    <a:pt x="6346372" y="4381848"/>
                    <a:pt x="6328843" y="4372670"/>
                    <a:pt x="6316255" y="4354314"/>
                  </a:cubicBezTo>
                  <a:cubicBezTo>
                    <a:pt x="6303666" y="4335958"/>
                    <a:pt x="6297372" y="4309427"/>
                    <a:pt x="6297372" y="4274721"/>
                  </a:cubicBezTo>
                  <a:cubicBezTo>
                    <a:pt x="6297372" y="4236605"/>
                    <a:pt x="6303942" y="4207767"/>
                    <a:pt x="6317082" y="4188207"/>
                  </a:cubicBezTo>
                  <a:cubicBezTo>
                    <a:pt x="6330223" y="4168648"/>
                    <a:pt x="6349180" y="4158868"/>
                    <a:pt x="6373956" y="4158868"/>
                  </a:cubicBezTo>
                  <a:close/>
                  <a:moveTo>
                    <a:pt x="5975659" y="4158868"/>
                  </a:moveTo>
                  <a:lnTo>
                    <a:pt x="5990568" y="4158868"/>
                  </a:lnTo>
                  <a:lnTo>
                    <a:pt x="5990568" y="4381848"/>
                  </a:lnTo>
                  <a:lnTo>
                    <a:pt x="5955278" y="4381848"/>
                  </a:lnTo>
                  <a:lnTo>
                    <a:pt x="5955278" y="4202064"/>
                  </a:lnTo>
                  <a:cubicBezTo>
                    <a:pt x="5948891" y="4206627"/>
                    <a:pt x="5942020" y="4210506"/>
                    <a:pt x="5934669" y="4213700"/>
                  </a:cubicBezTo>
                  <a:cubicBezTo>
                    <a:pt x="5927317" y="4216894"/>
                    <a:pt x="5918927" y="4219708"/>
                    <a:pt x="5909498" y="4222142"/>
                  </a:cubicBezTo>
                  <a:lnTo>
                    <a:pt x="5909498" y="4192026"/>
                  </a:lnTo>
                  <a:cubicBezTo>
                    <a:pt x="5915377" y="4190099"/>
                    <a:pt x="5921055" y="4188071"/>
                    <a:pt x="5926531" y="4185942"/>
                  </a:cubicBezTo>
                  <a:cubicBezTo>
                    <a:pt x="5932007" y="4183813"/>
                    <a:pt x="5937407" y="4181429"/>
                    <a:pt x="5942730" y="4178793"/>
                  </a:cubicBezTo>
                  <a:cubicBezTo>
                    <a:pt x="5948054" y="4176157"/>
                    <a:pt x="5953429" y="4173216"/>
                    <a:pt x="5958852" y="4169971"/>
                  </a:cubicBezTo>
                  <a:cubicBezTo>
                    <a:pt x="5964279" y="4166726"/>
                    <a:pt x="5969881" y="4163025"/>
                    <a:pt x="5975659" y="4158868"/>
                  </a:cubicBezTo>
                  <a:close/>
                  <a:moveTo>
                    <a:pt x="5786272" y="4158868"/>
                  </a:moveTo>
                  <a:cubicBezTo>
                    <a:pt x="5833719" y="4158868"/>
                    <a:pt x="5857440" y="4195730"/>
                    <a:pt x="5857440" y="4269455"/>
                  </a:cubicBezTo>
                  <a:cubicBezTo>
                    <a:pt x="5857440" y="4305966"/>
                    <a:pt x="5850744" y="4333826"/>
                    <a:pt x="5837355" y="4353035"/>
                  </a:cubicBezTo>
                  <a:cubicBezTo>
                    <a:pt x="5823963" y="4372243"/>
                    <a:pt x="5805230" y="4381848"/>
                    <a:pt x="5781158" y="4381848"/>
                  </a:cubicBezTo>
                  <a:cubicBezTo>
                    <a:pt x="5758689" y="4381848"/>
                    <a:pt x="5741161" y="4372670"/>
                    <a:pt x="5728572" y="4354314"/>
                  </a:cubicBezTo>
                  <a:cubicBezTo>
                    <a:pt x="5715984" y="4335958"/>
                    <a:pt x="5709690" y="4309427"/>
                    <a:pt x="5709690" y="4274721"/>
                  </a:cubicBezTo>
                  <a:cubicBezTo>
                    <a:pt x="5709690" y="4236605"/>
                    <a:pt x="5716259" y="4207767"/>
                    <a:pt x="5729400" y="4188207"/>
                  </a:cubicBezTo>
                  <a:cubicBezTo>
                    <a:pt x="5742540" y="4168648"/>
                    <a:pt x="5761498" y="4158868"/>
                    <a:pt x="5786272" y="4158868"/>
                  </a:cubicBezTo>
                  <a:close/>
                  <a:moveTo>
                    <a:pt x="5093284" y="4158868"/>
                  </a:moveTo>
                  <a:cubicBezTo>
                    <a:pt x="5140729" y="4158868"/>
                    <a:pt x="5164451" y="4195730"/>
                    <a:pt x="5164451" y="4269455"/>
                  </a:cubicBezTo>
                  <a:cubicBezTo>
                    <a:pt x="5164451" y="4305966"/>
                    <a:pt x="5157756" y="4333826"/>
                    <a:pt x="5144364" y="4353035"/>
                  </a:cubicBezTo>
                  <a:cubicBezTo>
                    <a:pt x="5130974" y="4372243"/>
                    <a:pt x="5112242" y="4381848"/>
                    <a:pt x="5088168" y="4381848"/>
                  </a:cubicBezTo>
                  <a:cubicBezTo>
                    <a:pt x="5065701" y="4381848"/>
                    <a:pt x="5048170" y="4372670"/>
                    <a:pt x="5035583" y="4354314"/>
                  </a:cubicBezTo>
                  <a:cubicBezTo>
                    <a:pt x="5022994" y="4335958"/>
                    <a:pt x="5016700" y="4309427"/>
                    <a:pt x="5016700" y="4274721"/>
                  </a:cubicBezTo>
                  <a:cubicBezTo>
                    <a:pt x="5016700" y="4236605"/>
                    <a:pt x="5023271" y="4207767"/>
                    <a:pt x="5036410" y="4188207"/>
                  </a:cubicBezTo>
                  <a:cubicBezTo>
                    <a:pt x="5049553" y="4168648"/>
                    <a:pt x="5068509" y="4158868"/>
                    <a:pt x="5093284" y="4158868"/>
                  </a:cubicBezTo>
                  <a:close/>
                  <a:moveTo>
                    <a:pt x="4694968" y="4158868"/>
                  </a:moveTo>
                  <a:lnTo>
                    <a:pt x="4709876" y="4158868"/>
                  </a:lnTo>
                  <a:lnTo>
                    <a:pt x="4709876" y="4381848"/>
                  </a:lnTo>
                  <a:lnTo>
                    <a:pt x="4674589" y="4381848"/>
                  </a:lnTo>
                  <a:lnTo>
                    <a:pt x="4674589" y="4202064"/>
                  </a:lnTo>
                  <a:cubicBezTo>
                    <a:pt x="4668200" y="4206627"/>
                    <a:pt x="4661331" y="4210506"/>
                    <a:pt x="4653978" y="4213700"/>
                  </a:cubicBezTo>
                  <a:cubicBezTo>
                    <a:pt x="4646628" y="4216894"/>
                    <a:pt x="4638236" y="4219708"/>
                    <a:pt x="4628805" y="4222142"/>
                  </a:cubicBezTo>
                  <a:lnTo>
                    <a:pt x="4628805" y="4192026"/>
                  </a:lnTo>
                  <a:cubicBezTo>
                    <a:pt x="4634687" y="4190099"/>
                    <a:pt x="4640364" y="4188071"/>
                    <a:pt x="4645841" y="4185942"/>
                  </a:cubicBezTo>
                  <a:cubicBezTo>
                    <a:pt x="4651316" y="4183813"/>
                    <a:pt x="4656717" y="4181429"/>
                    <a:pt x="4662040" y="4178793"/>
                  </a:cubicBezTo>
                  <a:cubicBezTo>
                    <a:pt x="4667363" y="4176157"/>
                    <a:pt x="4672738" y="4173216"/>
                    <a:pt x="4678162" y="4169971"/>
                  </a:cubicBezTo>
                  <a:cubicBezTo>
                    <a:pt x="4683588" y="4166726"/>
                    <a:pt x="4689190" y="4163025"/>
                    <a:pt x="4694968" y="4158868"/>
                  </a:cubicBezTo>
                  <a:close/>
                  <a:moveTo>
                    <a:pt x="4345906" y="4158868"/>
                  </a:moveTo>
                  <a:lnTo>
                    <a:pt x="4360813" y="4158868"/>
                  </a:lnTo>
                  <a:lnTo>
                    <a:pt x="4360813" y="4381848"/>
                  </a:lnTo>
                  <a:lnTo>
                    <a:pt x="4325525" y="4381848"/>
                  </a:lnTo>
                  <a:lnTo>
                    <a:pt x="4325525" y="4202064"/>
                  </a:lnTo>
                  <a:cubicBezTo>
                    <a:pt x="4319138" y="4206627"/>
                    <a:pt x="4312268" y="4210506"/>
                    <a:pt x="4304915" y="4213700"/>
                  </a:cubicBezTo>
                  <a:cubicBezTo>
                    <a:pt x="4297564" y="4216894"/>
                    <a:pt x="4289174" y="4219708"/>
                    <a:pt x="4279743" y="4222142"/>
                  </a:cubicBezTo>
                  <a:lnTo>
                    <a:pt x="4279743" y="4192026"/>
                  </a:lnTo>
                  <a:cubicBezTo>
                    <a:pt x="4285625" y="4190099"/>
                    <a:pt x="4291302" y="4188071"/>
                    <a:pt x="4296778" y="4185942"/>
                  </a:cubicBezTo>
                  <a:cubicBezTo>
                    <a:pt x="4302254" y="4183813"/>
                    <a:pt x="4307653" y="4181429"/>
                    <a:pt x="4312977" y="4178793"/>
                  </a:cubicBezTo>
                  <a:cubicBezTo>
                    <a:pt x="4318300" y="4176157"/>
                    <a:pt x="4323675" y="4173216"/>
                    <a:pt x="4329099" y="4169971"/>
                  </a:cubicBezTo>
                  <a:cubicBezTo>
                    <a:pt x="4334525" y="4166726"/>
                    <a:pt x="4340127" y="4163025"/>
                    <a:pt x="4345906" y="4158868"/>
                  </a:cubicBezTo>
                  <a:close/>
                  <a:moveTo>
                    <a:pt x="3839047" y="4158868"/>
                  </a:moveTo>
                  <a:cubicBezTo>
                    <a:pt x="3886491" y="4158868"/>
                    <a:pt x="3910214" y="4195730"/>
                    <a:pt x="3910214" y="4269455"/>
                  </a:cubicBezTo>
                  <a:cubicBezTo>
                    <a:pt x="3910214" y="4305966"/>
                    <a:pt x="3903519" y="4333826"/>
                    <a:pt x="3890128" y="4353035"/>
                  </a:cubicBezTo>
                  <a:cubicBezTo>
                    <a:pt x="3876737" y="4372243"/>
                    <a:pt x="3858005" y="4381848"/>
                    <a:pt x="3833931" y="4381848"/>
                  </a:cubicBezTo>
                  <a:cubicBezTo>
                    <a:pt x="3811463" y="4381848"/>
                    <a:pt x="3793934" y="4372670"/>
                    <a:pt x="3781346" y="4354314"/>
                  </a:cubicBezTo>
                  <a:cubicBezTo>
                    <a:pt x="3768757" y="4335958"/>
                    <a:pt x="3762464" y="4309427"/>
                    <a:pt x="3762464" y="4274721"/>
                  </a:cubicBezTo>
                  <a:cubicBezTo>
                    <a:pt x="3762464" y="4236605"/>
                    <a:pt x="3769034" y="4207767"/>
                    <a:pt x="3782173" y="4188207"/>
                  </a:cubicBezTo>
                  <a:cubicBezTo>
                    <a:pt x="3795313" y="4168648"/>
                    <a:pt x="3814271" y="4158868"/>
                    <a:pt x="3839047" y="4158868"/>
                  </a:cubicBezTo>
                  <a:close/>
                  <a:moveTo>
                    <a:pt x="3616537" y="4158868"/>
                  </a:moveTo>
                  <a:cubicBezTo>
                    <a:pt x="3663981" y="4158868"/>
                    <a:pt x="3687703" y="4195730"/>
                    <a:pt x="3687703" y="4269455"/>
                  </a:cubicBezTo>
                  <a:cubicBezTo>
                    <a:pt x="3687703" y="4305966"/>
                    <a:pt x="3681008" y="4333826"/>
                    <a:pt x="3667617" y="4353035"/>
                  </a:cubicBezTo>
                  <a:cubicBezTo>
                    <a:pt x="3654226" y="4372243"/>
                    <a:pt x="3635494" y="4381848"/>
                    <a:pt x="3611420" y="4381848"/>
                  </a:cubicBezTo>
                  <a:cubicBezTo>
                    <a:pt x="3588952" y="4381848"/>
                    <a:pt x="3571422" y="4372670"/>
                    <a:pt x="3558835" y="4354314"/>
                  </a:cubicBezTo>
                  <a:cubicBezTo>
                    <a:pt x="3546246" y="4335958"/>
                    <a:pt x="3539952" y="4309427"/>
                    <a:pt x="3539952" y="4274721"/>
                  </a:cubicBezTo>
                  <a:cubicBezTo>
                    <a:pt x="3539952" y="4236605"/>
                    <a:pt x="3546522" y="4207767"/>
                    <a:pt x="3559662" y="4188207"/>
                  </a:cubicBezTo>
                  <a:cubicBezTo>
                    <a:pt x="3572804" y="4168648"/>
                    <a:pt x="3591760" y="4158868"/>
                    <a:pt x="3616537" y="4158868"/>
                  </a:cubicBezTo>
                  <a:close/>
                  <a:moveTo>
                    <a:pt x="3454863" y="4158868"/>
                  </a:moveTo>
                  <a:lnTo>
                    <a:pt x="3469768" y="4158868"/>
                  </a:lnTo>
                  <a:lnTo>
                    <a:pt x="3469768" y="4381848"/>
                  </a:lnTo>
                  <a:lnTo>
                    <a:pt x="3434481" y="4381848"/>
                  </a:lnTo>
                  <a:lnTo>
                    <a:pt x="3434481" y="4202064"/>
                  </a:lnTo>
                  <a:cubicBezTo>
                    <a:pt x="3428092" y="4206627"/>
                    <a:pt x="3421223" y="4210506"/>
                    <a:pt x="3413872" y="4213700"/>
                  </a:cubicBezTo>
                  <a:cubicBezTo>
                    <a:pt x="3406519" y="4216894"/>
                    <a:pt x="3398129" y="4219708"/>
                    <a:pt x="3388698" y="4222142"/>
                  </a:cubicBezTo>
                  <a:lnTo>
                    <a:pt x="3388698" y="4192026"/>
                  </a:lnTo>
                  <a:cubicBezTo>
                    <a:pt x="3394580" y="4190099"/>
                    <a:pt x="3400259" y="4188071"/>
                    <a:pt x="3405734" y="4185942"/>
                  </a:cubicBezTo>
                  <a:cubicBezTo>
                    <a:pt x="3411209" y="4183813"/>
                    <a:pt x="3416609" y="4181429"/>
                    <a:pt x="3421933" y="4178793"/>
                  </a:cubicBezTo>
                  <a:cubicBezTo>
                    <a:pt x="3427256" y="4176157"/>
                    <a:pt x="3432632" y="4173216"/>
                    <a:pt x="3438054" y="4169971"/>
                  </a:cubicBezTo>
                  <a:cubicBezTo>
                    <a:pt x="3443480" y="4166726"/>
                    <a:pt x="3449083" y="4163025"/>
                    <a:pt x="3454863" y="4158868"/>
                  </a:cubicBezTo>
                  <a:close/>
                  <a:moveTo>
                    <a:pt x="3158682" y="4158868"/>
                  </a:moveTo>
                  <a:lnTo>
                    <a:pt x="3173587" y="4158868"/>
                  </a:lnTo>
                  <a:lnTo>
                    <a:pt x="3173587" y="4381848"/>
                  </a:lnTo>
                  <a:lnTo>
                    <a:pt x="3138299" y="4381848"/>
                  </a:lnTo>
                  <a:lnTo>
                    <a:pt x="3138299" y="4202065"/>
                  </a:lnTo>
                  <a:cubicBezTo>
                    <a:pt x="3131912" y="4206628"/>
                    <a:pt x="3125042" y="4210506"/>
                    <a:pt x="3117690" y="4213701"/>
                  </a:cubicBezTo>
                  <a:cubicBezTo>
                    <a:pt x="3110339" y="4216895"/>
                    <a:pt x="3101948" y="4219708"/>
                    <a:pt x="3092517" y="4222142"/>
                  </a:cubicBezTo>
                  <a:lnTo>
                    <a:pt x="3092517" y="4192026"/>
                  </a:lnTo>
                  <a:cubicBezTo>
                    <a:pt x="3098398" y="4190100"/>
                    <a:pt x="3104077" y="4188072"/>
                    <a:pt x="3109553" y="4185942"/>
                  </a:cubicBezTo>
                  <a:cubicBezTo>
                    <a:pt x="3115028" y="4183813"/>
                    <a:pt x="3120428" y="4181430"/>
                    <a:pt x="3125751" y="4178793"/>
                  </a:cubicBezTo>
                  <a:cubicBezTo>
                    <a:pt x="3131075" y="4176157"/>
                    <a:pt x="3136449" y="4173216"/>
                    <a:pt x="3141875" y="4169972"/>
                  </a:cubicBezTo>
                  <a:cubicBezTo>
                    <a:pt x="3147300" y="4166727"/>
                    <a:pt x="3152901" y="4163026"/>
                    <a:pt x="3158682" y="4158868"/>
                  </a:cubicBezTo>
                  <a:close/>
                  <a:moveTo>
                    <a:pt x="2783382" y="4158868"/>
                  </a:moveTo>
                  <a:lnTo>
                    <a:pt x="2798288" y="4158868"/>
                  </a:lnTo>
                  <a:lnTo>
                    <a:pt x="2798288" y="4381848"/>
                  </a:lnTo>
                  <a:lnTo>
                    <a:pt x="2763000" y="4381848"/>
                  </a:lnTo>
                  <a:lnTo>
                    <a:pt x="2763000" y="4202065"/>
                  </a:lnTo>
                  <a:cubicBezTo>
                    <a:pt x="2756612" y="4206628"/>
                    <a:pt x="2749742" y="4210506"/>
                    <a:pt x="2742391" y="4213701"/>
                  </a:cubicBezTo>
                  <a:cubicBezTo>
                    <a:pt x="2735039" y="4216895"/>
                    <a:pt x="2726649" y="4219708"/>
                    <a:pt x="2717219" y="4222142"/>
                  </a:cubicBezTo>
                  <a:lnTo>
                    <a:pt x="2717219" y="4192026"/>
                  </a:lnTo>
                  <a:cubicBezTo>
                    <a:pt x="2723100" y="4190100"/>
                    <a:pt x="2728778" y="4188072"/>
                    <a:pt x="2734253" y="4185942"/>
                  </a:cubicBezTo>
                  <a:cubicBezTo>
                    <a:pt x="2739729" y="4183813"/>
                    <a:pt x="2745129" y="4181430"/>
                    <a:pt x="2750453" y="4178793"/>
                  </a:cubicBezTo>
                  <a:cubicBezTo>
                    <a:pt x="2755776" y="4176157"/>
                    <a:pt x="2761151" y="4173216"/>
                    <a:pt x="2766576" y="4169972"/>
                  </a:cubicBezTo>
                  <a:cubicBezTo>
                    <a:pt x="2772000" y="4166727"/>
                    <a:pt x="2777603" y="4163026"/>
                    <a:pt x="2783382" y="4158868"/>
                  </a:cubicBezTo>
                  <a:close/>
                  <a:moveTo>
                    <a:pt x="2489154" y="4158868"/>
                  </a:moveTo>
                  <a:lnTo>
                    <a:pt x="2504060" y="4158868"/>
                  </a:lnTo>
                  <a:lnTo>
                    <a:pt x="2504060" y="4381848"/>
                  </a:lnTo>
                  <a:lnTo>
                    <a:pt x="2468772" y="4381848"/>
                  </a:lnTo>
                  <a:lnTo>
                    <a:pt x="2468772" y="4202065"/>
                  </a:lnTo>
                  <a:cubicBezTo>
                    <a:pt x="2462385" y="4206628"/>
                    <a:pt x="2455514" y="4210506"/>
                    <a:pt x="2448163" y="4213701"/>
                  </a:cubicBezTo>
                  <a:cubicBezTo>
                    <a:pt x="2440812" y="4216895"/>
                    <a:pt x="2432420" y="4219708"/>
                    <a:pt x="2422990" y="4222142"/>
                  </a:cubicBezTo>
                  <a:lnTo>
                    <a:pt x="2422990" y="4192026"/>
                  </a:lnTo>
                  <a:cubicBezTo>
                    <a:pt x="2428871" y="4190100"/>
                    <a:pt x="2434551" y="4188072"/>
                    <a:pt x="2440025" y="4185942"/>
                  </a:cubicBezTo>
                  <a:cubicBezTo>
                    <a:pt x="2445502" y="4183813"/>
                    <a:pt x="2450900" y="4181430"/>
                    <a:pt x="2456224" y="4178793"/>
                  </a:cubicBezTo>
                  <a:cubicBezTo>
                    <a:pt x="2461549" y="4176157"/>
                    <a:pt x="2466922" y="4173216"/>
                    <a:pt x="2472346" y="4169972"/>
                  </a:cubicBezTo>
                  <a:cubicBezTo>
                    <a:pt x="2477772" y="4166727"/>
                    <a:pt x="2483374" y="4163026"/>
                    <a:pt x="2489154" y="4158868"/>
                  </a:cubicBezTo>
                  <a:close/>
                  <a:moveTo>
                    <a:pt x="1599916" y="4158868"/>
                  </a:moveTo>
                  <a:lnTo>
                    <a:pt x="1614822" y="4158868"/>
                  </a:lnTo>
                  <a:lnTo>
                    <a:pt x="1614822" y="4381848"/>
                  </a:lnTo>
                  <a:lnTo>
                    <a:pt x="1579534" y="4381848"/>
                  </a:lnTo>
                  <a:lnTo>
                    <a:pt x="1579534" y="4202064"/>
                  </a:lnTo>
                  <a:cubicBezTo>
                    <a:pt x="1573146" y="4206627"/>
                    <a:pt x="1566276" y="4210506"/>
                    <a:pt x="1558925" y="4213700"/>
                  </a:cubicBezTo>
                  <a:cubicBezTo>
                    <a:pt x="1551573" y="4216894"/>
                    <a:pt x="1543182" y="4219708"/>
                    <a:pt x="1533752" y="4222142"/>
                  </a:cubicBezTo>
                  <a:lnTo>
                    <a:pt x="1533752" y="4192026"/>
                  </a:lnTo>
                  <a:cubicBezTo>
                    <a:pt x="1539633" y="4190099"/>
                    <a:pt x="1545312" y="4188071"/>
                    <a:pt x="1550787" y="4185942"/>
                  </a:cubicBezTo>
                  <a:cubicBezTo>
                    <a:pt x="1556263" y="4183813"/>
                    <a:pt x="1561663" y="4181429"/>
                    <a:pt x="1566986" y="4178793"/>
                  </a:cubicBezTo>
                  <a:cubicBezTo>
                    <a:pt x="1572310" y="4176157"/>
                    <a:pt x="1577684" y="4173216"/>
                    <a:pt x="1583109" y="4169971"/>
                  </a:cubicBezTo>
                  <a:cubicBezTo>
                    <a:pt x="1588534" y="4166726"/>
                    <a:pt x="1594136" y="4163025"/>
                    <a:pt x="1599916" y="4158868"/>
                  </a:cubicBezTo>
                  <a:close/>
                  <a:moveTo>
                    <a:pt x="1302202" y="4158868"/>
                  </a:moveTo>
                  <a:lnTo>
                    <a:pt x="1317108" y="4158868"/>
                  </a:lnTo>
                  <a:lnTo>
                    <a:pt x="1317108" y="4381848"/>
                  </a:lnTo>
                  <a:lnTo>
                    <a:pt x="1281820" y="4381848"/>
                  </a:lnTo>
                  <a:lnTo>
                    <a:pt x="1281820" y="4202064"/>
                  </a:lnTo>
                  <a:cubicBezTo>
                    <a:pt x="1275432" y="4206627"/>
                    <a:pt x="1268562" y="4210506"/>
                    <a:pt x="1261211" y="4213700"/>
                  </a:cubicBezTo>
                  <a:cubicBezTo>
                    <a:pt x="1253859" y="4216894"/>
                    <a:pt x="1245468" y="4219708"/>
                    <a:pt x="1236038" y="4222142"/>
                  </a:cubicBezTo>
                  <a:lnTo>
                    <a:pt x="1236038" y="4192026"/>
                  </a:lnTo>
                  <a:cubicBezTo>
                    <a:pt x="1241919" y="4190099"/>
                    <a:pt x="1247598" y="4188071"/>
                    <a:pt x="1253073" y="4185942"/>
                  </a:cubicBezTo>
                  <a:cubicBezTo>
                    <a:pt x="1258549" y="4183813"/>
                    <a:pt x="1263949" y="4181429"/>
                    <a:pt x="1269272" y="4178793"/>
                  </a:cubicBezTo>
                  <a:cubicBezTo>
                    <a:pt x="1274596" y="4176157"/>
                    <a:pt x="1279970" y="4173216"/>
                    <a:pt x="1285395" y="4169971"/>
                  </a:cubicBezTo>
                  <a:cubicBezTo>
                    <a:pt x="1290820" y="4166726"/>
                    <a:pt x="1296422" y="4163025"/>
                    <a:pt x="1302202" y="4158868"/>
                  </a:cubicBezTo>
                  <a:close/>
                  <a:moveTo>
                    <a:pt x="927321" y="4158868"/>
                  </a:moveTo>
                  <a:lnTo>
                    <a:pt x="942227" y="4158868"/>
                  </a:lnTo>
                  <a:lnTo>
                    <a:pt x="942227" y="4381848"/>
                  </a:lnTo>
                  <a:lnTo>
                    <a:pt x="906939" y="4381848"/>
                  </a:lnTo>
                  <a:lnTo>
                    <a:pt x="906939" y="4202064"/>
                  </a:lnTo>
                  <a:cubicBezTo>
                    <a:pt x="900551" y="4206627"/>
                    <a:pt x="893681" y="4210506"/>
                    <a:pt x="886330" y="4213700"/>
                  </a:cubicBezTo>
                  <a:cubicBezTo>
                    <a:pt x="878978" y="4216894"/>
                    <a:pt x="870587" y="4219708"/>
                    <a:pt x="861157" y="4222142"/>
                  </a:cubicBezTo>
                  <a:lnTo>
                    <a:pt x="861157" y="4192026"/>
                  </a:lnTo>
                  <a:cubicBezTo>
                    <a:pt x="867038" y="4190099"/>
                    <a:pt x="872717" y="4188071"/>
                    <a:pt x="878192" y="4185942"/>
                  </a:cubicBezTo>
                  <a:cubicBezTo>
                    <a:pt x="883668" y="4183813"/>
                    <a:pt x="889068" y="4181429"/>
                    <a:pt x="894391" y="4178793"/>
                  </a:cubicBezTo>
                  <a:cubicBezTo>
                    <a:pt x="899715" y="4176157"/>
                    <a:pt x="905089" y="4173216"/>
                    <a:pt x="910514" y="4169971"/>
                  </a:cubicBezTo>
                  <a:cubicBezTo>
                    <a:pt x="915939" y="4166726"/>
                    <a:pt x="921541" y="4163025"/>
                    <a:pt x="927321" y="4158868"/>
                  </a:cubicBezTo>
                  <a:close/>
                  <a:moveTo>
                    <a:pt x="778464" y="4158868"/>
                  </a:moveTo>
                  <a:lnTo>
                    <a:pt x="793370" y="4158868"/>
                  </a:lnTo>
                  <a:lnTo>
                    <a:pt x="793370" y="4381848"/>
                  </a:lnTo>
                  <a:lnTo>
                    <a:pt x="758082" y="4381848"/>
                  </a:lnTo>
                  <a:lnTo>
                    <a:pt x="758082" y="4202064"/>
                  </a:lnTo>
                  <a:cubicBezTo>
                    <a:pt x="751694" y="4206627"/>
                    <a:pt x="744824" y="4210506"/>
                    <a:pt x="737473" y="4213700"/>
                  </a:cubicBezTo>
                  <a:cubicBezTo>
                    <a:pt x="730121" y="4216894"/>
                    <a:pt x="721730" y="4219708"/>
                    <a:pt x="712300" y="4222142"/>
                  </a:cubicBezTo>
                  <a:lnTo>
                    <a:pt x="712300" y="4192026"/>
                  </a:lnTo>
                  <a:cubicBezTo>
                    <a:pt x="718181" y="4190099"/>
                    <a:pt x="723860" y="4188071"/>
                    <a:pt x="729335" y="4185942"/>
                  </a:cubicBezTo>
                  <a:cubicBezTo>
                    <a:pt x="734811" y="4183813"/>
                    <a:pt x="740211" y="4181429"/>
                    <a:pt x="745535" y="4178793"/>
                  </a:cubicBezTo>
                  <a:cubicBezTo>
                    <a:pt x="750858" y="4176157"/>
                    <a:pt x="756232" y="4173216"/>
                    <a:pt x="761657" y="4169971"/>
                  </a:cubicBezTo>
                  <a:cubicBezTo>
                    <a:pt x="767082" y="4166726"/>
                    <a:pt x="772684" y="4163025"/>
                    <a:pt x="778464" y="4158868"/>
                  </a:cubicBezTo>
                  <a:close/>
                  <a:moveTo>
                    <a:pt x="629607" y="4158868"/>
                  </a:moveTo>
                  <a:lnTo>
                    <a:pt x="644513" y="4158868"/>
                  </a:lnTo>
                  <a:lnTo>
                    <a:pt x="644513" y="4381848"/>
                  </a:lnTo>
                  <a:lnTo>
                    <a:pt x="609225" y="4381848"/>
                  </a:lnTo>
                  <a:lnTo>
                    <a:pt x="609225" y="4202064"/>
                  </a:lnTo>
                  <a:cubicBezTo>
                    <a:pt x="602837" y="4206627"/>
                    <a:pt x="595967" y="4210506"/>
                    <a:pt x="588616" y="4213700"/>
                  </a:cubicBezTo>
                  <a:cubicBezTo>
                    <a:pt x="581264" y="4216894"/>
                    <a:pt x="572873" y="4219708"/>
                    <a:pt x="563443" y="4222142"/>
                  </a:cubicBezTo>
                  <a:lnTo>
                    <a:pt x="563443" y="4192026"/>
                  </a:lnTo>
                  <a:cubicBezTo>
                    <a:pt x="569324" y="4190099"/>
                    <a:pt x="575003" y="4188071"/>
                    <a:pt x="580478" y="4185942"/>
                  </a:cubicBezTo>
                  <a:cubicBezTo>
                    <a:pt x="585954" y="4183813"/>
                    <a:pt x="591354" y="4181429"/>
                    <a:pt x="596677" y="4178793"/>
                  </a:cubicBezTo>
                  <a:cubicBezTo>
                    <a:pt x="602001" y="4176157"/>
                    <a:pt x="607375" y="4173216"/>
                    <a:pt x="612800" y="4169971"/>
                  </a:cubicBezTo>
                  <a:cubicBezTo>
                    <a:pt x="618225" y="4166726"/>
                    <a:pt x="623827" y="4163025"/>
                    <a:pt x="629607" y="4158868"/>
                  </a:cubicBezTo>
                  <a:close/>
                  <a:moveTo>
                    <a:pt x="480750" y="4158868"/>
                  </a:moveTo>
                  <a:lnTo>
                    <a:pt x="495656" y="4158868"/>
                  </a:lnTo>
                  <a:lnTo>
                    <a:pt x="495656" y="4381848"/>
                  </a:lnTo>
                  <a:lnTo>
                    <a:pt x="460368" y="4381848"/>
                  </a:lnTo>
                  <a:lnTo>
                    <a:pt x="460368" y="4202064"/>
                  </a:lnTo>
                  <a:cubicBezTo>
                    <a:pt x="453980" y="4206627"/>
                    <a:pt x="447110" y="4210506"/>
                    <a:pt x="439759" y="4213700"/>
                  </a:cubicBezTo>
                  <a:cubicBezTo>
                    <a:pt x="432407" y="4216894"/>
                    <a:pt x="424016" y="4219708"/>
                    <a:pt x="414586" y="4222142"/>
                  </a:cubicBezTo>
                  <a:lnTo>
                    <a:pt x="414586" y="4192026"/>
                  </a:lnTo>
                  <a:cubicBezTo>
                    <a:pt x="420467" y="4190099"/>
                    <a:pt x="426146" y="4188071"/>
                    <a:pt x="431621" y="4185942"/>
                  </a:cubicBezTo>
                  <a:cubicBezTo>
                    <a:pt x="437097" y="4183813"/>
                    <a:pt x="442497" y="4181429"/>
                    <a:pt x="447821" y="4178793"/>
                  </a:cubicBezTo>
                  <a:cubicBezTo>
                    <a:pt x="453144" y="4176157"/>
                    <a:pt x="458518" y="4173216"/>
                    <a:pt x="463943" y="4169971"/>
                  </a:cubicBezTo>
                  <a:cubicBezTo>
                    <a:pt x="469368" y="4166726"/>
                    <a:pt x="474970" y="4163025"/>
                    <a:pt x="480750" y="4158868"/>
                  </a:cubicBezTo>
                  <a:close/>
                  <a:moveTo>
                    <a:pt x="11874294" y="3839232"/>
                  </a:moveTo>
                  <a:cubicBezTo>
                    <a:pt x="11848114" y="3839232"/>
                    <a:pt x="11835024" y="3868070"/>
                    <a:pt x="11835024" y="3925746"/>
                  </a:cubicBezTo>
                  <a:cubicBezTo>
                    <a:pt x="11835024" y="3979710"/>
                    <a:pt x="11847863" y="4006692"/>
                    <a:pt x="11873542" y="4006692"/>
                  </a:cubicBezTo>
                  <a:cubicBezTo>
                    <a:pt x="11898818" y="4006692"/>
                    <a:pt x="11911457" y="3979259"/>
                    <a:pt x="11911457" y="3924391"/>
                  </a:cubicBezTo>
                  <a:cubicBezTo>
                    <a:pt x="11911457" y="3867618"/>
                    <a:pt x="11899069" y="3839232"/>
                    <a:pt x="11874294" y="3839232"/>
                  </a:cubicBezTo>
                  <a:close/>
                  <a:moveTo>
                    <a:pt x="11189148" y="3839232"/>
                  </a:moveTo>
                  <a:cubicBezTo>
                    <a:pt x="11162968" y="3839232"/>
                    <a:pt x="11149878" y="3868070"/>
                    <a:pt x="11149878" y="3925746"/>
                  </a:cubicBezTo>
                  <a:cubicBezTo>
                    <a:pt x="11149878" y="3979710"/>
                    <a:pt x="11162717" y="4006692"/>
                    <a:pt x="11188396" y="4006692"/>
                  </a:cubicBezTo>
                  <a:cubicBezTo>
                    <a:pt x="11213672" y="4006692"/>
                    <a:pt x="11226311" y="3979259"/>
                    <a:pt x="11226311" y="3924391"/>
                  </a:cubicBezTo>
                  <a:cubicBezTo>
                    <a:pt x="11226311" y="3867618"/>
                    <a:pt x="11213923" y="3839232"/>
                    <a:pt x="11189148" y="3839232"/>
                  </a:cubicBezTo>
                  <a:close/>
                  <a:moveTo>
                    <a:pt x="9936214" y="3839232"/>
                  </a:moveTo>
                  <a:cubicBezTo>
                    <a:pt x="9910034" y="3839232"/>
                    <a:pt x="9896944" y="3868070"/>
                    <a:pt x="9896944" y="3925746"/>
                  </a:cubicBezTo>
                  <a:cubicBezTo>
                    <a:pt x="9896944" y="3979710"/>
                    <a:pt x="9909783" y="4006692"/>
                    <a:pt x="9935462" y="4006692"/>
                  </a:cubicBezTo>
                  <a:cubicBezTo>
                    <a:pt x="9960738" y="4006692"/>
                    <a:pt x="9973377" y="3979259"/>
                    <a:pt x="9973377" y="3924391"/>
                  </a:cubicBezTo>
                  <a:cubicBezTo>
                    <a:pt x="9973377" y="3867618"/>
                    <a:pt x="9960989" y="3839232"/>
                    <a:pt x="9936214" y="3839232"/>
                  </a:cubicBezTo>
                  <a:close/>
                  <a:moveTo>
                    <a:pt x="9713703" y="3839232"/>
                  </a:moveTo>
                  <a:cubicBezTo>
                    <a:pt x="9687523" y="3839232"/>
                    <a:pt x="9674433" y="3868070"/>
                    <a:pt x="9674433" y="3925746"/>
                  </a:cubicBezTo>
                  <a:cubicBezTo>
                    <a:pt x="9674433" y="3979710"/>
                    <a:pt x="9687272" y="4006692"/>
                    <a:pt x="9712951" y="4006692"/>
                  </a:cubicBezTo>
                  <a:cubicBezTo>
                    <a:pt x="9738227" y="4006692"/>
                    <a:pt x="9750866" y="3979259"/>
                    <a:pt x="9750866" y="3924391"/>
                  </a:cubicBezTo>
                  <a:cubicBezTo>
                    <a:pt x="9750866" y="3867618"/>
                    <a:pt x="9738478" y="3839232"/>
                    <a:pt x="9713703" y="3839232"/>
                  </a:cubicBezTo>
                  <a:close/>
                  <a:moveTo>
                    <a:pt x="6372301" y="3839232"/>
                  </a:moveTo>
                  <a:cubicBezTo>
                    <a:pt x="6346121" y="3839232"/>
                    <a:pt x="6333031" y="3868070"/>
                    <a:pt x="6333031" y="3925746"/>
                  </a:cubicBezTo>
                  <a:cubicBezTo>
                    <a:pt x="6333031" y="3979710"/>
                    <a:pt x="6345870" y="4006692"/>
                    <a:pt x="6371549" y="4006692"/>
                  </a:cubicBezTo>
                  <a:cubicBezTo>
                    <a:pt x="6396826" y="4006692"/>
                    <a:pt x="6409464" y="3979259"/>
                    <a:pt x="6409464" y="3924391"/>
                  </a:cubicBezTo>
                  <a:cubicBezTo>
                    <a:pt x="6409464" y="3867618"/>
                    <a:pt x="6397076" y="3839232"/>
                    <a:pt x="6372301" y="3839232"/>
                  </a:cubicBezTo>
                  <a:close/>
                  <a:moveTo>
                    <a:pt x="5784617" y="3839232"/>
                  </a:moveTo>
                  <a:cubicBezTo>
                    <a:pt x="5758439" y="3839232"/>
                    <a:pt x="5745350" y="3868070"/>
                    <a:pt x="5745350" y="3925746"/>
                  </a:cubicBezTo>
                  <a:cubicBezTo>
                    <a:pt x="5745350" y="3979710"/>
                    <a:pt x="5758187" y="4006692"/>
                    <a:pt x="5783865" y="4006692"/>
                  </a:cubicBezTo>
                  <a:cubicBezTo>
                    <a:pt x="5809143" y="4006692"/>
                    <a:pt x="5821781" y="3979259"/>
                    <a:pt x="5821781" y="3924391"/>
                  </a:cubicBezTo>
                  <a:cubicBezTo>
                    <a:pt x="5821781" y="3867618"/>
                    <a:pt x="5809394" y="3839232"/>
                    <a:pt x="5784617" y="3839232"/>
                  </a:cubicBezTo>
                  <a:close/>
                  <a:moveTo>
                    <a:pt x="5091629" y="3839232"/>
                  </a:moveTo>
                  <a:cubicBezTo>
                    <a:pt x="5065449" y="3839232"/>
                    <a:pt x="5052358" y="3868070"/>
                    <a:pt x="5052358" y="3925746"/>
                  </a:cubicBezTo>
                  <a:cubicBezTo>
                    <a:pt x="5052358" y="3979710"/>
                    <a:pt x="5065200" y="4006692"/>
                    <a:pt x="5090877" y="4006692"/>
                  </a:cubicBezTo>
                  <a:cubicBezTo>
                    <a:pt x="5116154" y="4006692"/>
                    <a:pt x="5128792" y="3979259"/>
                    <a:pt x="5128792" y="3924391"/>
                  </a:cubicBezTo>
                  <a:cubicBezTo>
                    <a:pt x="5128792" y="3867618"/>
                    <a:pt x="5116404" y="3839232"/>
                    <a:pt x="5091629" y="3839232"/>
                  </a:cubicBezTo>
                  <a:close/>
                  <a:moveTo>
                    <a:pt x="3837392" y="3839232"/>
                  </a:moveTo>
                  <a:cubicBezTo>
                    <a:pt x="3811212" y="3839232"/>
                    <a:pt x="3798122" y="3868070"/>
                    <a:pt x="3798122" y="3925746"/>
                  </a:cubicBezTo>
                  <a:cubicBezTo>
                    <a:pt x="3798122" y="3979710"/>
                    <a:pt x="3810961" y="4006692"/>
                    <a:pt x="3836640" y="4006692"/>
                  </a:cubicBezTo>
                  <a:cubicBezTo>
                    <a:pt x="3861916" y="4006692"/>
                    <a:pt x="3874555" y="3979259"/>
                    <a:pt x="3874555" y="3924391"/>
                  </a:cubicBezTo>
                  <a:cubicBezTo>
                    <a:pt x="3874555" y="3867618"/>
                    <a:pt x="3862167" y="3839232"/>
                    <a:pt x="3837392" y="3839232"/>
                  </a:cubicBezTo>
                  <a:close/>
                  <a:moveTo>
                    <a:pt x="3614881" y="3839232"/>
                  </a:moveTo>
                  <a:cubicBezTo>
                    <a:pt x="3588702" y="3839232"/>
                    <a:pt x="3575611" y="3868070"/>
                    <a:pt x="3575611" y="3925746"/>
                  </a:cubicBezTo>
                  <a:cubicBezTo>
                    <a:pt x="3575611" y="3979710"/>
                    <a:pt x="3588451" y="4006692"/>
                    <a:pt x="3614130" y="4006692"/>
                  </a:cubicBezTo>
                  <a:cubicBezTo>
                    <a:pt x="3639407" y="4006692"/>
                    <a:pt x="3652044" y="3979259"/>
                    <a:pt x="3652044" y="3924391"/>
                  </a:cubicBezTo>
                  <a:cubicBezTo>
                    <a:pt x="3652044" y="3867618"/>
                    <a:pt x="3639656" y="3839232"/>
                    <a:pt x="3614881" y="3839232"/>
                  </a:cubicBezTo>
                  <a:close/>
                  <a:moveTo>
                    <a:pt x="10438235" y="3811398"/>
                  </a:moveTo>
                  <a:lnTo>
                    <a:pt x="10453141" y="3811398"/>
                  </a:lnTo>
                  <a:lnTo>
                    <a:pt x="10453141" y="4034378"/>
                  </a:lnTo>
                  <a:lnTo>
                    <a:pt x="10417853" y="4034378"/>
                  </a:lnTo>
                  <a:lnTo>
                    <a:pt x="10417853" y="3854594"/>
                  </a:lnTo>
                  <a:cubicBezTo>
                    <a:pt x="10411465" y="3859158"/>
                    <a:pt x="10404595" y="3863036"/>
                    <a:pt x="10397244" y="3866230"/>
                  </a:cubicBezTo>
                  <a:cubicBezTo>
                    <a:pt x="10389892" y="3869424"/>
                    <a:pt x="10381501" y="3872238"/>
                    <a:pt x="10372071" y="3874672"/>
                  </a:cubicBezTo>
                  <a:lnTo>
                    <a:pt x="10372071" y="3844556"/>
                  </a:lnTo>
                  <a:cubicBezTo>
                    <a:pt x="10377952" y="3842629"/>
                    <a:pt x="10383631" y="3840601"/>
                    <a:pt x="10389106" y="3838472"/>
                  </a:cubicBezTo>
                  <a:cubicBezTo>
                    <a:pt x="10394582" y="3836343"/>
                    <a:pt x="10399982" y="3833959"/>
                    <a:pt x="10405305" y="3831323"/>
                  </a:cubicBezTo>
                  <a:cubicBezTo>
                    <a:pt x="10410629" y="3828687"/>
                    <a:pt x="10416003" y="3825746"/>
                    <a:pt x="10421428" y="3822501"/>
                  </a:cubicBezTo>
                  <a:cubicBezTo>
                    <a:pt x="10426853" y="3819256"/>
                    <a:pt x="10432455" y="3815555"/>
                    <a:pt x="10438235" y="3811398"/>
                  </a:cubicBezTo>
                  <a:close/>
                  <a:moveTo>
                    <a:pt x="12062430" y="3811397"/>
                  </a:moveTo>
                  <a:lnTo>
                    <a:pt x="12077336" y="3811397"/>
                  </a:lnTo>
                  <a:lnTo>
                    <a:pt x="12077336" y="4034377"/>
                  </a:lnTo>
                  <a:lnTo>
                    <a:pt x="12042048" y="4034377"/>
                  </a:lnTo>
                  <a:lnTo>
                    <a:pt x="12042048" y="3854593"/>
                  </a:lnTo>
                  <a:cubicBezTo>
                    <a:pt x="12035660" y="3859157"/>
                    <a:pt x="12028790" y="3863035"/>
                    <a:pt x="12021439" y="3866229"/>
                  </a:cubicBezTo>
                  <a:cubicBezTo>
                    <a:pt x="12014087" y="3869423"/>
                    <a:pt x="12005696" y="3872237"/>
                    <a:pt x="11996266" y="3874671"/>
                  </a:cubicBezTo>
                  <a:lnTo>
                    <a:pt x="11996266" y="3844555"/>
                  </a:lnTo>
                  <a:cubicBezTo>
                    <a:pt x="12002147" y="3842628"/>
                    <a:pt x="12007826" y="3840600"/>
                    <a:pt x="12013301" y="3838471"/>
                  </a:cubicBezTo>
                  <a:cubicBezTo>
                    <a:pt x="12018777" y="3836342"/>
                    <a:pt x="12024177" y="3833958"/>
                    <a:pt x="12029500" y="3831322"/>
                  </a:cubicBezTo>
                  <a:cubicBezTo>
                    <a:pt x="12034824" y="3828686"/>
                    <a:pt x="12040198" y="3825745"/>
                    <a:pt x="12045623" y="3822500"/>
                  </a:cubicBezTo>
                  <a:cubicBezTo>
                    <a:pt x="12051048" y="3819255"/>
                    <a:pt x="12056650" y="3815554"/>
                    <a:pt x="12062430" y="3811397"/>
                  </a:cubicBezTo>
                  <a:close/>
                  <a:moveTo>
                    <a:pt x="11875949" y="3811397"/>
                  </a:moveTo>
                  <a:cubicBezTo>
                    <a:pt x="11923393" y="3811397"/>
                    <a:pt x="11947116" y="3848259"/>
                    <a:pt x="11947116" y="3921984"/>
                  </a:cubicBezTo>
                  <a:cubicBezTo>
                    <a:pt x="11947116" y="3958496"/>
                    <a:pt x="11940420" y="3986355"/>
                    <a:pt x="11927030" y="4005564"/>
                  </a:cubicBezTo>
                  <a:cubicBezTo>
                    <a:pt x="11913639" y="4024772"/>
                    <a:pt x="11894907" y="4034377"/>
                    <a:pt x="11870833" y="4034377"/>
                  </a:cubicBezTo>
                  <a:cubicBezTo>
                    <a:pt x="11848365" y="4034377"/>
                    <a:pt x="11830836" y="4025199"/>
                    <a:pt x="11818248" y="4006843"/>
                  </a:cubicBezTo>
                  <a:cubicBezTo>
                    <a:pt x="11805659" y="3988487"/>
                    <a:pt x="11799365" y="3961956"/>
                    <a:pt x="11799365" y="3927250"/>
                  </a:cubicBezTo>
                  <a:cubicBezTo>
                    <a:pt x="11799365" y="3889134"/>
                    <a:pt x="11805935" y="3860296"/>
                    <a:pt x="11819075" y="3840736"/>
                  </a:cubicBezTo>
                  <a:cubicBezTo>
                    <a:pt x="11832216" y="3821177"/>
                    <a:pt x="11851173" y="3811397"/>
                    <a:pt x="11875949" y="3811397"/>
                  </a:cubicBezTo>
                  <a:close/>
                  <a:moveTo>
                    <a:pt x="11190803" y="3811397"/>
                  </a:moveTo>
                  <a:cubicBezTo>
                    <a:pt x="11238247" y="3811397"/>
                    <a:pt x="11261970" y="3848259"/>
                    <a:pt x="11261970" y="3921984"/>
                  </a:cubicBezTo>
                  <a:cubicBezTo>
                    <a:pt x="11261970" y="3958496"/>
                    <a:pt x="11255274" y="3986355"/>
                    <a:pt x="11241884" y="4005564"/>
                  </a:cubicBezTo>
                  <a:cubicBezTo>
                    <a:pt x="11228493" y="4024772"/>
                    <a:pt x="11209761" y="4034377"/>
                    <a:pt x="11185687" y="4034377"/>
                  </a:cubicBezTo>
                  <a:cubicBezTo>
                    <a:pt x="11163219" y="4034377"/>
                    <a:pt x="11145690" y="4025199"/>
                    <a:pt x="11133102" y="4006843"/>
                  </a:cubicBezTo>
                  <a:cubicBezTo>
                    <a:pt x="11120513" y="3988487"/>
                    <a:pt x="11114219" y="3961956"/>
                    <a:pt x="11114219" y="3927250"/>
                  </a:cubicBezTo>
                  <a:cubicBezTo>
                    <a:pt x="11114219" y="3889134"/>
                    <a:pt x="11120789" y="3860296"/>
                    <a:pt x="11133929" y="3840736"/>
                  </a:cubicBezTo>
                  <a:cubicBezTo>
                    <a:pt x="11147070" y="3821177"/>
                    <a:pt x="11166027" y="3811397"/>
                    <a:pt x="11190803" y="3811397"/>
                  </a:cubicBezTo>
                  <a:close/>
                  <a:moveTo>
                    <a:pt x="10143427" y="3811397"/>
                  </a:moveTo>
                  <a:lnTo>
                    <a:pt x="10158333" y="3811397"/>
                  </a:lnTo>
                  <a:lnTo>
                    <a:pt x="10158333" y="4034377"/>
                  </a:lnTo>
                  <a:lnTo>
                    <a:pt x="10123045" y="4034377"/>
                  </a:lnTo>
                  <a:lnTo>
                    <a:pt x="10123045" y="3854593"/>
                  </a:lnTo>
                  <a:cubicBezTo>
                    <a:pt x="10116657" y="3859157"/>
                    <a:pt x="10109787" y="3863035"/>
                    <a:pt x="10102436" y="3866229"/>
                  </a:cubicBezTo>
                  <a:cubicBezTo>
                    <a:pt x="10095084" y="3869423"/>
                    <a:pt x="10086693" y="3872237"/>
                    <a:pt x="10077263" y="3874671"/>
                  </a:cubicBezTo>
                  <a:lnTo>
                    <a:pt x="10077263" y="3844555"/>
                  </a:lnTo>
                  <a:cubicBezTo>
                    <a:pt x="10083144" y="3842628"/>
                    <a:pt x="10088823" y="3840600"/>
                    <a:pt x="10094298" y="3838471"/>
                  </a:cubicBezTo>
                  <a:cubicBezTo>
                    <a:pt x="10099774" y="3836342"/>
                    <a:pt x="10105174" y="3833958"/>
                    <a:pt x="10110497" y="3831322"/>
                  </a:cubicBezTo>
                  <a:cubicBezTo>
                    <a:pt x="10115821" y="3828686"/>
                    <a:pt x="10121195" y="3825745"/>
                    <a:pt x="10126620" y="3822500"/>
                  </a:cubicBezTo>
                  <a:cubicBezTo>
                    <a:pt x="10132045" y="3819255"/>
                    <a:pt x="10137647" y="3815554"/>
                    <a:pt x="10143427" y="3811397"/>
                  </a:cubicBezTo>
                  <a:close/>
                  <a:moveTo>
                    <a:pt x="9937869" y="3811397"/>
                  </a:moveTo>
                  <a:cubicBezTo>
                    <a:pt x="9985313" y="3811397"/>
                    <a:pt x="10009036" y="3848259"/>
                    <a:pt x="10009036" y="3921984"/>
                  </a:cubicBezTo>
                  <a:cubicBezTo>
                    <a:pt x="10009036" y="3958496"/>
                    <a:pt x="10002340" y="3986355"/>
                    <a:pt x="9988950" y="4005564"/>
                  </a:cubicBezTo>
                  <a:cubicBezTo>
                    <a:pt x="9975559" y="4024772"/>
                    <a:pt x="9956827" y="4034377"/>
                    <a:pt x="9932753" y="4034377"/>
                  </a:cubicBezTo>
                  <a:cubicBezTo>
                    <a:pt x="9910285" y="4034377"/>
                    <a:pt x="9892756" y="4025199"/>
                    <a:pt x="9880168" y="4006843"/>
                  </a:cubicBezTo>
                  <a:cubicBezTo>
                    <a:pt x="9867579" y="3988487"/>
                    <a:pt x="9861285" y="3961956"/>
                    <a:pt x="9861285" y="3927250"/>
                  </a:cubicBezTo>
                  <a:cubicBezTo>
                    <a:pt x="9861285" y="3889134"/>
                    <a:pt x="9867855" y="3860296"/>
                    <a:pt x="9880995" y="3840736"/>
                  </a:cubicBezTo>
                  <a:cubicBezTo>
                    <a:pt x="9894136" y="3821177"/>
                    <a:pt x="9913093" y="3811397"/>
                    <a:pt x="9937869" y="3811397"/>
                  </a:cubicBezTo>
                  <a:close/>
                  <a:moveTo>
                    <a:pt x="9715358" y="3811397"/>
                  </a:moveTo>
                  <a:cubicBezTo>
                    <a:pt x="9762802" y="3811397"/>
                    <a:pt x="9786525" y="3848259"/>
                    <a:pt x="9786525" y="3921984"/>
                  </a:cubicBezTo>
                  <a:cubicBezTo>
                    <a:pt x="9786525" y="3958496"/>
                    <a:pt x="9779829" y="3986355"/>
                    <a:pt x="9766439" y="4005564"/>
                  </a:cubicBezTo>
                  <a:cubicBezTo>
                    <a:pt x="9753048" y="4024772"/>
                    <a:pt x="9734316" y="4034377"/>
                    <a:pt x="9710242" y="4034377"/>
                  </a:cubicBezTo>
                  <a:cubicBezTo>
                    <a:pt x="9687774" y="4034377"/>
                    <a:pt x="9670245" y="4025199"/>
                    <a:pt x="9657657" y="4006843"/>
                  </a:cubicBezTo>
                  <a:cubicBezTo>
                    <a:pt x="9645068" y="3988487"/>
                    <a:pt x="9638774" y="3961956"/>
                    <a:pt x="9638774" y="3927250"/>
                  </a:cubicBezTo>
                  <a:cubicBezTo>
                    <a:pt x="9638774" y="3889134"/>
                    <a:pt x="9645344" y="3860296"/>
                    <a:pt x="9658484" y="3840736"/>
                  </a:cubicBezTo>
                  <a:cubicBezTo>
                    <a:pt x="9671625" y="3821177"/>
                    <a:pt x="9690582" y="3811397"/>
                    <a:pt x="9715358" y="3811397"/>
                  </a:cubicBezTo>
                  <a:close/>
                  <a:moveTo>
                    <a:pt x="9557012" y="3811397"/>
                  </a:moveTo>
                  <a:lnTo>
                    <a:pt x="9571918" y="3811397"/>
                  </a:lnTo>
                  <a:lnTo>
                    <a:pt x="9571918" y="4034377"/>
                  </a:lnTo>
                  <a:lnTo>
                    <a:pt x="9536630" y="4034377"/>
                  </a:lnTo>
                  <a:lnTo>
                    <a:pt x="9536630" y="3854593"/>
                  </a:lnTo>
                  <a:cubicBezTo>
                    <a:pt x="9530242" y="3859157"/>
                    <a:pt x="9523372" y="3863035"/>
                    <a:pt x="9516021" y="3866229"/>
                  </a:cubicBezTo>
                  <a:cubicBezTo>
                    <a:pt x="9508669" y="3869423"/>
                    <a:pt x="9500278" y="3872237"/>
                    <a:pt x="9490848" y="3874671"/>
                  </a:cubicBezTo>
                  <a:lnTo>
                    <a:pt x="9490848" y="3844555"/>
                  </a:lnTo>
                  <a:cubicBezTo>
                    <a:pt x="9496729" y="3842628"/>
                    <a:pt x="9502408" y="3840600"/>
                    <a:pt x="9507883" y="3838471"/>
                  </a:cubicBezTo>
                  <a:cubicBezTo>
                    <a:pt x="9513359" y="3836342"/>
                    <a:pt x="9518759" y="3833958"/>
                    <a:pt x="9524082" y="3831322"/>
                  </a:cubicBezTo>
                  <a:cubicBezTo>
                    <a:pt x="9529406" y="3828686"/>
                    <a:pt x="9534780" y="3825745"/>
                    <a:pt x="9540205" y="3822500"/>
                  </a:cubicBezTo>
                  <a:cubicBezTo>
                    <a:pt x="9545630" y="3819255"/>
                    <a:pt x="9551232" y="3815554"/>
                    <a:pt x="9557012" y="3811397"/>
                  </a:cubicBezTo>
                  <a:close/>
                  <a:moveTo>
                    <a:pt x="9254256" y="3811397"/>
                  </a:moveTo>
                  <a:lnTo>
                    <a:pt x="9269162" y="3811397"/>
                  </a:lnTo>
                  <a:lnTo>
                    <a:pt x="9269162" y="4034377"/>
                  </a:lnTo>
                  <a:lnTo>
                    <a:pt x="9233874" y="4034377"/>
                  </a:lnTo>
                  <a:lnTo>
                    <a:pt x="9233874" y="3854593"/>
                  </a:lnTo>
                  <a:cubicBezTo>
                    <a:pt x="9227486" y="3859157"/>
                    <a:pt x="9220616" y="3863035"/>
                    <a:pt x="9213265" y="3866229"/>
                  </a:cubicBezTo>
                  <a:cubicBezTo>
                    <a:pt x="9205913" y="3869423"/>
                    <a:pt x="9197522" y="3872237"/>
                    <a:pt x="9188092" y="3874671"/>
                  </a:cubicBezTo>
                  <a:lnTo>
                    <a:pt x="9188092" y="3844555"/>
                  </a:lnTo>
                  <a:cubicBezTo>
                    <a:pt x="9193973" y="3842628"/>
                    <a:pt x="9199652" y="3840600"/>
                    <a:pt x="9205127" y="3838471"/>
                  </a:cubicBezTo>
                  <a:cubicBezTo>
                    <a:pt x="9210603" y="3836342"/>
                    <a:pt x="9216003" y="3833958"/>
                    <a:pt x="9221326" y="3831322"/>
                  </a:cubicBezTo>
                  <a:cubicBezTo>
                    <a:pt x="9226650" y="3828686"/>
                    <a:pt x="9232024" y="3825745"/>
                    <a:pt x="9237449" y="3822500"/>
                  </a:cubicBezTo>
                  <a:cubicBezTo>
                    <a:pt x="9242874" y="3819255"/>
                    <a:pt x="9248476" y="3815554"/>
                    <a:pt x="9254256" y="3811397"/>
                  </a:cubicBezTo>
                  <a:close/>
                  <a:moveTo>
                    <a:pt x="8744915" y="3811397"/>
                  </a:moveTo>
                  <a:lnTo>
                    <a:pt x="8759821" y="3811397"/>
                  </a:lnTo>
                  <a:lnTo>
                    <a:pt x="8759821" y="4034377"/>
                  </a:lnTo>
                  <a:lnTo>
                    <a:pt x="8724533" y="4034377"/>
                  </a:lnTo>
                  <a:lnTo>
                    <a:pt x="8724533" y="3854593"/>
                  </a:lnTo>
                  <a:cubicBezTo>
                    <a:pt x="8718145" y="3859157"/>
                    <a:pt x="8711275" y="3863035"/>
                    <a:pt x="8703924" y="3866229"/>
                  </a:cubicBezTo>
                  <a:cubicBezTo>
                    <a:pt x="8696572" y="3869423"/>
                    <a:pt x="8688181" y="3872237"/>
                    <a:pt x="8678751" y="3874671"/>
                  </a:cubicBezTo>
                  <a:lnTo>
                    <a:pt x="8678751" y="3844555"/>
                  </a:lnTo>
                  <a:cubicBezTo>
                    <a:pt x="8684632" y="3842628"/>
                    <a:pt x="8690311" y="3840600"/>
                    <a:pt x="8695786" y="3838471"/>
                  </a:cubicBezTo>
                  <a:cubicBezTo>
                    <a:pt x="8701262" y="3836342"/>
                    <a:pt x="8706662" y="3833958"/>
                    <a:pt x="8711985" y="3831322"/>
                  </a:cubicBezTo>
                  <a:cubicBezTo>
                    <a:pt x="8717309" y="3828686"/>
                    <a:pt x="8722683" y="3825745"/>
                    <a:pt x="8728108" y="3822500"/>
                  </a:cubicBezTo>
                  <a:cubicBezTo>
                    <a:pt x="8733533" y="3819255"/>
                    <a:pt x="8739135" y="3815554"/>
                    <a:pt x="8744915" y="3811397"/>
                  </a:cubicBezTo>
                  <a:close/>
                  <a:moveTo>
                    <a:pt x="7851748" y="3811397"/>
                  </a:moveTo>
                  <a:lnTo>
                    <a:pt x="7866654" y="3811397"/>
                  </a:lnTo>
                  <a:lnTo>
                    <a:pt x="7866654" y="4034377"/>
                  </a:lnTo>
                  <a:lnTo>
                    <a:pt x="7831366" y="4034377"/>
                  </a:lnTo>
                  <a:lnTo>
                    <a:pt x="7831366" y="3854593"/>
                  </a:lnTo>
                  <a:cubicBezTo>
                    <a:pt x="7824978" y="3859157"/>
                    <a:pt x="7818109" y="3863035"/>
                    <a:pt x="7810757" y="3866229"/>
                  </a:cubicBezTo>
                  <a:cubicBezTo>
                    <a:pt x="7803405" y="3869423"/>
                    <a:pt x="7795015" y="3872237"/>
                    <a:pt x="7785584" y="3874671"/>
                  </a:cubicBezTo>
                  <a:lnTo>
                    <a:pt x="7785584" y="3844555"/>
                  </a:lnTo>
                  <a:cubicBezTo>
                    <a:pt x="7791465" y="3842628"/>
                    <a:pt x="7797144" y="3840600"/>
                    <a:pt x="7802619" y="3838471"/>
                  </a:cubicBezTo>
                  <a:cubicBezTo>
                    <a:pt x="7808095" y="3836342"/>
                    <a:pt x="7813495" y="3833958"/>
                    <a:pt x="7818818" y="3831322"/>
                  </a:cubicBezTo>
                  <a:cubicBezTo>
                    <a:pt x="7824142" y="3828686"/>
                    <a:pt x="7829516" y="3825745"/>
                    <a:pt x="7834941" y="3822500"/>
                  </a:cubicBezTo>
                  <a:cubicBezTo>
                    <a:pt x="7840366" y="3819255"/>
                    <a:pt x="7845968" y="3815554"/>
                    <a:pt x="7851748" y="3811397"/>
                  </a:cubicBezTo>
                  <a:close/>
                  <a:moveTo>
                    <a:pt x="7413731" y="3811397"/>
                  </a:moveTo>
                  <a:lnTo>
                    <a:pt x="7428637" y="3811397"/>
                  </a:lnTo>
                  <a:lnTo>
                    <a:pt x="7428637" y="4034377"/>
                  </a:lnTo>
                  <a:lnTo>
                    <a:pt x="7393349" y="4034377"/>
                  </a:lnTo>
                  <a:lnTo>
                    <a:pt x="7393349" y="3854593"/>
                  </a:lnTo>
                  <a:cubicBezTo>
                    <a:pt x="7386961" y="3859157"/>
                    <a:pt x="7380092" y="3863035"/>
                    <a:pt x="7372740" y="3866229"/>
                  </a:cubicBezTo>
                  <a:cubicBezTo>
                    <a:pt x="7365388" y="3869423"/>
                    <a:pt x="7356998" y="3872237"/>
                    <a:pt x="7347567" y="3874671"/>
                  </a:cubicBezTo>
                  <a:lnTo>
                    <a:pt x="7347567" y="3844555"/>
                  </a:lnTo>
                  <a:cubicBezTo>
                    <a:pt x="7353448" y="3842628"/>
                    <a:pt x="7359127" y="3840600"/>
                    <a:pt x="7364602" y="3838471"/>
                  </a:cubicBezTo>
                  <a:cubicBezTo>
                    <a:pt x="7370078" y="3836342"/>
                    <a:pt x="7375478" y="3833958"/>
                    <a:pt x="7380801" y="3831322"/>
                  </a:cubicBezTo>
                  <a:cubicBezTo>
                    <a:pt x="7386125" y="3828686"/>
                    <a:pt x="7391499" y="3825745"/>
                    <a:pt x="7396924" y="3822500"/>
                  </a:cubicBezTo>
                  <a:cubicBezTo>
                    <a:pt x="7402349" y="3819255"/>
                    <a:pt x="7407951" y="3815554"/>
                    <a:pt x="7413731" y="3811397"/>
                  </a:cubicBezTo>
                  <a:close/>
                  <a:moveTo>
                    <a:pt x="7015147" y="3811397"/>
                  </a:moveTo>
                  <a:lnTo>
                    <a:pt x="7030053" y="3811397"/>
                  </a:lnTo>
                  <a:lnTo>
                    <a:pt x="7030053" y="4034377"/>
                  </a:lnTo>
                  <a:lnTo>
                    <a:pt x="6994765" y="4034377"/>
                  </a:lnTo>
                  <a:lnTo>
                    <a:pt x="6994765" y="3854593"/>
                  </a:lnTo>
                  <a:cubicBezTo>
                    <a:pt x="6988377" y="3859157"/>
                    <a:pt x="6981508" y="3863035"/>
                    <a:pt x="6974156" y="3866229"/>
                  </a:cubicBezTo>
                  <a:cubicBezTo>
                    <a:pt x="6966804" y="3869423"/>
                    <a:pt x="6958414" y="3872237"/>
                    <a:pt x="6948983" y="3874671"/>
                  </a:cubicBezTo>
                  <a:lnTo>
                    <a:pt x="6948983" y="3844555"/>
                  </a:lnTo>
                  <a:cubicBezTo>
                    <a:pt x="6954864" y="3842628"/>
                    <a:pt x="6960543" y="3840600"/>
                    <a:pt x="6966018" y="3838471"/>
                  </a:cubicBezTo>
                  <a:cubicBezTo>
                    <a:pt x="6971494" y="3836342"/>
                    <a:pt x="6976894" y="3833958"/>
                    <a:pt x="6982217" y="3831322"/>
                  </a:cubicBezTo>
                  <a:cubicBezTo>
                    <a:pt x="6987541" y="3828686"/>
                    <a:pt x="6992915" y="3825745"/>
                    <a:pt x="6998340" y="3822500"/>
                  </a:cubicBezTo>
                  <a:cubicBezTo>
                    <a:pt x="7003765" y="3819255"/>
                    <a:pt x="7009367" y="3815554"/>
                    <a:pt x="7015147" y="3811397"/>
                  </a:cubicBezTo>
                  <a:close/>
                  <a:moveTo>
                    <a:pt x="6727931" y="3811397"/>
                  </a:moveTo>
                  <a:lnTo>
                    <a:pt x="6742837" y="3811397"/>
                  </a:lnTo>
                  <a:lnTo>
                    <a:pt x="6742837" y="4034377"/>
                  </a:lnTo>
                  <a:lnTo>
                    <a:pt x="6707549" y="4034377"/>
                  </a:lnTo>
                  <a:lnTo>
                    <a:pt x="6707549" y="3854593"/>
                  </a:lnTo>
                  <a:cubicBezTo>
                    <a:pt x="6701161" y="3859157"/>
                    <a:pt x="6694292" y="3863035"/>
                    <a:pt x="6686940" y="3866229"/>
                  </a:cubicBezTo>
                  <a:cubicBezTo>
                    <a:pt x="6679588" y="3869423"/>
                    <a:pt x="6671198" y="3872237"/>
                    <a:pt x="6661767" y="3874671"/>
                  </a:cubicBezTo>
                  <a:lnTo>
                    <a:pt x="6661767" y="3844555"/>
                  </a:lnTo>
                  <a:cubicBezTo>
                    <a:pt x="6667648" y="3842628"/>
                    <a:pt x="6673327" y="3840600"/>
                    <a:pt x="6678802" y="3838471"/>
                  </a:cubicBezTo>
                  <a:cubicBezTo>
                    <a:pt x="6684278" y="3836342"/>
                    <a:pt x="6689678" y="3833958"/>
                    <a:pt x="6695001" y="3831322"/>
                  </a:cubicBezTo>
                  <a:cubicBezTo>
                    <a:pt x="6700325" y="3828686"/>
                    <a:pt x="6705699" y="3825745"/>
                    <a:pt x="6711124" y="3822500"/>
                  </a:cubicBezTo>
                  <a:cubicBezTo>
                    <a:pt x="6716549" y="3819255"/>
                    <a:pt x="6722151" y="3815554"/>
                    <a:pt x="6727931" y="3811397"/>
                  </a:cubicBezTo>
                  <a:close/>
                  <a:moveTo>
                    <a:pt x="6584323" y="3811397"/>
                  </a:moveTo>
                  <a:lnTo>
                    <a:pt x="6599229" y="3811397"/>
                  </a:lnTo>
                  <a:lnTo>
                    <a:pt x="6599229" y="4034377"/>
                  </a:lnTo>
                  <a:lnTo>
                    <a:pt x="6563941" y="4034377"/>
                  </a:lnTo>
                  <a:lnTo>
                    <a:pt x="6563941" y="3854593"/>
                  </a:lnTo>
                  <a:cubicBezTo>
                    <a:pt x="6557553" y="3859157"/>
                    <a:pt x="6550684" y="3863035"/>
                    <a:pt x="6543332" y="3866229"/>
                  </a:cubicBezTo>
                  <a:cubicBezTo>
                    <a:pt x="6535980" y="3869423"/>
                    <a:pt x="6527590" y="3872237"/>
                    <a:pt x="6518159" y="3874671"/>
                  </a:cubicBezTo>
                  <a:lnTo>
                    <a:pt x="6518159" y="3844555"/>
                  </a:lnTo>
                  <a:cubicBezTo>
                    <a:pt x="6524040" y="3842628"/>
                    <a:pt x="6529719" y="3840600"/>
                    <a:pt x="6535194" y="3838471"/>
                  </a:cubicBezTo>
                  <a:cubicBezTo>
                    <a:pt x="6540670" y="3836342"/>
                    <a:pt x="6546070" y="3833958"/>
                    <a:pt x="6551393" y="3831322"/>
                  </a:cubicBezTo>
                  <a:cubicBezTo>
                    <a:pt x="6556717" y="3828686"/>
                    <a:pt x="6562091" y="3825745"/>
                    <a:pt x="6567516" y="3822500"/>
                  </a:cubicBezTo>
                  <a:cubicBezTo>
                    <a:pt x="6572941" y="3819255"/>
                    <a:pt x="6578543" y="3815554"/>
                    <a:pt x="6584323" y="3811397"/>
                  </a:cubicBezTo>
                  <a:close/>
                  <a:moveTo>
                    <a:pt x="6373956" y="3811397"/>
                  </a:moveTo>
                  <a:cubicBezTo>
                    <a:pt x="6421401" y="3811397"/>
                    <a:pt x="6445123" y="3848259"/>
                    <a:pt x="6445123" y="3921984"/>
                  </a:cubicBezTo>
                  <a:cubicBezTo>
                    <a:pt x="6445123" y="3958496"/>
                    <a:pt x="6438428" y="3986355"/>
                    <a:pt x="6425037" y="4005564"/>
                  </a:cubicBezTo>
                  <a:cubicBezTo>
                    <a:pt x="6411646" y="4024772"/>
                    <a:pt x="6392914" y="4034377"/>
                    <a:pt x="6368840" y="4034377"/>
                  </a:cubicBezTo>
                  <a:cubicBezTo>
                    <a:pt x="6346372" y="4034377"/>
                    <a:pt x="6328843" y="4025199"/>
                    <a:pt x="6316255" y="4006843"/>
                  </a:cubicBezTo>
                  <a:cubicBezTo>
                    <a:pt x="6303666" y="3988487"/>
                    <a:pt x="6297372" y="3961956"/>
                    <a:pt x="6297372" y="3927250"/>
                  </a:cubicBezTo>
                  <a:cubicBezTo>
                    <a:pt x="6297372" y="3889134"/>
                    <a:pt x="6303942" y="3860296"/>
                    <a:pt x="6317082" y="3840736"/>
                  </a:cubicBezTo>
                  <a:cubicBezTo>
                    <a:pt x="6330223" y="3821177"/>
                    <a:pt x="6349180" y="3811397"/>
                    <a:pt x="6373956" y="3811397"/>
                  </a:cubicBezTo>
                  <a:close/>
                  <a:moveTo>
                    <a:pt x="5975659" y="3811397"/>
                  </a:moveTo>
                  <a:lnTo>
                    <a:pt x="5990568" y="3811397"/>
                  </a:lnTo>
                  <a:lnTo>
                    <a:pt x="5990568" y="4034377"/>
                  </a:lnTo>
                  <a:lnTo>
                    <a:pt x="5955278" y="4034377"/>
                  </a:lnTo>
                  <a:lnTo>
                    <a:pt x="5955278" y="3854593"/>
                  </a:lnTo>
                  <a:cubicBezTo>
                    <a:pt x="5948891" y="3859157"/>
                    <a:pt x="5942020" y="3863035"/>
                    <a:pt x="5934669" y="3866229"/>
                  </a:cubicBezTo>
                  <a:cubicBezTo>
                    <a:pt x="5927317" y="3869423"/>
                    <a:pt x="5918927" y="3872237"/>
                    <a:pt x="5909498" y="3874671"/>
                  </a:cubicBezTo>
                  <a:lnTo>
                    <a:pt x="5909498" y="3844555"/>
                  </a:lnTo>
                  <a:cubicBezTo>
                    <a:pt x="5915377" y="3842628"/>
                    <a:pt x="5921055" y="3840600"/>
                    <a:pt x="5926531" y="3838471"/>
                  </a:cubicBezTo>
                  <a:cubicBezTo>
                    <a:pt x="5932007" y="3836342"/>
                    <a:pt x="5937407" y="3833958"/>
                    <a:pt x="5942730" y="3831322"/>
                  </a:cubicBezTo>
                  <a:cubicBezTo>
                    <a:pt x="5948054" y="3828686"/>
                    <a:pt x="5953429" y="3825745"/>
                    <a:pt x="5958852" y="3822500"/>
                  </a:cubicBezTo>
                  <a:cubicBezTo>
                    <a:pt x="5964279" y="3819255"/>
                    <a:pt x="5969881" y="3815554"/>
                    <a:pt x="5975659" y="3811397"/>
                  </a:cubicBezTo>
                  <a:close/>
                  <a:moveTo>
                    <a:pt x="5786272" y="3811397"/>
                  </a:moveTo>
                  <a:cubicBezTo>
                    <a:pt x="5833719" y="3811397"/>
                    <a:pt x="5857440" y="3848259"/>
                    <a:pt x="5857440" y="3921984"/>
                  </a:cubicBezTo>
                  <a:cubicBezTo>
                    <a:pt x="5857440" y="3958496"/>
                    <a:pt x="5850744" y="3986355"/>
                    <a:pt x="5837355" y="4005564"/>
                  </a:cubicBezTo>
                  <a:cubicBezTo>
                    <a:pt x="5823963" y="4024772"/>
                    <a:pt x="5805230" y="4034377"/>
                    <a:pt x="5781158" y="4034377"/>
                  </a:cubicBezTo>
                  <a:cubicBezTo>
                    <a:pt x="5758689" y="4034377"/>
                    <a:pt x="5741161" y="4025199"/>
                    <a:pt x="5728572" y="4006843"/>
                  </a:cubicBezTo>
                  <a:cubicBezTo>
                    <a:pt x="5715984" y="3988487"/>
                    <a:pt x="5709690" y="3961956"/>
                    <a:pt x="5709690" y="3927250"/>
                  </a:cubicBezTo>
                  <a:cubicBezTo>
                    <a:pt x="5709690" y="3889134"/>
                    <a:pt x="5716259" y="3860296"/>
                    <a:pt x="5729400" y="3840736"/>
                  </a:cubicBezTo>
                  <a:cubicBezTo>
                    <a:pt x="5742540" y="3821177"/>
                    <a:pt x="5761498" y="3811397"/>
                    <a:pt x="5786272" y="3811397"/>
                  </a:cubicBezTo>
                  <a:close/>
                  <a:moveTo>
                    <a:pt x="5093284" y="3811397"/>
                  </a:moveTo>
                  <a:cubicBezTo>
                    <a:pt x="5140729" y="3811397"/>
                    <a:pt x="5164451" y="3848259"/>
                    <a:pt x="5164451" y="3921984"/>
                  </a:cubicBezTo>
                  <a:cubicBezTo>
                    <a:pt x="5164451" y="3958496"/>
                    <a:pt x="5157756" y="3986355"/>
                    <a:pt x="5144364" y="4005564"/>
                  </a:cubicBezTo>
                  <a:cubicBezTo>
                    <a:pt x="5130974" y="4024772"/>
                    <a:pt x="5112242" y="4034377"/>
                    <a:pt x="5088168" y="4034377"/>
                  </a:cubicBezTo>
                  <a:cubicBezTo>
                    <a:pt x="5065701" y="4034377"/>
                    <a:pt x="5048170" y="4025199"/>
                    <a:pt x="5035583" y="4006843"/>
                  </a:cubicBezTo>
                  <a:cubicBezTo>
                    <a:pt x="5022994" y="3988487"/>
                    <a:pt x="5016700" y="3961956"/>
                    <a:pt x="5016700" y="3927250"/>
                  </a:cubicBezTo>
                  <a:cubicBezTo>
                    <a:pt x="5016700" y="3889134"/>
                    <a:pt x="5023271" y="3860296"/>
                    <a:pt x="5036410" y="3840736"/>
                  </a:cubicBezTo>
                  <a:cubicBezTo>
                    <a:pt x="5049553" y="3821177"/>
                    <a:pt x="5068509" y="3811397"/>
                    <a:pt x="5093284" y="3811397"/>
                  </a:cubicBezTo>
                  <a:close/>
                  <a:moveTo>
                    <a:pt x="4694968" y="3811397"/>
                  </a:moveTo>
                  <a:lnTo>
                    <a:pt x="4709876" y="3811397"/>
                  </a:lnTo>
                  <a:lnTo>
                    <a:pt x="4709876" y="4034377"/>
                  </a:lnTo>
                  <a:lnTo>
                    <a:pt x="4674589" y="4034377"/>
                  </a:lnTo>
                  <a:lnTo>
                    <a:pt x="4674589" y="3854593"/>
                  </a:lnTo>
                  <a:cubicBezTo>
                    <a:pt x="4668200" y="3859157"/>
                    <a:pt x="4661331" y="3863035"/>
                    <a:pt x="4653978" y="3866229"/>
                  </a:cubicBezTo>
                  <a:cubicBezTo>
                    <a:pt x="4646628" y="3869423"/>
                    <a:pt x="4638236" y="3872237"/>
                    <a:pt x="4628805" y="3874671"/>
                  </a:cubicBezTo>
                  <a:lnTo>
                    <a:pt x="4628805" y="3844555"/>
                  </a:lnTo>
                  <a:cubicBezTo>
                    <a:pt x="4634687" y="3842628"/>
                    <a:pt x="4640364" y="3840600"/>
                    <a:pt x="4645841" y="3838471"/>
                  </a:cubicBezTo>
                  <a:cubicBezTo>
                    <a:pt x="4651316" y="3836342"/>
                    <a:pt x="4656717" y="3833958"/>
                    <a:pt x="4662040" y="3831322"/>
                  </a:cubicBezTo>
                  <a:cubicBezTo>
                    <a:pt x="4667363" y="3828686"/>
                    <a:pt x="4672738" y="3825745"/>
                    <a:pt x="4678162" y="3822500"/>
                  </a:cubicBezTo>
                  <a:cubicBezTo>
                    <a:pt x="4683588" y="3819255"/>
                    <a:pt x="4689190" y="3815554"/>
                    <a:pt x="4694968" y="3811397"/>
                  </a:cubicBezTo>
                  <a:close/>
                  <a:moveTo>
                    <a:pt x="4345906" y="3811397"/>
                  </a:moveTo>
                  <a:lnTo>
                    <a:pt x="4360813" y="3811397"/>
                  </a:lnTo>
                  <a:lnTo>
                    <a:pt x="4360813" y="4034377"/>
                  </a:lnTo>
                  <a:lnTo>
                    <a:pt x="4325525" y="4034377"/>
                  </a:lnTo>
                  <a:lnTo>
                    <a:pt x="4325525" y="3854593"/>
                  </a:lnTo>
                  <a:cubicBezTo>
                    <a:pt x="4319138" y="3859157"/>
                    <a:pt x="4312268" y="3863035"/>
                    <a:pt x="4304915" y="3866229"/>
                  </a:cubicBezTo>
                  <a:cubicBezTo>
                    <a:pt x="4297564" y="3869423"/>
                    <a:pt x="4289174" y="3872237"/>
                    <a:pt x="4279743" y="3874671"/>
                  </a:cubicBezTo>
                  <a:lnTo>
                    <a:pt x="4279743" y="3844555"/>
                  </a:lnTo>
                  <a:cubicBezTo>
                    <a:pt x="4285625" y="3842628"/>
                    <a:pt x="4291302" y="3840600"/>
                    <a:pt x="4296778" y="3838471"/>
                  </a:cubicBezTo>
                  <a:cubicBezTo>
                    <a:pt x="4302254" y="3836342"/>
                    <a:pt x="4307653" y="3833958"/>
                    <a:pt x="4312977" y="3831322"/>
                  </a:cubicBezTo>
                  <a:cubicBezTo>
                    <a:pt x="4318300" y="3828686"/>
                    <a:pt x="4323675" y="3825745"/>
                    <a:pt x="4329099" y="3822500"/>
                  </a:cubicBezTo>
                  <a:cubicBezTo>
                    <a:pt x="4334525" y="3819255"/>
                    <a:pt x="4340127" y="3815554"/>
                    <a:pt x="4345906" y="3811397"/>
                  </a:cubicBezTo>
                  <a:close/>
                  <a:moveTo>
                    <a:pt x="3839047" y="3811397"/>
                  </a:moveTo>
                  <a:cubicBezTo>
                    <a:pt x="3886491" y="3811397"/>
                    <a:pt x="3910214" y="3848259"/>
                    <a:pt x="3910214" y="3921984"/>
                  </a:cubicBezTo>
                  <a:cubicBezTo>
                    <a:pt x="3910214" y="3958496"/>
                    <a:pt x="3903519" y="3986355"/>
                    <a:pt x="3890128" y="4005564"/>
                  </a:cubicBezTo>
                  <a:cubicBezTo>
                    <a:pt x="3876737" y="4024772"/>
                    <a:pt x="3858005" y="4034377"/>
                    <a:pt x="3833931" y="4034377"/>
                  </a:cubicBezTo>
                  <a:cubicBezTo>
                    <a:pt x="3811463" y="4034377"/>
                    <a:pt x="3793934" y="4025199"/>
                    <a:pt x="3781346" y="4006843"/>
                  </a:cubicBezTo>
                  <a:cubicBezTo>
                    <a:pt x="3768757" y="3988487"/>
                    <a:pt x="3762464" y="3961956"/>
                    <a:pt x="3762464" y="3927250"/>
                  </a:cubicBezTo>
                  <a:cubicBezTo>
                    <a:pt x="3762464" y="3889134"/>
                    <a:pt x="3769034" y="3860296"/>
                    <a:pt x="3782173" y="3840736"/>
                  </a:cubicBezTo>
                  <a:cubicBezTo>
                    <a:pt x="3795313" y="3821177"/>
                    <a:pt x="3814271" y="3811397"/>
                    <a:pt x="3839047" y="3811397"/>
                  </a:cubicBezTo>
                  <a:close/>
                  <a:moveTo>
                    <a:pt x="3616537" y="3811397"/>
                  </a:moveTo>
                  <a:cubicBezTo>
                    <a:pt x="3663981" y="3811397"/>
                    <a:pt x="3687703" y="3848259"/>
                    <a:pt x="3687703" y="3921984"/>
                  </a:cubicBezTo>
                  <a:cubicBezTo>
                    <a:pt x="3687703" y="3958496"/>
                    <a:pt x="3681008" y="3986355"/>
                    <a:pt x="3667617" y="4005564"/>
                  </a:cubicBezTo>
                  <a:cubicBezTo>
                    <a:pt x="3654226" y="4024772"/>
                    <a:pt x="3635494" y="4034377"/>
                    <a:pt x="3611420" y="4034377"/>
                  </a:cubicBezTo>
                  <a:cubicBezTo>
                    <a:pt x="3588952" y="4034377"/>
                    <a:pt x="3571422" y="4025199"/>
                    <a:pt x="3558835" y="4006843"/>
                  </a:cubicBezTo>
                  <a:cubicBezTo>
                    <a:pt x="3546246" y="3988487"/>
                    <a:pt x="3539952" y="3961956"/>
                    <a:pt x="3539952" y="3927250"/>
                  </a:cubicBezTo>
                  <a:cubicBezTo>
                    <a:pt x="3539952" y="3889134"/>
                    <a:pt x="3546522" y="3860296"/>
                    <a:pt x="3559662" y="3840736"/>
                  </a:cubicBezTo>
                  <a:cubicBezTo>
                    <a:pt x="3572804" y="3821177"/>
                    <a:pt x="3591760" y="3811397"/>
                    <a:pt x="3616537" y="3811397"/>
                  </a:cubicBezTo>
                  <a:close/>
                  <a:moveTo>
                    <a:pt x="3454863" y="3811397"/>
                  </a:moveTo>
                  <a:lnTo>
                    <a:pt x="3469768" y="3811397"/>
                  </a:lnTo>
                  <a:lnTo>
                    <a:pt x="3469768" y="4034377"/>
                  </a:lnTo>
                  <a:lnTo>
                    <a:pt x="3434481" y="4034377"/>
                  </a:lnTo>
                  <a:lnTo>
                    <a:pt x="3434481" y="3854593"/>
                  </a:lnTo>
                  <a:cubicBezTo>
                    <a:pt x="3428092" y="3859157"/>
                    <a:pt x="3421223" y="3863035"/>
                    <a:pt x="3413872" y="3866229"/>
                  </a:cubicBezTo>
                  <a:cubicBezTo>
                    <a:pt x="3406519" y="3869423"/>
                    <a:pt x="3398129" y="3872237"/>
                    <a:pt x="3388698" y="3874671"/>
                  </a:cubicBezTo>
                  <a:lnTo>
                    <a:pt x="3388698" y="3844555"/>
                  </a:lnTo>
                  <a:cubicBezTo>
                    <a:pt x="3394580" y="3842628"/>
                    <a:pt x="3400259" y="3840600"/>
                    <a:pt x="3405734" y="3838471"/>
                  </a:cubicBezTo>
                  <a:cubicBezTo>
                    <a:pt x="3411209" y="3836342"/>
                    <a:pt x="3416609" y="3833958"/>
                    <a:pt x="3421933" y="3831322"/>
                  </a:cubicBezTo>
                  <a:cubicBezTo>
                    <a:pt x="3427256" y="3828686"/>
                    <a:pt x="3432632" y="3825745"/>
                    <a:pt x="3438054" y="3822500"/>
                  </a:cubicBezTo>
                  <a:cubicBezTo>
                    <a:pt x="3443480" y="3819255"/>
                    <a:pt x="3449083" y="3815554"/>
                    <a:pt x="3454863" y="3811397"/>
                  </a:cubicBezTo>
                  <a:close/>
                  <a:moveTo>
                    <a:pt x="3158682" y="3811397"/>
                  </a:moveTo>
                  <a:lnTo>
                    <a:pt x="3173587" y="3811397"/>
                  </a:lnTo>
                  <a:lnTo>
                    <a:pt x="3173587" y="4034377"/>
                  </a:lnTo>
                  <a:lnTo>
                    <a:pt x="3138299" y="4034377"/>
                  </a:lnTo>
                  <a:lnTo>
                    <a:pt x="3138299" y="3854593"/>
                  </a:lnTo>
                  <a:cubicBezTo>
                    <a:pt x="3131912" y="3859157"/>
                    <a:pt x="3125042" y="3863035"/>
                    <a:pt x="3117690" y="3866229"/>
                  </a:cubicBezTo>
                  <a:cubicBezTo>
                    <a:pt x="3110339" y="3869423"/>
                    <a:pt x="3101948" y="3872237"/>
                    <a:pt x="3092517" y="3874671"/>
                  </a:cubicBezTo>
                  <a:lnTo>
                    <a:pt x="3092517" y="3844555"/>
                  </a:lnTo>
                  <a:cubicBezTo>
                    <a:pt x="3098398" y="3842628"/>
                    <a:pt x="3104077" y="3840600"/>
                    <a:pt x="3109553" y="3838471"/>
                  </a:cubicBezTo>
                  <a:cubicBezTo>
                    <a:pt x="3115028" y="3836342"/>
                    <a:pt x="3120428" y="3833958"/>
                    <a:pt x="3125751" y="3831322"/>
                  </a:cubicBezTo>
                  <a:cubicBezTo>
                    <a:pt x="3131075" y="3828686"/>
                    <a:pt x="3136449" y="3825745"/>
                    <a:pt x="3141875" y="3822500"/>
                  </a:cubicBezTo>
                  <a:cubicBezTo>
                    <a:pt x="3147300" y="3819255"/>
                    <a:pt x="3152901" y="3815554"/>
                    <a:pt x="3158682" y="3811397"/>
                  </a:cubicBezTo>
                  <a:close/>
                  <a:moveTo>
                    <a:pt x="2783382" y="3811397"/>
                  </a:moveTo>
                  <a:lnTo>
                    <a:pt x="2798288" y="3811397"/>
                  </a:lnTo>
                  <a:lnTo>
                    <a:pt x="2798288" y="4034377"/>
                  </a:lnTo>
                  <a:lnTo>
                    <a:pt x="2763000" y="4034377"/>
                  </a:lnTo>
                  <a:lnTo>
                    <a:pt x="2763000" y="3854593"/>
                  </a:lnTo>
                  <a:cubicBezTo>
                    <a:pt x="2756612" y="3859157"/>
                    <a:pt x="2749742" y="3863035"/>
                    <a:pt x="2742391" y="3866229"/>
                  </a:cubicBezTo>
                  <a:cubicBezTo>
                    <a:pt x="2735039" y="3869423"/>
                    <a:pt x="2726649" y="3872237"/>
                    <a:pt x="2717219" y="3874671"/>
                  </a:cubicBezTo>
                  <a:lnTo>
                    <a:pt x="2717219" y="3844555"/>
                  </a:lnTo>
                  <a:cubicBezTo>
                    <a:pt x="2723100" y="3842628"/>
                    <a:pt x="2728778" y="3840600"/>
                    <a:pt x="2734253" y="3838471"/>
                  </a:cubicBezTo>
                  <a:cubicBezTo>
                    <a:pt x="2739729" y="3836342"/>
                    <a:pt x="2745129" y="3833958"/>
                    <a:pt x="2750453" y="3831322"/>
                  </a:cubicBezTo>
                  <a:cubicBezTo>
                    <a:pt x="2755776" y="3828686"/>
                    <a:pt x="2761151" y="3825745"/>
                    <a:pt x="2766576" y="3822500"/>
                  </a:cubicBezTo>
                  <a:cubicBezTo>
                    <a:pt x="2772000" y="3819255"/>
                    <a:pt x="2777603" y="3815554"/>
                    <a:pt x="2783382" y="3811397"/>
                  </a:cubicBezTo>
                  <a:close/>
                  <a:moveTo>
                    <a:pt x="2489154" y="3811397"/>
                  </a:moveTo>
                  <a:lnTo>
                    <a:pt x="2504060" y="3811397"/>
                  </a:lnTo>
                  <a:lnTo>
                    <a:pt x="2504060" y="4034377"/>
                  </a:lnTo>
                  <a:lnTo>
                    <a:pt x="2468772" y="4034377"/>
                  </a:lnTo>
                  <a:lnTo>
                    <a:pt x="2468772" y="3854593"/>
                  </a:lnTo>
                  <a:cubicBezTo>
                    <a:pt x="2462385" y="3859157"/>
                    <a:pt x="2455514" y="3863035"/>
                    <a:pt x="2448163" y="3866229"/>
                  </a:cubicBezTo>
                  <a:cubicBezTo>
                    <a:pt x="2440812" y="3869423"/>
                    <a:pt x="2432420" y="3872237"/>
                    <a:pt x="2422990" y="3874671"/>
                  </a:cubicBezTo>
                  <a:lnTo>
                    <a:pt x="2422990" y="3844555"/>
                  </a:lnTo>
                  <a:cubicBezTo>
                    <a:pt x="2428871" y="3842628"/>
                    <a:pt x="2434551" y="3840600"/>
                    <a:pt x="2440025" y="3838471"/>
                  </a:cubicBezTo>
                  <a:cubicBezTo>
                    <a:pt x="2445502" y="3836342"/>
                    <a:pt x="2450900" y="3833958"/>
                    <a:pt x="2456224" y="3831322"/>
                  </a:cubicBezTo>
                  <a:cubicBezTo>
                    <a:pt x="2461549" y="3828686"/>
                    <a:pt x="2466922" y="3825745"/>
                    <a:pt x="2472346" y="3822500"/>
                  </a:cubicBezTo>
                  <a:cubicBezTo>
                    <a:pt x="2477772" y="3819255"/>
                    <a:pt x="2483374" y="3815554"/>
                    <a:pt x="2489154" y="3811397"/>
                  </a:cubicBezTo>
                  <a:close/>
                  <a:moveTo>
                    <a:pt x="1599916" y="3811397"/>
                  </a:moveTo>
                  <a:lnTo>
                    <a:pt x="1614822" y="3811397"/>
                  </a:lnTo>
                  <a:lnTo>
                    <a:pt x="1614822" y="4034377"/>
                  </a:lnTo>
                  <a:lnTo>
                    <a:pt x="1579534" y="4034377"/>
                  </a:lnTo>
                  <a:lnTo>
                    <a:pt x="1579534" y="3854593"/>
                  </a:lnTo>
                  <a:cubicBezTo>
                    <a:pt x="1573146" y="3859157"/>
                    <a:pt x="1566276" y="3863035"/>
                    <a:pt x="1558925" y="3866229"/>
                  </a:cubicBezTo>
                  <a:cubicBezTo>
                    <a:pt x="1551573" y="3869423"/>
                    <a:pt x="1543182" y="3872237"/>
                    <a:pt x="1533752" y="3874671"/>
                  </a:cubicBezTo>
                  <a:lnTo>
                    <a:pt x="1533752" y="3844555"/>
                  </a:lnTo>
                  <a:cubicBezTo>
                    <a:pt x="1539633" y="3842628"/>
                    <a:pt x="1545312" y="3840600"/>
                    <a:pt x="1550787" y="3838471"/>
                  </a:cubicBezTo>
                  <a:cubicBezTo>
                    <a:pt x="1556263" y="3836342"/>
                    <a:pt x="1561663" y="3833958"/>
                    <a:pt x="1566986" y="3831322"/>
                  </a:cubicBezTo>
                  <a:cubicBezTo>
                    <a:pt x="1572310" y="3828686"/>
                    <a:pt x="1577684" y="3825745"/>
                    <a:pt x="1583109" y="3822500"/>
                  </a:cubicBezTo>
                  <a:cubicBezTo>
                    <a:pt x="1588534" y="3819255"/>
                    <a:pt x="1594136" y="3815554"/>
                    <a:pt x="1599916" y="3811397"/>
                  </a:cubicBezTo>
                  <a:close/>
                  <a:moveTo>
                    <a:pt x="1302202" y="3811397"/>
                  </a:moveTo>
                  <a:lnTo>
                    <a:pt x="1317108" y="3811397"/>
                  </a:lnTo>
                  <a:lnTo>
                    <a:pt x="1317108" y="4034377"/>
                  </a:lnTo>
                  <a:lnTo>
                    <a:pt x="1281820" y="4034377"/>
                  </a:lnTo>
                  <a:lnTo>
                    <a:pt x="1281820" y="3854593"/>
                  </a:lnTo>
                  <a:cubicBezTo>
                    <a:pt x="1275432" y="3859157"/>
                    <a:pt x="1268562" y="3863035"/>
                    <a:pt x="1261211" y="3866229"/>
                  </a:cubicBezTo>
                  <a:cubicBezTo>
                    <a:pt x="1253859" y="3869423"/>
                    <a:pt x="1245468" y="3872237"/>
                    <a:pt x="1236038" y="3874671"/>
                  </a:cubicBezTo>
                  <a:lnTo>
                    <a:pt x="1236038" y="3844555"/>
                  </a:lnTo>
                  <a:cubicBezTo>
                    <a:pt x="1241919" y="3842628"/>
                    <a:pt x="1247598" y="3840600"/>
                    <a:pt x="1253073" y="3838471"/>
                  </a:cubicBezTo>
                  <a:cubicBezTo>
                    <a:pt x="1258549" y="3836342"/>
                    <a:pt x="1263949" y="3833958"/>
                    <a:pt x="1269272" y="3831322"/>
                  </a:cubicBezTo>
                  <a:cubicBezTo>
                    <a:pt x="1274596" y="3828686"/>
                    <a:pt x="1279970" y="3825745"/>
                    <a:pt x="1285395" y="3822500"/>
                  </a:cubicBezTo>
                  <a:cubicBezTo>
                    <a:pt x="1290820" y="3819255"/>
                    <a:pt x="1296422" y="3815554"/>
                    <a:pt x="1302202" y="3811397"/>
                  </a:cubicBezTo>
                  <a:close/>
                  <a:moveTo>
                    <a:pt x="927321" y="3811397"/>
                  </a:moveTo>
                  <a:lnTo>
                    <a:pt x="942227" y="3811397"/>
                  </a:lnTo>
                  <a:lnTo>
                    <a:pt x="942227" y="4034377"/>
                  </a:lnTo>
                  <a:lnTo>
                    <a:pt x="906939" y="4034377"/>
                  </a:lnTo>
                  <a:lnTo>
                    <a:pt x="906939" y="3854593"/>
                  </a:lnTo>
                  <a:cubicBezTo>
                    <a:pt x="900551" y="3859157"/>
                    <a:pt x="893681" y="3863035"/>
                    <a:pt x="886330" y="3866229"/>
                  </a:cubicBezTo>
                  <a:cubicBezTo>
                    <a:pt x="878978" y="3869423"/>
                    <a:pt x="870587" y="3872237"/>
                    <a:pt x="861157" y="3874671"/>
                  </a:cubicBezTo>
                  <a:lnTo>
                    <a:pt x="861157" y="3844555"/>
                  </a:lnTo>
                  <a:cubicBezTo>
                    <a:pt x="867038" y="3842628"/>
                    <a:pt x="872717" y="3840600"/>
                    <a:pt x="878192" y="3838471"/>
                  </a:cubicBezTo>
                  <a:cubicBezTo>
                    <a:pt x="883668" y="3836342"/>
                    <a:pt x="889068" y="3833958"/>
                    <a:pt x="894391" y="3831322"/>
                  </a:cubicBezTo>
                  <a:cubicBezTo>
                    <a:pt x="899715" y="3828686"/>
                    <a:pt x="905089" y="3825745"/>
                    <a:pt x="910514" y="3822500"/>
                  </a:cubicBezTo>
                  <a:cubicBezTo>
                    <a:pt x="915939" y="3819255"/>
                    <a:pt x="921541" y="3815554"/>
                    <a:pt x="927321" y="3811397"/>
                  </a:cubicBezTo>
                  <a:close/>
                  <a:moveTo>
                    <a:pt x="778464" y="3811397"/>
                  </a:moveTo>
                  <a:lnTo>
                    <a:pt x="793370" y="3811397"/>
                  </a:lnTo>
                  <a:lnTo>
                    <a:pt x="793370" y="4034377"/>
                  </a:lnTo>
                  <a:lnTo>
                    <a:pt x="758082" y="4034377"/>
                  </a:lnTo>
                  <a:lnTo>
                    <a:pt x="758082" y="3854593"/>
                  </a:lnTo>
                  <a:cubicBezTo>
                    <a:pt x="751694" y="3859157"/>
                    <a:pt x="744824" y="3863035"/>
                    <a:pt x="737473" y="3866229"/>
                  </a:cubicBezTo>
                  <a:cubicBezTo>
                    <a:pt x="730121" y="3869423"/>
                    <a:pt x="721730" y="3872237"/>
                    <a:pt x="712300" y="3874671"/>
                  </a:cubicBezTo>
                  <a:lnTo>
                    <a:pt x="712300" y="3844555"/>
                  </a:lnTo>
                  <a:cubicBezTo>
                    <a:pt x="718181" y="3842628"/>
                    <a:pt x="723860" y="3840600"/>
                    <a:pt x="729335" y="3838471"/>
                  </a:cubicBezTo>
                  <a:cubicBezTo>
                    <a:pt x="734811" y="3836342"/>
                    <a:pt x="740211" y="3833958"/>
                    <a:pt x="745535" y="3831322"/>
                  </a:cubicBezTo>
                  <a:cubicBezTo>
                    <a:pt x="750858" y="3828686"/>
                    <a:pt x="756232" y="3825745"/>
                    <a:pt x="761657" y="3822500"/>
                  </a:cubicBezTo>
                  <a:cubicBezTo>
                    <a:pt x="767082" y="3819255"/>
                    <a:pt x="772684" y="3815554"/>
                    <a:pt x="778464" y="3811397"/>
                  </a:cubicBezTo>
                  <a:close/>
                  <a:moveTo>
                    <a:pt x="629607" y="3811397"/>
                  </a:moveTo>
                  <a:lnTo>
                    <a:pt x="644513" y="3811397"/>
                  </a:lnTo>
                  <a:lnTo>
                    <a:pt x="644513" y="4034377"/>
                  </a:lnTo>
                  <a:lnTo>
                    <a:pt x="609225" y="4034377"/>
                  </a:lnTo>
                  <a:lnTo>
                    <a:pt x="609225" y="3854593"/>
                  </a:lnTo>
                  <a:cubicBezTo>
                    <a:pt x="602837" y="3859157"/>
                    <a:pt x="595967" y="3863035"/>
                    <a:pt x="588616" y="3866229"/>
                  </a:cubicBezTo>
                  <a:cubicBezTo>
                    <a:pt x="581264" y="3869423"/>
                    <a:pt x="572873" y="3872237"/>
                    <a:pt x="563443" y="3874671"/>
                  </a:cubicBezTo>
                  <a:lnTo>
                    <a:pt x="563443" y="3844555"/>
                  </a:lnTo>
                  <a:cubicBezTo>
                    <a:pt x="569324" y="3842628"/>
                    <a:pt x="575003" y="3840600"/>
                    <a:pt x="580478" y="3838471"/>
                  </a:cubicBezTo>
                  <a:cubicBezTo>
                    <a:pt x="585954" y="3836342"/>
                    <a:pt x="591354" y="3833958"/>
                    <a:pt x="596677" y="3831322"/>
                  </a:cubicBezTo>
                  <a:cubicBezTo>
                    <a:pt x="602001" y="3828686"/>
                    <a:pt x="607375" y="3825745"/>
                    <a:pt x="612800" y="3822500"/>
                  </a:cubicBezTo>
                  <a:cubicBezTo>
                    <a:pt x="618225" y="3819255"/>
                    <a:pt x="623827" y="3815554"/>
                    <a:pt x="629607" y="3811397"/>
                  </a:cubicBezTo>
                  <a:close/>
                  <a:moveTo>
                    <a:pt x="480750" y="3811397"/>
                  </a:moveTo>
                  <a:lnTo>
                    <a:pt x="495656" y="3811397"/>
                  </a:lnTo>
                  <a:lnTo>
                    <a:pt x="495656" y="4034377"/>
                  </a:lnTo>
                  <a:lnTo>
                    <a:pt x="460368" y="4034377"/>
                  </a:lnTo>
                  <a:lnTo>
                    <a:pt x="460368" y="3854593"/>
                  </a:lnTo>
                  <a:cubicBezTo>
                    <a:pt x="453980" y="3859157"/>
                    <a:pt x="447110" y="3863035"/>
                    <a:pt x="439759" y="3866229"/>
                  </a:cubicBezTo>
                  <a:cubicBezTo>
                    <a:pt x="432407" y="3869423"/>
                    <a:pt x="424016" y="3872237"/>
                    <a:pt x="414586" y="3874671"/>
                  </a:cubicBezTo>
                  <a:lnTo>
                    <a:pt x="414586" y="3844555"/>
                  </a:lnTo>
                  <a:cubicBezTo>
                    <a:pt x="420467" y="3842628"/>
                    <a:pt x="426146" y="3840600"/>
                    <a:pt x="431621" y="3838471"/>
                  </a:cubicBezTo>
                  <a:cubicBezTo>
                    <a:pt x="437097" y="3836342"/>
                    <a:pt x="442497" y="3833958"/>
                    <a:pt x="447821" y="3831322"/>
                  </a:cubicBezTo>
                  <a:cubicBezTo>
                    <a:pt x="453144" y="3828686"/>
                    <a:pt x="458518" y="3825745"/>
                    <a:pt x="463943" y="3822500"/>
                  </a:cubicBezTo>
                  <a:cubicBezTo>
                    <a:pt x="469368" y="3819255"/>
                    <a:pt x="474970" y="3815554"/>
                    <a:pt x="480750" y="3811397"/>
                  </a:cubicBezTo>
                  <a:close/>
                  <a:moveTo>
                    <a:pt x="11874294" y="3510985"/>
                  </a:moveTo>
                  <a:cubicBezTo>
                    <a:pt x="11848114" y="3510985"/>
                    <a:pt x="11835024" y="3539823"/>
                    <a:pt x="11835024" y="3597499"/>
                  </a:cubicBezTo>
                  <a:cubicBezTo>
                    <a:pt x="11835024" y="3651463"/>
                    <a:pt x="11847863" y="3678445"/>
                    <a:pt x="11873542" y="3678445"/>
                  </a:cubicBezTo>
                  <a:cubicBezTo>
                    <a:pt x="11898818" y="3678445"/>
                    <a:pt x="11911457" y="3651012"/>
                    <a:pt x="11911457" y="3596144"/>
                  </a:cubicBezTo>
                  <a:cubicBezTo>
                    <a:pt x="11911457" y="3539371"/>
                    <a:pt x="11899069" y="3510985"/>
                    <a:pt x="11874294" y="3510985"/>
                  </a:cubicBezTo>
                  <a:close/>
                  <a:moveTo>
                    <a:pt x="11189148" y="3510985"/>
                  </a:moveTo>
                  <a:cubicBezTo>
                    <a:pt x="11162968" y="3510985"/>
                    <a:pt x="11149878" y="3539823"/>
                    <a:pt x="11149878" y="3597499"/>
                  </a:cubicBezTo>
                  <a:cubicBezTo>
                    <a:pt x="11149878" y="3651463"/>
                    <a:pt x="11162717" y="3678445"/>
                    <a:pt x="11188396" y="3678445"/>
                  </a:cubicBezTo>
                  <a:cubicBezTo>
                    <a:pt x="11213672" y="3678445"/>
                    <a:pt x="11226311" y="3651012"/>
                    <a:pt x="11226311" y="3596144"/>
                  </a:cubicBezTo>
                  <a:cubicBezTo>
                    <a:pt x="11226311" y="3539371"/>
                    <a:pt x="11213923" y="3510985"/>
                    <a:pt x="11189148" y="3510985"/>
                  </a:cubicBezTo>
                  <a:close/>
                  <a:moveTo>
                    <a:pt x="9936214" y="3510985"/>
                  </a:moveTo>
                  <a:cubicBezTo>
                    <a:pt x="9910034" y="3510985"/>
                    <a:pt x="9896944" y="3539823"/>
                    <a:pt x="9896944" y="3597499"/>
                  </a:cubicBezTo>
                  <a:cubicBezTo>
                    <a:pt x="9896944" y="3651463"/>
                    <a:pt x="9909783" y="3678445"/>
                    <a:pt x="9935462" y="3678445"/>
                  </a:cubicBezTo>
                  <a:cubicBezTo>
                    <a:pt x="9960738" y="3678445"/>
                    <a:pt x="9973377" y="3651012"/>
                    <a:pt x="9973377" y="3596144"/>
                  </a:cubicBezTo>
                  <a:cubicBezTo>
                    <a:pt x="9973377" y="3539371"/>
                    <a:pt x="9960989" y="3510985"/>
                    <a:pt x="9936214" y="3510985"/>
                  </a:cubicBezTo>
                  <a:close/>
                  <a:moveTo>
                    <a:pt x="9713703" y="3510985"/>
                  </a:moveTo>
                  <a:cubicBezTo>
                    <a:pt x="9687523" y="3510985"/>
                    <a:pt x="9674433" y="3539823"/>
                    <a:pt x="9674433" y="3597499"/>
                  </a:cubicBezTo>
                  <a:cubicBezTo>
                    <a:pt x="9674433" y="3651463"/>
                    <a:pt x="9687272" y="3678445"/>
                    <a:pt x="9712951" y="3678445"/>
                  </a:cubicBezTo>
                  <a:cubicBezTo>
                    <a:pt x="9738227" y="3678445"/>
                    <a:pt x="9750866" y="3651012"/>
                    <a:pt x="9750866" y="3596144"/>
                  </a:cubicBezTo>
                  <a:cubicBezTo>
                    <a:pt x="9750866" y="3539371"/>
                    <a:pt x="9738478" y="3510985"/>
                    <a:pt x="9713703" y="3510985"/>
                  </a:cubicBezTo>
                  <a:close/>
                  <a:moveTo>
                    <a:pt x="6372301" y="3510985"/>
                  </a:moveTo>
                  <a:cubicBezTo>
                    <a:pt x="6346121" y="3510985"/>
                    <a:pt x="6333031" y="3539823"/>
                    <a:pt x="6333031" y="3597499"/>
                  </a:cubicBezTo>
                  <a:cubicBezTo>
                    <a:pt x="6333031" y="3651463"/>
                    <a:pt x="6345870" y="3678445"/>
                    <a:pt x="6371549" y="3678445"/>
                  </a:cubicBezTo>
                  <a:cubicBezTo>
                    <a:pt x="6396826" y="3678445"/>
                    <a:pt x="6409464" y="3651012"/>
                    <a:pt x="6409464" y="3596144"/>
                  </a:cubicBezTo>
                  <a:cubicBezTo>
                    <a:pt x="6409464" y="3539371"/>
                    <a:pt x="6397076" y="3510985"/>
                    <a:pt x="6372301" y="3510985"/>
                  </a:cubicBezTo>
                  <a:close/>
                  <a:moveTo>
                    <a:pt x="5784617" y="3510985"/>
                  </a:moveTo>
                  <a:cubicBezTo>
                    <a:pt x="5758439" y="3510985"/>
                    <a:pt x="5745350" y="3539823"/>
                    <a:pt x="5745350" y="3597499"/>
                  </a:cubicBezTo>
                  <a:cubicBezTo>
                    <a:pt x="5745350" y="3651463"/>
                    <a:pt x="5758187" y="3678445"/>
                    <a:pt x="5783865" y="3678445"/>
                  </a:cubicBezTo>
                  <a:cubicBezTo>
                    <a:pt x="5809143" y="3678445"/>
                    <a:pt x="5821781" y="3651012"/>
                    <a:pt x="5821781" y="3596144"/>
                  </a:cubicBezTo>
                  <a:cubicBezTo>
                    <a:pt x="5821781" y="3539371"/>
                    <a:pt x="5809394" y="3510985"/>
                    <a:pt x="5784617" y="3510985"/>
                  </a:cubicBezTo>
                  <a:close/>
                  <a:moveTo>
                    <a:pt x="5091629" y="3510985"/>
                  </a:moveTo>
                  <a:cubicBezTo>
                    <a:pt x="5065449" y="3510985"/>
                    <a:pt x="5052358" y="3539823"/>
                    <a:pt x="5052358" y="3597499"/>
                  </a:cubicBezTo>
                  <a:cubicBezTo>
                    <a:pt x="5052358" y="3651463"/>
                    <a:pt x="5065200" y="3678445"/>
                    <a:pt x="5090877" y="3678445"/>
                  </a:cubicBezTo>
                  <a:cubicBezTo>
                    <a:pt x="5116154" y="3678445"/>
                    <a:pt x="5128792" y="3651012"/>
                    <a:pt x="5128792" y="3596144"/>
                  </a:cubicBezTo>
                  <a:cubicBezTo>
                    <a:pt x="5128792" y="3539371"/>
                    <a:pt x="5116404" y="3510985"/>
                    <a:pt x="5091629" y="3510985"/>
                  </a:cubicBezTo>
                  <a:close/>
                  <a:moveTo>
                    <a:pt x="3837392" y="3510985"/>
                  </a:moveTo>
                  <a:cubicBezTo>
                    <a:pt x="3811212" y="3510985"/>
                    <a:pt x="3798122" y="3539823"/>
                    <a:pt x="3798122" y="3597499"/>
                  </a:cubicBezTo>
                  <a:cubicBezTo>
                    <a:pt x="3798122" y="3651463"/>
                    <a:pt x="3810961" y="3678445"/>
                    <a:pt x="3836640" y="3678445"/>
                  </a:cubicBezTo>
                  <a:cubicBezTo>
                    <a:pt x="3861916" y="3678445"/>
                    <a:pt x="3874555" y="3651012"/>
                    <a:pt x="3874555" y="3596144"/>
                  </a:cubicBezTo>
                  <a:cubicBezTo>
                    <a:pt x="3874555" y="3539371"/>
                    <a:pt x="3862167" y="3510985"/>
                    <a:pt x="3837392" y="3510985"/>
                  </a:cubicBezTo>
                  <a:close/>
                  <a:moveTo>
                    <a:pt x="3614881" y="3510985"/>
                  </a:moveTo>
                  <a:cubicBezTo>
                    <a:pt x="3588702" y="3510985"/>
                    <a:pt x="3575611" y="3539823"/>
                    <a:pt x="3575611" y="3597499"/>
                  </a:cubicBezTo>
                  <a:cubicBezTo>
                    <a:pt x="3575611" y="3651463"/>
                    <a:pt x="3588451" y="3678445"/>
                    <a:pt x="3614130" y="3678445"/>
                  </a:cubicBezTo>
                  <a:cubicBezTo>
                    <a:pt x="3639407" y="3678445"/>
                    <a:pt x="3652044" y="3651012"/>
                    <a:pt x="3652044" y="3596144"/>
                  </a:cubicBezTo>
                  <a:cubicBezTo>
                    <a:pt x="3652044" y="3539371"/>
                    <a:pt x="3639656" y="3510985"/>
                    <a:pt x="3614881" y="3510985"/>
                  </a:cubicBezTo>
                  <a:close/>
                  <a:moveTo>
                    <a:pt x="10438235" y="3487024"/>
                  </a:moveTo>
                  <a:lnTo>
                    <a:pt x="10453141" y="3487024"/>
                  </a:lnTo>
                  <a:lnTo>
                    <a:pt x="10453141" y="3710004"/>
                  </a:lnTo>
                  <a:lnTo>
                    <a:pt x="10417853" y="3710004"/>
                  </a:lnTo>
                  <a:lnTo>
                    <a:pt x="10417853" y="3530220"/>
                  </a:lnTo>
                  <a:cubicBezTo>
                    <a:pt x="10411465" y="3534784"/>
                    <a:pt x="10404595" y="3538662"/>
                    <a:pt x="10397244" y="3541856"/>
                  </a:cubicBezTo>
                  <a:cubicBezTo>
                    <a:pt x="10389892" y="3545050"/>
                    <a:pt x="10381501" y="3547864"/>
                    <a:pt x="10372071" y="3550298"/>
                  </a:cubicBezTo>
                  <a:lnTo>
                    <a:pt x="10372071" y="3520182"/>
                  </a:lnTo>
                  <a:cubicBezTo>
                    <a:pt x="10377952" y="3518255"/>
                    <a:pt x="10383631" y="3516227"/>
                    <a:pt x="10389106" y="3514098"/>
                  </a:cubicBezTo>
                  <a:cubicBezTo>
                    <a:pt x="10394582" y="3511969"/>
                    <a:pt x="10399982" y="3509585"/>
                    <a:pt x="10405305" y="3506949"/>
                  </a:cubicBezTo>
                  <a:cubicBezTo>
                    <a:pt x="10410629" y="3504313"/>
                    <a:pt x="10416003" y="3501372"/>
                    <a:pt x="10421428" y="3498127"/>
                  </a:cubicBezTo>
                  <a:cubicBezTo>
                    <a:pt x="10426853" y="3494882"/>
                    <a:pt x="10432455" y="3491181"/>
                    <a:pt x="10438235" y="3487024"/>
                  </a:cubicBezTo>
                  <a:close/>
                  <a:moveTo>
                    <a:pt x="12062430" y="3487023"/>
                  </a:moveTo>
                  <a:lnTo>
                    <a:pt x="12077336" y="3487023"/>
                  </a:lnTo>
                  <a:lnTo>
                    <a:pt x="12077336" y="3710003"/>
                  </a:lnTo>
                  <a:lnTo>
                    <a:pt x="12042048" y="3710003"/>
                  </a:lnTo>
                  <a:lnTo>
                    <a:pt x="12042048" y="3530219"/>
                  </a:lnTo>
                  <a:cubicBezTo>
                    <a:pt x="12035660" y="3534783"/>
                    <a:pt x="12028790" y="3538661"/>
                    <a:pt x="12021439" y="3541855"/>
                  </a:cubicBezTo>
                  <a:cubicBezTo>
                    <a:pt x="12014087" y="3545049"/>
                    <a:pt x="12005696" y="3547863"/>
                    <a:pt x="11996266" y="3550297"/>
                  </a:cubicBezTo>
                  <a:lnTo>
                    <a:pt x="11996266" y="3520181"/>
                  </a:lnTo>
                  <a:cubicBezTo>
                    <a:pt x="12002147" y="3518254"/>
                    <a:pt x="12007826" y="3516226"/>
                    <a:pt x="12013301" y="3514097"/>
                  </a:cubicBezTo>
                  <a:cubicBezTo>
                    <a:pt x="12018777" y="3511968"/>
                    <a:pt x="12024177" y="3509584"/>
                    <a:pt x="12029500" y="3506948"/>
                  </a:cubicBezTo>
                  <a:cubicBezTo>
                    <a:pt x="12034824" y="3504312"/>
                    <a:pt x="12040198" y="3501371"/>
                    <a:pt x="12045623" y="3498126"/>
                  </a:cubicBezTo>
                  <a:cubicBezTo>
                    <a:pt x="12051048" y="3494881"/>
                    <a:pt x="12056650" y="3491180"/>
                    <a:pt x="12062430" y="3487023"/>
                  </a:cubicBezTo>
                  <a:close/>
                  <a:moveTo>
                    <a:pt x="10143427" y="3487023"/>
                  </a:moveTo>
                  <a:lnTo>
                    <a:pt x="10158333" y="3487023"/>
                  </a:lnTo>
                  <a:lnTo>
                    <a:pt x="10158333" y="3710003"/>
                  </a:lnTo>
                  <a:lnTo>
                    <a:pt x="10123045" y="3710003"/>
                  </a:lnTo>
                  <a:lnTo>
                    <a:pt x="10123045" y="3530219"/>
                  </a:lnTo>
                  <a:cubicBezTo>
                    <a:pt x="10116657" y="3534783"/>
                    <a:pt x="10109787" y="3538661"/>
                    <a:pt x="10102436" y="3541855"/>
                  </a:cubicBezTo>
                  <a:cubicBezTo>
                    <a:pt x="10095084" y="3545049"/>
                    <a:pt x="10086693" y="3547863"/>
                    <a:pt x="10077263" y="3550297"/>
                  </a:cubicBezTo>
                  <a:lnTo>
                    <a:pt x="10077263" y="3520181"/>
                  </a:lnTo>
                  <a:cubicBezTo>
                    <a:pt x="10083144" y="3518254"/>
                    <a:pt x="10088823" y="3516226"/>
                    <a:pt x="10094298" y="3514097"/>
                  </a:cubicBezTo>
                  <a:cubicBezTo>
                    <a:pt x="10099774" y="3511968"/>
                    <a:pt x="10105174" y="3509584"/>
                    <a:pt x="10110497" y="3506948"/>
                  </a:cubicBezTo>
                  <a:cubicBezTo>
                    <a:pt x="10115821" y="3504312"/>
                    <a:pt x="10121195" y="3501371"/>
                    <a:pt x="10126620" y="3498126"/>
                  </a:cubicBezTo>
                  <a:cubicBezTo>
                    <a:pt x="10132045" y="3494881"/>
                    <a:pt x="10137647" y="3491180"/>
                    <a:pt x="10143427" y="3487023"/>
                  </a:cubicBezTo>
                  <a:close/>
                  <a:moveTo>
                    <a:pt x="9557012" y="3487023"/>
                  </a:moveTo>
                  <a:lnTo>
                    <a:pt x="9571918" y="3487023"/>
                  </a:lnTo>
                  <a:lnTo>
                    <a:pt x="9571918" y="3710003"/>
                  </a:lnTo>
                  <a:lnTo>
                    <a:pt x="9536630" y="3710003"/>
                  </a:lnTo>
                  <a:lnTo>
                    <a:pt x="9536630" y="3530219"/>
                  </a:lnTo>
                  <a:cubicBezTo>
                    <a:pt x="9530242" y="3534783"/>
                    <a:pt x="9523372" y="3538661"/>
                    <a:pt x="9516021" y="3541855"/>
                  </a:cubicBezTo>
                  <a:cubicBezTo>
                    <a:pt x="9508669" y="3545049"/>
                    <a:pt x="9500278" y="3547863"/>
                    <a:pt x="9490848" y="3550297"/>
                  </a:cubicBezTo>
                  <a:lnTo>
                    <a:pt x="9490848" y="3520181"/>
                  </a:lnTo>
                  <a:cubicBezTo>
                    <a:pt x="9496729" y="3518254"/>
                    <a:pt x="9502408" y="3516226"/>
                    <a:pt x="9507883" y="3514097"/>
                  </a:cubicBezTo>
                  <a:cubicBezTo>
                    <a:pt x="9513359" y="3511968"/>
                    <a:pt x="9518759" y="3509584"/>
                    <a:pt x="9524082" y="3506948"/>
                  </a:cubicBezTo>
                  <a:cubicBezTo>
                    <a:pt x="9529406" y="3504312"/>
                    <a:pt x="9534780" y="3501371"/>
                    <a:pt x="9540205" y="3498126"/>
                  </a:cubicBezTo>
                  <a:cubicBezTo>
                    <a:pt x="9545630" y="3494881"/>
                    <a:pt x="9551232" y="3491180"/>
                    <a:pt x="9557012" y="3487023"/>
                  </a:cubicBezTo>
                  <a:close/>
                  <a:moveTo>
                    <a:pt x="9254256" y="3487023"/>
                  </a:moveTo>
                  <a:lnTo>
                    <a:pt x="9269162" y="3487023"/>
                  </a:lnTo>
                  <a:lnTo>
                    <a:pt x="9269162" y="3710003"/>
                  </a:lnTo>
                  <a:lnTo>
                    <a:pt x="9233874" y="3710003"/>
                  </a:lnTo>
                  <a:lnTo>
                    <a:pt x="9233874" y="3530219"/>
                  </a:lnTo>
                  <a:cubicBezTo>
                    <a:pt x="9227486" y="3534783"/>
                    <a:pt x="9220616" y="3538661"/>
                    <a:pt x="9213265" y="3541855"/>
                  </a:cubicBezTo>
                  <a:cubicBezTo>
                    <a:pt x="9205913" y="3545049"/>
                    <a:pt x="9197522" y="3547863"/>
                    <a:pt x="9188092" y="3550297"/>
                  </a:cubicBezTo>
                  <a:lnTo>
                    <a:pt x="9188092" y="3520181"/>
                  </a:lnTo>
                  <a:cubicBezTo>
                    <a:pt x="9193973" y="3518254"/>
                    <a:pt x="9199652" y="3516226"/>
                    <a:pt x="9205127" y="3514097"/>
                  </a:cubicBezTo>
                  <a:cubicBezTo>
                    <a:pt x="9210603" y="3511968"/>
                    <a:pt x="9216003" y="3509584"/>
                    <a:pt x="9221326" y="3506948"/>
                  </a:cubicBezTo>
                  <a:cubicBezTo>
                    <a:pt x="9226650" y="3504312"/>
                    <a:pt x="9232024" y="3501371"/>
                    <a:pt x="9237449" y="3498126"/>
                  </a:cubicBezTo>
                  <a:cubicBezTo>
                    <a:pt x="9242874" y="3494881"/>
                    <a:pt x="9248476" y="3491180"/>
                    <a:pt x="9254256" y="3487023"/>
                  </a:cubicBezTo>
                  <a:close/>
                  <a:moveTo>
                    <a:pt x="8744915" y="3487023"/>
                  </a:moveTo>
                  <a:lnTo>
                    <a:pt x="8759821" y="3487023"/>
                  </a:lnTo>
                  <a:lnTo>
                    <a:pt x="8759821" y="3710003"/>
                  </a:lnTo>
                  <a:lnTo>
                    <a:pt x="8724533" y="3710003"/>
                  </a:lnTo>
                  <a:lnTo>
                    <a:pt x="8724533" y="3530219"/>
                  </a:lnTo>
                  <a:cubicBezTo>
                    <a:pt x="8718145" y="3534783"/>
                    <a:pt x="8711275" y="3538661"/>
                    <a:pt x="8703924" y="3541855"/>
                  </a:cubicBezTo>
                  <a:cubicBezTo>
                    <a:pt x="8696572" y="3545049"/>
                    <a:pt x="8688181" y="3547863"/>
                    <a:pt x="8678751" y="3550297"/>
                  </a:cubicBezTo>
                  <a:lnTo>
                    <a:pt x="8678751" y="3520181"/>
                  </a:lnTo>
                  <a:cubicBezTo>
                    <a:pt x="8684632" y="3518254"/>
                    <a:pt x="8690311" y="3516226"/>
                    <a:pt x="8695786" y="3514097"/>
                  </a:cubicBezTo>
                  <a:cubicBezTo>
                    <a:pt x="8701262" y="3511968"/>
                    <a:pt x="8706662" y="3509584"/>
                    <a:pt x="8711985" y="3506948"/>
                  </a:cubicBezTo>
                  <a:cubicBezTo>
                    <a:pt x="8717309" y="3504312"/>
                    <a:pt x="8722683" y="3501371"/>
                    <a:pt x="8728108" y="3498126"/>
                  </a:cubicBezTo>
                  <a:cubicBezTo>
                    <a:pt x="8733533" y="3494881"/>
                    <a:pt x="8739135" y="3491180"/>
                    <a:pt x="8744915" y="3487023"/>
                  </a:cubicBezTo>
                  <a:close/>
                  <a:moveTo>
                    <a:pt x="7851748" y="3487023"/>
                  </a:moveTo>
                  <a:lnTo>
                    <a:pt x="7866654" y="3487023"/>
                  </a:lnTo>
                  <a:lnTo>
                    <a:pt x="7866654" y="3710003"/>
                  </a:lnTo>
                  <a:lnTo>
                    <a:pt x="7831366" y="3710003"/>
                  </a:lnTo>
                  <a:lnTo>
                    <a:pt x="7831366" y="3530219"/>
                  </a:lnTo>
                  <a:cubicBezTo>
                    <a:pt x="7824978" y="3534783"/>
                    <a:pt x="7818109" y="3538661"/>
                    <a:pt x="7810757" y="3541855"/>
                  </a:cubicBezTo>
                  <a:cubicBezTo>
                    <a:pt x="7803405" y="3545049"/>
                    <a:pt x="7795015" y="3547863"/>
                    <a:pt x="7785584" y="3550297"/>
                  </a:cubicBezTo>
                  <a:lnTo>
                    <a:pt x="7785584" y="3520181"/>
                  </a:lnTo>
                  <a:cubicBezTo>
                    <a:pt x="7791465" y="3518254"/>
                    <a:pt x="7797144" y="3516226"/>
                    <a:pt x="7802619" y="3514097"/>
                  </a:cubicBezTo>
                  <a:cubicBezTo>
                    <a:pt x="7808095" y="3511968"/>
                    <a:pt x="7813495" y="3509584"/>
                    <a:pt x="7818818" y="3506948"/>
                  </a:cubicBezTo>
                  <a:cubicBezTo>
                    <a:pt x="7824142" y="3504312"/>
                    <a:pt x="7829516" y="3501371"/>
                    <a:pt x="7834941" y="3498126"/>
                  </a:cubicBezTo>
                  <a:cubicBezTo>
                    <a:pt x="7840366" y="3494881"/>
                    <a:pt x="7845968" y="3491180"/>
                    <a:pt x="7851748" y="3487023"/>
                  </a:cubicBezTo>
                  <a:close/>
                  <a:moveTo>
                    <a:pt x="7413731" y="3487023"/>
                  </a:moveTo>
                  <a:lnTo>
                    <a:pt x="7428637" y="3487023"/>
                  </a:lnTo>
                  <a:lnTo>
                    <a:pt x="7428637" y="3710003"/>
                  </a:lnTo>
                  <a:lnTo>
                    <a:pt x="7393349" y="3710003"/>
                  </a:lnTo>
                  <a:lnTo>
                    <a:pt x="7393349" y="3530219"/>
                  </a:lnTo>
                  <a:cubicBezTo>
                    <a:pt x="7386961" y="3534783"/>
                    <a:pt x="7380092" y="3538661"/>
                    <a:pt x="7372740" y="3541855"/>
                  </a:cubicBezTo>
                  <a:cubicBezTo>
                    <a:pt x="7365388" y="3545049"/>
                    <a:pt x="7356998" y="3547863"/>
                    <a:pt x="7347567" y="3550297"/>
                  </a:cubicBezTo>
                  <a:lnTo>
                    <a:pt x="7347567" y="3520181"/>
                  </a:lnTo>
                  <a:cubicBezTo>
                    <a:pt x="7353448" y="3518254"/>
                    <a:pt x="7359127" y="3516226"/>
                    <a:pt x="7364602" y="3514097"/>
                  </a:cubicBezTo>
                  <a:cubicBezTo>
                    <a:pt x="7370078" y="3511968"/>
                    <a:pt x="7375478" y="3509584"/>
                    <a:pt x="7380801" y="3506948"/>
                  </a:cubicBezTo>
                  <a:cubicBezTo>
                    <a:pt x="7386125" y="3504312"/>
                    <a:pt x="7391499" y="3501371"/>
                    <a:pt x="7396924" y="3498126"/>
                  </a:cubicBezTo>
                  <a:cubicBezTo>
                    <a:pt x="7402349" y="3494881"/>
                    <a:pt x="7407951" y="3491180"/>
                    <a:pt x="7413731" y="3487023"/>
                  </a:cubicBezTo>
                  <a:close/>
                  <a:moveTo>
                    <a:pt x="7015147" y="3487023"/>
                  </a:moveTo>
                  <a:lnTo>
                    <a:pt x="7030053" y="3487023"/>
                  </a:lnTo>
                  <a:lnTo>
                    <a:pt x="7030053" y="3710003"/>
                  </a:lnTo>
                  <a:lnTo>
                    <a:pt x="6994765" y="3710003"/>
                  </a:lnTo>
                  <a:lnTo>
                    <a:pt x="6994765" y="3530219"/>
                  </a:lnTo>
                  <a:cubicBezTo>
                    <a:pt x="6988377" y="3534783"/>
                    <a:pt x="6981508" y="3538661"/>
                    <a:pt x="6974156" y="3541855"/>
                  </a:cubicBezTo>
                  <a:cubicBezTo>
                    <a:pt x="6966804" y="3545049"/>
                    <a:pt x="6958414" y="3547863"/>
                    <a:pt x="6948983" y="3550297"/>
                  </a:cubicBezTo>
                  <a:lnTo>
                    <a:pt x="6948983" y="3520181"/>
                  </a:lnTo>
                  <a:cubicBezTo>
                    <a:pt x="6954864" y="3518254"/>
                    <a:pt x="6960543" y="3516226"/>
                    <a:pt x="6966018" y="3514097"/>
                  </a:cubicBezTo>
                  <a:cubicBezTo>
                    <a:pt x="6971494" y="3511968"/>
                    <a:pt x="6976894" y="3509584"/>
                    <a:pt x="6982217" y="3506948"/>
                  </a:cubicBezTo>
                  <a:cubicBezTo>
                    <a:pt x="6987541" y="3504312"/>
                    <a:pt x="6992915" y="3501371"/>
                    <a:pt x="6998340" y="3498126"/>
                  </a:cubicBezTo>
                  <a:cubicBezTo>
                    <a:pt x="7003765" y="3494881"/>
                    <a:pt x="7009367" y="3491180"/>
                    <a:pt x="7015147" y="3487023"/>
                  </a:cubicBezTo>
                  <a:close/>
                  <a:moveTo>
                    <a:pt x="6727931" y="3487023"/>
                  </a:moveTo>
                  <a:lnTo>
                    <a:pt x="6742837" y="3487023"/>
                  </a:lnTo>
                  <a:lnTo>
                    <a:pt x="6742837" y="3710003"/>
                  </a:lnTo>
                  <a:lnTo>
                    <a:pt x="6707549" y="3710003"/>
                  </a:lnTo>
                  <a:lnTo>
                    <a:pt x="6707549" y="3530219"/>
                  </a:lnTo>
                  <a:cubicBezTo>
                    <a:pt x="6701161" y="3534783"/>
                    <a:pt x="6694292" y="3538661"/>
                    <a:pt x="6686940" y="3541855"/>
                  </a:cubicBezTo>
                  <a:cubicBezTo>
                    <a:pt x="6679588" y="3545049"/>
                    <a:pt x="6671198" y="3547863"/>
                    <a:pt x="6661767" y="3550297"/>
                  </a:cubicBezTo>
                  <a:lnTo>
                    <a:pt x="6661767" y="3520181"/>
                  </a:lnTo>
                  <a:cubicBezTo>
                    <a:pt x="6667648" y="3518254"/>
                    <a:pt x="6673327" y="3516226"/>
                    <a:pt x="6678802" y="3514097"/>
                  </a:cubicBezTo>
                  <a:cubicBezTo>
                    <a:pt x="6684278" y="3511968"/>
                    <a:pt x="6689678" y="3509584"/>
                    <a:pt x="6695001" y="3506948"/>
                  </a:cubicBezTo>
                  <a:cubicBezTo>
                    <a:pt x="6700325" y="3504312"/>
                    <a:pt x="6705699" y="3501371"/>
                    <a:pt x="6711124" y="3498126"/>
                  </a:cubicBezTo>
                  <a:cubicBezTo>
                    <a:pt x="6716549" y="3494881"/>
                    <a:pt x="6722151" y="3491180"/>
                    <a:pt x="6727931" y="3487023"/>
                  </a:cubicBezTo>
                  <a:close/>
                  <a:moveTo>
                    <a:pt x="6584323" y="3487023"/>
                  </a:moveTo>
                  <a:lnTo>
                    <a:pt x="6599229" y="3487023"/>
                  </a:lnTo>
                  <a:lnTo>
                    <a:pt x="6599229" y="3710003"/>
                  </a:lnTo>
                  <a:lnTo>
                    <a:pt x="6563941" y="3710003"/>
                  </a:lnTo>
                  <a:lnTo>
                    <a:pt x="6563941" y="3530219"/>
                  </a:lnTo>
                  <a:cubicBezTo>
                    <a:pt x="6557553" y="3534783"/>
                    <a:pt x="6550684" y="3538661"/>
                    <a:pt x="6543332" y="3541855"/>
                  </a:cubicBezTo>
                  <a:cubicBezTo>
                    <a:pt x="6535980" y="3545049"/>
                    <a:pt x="6527590" y="3547863"/>
                    <a:pt x="6518159" y="3550297"/>
                  </a:cubicBezTo>
                  <a:lnTo>
                    <a:pt x="6518159" y="3520181"/>
                  </a:lnTo>
                  <a:cubicBezTo>
                    <a:pt x="6524040" y="3518254"/>
                    <a:pt x="6529719" y="3516226"/>
                    <a:pt x="6535194" y="3514097"/>
                  </a:cubicBezTo>
                  <a:cubicBezTo>
                    <a:pt x="6540670" y="3511968"/>
                    <a:pt x="6546070" y="3509584"/>
                    <a:pt x="6551393" y="3506948"/>
                  </a:cubicBezTo>
                  <a:cubicBezTo>
                    <a:pt x="6556717" y="3504312"/>
                    <a:pt x="6562091" y="3501371"/>
                    <a:pt x="6567516" y="3498126"/>
                  </a:cubicBezTo>
                  <a:cubicBezTo>
                    <a:pt x="6572941" y="3494881"/>
                    <a:pt x="6578543" y="3491180"/>
                    <a:pt x="6584323" y="3487023"/>
                  </a:cubicBezTo>
                  <a:close/>
                  <a:moveTo>
                    <a:pt x="5975659" y="3487023"/>
                  </a:moveTo>
                  <a:lnTo>
                    <a:pt x="5990568" y="3487023"/>
                  </a:lnTo>
                  <a:lnTo>
                    <a:pt x="5990568" y="3710003"/>
                  </a:lnTo>
                  <a:lnTo>
                    <a:pt x="5955278" y="3710003"/>
                  </a:lnTo>
                  <a:lnTo>
                    <a:pt x="5955278" y="3530219"/>
                  </a:lnTo>
                  <a:cubicBezTo>
                    <a:pt x="5948891" y="3534783"/>
                    <a:pt x="5942020" y="3538661"/>
                    <a:pt x="5934669" y="3541855"/>
                  </a:cubicBezTo>
                  <a:cubicBezTo>
                    <a:pt x="5927317" y="3545049"/>
                    <a:pt x="5918927" y="3547863"/>
                    <a:pt x="5909498" y="3550297"/>
                  </a:cubicBezTo>
                  <a:lnTo>
                    <a:pt x="5909498" y="3520181"/>
                  </a:lnTo>
                  <a:cubicBezTo>
                    <a:pt x="5915377" y="3518254"/>
                    <a:pt x="5921055" y="3516226"/>
                    <a:pt x="5926531" y="3514097"/>
                  </a:cubicBezTo>
                  <a:cubicBezTo>
                    <a:pt x="5932007" y="3511968"/>
                    <a:pt x="5937407" y="3509584"/>
                    <a:pt x="5942730" y="3506948"/>
                  </a:cubicBezTo>
                  <a:cubicBezTo>
                    <a:pt x="5948054" y="3504312"/>
                    <a:pt x="5953429" y="3501371"/>
                    <a:pt x="5958852" y="3498126"/>
                  </a:cubicBezTo>
                  <a:cubicBezTo>
                    <a:pt x="5964279" y="3494881"/>
                    <a:pt x="5969881" y="3491180"/>
                    <a:pt x="5975659" y="3487023"/>
                  </a:cubicBezTo>
                  <a:close/>
                  <a:moveTo>
                    <a:pt x="4694968" y="3487023"/>
                  </a:moveTo>
                  <a:lnTo>
                    <a:pt x="4709876" y="3487023"/>
                  </a:lnTo>
                  <a:lnTo>
                    <a:pt x="4709876" y="3710003"/>
                  </a:lnTo>
                  <a:lnTo>
                    <a:pt x="4674589" y="3710003"/>
                  </a:lnTo>
                  <a:lnTo>
                    <a:pt x="4674589" y="3530219"/>
                  </a:lnTo>
                  <a:cubicBezTo>
                    <a:pt x="4668200" y="3534783"/>
                    <a:pt x="4661331" y="3538661"/>
                    <a:pt x="4653978" y="3541855"/>
                  </a:cubicBezTo>
                  <a:cubicBezTo>
                    <a:pt x="4646628" y="3545049"/>
                    <a:pt x="4638236" y="3547863"/>
                    <a:pt x="4628805" y="3550297"/>
                  </a:cubicBezTo>
                  <a:lnTo>
                    <a:pt x="4628805" y="3520181"/>
                  </a:lnTo>
                  <a:cubicBezTo>
                    <a:pt x="4634687" y="3518254"/>
                    <a:pt x="4640364" y="3516226"/>
                    <a:pt x="4645841" y="3514097"/>
                  </a:cubicBezTo>
                  <a:cubicBezTo>
                    <a:pt x="4651316" y="3511968"/>
                    <a:pt x="4656717" y="3509584"/>
                    <a:pt x="4662040" y="3506948"/>
                  </a:cubicBezTo>
                  <a:cubicBezTo>
                    <a:pt x="4667363" y="3504312"/>
                    <a:pt x="4672738" y="3501371"/>
                    <a:pt x="4678162" y="3498126"/>
                  </a:cubicBezTo>
                  <a:cubicBezTo>
                    <a:pt x="4683588" y="3494881"/>
                    <a:pt x="4689190" y="3491180"/>
                    <a:pt x="4694968" y="3487023"/>
                  </a:cubicBezTo>
                  <a:close/>
                  <a:moveTo>
                    <a:pt x="4345906" y="3487023"/>
                  </a:moveTo>
                  <a:lnTo>
                    <a:pt x="4360813" y="3487023"/>
                  </a:lnTo>
                  <a:lnTo>
                    <a:pt x="4360813" y="3710003"/>
                  </a:lnTo>
                  <a:lnTo>
                    <a:pt x="4325525" y="3710003"/>
                  </a:lnTo>
                  <a:lnTo>
                    <a:pt x="4325525" y="3530219"/>
                  </a:lnTo>
                  <a:cubicBezTo>
                    <a:pt x="4319138" y="3534783"/>
                    <a:pt x="4312268" y="3538661"/>
                    <a:pt x="4304915" y="3541855"/>
                  </a:cubicBezTo>
                  <a:cubicBezTo>
                    <a:pt x="4297564" y="3545049"/>
                    <a:pt x="4289174" y="3547863"/>
                    <a:pt x="4279743" y="3550297"/>
                  </a:cubicBezTo>
                  <a:lnTo>
                    <a:pt x="4279743" y="3520181"/>
                  </a:lnTo>
                  <a:cubicBezTo>
                    <a:pt x="4285625" y="3518254"/>
                    <a:pt x="4291302" y="3516226"/>
                    <a:pt x="4296778" y="3514097"/>
                  </a:cubicBezTo>
                  <a:cubicBezTo>
                    <a:pt x="4302254" y="3511968"/>
                    <a:pt x="4307653" y="3509584"/>
                    <a:pt x="4312977" y="3506948"/>
                  </a:cubicBezTo>
                  <a:cubicBezTo>
                    <a:pt x="4318300" y="3504312"/>
                    <a:pt x="4323675" y="3501371"/>
                    <a:pt x="4329099" y="3498126"/>
                  </a:cubicBezTo>
                  <a:cubicBezTo>
                    <a:pt x="4334525" y="3494881"/>
                    <a:pt x="4340127" y="3491180"/>
                    <a:pt x="4345906" y="3487023"/>
                  </a:cubicBezTo>
                  <a:close/>
                  <a:moveTo>
                    <a:pt x="3454863" y="3487023"/>
                  </a:moveTo>
                  <a:lnTo>
                    <a:pt x="3469768" y="3487023"/>
                  </a:lnTo>
                  <a:lnTo>
                    <a:pt x="3469768" y="3710003"/>
                  </a:lnTo>
                  <a:lnTo>
                    <a:pt x="3434481" y="3710003"/>
                  </a:lnTo>
                  <a:lnTo>
                    <a:pt x="3434481" y="3530219"/>
                  </a:lnTo>
                  <a:cubicBezTo>
                    <a:pt x="3428092" y="3534783"/>
                    <a:pt x="3421223" y="3538661"/>
                    <a:pt x="3413872" y="3541855"/>
                  </a:cubicBezTo>
                  <a:cubicBezTo>
                    <a:pt x="3406519" y="3545049"/>
                    <a:pt x="3398129" y="3547863"/>
                    <a:pt x="3388698" y="3550297"/>
                  </a:cubicBezTo>
                  <a:lnTo>
                    <a:pt x="3388698" y="3520181"/>
                  </a:lnTo>
                  <a:cubicBezTo>
                    <a:pt x="3394580" y="3518254"/>
                    <a:pt x="3400259" y="3516226"/>
                    <a:pt x="3405734" y="3514097"/>
                  </a:cubicBezTo>
                  <a:cubicBezTo>
                    <a:pt x="3411209" y="3511968"/>
                    <a:pt x="3416609" y="3509584"/>
                    <a:pt x="3421933" y="3506948"/>
                  </a:cubicBezTo>
                  <a:cubicBezTo>
                    <a:pt x="3427256" y="3504312"/>
                    <a:pt x="3432632" y="3501371"/>
                    <a:pt x="3438054" y="3498126"/>
                  </a:cubicBezTo>
                  <a:cubicBezTo>
                    <a:pt x="3443480" y="3494881"/>
                    <a:pt x="3449083" y="3491180"/>
                    <a:pt x="3454863" y="3487023"/>
                  </a:cubicBezTo>
                  <a:close/>
                  <a:moveTo>
                    <a:pt x="3158682" y="3487023"/>
                  </a:moveTo>
                  <a:lnTo>
                    <a:pt x="3173587" y="3487023"/>
                  </a:lnTo>
                  <a:lnTo>
                    <a:pt x="3173587" y="3710003"/>
                  </a:lnTo>
                  <a:lnTo>
                    <a:pt x="3138299" y="3710003"/>
                  </a:lnTo>
                  <a:lnTo>
                    <a:pt x="3138299" y="3530219"/>
                  </a:lnTo>
                  <a:cubicBezTo>
                    <a:pt x="3131912" y="3534783"/>
                    <a:pt x="3125042" y="3538661"/>
                    <a:pt x="3117690" y="3541855"/>
                  </a:cubicBezTo>
                  <a:cubicBezTo>
                    <a:pt x="3110339" y="3545049"/>
                    <a:pt x="3101948" y="3547863"/>
                    <a:pt x="3092517" y="3550297"/>
                  </a:cubicBezTo>
                  <a:lnTo>
                    <a:pt x="3092517" y="3520181"/>
                  </a:lnTo>
                  <a:cubicBezTo>
                    <a:pt x="3098398" y="3518254"/>
                    <a:pt x="3104077" y="3516226"/>
                    <a:pt x="3109553" y="3514097"/>
                  </a:cubicBezTo>
                  <a:cubicBezTo>
                    <a:pt x="3115028" y="3511968"/>
                    <a:pt x="3120428" y="3509584"/>
                    <a:pt x="3125751" y="3506948"/>
                  </a:cubicBezTo>
                  <a:cubicBezTo>
                    <a:pt x="3131075" y="3504312"/>
                    <a:pt x="3136449" y="3501371"/>
                    <a:pt x="3141875" y="3498126"/>
                  </a:cubicBezTo>
                  <a:cubicBezTo>
                    <a:pt x="3147300" y="3494881"/>
                    <a:pt x="3152901" y="3491180"/>
                    <a:pt x="3158682" y="3487023"/>
                  </a:cubicBezTo>
                  <a:close/>
                  <a:moveTo>
                    <a:pt x="2783382" y="3487023"/>
                  </a:moveTo>
                  <a:lnTo>
                    <a:pt x="2798288" y="3487023"/>
                  </a:lnTo>
                  <a:lnTo>
                    <a:pt x="2798288" y="3710003"/>
                  </a:lnTo>
                  <a:lnTo>
                    <a:pt x="2763000" y="3710003"/>
                  </a:lnTo>
                  <a:lnTo>
                    <a:pt x="2763000" y="3530219"/>
                  </a:lnTo>
                  <a:cubicBezTo>
                    <a:pt x="2756612" y="3534783"/>
                    <a:pt x="2749742" y="3538661"/>
                    <a:pt x="2742391" y="3541855"/>
                  </a:cubicBezTo>
                  <a:cubicBezTo>
                    <a:pt x="2735039" y="3545049"/>
                    <a:pt x="2726649" y="3547863"/>
                    <a:pt x="2717219" y="3550297"/>
                  </a:cubicBezTo>
                  <a:lnTo>
                    <a:pt x="2717219" y="3520181"/>
                  </a:lnTo>
                  <a:cubicBezTo>
                    <a:pt x="2723100" y="3518254"/>
                    <a:pt x="2728778" y="3516226"/>
                    <a:pt x="2734253" y="3514097"/>
                  </a:cubicBezTo>
                  <a:cubicBezTo>
                    <a:pt x="2739729" y="3511968"/>
                    <a:pt x="2745129" y="3509584"/>
                    <a:pt x="2750453" y="3506948"/>
                  </a:cubicBezTo>
                  <a:cubicBezTo>
                    <a:pt x="2755776" y="3504312"/>
                    <a:pt x="2761151" y="3501371"/>
                    <a:pt x="2766576" y="3498126"/>
                  </a:cubicBezTo>
                  <a:cubicBezTo>
                    <a:pt x="2772000" y="3494881"/>
                    <a:pt x="2777603" y="3491180"/>
                    <a:pt x="2783382" y="3487023"/>
                  </a:cubicBezTo>
                  <a:close/>
                  <a:moveTo>
                    <a:pt x="2489154" y="3487023"/>
                  </a:moveTo>
                  <a:lnTo>
                    <a:pt x="2504060" y="3487023"/>
                  </a:lnTo>
                  <a:lnTo>
                    <a:pt x="2504060" y="3710003"/>
                  </a:lnTo>
                  <a:lnTo>
                    <a:pt x="2468772" y="3710003"/>
                  </a:lnTo>
                  <a:lnTo>
                    <a:pt x="2468772" y="3530219"/>
                  </a:lnTo>
                  <a:cubicBezTo>
                    <a:pt x="2462385" y="3534783"/>
                    <a:pt x="2455514" y="3538661"/>
                    <a:pt x="2448163" y="3541855"/>
                  </a:cubicBezTo>
                  <a:cubicBezTo>
                    <a:pt x="2440812" y="3545049"/>
                    <a:pt x="2432420" y="3547863"/>
                    <a:pt x="2422990" y="3550297"/>
                  </a:cubicBezTo>
                  <a:lnTo>
                    <a:pt x="2422990" y="3520181"/>
                  </a:lnTo>
                  <a:cubicBezTo>
                    <a:pt x="2428871" y="3518254"/>
                    <a:pt x="2434551" y="3516226"/>
                    <a:pt x="2440025" y="3514097"/>
                  </a:cubicBezTo>
                  <a:cubicBezTo>
                    <a:pt x="2445502" y="3511968"/>
                    <a:pt x="2450900" y="3509584"/>
                    <a:pt x="2456224" y="3506948"/>
                  </a:cubicBezTo>
                  <a:cubicBezTo>
                    <a:pt x="2461549" y="3504312"/>
                    <a:pt x="2466922" y="3501371"/>
                    <a:pt x="2472346" y="3498126"/>
                  </a:cubicBezTo>
                  <a:cubicBezTo>
                    <a:pt x="2477772" y="3494881"/>
                    <a:pt x="2483374" y="3491180"/>
                    <a:pt x="2489154" y="3487023"/>
                  </a:cubicBezTo>
                  <a:close/>
                  <a:moveTo>
                    <a:pt x="1599916" y="3487023"/>
                  </a:moveTo>
                  <a:lnTo>
                    <a:pt x="1614822" y="3487023"/>
                  </a:lnTo>
                  <a:lnTo>
                    <a:pt x="1614822" y="3710003"/>
                  </a:lnTo>
                  <a:lnTo>
                    <a:pt x="1579534" y="3710003"/>
                  </a:lnTo>
                  <a:lnTo>
                    <a:pt x="1579534" y="3530219"/>
                  </a:lnTo>
                  <a:cubicBezTo>
                    <a:pt x="1573146" y="3534783"/>
                    <a:pt x="1566276" y="3538661"/>
                    <a:pt x="1558925" y="3541855"/>
                  </a:cubicBezTo>
                  <a:cubicBezTo>
                    <a:pt x="1551573" y="3545049"/>
                    <a:pt x="1543182" y="3547863"/>
                    <a:pt x="1533752" y="3550297"/>
                  </a:cubicBezTo>
                  <a:lnTo>
                    <a:pt x="1533752" y="3520181"/>
                  </a:lnTo>
                  <a:cubicBezTo>
                    <a:pt x="1539633" y="3518254"/>
                    <a:pt x="1545312" y="3516226"/>
                    <a:pt x="1550787" y="3514097"/>
                  </a:cubicBezTo>
                  <a:cubicBezTo>
                    <a:pt x="1556263" y="3511968"/>
                    <a:pt x="1561663" y="3509584"/>
                    <a:pt x="1566986" y="3506948"/>
                  </a:cubicBezTo>
                  <a:cubicBezTo>
                    <a:pt x="1572310" y="3504312"/>
                    <a:pt x="1577684" y="3501371"/>
                    <a:pt x="1583109" y="3498126"/>
                  </a:cubicBezTo>
                  <a:cubicBezTo>
                    <a:pt x="1588534" y="3494881"/>
                    <a:pt x="1594136" y="3491180"/>
                    <a:pt x="1599916" y="3487023"/>
                  </a:cubicBezTo>
                  <a:close/>
                  <a:moveTo>
                    <a:pt x="1302202" y="3487023"/>
                  </a:moveTo>
                  <a:lnTo>
                    <a:pt x="1317108" y="3487023"/>
                  </a:lnTo>
                  <a:lnTo>
                    <a:pt x="1317108" y="3710003"/>
                  </a:lnTo>
                  <a:lnTo>
                    <a:pt x="1281820" y="3710003"/>
                  </a:lnTo>
                  <a:lnTo>
                    <a:pt x="1281820" y="3530219"/>
                  </a:lnTo>
                  <a:cubicBezTo>
                    <a:pt x="1275432" y="3534783"/>
                    <a:pt x="1268562" y="3538661"/>
                    <a:pt x="1261211" y="3541855"/>
                  </a:cubicBezTo>
                  <a:cubicBezTo>
                    <a:pt x="1253859" y="3545049"/>
                    <a:pt x="1245468" y="3547863"/>
                    <a:pt x="1236038" y="3550297"/>
                  </a:cubicBezTo>
                  <a:lnTo>
                    <a:pt x="1236038" y="3520181"/>
                  </a:lnTo>
                  <a:cubicBezTo>
                    <a:pt x="1241919" y="3518254"/>
                    <a:pt x="1247598" y="3516226"/>
                    <a:pt x="1253073" y="3514097"/>
                  </a:cubicBezTo>
                  <a:cubicBezTo>
                    <a:pt x="1258549" y="3511968"/>
                    <a:pt x="1263949" y="3509584"/>
                    <a:pt x="1269272" y="3506948"/>
                  </a:cubicBezTo>
                  <a:cubicBezTo>
                    <a:pt x="1274596" y="3504312"/>
                    <a:pt x="1279970" y="3501371"/>
                    <a:pt x="1285395" y="3498126"/>
                  </a:cubicBezTo>
                  <a:cubicBezTo>
                    <a:pt x="1290820" y="3494881"/>
                    <a:pt x="1296422" y="3491180"/>
                    <a:pt x="1302202" y="3487023"/>
                  </a:cubicBezTo>
                  <a:close/>
                  <a:moveTo>
                    <a:pt x="927321" y="3487023"/>
                  </a:moveTo>
                  <a:lnTo>
                    <a:pt x="942227" y="3487023"/>
                  </a:lnTo>
                  <a:lnTo>
                    <a:pt x="942227" y="3710003"/>
                  </a:lnTo>
                  <a:lnTo>
                    <a:pt x="906939" y="3710003"/>
                  </a:lnTo>
                  <a:lnTo>
                    <a:pt x="906939" y="3530219"/>
                  </a:lnTo>
                  <a:cubicBezTo>
                    <a:pt x="900551" y="3534783"/>
                    <a:pt x="893681" y="3538661"/>
                    <a:pt x="886330" y="3541855"/>
                  </a:cubicBezTo>
                  <a:cubicBezTo>
                    <a:pt x="878978" y="3545049"/>
                    <a:pt x="870587" y="3547863"/>
                    <a:pt x="861157" y="3550297"/>
                  </a:cubicBezTo>
                  <a:lnTo>
                    <a:pt x="861157" y="3520181"/>
                  </a:lnTo>
                  <a:cubicBezTo>
                    <a:pt x="867038" y="3518254"/>
                    <a:pt x="872717" y="3516226"/>
                    <a:pt x="878192" y="3514097"/>
                  </a:cubicBezTo>
                  <a:cubicBezTo>
                    <a:pt x="883668" y="3511968"/>
                    <a:pt x="889068" y="3509584"/>
                    <a:pt x="894391" y="3506948"/>
                  </a:cubicBezTo>
                  <a:cubicBezTo>
                    <a:pt x="899715" y="3504312"/>
                    <a:pt x="905089" y="3501371"/>
                    <a:pt x="910514" y="3498126"/>
                  </a:cubicBezTo>
                  <a:cubicBezTo>
                    <a:pt x="915939" y="3494881"/>
                    <a:pt x="921541" y="3491180"/>
                    <a:pt x="927321" y="3487023"/>
                  </a:cubicBezTo>
                  <a:close/>
                  <a:moveTo>
                    <a:pt x="778464" y="3487023"/>
                  </a:moveTo>
                  <a:lnTo>
                    <a:pt x="793370" y="3487023"/>
                  </a:lnTo>
                  <a:lnTo>
                    <a:pt x="793370" y="3710003"/>
                  </a:lnTo>
                  <a:lnTo>
                    <a:pt x="758082" y="3710003"/>
                  </a:lnTo>
                  <a:lnTo>
                    <a:pt x="758082" y="3530219"/>
                  </a:lnTo>
                  <a:cubicBezTo>
                    <a:pt x="751694" y="3534783"/>
                    <a:pt x="744824" y="3538661"/>
                    <a:pt x="737473" y="3541855"/>
                  </a:cubicBezTo>
                  <a:cubicBezTo>
                    <a:pt x="730121" y="3545049"/>
                    <a:pt x="721730" y="3547863"/>
                    <a:pt x="712300" y="3550297"/>
                  </a:cubicBezTo>
                  <a:lnTo>
                    <a:pt x="712300" y="3520181"/>
                  </a:lnTo>
                  <a:cubicBezTo>
                    <a:pt x="718181" y="3518254"/>
                    <a:pt x="723860" y="3516226"/>
                    <a:pt x="729335" y="3514097"/>
                  </a:cubicBezTo>
                  <a:cubicBezTo>
                    <a:pt x="734811" y="3511968"/>
                    <a:pt x="740211" y="3509584"/>
                    <a:pt x="745535" y="3506948"/>
                  </a:cubicBezTo>
                  <a:cubicBezTo>
                    <a:pt x="750858" y="3504312"/>
                    <a:pt x="756232" y="3501371"/>
                    <a:pt x="761657" y="3498126"/>
                  </a:cubicBezTo>
                  <a:cubicBezTo>
                    <a:pt x="767082" y="3494881"/>
                    <a:pt x="772684" y="3491180"/>
                    <a:pt x="778464" y="3487023"/>
                  </a:cubicBezTo>
                  <a:close/>
                  <a:moveTo>
                    <a:pt x="629607" y="3487023"/>
                  </a:moveTo>
                  <a:lnTo>
                    <a:pt x="644513" y="3487023"/>
                  </a:lnTo>
                  <a:lnTo>
                    <a:pt x="644513" y="3710003"/>
                  </a:lnTo>
                  <a:lnTo>
                    <a:pt x="609225" y="3710003"/>
                  </a:lnTo>
                  <a:lnTo>
                    <a:pt x="609225" y="3530219"/>
                  </a:lnTo>
                  <a:cubicBezTo>
                    <a:pt x="602837" y="3534783"/>
                    <a:pt x="595967" y="3538661"/>
                    <a:pt x="588616" y="3541855"/>
                  </a:cubicBezTo>
                  <a:cubicBezTo>
                    <a:pt x="581264" y="3545049"/>
                    <a:pt x="572873" y="3547863"/>
                    <a:pt x="563443" y="3550297"/>
                  </a:cubicBezTo>
                  <a:lnTo>
                    <a:pt x="563443" y="3520181"/>
                  </a:lnTo>
                  <a:cubicBezTo>
                    <a:pt x="569324" y="3518254"/>
                    <a:pt x="575003" y="3516226"/>
                    <a:pt x="580478" y="3514097"/>
                  </a:cubicBezTo>
                  <a:cubicBezTo>
                    <a:pt x="585954" y="3511968"/>
                    <a:pt x="591354" y="3509584"/>
                    <a:pt x="596677" y="3506948"/>
                  </a:cubicBezTo>
                  <a:cubicBezTo>
                    <a:pt x="602001" y="3504312"/>
                    <a:pt x="607375" y="3501371"/>
                    <a:pt x="612800" y="3498126"/>
                  </a:cubicBezTo>
                  <a:cubicBezTo>
                    <a:pt x="618225" y="3494881"/>
                    <a:pt x="623827" y="3491180"/>
                    <a:pt x="629607" y="3487023"/>
                  </a:cubicBezTo>
                  <a:close/>
                  <a:moveTo>
                    <a:pt x="480750" y="3487023"/>
                  </a:moveTo>
                  <a:lnTo>
                    <a:pt x="495656" y="3487023"/>
                  </a:lnTo>
                  <a:lnTo>
                    <a:pt x="495656" y="3710003"/>
                  </a:lnTo>
                  <a:lnTo>
                    <a:pt x="460368" y="3710003"/>
                  </a:lnTo>
                  <a:lnTo>
                    <a:pt x="460368" y="3530219"/>
                  </a:lnTo>
                  <a:cubicBezTo>
                    <a:pt x="453980" y="3534783"/>
                    <a:pt x="447110" y="3538661"/>
                    <a:pt x="439759" y="3541855"/>
                  </a:cubicBezTo>
                  <a:cubicBezTo>
                    <a:pt x="432407" y="3545049"/>
                    <a:pt x="424016" y="3547863"/>
                    <a:pt x="414586" y="3550297"/>
                  </a:cubicBezTo>
                  <a:lnTo>
                    <a:pt x="414586" y="3520181"/>
                  </a:lnTo>
                  <a:cubicBezTo>
                    <a:pt x="420467" y="3518254"/>
                    <a:pt x="426146" y="3516226"/>
                    <a:pt x="431621" y="3514097"/>
                  </a:cubicBezTo>
                  <a:cubicBezTo>
                    <a:pt x="437097" y="3511968"/>
                    <a:pt x="442497" y="3509584"/>
                    <a:pt x="447821" y="3506948"/>
                  </a:cubicBezTo>
                  <a:cubicBezTo>
                    <a:pt x="453144" y="3504312"/>
                    <a:pt x="458518" y="3501371"/>
                    <a:pt x="463943" y="3498126"/>
                  </a:cubicBezTo>
                  <a:cubicBezTo>
                    <a:pt x="469368" y="3494881"/>
                    <a:pt x="474970" y="3491180"/>
                    <a:pt x="480750" y="3487023"/>
                  </a:cubicBezTo>
                  <a:close/>
                  <a:moveTo>
                    <a:pt x="11875949" y="3483150"/>
                  </a:moveTo>
                  <a:cubicBezTo>
                    <a:pt x="11923393" y="3483150"/>
                    <a:pt x="11947116" y="3520012"/>
                    <a:pt x="11947116" y="3593737"/>
                  </a:cubicBezTo>
                  <a:cubicBezTo>
                    <a:pt x="11947116" y="3630249"/>
                    <a:pt x="11940420" y="3658108"/>
                    <a:pt x="11927030" y="3677317"/>
                  </a:cubicBezTo>
                  <a:cubicBezTo>
                    <a:pt x="11913639" y="3696525"/>
                    <a:pt x="11894907" y="3706130"/>
                    <a:pt x="11870833" y="3706130"/>
                  </a:cubicBezTo>
                  <a:cubicBezTo>
                    <a:pt x="11848365" y="3706130"/>
                    <a:pt x="11830836" y="3696952"/>
                    <a:pt x="11818248" y="3678596"/>
                  </a:cubicBezTo>
                  <a:cubicBezTo>
                    <a:pt x="11805659" y="3660240"/>
                    <a:pt x="11799365" y="3633709"/>
                    <a:pt x="11799365" y="3599003"/>
                  </a:cubicBezTo>
                  <a:cubicBezTo>
                    <a:pt x="11799365" y="3560887"/>
                    <a:pt x="11805935" y="3532049"/>
                    <a:pt x="11819075" y="3512489"/>
                  </a:cubicBezTo>
                  <a:cubicBezTo>
                    <a:pt x="11832216" y="3492930"/>
                    <a:pt x="11851173" y="3483150"/>
                    <a:pt x="11875949" y="3483150"/>
                  </a:cubicBezTo>
                  <a:close/>
                  <a:moveTo>
                    <a:pt x="11190803" y="3483150"/>
                  </a:moveTo>
                  <a:cubicBezTo>
                    <a:pt x="11238247" y="3483150"/>
                    <a:pt x="11261970" y="3520012"/>
                    <a:pt x="11261970" y="3593737"/>
                  </a:cubicBezTo>
                  <a:cubicBezTo>
                    <a:pt x="11261970" y="3630249"/>
                    <a:pt x="11255274" y="3658108"/>
                    <a:pt x="11241884" y="3677317"/>
                  </a:cubicBezTo>
                  <a:cubicBezTo>
                    <a:pt x="11228493" y="3696525"/>
                    <a:pt x="11209761" y="3706130"/>
                    <a:pt x="11185687" y="3706130"/>
                  </a:cubicBezTo>
                  <a:cubicBezTo>
                    <a:pt x="11163219" y="3706130"/>
                    <a:pt x="11145690" y="3696952"/>
                    <a:pt x="11133102" y="3678596"/>
                  </a:cubicBezTo>
                  <a:cubicBezTo>
                    <a:pt x="11120513" y="3660240"/>
                    <a:pt x="11114219" y="3633709"/>
                    <a:pt x="11114219" y="3599003"/>
                  </a:cubicBezTo>
                  <a:cubicBezTo>
                    <a:pt x="11114219" y="3560887"/>
                    <a:pt x="11120789" y="3532049"/>
                    <a:pt x="11133929" y="3512489"/>
                  </a:cubicBezTo>
                  <a:cubicBezTo>
                    <a:pt x="11147070" y="3492930"/>
                    <a:pt x="11166027" y="3483150"/>
                    <a:pt x="11190803" y="3483150"/>
                  </a:cubicBezTo>
                  <a:close/>
                  <a:moveTo>
                    <a:pt x="9937869" y="3483150"/>
                  </a:moveTo>
                  <a:cubicBezTo>
                    <a:pt x="9985313" y="3483150"/>
                    <a:pt x="10009036" y="3520012"/>
                    <a:pt x="10009036" y="3593737"/>
                  </a:cubicBezTo>
                  <a:cubicBezTo>
                    <a:pt x="10009036" y="3630249"/>
                    <a:pt x="10002340" y="3658108"/>
                    <a:pt x="9988950" y="3677317"/>
                  </a:cubicBezTo>
                  <a:cubicBezTo>
                    <a:pt x="9975559" y="3696525"/>
                    <a:pt x="9956827" y="3706130"/>
                    <a:pt x="9932753" y="3706130"/>
                  </a:cubicBezTo>
                  <a:cubicBezTo>
                    <a:pt x="9910285" y="3706130"/>
                    <a:pt x="9892756" y="3696952"/>
                    <a:pt x="9880168" y="3678596"/>
                  </a:cubicBezTo>
                  <a:cubicBezTo>
                    <a:pt x="9867579" y="3660240"/>
                    <a:pt x="9861285" y="3633709"/>
                    <a:pt x="9861285" y="3599003"/>
                  </a:cubicBezTo>
                  <a:cubicBezTo>
                    <a:pt x="9861285" y="3560887"/>
                    <a:pt x="9867855" y="3532049"/>
                    <a:pt x="9880995" y="3512489"/>
                  </a:cubicBezTo>
                  <a:cubicBezTo>
                    <a:pt x="9894136" y="3492930"/>
                    <a:pt x="9913093" y="3483150"/>
                    <a:pt x="9937869" y="3483150"/>
                  </a:cubicBezTo>
                  <a:close/>
                  <a:moveTo>
                    <a:pt x="9715358" y="3483150"/>
                  </a:moveTo>
                  <a:cubicBezTo>
                    <a:pt x="9762802" y="3483150"/>
                    <a:pt x="9786525" y="3520012"/>
                    <a:pt x="9786525" y="3593737"/>
                  </a:cubicBezTo>
                  <a:cubicBezTo>
                    <a:pt x="9786525" y="3630249"/>
                    <a:pt x="9779829" y="3658108"/>
                    <a:pt x="9766439" y="3677317"/>
                  </a:cubicBezTo>
                  <a:cubicBezTo>
                    <a:pt x="9753048" y="3696525"/>
                    <a:pt x="9734316" y="3706130"/>
                    <a:pt x="9710242" y="3706130"/>
                  </a:cubicBezTo>
                  <a:cubicBezTo>
                    <a:pt x="9687774" y="3706130"/>
                    <a:pt x="9670245" y="3696952"/>
                    <a:pt x="9657657" y="3678596"/>
                  </a:cubicBezTo>
                  <a:cubicBezTo>
                    <a:pt x="9645068" y="3660240"/>
                    <a:pt x="9638774" y="3633709"/>
                    <a:pt x="9638774" y="3599003"/>
                  </a:cubicBezTo>
                  <a:cubicBezTo>
                    <a:pt x="9638774" y="3560887"/>
                    <a:pt x="9645344" y="3532049"/>
                    <a:pt x="9658484" y="3512489"/>
                  </a:cubicBezTo>
                  <a:cubicBezTo>
                    <a:pt x="9671625" y="3492930"/>
                    <a:pt x="9690582" y="3483150"/>
                    <a:pt x="9715358" y="3483150"/>
                  </a:cubicBezTo>
                  <a:close/>
                  <a:moveTo>
                    <a:pt x="6373956" y="3483150"/>
                  </a:moveTo>
                  <a:cubicBezTo>
                    <a:pt x="6421401" y="3483150"/>
                    <a:pt x="6445123" y="3520012"/>
                    <a:pt x="6445123" y="3593737"/>
                  </a:cubicBezTo>
                  <a:cubicBezTo>
                    <a:pt x="6445123" y="3630249"/>
                    <a:pt x="6438428" y="3658108"/>
                    <a:pt x="6425037" y="3677317"/>
                  </a:cubicBezTo>
                  <a:cubicBezTo>
                    <a:pt x="6411646" y="3696525"/>
                    <a:pt x="6392914" y="3706130"/>
                    <a:pt x="6368840" y="3706130"/>
                  </a:cubicBezTo>
                  <a:cubicBezTo>
                    <a:pt x="6346372" y="3706130"/>
                    <a:pt x="6328843" y="3696952"/>
                    <a:pt x="6316255" y="3678596"/>
                  </a:cubicBezTo>
                  <a:cubicBezTo>
                    <a:pt x="6303666" y="3660240"/>
                    <a:pt x="6297372" y="3633709"/>
                    <a:pt x="6297372" y="3599003"/>
                  </a:cubicBezTo>
                  <a:cubicBezTo>
                    <a:pt x="6297372" y="3560887"/>
                    <a:pt x="6303942" y="3532049"/>
                    <a:pt x="6317082" y="3512489"/>
                  </a:cubicBezTo>
                  <a:cubicBezTo>
                    <a:pt x="6330223" y="3492930"/>
                    <a:pt x="6349180" y="3483150"/>
                    <a:pt x="6373956" y="3483150"/>
                  </a:cubicBezTo>
                  <a:close/>
                  <a:moveTo>
                    <a:pt x="5786272" y="3483150"/>
                  </a:moveTo>
                  <a:cubicBezTo>
                    <a:pt x="5833719" y="3483150"/>
                    <a:pt x="5857440" y="3520012"/>
                    <a:pt x="5857440" y="3593737"/>
                  </a:cubicBezTo>
                  <a:cubicBezTo>
                    <a:pt x="5857440" y="3630249"/>
                    <a:pt x="5850744" y="3658108"/>
                    <a:pt x="5837355" y="3677317"/>
                  </a:cubicBezTo>
                  <a:cubicBezTo>
                    <a:pt x="5823963" y="3696525"/>
                    <a:pt x="5805230" y="3706130"/>
                    <a:pt x="5781158" y="3706130"/>
                  </a:cubicBezTo>
                  <a:cubicBezTo>
                    <a:pt x="5758689" y="3706130"/>
                    <a:pt x="5741161" y="3696952"/>
                    <a:pt x="5728572" y="3678596"/>
                  </a:cubicBezTo>
                  <a:cubicBezTo>
                    <a:pt x="5715984" y="3660240"/>
                    <a:pt x="5709690" y="3633709"/>
                    <a:pt x="5709690" y="3599003"/>
                  </a:cubicBezTo>
                  <a:cubicBezTo>
                    <a:pt x="5709690" y="3560887"/>
                    <a:pt x="5716259" y="3532049"/>
                    <a:pt x="5729400" y="3512489"/>
                  </a:cubicBezTo>
                  <a:cubicBezTo>
                    <a:pt x="5742540" y="3492930"/>
                    <a:pt x="5761498" y="3483150"/>
                    <a:pt x="5786272" y="3483150"/>
                  </a:cubicBezTo>
                  <a:close/>
                  <a:moveTo>
                    <a:pt x="5093284" y="3483150"/>
                  </a:moveTo>
                  <a:cubicBezTo>
                    <a:pt x="5140729" y="3483150"/>
                    <a:pt x="5164451" y="3520012"/>
                    <a:pt x="5164451" y="3593737"/>
                  </a:cubicBezTo>
                  <a:cubicBezTo>
                    <a:pt x="5164451" y="3630249"/>
                    <a:pt x="5157756" y="3658108"/>
                    <a:pt x="5144364" y="3677317"/>
                  </a:cubicBezTo>
                  <a:cubicBezTo>
                    <a:pt x="5130974" y="3696525"/>
                    <a:pt x="5112242" y="3706130"/>
                    <a:pt x="5088168" y="3706130"/>
                  </a:cubicBezTo>
                  <a:cubicBezTo>
                    <a:pt x="5065701" y="3706130"/>
                    <a:pt x="5048170" y="3696952"/>
                    <a:pt x="5035583" y="3678596"/>
                  </a:cubicBezTo>
                  <a:cubicBezTo>
                    <a:pt x="5022994" y="3660240"/>
                    <a:pt x="5016700" y="3633709"/>
                    <a:pt x="5016700" y="3599003"/>
                  </a:cubicBezTo>
                  <a:cubicBezTo>
                    <a:pt x="5016700" y="3560887"/>
                    <a:pt x="5023271" y="3532049"/>
                    <a:pt x="5036410" y="3512489"/>
                  </a:cubicBezTo>
                  <a:cubicBezTo>
                    <a:pt x="5049553" y="3492930"/>
                    <a:pt x="5068509" y="3483150"/>
                    <a:pt x="5093284" y="3483150"/>
                  </a:cubicBezTo>
                  <a:close/>
                  <a:moveTo>
                    <a:pt x="3839047" y="3483150"/>
                  </a:moveTo>
                  <a:cubicBezTo>
                    <a:pt x="3886491" y="3483150"/>
                    <a:pt x="3910214" y="3520012"/>
                    <a:pt x="3910214" y="3593737"/>
                  </a:cubicBezTo>
                  <a:cubicBezTo>
                    <a:pt x="3910214" y="3630249"/>
                    <a:pt x="3903519" y="3658108"/>
                    <a:pt x="3890128" y="3677317"/>
                  </a:cubicBezTo>
                  <a:cubicBezTo>
                    <a:pt x="3876737" y="3696525"/>
                    <a:pt x="3858005" y="3706130"/>
                    <a:pt x="3833931" y="3706130"/>
                  </a:cubicBezTo>
                  <a:cubicBezTo>
                    <a:pt x="3811463" y="3706130"/>
                    <a:pt x="3793934" y="3696952"/>
                    <a:pt x="3781346" y="3678596"/>
                  </a:cubicBezTo>
                  <a:cubicBezTo>
                    <a:pt x="3768757" y="3660240"/>
                    <a:pt x="3762464" y="3633709"/>
                    <a:pt x="3762464" y="3599003"/>
                  </a:cubicBezTo>
                  <a:cubicBezTo>
                    <a:pt x="3762464" y="3560887"/>
                    <a:pt x="3769034" y="3532049"/>
                    <a:pt x="3782173" y="3512489"/>
                  </a:cubicBezTo>
                  <a:cubicBezTo>
                    <a:pt x="3795313" y="3492930"/>
                    <a:pt x="3814271" y="3483150"/>
                    <a:pt x="3839047" y="3483150"/>
                  </a:cubicBezTo>
                  <a:close/>
                  <a:moveTo>
                    <a:pt x="3616537" y="3483150"/>
                  </a:moveTo>
                  <a:cubicBezTo>
                    <a:pt x="3663981" y="3483150"/>
                    <a:pt x="3687703" y="3520012"/>
                    <a:pt x="3687703" y="3593737"/>
                  </a:cubicBezTo>
                  <a:cubicBezTo>
                    <a:pt x="3687703" y="3630249"/>
                    <a:pt x="3681008" y="3658108"/>
                    <a:pt x="3667617" y="3677317"/>
                  </a:cubicBezTo>
                  <a:cubicBezTo>
                    <a:pt x="3654226" y="3696525"/>
                    <a:pt x="3635494" y="3706130"/>
                    <a:pt x="3611420" y="3706130"/>
                  </a:cubicBezTo>
                  <a:cubicBezTo>
                    <a:pt x="3588952" y="3706130"/>
                    <a:pt x="3571422" y="3696952"/>
                    <a:pt x="3558835" y="3678596"/>
                  </a:cubicBezTo>
                  <a:cubicBezTo>
                    <a:pt x="3546246" y="3660240"/>
                    <a:pt x="3539952" y="3633709"/>
                    <a:pt x="3539952" y="3599003"/>
                  </a:cubicBezTo>
                  <a:cubicBezTo>
                    <a:pt x="3539952" y="3560887"/>
                    <a:pt x="3546522" y="3532049"/>
                    <a:pt x="3559662" y="3512489"/>
                  </a:cubicBezTo>
                  <a:cubicBezTo>
                    <a:pt x="3572804" y="3492930"/>
                    <a:pt x="3591760" y="3483150"/>
                    <a:pt x="3616537" y="3483150"/>
                  </a:cubicBezTo>
                  <a:close/>
                  <a:moveTo>
                    <a:pt x="11868817" y="3137996"/>
                  </a:moveTo>
                  <a:cubicBezTo>
                    <a:pt x="11842637" y="3137996"/>
                    <a:pt x="11829547" y="3166834"/>
                    <a:pt x="11829547" y="3224510"/>
                  </a:cubicBezTo>
                  <a:cubicBezTo>
                    <a:pt x="11829547" y="3278474"/>
                    <a:pt x="11842386" y="3305457"/>
                    <a:pt x="11868065" y="3305457"/>
                  </a:cubicBezTo>
                  <a:cubicBezTo>
                    <a:pt x="11893341" y="3305457"/>
                    <a:pt x="11905980" y="3278023"/>
                    <a:pt x="11905980" y="3223156"/>
                  </a:cubicBezTo>
                  <a:cubicBezTo>
                    <a:pt x="11905980" y="3166382"/>
                    <a:pt x="11893592" y="3137996"/>
                    <a:pt x="11868817" y="3137996"/>
                  </a:cubicBezTo>
                  <a:close/>
                  <a:moveTo>
                    <a:pt x="11181652" y="3137996"/>
                  </a:moveTo>
                  <a:cubicBezTo>
                    <a:pt x="11155472" y="3137996"/>
                    <a:pt x="11142382" y="3166834"/>
                    <a:pt x="11142382" y="3224510"/>
                  </a:cubicBezTo>
                  <a:cubicBezTo>
                    <a:pt x="11142382" y="3278474"/>
                    <a:pt x="11155221" y="3305457"/>
                    <a:pt x="11180900" y="3305457"/>
                  </a:cubicBezTo>
                  <a:cubicBezTo>
                    <a:pt x="11206176" y="3305457"/>
                    <a:pt x="11218815" y="3278023"/>
                    <a:pt x="11218815" y="3223156"/>
                  </a:cubicBezTo>
                  <a:cubicBezTo>
                    <a:pt x="11218815" y="3166382"/>
                    <a:pt x="11206427" y="3137996"/>
                    <a:pt x="11181652" y="3137996"/>
                  </a:cubicBezTo>
                  <a:close/>
                  <a:moveTo>
                    <a:pt x="9924166" y="3137996"/>
                  </a:moveTo>
                  <a:cubicBezTo>
                    <a:pt x="9897986" y="3137996"/>
                    <a:pt x="9884896" y="3166834"/>
                    <a:pt x="9884896" y="3224510"/>
                  </a:cubicBezTo>
                  <a:cubicBezTo>
                    <a:pt x="9884896" y="3278474"/>
                    <a:pt x="9897735" y="3305457"/>
                    <a:pt x="9923414" y="3305457"/>
                  </a:cubicBezTo>
                  <a:cubicBezTo>
                    <a:pt x="9948690" y="3305457"/>
                    <a:pt x="9961329" y="3278023"/>
                    <a:pt x="9961329" y="3223156"/>
                  </a:cubicBezTo>
                  <a:cubicBezTo>
                    <a:pt x="9961329" y="3166382"/>
                    <a:pt x="9948941" y="3137996"/>
                    <a:pt x="9924166" y="3137996"/>
                  </a:cubicBezTo>
                  <a:close/>
                  <a:moveTo>
                    <a:pt x="9707272" y="3137996"/>
                  </a:moveTo>
                  <a:cubicBezTo>
                    <a:pt x="9681092" y="3137996"/>
                    <a:pt x="9668002" y="3166834"/>
                    <a:pt x="9668002" y="3224510"/>
                  </a:cubicBezTo>
                  <a:cubicBezTo>
                    <a:pt x="9668002" y="3278474"/>
                    <a:pt x="9680841" y="3305457"/>
                    <a:pt x="9706520" y="3305457"/>
                  </a:cubicBezTo>
                  <a:cubicBezTo>
                    <a:pt x="9731796" y="3305457"/>
                    <a:pt x="9744435" y="3278023"/>
                    <a:pt x="9744435" y="3223156"/>
                  </a:cubicBezTo>
                  <a:cubicBezTo>
                    <a:pt x="9744435" y="3166382"/>
                    <a:pt x="9732047" y="3137996"/>
                    <a:pt x="9707272" y="3137996"/>
                  </a:cubicBezTo>
                  <a:close/>
                  <a:moveTo>
                    <a:pt x="6330265" y="3137996"/>
                  </a:moveTo>
                  <a:cubicBezTo>
                    <a:pt x="6304085" y="3137996"/>
                    <a:pt x="6290995" y="3166834"/>
                    <a:pt x="6290995" y="3224510"/>
                  </a:cubicBezTo>
                  <a:cubicBezTo>
                    <a:pt x="6290995" y="3278474"/>
                    <a:pt x="6303834" y="3305457"/>
                    <a:pt x="6329513" y="3305457"/>
                  </a:cubicBezTo>
                  <a:cubicBezTo>
                    <a:pt x="6354790" y="3305457"/>
                    <a:pt x="6367428" y="3278023"/>
                    <a:pt x="6367428" y="3223156"/>
                  </a:cubicBezTo>
                  <a:cubicBezTo>
                    <a:pt x="6367428" y="3166382"/>
                    <a:pt x="6355040" y="3137996"/>
                    <a:pt x="6330265" y="3137996"/>
                  </a:cubicBezTo>
                  <a:close/>
                  <a:moveTo>
                    <a:pt x="6148770" y="3137996"/>
                  </a:moveTo>
                  <a:cubicBezTo>
                    <a:pt x="6122590" y="3137996"/>
                    <a:pt x="6109500" y="3166834"/>
                    <a:pt x="6109500" y="3224510"/>
                  </a:cubicBezTo>
                  <a:cubicBezTo>
                    <a:pt x="6109500" y="3278474"/>
                    <a:pt x="6122339" y="3305457"/>
                    <a:pt x="6148018" y="3305457"/>
                  </a:cubicBezTo>
                  <a:cubicBezTo>
                    <a:pt x="6173295" y="3305457"/>
                    <a:pt x="6185933" y="3278023"/>
                    <a:pt x="6185933" y="3223156"/>
                  </a:cubicBezTo>
                  <a:cubicBezTo>
                    <a:pt x="6185933" y="3166382"/>
                    <a:pt x="6173545" y="3137996"/>
                    <a:pt x="6148770" y="3137996"/>
                  </a:cubicBezTo>
                  <a:close/>
                  <a:moveTo>
                    <a:pt x="5817313" y="3137996"/>
                  </a:moveTo>
                  <a:cubicBezTo>
                    <a:pt x="5791132" y="3137996"/>
                    <a:pt x="5778043" y="3166834"/>
                    <a:pt x="5778043" y="3224510"/>
                  </a:cubicBezTo>
                  <a:cubicBezTo>
                    <a:pt x="5778043" y="3278474"/>
                    <a:pt x="5790882" y="3305457"/>
                    <a:pt x="5816561" y="3305457"/>
                  </a:cubicBezTo>
                  <a:cubicBezTo>
                    <a:pt x="5841837" y="3305457"/>
                    <a:pt x="5854477" y="3278023"/>
                    <a:pt x="5854477" y="3223156"/>
                  </a:cubicBezTo>
                  <a:cubicBezTo>
                    <a:pt x="5854477" y="3166382"/>
                    <a:pt x="5842087" y="3137996"/>
                    <a:pt x="5817313" y="3137996"/>
                  </a:cubicBezTo>
                  <a:close/>
                  <a:moveTo>
                    <a:pt x="5117746" y="3137996"/>
                  </a:moveTo>
                  <a:cubicBezTo>
                    <a:pt x="5091566" y="3137996"/>
                    <a:pt x="5078476" y="3166834"/>
                    <a:pt x="5078476" y="3224510"/>
                  </a:cubicBezTo>
                  <a:cubicBezTo>
                    <a:pt x="5078476" y="3278474"/>
                    <a:pt x="5091315" y="3305457"/>
                    <a:pt x="5116994" y="3305457"/>
                  </a:cubicBezTo>
                  <a:cubicBezTo>
                    <a:pt x="5142271" y="3305457"/>
                    <a:pt x="5154909" y="3278023"/>
                    <a:pt x="5154909" y="3223156"/>
                  </a:cubicBezTo>
                  <a:cubicBezTo>
                    <a:pt x="5154909" y="3166382"/>
                    <a:pt x="5142521" y="3137996"/>
                    <a:pt x="5117746" y="3137996"/>
                  </a:cubicBezTo>
                  <a:close/>
                  <a:moveTo>
                    <a:pt x="3857235" y="3137996"/>
                  </a:moveTo>
                  <a:cubicBezTo>
                    <a:pt x="3831054" y="3137996"/>
                    <a:pt x="3817965" y="3166834"/>
                    <a:pt x="3817965" y="3224510"/>
                  </a:cubicBezTo>
                  <a:cubicBezTo>
                    <a:pt x="3817965" y="3278474"/>
                    <a:pt x="3830804" y="3305457"/>
                    <a:pt x="3856483" y="3305457"/>
                  </a:cubicBezTo>
                  <a:cubicBezTo>
                    <a:pt x="3881760" y="3305457"/>
                    <a:pt x="3894397" y="3278023"/>
                    <a:pt x="3894397" y="3223156"/>
                  </a:cubicBezTo>
                  <a:cubicBezTo>
                    <a:pt x="3894397" y="3166382"/>
                    <a:pt x="3882010" y="3137996"/>
                    <a:pt x="3857235" y="3137996"/>
                  </a:cubicBezTo>
                  <a:close/>
                  <a:moveTo>
                    <a:pt x="3640341" y="3137996"/>
                  </a:moveTo>
                  <a:cubicBezTo>
                    <a:pt x="3614161" y="3137996"/>
                    <a:pt x="3601072" y="3166834"/>
                    <a:pt x="3601072" y="3224510"/>
                  </a:cubicBezTo>
                  <a:cubicBezTo>
                    <a:pt x="3601072" y="3278474"/>
                    <a:pt x="3613910" y="3305457"/>
                    <a:pt x="3639589" y="3305457"/>
                  </a:cubicBezTo>
                  <a:cubicBezTo>
                    <a:pt x="3664866" y="3305457"/>
                    <a:pt x="3677504" y="3278023"/>
                    <a:pt x="3677504" y="3223156"/>
                  </a:cubicBezTo>
                  <a:cubicBezTo>
                    <a:pt x="3677504" y="3166382"/>
                    <a:pt x="3665116" y="3137996"/>
                    <a:pt x="3640341" y="3137996"/>
                  </a:cubicBezTo>
                  <a:close/>
                  <a:moveTo>
                    <a:pt x="273451" y="3137996"/>
                  </a:moveTo>
                  <a:cubicBezTo>
                    <a:pt x="247271" y="3137996"/>
                    <a:pt x="234181" y="3166834"/>
                    <a:pt x="234181" y="3224510"/>
                  </a:cubicBezTo>
                  <a:cubicBezTo>
                    <a:pt x="234181" y="3278474"/>
                    <a:pt x="247020" y="3305457"/>
                    <a:pt x="272699" y="3305457"/>
                  </a:cubicBezTo>
                  <a:cubicBezTo>
                    <a:pt x="297976" y="3305457"/>
                    <a:pt x="310614" y="3278023"/>
                    <a:pt x="310614" y="3223156"/>
                  </a:cubicBezTo>
                  <a:cubicBezTo>
                    <a:pt x="310614" y="3166382"/>
                    <a:pt x="298226" y="3137996"/>
                    <a:pt x="273451" y="3137996"/>
                  </a:cubicBezTo>
                  <a:close/>
                  <a:moveTo>
                    <a:pt x="74929" y="3137996"/>
                  </a:moveTo>
                  <a:cubicBezTo>
                    <a:pt x="48749" y="3137996"/>
                    <a:pt x="35659" y="3166834"/>
                    <a:pt x="35659" y="3224510"/>
                  </a:cubicBezTo>
                  <a:cubicBezTo>
                    <a:pt x="35659" y="3278474"/>
                    <a:pt x="48498" y="3305457"/>
                    <a:pt x="74177" y="3305457"/>
                  </a:cubicBezTo>
                  <a:cubicBezTo>
                    <a:pt x="99454" y="3305457"/>
                    <a:pt x="112092" y="3278023"/>
                    <a:pt x="112092" y="3223156"/>
                  </a:cubicBezTo>
                  <a:cubicBezTo>
                    <a:pt x="112092" y="3166382"/>
                    <a:pt x="99704" y="3137996"/>
                    <a:pt x="74929" y="3137996"/>
                  </a:cubicBezTo>
                  <a:close/>
                  <a:moveTo>
                    <a:pt x="12088449" y="3110161"/>
                  </a:moveTo>
                  <a:lnTo>
                    <a:pt x="12103355" y="3110161"/>
                  </a:lnTo>
                  <a:lnTo>
                    <a:pt x="12103355" y="3333141"/>
                  </a:lnTo>
                  <a:lnTo>
                    <a:pt x="12068067" y="3333141"/>
                  </a:lnTo>
                  <a:lnTo>
                    <a:pt x="12068067" y="3153358"/>
                  </a:lnTo>
                  <a:cubicBezTo>
                    <a:pt x="12061679" y="3157921"/>
                    <a:pt x="12054809" y="3161799"/>
                    <a:pt x="12047458" y="3164993"/>
                  </a:cubicBezTo>
                  <a:cubicBezTo>
                    <a:pt x="12040106" y="3168188"/>
                    <a:pt x="12031715" y="3171001"/>
                    <a:pt x="12022285" y="3173435"/>
                  </a:cubicBezTo>
                  <a:lnTo>
                    <a:pt x="12022285" y="3143319"/>
                  </a:lnTo>
                  <a:cubicBezTo>
                    <a:pt x="12028166" y="3141393"/>
                    <a:pt x="12033845" y="3139365"/>
                    <a:pt x="12039320" y="3137235"/>
                  </a:cubicBezTo>
                  <a:cubicBezTo>
                    <a:pt x="12044796" y="3135106"/>
                    <a:pt x="12050196" y="3132723"/>
                    <a:pt x="12055519" y="3130086"/>
                  </a:cubicBezTo>
                  <a:cubicBezTo>
                    <a:pt x="12060843" y="3127450"/>
                    <a:pt x="12066217" y="3124509"/>
                    <a:pt x="12071642" y="3121265"/>
                  </a:cubicBezTo>
                  <a:cubicBezTo>
                    <a:pt x="12077067" y="3118020"/>
                    <a:pt x="12082669" y="3114319"/>
                    <a:pt x="12088449" y="3110161"/>
                  </a:cubicBezTo>
                  <a:close/>
                  <a:moveTo>
                    <a:pt x="11870472" y="3110161"/>
                  </a:moveTo>
                  <a:cubicBezTo>
                    <a:pt x="11917916" y="3110161"/>
                    <a:pt x="11941639" y="3147024"/>
                    <a:pt x="11941639" y="3220749"/>
                  </a:cubicBezTo>
                  <a:cubicBezTo>
                    <a:pt x="11941639" y="3257260"/>
                    <a:pt x="11934943" y="3285120"/>
                    <a:pt x="11921553" y="3304328"/>
                  </a:cubicBezTo>
                  <a:cubicBezTo>
                    <a:pt x="11908162" y="3323537"/>
                    <a:pt x="11889430" y="3333141"/>
                    <a:pt x="11865356" y="3333141"/>
                  </a:cubicBezTo>
                  <a:cubicBezTo>
                    <a:pt x="11842888" y="3333141"/>
                    <a:pt x="11825359" y="3323963"/>
                    <a:pt x="11812771" y="3305607"/>
                  </a:cubicBezTo>
                  <a:cubicBezTo>
                    <a:pt x="11800182" y="3287251"/>
                    <a:pt x="11793888" y="3260720"/>
                    <a:pt x="11793888" y="3226015"/>
                  </a:cubicBezTo>
                  <a:cubicBezTo>
                    <a:pt x="11793888" y="3187898"/>
                    <a:pt x="11800458" y="3159061"/>
                    <a:pt x="11813598" y="3139501"/>
                  </a:cubicBezTo>
                  <a:cubicBezTo>
                    <a:pt x="11826739" y="3119941"/>
                    <a:pt x="11845696" y="3110161"/>
                    <a:pt x="11870472" y="3110161"/>
                  </a:cubicBezTo>
                  <a:close/>
                  <a:moveTo>
                    <a:pt x="11183307" y="3110161"/>
                  </a:moveTo>
                  <a:cubicBezTo>
                    <a:pt x="11230751" y="3110161"/>
                    <a:pt x="11254474" y="3147024"/>
                    <a:pt x="11254474" y="3220749"/>
                  </a:cubicBezTo>
                  <a:cubicBezTo>
                    <a:pt x="11254474" y="3257260"/>
                    <a:pt x="11247778" y="3285120"/>
                    <a:pt x="11234388" y="3304328"/>
                  </a:cubicBezTo>
                  <a:cubicBezTo>
                    <a:pt x="11220997" y="3323537"/>
                    <a:pt x="11202265" y="3333141"/>
                    <a:pt x="11178191" y="3333141"/>
                  </a:cubicBezTo>
                  <a:cubicBezTo>
                    <a:pt x="11155723" y="3333141"/>
                    <a:pt x="11138194" y="3323963"/>
                    <a:pt x="11125606" y="3305607"/>
                  </a:cubicBezTo>
                  <a:cubicBezTo>
                    <a:pt x="11113017" y="3287251"/>
                    <a:pt x="11106723" y="3260720"/>
                    <a:pt x="11106723" y="3226015"/>
                  </a:cubicBezTo>
                  <a:cubicBezTo>
                    <a:pt x="11106723" y="3187898"/>
                    <a:pt x="11113293" y="3159061"/>
                    <a:pt x="11126433" y="3139501"/>
                  </a:cubicBezTo>
                  <a:cubicBezTo>
                    <a:pt x="11139574" y="3119941"/>
                    <a:pt x="11158531" y="3110161"/>
                    <a:pt x="11183307" y="3110161"/>
                  </a:cubicBezTo>
                  <a:close/>
                  <a:moveTo>
                    <a:pt x="10794576" y="3110161"/>
                  </a:moveTo>
                  <a:lnTo>
                    <a:pt x="10809482" y="3110161"/>
                  </a:lnTo>
                  <a:lnTo>
                    <a:pt x="10809482" y="3333141"/>
                  </a:lnTo>
                  <a:lnTo>
                    <a:pt x="10774194" y="3333141"/>
                  </a:lnTo>
                  <a:lnTo>
                    <a:pt x="10774194" y="3153358"/>
                  </a:lnTo>
                  <a:cubicBezTo>
                    <a:pt x="10767806" y="3157921"/>
                    <a:pt x="10760936" y="3161799"/>
                    <a:pt x="10753585" y="3164993"/>
                  </a:cubicBezTo>
                  <a:cubicBezTo>
                    <a:pt x="10746233" y="3168188"/>
                    <a:pt x="10737842" y="3171001"/>
                    <a:pt x="10728412" y="3173435"/>
                  </a:cubicBezTo>
                  <a:lnTo>
                    <a:pt x="10728412" y="3143319"/>
                  </a:lnTo>
                  <a:cubicBezTo>
                    <a:pt x="10734293" y="3141393"/>
                    <a:pt x="10739972" y="3139365"/>
                    <a:pt x="10745447" y="3137235"/>
                  </a:cubicBezTo>
                  <a:cubicBezTo>
                    <a:pt x="10750923" y="3135106"/>
                    <a:pt x="10756323" y="3132723"/>
                    <a:pt x="10761646" y="3130086"/>
                  </a:cubicBezTo>
                  <a:cubicBezTo>
                    <a:pt x="10766970" y="3127450"/>
                    <a:pt x="10772344" y="3124509"/>
                    <a:pt x="10777769" y="3121265"/>
                  </a:cubicBezTo>
                  <a:cubicBezTo>
                    <a:pt x="10783194" y="3118020"/>
                    <a:pt x="10788796" y="3114319"/>
                    <a:pt x="10794576" y="3110161"/>
                  </a:cubicBezTo>
                  <a:close/>
                  <a:moveTo>
                    <a:pt x="10431054" y="3110161"/>
                  </a:moveTo>
                  <a:lnTo>
                    <a:pt x="10445960" y="3110161"/>
                  </a:lnTo>
                  <a:lnTo>
                    <a:pt x="10445960" y="3333141"/>
                  </a:lnTo>
                  <a:lnTo>
                    <a:pt x="10410672" y="3333141"/>
                  </a:lnTo>
                  <a:lnTo>
                    <a:pt x="10410672" y="3153358"/>
                  </a:lnTo>
                  <a:cubicBezTo>
                    <a:pt x="10404284" y="3157921"/>
                    <a:pt x="10397414" y="3161799"/>
                    <a:pt x="10390063" y="3164993"/>
                  </a:cubicBezTo>
                  <a:cubicBezTo>
                    <a:pt x="10382711" y="3168188"/>
                    <a:pt x="10374320" y="3171001"/>
                    <a:pt x="10364890" y="3173435"/>
                  </a:cubicBezTo>
                  <a:lnTo>
                    <a:pt x="10364890" y="3143319"/>
                  </a:lnTo>
                  <a:cubicBezTo>
                    <a:pt x="10370771" y="3141393"/>
                    <a:pt x="10376450" y="3139365"/>
                    <a:pt x="10381925" y="3137235"/>
                  </a:cubicBezTo>
                  <a:cubicBezTo>
                    <a:pt x="10387401" y="3135106"/>
                    <a:pt x="10392801" y="3132723"/>
                    <a:pt x="10398124" y="3130086"/>
                  </a:cubicBezTo>
                  <a:cubicBezTo>
                    <a:pt x="10403448" y="3127450"/>
                    <a:pt x="10408822" y="3124509"/>
                    <a:pt x="10414247" y="3121265"/>
                  </a:cubicBezTo>
                  <a:cubicBezTo>
                    <a:pt x="10419672" y="3118020"/>
                    <a:pt x="10425274" y="3114319"/>
                    <a:pt x="10431054" y="3110161"/>
                  </a:cubicBezTo>
                  <a:close/>
                  <a:moveTo>
                    <a:pt x="10132191" y="3110161"/>
                  </a:moveTo>
                  <a:lnTo>
                    <a:pt x="10147097" y="3110161"/>
                  </a:lnTo>
                  <a:lnTo>
                    <a:pt x="10147097" y="3333141"/>
                  </a:lnTo>
                  <a:lnTo>
                    <a:pt x="10111809" y="3333141"/>
                  </a:lnTo>
                  <a:lnTo>
                    <a:pt x="10111809" y="3153358"/>
                  </a:lnTo>
                  <a:cubicBezTo>
                    <a:pt x="10105421" y="3157921"/>
                    <a:pt x="10098551" y="3161799"/>
                    <a:pt x="10091200" y="3164993"/>
                  </a:cubicBezTo>
                  <a:cubicBezTo>
                    <a:pt x="10083848" y="3168188"/>
                    <a:pt x="10075457" y="3171001"/>
                    <a:pt x="10066027" y="3173435"/>
                  </a:cubicBezTo>
                  <a:lnTo>
                    <a:pt x="10066027" y="3143319"/>
                  </a:lnTo>
                  <a:cubicBezTo>
                    <a:pt x="10071908" y="3141393"/>
                    <a:pt x="10077587" y="3139365"/>
                    <a:pt x="10083062" y="3137235"/>
                  </a:cubicBezTo>
                  <a:cubicBezTo>
                    <a:pt x="10088538" y="3135106"/>
                    <a:pt x="10093938" y="3132723"/>
                    <a:pt x="10099261" y="3130086"/>
                  </a:cubicBezTo>
                  <a:cubicBezTo>
                    <a:pt x="10104585" y="3127450"/>
                    <a:pt x="10109959" y="3124509"/>
                    <a:pt x="10115384" y="3121265"/>
                  </a:cubicBezTo>
                  <a:cubicBezTo>
                    <a:pt x="10120809" y="3118020"/>
                    <a:pt x="10126411" y="3114319"/>
                    <a:pt x="10132191" y="3110161"/>
                  </a:cubicBezTo>
                  <a:close/>
                  <a:moveTo>
                    <a:pt x="9925821" y="3110161"/>
                  </a:moveTo>
                  <a:cubicBezTo>
                    <a:pt x="9973265" y="3110161"/>
                    <a:pt x="9996988" y="3147024"/>
                    <a:pt x="9996988" y="3220749"/>
                  </a:cubicBezTo>
                  <a:cubicBezTo>
                    <a:pt x="9996988" y="3257260"/>
                    <a:pt x="9990292" y="3285120"/>
                    <a:pt x="9976902" y="3304328"/>
                  </a:cubicBezTo>
                  <a:cubicBezTo>
                    <a:pt x="9963511" y="3323537"/>
                    <a:pt x="9944779" y="3333141"/>
                    <a:pt x="9920705" y="3333141"/>
                  </a:cubicBezTo>
                  <a:cubicBezTo>
                    <a:pt x="9898237" y="3333141"/>
                    <a:pt x="9880708" y="3323963"/>
                    <a:pt x="9868120" y="3305607"/>
                  </a:cubicBezTo>
                  <a:cubicBezTo>
                    <a:pt x="9855531" y="3287251"/>
                    <a:pt x="9849237" y="3260720"/>
                    <a:pt x="9849237" y="3226015"/>
                  </a:cubicBezTo>
                  <a:cubicBezTo>
                    <a:pt x="9849237" y="3187898"/>
                    <a:pt x="9855807" y="3159061"/>
                    <a:pt x="9868947" y="3139501"/>
                  </a:cubicBezTo>
                  <a:cubicBezTo>
                    <a:pt x="9882088" y="3119941"/>
                    <a:pt x="9901045" y="3110161"/>
                    <a:pt x="9925821" y="3110161"/>
                  </a:cubicBezTo>
                  <a:close/>
                  <a:moveTo>
                    <a:pt x="9708927" y="3110161"/>
                  </a:moveTo>
                  <a:cubicBezTo>
                    <a:pt x="9756371" y="3110161"/>
                    <a:pt x="9780094" y="3147024"/>
                    <a:pt x="9780094" y="3220749"/>
                  </a:cubicBezTo>
                  <a:cubicBezTo>
                    <a:pt x="9780094" y="3257260"/>
                    <a:pt x="9773398" y="3285120"/>
                    <a:pt x="9760008" y="3304328"/>
                  </a:cubicBezTo>
                  <a:cubicBezTo>
                    <a:pt x="9746617" y="3323537"/>
                    <a:pt x="9727885" y="3333141"/>
                    <a:pt x="9703811" y="3333141"/>
                  </a:cubicBezTo>
                  <a:cubicBezTo>
                    <a:pt x="9681343" y="3333141"/>
                    <a:pt x="9663814" y="3323963"/>
                    <a:pt x="9651226" y="3305607"/>
                  </a:cubicBezTo>
                  <a:cubicBezTo>
                    <a:pt x="9638637" y="3287251"/>
                    <a:pt x="9632343" y="3260720"/>
                    <a:pt x="9632343" y="3226015"/>
                  </a:cubicBezTo>
                  <a:cubicBezTo>
                    <a:pt x="9632343" y="3187898"/>
                    <a:pt x="9638913" y="3159061"/>
                    <a:pt x="9652053" y="3139501"/>
                  </a:cubicBezTo>
                  <a:cubicBezTo>
                    <a:pt x="9665194" y="3119941"/>
                    <a:pt x="9684151" y="3110161"/>
                    <a:pt x="9708927" y="3110161"/>
                  </a:cubicBezTo>
                  <a:close/>
                  <a:moveTo>
                    <a:pt x="9539026" y="3110161"/>
                  </a:moveTo>
                  <a:lnTo>
                    <a:pt x="9553932" y="3110161"/>
                  </a:lnTo>
                  <a:lnTo>
                    <a:pt x="9553932" y="3333141"/>
                  </a:lnTo>
                  <a:lnTo>
                    <a:pt x="9518644" y="3333141"/>
                  </a:lnTo>
                  <a:lnTo>
                    <a:pt x="9518644" y="3153358"/>
                  </a:lnTo>
                  <a:cubicBezTo>
                    <a:pt x="9512256" y="3157921"/>
                    <a:pt x="9505386" y="3161799"/>
                    <a:pt x="9498035" y="3164993"/>
                  </a:cubicBezTo>
                  <a:cubicBezTo>
                    <a:pt x="9490683" y="3168188"/>
                    <a:pt x="9482292" y="3171001"/>
                    <a:pt x="9472862" y="3173435"/>
                  </a:cubicBezTo>
                  <a:lnTo>
                    <a:pt x="9472862" y="3143319"/>
                  </a:lnTo>
                  <a:cubicBezTo>
                    <a:pt x="9478743" y="3141393"/>
                    <a:pt x="9484422" y="3139365"/>
                    <a:pt x="9489897" y="3137235"/>
                  </a:cubicBezTo>
                  <a:cubicBezTo>
                    <a:pt x="9495373" y="3135106"/>
                    <a:pt x="9500773" y="3132723"/>
                    <a:pt x="9506096" y="3130086"/>
                  </a:cubicBezTo>
                  <a:cubicBezTo>
                    <a:pt x="9511420" y="3127450"/>
                    <a:pt x="9516794" y="3124509"/>
                    <a:pt x="9522219" y="3121265"/>
                  </a:cubicBezTo>
                  <a:cubicBezTo>
                    <a:pt x="9527644" y="3118020"/>
                    <a:pt x="9533246" y="3114319"/>
                    <a:pt x="9539026" y="3110161"/>
                  </a:cubicBezTo>
                  <a:close/>
                  <a:moveTo>
                    <a:pt x="9240163" y="3110161"/>
                  </a:moveTo>
                  <a:lnTo>
                    <a:pt x="9255069" y="3110161"/>
                  </a:lnTo>
                  <a:lnTo>
                    <a:pt x="9255069" y="3333141"/>
                  </a:lnTo>
                  <a:lnTo>
                    <a:pt x="9219781" y="3333141"/>
                  </a:lnTo>
                  <a:lnTo>
                    <a:pt x="9219781" y="3153358"/>
                  </a:lnTo>
                  <a:cubicBezTo>
                    <a:pt x="9213393" y="3157921"/>
                    <a:pt x="9206523" y="3161799"/>
                    <a:pt x="9199172" y="3164993"/>
                  </a:cubicBezTo>
                  <a:cubicBezTo>
                    <a:pt x="9191820" y="3168188"/>
                    <a:pt x="9183429" y="3171001"/>
                    <a:pt x="9173999" y="3173435"/>
                  </a:cubicBezTo>
                  <a:lnTo>
                    <a:pt x="9173999" y="3143319"/>
                  </a:lnTo>
                  <a:cubicBezTo>
                    <a:pt x="9179880" y="3141393"/>
                    <a:pt x="9185559" y="3139365"/>
                    <a:pt x="9191034" y="3137235"/>
                  </a:cubicBezTo>
                  <a:cubicBezTo>
                    <a:pt x="9196510" y="3135106"/>
                    <a:pt x="9201910" y="3132723"/>
                    <a:pt x="9207233" y="3130086"/>
                  </a:cubicBezTo>
                  <a:cubicBezTo>
                    <a:pt x="9212557" y="3127450"/>
                    <a:pt x="9217931" y="3124509"/>
                    <a:pt x="9223356" y="3121265"/>
                  </a:cubicBezTo>
                  <a:cubicBezTo>
                    <a:pt x="9228781" y="3118020"/>
                    <a:pt x="9234383" y="3114319"/>
                    <a:pt x="9240163" y="3110161"/>
                  </a:cubicBezTo>
                  <a:close/>
                  <a:moveTo>
                    <a:pt x="8864744" y="3110161"/>
                  </a:moveTo>
                  <a:lnTo>
                    <a:pt x="8879650" y="3110161"/>
                  </a:lnTo>
                  <a:lnTo>
                    <a:pt x="8879650" y="3333141"/>
                  </a:lnTo>
                  <a:lnTo>
                    <a:pt x="8844362" y="3333141"/>
                  </a:lnTo>
                  <a:lnTo>
                    <a:pt x="8844362" y="3153358"/>
                  </a:lnTo>
                  <a:cubicBezTo>
                    <a:pt x="8837974" y="3157921"/>
                    <a:pt x="8831104" y="3161799"/>
                    <a:pt x="8823753" y="3164993"/>
                  </a:cubicBezTo>
                  <a:cubicBezTo>
                    <a:pt x="8816401" y="3168188"/>
                    <a:pt x="8808010" y="3171001"/>
                    <a:pt x="8798580" y="3173435"/>
                  </a:cubicBezTo>
                  <a:lnTo>
                    <a:pt x="8798580" y="3143319"/>
                  </a:lnTo>
                  <a:cubicBezTo>
                    <a:pt x="8804461" y="3141393"/>
                    <a:pt x="8810140" y="3139365"/>
                    <a:pt x="8815615" y="3137235"/>
                  </a:cubicBezTo>
                  <a:cubicBezTo>
                    <a:pt x="8821091" y="3135106"/>
                    <a:pt x="8826491" y="3132723"/>
                    <a:pt x="8831814" y="3130086"/>
                  </a:cubicBezTo>
                  <a:cubicBezTo>
                    <a:pt x="8837138" y="3127450"/>
                    <a:pt x="8842512" y="3124509"/>
                    <a:pt x="8847937" y="3121265"/>
                  </a:cubicBezTo>
                  <a:cubicBezTo>
                    <a:pt x="8853362" y="3118020"/>
                    <a:pt x="8858964" y="3114319"/>
                    <a:pt x="8864744" y="3110161"/>
                  </a:cubicBezTo>
                  <a:close/>
                  <a:moveTo>
                    <a:pt x="8714738" y="3110161"/>
                  </a:moveTo>
                  <a:lnTo>
                    <a:pt x="8729644" y="3110161"/>
                  </a:lnTo>
                  <a:lnTo>
                    <a:pt x="8729644" y="3333141"/>
                  </a:lnTo>
                  <a:lnTo>
                    <a:pt x="8694356" y="3333141"/>
                  </a:lnTo>
                  <a:lnTo>
                    <a:pt x="8694356" y="3153358"/>
                  </a:lnTo>
                  <a:cubicBezTo>
                    <a:pt x="8687968" y="3157921"/>
                    <a:pt x="8681098" y="3161799"/>
                    <a:pt x="8673747" y="3164993"/>
                  </a:cubicBezTo>
                  <a:cubicBezTo>
                    <a:pt x="8666395" y="3168188"/>
                    <a:pt x="8658004" y="3171001"/>
                    <a:pt x="8648574" y="3173435"/>
                  </a:cubicBezTo>
                  <a:lnTo>
                    <a:pt x="8648574" y="3143319"/>
                  </a:lnTo>
                  <a:cubicBezTo>
                    <a:pt x="8654455" y="3141393"/>
                    <a:pt x="8660134" y="3139365"/>
                    <a:pt x="8665609" y="3137235"/>
                  </a:cubicBezTo>
                  <a:cubicBezTo>
                    <a:pt x="8671085" y="3135106"/>
                    <a:pt x="8676485" y="3132723"/>
                    <a:pt x="8681808" y="3130086"/>
                  </a:cubicBezTo>
                  <a:cubicBezTo>
                    <a:pt x="8687132" y="3127450"/>
                    <a:pt x="8692506" y="3124509"/>
                    <a:pt x="8697931" y="3121265"/>
                  </a:cubicBezTo>
                  <a:cubicBezTo>
                    <a:pt x="8703356" y="3118020"/>
                    <a:pt x="8708958" y="3114319"/>
                    <a:pt x="8714738" y="3110161"/>
                  </a:cubicBezTo>
                  <a:close/>
                  <a:moveTo>
                    <a:pt x="8565881" y="3110161"/>
                  </a:moveTo>
                  <a:lnTo>
                    <a:pt x="8580787" y="3110161"/>
                  </a:lnTo>
                  <a:lnTo>
                    <a:pt x="8580787" y="3333141"/>
                  </a:lnTo>
                  <a:lnTo>
                    <a:pt x="8545499" y="3333141"/>
                  </a:lnTo>
                  <a:lnTo>
                    <a:pt x="8545499" y="3153358"/>
                  </a:lnTo>
                  <a:cubicBezTo>
                    <a:pt x="8539111" y="3157921"/>
                    <a:pt x="8532241" y="3161799"/>
                    <a:pt x="8524890" y="3164993"/>
                  </a:cubicBezTo>
                  <a:cubicBezTo>
                    <a:pt x="8517538" y="3168188"/>
                    <a:pt x="8509147" y="3171001"/>
                    <a:pt x="8499717" y="3173435"/>
                  </a:cubicBezTo>
                  <a:lnTo>
                    <a:pt x="8499717" y="3143319"/>
                  </a:lnTo>
                  <a:cubicBezTo>
                    <a:pt x="8505598" y="3141393"/>
                    <a:pt x="8511277" y="3139365"/>
                    <a:pt x="8516752" y="3137235"/>
                  </a:cubicBezTo>
                  <a:cubicBezTo>
                    <a:pt x="8522228" y="3135106"/>
                    <a:pt x="8527628" y="3132723"/>
                    <a:pt x="8532951" y="3130086"/>
                  </a:cubicBezTo>
                  <a:cubicBezTo>
                    <a:pt x="8538275" y="3127450"/>
                    <a:pt x="8543649" y="3124509"/>
                    <a:pt x="8549074" y="3121265"/>
                  </a:cubicBezTo>
                  <a:cubicBezTo>
                    <a:pt x="8554499" y="3118020"/>
                    <a:pt x="8560101" y="3114319"/>
                    <a:pt x="8565881" y="3110161"/>
                  </a:cubicBezTo>
                  <a:close/>
                  <a:moveTo>
                    <a:pt x="7821713" y="3110161"/>
                  </a:moveTo>
                  <a:lnTo>
                    <a:pt x="7836619" y="3110161"/>
                  </a:lnTo>
                  <a:lnTo>
                    <a:pt x="7836619" y="3333141"/>
                  </a:lnTo>
                  <a:lnTo>
                    <a:pt x="7801331" y="3333141"/>
                  </a:lnTo>
                  <a:lnTo>
                    <a:pt x="7801331" y="3153358"/>
                  </a:lnTo>
                  <a:cubicBezTo>
                    <a:pt x="7794943" y="3157921"/>
                    <a:pt x="7788074" y="3161799"/>
                    <a:pt x="7780722" y="3164993"/>
                  </a:cubicBezTo>
                  <a:cubicBezTo>
                    <a:pt x="7773370" y="3168188"/>
                    <a:pt x="7764980" y="3171001"/>
                    <a:pt x="7755549" y="3173435"/>
                  </a:cubicBezTo>
                  <a:lnTo>
                    <a:pt x="7755549" y="3143319"/>
                  </a:lnTo>
                  <a:cubicBezTo>
                    <a:pt x="7761430" y="3141393"/>
                    <a:pt x="7767109" y="3139365"/>
                    <a:pt x="7772584" y="3137235"/>
                  </a:cubicBezTo>
                  <a:cubicBezTo>
                    <a:pt x="7778060" y="3135106"/>
                    <a:pt x="7783460" y="3132723"/>
                    <a:pt x="7788783" y="3130086"/>
                  </a:cubicBezTo>
                  <a:cubicBezTo>
                    <a:pt x="7794107" y="3127450"/>
                    <a:pt x="7799481" y="3124509"/>
                    <a:pt x="7804906" y="3121265"/>
                  </a:cubicBezTo>
                  <a:cubicBezTo>
                    <a:pt x="7810331" y="3118020"/>
                    <a:pt x="7815933" y="3114319"/>
                    <a:pt x="7821713" y="3110161"/>
                  </a:cubicBezTo>
                  <a:close/>
                  <a:moveTo>
                    <a:pt x="7671707" y="3110161"/>
                  </a:moveTo>
                  <a:lnTo>
                    <a:pt x="7686613" y="3110161"/>
                  </a:lnTo>
                  <a:lnTo>
                    <a:pt x="7686613" y="3333141"/>
                  </a:lnTo>
                  <a:lnTo>
                    <a:pt x="7651325" y="3333141"/>
                  </a:lnTo>
                  <a:lnTo>
                    <a:pt x="7651325" y="3153358"/>
                  </a:lnTo>
                  <a:cubicBezTo>
                    <a:pt x="7644937" y="3157921"/>
                    <a:pt x="7638068" y="3161799"/>
                    <a:pt x="7630716" y="3164993"/>
                  </a:cubicBezTo>
                  <a:cubicBezTo>
                    <a:pt x="7623364" y="3168188"/>
                    <a:pt x="7614974" y="3171001"/>
                    <a:pt x="7605543" y="3173435"/>
                  </a:cubicBezTo>
                  <a:lnTo>
                    <a:pt x="7605543" y="3143319"/>
                  </a:lnTo>
                  <a:cubicBezTo>
                    <a:pt x="7611424" y="3141393"/>
                    <a:pt x="7617103" y="3139365"/>
                    <a:pt x="7622578" y="3137235"/>
                  </a:cubicBezTo>
                  <a:cubicBezTo>
                    <a:pt x="7628054" y="3135106"/>
                    <a:pt x="7633454" y="3132723"/>
                    <a:pt x="7638777" y="3130086"/>
                  </a:cubicBezTo>
                  <a:cubicBezTo>
                    <a:pt x="7644101" y="3127450"/>
                    <a:pt x="7649475" y="3124509"/>
                    <a:pt x="7654900" y="3121265"/>
                  </a:cubicBezTo>
                  <a:cubicBezTo>
                    <a:pt x="7660325" y="3118020"/>
                    <a:pt x="7665927" y="3114319"/>
                    <a:pt x="7671707" y="3110161"/>
                  </a:cubicBezTo>
                  <a:close/>
                  <a:moveTo>
                    <a:pt x="7373993" y="3110161"/>
                  </a:moveTo>
                  <a:lnTo>
                    <a:pt x="7388899" y="3110161"/>
                  </a:lnTo>
                  <a:lnTo>
                    <a:pt x="7388899" y="3333141"/>
                  </a:lnTo>
                  <a:lnTo>
                    <a:pt x="7353611" y="3333141"/>
                  </a:lnTo>
                  <a:lnTo>
                    <a:pt x="7353611" y="3153358"/>
                  </a:lnTo>
                  <a:cubicBezTo>
                    <a:pt x="7347223" y="3157921"/>
                    <a:pt x="7340354" y="3161799"/>
                    <a:pt x="7333002" y="3164993"/>
                  </a:cubicBezTo>
                  <a:cubicBezTo>
                    <a:pt x="7325650" y="3168188"/>
                    <a:pt x="7317260" y="3171001"/>
                    <a:pt x="7307829" y="3173435"/>
                  </a:cubicBezTo>
                  <a:lnTo>
                    <a:pt x="7307829" y="3143319"/>
                  </a:lnTo>
                  <a:cubicBezTo>
                    <a:pt x="7313710" y="3141393"/>
                    <a:pt x="7319389" y="3139365"/>
                    <a:pt x="7324864" y="3137235"/>
                  </a:cubicBezTo>
                  <a:cubicBezTo>
                    <a:pt x="7330340" y="3135106"/>
                    <a:pt x="7335740" y="3132723"/>
                    <a:pt x="7341063" y="3130086"/>
                  </a:cubicBezTo>
                  <a:cubicBezTo>
                    <a:pt x="7346387" y="3127450"/>
                    <a:pt x="7351761" y="3124509"/>
                    <a:pt x="7357186" y="3121265"/>
                  </a:cubicBezTo>
                  <a:cubicBezTo>
                    <a:pt x="7362611" y="3118020"/>
                    <a:pt x="7368213" y="3114319"/>
                    <a:pt x="7373993" y="3110161"/>
                  </a:cubicBezTo>
                  <a:close/>
                  <a:moveTo>
                    <a:pt x="6993038" y="3110161"/>
                  </a:moveTo>
                  <a:lnTo>
                    <a:pt x="7007944" y="3110161"/>
                  </a:lnTo>
                  <a:lnTo>
                    <a:pt x="7007944" y="3333141"/>
                  </a:lnTo>
                  <a:lnTo>
                    <a:pt x="6972656" y="3333141"/>
                  </a:lnTo>
                  <a:lnTo>
                    <a:pt x="6972656" y="3153358"/>
                  </a:lnTo>
                  <a:cubicBezTo>
                    <a:pt x="6966268" y="3157921"/>
                    <a:pt x="6959399" y="3161799"/>
                    <a:pt x="6952047" y="3164993"/>
                  </a:cubicBezTo>
                  <a:cubicBezTo>
                    <a:pt x="6944695" y="3168188"/>
                    <a:pt x="6936305" y="3171001"/>
                    <a:pt x="6926874" y="3173435"/>
                  </a:cubicBezTo>
                  <a:lnTo>
                    <a:pt x="6926874" y="3143319"/>
                  </a:lnTo>
                  <a:cubicBezTo>
                    <a:pt x="6932755" y="3141393"/>
                    <a:pt x="6938434" y="3139365"/>
                    <a:pt x="6943909" y="3137235"/>
                  </a:cubicBezTo>
                  <a:cubicBezTo>
                    <a:pt x="6949385" y="3135106"/>
                    <a:pt x="6954785" y="3132723"/>
                    <a:pt x="6960108" y="3130086"/>
                  </a:cubicBezTo>
                  <a:cubicBezTo>
                    <a:pt x="6965432" y="3127450"/>
                    <a:pt x="6970806" y="3124509"/>
                    <a:pt x="6976231" y="3121265"/>
                  </a:cubicBezTo>
                  <a:cubicBezTo>
                    <a:pt x="6981656" y="3118020"/>
                    <a:pt x="6987258" y="3114319"/>
                    <a:pt x="6993038" y="3110161"/>
                  </a:cubicBezTo>
                  <a:close/>
                  <a:moveTo>
                    <a:pt x="6843032" y="3110161"/>
                  </a:moveTo>
                  <a:lnTo>
                    <a:pt x="6857938" y="3110161"/>
                  </a:lnTo>
                  <a:lnTo>
                    <a:pt x="6857938" y="3333141"/>
                  </a:lnTo>
                  <a:lnTo>
                    <a:pt x="6822650" y="3333141"/>
                  </a:lnTo>
                  <a:lnTo>
                    <a:pt x="6822650" y="3153358"/>
                  </a:lnTo>
                  <a:cubicBezTo>
                    <a:pt x="6816262" y="3157921"/>
                    <a:pt x="6809393" y="3161799"/>
                    <a:pt x="6802041" y="3164993"/>
                  </a:cubicBezTo>
                  <a:cubicBezTo>
                    <a:pt x="6794689" y="3168188"/>
                    <a:pt x="6786299" y="3171001"/>
                    <a:pt x="6776868" y="3173435"/>
                  </a:cubicBezTo>
                  <a:lnTo>
                    <a:pt x="6776868" y="3143319"/>
                  </a:lnTo>
                  <a:cubicBezTo>
                    <a:pt x="6782749" y="3141393"/>
                    <a:pt x="6788428" y="3139365"/>
                    <a:pt x="6793903" y="3137235"/>
                  </a:cubicBezTo>
                  <a:cubicBezTo>
                    <a:pt x="6799379" y="3135106"/>
                    <a:pt x="6804779" y="3132723"/>
                    <a:pt x="6810102" y="3130086"/>
                  </a:cubicBezTo>
                  <a:cubicBezTo>
                    <a:pt x="6815426" y="3127450"/>
                    <a:pt x="6820800" y="3124509"/>
                    <a:pt x="6826225" y="3121265"/>
                  </a:cubicBezTo>
                  <a:cubicBezTo>
                    <a:pt x="6831650" y="3118020"/>
                    <a:pt x="6837252" y="3114319"/>
                    <a:pt x="6843032" y="3110161"/>
                  </a:cubicBezTo>
                  <a:close/>
                  <a:moveTo>
                    <a:pt x="6694175" y="3110161"/>
                  </a:moveTo>
                  <a:lnTo>
                    <a:pt x="6709081" y="3110161"/>
                  </a:lnTo>
                  <a:lnTo>
                    <a:pt x="6709081" y="3333141"/>
                  </a:lnTo>
                  <a:lnTo>
                    <a:pt x="6673793" y="3333141"/>
                  </a:lnTo>
                  <a:lnTo>
                    <a:pt x="6673793" y="3153358"/>
                  </a:lnTo>
                  <a:cubicBezTo>
                    <a:pt x="6667405" y="3157921"/>
                    <a:pt x="6660536" y="3161799"/>
                    <a:pt x="6653184" y="3164993"/>
                  </a:cubicBezTo>
                  <a:cubicBezTo>
                    <a:pt x="6645832" y="3168188"/>
                    <a:pt x="6637442" y="3171001"/>
                    <a:pt x="6628011" y="3173435"/>
                  </a:cubicBezTo>
                  <a:lnTo>
                    <a:pt x="6628011" y="3143319"/>
                  </a:lnTo>
                  <a:cubicBezTo>
                    <a:pt x="6633892" y="3141393"/>
                    <a:pt x="6639571" y="3139365"/>
                    <a:pt x="6645046" y="3137235"/>
                  </a:cubicBezTo>
                  <a:cubicBezTo>
                    <a:pt x="6650522" y="3135106"/>
                    <a:pt x="6655922" y="3132723"/>
                    <a:pt x="6661245" y="3130086"/>
                  </a:cubicBezTo>
                  <a:cubicBezTo>
                    <a:pt x="6666569" y="3127450"/>
                    <a:pt x="6671943" y="3124509"/>
                    <a:pt x="6677368" y="3121265"/>
                  </a:cubicBezTo>
                  <a:cubicBezTo>
                    <a:pt x="6682793" y="3118020"/>
                    <a:pt x="6688395" y="3114319"/>
                    <a:pt x="6694175" y="3110161"/>
                  </a:cubicBezTo>
                  <a:close/>
                  <a:moveTo>
                    <a:pt x="6545318" y="3110161"/>
                  </a:moveTo>
                  <a:lnTo>
                    <a:pt x="6560224" y="3110161"/>
                  </a:lnTo>
                  <a:lnTo>
                    <a:pt x="6560224" y="3333141"/>
                  </a:lnTo>
                  <a:lnTo>
                    <a:pt x="6524936" y="3333141"/>
                  </a:lnTo>
                  <a:lnTo>
                    <a:pt x="6524936" y="3153358"/>
                  </a:lnTo>
                  <a:cubicBezTo>
                    <a:pt x="6518548" y="3157921"/>
                    <a:pt x="6511679" y="3161799"/>
                    <a:pt x="6504327" y="3164993"/>
                  </a:cubicBezTo>
                  <a:cubicBezTo>
                    <a:pt x="6496975" y="3168188"/>
                    <a:pt x="6488585" y="3171001"/>
                    <a:pt x="6479154" y="3173435"/>
                  </a:cubicBezTo>
                  <a:lnTo>
                    <a:pt x="6479154" y="3143319"/>
                  </a:lnTo>
                  <a:cubicBezTo>
                    <a:pt x="6485035" y="3141393"/>
                    <a:pt x="6490714" y="3139365"/>
                    <a:pt x="6496189" y="3137235"/>
                  </a:cubicBezTo>
                  <a:cubicBezTo>
                    <a:pt x="6501665" y="3135106"/>
                    <a:pt x="6507065" y="3132723"/>
                    <a:pt x="6512388" y="3130086"/>
                  </a:cubicBezTo>
                  <a:cubicBezTo>
                    <a:pt x="6517712" y="3127450"/>
                    <a:pt x="6523086" y="3124509"/>
                    <a:pt x="6528511" y="3121265"/>
                  </a:cubicBezTo>
                  <a:cubicBezTo>
                    <a:pt x="6533936" y="3118020"/>
                    <a:pt x="6539538" y="3114319"/>
                    <a:pt x="6545318" y="3110161"/>
                  </a:cubicBezTo>
                  <a:close/>
                  <a:moveTo>
                    <a:pt x="6331920" y="3110161"/>
                  </a:moveTo>
                  <a:cubicBezTo>
                    <a:pt x="6379365" y="3110161"/>
                    <a:pt x="6403087" y="3147024"/>
                    <a:pt x="6403087" y="3220749"/>
                  </a:cubicBezTo>
                  <a:cubicBezTo>
                    <a:pt x="6403087" y="3257260"/>
                    <a:pt x="6396392" y="3285120"/>
                    <a:pt x="6383001" y="3304328"/>
                  </a:cubicBezTo>
                  <a:cubicBezTo>
                    <a:pt x="6369610" y="3323537"/>
                    <a:pt x="6350878" y="3333141"/>
                    <a:pt x="6326804" y="3333141"/>
                  </a:cubicBezTo>
                  <a:cubicBezTo>
                    <a:pt x="6304336" y="3333141"/>
                    <a:pt x="6286807" y="3323963"/>
                    <a:pt x="6274219" y="3305607"/>
                  </a:cubicBezTo>
                  <a:cubicBezTo>
                    <a:pt x="6261630" y="3287251"/>
                    <a:pt x="6255336" y="3260720"/>
                    <a:pt x="6255336" y="3226015"/>
                  </a:cubicBezTo>
                  <a:cubicBezTo>
                    <a:pt x="6255336" y="3187898"/>
                    <a:pt x="6261906" y="3159061"/>
                    <a:pt x="6275046" y="3139501"/>
                  </a:cubicBezTo>
                  <a:cubicBezTo>
                    <a:pt x="6288187" y="3119941"/>
                    <a:pt x="6307144" y="3110161"/>
                    <a:pt x="6331920" y="3110161"/>
                  </a:cubicBezTo>
                  <a:close/>
                  <a:moveTo>
                    <a:pt x="6150425" y="3110161"/>
                  </a:moveTo>
                  <a:cubicBezTo>
                    <a:pt x="6197870" y="3110161"/>
                    <a:pt x="6221592" y="3147024"/>
                    <a:pt x="6221592" y="3220749"/>
                  </a:cubicBezTo>
                  <a:cubicBezTo>
                    <a:pt x="6221592" y="3257260"/>
                    <a:pt x="6214897" y="3285120"/>
                    <a:pt x="6201506" y="3304328"/>
                  </a:cubicBezTo>
                  <a:cubicBezTo>
                    <a:pt x="6188115" y="3323537"/>
                    <a:pt x="6169383" y="3333141"/>
                    <a:pt x="6145309" y="3333141"/>
                  </a:cubicBezTo>
                  <a:cubicBezTo>
                    <a:pt x="6122841" y="3333141"/>
                    <a:pt x="6105312" y="3323963"/>
                    <a:pt x="6092724" y="3305607"/>
                  </a:cubicBezTo>
                  <a:cubicBezTo>
                    <a:pt x="6080135" y="3287251"/>
                    <a:pt x="6073841" y="3260720"/>
                    <a:pt x="6073841" y="3226015"/>
                  </a:cubicBezTo>
                  <a:cubicBezTo>
                    <a:pt x="6073841" y="3187898"/>
                    <a:pt x="6080411" y="3159061"/>
                    <a:pt x="6093551" y="3139501"/>
                  </a:cubicBezTo>
                  <a:cubicBezTo>
                    <a:pt x="6106692" y="3119941"/>
                    <a:pt x="6125649" y="3110161"/>
                    <a:pt x="6150425" y="3110161"/>
                  </a:cubicBezTo>
                  <a:close/>
                  <a:moveTo>
                    <a:pt x="6019293" y="3110161"/>
                  </a:moveTo>
                  <a:lnTo>
                    <a:pt x="6034201" y="3110161"/>
                  </a:lnTo>
                  <a:lnTo>
                    <a:pt x="6034201" y="3333141"/>
                  </a:lnTo>
                  <a:lnTo>
                    <a:pt x="5998911" y="3333141"/>
                  </a:lnTo>
                  <a:lnTo>
                    <a:pt x="5998911" y="3153358"/>
                  </a:lnTo>
                  <a:cubicBezTo>
                    <a:pt x="5992523" y="3157921"/>
                    <a:pt x="5985656" y="3161799"/>
                    <a:pt x="5978302" y="3164993"/>
                  </a:cubicBezTo>
                  <a:cubicBezTo>
                    <a:pt x="5970951" y="3168188"/>
                    <a:pt x="5962560" y="3171001"/>
                    <a:pt x="5953129" y="3173435"/>
                  </a:cubicBezTo>
                  <a:lnTo>
                    <a:pt x="5953129" y="3143319"/>
                  </a:lnTo>
                  <a:cubicBezTo>
                    <a:pt x="5959010" y="3141393"/>
                    <a:pt x="5964689" y="3139365"/>
                    <a:pt x="5970164" y="3137235"/>
                  </a:cubicBezTo>
                  <a:cubicBezTo>
                    <a:pt x="5975640" y="3135106"/>
                    <a:pt x="5981042" y="3132723"/>
                    <a:pt x="5986363" y="3130086"/>
                  </a:cubicBezTo>
                  <a:cubicBezTo>
                    <a:pt x="5991687" y="3127450"/>
                    <a:pt x="5997061" y="3124509"/>
                    <a:pt x="6002488" y="3121265"/>
                  </a:cubicBezTo>
                  <a:cubicBezTo>
                    <a:pt x="6007911" y="3118020"/>
                    <a:pt x="6013513" y="3114319"/>
                    <a:pt x="6019293" y="3110161"/>
                  </a:cubicBezTo>
                  <a:close/>
                  <a:moveTo>
                    <a:pt x="5818968" y="3110161"/>
                  </a:moveTo>
                  <a:cubicBezTo>
                    <a:pt x="5866414" y="3110161"/>
                    <a:pt x="5890135" y="3147024"/>
                    <a:pt x="5890135" y="3220749"/>
                  </a:cubicBezTo>
                  <a:cubicBezTo>
                    <a:pt x="5890135" y="3257260"/>
                    <a:pt x="5883439" y="3285120"/>
                    <a:pt x="5870048" y="3304328"/>
                  </a:cubicBezTo>
                  <a:cubicBezTo>
                    <a:pt x="5856659" y="3323537"/>
                    <a:pt x="5837927" y="3333141"/>
                    <a:pt x="5813852" y="3333141"/>
                  </a:cubicBezTo>
                  <a:cubicBezTo>
                    <a:pt x="5791385" y="3333141"/>
                    <a:pt x="5773854" y="3323963"/>
                    <a:pt x="5761266" y="3305607"/>
                  </a:cubicBezTo>
                  <a:cubicBezTo>
                    <a:pt x="5748678" y="3287251"/>
                    <a:pt x="5742384" y="3260720"/>
                    <a:pt x="5742384" y="3226015"/>
                  </a:cubicBezTo>
                  <a:cubicBezTo>
                    <a:pt x="5742384" y="3187898"/>
                    <a:pt x="5748954" y="3159061"/>
                    <a:pt x="5762094" y="3139501"/>
                  </a:cubicBezTo>
                  <a:cubicBezTo>
                    <a:pt x="5775236" y="3119941"/>
                    <a:pt x="5794191" y="3110161"/>
                    <a:pt x="5818968" y="3110161"/>
                  </a:cubicBezTo>
                  <a:close/>
                  <a:moveTo>
                    <a:pt x="5119401" y="3110161"/>
                  </a:moveTo>
                  <a:cubicBezTo>
                    <a:pt x="5166847" y="3110161"/>
                    <a:pt x="5190567" y="3147024"/>
                    <a:pt x="5190567" y="3220749"/>
                  </a:cubicBezTo>
                  <a:cubicBezTo>
                    <a:pt x="5190567" y="3257260"/>
                    <a:pt x="5183872" y="3285120"/>
                    <a:pt x="5170483" y="3304328"/>
                  </a:cubicBezTo>
                  <a:cubicBezTo>
                    <a:pt x="5157092" y="3323537"/>
                    <a:pt x="5138359" y="3333141"/>
                    <a:pt x="5114285" y="3333141"/>
                  </a:cubicBezTo>
                  <a:cubicBezTo>
                    <a:pt x="5091817" y="3333141"/>
                    <a:pt x="5074288" y="3323963"/>
                    <a:pt x="5061701" y="3305607"/>
                  </a:cubicBezTo>
                  <a:cubicBezTo>
                    <a:pt x="5049111" y="3287251"/>
                    <a:pt x="5042817" y="3260720"/>
                    <a:pt x="5042817" y="3226015"/>
                  </a:cubicBezTo>
                  <a:cubicBezTo>
                    <a:pt x="5042817" y="3187898"/>
                    <a:pt x="5049388" y="3159061"/>
                    <a:pt x="5062526" y="3139501"/>
                  </a:cubicBezTo>
                  <a:cubicBezTo>
                    <a:pt x="5075669" y="3119941"/>
                    <a:pt x="5094626" y="3110161"/>
                    <a:pt x="5119401" y="3110161"/>
                  </a:cubicBezTo>
                  <a:close/>
                  <a:moveTo>
                    <a:pt x="4734951" y="3110161"/>
                  </a:moveTo>
                  <a:lnTo>
                    <a:pt x="4749856" y="3110161"/>
                  </a:lnTo>
                  <a:lnTo>
                    <a:pt x="4749856" y="3333141"/>
                  </a:lnTo>
                  <a:lnTo>
                    <a:pt x="4714569" y="3333141"/>
                  </a:lnTo>
                  <a:lnTo>
                    <a:pt x="4714569" y="3153358"/>
                  </a:lnTo>
                  <a:cubicBezTo>
                    <a:pt x="4708179" y="3157921"/>
                    <a:pt x="4701311" y="3161799"/>
                    <a:pt x="4693960" y="3164993"/>
                  </a:cubicBezTo>
                  <a:cubicBezTo>
                    <a:pt x="4686607" y="3168188"/>
                    <a:pt x="4678217" y="3171001"/>
                    <a:pt x="4668786" y="3173435"/>
                  </a:cubicBezTo>
                  <a:lnTo>
                    <a:pt x="4668786" y="3143319"/>
                  </a:lnTo>
                  <a:cubicBezTo>
                    <a:pt x="4674668" y="3141393"/>
                    <a:pt x="4680347" y="3139365"/>
                    <a:pt x="4685822" y="3137235"/>
                  </a:cubicBezTo>
                  <a:cubicBezTo>
                    <a:pt x="4691297" y="3135106"/>
                    <a:pt x="4696697" y="3132723"/>
                    <a:pt x="4702020" y="3130086"/>
                  </a:cubicBezTo>
                  <a:cubicBezTo>
                    <a:pt x="4707344" y="3127450"/>
                    <a:pt x="4712717" y="3124509"/>
                    <a:pt x="4718143" y="3121265"/>
                  </a:cubicBezTo>
                  <a:cubicBezTo>
                    <a:pt x="4723568" y="3118020"/>
                    <a:pt x="4729171" y="3114319"/>
                    <a:pt x="4734951" y="3110161"/>
                  </a:cubicBezTo>
                  <a:close/>
                  <a:moveTo>
                    <a:pt x="4377441" y="3110161"/>
                  </a:moveTo>
                  <a:lnTo>
                    <a:pt x="4392346" y="3110161"/>
                  </a:lnTo>
                  <a:lnTo>
                    <a:pt x="4392346" y="3333141"/>
                  </a:lnTo>
                  <a:lnTo>
                    <a:pt x="4357058" y="3333141"/>
                  </a:lnTo>
                  <a:lnTo>
                    <a:pt x="4357058" y="3153358"/>
                  </a:lnTo>
                  <a:cubicBezTo>
                    <a:pt x="4350669" y="3157921"/>
                    <a:pt x="4343801" y="3161799"/>
                    <a:pt x="4336449" y="3164993"/>
                  </a:cubicBezTo>
                  <a:cubicBezTo>
                    <a:pt x="4329098" y="3168188"/>
                    <a:pt x="4320707" y="3171001"/>
                    <a:pt x="4311276" y="3173435"/>
                  </a:cubicBezTo>
                  <a:lnTo>
                    <a:pt x="4311276" y="3143319"/>
                  </a:lnTo>
                  <a:cubicBezTo>
                    <a:pt x="4317157" y="3141393"/>
                    <a:pt x="4322836" y="3139365"/>
                    <a:pt x="4328311" y="3137235"/>
                  </a:cubicBezTo>
                  <a:cubicBezTo>
                    <a:pt x="4333786" y="3135106"/>
                    <a:pt x="4339187" y="3132723"/>
                    <a:pt x="4344510" y="3130086"/>
                  </a:cubicBezTo>
                  <a:cubicBezTo>
                    <a:pt x="4349833" y="3127450"/>
                    <a:pt x="4355209" y="3124509"/>
                    <a:pt x="4360634" y="3121265"/>
                  </a:cubicBezTo>
                  <a:cubicBezTo>
                    <a:pt x="4366057" y="3118020"/>
                    <a:pt x="4371660" y="3114319"/>
                    <a:pt x="4377441" y="3110161"/>
                  </a:cubicBezTo>
                  <a:close/>
                  <a:moveTo>
                    <a:pt x="4078579" y="3110161"/>
                  </a:moveTo>
                  <a:lnTo>
                    <a:pt x="4093484" y="3110161"/>
                  </a:lnTo>
                  <a:lnTo>
                    <a:pt x="4093484" y="3333141"/>
                  </a:lnTo>
                  <a:lnTo>
                    <a:pt x="4058197" y="3333141"/>
                  </a:lnTo>
                  <a:lnTo>
                    <a:pt x="4058197" y="3153358"/>
                  </a:lnTo>
                  <a:cubicBezTo>
                    <a:pt x="4051809" y="3157921"/>
                    <a:pt x="4044939" y="3161799"/>
                    <a:pt x="4037588" y="3164993"/>
                  </a:cubicBezTo>
                  <a:cubicBezTo>
                    <a:pt x="4030236" y="3168188"/>
                    <a:pt x="4021846" y="3171001"/>
                    <a:pt x="4012416" y="3173435"/>
                  </a:cubicBezTo>
                  <a:lnTo>
                    <a:pt x="4012416" y="3143319"/>
                  </a:lnTo>
                  <a:cubicBezTo>
                    <a:pt x="4018297" y="3141393"/>
                    <a:pt x="4023974" y="3139365"/>
                    <a:pt x="4029449" y="3137235"/>
                  </a:cubicBezTo>
                  <a:cubicBezTo>
                    <a:pt x="4034926" y="3135106"/>
                    <a:pt x="4040325" y="3132723"/>
                    <a:pt x="4045649" y="3130086"/>
                  </a:cubicBezTo>
                  <a:cubicBezTo>
                    <a:pt x="4050973" y="3127450"/>
                    <a:pt x="4056347" y="3124509"/>
                    <a:pt x="4061772" y="3121265"/>
                  </a:cubicBezTo>
                  <a:cubicBezTo>
                    <a:pt x="4067198" y="3118020"/>
                    <a:pt x="4072798" y="3114319"/>
                    <a:pt x="4078579" y="3110161"/>
                  </a:cubicBezTo>
                  <a:close/>
                  <a:moveTo>
                    <a:pt x="3858890" y="3110161"/>
                  </a:moveTo>
                  <a:cubicBezTo>
                    <a:pt x="3906334" y="3110161"/>
                    <a:pt x="3930057" y="3147024"/>
                    <a:pt x="3930057" y="3220749"/>
                  </a:cubicBezTo>
                  <a:cubicBezTo>
                    <a:pt x="3930057" y="3257260"/>
                    <a:pt x="3923362" y="3285120"/>
                    <a:pt x="3909971" y="3304328"/>
                  </a:cubicBezTo>
                  <a:cubicBezTo>
                    <a:pt x="3896580" y="3323537"/>
                    <a:pt x="3877848" y="3333141"/>
                    <a:pt x="3853774" y="3333141"/>
                  </a:cubicBezTo>
                  <a:cubicBezTo>
                    <a:pt x="3831305" y="3333141"/>
                    <a:pt x="3813777" y="3323963"/>
                    <a:pt x="3801189" y="3305607"/>
                  </a:cubicBezTo>
                  <a:cubicBezTo>
                    <a:pt x="3788600" y="3287251"/>
                    <a:pt x="3782306" y="3260720"/>
                    <a:pt x="3782306" y="3226015"/>
                  </a:cubicBezTo>
                  <a:cubicBezTo>
                    <a:pt x="3782306" y="3187898"/>
                    <a:pt x="3788876" y="3159061"/>
                    <a:pt x="3802016" y="3139501"/>
                  </a:cubicBezTo>
                  <a:cubicBezTo>
                    <a:pt x="3815157" y="3119941"/>
                    <a:pt x="3834114" y="3110161"/>
                    <a:pt x="3858890" y="3110161"/>
                  </a:cubicBezTo>
                  <a:close/>
                  <a:moveTo>
                    <a:pt x="3641996" y="3110161"/>
                  </a:moveTo>
                  <a:cubicBezTo>
                    <a:pt x="3689440" y="3110161"/>
                    <a:pt x="3713163" y="3147024"/>
                    <a:pt x="3713163" y="3220749"/>
                  </a:cubicBezTo>
                  <a:cubicBezTo>
                    <a:pt x="3713163" y="3257260"/>
                    <a:pt x="3706468" y="3285120"/>
                    <a:pt x="3693077" y="3304328"/>
                  </a:cubicBezTo>
                  <a:cubicBezTo>
                    <a:pt x="3679686" y="3323537"/>
                    <a:pt x="3660954" y="3333141"/>
                    <a:pt x="3636881" y="3333141"/>
                  </a:cubicBezTo>
                  <a:cubicBezTo>
                    <a:pt x="3614412" y="3333141"/>
                    <a:pt x="3596884" y="3323963"/>
                    <a:pt x="3584295" y="3305607"/>
                  </a:cubicBezTo>
                  <a:cubicBezTo>
                    <a:pt x="3571707" y="3287251"/>
                    <a:pt x="3565413" y="3260720"/>
                    <a:pt x="3565413" y="3226015"/>
                  </a:cubicBezTo>
                  <a:cubicBezTo>
                    <a:pt x="3565413" y="3187898"/>
                    <a:pt x="3571983" y="3159061"/>
                    <a:pt x="3585122" y="3139501"/>
                  </a:cubicBezTo>
                  <a:cubicBezTo>
                    <a:pt x="3598263" y="3119941"/>
                    <a:pt x="3617220" y="3110161"/>
                    <a:pt x="3641996" y="3110161"/>
                  </a:cubicBezTo>
                  <a:close/>
                  <a:moveTo>
                    <a:pt x="3482114" y="3110161"/>
                  </a:moveTo>
                  <a:lnTo>
                    <a:pt x="3497021" y="3110161"/>
                  </a:lnTo>
                  <a:lnTo>
                    <a:pt x="3497021" y="3333141"/>
                  </a:lnTo>
                  <a:lnTo>
                    <a:pt x="3461732" y="3333141"/>
                  </a:lnTo>
                  <a:lnTo>
                    <a:pt x="3461732" y="3153358"/>
                  </a:lnTo>
                  <a:cubicBezTo>
                    <a:pt x="3455344" y="3157921"/>
                    <a:pt x="3448474" y="3161799"/>
                    <a:pt x="3441123" y="3164993"/>
                  </a:cubicBezTo>
                  <a:cubicBezTo>
                    <a:pt x="3433771" y="3168188"/>
                    <a:pt x="3425381" y="3171001"/>
                    <a:pt x="3415951" y="3173435"/>
                  </a:cubicBezTo>
                  <a:lnTo>
                    <a:pt x="3415951" y="3143319"/>
                  </a:lnTo>
                  <a:cubicBezTo>
                    <a:pt x="3421832" y="3141393"/>
                    <a:pt x="3427510" y="3139365"/>
                    <a:pt x="3432986" y="3137235"/>
                  </a:cubicBezTo>
                  <a:cubicBezTo>
                    <a:pt x="3438461" y="3135106"/>
                    <a:pt x="3443862" y="3132723"/>
                    <a:pt x="3449184" y="3130086"/>
                  </a:cubicBezTo>
                  <a:cubicBezTo>
                    <a:pt x="3454508" y="3127450"/>
                    <a:pt x="3459882" y="3124509"/>
                    <a:pt x="3465307" y="3121265"/>
                  </a:cubicBezTo>
                  <a:cubicBezTo>
                    <a:pt x="3470733" y="3118020"/>
                    <a:pt x="3476334" y="3114319"/>
                    <a:pt x="3482114" y="3110161"/>
                  </a:cubicBezTo>
                  <a:close/>
                  <a:moveTo>
                    <a:pt x="3183252" y="3110161"/>
                  </a:moveTo>
                  <a:lnTo>
                    <a:pt x="3198157" y="3110161"/>
                  </a:lnTo>
                  <a:lnTo>
                    <a:pt x="3198157" y="3333141"/>
                  </a:lnTo>
                  <a:lnTo>
                    <a:pt x="3162870" y="3333141"/>
                  </a:lnTo>
                  <a:lnTo>
                    <a:pt x="3162870" y="3153358"/>
                  </a:lnTo>
                  <a:cubicBezTo>
                    <a:pt x="3156482" y="3157921"/>
                    <a:pt x="3149612" y="3161799"/>
                    <a:pt x="3142260" y="3164993"/>
                  </a:cubicBezTo>
                  <a:cubicBezTo>
                    <a:pt x="3134908" y="3168188"/>
                    <a:pt x="3126518" y="3171001"/>
                    <a:pt x="3117087" y="3173435"/>
                  </a:cubicBezTo>
                  <a:lnTo>
                    <a:pt x="3117087" y="3143319"/>
                  </a:lnTo>
                  <a:cubicBezTo>
                    <a:pt x="3122968" y="3141393"/>
                    <a:pt x="3128648" y="3139365"/>
                    <a:pt x="3134122" y="3137235"/>
                  </a:cubicBezTo>
                  <a:cubicBezTo>
                    <a:pt x="3139598" y="3135106"/>
                    <a:pt x="3144998" y="3132723"/>
                    <a:pt x="3150322" y="3130086"/>
                  </a:cubicBezTo>
                  <a:cubicBezTo>
                    <a:pt x="3155645" y="3127450"/>
                    <a:pt x="3161019" y="3124509"/>
                    <a:pt x="3166445" y="3121265"/>
                  </a:cubicBezTo>
                  <a:cubicBezTo>
                    <a:pt x="3171869" y="3118020"/>
                    <a:pt x="3177471" y="3114319"/>
                    <a:pt x="3183252" y="3110161"/>
                  </a:cubicBezTo>
                  <a:close/>
                  <a:moveTo>
                    <a:pt x="2804036" y="3110161"/>
                  </a:moveTo>
                  <a:lnTo>
                    <a:pt x="2818942" y="3110161"/>
                  </a:lnTo>
                  <a:lnTo>
                    <a:pt x="2818942" y="3333141"/>
                  </a:lnTo>
                  <a:lnTo>
                    <a:pt x="2783655" y="3333141"/>
                  </a:lnTo>
                  <a:lnTo>
                    <a:pt x="2783655" y="3153358"/>
                  </a:lnTo>
                  <a:cubicBezTo>
                    <a:pt x="2777266" y="3157921"/>
                    <a:pt x="2770396" y="3161799"/>
                    <a:pt x="2763045" y="3164993"/>
                  </a:cubicBezTo>
                  <a:cubicBezTo>
                    <a:pt x="2755694" y="3168188"/>
                    <a:pt x="2747303" y="3171001"/>
                    <a:pt x="2737872" y="3173435"/>
                  </a:cubicBezTo>
                  <a:lnTo>
                    <a:pt x="2737872" y="3143319"/>
                  </a:lnTo>
                  <a:cubicBezTo>
                    <a:pt x="2743753" y="3141393"/>
                    <a:pt x="2749432" y="3139365"/>
                    <a:pt x="2754907" y="3137235"/>
                  </a:cubicBezTo>
                  <a:cubicBezTo>
                    <a:pt x="2760383" y="3135106"/>
                    <a:pt x="2765783" y="3132723"/>
                    <a:pt x="2771106" y="3130086"/>
                  </a:cubicBezTo>
                  <a:cubicBezTo>
                    <a:pt x="2776430" y="3127450"/>
                    <a:pt x="2781804" y="3124509"/>
                    <a:pt x="2787229" y="3121265"/>
                  </a:cubicBezTo>
                  <a:cubicBezTo>
                    <a:pt x="2792654" y="3118020"/>
                    <a:pt x="2798256" y="3114319"/>
                    <a:pt x="2804036" y="3110161"/>
                  </a:cubicBezTo>
                  <a:close/>
                  <a:moveTo>
                    <a:pt x="2654030" y="3110161"/>
                  </a:moveTo>
                  <a:lnTo>
                    <a:pt x="2668936" y="3110161"/>
                  </a:lnTo>
                  <a:lnTo>
                    <a:pt x="2668936" y="3333141"/>
                  </a:lnTo>
                  <a:lnTo>
                    <a:pt x="2633648" y="3333141"/>
                  </a:lnTo>
                  <a:lnTo>
                    <a:pt x="2633648" y="3153358"/>
                  </a:lnTo>
                  <a:cubicBezTo>
                    <a:pt x="2627260" y="3157921"/>
                    <a:pt x="2620390" y="3161799"/>
                    <a:pt x="2613039" y="3164993"/>
                  </a:cubicBezTo>
                  <a:cubicBezTo>
                    <a:pt x="2605687" y="3168188"/>
                    <a:pt x="2597297" y="3171001"/>
                    <a:pt x="2587866" y="3173435"/>
                  </a:cubicBezTo>
                  <a:lnTo>
                    <a:pt x="2587866" y="3143319"/>
                  </a:lnTo>
                  <a:cubicBezTo>
                    <a:pt x="2593747" y="3141393"/>
                    <a:pt x="2599426" y="3139365"/>
                    <a:pt x="2604901" y="3137235"/>
                  </a:cubicBezTo>
                  <a:cubicBezTo>
                    <a:pt x="2610377" y="3135106"/>
                    <a:pt x="2615777" y="3132723"/>
                    <a:pt x="2621100" y="3130086"/>
                  </a:cubicBezTo>
                  <a:cubicBezTo>
                    <a:pt x="2626424" y="3127450"/>
                    <a:pt x="2631798" y="3124509"/>
                    <a:pt x="2637223" y="3121265"/>
                  </a:cubicBezTo>
                  <a:cubicBezTo>
                    <a:pt x="2642648" y="3118020"/>
                    <a:pt x="2648250" y="3114319"/>
                    <a:pt x="2654030" y="3110161"/>
                  </a:cubicBezTo>
                  <a:close/>
                  <a:moveTo>
                    <a:pt x="2505173" y="3110161"/>
                  </a:moveTo>
                  <a:lnTo>
                    <a:pt x="2520079" y="3110161"/>
                  </a:lnTo>
                  <a:lnTo>
                    <a:pt x="2520079" y="3333141"/>
                  </a:lnTo>
                  <a:lnTo>
                    <a:pt x="2484791" y="3333141"/>
                  </a:lnTo>
                  <a:lnTo>
                    <a:pt x="2484791" y="3153358"/>
                  </a:lnTo>
                  <a:cubicBezTo>
                    <a:pt x="2478403" y="3157921"/>
                    <a:pt x="2471533" y="3161799"/>
                    <a:pt x="2464183" y="3164993"/>
                  </a:cubicBezTo>
                  <a:cubicBezTo>
                    <a:pt x="2456830" y="3168188"/>
                    <a:pt x="2448440" y="3171001"/>
                    <a:pt x="2439009" y="3173435"/>
                  </a:cubicBezTo>
                  <a:lnTo>
                    <a:pt x="2439009" y="3143319"/>
                  </a:lnTo>
                  <a:cubicBezTo>
                    <a:pt x="2444890" y="3141393"/>
                    <a:pt x="2450569" y="3139365"/>
                    <a:pt x="2456044" y="3137235"/>
                  </a:cubicBezTo>
                  <a:cubicBezTo>
                    <a:pt x="2461520" y="3135106"/>
                    <a:pt x="2466920" y="3132723"/>
                    <a:pt x="2472243" y="3130086"/>
                  </a:cubicBezTo>
                  <a:cubicBezTo>
                    <a:pt x="2477567" y="3127450"/>
                    <a:pt x="2482941" y="3124509"/>
                    <a:pt x="2488366" y="3121265"/>
                  </a:cubicBezTo>
                  <a:cubicBezTo>
                    <a:pt x="2493791" y="3118020"/>
                    <a:pt x="2499393" y="3114319"/>
                    <a:pt x="2505173" y="3110161"/>
                  </a:cubicBezTo>
                  <a:close/>
                  <a:moveTo>
                    <a:pt x="1749921" y="3110161"/>
                  </a:moveTo>
                  <a:lnTo>
                    <a:pt x="1764827" y="3110161"/>
                  </a:lnTo>
                  <a:lnTo>
                    <a:pt x="1764827" y="3333141"/>
                  </a:lnTo>
                  <a:lnTo>
                    <a:pt x="1729539" y="3333141"/>
                  </a:lnTo>
                  <a:lnTo>
                    <a:pt x="1729539" y="3153358"/>
                  </a:lnTo>
                  <a:cubicBezTo>
                    <a:pt x="1723151" y="3157921"/>
                    <a:pt x="1716281" y="3161799"/>
                    <a:pt x="1708930" y="3164993"/>
                  </a:cubicBezTo>
                  <a:cubicBezTo>
                    <a:pt x="1701578" y="3168188"/>
                    <a:pt x="1693187" y="3171001"/>
                    <a:pt x="1683757" y="3173435"/>
                  </a:cubicBezTo>
                  <a:lnTo>
                    <a:pt x="1683757" y="3143319"/>
                  </a:lnTo>
                  <a:cubicBezTo>
                    <a:pt x="1689638" y="3141393"/>
                    <a:pt x="1695317" y="3139365"/>
                    <a:pt x="1700792" y="3137235"/>
                  </a:cubicBezTo>
                  <a:cubicBezTo>
                    <a:pt x="1706268" y="3135106"/>
                    <a:pt x="1711668" y="3132723"/>
                    <a:pt x="1716991" y="3130086"/>
                  </a:cubicBezTo>
                  <a:cubicBezTo>
                    <a:pt x="1722315" y="3127450"/>
                    <a:pt x="1727689" y="3124509"/>
                    <a:pt x="1733114" y="3121265"/>
                  </a:cubicBezTo>
                  <a:cubicBezTo>
                    <a:pt x="1738539" y="3118020"/>
                    <a:pt x="1744141" y="3114319"/>
                    <a:pt x="1749921" y="3110161"/>
                  </a:cubicBezTo>
                  <a:close/>
                  <a:moveTo>
                    <a:pt x="1599915" y="3110161"/>
                  </a:moveTo>
                  <a:lnTo>
                    <a:pt x="1614821" y="3110161"/>
                  </a:lnTo>
                  <a:lnTo>
                    <a:pt x="1614821" y="3333141"/>
                  </a:lnTo>
                  <a:lnTo>
                    <a:pt x="1579533" y="3333141"/>
                  </a:lnTo>
                  <a:lnTo>
                    <a:pt x="1579533" y="3153358"/>
                  </a:lnTo>
                  <a:cubicBezTo>
                    <a:pt x="1573145" y="3157921"/>
                    <a:pt x="1566275" y="3161799"/>
                    <a:pt x="1558924" y="3164993"/>
                  </a:cubicBezTo>
                  <a:cubicBezTo>
                    <a:pt x="1551572" y="3168188"/>
                    <a:pt x="1543181" y="3171001"/>
                    <a:pt x="1533751" y="3173435"/>
                  </a:cubicBezTo>
                  <a:lnTo>
                    <a:pt x="1533751" y="3143319"/>
                  </a:lnTo>
                  <a:cubicBezTo>
                    <a:pt x="1539632" y="3141393"/>
                    <a:pt x="1545311" y="3139365"/>
                    <a:pt x="1550786" y="3137235"/>
                  </a:cubicBezTo>
                  <a:cubicBezTo>
                    <a:pt x="1556262" y="3135106"/>
                    <a:pt x="1561662" y="3132723"/>
                    <a:pt x="1566985" y="3130086"/>
                  </a:cubicBezTo>
                  <a:cubicBezTo>
                    <a:pt x="1572309" y="3127450"/>
                    <a:pt x="1577683" y="3124509"/>
                    <a:pt x="1583108" y="3121265"/>
                  </a:cubicBezTo>
                  <a:cubicBezTo>
                    <a:pt x="1588533" y="3118020"/>
                    <a:pt x="1594135" y="3114319"/>
                    <a:pt x="1599915" y="3110161"/>
                  </a:cubicBezTo>
                  <a:close/>
                  <a:moveTo>
                    <a:pt x="1302201" y="3110161"/>
                  </a:moveTo>
                  <a:lnTo>
                    <a:pt x="1317107" y="3110161"/>
                  </a:lnTo>
                  <a:lnTo>
                    <a:pt x="1317107" y="3333141"/>
                  </a:lnTo>
                  <a:lnTo>
                    <a:pt x="1281819" y="3333141"/>
                  </a:lnTo>
                  <a:lnTo>
                    <a:pt x="1281819" y="3153358"/>
                  </a:lnTo>
                  <a:cubicBezTo>
                    <a:pt x="1275431" y="3157921"/>
                    <a:pt x="1268561" y="3161799"/>
                    <a:pt x="1261210" y="3164993"/>
                  </a:cubicBezTo>
                  <a:cubicBezTo>
                    <a:pt x="1253858" y="3168188"/>
                    <a:pt x="1245467" y="3171001"/>
                    <a:pt x="1236037" y="3173435"/>
                  </a:cubicBezTo>
                  <a:lnTo>
                    <a:pt x="1236037" y="3143319"/>
                  </a:lnTo>
                  <a:cubicBezTo>
                    <a:pt x="1241918" y="3141393"/>
                    <a:pt x="1247597" y="3139365"/>
                    <a:pt x="1253072" y="3137235"/>
                  </a:cubicBezTo>
                  <a:cubicBezTo>
                    <a:pt x="1258548" y="3135106"/>
                    <a:pt x="1263948" y="3132723"/>
                    <a:pt x="1269271" y="3130086"/>
                  </a:cubicBezTo>
                  <a:cubicBezTo>
                    <a:pt x="1274595" y="3127450"/>
                    <a:pt x="1279969" y="3124509"/>
                    <a:pt x="1285394" y="3121265"/>
                  </a:cubicBezTo>
                  <a:cubicBezTo>
                    <a:pt x="1290819" y="3118020"/>
                    <a:pt x="1296421" y="3114319"/>
                    <a:pt x="1302201" y="3110161"/>
                  </a:cubicBezTo>
                  <a:close/>
                  <a:moveTo>
                    <a:pt x="927321" y="3110161"/>
                  </a:moveTo>
                  <a:lnTo>
                    <a:pt x="942227" y="3110161"/>
                  </a:lnTo>
                  <a:lnTo>
                    <a:pt x="942227" y="3333141"/>
                  </a:lnTo>
                  <a:lnTo>
                    <a:pt x="906939" y="3333141"/>
                  </a:lnTo>
                  <a:lnTo>
                    <a:pt x="906939" y="3153358"/>
                  </a:lnTo>
                  <a:cubicBezTo>
                    <a:pt x="900551" y="3157921"/>
                    <a:pt x="893681" y="3161799"/>
                    <a:pt x="886330" y="3164993"/>
                  </a:cubicBezTo>
                  <a:cubicBezTo>
                    <a:pt x="878978" y="3168188"/>
                    <a:pt x="870587" y="3171001"/>
                    <a:pt x="861157" y="3173435"/>
                  </a:cubicBezTo>
                  <a:lnTo>
                    <a:pt x="861157" y="3143319"/>
                  </a:lnTo>
                  <a:cubicBezTo>
                    <a:pt x="867038" y="3141393"/>
                    <a:pt x="872717" y="3139365"/>
                    <a:pt x="878192" y="3137235"/>
                  </a:cubicBezTo>
                  <a:cubicBezTo>
                    <a:pt x="883668" y="3135106"/>
                    <a:pt x="889068" y="3132723"/>
                    <a:pt x="894391" y="3130086"/>
                  </a:cubicBezTo>
                  <a:cubicBezTo>
                    <a:pt x="899715" y="3127450"/>
                    <a:pt x="905089" y="3124509"/>
                    <a:pt x="910514" y="3121265"/>
                  </a:cubicBezTo>
                  <a:cubicBezTo>
                    <a:pt x="915939" y="3118020"/>
                    <a:pt x="921541" y="3114319"/>
                    <a:pt x="927321" y="3110161"/>
                  </a:cubicBezTo>
                  <a:close/>
                  <a:moveTo>
                    <a:pt x="778464" y="3110161"/>
                  </a:moveTo>
                  <a:lnTo>
                    <a:pt x="793370" y="3110161"/>
                  </a:lnTo>
                  <a:lnTo>
                    <a:pt x="793370" y="3333141"/>
                  </a:lnTo>
                  <a:lnTo>
                    <a:pt x="758082" y="3333141"/>
                  </a:lnTo>
                  <a:lnTo>
                    <a:pt x="758082" y="3153358"/>
                  </a:lnTo>
                  <a:cubicBezTo>
                    <a:pt x="751694" y="3157921"/>
                    <a:pt x="744824" y="3161799"/>
                    <a:pt x="737473" y="3164993"/>
                  </a:cubicBezTo>
                  <a:cubicBezTo>
                    <a:pt x="730121" y="3168188"/>
                    <a:pt x="721731" y="3171001"/>
                    <a:pt x="712300" y="3173435"/>
                  </a:cubicBezTo>
                  <a:lnTo>
                    <a:pt x="712300" y="3143319"/>
                  </a:lnTo>
                  <a:cubicBezTo>
                    <a:pt x="718181" y="3141393"/>
                    <a:pt x="723860" y="3139365"/>
                    <a:pt x="729335" y="3137235"/>
                  </a:cubicBezTo>
                  <a:cubicBezTo>
                    <a:pt x="734811" y="3135106"/>
                    <a:pt x="740211" y="3132723"/>
                    <a:pt x="745534" y="3130086"/>
                  </a:cubicBezTo>
                  <a:cubicBezTo>
                    <a:pt x="750858" y="3127450"/>
                    <a:pt x="756232" y="3124509"/>
                    <a:pt x="761657" y="3121265"/>
                  </a:cubicBezTo>
                  <a:cubicBezTo>
                    <a:pt x="767082" y="3118020"/>
                    <a:pt x="772684" y="3114319"/>
                    <a:pt x="778464" y="3110161"/>
                  </a:cubicBezTo>
                  <a:close/>
                  <a:moveTo>
                    <a:pt x="629607" y="3110161"/>
                  </a:moveTo>
                  <a:lnTo>
                    <a:pt x="644513" y="3110161"/>
                  </a:lnTo>
                  <a:lnTo>
                    <a:pt x="644513" y="3333141"/>
                  </a:lnTo>
                  <a:lnTo>
                    <a:pt x="609225" y="3333141"/>
                  </a:lnTo>
                  <a:lnTo>
                    <a:pt x="609225" y="3153358"/>
                  </a:lnTo>
                  <a:cubicBezTo>
                    <a:pt x="602837" y="3157921"/>
                    <a:pt x="595967" y="3161799"/>
                    <a:pt x="588616" y="3164993"/>
                  </a:cubicBezTo>
                  <a:cubicBezTo>
                    <a:pt x="581264" y="3168188"/>
                    <a:pt x="572873" y="3171001"/>
                    <a:pt x="563443" y="3173435"/>
                  </a:cubicBezTo>
                  <a:lnTo>
                    <a:pt x="563443" y="3143319"/>
                  </a:lnTo>
                  <a:cubicBezTo>
                    <a:pt x="569324" y="3141393"/>
                    <a:pt x="575003" y="3139365"/>
                    <a:pt x="580478" y="3137235"/>
                  </a:cubicBezTo>
                  <a:cubicBezTo>
                    <a:pt x="585954" y="3135106"/>
                    <a:pt x="591354" y="3132723"/>
                    <a:pt x="596677" y="3130086"/>
                  </a:cubicBezTo>
                  <a:cubicBezTo>
                    <a:pt x="602001" y="3127450"/>
                    <a:pt x="607375" y="3124509"/>
                    <a:pt x="612800" y="3121265"/>
                  </a:cubicBezTo>
                  <a:cubicBezTo>
                    <a:pt x="618225" y="3118020"/>
                    <a:pt x="623827" y="3114319"/>
                    <a:pt x="629607" y="3110161"/>
                  </a:cubicBezTo>
                  <a:close/>
                  <a:moveTo>
                    <a:pt x="480750" y="3110161"/>
                  </a:moveTo>
                  <a:lnTo>
                    <a:pt x="495656" y="3110161"/>
                  </a:lnTo>
                  <a:lnTo>
                    <a:pt x="495656" y="3333141"/>
                  </a:lnTo>
                  <a:lnTo>
                    <a:pt x="460368" y="3333141"/>
                  </a:lnTo>
                  <a:lnTo>
                    <a:pt x="460368" y="3153358"/>
                  </a:lnTo>
                  <a:cubicBezTo>
                    <a:pt x="453980" y="3157921"/>
                    <a:pt x="447111" y="3161799"/>
                    <a:pt x="439759" y="3164993"/>
                  </a:cubicBezTo>
                  <a:cubicBezTo>
                    <a:pt x="432407" y="3168188"/>
                    <a:pt x="424017" y="3171001"/>
                    <a:pt x="414586" y="3173435"/>
                  </a:cubicBezTo>
                  <a:lnTo>
                    <a:pt x="414586" y="3143319"/>
                  </a:lnTo>
                  <a:cubicBezTo>
                    <a:pt x="420467" y="3141393"/>
                    <a:pt x="426146" y="3139365"/>
                    <a:pt x="431621" y="3137235"/>
                  </a:cubicBezTo>
                  <a:cubicBezTo>
                    <a:pt x="437097" y="3135106"/>
                    <a:pt x="442497" y="3132723"/>
                    <a:pt x="447820" y="3130086"/>
                  </a:cubicBezTo>
                  <a:cubicBezTo>
                    <a:pt x="453144" y="3127450"/>
                    <a:pt x="458518" y="3124509"/>
                    <a:pt x="463943" y="3121265"/>
                  </a:cubicBezTo>
                  <a:cubicBezTo>
                    <a:pt x="469368" y="3118020"/>
                    <a:pt x="474970" y="3114319"/>
                    <a:pt x="480750" y="3110161"/>
                  </a:cubicBezTo>
                  <a:close/>
                  <a:moveTo>
                    <a:pt x="275106" y="3110161"/>
                  </a:moveTo>
                  <a:cubicBezTo>
                    <a:pt x="322550" y="3110161"/>
                    <a:pt x="346273" y="3147024"/>
                    <a:pt x="346273" y="3220749"/>
                  </a:cubicBezTo>
                  <a:cubicBezTo>
                    <a:pt x="346273" y="3257260"/>
                    <a:pt x="339578" y="3285120"/>
                    <a:pt x="326187" y="3304328"/>
                  </a:cubicBezTo>
                  <a:cubicBezTo>
                    <a:pt x="312796" y="3323537"/>
                    <a:pt x="294064" y="3333141"/>
                    <a:pt x="269990" y="3333141"/>
                  </a:cubicBezTo>
                  <a:cubicBezTo>
                    <a:pt x="247522" y="3333141"/>
                    <a:pt x="229993" y="3323963"/>
                    <a:pt x="217405" y="3305607"/>
                  </a:cubicBezTo>
                  <a:cubicBezTo>
                    <a:pt x="204816" y="3287251"/>
                    <a:pt x="198522" y="3260720"/>
                    <a:pt x="198522" y="3226015"/>
                  </a:cubicBezTo>
                  <a:cubicBezTo>
                    <a:pt x="198522" y="3187898"/>
                    <a:pt x="205092" y="3159061"/>
                    <a:pt x="218232" y="3139501"/>
                  </a:cubicBezTo>
                  <a:cubicBezTo>
                    <a:pt x="231373" y="3119941"/>
                    <a:pt x="250330" y="3110161"/>
                    <a:pt x="275106" y="3110161"/>
                  </a:cubicBezTo>
                  <a:close/>
                  <a:moveTo>
                    <a:pt x="76584" y="3110161"/>
                  </a:moveTo>
                  <a:cubicBezTo>
                    <a:pt x="124029" y="3110161"/>
                    <a:pt x="147751" y="3147024"/>
                    <a:pt x="147751" y="3220749"/>
                  </a:cubicBezTo>
                  <a:cubicBezTo>
                    <a:pt x="147751" y="3257260"/>
                    <a:pt x="141056" y="3285120"/>
                    <a:pt x="127665" y="3304328"/>
                  </a:cubicBezTo>
                  <a:cubicBezTo>
                    <a:pt x="114274" y="3323537"/>
                    <a:pt x="95542" y="3333141"/>
                    <a:pt x="71468" y="3333141"/>
                  </a:cubicBezTo>
                  <a:cubicBezTo>
                    <a:pt x="49000" y="3333141"/>
                    <a:pt x="31471" y="3323963"/>
                    <a:pt x="18883" y="3305607"/>
                  </a:cubicBezTo>
                  <a:cubicBezTo>
                    <a:pt x="6294" y="3287251"/>
                    <a:pt x="0" y="3260720"/>
                    <a:pt x="0" y="3226015"/>
                  </a:cubicBezTo>
                  <a:cubicBezTo>
                    <a:pt x="0" y="3187898"/>
                    <a:pt x="6570" y="3159061"/>
                    <a:pt x="19710" y="3139501"/>
                  </a:cubicBezTo>
                  <a:cubicBezTo>
                    <a:pt x="32851" y="3119941"/>
                    <a:pt x="51808" y="3110161"/>
                    <a:pt x="76584" y="3110161"/>
                  </a:cubicBezTo>
                  <a:close/>
                  <a:moveTo>
                    <a:pt x="10090194" y="2836964"/>
                  </a:moveTo>
                  <a:cubicBezTo>
                    <a:pt x="10064014" y="2836964"/>
                    <a:pt x="10050924" y="2865802"/>
                    <a:pt x="10050924" y="2923478"/>
                  </a:cubicBezTo>
                  <a:cubicBezTo>
                    <a:pt x="10050924" y="2977442"/>
                    <a:pt x="10063763" y="3004425"/>
                    <a:pt x="10089442" y="3004425"/>
                  </a:cubicBezTo>
                  <a:cubicBezTo>
                    <a:pt x="10114718" y="3004425"/>
                    <a:pt x="10127357" y="2976991"/>
                    <a:pt x="10127357" y="2922124"/>
                  </a:cubicBezTo>
                  <a:cubicBezTo>
                    <a:pt x="10127357" y="2865350"/>
                    <a:pt x="10114969" y="2836964"/>
                    <a:pt x="10090194" y="2836964"/>
                  </a:cubicBezTo>
                  <a:close/>
                  <a:moveTo>
                    <a:pt x="9869271" y="2836964"/>
                  </a:moveTo>
                  <a:cubicBezTo>
                    <a:pt x="9843091" y="2836964"/>
                    <a:pt x="9830001" y="2865802"/>
                    <a:pt x="9830001" y="2923478"/>
                  </a:cubicBezTo>
                  <a:cubicBezTo>
                    <a:pt x="9830001" y="2977442"/>
                    <a:pt x="9842840" y="3004425"/>
                    <a:pt x="9868519" y="3004425"/>
                  </a:cubicBezTo>
                  <a:cubicBezTo>
                    <a:pt x="9893795" y="3004425"/>
                    <a:pt x="9906434" y="2976991"/>
                    <a:pt x="9906434" y="2922124"/>
                  </a:cubicBezTo>
                  <a:cubicBezTo>
                    <a:pt x="9906434" y="2865350"/>
                    <a:pt x="9894046" y="2836964"/>
                    <a:pt x="9869271" y="2836964"/>
                  </a:cubicBezTo>
                  <a:close/>
                  <a:moveTo>
                    <a:pt x="9207610" y="2836964"/>
                  </a:moveTo>
                  <a:cubicBezTo>
                    <a:pt x="9181430" y="2836964"/>
                    <a:pt x="9168340" y="2865802"/>
                    <a:pt x="9168340" y="2923478"/>
                  </a:cubicBezTo>
                  <a:cubicBezTo>
                    <a:pt x="9168340" y="2977442"/>
                    <a:pt x="9181179" y="3004425"/>
                    <a:pt x="9206858" y="3004425"/>
                  </a:cubicBezTo>
                  <a:cubicBezTo>
                    <a:pt x="9232134" y="3004425"/>
                    <a:pt x="9244773" y="2976991"/>
                    <a:pt x="9244773" y="2922124"/>
                  </a:cubicBezTo>
                  <a:cubicBezTo>
                    <a:pt x="9244773" y="2865350"/>
                    <a:pt x="9232385" y="2836964"/>
                    <a:pt x="9207610" y="2836964"/>
                  </a:cubicBezTo>
                  <a:close/>
                  <a:moveTo>
                    <a:pt x="8986687" y="2836964"/>
                  </a:moveTo>
                  <a:cubicBezTo>
                    <a:pt x="8960507" y="2836964"/>
                    <a:pt x="8947417" y="2865802"/>
                    <a:pt x="8947417" y="2923478"/>
                  </a:cubicBezTo>
                  <a:cubicBezTo>
                    <a:pt x="8947417" y="2977442"/>
                    <a:pt x="8960256" y="3004425"/>
                    <a:pt x="8985935" y="3004425"/>
                  </a:cubicBezTo>
                  <a:cubicBezTo>
                    <a:pt x="9011211" y="3004425"/>
                    <a:pt x="9023850" y="2976991"/>
                    <a:pt x="9023850" y="2922124"/>
                  </a:cubicBezTo>
                  <a:cubicBezTo>
                    <a:pt x="9023850" y="2865350"/>
                    <a:pt x="9011462" y="2836964"/>
                    <a:pt x="8986687" y="2836964"/>
                  </a:cubicBezTo>
                  <a:close/>
                  <a:moveTo>
                    <a:pt x="6137225" y="2836964"/>
                  </a:moveTo>
                  <a:cubicBezTo>
                    <a:pt x="6111045" y="2836964"/>
                    <a:pt x="6097955" y="2865802"/>
                    <a:pt x="6097955" y="2923478"/>
                  </a:cubicBezTo>
                  <a:cubicBezTo>
                    <a:pt x="6097955" y="2977442"/>
                    <a:pt x="6110794" y="3004425"/>
                    <a:pt x="6136473" y="3004425"/>
                  </a:cubicBezTo>
                  <a:cubicBezTo>
                    <a:pt x="6161750" y="3004425"/>
                    <a:pt x="6174388" y="2976991"/>
                    <a:pt x="6174388" y="2922124"/>
                  </a:cubicBezTo>
                  <a:cubicBezTo>
                    <a:pt x="6174388" y="2865350"/>
                    <a:pt x="6162000" y="2836964"/>
                    <a:pt x="6137225" y="2836964"/>
                  </a:cubicBezTo>
                  <a:close/>
                  <a:moveTo>
                    <a:pt x="4034143" y="2836964"/>
                  </a:moveTo>
                  <a:cubicBezTo>
                    <a:pt x="4007963" y="2836964"/>
                    <a:pt x="3994873" y="2865802"/>
                    <a:pt x="3994873" y="2923478"/>
                  </a:cubicBezTo>
                  <a:cubicBezTo>
                    <a:pt x="3994873" y="2977442"/>
                    <a:pt x="4007712" y="3004425"/>
                    <a:pt x="4033391" y="3004425"/>
                  </a:cubicBezTo>
                  <a:cubicBezTo>
                    <a:pt x="4058668" y="3004425"/>
                    <a:pt x="4071306" y="2976991"/>
                    <a:pt x="4071306" y="2922124"/>
                  </a:cubicBezTo>
                  <a:cubicBezTo>
                    <a:pt x="4071306" y="2865350"/>
                    <a:pt x="4058917" y="2836964"/>
                    <a:pt x="4034143" y="2836964"/>
                  </a:cubicBezTo>
                  <a:close/>
                  <a:moveTo>
                    <a:pt x="3813220" y="2836964"/>
                  </a:moveTo>
                  <a:cubicBezTo>
                    <a:pt x="3787040" y="2836964"/>
                    <a:pt x="3773950" y="2865802"/>
                    <a:pt x="3773950" y="2923478"/>
                  </a:cubicBezTo>
                  <a:cubicBezTo>
                    <a:pt x="3773950" y="2977442"/>
                    <a:pt x="3786789" y="3004425"/>
                    <a:pt x="3812467" y="3004425"/>
                  </a:cubicBezTo>
                  <a:cubicBezTo>
                    <a:pt x="3837744" y="3004425"/>
                    <a:pt x="3850383" y="2976991"/>
                    <a:pt x="3850383" y="2922124"/>
                  </a:cubicBezTo>
                  <a:cubicBezTo>
                    <a:pt x="3850383" y="2865350"/>
                    <a:pt x="3837995" y="2836964"/>
                    <a:pt x="3813220" y="2836964"/>
                  </a:cubicBezTo>
                  <a:close/>
                  <a:moveTo>
                    <a:pt x="3151560" y="2836964"/>
                  </a:moveTo>
                  <a:cubicBezTo>
                    <a:pt x="3125380" y="2836964"/>
                    <a:pt x="3112290" y="2865802"/>
                    <a:pt x="3112290" y="2923478"/>
                  </a:cubicBezTo>
                  <a:cubicBezTo>
                    <a:pt x="3112290" y="2977442"/>
                    <a:pt x="3125129" y="3004425"/>
                    <a:pt x="3150807" y="3004425"/>
                  </a:cubicBezTo>
                  <a:cubicBezTo>
                    <a:pt x="3176084" y="3004425"/>
                    <a:pt x="3188723" y="2976991"/>
                    <a:pt x="3188723" y="2922124"/>
                  </a:cubicBezTo>
                  <a:cubicBezTo>
                    <a:pt x="3188723" y="2865350"/>
                    <a:pt x="3176335" y="2836964"/>
                    <a:pt x="3151560" y="2836964"/>
                  </a:cubicBezTo>
                  <a:close/>
                  <a:moveTo>
                    <a:pt x="2930637" y="2836964"/>
                  </a:moveTo>
                  <a:cubicBezTo>
                    <a:pt x="2904457" y="2836964"/>
                    <a:pt x="2891367" y="2865802"/>
                    <a:pt x="2891367" y="2923478"/>
                  </a:cubicBezTo>
                  <a:cubicBezTo>
                    <a:pt x="2891367" y="2977442"/>
                    <a:pt x="2904206" y="3004425"/>
                    <a:pt x="2929884" y="3004425"/>
                  </a:cubicBezTo>
                  <a:cubicBezTo>
                    <a:pt x="2955161" y="3004425"/>
                    <a:pt x="2967800" y="2976991"/>
                    <a:pt x="2967800" y="2922124"/>
                  </a:cubicBezTo>
                  <a:cubicBezTo>
                    <a:pt x="2967800" y="2865350"/>
                    <a:pt x="2955412" y="2836964"/>
                    <a:pt x="2930637" y="2836964"/>
                  </a:cubicBezTo>
                  <a:close/>
                  <a:moveTo>
                    <a:pt x="78039" y="2834954"/>
                  </a:moveTo>
                  <a:cubicBezTo>
                    <a:pt x="51859" y="2834954"/>
                    <a:pt x="38769" y="2863792"/>
                    <a:pt x="38769" y="2921468"/>
                  </a:cubicBezTo>
                  <a:cubicBezTo>
                    <a:pt x="38769" y="2975432"/>
                    <a:pt x="51608" y="3002415"/>
                    <a:pt x="77287" y="3002415"/>
                  </a:cubicBezTo>
                  <a:cubicBezTo>
                    <a:pt x="102564" y="3002415"/>
                    <a:pt x="115202" y="2974981"/>
                    <a:pt x="115202" y="2920114"/>
                  </a:cubicBezTo>
                  <a:cubicBezTo>
                    <a:pt x="115202" y="2863340"/>
                    <a:pt x="102814" y="2834954"/>
                    <a:pt x="78039" y="2834954"/>
                  </a:cubicBezTo>
                  <a:close/>
                  <a:moveTo>
                    <a:pt x="11918627" y="2809130"/>
                  </a:moveTo>
                  <a:lnTo>
                    <a:pt x="11933533" y="2809130"/>
                  </a:lnTo>
                  <a:lnTo>
                    <a:pt x="11933533" y="3032110"/>
                  </a:lnTo>
                  <a:lnTo>
                    <a:pt x="11898245" y="3032110"/>
                  </a:lnTo>
                  <a:lnTo>
                    <a:pt x="11898245" y="2852327"/>
                  </a:lnTo>
                  <a:cubicBezTo>
                    <a:pt x="11891857" y="2856890"/>
                    <a:pt x="11884987" y="2860768"/>
                    <a:pt x="11877636" y="2863962"/>
                  </a:cubicBezTo>
                  <a:cubicBezTo>
                    <a:pt x="11870284" y="2867157"/>
                    <a:pt x="11861893" y="2869970"/>
                    <a:pt x="11852463" y="2872404"/>
                  </a:cubicBezTo>
                  <a:lnTo>
                    <a:pt x="11852463" y="2842288"/>
                  </a:lnTo>
                  <a:cubicBezTo>
                    <a:pt x="11858344" y="2840362"/>
                    <a:pt x="11864023" y="2838334"/>
                    <a:pt x="11869498" y="2836204"/>
                  </a:cubicBezTo>
                  <a:cubicBezTo>
                    <a:pt x="11874974" y="2834075"/>
                    <a:pt x="11880374" y="2831692"/>
                    <a:pt x="11885697" y="2829055"/>
                  </a:cubicBezTo>
                  <a:cubicBezTo>
                    <a:pt x="11891021" y="2826419"/>
                    <a:pt x="11896395" y="2823478"/>
                    <a:pt x="11901820" y="2820234"/>
                  </a:cubicBezTo>
                  <a:cubicBezTo>
                    <a:pt x="11907245" y="2816989"/>
                    <a:pt x="11912847" y="2813288"/>
                    <a:pt x="11918627" y="2809130"/>
                  </a:cubicBezTo>
                  <a:close/>
                  <a:moveTo>
                    <a:pt x="11535759" y="2809130"/>
                  </a:moveTo>
                  <a:lnTo>
                    <a:pt x="11550665" y="2809130"/>
                  </a:lnTo>
                  <a:lnTo>
                    <a:pt x="11550665" y="3032110"/>
                  </a:lnTo>
                  <a:lnTo>
                    <a:pt x="11515377" y="3032110"/>
                  </a:lnTo>
                  <a:lnTo>
                    <a:pt x="11515377" y="2852327"/>
                  </a:lnTo>
                  <a:cubicBezTo>
                    <a:pt x="11508989" y="2856890"/>
                    <a:pt x="11502119" y="2860768"/>
                    <a:pt x="11494768" y="2863962"/>
                  </a:cubicBezTo>
                  <a:cubicBezTo>
                    <a:pt x="11487416" y="2867157"/>
                    <a:pt x="11479025" y="2869970"/>
                    <a:pt x="11469595" y="2872404"/>
                  </a:cubicBezTo>
                  <a:lnTo>
                    <a:pt x="11469595" y="2842288"/>
                  </a:lnTo>
                  <a:cubicBezTo>
                    <a:pt x="11475476" y="2840362"/>
                    <a:pt x="11481155" y="2838334"/>
                    <a:pt x="11486630" y="2836204"/>
                  </a:cubicBezTo>
                  <a:cubicBezTo>
                    <a:pt x="11492106" y="2834075"/>
                    <a:pt x="11497506" y="2831692"/>
                    <a:pt x="11502829" y="2829055"/>
                  </a:cubicBezTo>
                  <a:cubicBezTo>
                    <a:pt x="11508153" y="2826419"/>
                    <a:pt x="11513527" y="2823478"/>
                    <a:pt x="11518952" y="2820234"/>
                  </a:cubicBezTo>
                  <a:cubicBezTo>
                    <a:pt x="11524377" y="2816989"/>
                    <a:pt x="11529979" y="2813288"/>
                    <a:pt x="11535759" y="2809130"/>
                  </a:cubicBezTo>
                  <a:close/>
                  <a:moveTo>
                    <a:pt x="11391633" y="2809130"/>
                  </a:moveTo>
                  <a:lnTo>
                    <a:pt x="11406539" y="2809130"/>
                  </a:lnTo>
                  <a:lnTo>
                    <a:pt x="11406539" y="3032110"/>
                  </a:lnTo>
                  <a:lnTo>
                    <a:pt x="11371251" y="3032110"/>
                  </a:lnTo>
                  <a:lnTo>
                    <a:pt x="11371251" y="2852327"/>
                  </a:lnTo>
                  <a:cubicBezTo>
                    <a:pt x="11364863" y="2856890"/>
                    <a:pt x="11357993" y="2860768"/>
                    <a:pt x="11350642" y="2863962"/>
                  </a:cubicBezTo>
                  <a:cubicBezTo>
                    <a:pt x="11343290" y="2867157"/>
                    <a:pt x="11334899" y="2869970"/>
                    <a:pt x="11325469" y="2872404"/>
                  </a:cubicBezTo>
                  <a:lnTo>
                    <a:pt x="11325469" y="2842288"/>
                  </a:lnTo>
                  <a:cubicBezTo>
                    <a:pt x="11331350" y="2840362"/>
                    <a:pt x="11337029" y="2838334"/>
                    <a:pt x="11342504" y="2836204"/>
                  </a:cubicBezTo>
                  <a:cubicBezTo>
                    <a:pt x="11347980" y="2834075"/>
                    <a:pt x="11353380" y="2831692"/>
                    <a:pt x="11358703" y="2829055"/>
                  </a:cubicBezTo>
                  <a:cubicBezTo>
                    <a:pt x="11364027" y="2826419"/>
                    <a:pt x="11369401" y="2823478"/>
                    <a:pt x="11374826" y="2820234"/>
                  </a:cubicBezTo>
                  <a:cubicBezTo>
                    <a:pt x="11380251" y="2816989"/>
                    <a:pt x="11385853" y="2813288"/>
                    <a:pt x="11391633" y="2809130"/>
                  </a:cubicBezTo>
                  <a:close/>
                  <a:moveTo>
                    <a:pt x="11247508" y="2809130"/>
                  </a:moveTo>
                  <a:lnTo>
                    <a:pt x="11262414" y="2809130"/>
                  </a:lnTo>
                  <a:lnTo>
                    <a:pt x="11262414" y="3032110"/>
                  </a:lnTo>
                  <a:lnTo>
                    <a:pt x="11227126" y="3032110"/>
                  </a:lnTo>
                  <a:lnTo>
                    <a:pt x="11227126" y="2852327"/>
                  </a:lnTo>
                  <a:cubicBezTo>
                    <a:pt x="11220738" y="2856890"/>
                    <a:pt x="11213868" y="2860768"/>
                    <a:pt x="11206517" y="2863962"/>
                  </a:cubicBezTo>
                  <a:cubicBezTo>
                    <a:pt x="11199165" y="2867157"/>
                    <a:pt x="11190774" y="2869970"/>
                    <a:pt x="11181344" y="2872404"/>
                  </a:cubicBezTo>
                  <a:lnTo>
                    <a:pt x="11181344" y="2842288"/>
                  </a:lnTo>
                  <a:cubicBezTo>
                    <a:pt x="11187225" y="2840362"/>
                    <a:pt x="11192904" y="2838334"/>
                    <a:pt x="11198379" y="2836204"/>
                  </a:cubicBezTo>
                  <a:cubicBezTo>
                    <a:pt x="11203855" y="2834075"/>
                    <a:pt x="11209255" y="2831692"/>
                    <a:pt x="11214578" y="2829055"/>
                  </a:cubicBezTo>
                  <a:cubicBezTo>
                    <a:pt x="11219902" y="2826419"/>
                    <a:pt x="11225276" y="2823478"/>
                    <a:pt x="11230701" y="2820234"/>
                  </a:cubicBezTo>
                  <a:cubicBezTo>
                    <a:pt x="11236126" y="2816989"/>
                    <a:pt x="11241728" y="2813288"/>
                    <a:pt x="11247508" y="2809130"/>
                  </a:cubicBezTo>
                  <a:close/>
                  <a:moveTo>
                    <a:pt x="11103383" y="2809130"/>
                  </a:moveTo>
                  <a:lnTo>
                    <a:pt x="11118289" y="2809130"/>
                  </a:lnTo>
                  <a:lnTo>
                    <a:pt x="11118289" y="3032110"/>
                  </a:lnTo>
                  <a:lnTo>
                    <a:pt x="11083001" y="3032110"/>
                  </a:lnTo>
                  <a:lnTo>
                    <a:pt x="11083001" y="2852327"/>
                  </a:lnTo>
                  <a:cubicBezTo>
                    <a:pt x="11076613" y="2856890"/>
                    <a:pt x="11069743" y="2860768"/>
                    <a:pt x="11062392" y="2863962"/>
                  </a:cubicBezTo>
                  <a:cubicBezTo>
                    <a:pt x="11055040" y="2867157"/>
                    <a:pt x="11046649" y="2869970"/>
                    <a:pt x="11037219" y="2872404"/>
                  </a:cubicBezTo>
                  <a:lnTo>
                    <a:pt x="11037219" y="2842288"/>
                  </a:lnTo>
                  <a:cubicBezTo>
                    <a:pt x="11043100" y="2840362"/>
                    <a:pt x="11048779" y="2838334"/>
                    <a:pt x="11054254" y="2836204"/>
                  </a:cubicBezTo>
                  <a:cubicBezTo>
                    <a:pt x="11059730" y="2834075"/>
                    <a:pt x="11065130" y="2831692"/>
                    <a:pt x="11070453" y="2829055"/>
                  </a:cubicBezTo>
                  <a:cubicBezTo>
                    <a:pt x="11075777" y="2826419"/>
                    <a:pt x="11081151" y="2823478"/>
                    <a:pt x="11086576" y="2820234"/>
                  </a:cubicBezTo>
                  <a:cubicBezTo>
                    <a:pt x="11092001" y="2816989"/>
                    <a:pt x="11097603" y="2813288"/>
                    <a:pt x="11103383" y="2809130"/>
                  </a:cubicBezTo>
                  <a:close/>
                  <a:moveTo>
                    <a:pt x="10959258" y="2809130"/>
                  </a:moveTo>
                  <a:lnTo>
                    <a:pt x="10974164" y="2809130"/>
                  </a:lnTo>
                  <a:lnTo>
                    <a:pt x="10974164" y="3032110"/>
                  </a:lnTo>
                  <a:lnTo>
                    <a:pt x="10938876" y="3032110"/>
                  </a:lnTo>
                  <a:lnTo>
                    <a:pt x="10938876" y="2852327"/>
                  </a:lnTo>
                  <a:cubicBezTo>
                    <a:pt x="10932488" y="2856890"/>
                    <a:pt x="10925618" y="2860768"/>
                    <a:pt x="10918267" y="2863962"/>
                  </a:cubicBezTo>
                  <a:cubicBezTo>
                    <a:pt x="10910915" y="2867157"/>
                    <a:pt x="10902524" y="2869970"/>
                    <a:pt x="10893094" y="2872404"/>
                  </a:cubicBezTo>
                  <a:lnTo>
                    <a:pt x="10893094" y="2842288"/>
                  </a:lnTo>
                  <a:cubicBezTo>
                    <a:pt x="10898975" y="2840362"/>
                    <a:pt x="10904654" y="2838334"/>
                    <a:pt x="10910129" y="2836204"/>
                  </a:cubicBezTo>
                  <a:cubicBezTo>
                    <a:pt x="10915605" y="2834075"/>
                    <a:pt x="10921005" y="2831692"/>
                    <a:pt x="10926328" y="2829055"/>
                  </a:cubicBezTo>
                  <a:cubicBezTo>
                    <a:pt x="10931652" y="2826419"/>
                    <a:pt x="10937026" y="2823478"/>
                    <a:pt x="10942451" y="2820234"/>
                  </a:cubicBezTo>
                  <a:cubicBezTo>
                    <a:pt x="10947876" y="2816989"/>
                    <a:pt x="10953478" y="2813288"/>
                    <a:pt x="10959258" y="2809130"/>
                  </a:cubicBezTo>
                  <a:close/>
                  <a:moveTo>
                    <a:pt x="10571025" y="2809130"/>
                  </a:moveTo>
                  <a:lnTo>
                    <a:pt x="10585931" y="2809130"/>
                  </a:lnTo>
                  <a:lnTo>
                    <a:pt x="10585931" y="3032110"/>
                  </a:lnTo>
                  <a:lnTo>
                    <a:pt x="10550643" y="3032110"/>
                  </a:lnTo>
                  <a:lnTo>
                    <a:pt x="10550643" y="2852327"/>
                  </a:lnTo>
                  <a:cubicBezTo>
                    <a:pt x="10544255" y="2856890"/>
                    <a:pt x="10537385" y="2860768"/>
                    <a:pt x="10530034" y="2863962"/>
                  </a:cubicBezTo>
                  <a:cubicBezTo>
                    <a:pt x="10522682" y="2867157"/>
                    <a:pt x="10514291" y="2869970"/>
                    <a:pt x="10504861" y="2872404"/>
                  </a:cubicBezTo>
                  <a:lnTo>
                    <a:pt x="10504861" y="2842288"/>
                  </a:lnTo>
                  <a:cubicBezTo>
                    <a:pt x="10510742" y="2840362"/>
                    <a:pt x="10516421" y="2838334"/>
                    <a:pt x="10521896" y="2836204"/>
                  </a:cubicBezTo>
                  <a:cubicBezTo>
                    <a:pt x="10527372" y="2834075"/>
                    <a:pt x="10532772" y="2831692"/>
                    <a:pt x="10538095" y="2829055"/>
                  </a:cubicBezTo>
                  <a:cubicBezTo>
                    <a:pt x="10543419" y="2826419"/>
                    <a:pt x="10548793" y="2823478"/>
                    <a:pt x="10554218" y="2820234"/>
                  </a:cubicBezTo>
                  <a:cubicBezTo>
                    <a:pt x="10559643" y="2816989"/>
                    <a:pt x="10565245" y="2813288"/>
                    <a:pt x="10571025" y="2809130"/>
                  </a:cubicBezTo>
                  <a:close/>
                  <a:moveTo>
                    <a:pt x="10304917" y="2809130"/>
                  </a:moveTo>
                  <a:lnTo>
                    <a:pt x="10319823" y="2809130"/>
                  </a:lnTo>
                  <a:lnTo>
                    <a:pt x="10319823" y="3032110"/>
                  </a:lnTo>
                  <a:lnTo>
                    <a:pt x="10284535" y="3032110"/>
                  </a:lnTo>
                  <a:lnTo>
                    <a:pt x="10284535" y="2852327"/>
                  </a:lnTo>
                  <a:cubicBezTo>
                    <a:pt x="10278147" y="2856890"/>
                    <a:pt x="10271277" y="2860768"/>
                    <a:pt x="10263926" y="2863962"/>
                  </a:cubicBezTo>
                  <a:cubicBezTo>
                    <a:pt x="10256574" y="2867157"/>
                    <a:pt x="10248183" y="2869970"/>
                    <a:pt x="10238753" y="2872404"/>
                  </a:cubicBezTo>
                  <a:lnTo>
                    <a:pt x="10238753" y="2842288"/>
                  </a:lnTo>
                  <a:cubicBezTo>
                    <a:pt x="10244634" y="2840362"/>
                    <a:pt x="10250313" y="2838334"/>
                    <a:pt x="10255788" y="2836204"/>
                  </a:cubicBezTo>
                  <a:cubicBezTo>
                    <a:pt x="10261264" y="2834075"/>
                    <a:pt x="10266664" y="2831692"/>
                    <a:pt x="10271987" y="2829055"/>
                  </a:cubicBezTo>
                  <a:cubicBezTo>
                    <a:pt x="10277311" y="2826419"/>
                    <a:pt x="10282685" y="2823478"/>
                    <a:pt x="10288110" y="2820234"/>
                  </a:cubicBezTo>
                  <a:cubicBezTo>
                    <a:pt x="10293535" y="2816989"/>
                    <a:pt x="10299137" y="2813288"/>
                    <a:pt x="10304917" y="2809130"/>
                  </a:cubicBezTo>
                  <a:close/>
                  <a:moveTo>
                    <a:pt x="9693318" y="2809130"/>
                  </a:moveTo>
                  <a:lnTo>
                    <a:pt x="9708224" y="2809130"/>
                  </a:lnTo>
                  <a:lnTo>
                    <a:pt x="9708224" y="3032110"/>
                  </a:lnTo>
                  <a:lnTo>
                    <a:pt x="9672936" y="3032110"/>
                  </a:lnTo>
                  <a:lnTo>
                    <a:pt x="9672936" y="2852327"/>
                  </a:lnTo>
                  <a:cubicBezTo>
                    <a:pt x="9666548" y="2856890"/>
                    <a:pt x="9659678" y="2860768"/>
                    <a:pt x="9652327" y="2863962"/>
                  </a:cubicBezTo>
                  <a:cubicBezTo>
                    <a:pt x="9644975" y="2867157"/>
                    <a:pt x="9636584" y="2869970"/>
                    <a:pt x="9627154" y="2872404"/>
                  </a:cubicBezTo>
                  <a:lnTo>
                    <a:pt x="9627154" y="2842288"/>
                  </a:lnTo>
                  <a:cubicBezTo>
                    <a:pt x="9633035" y="2840362"/>
                    <a:pt x="9638714" y="2838334"/>
                    <a:pt x="9644189" y="2836204"/>
                  </a:cubicBezTo>
                  <a:cubicBezTo>
                    <a:pt x="9649665" y="2834075"/>
                    <a:pt x="9655065" y="2831692"/>
                    <a:pt x="9660388" y="2829055"/>
                  </a:cubicBezTo>
                  <a:cubicBezTo>
                    <a:pt x="9665712" y="2826419"/>
                    <a:pt x="9671086" y="2823478"/>
                    <a:pt x="9676511" y="2820234"/>
                  </a:cubicBezTo>
                  <a:cubicBezTo>
                    <a:pt x="9681936" y="2816989"/>
                    <a:pt x="9687538" y="2813288"/>
                    <a:pt x="9693318" y="2809130"/>
                  </a:cubicBezTo>
                  <a:close/>
                  <a:moveTo>
                    <a:pt x="9427209" y="2809130"/>
                  </a:moveTo>
                  <a:lnTo>
                    <a:pt x="9442115" y="2809130"/>
                  </a:lnTo>
                  <a:lnTo>
                    <a:pt x="9442115" y="3032110"/>
                  </a:lnTo>
                  <a:lnTo>
                    <a:pt x="9406827" y="3032110"/>
                  </a:lnTo>
                  <a:lnTo>
                    <a:pt x="9406827" y="2852327"/>
                  </a:lnTo>
                  <a:cubicBezTo>
                    <a:pt x="9400439" y="2856890"/>
                    <a:pt x="9393569" y="2860768"/>
                    <a:pt x="9386218" y="2863962"/>
                  </a:cubicBezTo>
                  <a:cubicBezTo>
                    <a:pt x="9378866" y="2867157"/>
                    <a:pt x="9370475" y="2869970"/>
                    <a:pt x="9361045" y="2872404"/>
                  </a:cubicBezTo>
                  <a:lnTo>
                    <a:pt x="9361045" y="2842288"/>
                  </a:lnTo>
                  <a:cubicBezTo>
                    <a:pt x="9366926" y="2840362"/>
                    <a:pt x="9372605" y="2838334"/>
                    <a:pt x="9378080" y="2836204"/>
                  </a:cubicBezTo>
                  <a:cubicBezTo>
                    <a:pt x="9383556" y="2834075"/>
                    <a:pt x="9388956" y="2831692"/>
                    <a:pt x="9394279" y="2829055"/>
                  </a:cubicBezTo>
                  <a:cubicBezTo>
                    <a:pt x="9399603" y="2826419"/>
                    <a:pt x="9404977" y="2823478"/>
                    <a:pt x="9410402" y="2820234"/>
                  </a:cubicBezTo>
                  <a:cubicBezTo>
                    <a:pt x="9415827" y="2816989"/>
                    <a:pt x="9421429" y="2813288"/>
                    <a:pt x="9427209" y="2809130"/>
                  </a:cubicBezTo>
                  <a:close/>
                  <a:moveTo>
                    <a:pt x="8820862" y="2809130"/>
                  </a:moveTo>
                  <a:lnTo>
                    <a:pt x="8835768" y="2809130"/>
                  </a:lnTo>
                  <a:lnTo>
                    <a:pt x="8835768" y="3032110"/>
                  </a:lnTo>
                  <a:lnTo>
                    <a:pt x="8800480" y="3032110"/>
                  </a:lnTo>
                  <a:lnTo>
                    <a:pt x="8800480" y="2852327"/>
                  </a:lnTo>
                  <a:cubicBezTo>
                    <a:pt x="8794092" y="2856890"/>
                    <a:pt x="8787222" y="2860768"/>
                    <a:pt x="8779871" y="2863962"/>
                  </a:cubicBezTo>
                  <a:cubicBezTo>
                    <a:pt x="8772519" y="2867157"/>
                    <a:pt x="8764128" y="2869970"/>
                    <a:pt x="8754698" y="2872404"/>
                  </a:cubicBezTo>
                  <a:lnTo>
                    <a:pt x="8754698" y="2842288"/>
                  </a:lnTo>
                  <a:cubicBezTo>
                    <a:pt x="8760579" y="2840362"/>
                    <a:pt x="8766258" y="2838334"/>
                    <a:pt x="8771733" y="2836204"/>
                  </a:cubicBezTo>
                  <a:cubicBezTo>
                    <a:pt x="8777209" y="2834075"/>
                    <a:pt x="8782609" y="2831692"/>
                    <a:pt x="8787932" y="2829055"/>
                  </a:cubicBezTo>
                  <a:cubicBezTo>
                    <a:pt x="8793256" y="2826419"/>
                    <a:pt x="8798630" y="2823478"/>
                    <a:pt x="8804055" y="2820234"/>
                  </a:cubicBezTo>
                  <a:cubicBezTo>
                    <a:pt x="8809480" y="2816989"/>
                    <a:pt x="8815082" y="2813288"/>
                    <a:pt x="8820862" y="2809130"/>
                  </a:cubicBezTo>
                  <a:close/>
                  <a:moveTo>
                    <a:pt x="8554754" y="2809130"/>
                  </a:moveTo>
                  <a:lnTo>
                    <a:pt x="8569660" y="2809130"/>
                  </a:lnTo>
                  <a:lnTo>
                    <a:pt x="8569660" y="3032110"/>
                  </a:lnTo>
                  <a:lnTo>
                    <a:pt x="8534372" y="3032110"/>
                  </a:lnTo>
                  <a:lnTo>
                    <a:pt x="8534372" y="2852327"/>
                  </a:lnTo>
                  <a:cubicBezTo>
                    <a:pt x="8527984" y="2856890"/>
                    <a:pt x="8521114" y="2860768"/>
                    <a:pt x="8513763" y="2863962"/>
                  </a:cubicBezTo>
                  <a:cubicBezTo>
                    <a:pt x="8506411" y="2867157"/>
                    <a:pt x="8498020" y="2869970"/>
                    <a:pt x="8488590" y="2872404"/>
                  </a:cubicBezTo>
                  <a:lnTo>
                    <a:pt x="8488590" y="2842288"/>
                  </a:lnTo>
                  <a:cubicBezTo>
                    <a:pt x="8494471" y="2840362"/>
                    <a:pt x="8500150" y="2838334"/>
                    <a:pt x="8505625" y="2836204"/>
                  </a:cubicBezTo>
                  <a:cubicBezTo>
                    <a:pt x="8511101" y="2834075"/>
                    <a:pt x="8516501" y="2831692"/>
                    <a:pt x="8521824" y="2829055"/>
                  </a:cubicBezTo>
                  <a:cubicBezTo>
                    <a:pt x="8527148" y="2826419"/>
                    <a:pt x="8532522" y="2823478"/>
                    <a:pt x="8537947" y="2820234"/>
                  </a:cubicBezTo>
                  <a:cubicBezTo>
                    <a:pt x="8543372" y="2816989"/>
                    <a:pt x="8548974" y="2813288"/>
                    <a:pt x="8554754" y="2809130"/>
                  </a:cubicBezTo>
                  <a:close/>
                  <a:moveTo>
                    <a:pt x="8142986" y="2809130"/>
                  </a:moveTo>
                  <a:lnTo>
                    <a:pt x="8157893" y="2809130"/>
                  </a:lnTo>
                  <a:lnTo>
                    <a:pt x="8157893" y="3032110"/>
                  </a:lnTo>
                  <a:lnTo>
                    <a:pt x="8122605" y="3032110"/>
                  </a:lnTo>
                  <a:lnTo>
                    <a:pt x="8122605" y="2852327"/>
                  </a:lnTo>
                  <a:cubicBezTo>
                    <a:pt x="8116217" y="2856890"/>
                    <a:pt x="8109347" y="2860768"/>
                    <a:pt x="8101995" y="2863962"/>
                  </a:cubicBezTo>
                  <a:cubicBezTo>
                    <a:pt x="8094644" y="2867157"/>
                    <a:pt x="8086253" y="2869970"/>
                    <a:pt x="8076823" y="2872404"/>
                  </a:cubicBezTo>
                  <a:lnTo>
                    <a:pt x="8076823" y="2842288"/>
                  </a:lnTo>
                  <a:cubicBezTo>
                    <a:pt x="8082704" y="2840362"/>
                    <a:pt x="8088382" y="2838334"/>
                    <a:pt x="8093858" y="2836204"/>
                  </a:cubicBezTo>
                  <a:cubicBezTo>
                    <a:pt x="8099334" y="2834075"/>
                    <a:pt x="8104733" y="2831692"/>
                    <a:pt x="8110057" y="2829055"/>
                  </a:cubicBezTo>
                  <a:cubicBezTo>
                    <a:pt x="8115380" y="2826419"/>
                    <a:pt x="8120755" y="2823478"/>
                    <a:pt x="8126179" y="2820234"/>
                  </a:cubicBezTo>
                  <a:cubicBezTo>
                    <a:pt x="8131605" y="2816989"/>
                    <a:pt x="8137207" y="2813288"/>
                    <a:pt x="8142986" y="2809130"/>
                  </a:cubicBezTo>
                  <a:close/>
                  <a:moveTo>
                    <a:pt x="8009932" y="2809130"/>
                  </a:moveTo>
                  <a:lnTo>
                    <a:pt x="8024839" y="2809130"/>
                  </a:lnTo>
                  <a:lnTo>
                    <a:pt x="8024839" y="3032110"/>
                  </a:lnTo>
                  <a:lnTo>
                    <a:pt x="7989551" y="3032110"/>
                  </a:lnTo>
                  <a:lnTo>
                    <a:pt x="7989551" y="2852327"/>
                  </a:lnTo>
                  <a:cubicBezTo>
                    <a:pt x="7983163" y="2856890"/>
                    <a:pt x="7976293" y="2860768"/>
                    <a:pt x="7968941" y="2863962"/>
                  </a:cubicBezTo>
                  <a:cubicBezTo>
                    <a:pt x="7961590" y="2867157"/>
                    <a:pt x="7953199" y="2869970"/>
                    <a:pt x="7943769" y="2872404"/>
                  </a:cubicBezTo>
                  <a:lnTo>
                    <a:pt x="7943769" y="2842288"/>
                  </a:lnTo>
                  <a:cubicBezTo>
                    <a:pt x="7949650" y="2840362"/>
                    <a:pt x="7955328" y="2838334"/>
                    <a:pt x="7960804" y="2836204"/>
                  </a:cubicBezTo>
                  <a:cubicBezTo>
                    <a:pt x="7966280" y="2834075"/>
                    <a:pt x="7971679" y="2831692"/>
                    <a:pt x="7977003" y="2829055"/>
                  </a:cubicBezTo>
                  <a:cubicBezTo>
                    <a:pt x="7982326" y="2826419"/>
                    <a:pt x="7987701" y="2823478"/>
                    <a:pt x="7993125" y="2820234"/>
                  </a:cubicBezTo>
                  <a:cubicBezTo>
                    <a:pt x="7998551" y="2816989"/>
                    <a:pt x="8004153" y="2813288"/>
                    <a:pt x="8009932" y="2809130"/>
                  </a:cubicBezTo>
                  <a:close/>
                  <a:moveTo>
                    <a:pt x="7876878" y="2809130"/>
                  </a:moveTo>
                  <a:lnTo>
                    <a:pt x="7891785" y="2809130"/>
                  </a:lnTo>
                  <a:lnTo>
                    <a:pt x="7891785" y="3032110"/>
                  </a:lnTo>
                  <a:lnTo>
                    <a:pt x="7856497" y="3032110"/>
                  </a:lnTo>
                  <a:lnTo>
                    <a:pt x="7856497" y="2852327"/>
                  </a:lnTo>
                  <a:cubicBezTo>
                    <a:pt x="7850109" y="2856890"/>
                    <a:pt x="7843239" y="2860768"/>
                    <a:pt x="7835887" y="2863962"/>
                  </a:cubicBezTo>
                  <a:cubicBezTo>
                    <a:pt x="7828536" y="2867157"/>
                    <a:pt x="7820145" y="2869970"/>
                    <a:pt x="7810715" y="2872404"/>
                  </a:cubicBezTo>
                  <a:lnTo>
                    <a:pt x="7810715" y="2842288"/>
                  </a:lnTo>
                  <a:cubicBezTo>
                    <a:pt x="7816596" y="2840362"/>
                    <a:pt x="7822274" y="2838334"/>
                    <a:pt x="7827750" y="2836204"/>
                  </a:cubicBezTo>
                  <a:cubicBezTo>
                    <a:pt x="7833226" y="2834075"/>
                    <a:pt x="7838625" y="2831692"/>
                    <a:pt x="7843949" y="2829055"/>
                  </a:cubicBezTo>
                  <a:cubicBezTo>
                    <a:pt x="7849272" y="2826419"/>
                    <a:pt x="7854647" y="2823478"/>
                    <a:pt x="7860071" y="2820234"/>
                  </a:cubicBezTo>
                  <a:cubicBezTo>
                    <a:pt x="7865497" y="2816989"/>
                    <a:pt x="7871099" y="2813288"/>
                    <a:pt x="7876878" y="2809130"/>
                  </a:cubicBezTo>
                  <a:close/>
                  <a:moveTo>
                    <a:pt x="7734266" y="2809130"/>
                  </a:moveTo>
                  <a:lnTo>
                    <a:pt x="7749173" y="2809130"/>
                  </a:lnTo>
                  <a:lnTo>
                    <a:pt x="7749173" y="3032110"/>
                  </a:lnTo>
                  <a:lnTo>
                    <a:pt x="7713885" y="3032110"/>
                  </a:lnTo>
                  <a:lnTo>
                    <a:pt x="7713885" y="2852327"/>
                  </a:lnTo>
                  <a:cubicBezTo>
                    <a:pt x="7707497" y="2856890"/>
                    <a:pt x="7700627" y="2860768"/>
                    <a:pt x="7693275" y="2863962"/>
                  </a:cubicBezTo>
                  <a:cubicBezTo>
                    <a:pt x="7685924" y="2867157"/>
                    <a:pt x="7677533" y="2869970"/>
                    <a:pt x="7668103" y="2872404"/>
                  </a:cubicBezTo>
                  <a:lnTo>
                    <a:pt x="7668103" y="2842288"/>
                  </a:lnTo>
                  <a:cubicBezTo>
                    <a:pt x="7673984" y="2840362"/>
                    <a:pt x="7679662" y="2838334"/>
                    <a:pt x="7685138" y="2836204"/>
                  </a:cubicBezTo>
                  <a:cubicBezTo>
                    <a:pt x="7690614" y="2834075"/>
                    <a:pt x="7696013" y="2831692"/>
                    <a:pt x="7701337" y="2829055"/>
                  </a:cubicBezTo>
                  <a:cubicBezTo>
                    <a:pt x="7706660" y="2826419"/>
                    <a:pt x="7712035" y="2823478"/>
                    <a:pt x="7717459" y="2820234"/>
                  </a:cubicBezTo>
                  <a:cubicBezTo>
                    <a:pt x="7722885" y="2816989"/>
                    <a:pt x="7728487" y="2813288"/>
                    <a:pt x="7734266" y="2809130"/>
                  </a:cubicBezTo>
                  <a:close/>
                  <a:moveTo>
                    <a:pt x="6986928" y="2809130"/>
                  </a:moveTo>
                  <a:lnTo>
                    <a:pt x="7001834" y="2809130"/>
                  </a:lnTo>
                  <a:lnTo>
                    <a:pt x="7001834" y="3032110"/>
                  </a:lnTo>
                  <a:lnTo>
                    <a:pt x="6966546" y="3032110"/>
                  </a:lnTo>
                  <a:lnTo>
                    <a:pt x="6966546" y="2852327"/>
                  </a:lnTo>
                  <a:cubicBezTo>
                    <a:pt x="6960158" y="2856890"/>
                    <a:pt x="6953289" y="2860768"/>
                    <a:pt x="6945937" y="2863962"/>
                  </a:cubicBezTo>
                  <a:cubicBezTo>
                    <a:pt x="6938585" y="2867157"/>
                    <a:pt x="6930195" y="2869970"/>
                    <a:pt x="6920764" y="2872404"/>
                  </a:cubicBezTo>
                  <a:lnTo>
                    <a:pt x="6920764" y="2842288"/>
                  </a:lnTo>
                  <a:cubicBezTo>
                    <a:pt x="6926645" y="2840362"/>
                    <a:pt x="6932324" y="2838334"/>
                    <a:pt x="6937799" y="2836204"/>
                  </a:cubicBezTo>
                  <a:cubicBezTo>
                    <a:pt x="6943275" y="2834075"/>
                    <a:pt x="6948675" y="2831692"/>
                    <a:pt x="6953998" y="2829055"/>
                  </a:cubicBezTo>
                  <a:cubicBezTo>
                    <a:pt x="6959322" y="2826419"/>
                    <a:pt x="6964696" y="2823478"/>
                    <a:pt x="6970121" y="2820234"/>
                  </a:cubicBezTo>
                  <a:cubicBezTo>
                    <a:pt x="6975546" y="2816989"/>
                    <a:pt x="6981148" y="2813288"/>
                    <a:pt x="6986928" y="2809130"/>
                  </a:cubicBezTo>
                  <a:close/>
                  <a:moveTo>
                    <a:pt x="6842802" y="2809130"/>
                  </a:moveTo>
                  <a:lnTo>
                    <a:pt x="6857708" y="2809130"/>
                  </a:lnTo>
                  <a:lnTo>
                    <a:pt x="6857708" y="3032110"/>
                  </a:lnTo>
                  <a:lnTo>
                    <a:pt x="6822420" y="3032110"/>
                  </a:lnTo>
                  <a:lnTo>
                    <a:pt x="6822420" y="2852327"/>
                  </a:lnTo>
                  <a:cubicBezTo>
                    <a:pt x="6816032" y="2856890"/>
                    <a:pt x="6809163" y="2860768"/>
                    <a:pt x="6801811" y="2863962"/>
                  </a:cubicBezTo>
                  <a:cubicBezTo>
                    <a:pt x="6794459" y="2867157"/>
                    <a:pt x="6786069" y="2869970"/>
                    <a:pt x="6776638" y="2872404"/>
                  </a:cubicBezTo>
                  <a:lnTo>
                    <a:pt x="6776638" y="2842288"/>
                  </a:lnTo>
                  <a:cubicBezTo>
                    <a:pt x="6782519" y="2840362"/>
                    <a:pt x="6788198" y="2838334"/>
                    <a:pt x="6793673" y="2836204"/>
                  </a:cubicBezTo>
                  <a:cubicBezTo>
                    <a:pt x="6799149" y="2834075"/>
                    <a:pt x="6804549" y="2831692"/>
                    <a:pt x="6809872" y="2829055"/>
                  </a:cubicBezTo>
                  <a:cubicBezTo>
                    <a:pt x="6815196" y="2826419"/>
                    <a:pt x="6820570" y="2823478"/>
                    <a:pt x="6825995" y="2820234"/>
                  </a:cubicBezTo>
                  <a:cubicBezTo>
                    <a:pt x="6831420" y="2816989"/>
                    <a:pt x="6837022" y="2813288"/>
                    <a:pt x="6842802" y="2809130"/>
                  </a:cubicBezTo>
                  <a:close/>
                  <a:moveTo>
                    <a:pt x="5862574" y="2809130"/>
                  </a:moveTo>
                  <a:lnTo>
                    <a:pt x="5877481" y="2809130"/>
                  </a:lnTo>
                  <a:lnTo>
                    <a:pt x="5877481" y="3032110"/>
                  </a:lnTo>
                  <a:lnTo>
                    <a:pt x="5842193" y="3032110"/>
                  </a:lnTo>
                  <a:lnTo>
                    <a:pt x="5842193" y="2852327"/>
                  </a:lnTo>
                  <a:cubicBezTo>
                    <a:pt x="5835804" y="2856890"/>
                    <a:pt x="5828935" y="2860768"/>
                    <a:pt x="5821582" y="2863962"/>
                  </a:cubicBezTo>
                  <a:cubicBezTo>
                    <a:pt x="5814233" y="2867157"/>
                    <a:pt x="5805841" y="2869970"/>
                    <a:pt x="5796410" y="2872404"/>
                  </a:cubicBezTo>
                  <a:lnTo>
                    <a:pt x="5796410" y="2842288"/>
                  </a:lnTo>
                  <a:cubicBezTo>
                    <a:pt x="5802292" y="2840362"/>
                    <a:pt x="5807970" y="2838334"/>
                    <a:pt x="5813446" y="2836204"/>
                  </a:cubicBezTo>
                  <a:cubicBezTo>
                    <a:pt x="5818922" y="2834075"/>
                    <a:pt x="5824321" y="2831692"/>
                    <a:pt x="5829644" y="2829055"/>
                  </a:cubicBezTo>
                  <a:cubicBezTo>
                    <a:pt x="5834968" y="2826419"/>
                    <a:pt x="5840342" y="2823478"/>
                    <a:pt x="5845767" y="2820234"/>
                  </a:cubicBezTo>
                  <a:cubicBezTo>
                    <a:pt x="5851192" y="2816989"/>
                    <a:pt x="5856795" y="2813288"/>
                    <a:pt x="5862574" y="2809130"/>
                  </a:cubicBezTo>
                  <a:close/>
                  <a:moveTo>
                    <a:pt x="5479705" y="2809130"/>
                  </a:moveTo>
                  <a:lnTo>
                    <a:pt x="5494614" y="2809130"/>
                  </a:lnTo>
                  <a:lnTo>
                    <a:pt x="5494614" y="3032110"/>
                  </a:lnTo>
                  <a:lnTo>
                    <a:pt x="5459325" y="3032110"/>
                  </a:lnTo>
                  <a:lnTo>
                    <a:pt x="5459325" y="2852327"/>
                  </a:lnTo>
                  <a:cubicBezTo>
                    <a:pt x="5452937" y="2856890"/>
                    <a:pt x="5446067" y="2860768"/>
                    <a:pt x="5438715" y="2863962"/>
                  </a:cubicBezTo>
                  <a:cubicBezTo>
                    <a:pt x="5431364" y="2867157"/>
                    <a:pt x="5422973" y="2869970"/>
                    <a:pt x="5413543" y="2872404"/>
                  </a:cubicBezTo>
                  <a:lnTo>
                    <a:pt x="5413543" y="2842288"/>
                  </a:lnTo>
                  <a:cubicBezTo>
                    <a:pt x="5419424" y="2840362"/>
                    <a:pt x="5425102" y="2838334"/>
                    <a:pt x="5430578" y="2836204"/>
                  </a:cubicBezTo>
                  <a:cubicBezTo>
                    <a:pt x="5436054" y="2834075"/>
                    <a:pt x="5441453" y="2831692"/>
                    <a:pt x="5446777" y="2829055"/>
                  </a:cubicBezTo>
                  <a:cubicBezTo>
                    <a:pt x="5452100" y="2826419"/>
                    <a:pt x="5457475" y="2823478"/>
                    <a:pt x="5462899" y="2820234"/>
                  </a:cubicBezTo>
                  <a:cubicBezTo>
                    <a:pt x="5468325" y="2816989"/>
                    <a:pt x="5473927" y="2813288"/>
                    <a:pt x="5479705" y="2809130"/>
                  </a:cubicBezTo>
                  <a:close/>
                  <a:moveTo>
                    <a:pt x="5335580" y="2809130"/>
                  </a:moveTo>
                  <a:lnTo>
                    <a:pt x="5350487" y="2809130"/>
                  </a:lnTo>
                  <a:lnTo>
                    <a:pt x="5350487" y="3032110"/>
                  </a:lnTo>
                  <a:lnTo>
                    <a:pt x="5315200" y="3032110"/>
                  </a:lnTo>
                  <a:lnTo>
                    <a:pt x="5315200" y="2852327"/>
                  </a:lnTo>
                  <a:cubicBezTo>
                    <a:pt x="5308811" y="2856890"/>
                    <a:pt x="5301941" y="2860768"/>
                    <a:pt x="5294589" y="2863962"/>
                  </a:cubicBezTo>
                  <a:cubicBezTo>
                    <a:pt x="5287238" y="2867157"/>
                    <a:pt x="5278847" y="2869970"/>
                    <a:pt x="5269417" y="2872404"/>
                  </a:cubicBezTo>
                  <a:lnTo>
                    <a:pt x="5269417" y="2842288"/>
                  </a:lnTo>
                  <a:cubicBezTo>
                    <a:pt x="5275298" y="2840362"/>
                    <a:pt x="5280977" y="2838334"/>
                    <a:pt x="5286452" y="2836204"/>
                  </a:cubicBezTo>
                  <a:cubicBezTo>
                    <a:pt x="5291928" y="2834075"/>
                    <a:pt x="5297327" y="2831692"/>
                    <a:pt x="5302652" y="2829055"/>
                  </a:cubicBezTo>
                  <a:cubicBezTo>
                    <a:pt x="5307974" y="2826419"/>
                    <a:pt x="5313349" y="2823478"/>
                    <a:pt x="5318773" y="2820234"/>
                  </a:cubicBezTo>
                  <a:cubicBezTo>
                    <a:pt x="5324198" y="2816989"/>
                    <a:pt x="5329801" y="2813288"/>
                    <a:pt x="5335580" y="2809130"/>
                  </a:cubicBezTo>
                  <a:close/>
                  <a:moveTo>
                    <a:pt x="5191455" y="2809130"/>
                  </a:moveTo>
                  <a:lnTo>
                    <a:pt x="5206362" y="2809130"/>
                  </a:lnTo>
                  <a:lnTo>
                    <a:pt x="5206362" y="3032110"/>
                  </a:lnTo>
                  <a:lnTo>
                    <a:pt x="5171074" y="3032110"/>
                  </a:lnTo>
                  <a:lnTo>
                    <a:pt x="5171074" y="2852327"/>
                  </a:lnTo>
                  <a:cubicBezTo>
                    <a:pt x="5164686" y="2856890"/>
                    <a:pt x="5157816" y="2860768"/>
                    <a:pt x="5150464" y="2863962"/>
                  </a:cubicBezTo>
                  <a:cubicBezTo>
                    <a:pt x="5143114" y="2867157"/>
                    <a:pt x="5134722" y="2869970"/>
                    <a:pt x="5125292" y="2872404"/>
                  </a:cubicBezTo>
                  <a:lnTo>
                    <a:pt x="5125292" y="2842288"/>
                  </a:lnTo>
                  <a:cubicBezTo>
                    <a:pt x="5131172" y="2840362"/>
                    <a:pt x="5136851" y="2838334"/>
                    <a:pt x="5142326" y="2836204"/>
                  </a:cubicBezTo>
                  <a:cubicBezTo>
                    <a:pt x="5147803" y="2834075"/>
                    <a:pt x="5153202" y="2831692"/>
                    <a:pt x="5158526" y="2829055"/>
                  </a:cubicBezTo>
                  <a:cubicBezTo>
                    <a:pt x="5163849" y="2826419"/>
                    <a:pt x="5169223" y="2823478"/>
                    <a:pt x="5174648" y="2820234"/>
                  </a:cubicBezTo>
                  <a:cubicBezTo>
                    <a:pt x="5180074" y="2816989"/>
                    <a:pt x="5185676" y="2813288"/>
                    <a:pt x="5191455" y="2809130"/>
                  </a:cubicBezTo>
                  <a:close/>
                  <a:moveTo>
                    <a:pt x="5047330" y="2809130"/>
                  </a:moveTo>
                  <a:lnTo>
                    <a:pt x="5062237" y="2809130"/>
                  </a:lnTo>
                  <a:lnTo>
                    <a:pt x="5062237" y="3032110"/>
                  </a:lnTo>
                  <a:lnTo>
                    <a:pt x="5026949" y="3032110"/>
                  </a:lnTo>
                  <a:lnTo>
                    <a:pt x="5026949" y="2852327"/>
                  </a:lnTo>
                  <a:cubicBezTo>
                    <a:pt x="5020561" y="2856890"/>
                    <a:pt x="5013691" y="2860768"/>
                    <a:pt x="5006339" y="2863962"/>
                  </a:cubicBezTo>
                  <a:cubicBezTo>
                    <a:pt x="4998988" y="2867157"/>
                    <a:pt x="4990597" y="2869970"/>
                    <a:pt x="4981168" y="2872404"/>
                  </a:cubicBezTo>
                  <a:lnTo>
                    <a:pt x="4981168" y="2842288"/>
                  </a:lnTo>
                  <a:cubicBezTo>
                    <a:pt x="4987047" y="2840362"/>
                    <a:pt x="4992726" y="2838334"/>
                    <a:pt x="4998201" y="2836204"/>
                  </a:cubicBezTo>
                  <a:cubicBezTo>
                    <a:pt x="5003678" y="2834075"/>
                    <a:pt x="5009078" y="2831692"/>
                    <a:pt x="5014401" y="2829055"/>
                  </a:cubicBezTo>
                  <a:cubicBezTo>
                    <a:pt x="5019724" y="2826419"/>
                    <a:pt x="5025099" y="2823478"/>
                    <a:pt x="5030524" y="2820234"/>
                  </a:cubicBezTo>
                  <a:cubicBezTo>
                    <a:pt x="5035950" y="2816989"/>
                    <a:pt x="5041550" y="2813288"/>
                    <a:pt x="5047330" y="2809130"/>
                  </a:cubicBezTo>
                  <a:close/>
                  <a:moveTo>
                    <a:pt x="4903206" y="2809130"/>
                  </a:moveTo>
                  <a:lnTo>
                    <a:pt x="4918113" y="2809130"/>
                  </a:lnTo>
                  <a:lnTo>
                    <a:pt x="4918113" y="3032110"/>
                  </a:lnTo>
                  <a:lnTo>
                    <a:pt x="4882824" y="3032110"/>
                  </a:lnTo>
                  <a:lnTo>
                    <a:pt x="4882824" y="2852327"/>
                  </a:lnTo>
                  <a:cubicBezTo>
                    <a:pt x="4876437" y="2856890"/>
                    <a:pt x="4869567" y="2860768"/>
                    <a:pt x="4862214" y="2863962"/>
                  </a:cubicBezTo>
                  <a:cubicBezTo>
                    <a:pt x="4854863" y="2867157"/>
                    <a:pt x="4846471" y="2869970"/>
                    <a:pt x="4837041" y="2872404"/>
                  </a:cubicBezTo>
                  <a:lnTo>
                    <a:pt x="4837041" y="2842288"/>
                  </a:lnTo>
                  <a:cubicBezTo>
                    <a:pt x="4842923" y="2840362"/>
                    <a:pt x="4848601" y="2838334"/>
                    <a:pt x="4854077" y="2836204"/>
                  </a:cubicBezTo>
                  <a:cubicBezTo>
                    <a:pt x="4859552" y="2834075"/>
                    <a:pt x="4864952" y="2831692"/>
                    <a:pt x="4870276" y="2829055"/>
                  </a:cubicBezTo>
                  <a:cubicBezTo>
                    <a:pt x="4875598" y="2826419"/>
                    <a:pt x="4880975" y="2823478"/>
                    <a:pt x="4886398" y="2820234"/>
                  </a:cubicBezTo>
                  <a:cubicBezTo>
                    <a:pt x="4891825" y="2816989"/>
                    <a:pt x="4897426" y="2813288"/>
                    <a:pt x="4903206" y="2809130"/>
                  </a:cubicBezTo>
                  <a:close/>
                  <a:moveTo>
                    <a:pt x="4514973" y="2809130"/>
                  </a:moveTo>
                  <a:lnTo>
                    <a:pt x="4529879" y="2809130"/>
                  </a:lnTo>
                  <a:lnTo>
                    <a:pt x="4529879" y="3032110"/>
                  </a:lnTo>
                  <a:lnTo>
                    <a:pt x="4494591" y="3032110"/>
                  </a:lnTo>
                  <a:lnTo>
                    <a:pt x="4494591" y="2852327"/>
                  </a:lnTo>
                  <a:cubicBezTo>
                    <a:pt x="4488203" y="2856890"/>
                    <a:pt x="4481333" y="2860768"/>
                    <a:pt x="4473982" y="2863962"/>
                  </a:cubicBezTo>
                  <a:cubicBezTo>
                    <a:pt x="4466630" y="2867157"/>
                    <a:pt x="4458240" y="2869970"/>
                    <a:pt x="4448809" y="2872404"/>
                  </a:cubicBezTo>
                  <a:lnTo>
                    <a:pt x="4448809" y="2842288"/>
                  </a:lnTo>
                  <a:cubicBezTo>
                    <a:pt x="4454690" y="2840362"/>
                    <a:pt x="4460369" y="2838334"/>
                    <a:pt x="4465844" y="2836204"/>
                  </a:cubicBezTo>
                  <a:cubicBezTo>
                    <a:pt x="4471320" y="2834075"/>
                    <a:pt x="4476719" y="2831692"/>
                    <a:pt x="4482043" y="2829055"/>
                  </a:cubicBezTo>
                  <a:cubicBezTo>
                    <a:pt x="4487367" y="2826419"/>
                    <a:pt x="4492741" y="2823478"/>
                    <a:pt x="4498166" y="2820234"/>
                  </a:cubicBezTo>
                  <a:cubicBezTo>
                    <a:pt x="4503591" y="2816989"/>
                    <a:pt x="4509192" y="2813288"/>
                    <a:pt x="4514973" y="2809130"/>
                  </a:cubicBezTo>
                  <a:close/>
                  <a:moveTo>
                    <a:pt x="4248864" y="2809130"/>
                  </a:moveTo>
                  <a:lnTo>
                    <a:pt x="4263771" y="2809130"/>
                  </a:lnTo>
                  <a:lnTo>
                    <a:pt x="4263771" y="3032110"/>
                  </a:lnTo>
                  <a:lnTo>
                    <a:pt x="4228483" y="3032110"/>
                  </a:lnTo>
                  <a:lnTo>
                    <a:pt x="4228483" y="2852327"/>
                  </a:lnTo>
                  <a:cubicBezTo>
                    <a:pt x="4222095" y="2856890"/>
                    <a:pt x="4215226" y="2860768"/>
                    <a:pt x="4207874" y="2863962"/>
                  </a:cubicBezTo>
                  <a:cubicBezTo>
                    <a:pt x="4200521" y="2867157"/>
                    <a:pt x="4192131" y="2869970"/>
                    <a:pt x="4182701" y="2872404"/>
                  </a:cubicBezTo>
                  <a:lnTo>
                    <a:pt x="4182701" y="2842288"/>
                  </a:lnTo>
                  <a:cubicBezTo>
                    <a:pt x="4188582" y="2840362"/>
                    <a:pt x="4194260" y="2838334"/>
                    <a:pt x="4199736" y="2836204"/>
                  </a:cubicBezTo>
                  <a:cubicBezTo>
                    <a:pt x="4205212" y="2834075"/>
                    <a:pt x="4210612" y="2831692"/>
                    <a:pt x="4215934" y="2829055"/>
                  </a:cubicBezTo>
                  <a:cubicBezTo>
                    <a:pt x="4221259" y="2826419"/>
                    <a:pt x="4226632" y="2823478"/>
                    <a:pt x="4232057" y="2820234"/>
                  </a:cubicBezTo>
                  <a:cubicBezTo>
                    <a:pt x="4237483" y="2816989"/>
                    <a:pt x="4243085" y="2813288"/>
                    <a:pt x="4248864" y="2809130"/>
                  </a:cubicBezTo>
                  <a:close/>
                  <a:moveTo>
                    <a:pt x="3637267" y="2809130"/>
                  </a:moveTo>
                  <a:lnTo>
                    <a:pt x="3652173" y="2809130"/>
                  </a:lnTo>
                  <a:lnTo>
                    <a:pt x="3652173" y="3032110"/>
                  </a:lnTo>
                  <a:lnTo>
                    <a:pt x="3616885" y="3032110"/>
                  </a:lnTo>
                  <a:lnTo>
                    <a:pt x="3616885" y="2852327"/>
                  </a:lnTo>
                  <a:cubicBezTo>
                    <a:pt x="3610497" y="2856890"/>
                    <a:pt x="3603627" y="2860768"/>
                    <a:pt x="3596276" y="2863962"/>
                  </a:cubicBezTo>
                  <a:cubicBezTo>
                    <a:pt x="3588924" y="2867157"/>
                    <a:pt x="3580532" y="2869970"/>
                    <a:pt x="3571102" y="2872404"/>
                  </a:cubicBezTo>
                  <a:lnTo>
                    <a:pt x="3571102" y="2842288"/>
                  </a:lnTo>
                  <a:cubicBezTo>
                    <a:pt x="3576983" y="2840362"/>
                    <a:pt x="3582663" y="2838334"/>
                    <a:pt x="3588139" y="2836204"/>
                  </a:cubicBezTo>
                  <a:cubicBezTo>
                    <a:pt x="3593613" y="2834075"/>
                    <a:pt x="3599013" y="2831692"/>
                    <a:pt x="3604337" y="2829055"/>
                  </a:cubicBezTo>
                  <a:cubicBezTo>
                    <a:pt x="3609661" y="2826419"/>
                    <a:pt x="3615035" y="2823478"/>
                    <a:pt x="3620459" y="2820234"/>
                  </a:cubicBezTo>
                  <a:cubicBezTo>
                    <a:pt x="3625884" y="2816989"/>
                    <a:pt x="3631486" y="2813288"/>
                    <a:pt x="3637267" y="2809130"/>
                  </a:cubicBezTo>
                  <a:close/>
                  <a:moveTo>
                    <a:pt x="3371159" y="2809130"/>
                  </a:moveTo>
                  <a:lnTo>
                    <a:pt x="3386065" y="2809130"/>
                  </a:lnTo>
                  <a:lnTo>
                    <a:pt x="3386065" y="3032110"/>
                  </a:lnTo>
                  <a:lnTo>
                    <a:pt x="3350777" y="3032110"/>
                  </a:lnTo>
                  <a:lnTo>
                    <a:pt x="3350777" y="2852327"/>
                  </a:lnTo>
                  <a:cubicBezTo>
                    <a:pt x="3344390" y="2856890"/>
                    <a:pt x="3337519" y="2860768"/>
                    <a:pt x="3330168" y="2863962"/>
                  </a:cubicBezTo>
                  <a:cubicBezTo>
                    <a:pt x="3322816" y="2867157"/>
                    <a:pt x="3314425" y="2869970"/>
                    <a:pt x="3304995" y="2872404"/>
                  </a:cubicBezTo>
                  <a:lnTo>
                    <a:pt x="3304995" y="2842288"/>
                  </a:lnTo>
                  <a:cubicBezTo>
                    <a:pt x="3310876" y="2840362"/>
                    <a:pt x="3316555" y="2838334"/>
                    <a:pt x="3322030" y="2836204"/>
                  </a:cubicBezTo>
                  <a:cubicBezTo>
                    <a:pt x="3327507" y="2834075"/>
                    <a:pt x="3332905" y="2831692"/>
                    <a:pt x="3338229" y="2829055"/>
                  </a:cubicBezTo>
                  <a:cubicBezTo>
                    <a:pt x="3343554" y="2826419"/>
                    <a:pt x="3348927" y="2823478"/>
                    <a:pt x="3354351" y="2820234"/>
                  </a:cubicBezTo>
                  <a:cubicBezTo>
                    <a:pt x="3359778" y="2816989"/>
                    <a:pt x="3365379" y="2813288"/>
                    <a:pt x="3371159" y="2809130"/>
                  </a:cubicBezTo>
                  <a:close/>
                  <a:moveTo>
                    <a:pt x="2764812" y="2809130"/>
                  </a:moveTo>
                  <a:lnTo>
                    <a:pt x="2779718" y="2809130"/>
                  </a:lnTo>
                  <a:lnTo>
                    <a:pt x="2779718" y="3032110"/>
                  </a:lnTo>
                  <a:lnTo>
                    <a:pt x="2744430" y="3032110"/>
                  </a:lnTo>
                  <a:lnTo>
                    <a:pt x="2744430" y="2852327"/>
                  </a:lnTo>
                  <a:cubicBezTo>
                    <a:pt x="2738042" y="2856890"/>
                    <a:pt x="2731172" y="2860768"/>
                    <a:pt x="2723821" y="2863962"/>
                  </a:cubicBezTo>
                  <a:cubicBezTo>
                    <a:pt x="2716469" y="2867157"/>
                    <a:pt x="2708078" y="2869970"/>
                    <a:pt x="2698648" y="2872404"/>
                  </a:cubicBezTo>
                  <a:lnTo>
                    <a:pt x="2698648" y="2842288"/>
                  </a:lnTo>
                  <a:cubicBezTo>
                    <a:pt x="2704529" y="2840362"/>
                    <a:pt x="2710208" y="2838334"/>
                    <a:pt x="2715683" y="2836204"/>
                  </a:cubicBezTo>
                  <a:cubicBezTo>
                    <a:pt x="2721159" y="2834075"/>
                    <a:pt x="2726558" y="2831692"/>
                    <a:pt x="2731882" y="2829055"/>
                  </a:cubicBezTo>
                  <a:cubicBezTo>
                    <a:pt x="2737206" y="2826419"/>
                    <a:pt x="2742580" y="2823478"/>
                    <a:pt x="2748004" y="2820234"/>
                  </a:cubicBezTo>
                  <a:cubicBezTo>
                    <a:pt x="2753430" y="2816989"/>
                    <a:pt x="2759032" y="2813288"/>
                    <a:pt x="2764812" y="2809130"/>
                  </a:cubicBezTo>
                  <a:close/>
                  <a:moveTo>
                    <a:pt x="2498704" y="2809130"/>
                  </a:moveTo>
                  <a:lnTo>
                    <a:pt x="2513610" y="2809130"/>
                  </a:lnTo>
                  <a:lnTo>
                    <a:pt x="2513610" y="3032110"/>
                  </a:lnTo>
                  <a:lnTo>
                    <a:pt x="2478322" y="3032110"/>
                  </a:lnTo>
                  <a:lnTo>
                    <a:pt x="2478322" y="2852327"/>
                  </a:lnTo>
                  <a:cubicBezTo>
                    <a:pt x="2471934" y="2856890"/>
                    <a:pt x="2465064" y="2860768"/>
                    <a:pt x="2457713" y="2863962"/>
                  </a:cubicBezTo>
                  <a:cubicBezTo>
                    <a:pt x="2450361" y="2867157"/>
                    <a:pt x="2441970" y="2869970"/>
                    <a:pt x="2432540" y="2872404"/>
                  </a:cubicBezTo>
                  <a:lnTo>
                    <a:pt x="2432540" y="2842288"/>
                  </a:lnTo>
                  <a:cubicBezTo>
                    <a:pt x="2438421" y="2840362"/>
                    <a:pt x="2444100" y="2838334"/>
                    <a:pt x="2449575" y="2836204"/>
                  </a:cubicBezTo>
                  <a:cubicBezTo>
                    <a:pt x="2455051" y="2834075"/>
                    <a:pt x="2460450" y="2831692"/>
                    <a:pt x="2465774" y="2829055"/>
                  </a:cubicBezTo>
                  <a:cubicBezTo>
                    <a:pt x="2471098" y="2826419"/>
                    <a:pt x="2476472" y="2823478"/>
                    <a:pt x="2481896" y="2820234"/>
                  </a:cubicBezTo>
                  <a:cubicBezTo>
                    <a:pt x="2487322" y="2816989"/>
                    <a:pt x="2492924" y="2813288"/>
                    <a:pt x="2498704" y="2809130"/>
                  </a:cubicBezTo>
                  <a:close/>
                  <a:moveTo>
                    <a:pt x="2086937" y="2809130"/>
                  </a:moveTo>
                  <a:lnTo>
                    <a:pt x="2101843" y="2809130"/>
                  </a:lnTo>
                  <a:lnTo>
                    <a:pt x="2101843" y="3032110"/>
                  </a:lnTo>
                  <a:lnTo>
                    <a:pt x="2066555" y="3032110"/>
                  </a:lnTo>
                  <a:lnTo>
                    <a:pt x="2066555" y="2852327"/>
                  </a:lnTo>
                  <a:cubicBezTo>
                    <a:pt x="2060167" y="2856890"/>
                    <a:pt x="2053297" y="2860768"/>
                    <a:pt x="2045946" y="2863962"/>
                  </a:cubicBezTo>
                  <a:cubicBezTo>
                    <a:pt x="2038594" y="2867157"/>
                    <a:pt x="2030203" y="2869970"/>
                    <a:pt x="2020773" y="2872404"/>
                  </a:cubicBezTo>
                  <a:lnTo>
                    <a:pt x="2020773" y="2842288"/>
                  </a:lnTo>
                  <a:cubicBezTo>
                    <a:pt x="2026654" y="2840362"/>
                    <a:pt x="2032333" y="2838334"/>
                    <a:pt x="2037808" y="2836204"/>
                  </a:cubicBezTo>
                  <a:cubicBezTo>
                    <a:pt x="2043284" y="2834075"/>
                    <a:pt x="2048684" y="2831692"/>
                    <a:pt x="2054007" y="2829055"/>
                  </a:cubicBezTo>
                  <a:cubicBezTo>
                    <a:pt x="2059331" y="2826419"/>
                    <a:pt x="2064705" y="2823478"/>
                    <a:pt x="2070129" y="2820234"/>
                  </a:cubicBezTo>
                  <a:cubicBezTo>
                    <a:pt x="2075555" y="2816989"/>
                    <a:pt x="2081157" y="2813288"/>
                    <a:pt x="2086937" y="2809130"/>
                  </a:cubicBezTo>
                  <a:close/>
                  <a:moveTo>
                    <a:pt x="1953883" y="2809130"/>
                  </a:moveTo>
                  <a:lnTo>
                    <a:pt x="1968789" y="2809130"/>
                  </a:lnTo>
                  <a:lnTo>
                    <a:pt x="1968789" y="3032110"/>
                  </a:lnTo>
                  <a:lnTo>
                    <a:pt x="1933501" y="3032110"/>
                  </a:lnTo>
                  <a:lnTo>
                    <a:pt x="1933501" y="2852327"/>
                  </a:lnTo>
                  <a:cubicBezTo>
                    <a:pt x="1927113" y="2856890"/>
                    <a:pt x="1920243" y="2860768"/>
                    <a:pt x="1912892" y="2863962"/>
                  </a:cubicBezTo>
                  <a:cubicBezTo>
                    <a:pt x="1905540" y="2867157"/>
                    <a:pt x="1897149" y="2869970"/>
                    <a:pt x="1887719" y="2872404"/>
                  </a:cubicBezTo>
                  <a:lnTo>
                    <a:pt x="1887719" y="2842288"/>
                  </a:lnTo>
                  <a:cubicBezTo>
                    <a:pt x="1893600" y="2840362"/>
                    <a:pt x="1899279" y="2838334"/>
                    <a:pt x="1904754" y="2836204"/>
                  </a:cubicBezTo>
                  <a:cubicBezTo>
                    <a:pt x="1910230" y="2834075"/>
                    <a:pt x="1915630" y="2831692"/>
                    <a:pt x="1920953" y="2829055"/>
                  </a:cubicBezTo>
                  <a:cubicBezTo>
                    <a:pt x="1926277" y="2826419"/>
                    <a:pt x="1931651" y="2823478"/>
                    <a:pt x="1937075" y="2820234"/>
                  </a:cubicBezTo>
                  <a:cubicBezTo>
                    <a:pt x="1942501" y="2816989"/>
                    <a:pt x="1948103" y="2813288"/>
                    <a:pt x="1953883" y="2809130"/>
                  </a:cubicBezTo>
                  <a:close/>
                  <a:moveTo>
                    <a:pt x="1820829" y="2809130"/>
                  </a:moveTo>
                  <a:lnTo>
                    <a:pt x="1835735" y="2809130"/>
                  </a:lnTo>
                  <a:lnTo>
                    <a:pt x="1835735" y="3032110"/>
                  </a:lnTo>
                  <a:lnTo>
                    <a:pt x="1800447" y="3032110"/>
                  </a:lnTo>
                  <a:lnTo>
                    <a:pt x="1800447" y="2852327"/>
                  </a:lnTo>
                  <a:cubicBezTo>
                    <a:pt x="1794059" y="2856890"/>
                    <a:pt x="1787189" y="2860768"/>
                    <a:pt x="1779838" y="2863962"/>
                  </a:cubicBezTo>
                  <a:cubicBezTo>
                    <a:pt x="1772486" y="2867157"/>
                    <a:pt x="1764095" y="2869970"/>
                    <a:pt x="1754665" y="2872404"/>
                  </a:cubicBezTo>
                  <a:lnTo>
                    <a:pt x="1754665" y="2842288"/>
                  </a:lnTo>
                  <a:cubicBezTo>
                    <a:pt x="1760546" y="2840362"/>
                    <a:pt x="1766225" y="2838334"/>
                    <a:pt x="1771700" y="2836204"/>
                  </a:cubicBezTo>
                  <a:cubicBezTo>
                    <a:pt x="1777176" y="2834075"/>
                    <a:pt x="1782576" y="2831692"/>
                    <a:pt x="1787899" y="2829055"/>
                  </a:cubicBezTo>
                  <a:cubicBezTo>
                    <a:pt x="1793223" y="2826419"/>
                    <a:pt x="1798597" y="2823478"/>
                    <a:pt x="1804022" y="2820234"/>
                  </a:cubicBezTo>
                  <a:cubicBezTo>
                    <a:pt x="1809447" y="2816989"/>
                    <a:pt x="1815049" y="2813288"/>
                    <a:pt x="1820829" y="2809130"/>
                  </a:cubicBezTo>
                  <a:close/>
                  <a:moveTo>
                    <a:pt x="1678217" y="2809130"/>
                  </a:moveTo>
                  <a:lnTo>
                    <a:pt x="1693123" y="2809130"/>
                  </a:lnTo>
                  <a:lnTo>
                    <a:pt x="1693123" y="3032110"/>
                  </a:lnTo>
                  <a:lnTo>
                    <a:pt x="1657835" y="3032110"/>
                  </a:lnTo>
                  <a:lnTo>
                    <a:pt x="1657835" y="2852327"/>
                  </a:lnTo>
                  <a:cubicBezTo>
                    <a:pt x="1651447" y="2856890"/>
                    <a:pt x="1644577" y="2860768"/>
                    <a:pt x="1637226" y="2863962"/>
                  </a:cubicBezTo>
                  <a:cubicBezTo>
                    <a:pt x="1629874" y="2867157"/>
                    <a:pt x="1621483" y="2869970"/>
                    <a:pt x="1612053" y="2872404"/>
                  </a:cubicBezTo>
                  <a:lnTo>
                    <a:pt x="1612053" y="2842288"/>
                  </a:lnTo>
                  <a:cubicBezTo>
                    <a:pt x="1617934" y="2840362"/>
                    <a:pt x="1623613" y="2838334"/>
                    <a:pt x="1629088" y="2836204"/>
                  </a:cubicBezTo>
                  <a:cubicBezTo>
                    <a:pt x="1634564" y="2834075"/>
                    <a:pt x="1639964" y="2831692"/>
                    <a:pt x="1645287" y="2829055"/>
                  </a:cubicBezTo>
                  <a:cubicBezTo>
                    <a:pt x="1650611" y="2826419"/>
                    <a:pt x="1655985" y="2823478"/>
                    <a:pt x="1661410" y="2820234"/>
                  </a:cubicBezTo>
                  <a:cubicBezTo>
                    <a:pt x="1666835" y="2816989"/>
                    <a:pt x="1672437" y="2813288"/>
                    <a:pt x="1678217" y="2809130"/>
                  </a:cubicBezTo>
                  <a:close/>
                  <a:moveTo>
                    <a:pt x="922825" y="2809130"/>
                  </a:moveTo>
                  <a:lnTo>
                    <a:pt x="937731" y="2809130"/>
                  </a:lnTo>
                  <a:lnTo>
                    <a:pt x="937731" y="3032110"/>
                  </a:lnTo>
                  <a:lnTo>
                    <a:pt x="902443" y="3032110"/>
                  </a:lnTo>
                  <a:lnTo>
                    <a:pt x="902443" y="2852327"/>
                  </a:lnTo>
                  <a:cubicBezTo>
                    <a:pt x="896055" y="2856890"/>
                    <a:pt x="889185" y="2860768"/>
                    <a:pt x="881834" y="2863962"/>
                  </a:cubicBezTo>
                  <a:cubicBezTo>
                    <a:pt x="874482" y="2867157"/>
                    <a:pt x="866091" y="2869970"/>
                    <a:pt x="856661" y="2872404"/>
                  </a:cubicBezTo>
                  <a:lnTo>
                    <a:pt x="856661" y="2842288"/>
                  </a:lnTo>
                  <a:cubicBezTo>
                    <a:pt x="862542" y="2840362"/>
                    <a:pt x="868221" y="2838334"/>
                    <a:pt x="873696" y="2836204"/>
                  </a:cubicBezTo>
                  <a:cubicBezTo>
                    <a:pt x="879172" y="2834075"/>
                    <a:pt x="884572" y="2831692"/>
                    <a:pt x="889895" y="2829055"/>
                  </a:cubicBezTo>
                  <a:cubicBezTo>
                    <a:pt x="895219" y="2826419"/>
                    <a:pt x="900593" y="2823478"/>
                    <a:pt x="906018" y="2820234"/>
                  </a:cubicBezTo>
                  <a:cubicBezTo>
                    <a:pt x="911443" y="2816989"/>
                    <a:pt x="917045" y="2813288"/>
                    <a:pt x="922825" y="2809130"/>
                  </a:cubicBezTo>
                  <a:close/>
                  <a:moveTo>
                    <a:pt x="789771" y="2809130"/>
                  </a:moveTo>
                  <a:lnTo>
                    <a:pt x="804677" y="2809130"/>
                  </a:lnTo>
                  <a:lnTo>
                    <a:pt x="804677" y="3032110"/>
                  </a:lnTo>
                  <a:lnTo>
                    <a:pt x="769389" y="3032110"/>
                  </a:lnTo>
                  <a:lnTo>
                    <a:pt x="769389" y="2852327"/>
                  </a:lnTo>
                  <a:cubicBezTo>
                    <a:pt x="763001" y="2856890"/>
                    <a:pt x="756131" y="2860768"/>
                    <a:pt x="748780" y="2863962"/>
                  </a:cubicBezTo>
                  <a:cubicBezTo>
                    <a:pt x="741428" y="2867157"/>
                    <a:pt x="733037" y="2869970"/>
                    <a:pt x="723607" y="2872404"/>
                  </a:cubicBezTo>
                  <a:lnTo>
                    <a:pt x="723607" y="2842288"/>
                  </a:lnTo>
                  <a:cubicBezTo>
                    <a:pt x="729488" y="2840362"/>
                    <a:pt x="735167" y="2838334"/>
                    <a:pt x="740642" y="2836204"/>
                  </a:cubicBezTo>
                  <a:cubicBezTo>
                    <a:pt x="746118" y="2834075"/>
                    <a:pt x="751518" y="2831692"/>
                    <a:pt x="756841" y="2829055"/>
                  </a:cubicBezTo>
                  <a:cubicBezTo>
                    <a:pt x="762165" y="2826419"/>
                    <a:pt x="767539" y="2823478"/>
                    <a:pt x="772964" y="2820234"/>
                  </a:cubicBezTo>
                  <a:cubicBezTo>
                    <a:pt x="778389" y="2816989"/>
                    <a:pt x="783991" y="2813288"/>
                    <a:pt x="789771" y="2809130"/>
                  </a:cubicBezTo>
                  <a:close/>
                  <a:moveTo>
                    <a:pt x="10091849" y="2809129"/>
                  </a:moveTo>
                  <a:cubicBezTo>
                    <a:pt x="10139293" y="2809129"/>
                    <a:pt x="10163016" y="2845992"/>
                    <a:pt x="10163016" y="2919717"/>
                  </a:cubicBezTo>
                  <a:cubicBezTo>
                    <a:pt x="10163016" y="2956228"/>
                    <a:pt x="10156320" y="2984088"/>
                    <a:pt x="10142930" y="3003296"/>
                  </a:cubicBezTo>
                  <a:cubicBezTo>
                    <a:pt x="10129539" y="3022505"/>
                    <a:pt x="10110807" y="3032109"/>
                    <a:pt x="10086733" y="3032109"/>
                  </a:cubicBezTo>
                  <a:cubicBezTo>
                    <a:pt x="10064265" y="3032109"/>
                    <a:pt x="10046736" y="3022931"/>
                    <a:pt x="10034148" y="3004575"/>
                  </a:cubicBezTo>
                  <a:cubicBezTo>
                    <a:pt x="10021559" y="2986219"/>
                    <a:pt x="10015265" y="2959688"/>
                    <a:pt x="10015265" y="2924983"/>
                  </a:cubicBezTo>
                  <a:cubicBezTo>
                    <a:pt x="10015265" y="2886866"/>
                    <a:pt x="10021835" y="2858029"/>
                    <a:pt x="10034975" y="2838469"/>
                  </a:cubicBezTo>
                  <a:cubicBezTo>
                    <a:pt x="10048116" y="2818909"/>
                    <a:pt x="10067073" y="2809129"/>
                    <a:pt x="10091849" y="2809129"/>
                  </a:cubicBezTo>
                  <a:close/>
                  <a:moveTo>
                    <a:pt x="9870926" y="2809129"/>
                  </a:moveTo>
                  <a:cubicBezTo>
                    <a:pt x="9918370" y="2809129"/>
                    <a:pt x="9942093" y="2845992"/>
                    <a:pt x="9942093" y="2919717"/>
                  </a:cubicBezTo>
                  <a:cubicBezTo>
                    <a:pt x="9942093" y="2956228"/>
                    <a:pt x="9935397" y="2984088"/>
                    <a:pt x="9922007" y="3003296"/>
                  </a:cubicBezTo>
                  <a:cubicBezTo>
                    <a:pt x="9908616" y="3022505"/>
                    <a:pt x="9889884" y="3032109"/>
                    <a:pt x="9865810" y="3032109"/>
                  </a:cubicBezTo>
                  <a:cubicBezTo>
                    <a:pt x="9843342" y="3032109"/>
                    <a:pt x="9825813" y="3022931"/>
                    <a:pt x="9813225" y="3004575"/>
                  </a:cubicBezTo>
                  <a:cubicBezTo>
                    <a:pt x="9800636" y="2986219"/>
                    <a:pt x="9794342" y="2959688"/>
                    <a:pt x="9794342" y="2924983"/>
                  </a:cubicBezTo>
                  <a:cubicBezTo>
                    <a:pt x="9794342" y="2886866"/>
                    <a:pt x="9800912" y="2858029"/>
                    <a:pt x="9814052" y="2838469"/>
                  </a:cubicBezTo>
                  <a:cubicBezTo>
                    <a:pt x="9827193" y="2818909"/>
                    <a:pt x="9846150" y="2809129"/>
                    <a:pt x="9870926" y="2809129"/>
                  </a:cubicBezTo>
                  <a:close/>
                  <a:moveTo>
                    <a:pt x="9209265" y="2809129"/>
                  </a:moveTo>
                  <a:cubicBezTo>
                    <a:pt x="9256709" y="2809129"/>
                    <a:pt x="9280432" y="2845992"/>
                    <a:pt x="9280432" y="2919717"/>
                  </a:cubicBezTo>
                  <a:cubicBezTo>
                    <a:pt x="9280432" y="2956228"/>
                    <a:pt x="9273736" y="2984088"/>
                    <a:pt x="9260346" y="3003296"/>
                  </a:cubicBezTo>
                  <a:cubicBezTo>
                    <a:pt x="9246955" y="3022505"/>
                    <a:pt x="9228223" y="3032109"/>
                    <a:pt x="9204149" y="3032109"/>
                  </a:cubicBezTo>
                  <a:cubicBezTo>
                    <a:pt x="9181681" y="3032109"/>
                    <a:pt x="9164152" y="3022931"/>
                    <a:pt x="9151564" y="3004575"/>
                  </a:cubicBezTo>
                  <a:cubicBezTo>
                    <a:pt x="9138975" y="2986219"/>
                    <a:pt x="9132681" y="2959688"/>
                    <a:pt x="9132681" y="2924983"/>
                  </a:cubicBezTo>
                  <a:cubicBezTo>
                    <a:pt x="9132681" y="2886866"/>
                    <a:pt x="9139251" y="2858029"/>
                    <a:pt x="9152391" y="2838469"/>
                  </a:cubicBezTo>
                  <a:cubicBezTo>
                    <a:pt x="9165532" y="2818909"/>
                    <a:pt x="9184489" y="2809129"/>
                    <a:pt x="9209265" y="2809129"/>
                  </a:cubicBezTo>
                  <a:close/>
                  <a:moveTo>
                    <a:pt x="8988342" y="2809129"/>
                  </a:moveTo>
                  <a:cubicBezTo>
                    <a:pt x="9035786" y="2809129"/>
                    <a:pt x="9059509" y="2845992"/>
                    <a:pt x="9059509" y="2919717"/>
                  </a:cubicBezTo>
                  <a:cubicBezTo>
                    <a:pt x="9059509" y="2956228"/>
                    <a:pt x="9052813" y="2984088"/>
                    <a:pt x="9039423" y="3003296"/>
                  </a:cubicBezTo>
                  <a:cubicBezTo>
                    <a:pt x="9026032" y="3022505"/>
                    <a:pt x="9007300" y="3032109"/>
                    <a:pt x="8983226" y="3032109"/>
                  </a:cubicBezTo>
                  <a:cubicBezTo>
                    <a:pt x="8960758" y="3032109"/>
                    <a:pt x="8943229" y="3022931"/>
                    <a:pt x="8930641" y="3004575"/>
                  </a:cubicBezTo>
                  <a:cubicBezTo>
                    <a:pt x="8918052" y="2986219"/>
                    <a:pt x="8911758" y="2959688"/>
                    <a:pt x="8911758" y="2924983"/>
                  </a:cubicBezTo>
                  <a:cubicBezTo>
                    <a:pt x="8911758" y="2886866"/>
                    <a:pt x="8918328" y="2858029"/>
                    <a:pt x="8931468" y="2838469"/>
                  </a:cubicBezTo>
                  <a:cubicBezTo>
                    <a:pt x="8944609" y="2818909"/>
                    <a:pt x="8963566" y="2809129"/>
                    <a:pt x="8988342" y="2809129"/>
                  </a:cubicBezTo>
                  <a:close/>
                  <a:moveTo>
                    <a:pt x="6138880" y="2809129"/>
                  </a:moveTo>
                  <a:cubicBezTo>
                    <a:pt x="6186325" y="2809129"/>
                    <a:pt x="6210047" y="2845992"/>
                    <a:pt x="6210047" y="2919717"/>
                  </a:cubicBezTo>
                  <a:cubicBezTo>
                    <a:pt x="6210047" y="2956228"/>
                    <a:pt x="6203352" y="2984088"/>
                    <a:pt x="6189961" y="3003296"/>
                  </a:cubicBezTo>
                  <a:cubicBezTo>
                    <a:pt x="6176570" y="3022505"/>
                    <a:pt x="6157838" y="3032109"/>
                    <a:pt x="6133764" y="3032109"/>
                  </a:cubicBezTo>
                  <a:cubicBezTo>
                    <a:pt x="6111296" y="3032109"/>
                    <a:pt x="6093767" y="3022931"/>
                    <a:pt x="6081179" y="3004575"/>
                  </a:cubicBezTo>
                  <a:cubicBezTo>
                    <a:pt x="6068590" y="2986219"/>
                    <a:pt x="6062296" y="2959688"/>
                    <a:pt x="6062296" y="2924983"/>
                  </a:cubicBezTo>
                  <a:cubicBezTo>
                    <a:pt x="6062296" y="2886866"/>
                    <a:pt x="6068866" y="2858029"/>
                    <a:pt x="6082006" y="2838469"/>
                  </a:cubicBezTo>
                  <a:cubicBezTo>
                    <a:pt x="6095147" y="2818909"/>
                    <a:pt x="6114104" y="2809129"/>
                    <a:pt x="6138880" y="2809129"/>
                  </a:cubicBezTo>
                  <a:close/>
                  <a:moveTo>
                    <a:pt x="4035798" y="2809129"/>
                  </a:moveTo>
                  <a:cubicBezTo>
                    <a:pt x="4083242" y="2809129"/>
                    <a:pt x="4106965" y="2845992"/>
                    <a:pt x="4106965" y="2919717"/>
                  </a:cubicBezTo>
                  <a:cubicBezTo>
                    <a:pt x="4106965" y="2956228"/>
                    <a:pt x="4100270" y="2984088"/>
                    <a:pt x="4086879" y="3003296"/>
                  </a:cubicBezTo>
                  <a:cubicBezTo>
                    <a:pt x="4073488" y="3022505"/>
                    <a:pt x="4054756" y="3032109"/>
                    <a:pt x="4030682" y="3032109"/>
                  </a:cubicBezTo>
                  <a:cubicBezTo>
                    <a:pt x="4008214" y="3032109"/>
                    <a:pt x="3990685" y="3022931"/>
                    <a:pt x="3978097" y="3004575"/>
                  </a:cubicBezTo>
                  <a:cubicBezTo>
                    <a:pt x="3965508" y="2986219"/>
                    <a:pt x="3959214" y="2959688"/>
                    <a:pt x="3959214" y="2924983"/>
                  </a:cubicBezTo>
                  <a:cubicBezTo>
                    <a:pt x="3959214" y="2886866"/>
                    <a:pt x="3965784" y="2858029"/>
                    <a:pt x="3978924" y="2838469"/>
                  </a:cubicBezTo>
                  <a:cubicBezTo>
                    <a:pt x="3992065" y="2818909"/>
                    <a:pt x="4011022" y="2809129"/>
                    <a:pt x="4035798" y="2809129"/>
                  </a:cubicBezTo>
                  <a:close/>
                  <a:moveTo>
                    <a:pt x="3814874" y="2809129"/>
                  </a:moveTo>
                  <a:cubicBezTo>
                    <a:pt x="3862319" y="2809129"/>
                    <a:pt x="3886042" y="2845992"/>
                    <a:pt x="3886042" y="2919717"/>
                  </a:cubicBezTo>
                  <a:cubicBezTo>
                    <a:pt x="3886042" y="2956228"/>
                    <a:pt x="3879345" y="2984088"/>
                    <a:pt x="3865956" y="3003296"/>
                  </a:cubicBezTo>
                  <a:cubicBezTo>
                    <a:pt x="3852564" y="3022505"/>
                    <a:pt x="3833832" y="3032109"/>
                    <a:pt x="3809759" y="3032109"/>
                  </a:cubicBezTo>
                  <a:cubicBezTo>
                    <a:pt x="3787289" y="3032109"/>
                    <a:pt x="3769762" y="3022931"/>
                    <a:pt x="3757174" y="3004575"/>
                  </a:cubicBezTo>
                  <a:cubicBezTo>
                    <a:pt x="3744585" y="2986219"/>
                    <a:pt x="3738291" y="2959688"/>
                    <a:pt x="3738291" y="2924983"/>
                  </a:cubicBezTo>
                  <a:cubicBezTo>
                    <a:pt x="3738291" y="2886866"/>
                    <a:pt x="3744861" y="2858029"/>
                    <a:pt x="3758001" y="2838469"/>
                  </a:cubicBezTo>
                  <a:cubicBezTo>
                    <a:pt x="3771141" y="2818909"/>
                    <a:pt x="3790098" y="2809129"/>
                    <a:pt x="3814874" y="2809129"/>
                  </a:cubicBezTo>
                  <a:close/>
                  <a:moveTo>
                    <a:pt x="3153215" y="2809129"/>
                  </a:moveTo>
                  <a:cubicBezTo>
                    <a:pt x="3200659" y="2809129"/>
                    <a:pt x="3224382" y="2845992"/>
                    <a:pt x="3224382" y="2919717"/>
                  </a:cubicBezTo>
                  <a:cubicBezTo>
                    <a:pt x="3224382" y="2956228"/>
                    <a:pt x="3217686" y="2984088"/>
                    <a:pt x="3204296" y="3003296"/>
                  </a:cubicBezTo>
                  <a:cubicBezTo>
                    <a:pt x="3190905" y="3022505"/>
                    <a:pt x="3172172" y="3032109"/>
                    <a:pt x="3148099" y="3032109"/>
                  </a:cubicBezTo>
                  <a:cubicBezTo>
                    <a:pt x="3125630" y="3032109"/>
                    <a:pt x="3108102" y="3022931"/>
                    <a:pt x="3095514" y="3004575"/>
                  </a:cubicBezTo>
                  <a:cubicBezTo>
                    <a:pt x="3082925" y="2986219"/>
                    <a:pt x="3076631" y="2959688"/>
                    <a:pt x="3076631" y="2924983"/>
                  </a:cubicBezTo>
                  <a:cubicBezTo>
                    <a:pt x="3076631" y="2886866"/>
                    <a:pt x="3083201" y="2858029"/>
                    <a:pt x="3096341" y="2838469"/>
                  </a:cubicBezTo>
                  <a:cubicBezTo>
                    <a:pt x="3109481" y="2818909"/>
                    <a:pt x="3128439" y="2809129"/>
                    <a:pt x="3153215" y="2809129"/>
                  </a:cubicBezTo>
                  <a:close/>
                  <a:moveTo>
                    <a:pt x="2932291" y="2809129"/>
                  </a:moveTo>
                  <a:cubicBezTo>
                    <a:pt x="2979736" y="2809129"/>
                    <a:pt x="3003459" y="2845992"/>
                    <a:pt x="3003459" y="2919717"/>
                  </a:cubicBezTo>
                  <a:cubicBezTo>
                    <a:pt x="3003459" y="2956228"/>
                    <a:pt x="2996763" y="2984088"/>
                    <a:pt x="2983373" y="3003296"/>
                  </a:cubicBezTo>
                  <a:cubicBezTo>
                    <a:pt x="2969982" y="3022505"/>
                    <a:pt x="2951249" y="3032109"/>
                    <a:pt x="2927176" y="3032109"/>
                  </a:cubicBezTo>
                  <a:cubicBezTo>
                    <a:pt x="2904707" y="3032109"/>
                    <a:pt x="2887179" y="3022931"/>
                    <a:pt x="2874591" y="3004575"/>
                  </a:cubicBezTo>
                  <a:cubicBezTo>
                    <a:pt x="2862002" y="2986219"/>
                    <a:pt x="2855708" y="2959688"/>
                    <a:pt x="2855708" y="2924983"/>
                  </a:cubicBezTo>
                  <a:cubicBezTo>
                    <a:pt x="2855708" y="2886866"/>
                    <a:pt x="2862278" y="2858029"/>
                    <a:pt x="2875418" y="2838469"/>
                  </a:cubicBezTo>
                  <a:cubicBezTo>
                    <a:pt x="2888558" y="2818909"/>
                    <a:pt x="2907515" y="2809129"/>
                    <a:pt x="2932291" y="2809129"/>
                  </a:cubicBezTo>
                  <a:close/>
                  <a:moveTo>
                    <a:pt x="79694" y="2807119"/>
                  </a:moveTo>
                  <a:cubicBezTo>
                    <a:pt x="127138" y="2807119"/>
                    <a:pt x="150861" y="2843982"/>
                    <a:pt x="150861" y="2917707"/>
                  </a:cubicBezTo>
                  <a:cubicBezTo>
                    <a:pt x="150861" y="2954218"/>
                    <a:pt x="144165" y="2982078"/>
                    <a:pt x="130775" y="3001286"/>
                  </a:cubicBezTo>
                  <a:cubicBezTo>
                    <a:pt x="117384" y="3020495"/>
                    <a:pt x="98652" y="3030099"/>
                    <a:pt x="74578" y="3030099"/>
                  </a:cubicBezTo>
                  <a:cubicBezTo>
                    <a:pt x="52110" y="3030099"/>
                    <a:pt x="34581" y="3020921"/>
                    <a:pt x="21993" y="3002565"/>
                  </a:cubicBezTo>
                  <a:cubicBezTo>
                    <a:pt x="9404" y="2984209"/>
                    <a:pt x="3110" y="2957678"/>
                    <a:pt x="3110" y="2922973"/>
                  </a:cubicBezTo>
                  <a:cubicBezTo>
                    <a:pt x="3110" y="2884856"/>
                    <a:pt x="9680" y="2856019"/>
                    <a:pt x="22820" y="2836459"/>
                  </a:cubicBezTo>
                  <a:cubicBezTo>
                    <a:pt x="35961" y="2816899"/>
                    <a:pt x="54918" y="2807119"/>
                    <a:pt x="79694" y="2807119"/>
                  </a:cubicBezTo>
                  <a:close/>
                  <a:moveTo>
                    <a:pt x="9131180" y="2508571"/>
                  </a:moveTo>
                  <a:cubicBezTo>
                    <a:pt x="9105000" y="2508571"/>
                    <a:pt x="9091910" y="2537409"/>
                    <a:pt x="9091910" y="2595085"/>
                  </a:cubicBezTo>
                  <a:cubicBezTo>
                    <a:pt x="9091910" y="2649049"/>
                    <a:pt x="9104749" y="2676032"/>
                    <a:pt x="9130428" y="2676032"/>
                  </a:cubicBezTo>
                  <a:cubicBezTo>
                    <a:pt x="9155704" y="2676032"/>
                    <a:pt x="9168343" y="2648598"/>
                    <a:pt x="9168343" y="2593731"/>
                  </a:cubicBezTo>
                  <a:cubicBezTo>
                    <a:pt x="9168343" y="2536957"/>
                    <a:pt x="9155955" y="2508571"/>
                    <a:pt x="9131180" y="2508571"/>
                  </a:cubicBezTo>
                  <a:close/>
                  <a:moveTo>
                    <a:pt x="8789423" y="2508571"/>
                  </a:moveTo>
                  <a:cubicBezTo>
                    <a:pt x="8763243" y="2508571"/>
                    <a:pt x="8750153" y="2537409"/>
                    <a:pt x="8750153" y="2595085"/>
                  </a:cubicBezTo>
                  <a:cubicBezTo>
                    <a:pt x="8750153" y="2649049"/>
                    <a:pt x="8762992" y="2676032"/>
                    <a:pt x="8788671" y="2676032"/>
                  </a:cubicBezTo>
                  <a:cubicBezTo>
                    <a:pt x="8813947" y="2676032"/>
                    <a:pt x="8826586" y="2648598"/>
                    <a:pt x="8826586" y="2593731"/>
                  </a:cubicBezTo>
                  <a:cubicBezTo>
                    <a:pt x="8826586" y="2536957"/>
                    <a:pt x="8814198" y="2508571"/>
                    <a:pt x="8789423" y="2508571"/>
                  </a:cubicBezTo>
                  <a:close/>
                  <a:moveTo>
                    <a:pt x="8088021" y="2508571"/>
                  </a:moveTo>
                  <a:cubicBezTo>
                    <a:pt x="8061841" y="2508571"/>
                    <a:pt x="8048751" y="2537409"/>
                    <a:pt x="8048751" y="2595085"/>
                  </a:cubicBezTo>
                  <a:cubicBezTo>
                    <a:pt x="8048751" y="2649049"/>
                    <a:pt x="8061590" y="2676032"/>
                    <a:pt x="8087269" y="2676032"/>
                  </a:cubicBezTo>
                  <a:cubicBezTo>
                    <a:pt x="8112546" y="2676032"/>
                    <a:pt x="8125184" y="2648598"/>
                    <a:pt x="8125184" y="2593731"/>
                  </a:cubicBezTo>
                  <a:cubicBezTo>
                    <a:pt x="8125184" y="2536957"/>
                    <a:pt x="8112796" y="2508571"/>
                    <a:pt x="8088021" y="2508571"/>
                  </a:cubicBezTo>
                  <a:close/>
                  <a:moveTo>
                    <a:pt x="6829532" y="2508571"/>
                  </a:moveTo>
                  <a:cubicBezTo>
                    <a:pt x="6803352" y="2508571"/>
                    <a:pt x="6790262" y="2537409"/>
                    <a:pt x="6790262" y="2595085"/>
                  </a:cubicBezTo>
                  <a:cubicBezTo>
                    <a:pt x="6790262" y="2649049"/>
                    <a:pt x="6803101" y="2676032"/>
                    <a:pt x="6828780" y="2676032"/>
                  </a:cubicBezTo>
                  <a:cubicBezTo>
                    <a:pt x="6854057" y="2676032"/>
                    <a:pt x="6866695" y="2648598"/>
                    <a:pt x="6866695" y="2593731"/>
                  </a:cubicBezTo>
                  <a:cubicBezTo>
                    <a:pt x="6866695" y="2536957"/>
                    <a:pt x="6854307" y="2508571"/>
                    <a:pt x="6829532" y="2508571"/>
                  </a:cubicBezTo>
                  <a:close/>
                  <a:moveTo>
                    <a:pt x="6616438" y="2508571"/>
                  </a:moveTo>
                  <a:cubicBezTo>
                    <a:pt x="6590258" y="2508571"/>
                    <a:pt x="6577168" y="2537409"/>
                    <a:pt x="6577168" y="2595085"/>
                  </a:cubicBezTo>
                  <a:cubicBezTo>
                    <a:pt x="6577168" y="2649049"/>
                    <a:pt x="6590007" y="2676032"/>
                    <a:pt x="6615686" y="2676032"/>
                  </a:cubicBezTo>
                  <a:cubicBezTo>
                    <a:pt x="6640963" y="2676032"/>
                    <a:pt x="6653601" y="2648598"/>
                    <a:pt x="6653601" y="2593731"/>
                  </a:cubicBezTo>
                  <a:cubicBezTo>
                    <a:pt x="6653601" y="2536957"/>
                    <a:pt x="6641213" y="2508571"/>
                    <a:pt x="6616438" y="2508571"/>
                  </a:cubicBezTo>
                  <a:close/>
                  <a:moveTo>
                    <a:pt x="3070764" y="2508571"/>
                  </a:moveTo>
                  <a:cubicBezTo>
                    <a:pt x="3044584" y="2508571"/>
                    <a:pt x="3031494" y="2537409"/>
                    <a:pt x="3031494" y="2595085"/>
                  </a:cubicBezTo>
                  <a:cubicBezTo>
                    <a:pt x="3031494" y="2649049"/>
                    <a:pt x="3044333" y="2676032"/>
                    <a:pt x="3070012" y="2676032"/>
                  </a:cubicBezTo>
                  <a:cubicBezTo>
                    <a:pt x="3095289" y="2676032"/>
                    <a:pt x="3107927" y="2648598"/>
                    <a:pt x="3107927" y="2593731"/>
                  </a:cubicBezTo>
                  <a:cubicBezTo>
                    <a:pt x="3107927" y="2536957"/>
                    <a:pt x="3095539" y="2508571"/>
                    <a:pt x="3070764" y="2508571"/>
                  </a:cubicBezTo>
                  <a:close/>
                  <a:moveTo>
                    <a:pt x="2723961" y="2508571"/>
                  </a:moveTo>
                  <a:cubicBezTo>
                    <a:pt x="2697781" y="2508571"/>
                    <a:pt x="2684691" y="2537409"/>
                    <a:pt x="2684691" y="2595085"/>
                  </a:cubicBezTo>
                  <a:cubicBezTo>
                    <a:pt x="2684691" y="2649049"/>
                    <a:pt x="2697530" y="2676032"/>
                    <a:pt x="2723209" y="2676032"/>
                  </a:cubicBezTo>
                  <a:cubicBezTo>
                    <a:pt x="2748486" y="2676032"/>
                    <a:pt x="2761124" y="2648598"/>
                    <a:pt x="2761124" y="2593731"/>
                  </a:cubicBezTo>
                  <a:cubicBezTo>
                    <a:pt x="2761124" y="2536957"/>
                    <a:pt x="2748736" y="2508571"/>
                    <a:pt x="2723961" y="2508571"/>
                  </a:cubicBezTo>
                  <a:close/>
                  <a:moveTo>
                    <a:pt x="2032595" y="2508571"/>
                  </a:moveTo>
                  <a:cubicBezTo>
                    <a:pt x="2006416" y="2508571"/>
                    <a:pt x="1993326" y="2537409"/>
                    <a:pt x="1993326" y="2595085"/>
                  </a:cubicBezTo>
                  <a:cubicBezTo>
                    <a:pt x="1993326" y="2649049"/>
                    <a:pt x="2006165" y="2676032"/>
                    <a:pt x="2031843" y="2676032"/>
                  </a:cubicBezTo>
                  <a:cubicBezTo>
                    <a:pt x="2057120" y="2676032"/>
                    <a:pt x="2069759" y="2648598"/>
                    <a:pt x="2069759" y="2593731"/>
                  </a:cubicBezTo>
                  <a:cubicBezTo>
                    <a:pt x="2069759" y="2536957"/>
                    <a:pt x="2057371" y="2508571"/>
                    <a:pt x="2032595" y="2508571"/>
                  </a:cubicBezTo>
                  <a:close/>
                  <a:moveTo>
                    <a:pt x="777389" y="2508571"/>
                  </a:moveTo>
                  <a:cubicBezTo>
                    <a:pt x="751209" y="2508571"/>
                    <a:pt x="738119" y="2537409"/>
                    <a:pt x="738119" y="2595085"/>
                  </a:cubicBezTo>
                  <a:cubicBezTo>
                    <a:pt x="738119" y="2649049"/>
                    <a:pt x="750958" y="2676032"/>
                    <a:pt x="776637" y="2676032"/>
                  </a:cubicBezTo>
                  <a:cubicBezTo>
                    <a:pt x="801914" y="2676032"/>
                    <a:pt x="814552" y="2648598"/>
                    <a:pt x="814552" y="2593731"/>
                  </a:cubicBezTo>
                  <a:cubicBezTo>
                    <a:pt x="814552" y="2536957"/>
                    <a:pt x="802164" y="2508571"/>
                    <a:pt x="777389" y="2508571"/>
                  </a:cubicBezTo>
                  <a:close/>
                  <a:moveTo>
                    <a:pt x="556789" y="2508571"/>
                  </a:moveTo>
                  <a:cubicBezTo>
                    <a:pt x="530609" y="2508571"/>
                    <a:pt x="517519" y="2537409"/>
                    <a:pt x="517519" y="2595085"/>
                  </a:cubicBezTo>
                  <a:cubicBezTo>
                    <a:pt x="517519" y="2649049"/>
                    <a:pt x="530358" y="2676032"/>
                    <a:pt x="556037" y="2676032"/>
                  </a:cubicBezTo>
                  <a:cubicBezTo>
                    <a:pt x="581314" y="2676032"/>
                    <a:pt x="593952" y="2648598"/>
                    <a:pt x="593952" y="2593731"/>
                  </a:cubicBezTo>
                  <a:cubicBezTo>
                    <a:pt x="593952" y="2536957"/>
                    <a:pt x="581564" y="2508571"/>
                    <a:pt x="556789" y="2508571"/>
                  </a:cubicBezTo>
                  <a:close/>
                  <a:moveTo>
                    <a:pt x="12035876" y="2480736"/>
                  </a:moveTo>
                  <a:lnTo>
                    <a:pt x="12050782" y="2480736"/>
                  </a:lnTo>
                  <a:lnTo>
                    <a:pt x="12050782" y="2703716"/>
                  </a:lnTo>
                  <a:lnTo>
                    <a:pt x="12015494" y="2703716"/>
                  </a:lnTo>
                  <a:lnTo>
                    <a:pt x="12015494" y="2523933"/>
                  </a:lnTo>
                  <a:cubicBezTo>
                    <a:pt x="12009106" y="2528496"/>
                    <a:pt x="12002236" y="2532374"/>
                    <a:pt x="11994885" y="2535568"/>
                  </a:cubicBezTo>
                  <a:cubicBezTo>
                    <a:pt x="11987533" y="2538763"/>
                    <a:pt x="11979142" y="2541576"/>
                    <a:pt x="11969712" y="2544010"/>
                  </a:cubicBezTo>
                  <a:lnTo>
                    <a:pt x="11969712" y="2513894"/>
                  </a:lnTo>
                  <a:cubicBezTo>
                    <a:pt x="11975593" y="2511968"/>
                    <a:pt x="11981272" y="2509939"/>
                    <a:pt x="11986747" y="2507810"/>
                  </a:cubicBezTo>
                  <a:cubicBezTo>
                    <a:pt x="11992223" y="2505681"/>
                    <a:pt x="11997623" y="2503298"/>
                    <a:pt x="12002946" y="2500661"/>
                  </a:cubicBezTo>
                  <a:cubicBezTo>
                    <a:pt x="12008270" y="2498025"/>
                    <a:pt x="12013644" y="2495084"/>
                    <a:pt x="12019069" y="2491839"/>
                  </a:cubicBezTo>
                  <a:cubicBezTo>
                    <a:pt x="12024494" y="2488595"/>
                    <a:pt x="12030096" y="2484893"/>
                    <a:pt x="12035876" y="2480736"/>
                  </a:cubicBezTo>
                  <a:close/>
                  <a:moveTo>
                    <a:pt x="11663311" y="2480736"/>
                  </a:moveTo>
                  <a:lnTo>
                    <a:pt x="11678217" y="2480736"/>
                  </a:lnTo>
                  <a:lnTo>
                    <a:pt x="11678217" y="2703716"/>
                  </a:lnTo>
                  <a:lnTo>
                    <a:pt x="11642929" y="2703716"/>
                  </a:lnTo>
                  <a:lnTo>
                    <a:pt x="11642929" y="2523933"/>
                  </a:lnTo>
                  <a:cubicBezTo>
                    <a:pt x="11636541" y="2528496"/>
                    <a:pt x="11629671" y="2532374"/>
                    <a:pt x="11622320" y="2535568"/>
                  </a:cubicBezTo>
                  <a:cubicBezTo>
                    <a:pt x="11614968" y="2538763"/>
                    <a:pt x="11606577" y="2541576"/>
                    <a:pt x="11597147" y="2544010"/>
                  </a:cubicBezTo>
                  <a:lnTo>
                    <a:pt x="11597147" y="2513894"/>
                  </a:lnTo>
                  <a:cubicBezTo>
                    <a:pt x="11603028" y="2511968"/>
                    <a:pt x="11608707" y="2509939"/>
                    <a:pt x="11614182" y="2507810"/>
                  </a:cubicBezTo>
                  <a:cubicBezTo>
                    <a:pt x="11619658" y="2505681"/>
                    <a:pt x="11625058" y="2503298"/>
                    <a:pt x="11630381" y="2500661"/>
                  </a:cubicBezTo>
                  <a:cubicBezTo>
                    <a:pt x="11635705" y="2498025"/>
                    <a:pt x="11641079" y="2495084"/>
                    <a:pt x="11646504" y="2491839"/>
                  </a:cubicBezTo>
                  <a:cubicBezTo>
                    <a:pt x="11651929" y="2488595"/>
                    <a:pt x="11657531" y="2484893"/>
                    <a:pt x="11663311" y="2480736"/>
                  </a:cubicBezTo>
                  <a:close/>
                  <a:moveTo>
                    <a:pt x="11513338" y="2480736"/>
                  </a:moveTo>
                  <a:lnTo>
                    <a:pt x="11528244" y="2480736"/>
                  </a:lnTo>
                  <a:lnTo>
                    <a:pt x="11528244" y="2703716"/>
                  </a:lnTo>
                  <a:lnTo>
                    <a:pt x="11492956" y="2703716"/>
                  </a:lnTo>
                  <a:lnTo>
                    <a:pt x="11492956" y="2523933"/>
                  </a:lnTo>
                  <a:cubicBezTo>
                    <a:pt x="11486568" y="2528496"/>
                    <a:pt x="11479698" y="2532374"/>
                    <a:pt x="11472347" y="2535568"/>
                  </a:cubicBezTo>
                  <a:cubicBezTo>
                    <a:pt x="11464995" y="2538763"/>
                    <a:pt x="11456604" y="2541576"/>
                    <a:pt x="11447174" y="2544010"/>
                  </a:cubicBezTo>
                  <a:lnTo>
                    <a:pt x="11447174" y="2513894"/>
                  </a:lnTo>
                  <a:cubicBezTo>
                    <a:pt x="11453055" y="2511968"/>
                    <a:pt x="11458734" y="2509939"/>
                    <a:pt x="11464209" y="2507810"/>
                  </a:cubicBezTo>
                  <a:cubicBezTo>
                    <a:pt x="11469685" y="2505681"/>
                    <a:pt x="11475085" y="2503298"/>
                    <a:pt x="11480408" y="2500661"/>
                  </a:cubicBezTo>
                  <a:cubicBezTo>
                    <a:pt x="11485732" y="2498025"/>
                    <a:pt x="11491106" y="2495084"/>
                    <a:pt x="11496531" y="2491839"/>
                  </a:cubicBezTo>
                  <a:cubicBezTo>
                    <a:pt x="11501956" y="2488595"/>
                    <a:pt x="11507558" y="2484893"/>
                    <a:pt x="11513338" y="2480736"/>
                  </a:cubicBezTo>
                  <a:close/>
                  <a:moveTo>
                    <a:pt x="11363365" y="2480736"/>
                  </a:moveTo>
                  <a:lnTo>
                    <a:pt x="11378271" y="2480736"/>
                  </a:lnTo>
                  <a:lnTo>
                    <a:pt x="11378271" y="2703716"/>
                  </a:lnTo>
                  <a:lnTo>
                    <a:pt x="11342983" y="2703716"/>
                  </a:lnTo>
                  <a:lnTo>
                    <a:pt x="11342983" y="2523933"/>
                  </a:lnTo>
                  <a:cubicBezTo>
                    <a:pt x="11336595" y="2528496"/>
                    <a:pt x="11329725" y="2532374"/>
                    <a:pt x="11322374" y="2535568"/>
                  </a:cubicBezTo>
                  <a:cubicBezTo>
                    <a:pt x="11315022" y="2538763"/>
                    <a:pt x="11306631" y="2541576"/>
                    <a:pt x="11297201" y="2544010"/>
                  </a:cubicBezTo>
                  <a:lnTo>
                    <a:pt x="11297201" y="2513894"/>
                  </a:lnTo>
                  <a:cubicBezTo>
                    <a:pt x="11303082" y="2511968"/>
                    <a:pt x="11308761" y="2509939"/>
                    <a:pt x="11314236" y="2507810"/>
                  </a:cubicBezTo>
                  <a:cubicBezTo>
                    <a:pt x="11319712" y="2505681"/>
                    <a:pt x="11325112" y="2503298"/>
                    <a:pt x="11330435" y="2500661"/>
                  </a:cubicBezTo>
                  <a:cubicBezTo>
                    <a:pt x="11335759" y="2498025"/>
                    <a:pt x="11341133" y="2495084"/>
                    <a:pt x="11346558" y="2491839"/>
                  </a:cubicBezTo>
                  <a:cubicBezTo>
                    <a:pt x="11351983" y="2488595"/>
                    <a:pt x="11357585" y="2484893"/>
                    <a:pt x="11363365" y="2480736"/>
                  </a:cubicBezTo>
                  <a:close/>
                  <a:moveTo>
                    <a:pt x="10620407" y="2480736"/>
                  </a:moveTo>
                  <a:lnTo>
                    <a:pt x="10635313" y="2480736"/>
                  </a:lnTo>
                  <a:lnTo>
                    <a:pt x="10635313" y="2703716"/>
                  </a:lnTo>
                  <a:lnTo>
                    <a:pt x="10600025" y="2703716"/>
                  </a:lnTo>
                  <a:lnTo>
                    <a:pt x="10600025" y="2523933"/>
                  </a:lnTo>
                  <a:cubicBezTo>
                    <a:pt x="10593637" y="2528496"/>
                    <a:pt x="10586767" y="2532374"/>
                    <a:pt x="10579416" y="2535568"/>
                  </a:cubicBezTo>
                  <a:cubicBezTo>
                    <a:pt x="10572064" y="2538763"/>
                    <a:pt x="10563673" y="2541576"/>
                    <a:pt x="10554243" y="2544010"/>
                  </a:cubicBezTo>
                  <a:lnTo>
                    <a:pt x="10554243" y="2513894"/>
                  </a:lnTo>
                  <a:cubicBezTo>
                    <a:pt x="10560124" y="2511968"/>
                    <a:pt x="10565803" y="2509939"/>
                    <a:pt x="10571278" y="2507810"/>
                  </a:cubicBezTo>
                  <a:cubicBezTo>
                    <a:pt x="10576754" y="2505681"/>
                    <a:pt x="10582154" y="2503298"/>
                    <a:pt x="10587477" y="2500661"/>
                  </a:cubicBezTo>
                  <a:cubicBezTo>
                    <a:pt x="10592801" y="2498025"/>
                    <a:pt x="10598175" y="2495084"/>
                    <a:pt x="10603600" y="2491839"/>
                  </a:cubicBezTo>
                  <a:cubicBezTo>
                    <a:pt x="10609025" y="2488595"/>
                    <a:pt x="10614627" y="2484893"/>
                    <a:pt x="10620407" y="2480736"/>
                  </a:cubicBezTo>
                  <a:close/>
                  <a:moveTo>
                    <a:pt x="10469278" y="2480736"/>
                  </a:moveTo>
                  <a:lnTo>
                    <a:pt x="10484184" y="2480736"/>
                  </a:lnTo>
                  <a:lnTo>
                    <a:pt x="10484184" y="2703716"/>
                  </a:lnTo>
                  <a:lnTo>
                    <a:pt x="10448896" y="2703716"/>
                  </a:lnTo>
                  <a:lnTo>
                    <a:pt x="10448896" y="2523933"/>
                  </a:lnTo>
                  <a:cubicBezTo>
                    <a:pt x="10442508" y="2528496"/>
                    <a:pt x="10435638" y="2532374"/>
                    <a:pt x="10428287" y="2535568"/>
                  </a:cubicBezTo>
                  <a:cubicBezTo>
                    <a:pt x="10420935" y="2538763"/>
                    <a:pt x="10412544" y="2541576"/>
                    <a:pt x="10403114" y="2544010"/>
                  </a:cubicBezTo>
                  <a:lnTo>
                    <a:pt x="10403114" y="2513894"/>
                  </a:lnTo>
                  <a:cubicBezTo>
                    <a:pt x="10408995" y="2511968"/>
                    <a:pt x="10414674" y="2509939"/>
                    <a:pt x="10420149" y="2507810"/>
                  </a:cubicBezTo>
                  <a:cubicBezTo>
                    <a:pt x="10425625" y="2505681"/>
                    <a:pt x="10431025" y="2503298"/>
                    <a:pt x="10436348" y="2500661"/>
                  </a:cubicBezTo>
                  <a:cubicBezTo>
                    <a:pt x="10441672" y="2498025"/>
                    <a:pt x="10447046" y="2495084"/>
                    <a:pt x="10452471" y="2491839"/>
                  </a:cubicBezTo>
                  <a:cubicBezTo>
                    <a:pt x="10457896" y="2488595"/>
                    <a:pt x="10463498" y="2484893"/>
                    <a:pt x="10469278" y="2480736"/>
                  </a:cubicBezTo>
                  <a:close/>
                  <a:moveTo>
                    <a:pt x="10169331" y="2480736"/>
                  </a:moveTo>
                  <a:lnTo>
                    <a:pt x="10184237" y="2480736"/>
                  </a:lnTo>
                  <a:lnTo>
                    <a:pt x="10184237" y="2703716"/>
                  </a:lnTo>
                  <a:lnTo>
                    <a:pt x="10148949" y="2703716"/>
                  </a:lnTo>
                  <a:lnTo>
                    <a:pt x="10148949" y="2523933"/>
                  </a:lnTo>
                  <a:cubicBezTo>
                    <a:pt x="10142561" y="2528496"/>
                    <a:pt x="10135691" y="2532374"/>
                    <a:pt x="10128340" y="2535568"/>
                  </a:cubicBezTo>
                  <a:cubicBezTo>
                    <a:pt x="10120988" y="2538763"/>
                    <a:pt x="10112597" y="2541576"/>
                    <a:pt x="10103167" y="2544010"/>
                  </a:cubicBezTo>
                  <a:lnTo>
                    <a:pt x="10103167" y="2513894"/>
                  </a:lnTo>
                  <a:cubicBezTo>
                    <a:pt x="10109048" y="2511968"/>
                    <a:pt x="10114727" y="2509939"/>
                    <a:pt x="10120202" y="2507810"/>
                  </a:cubicBezTo>
                  <a:cubicBezTo>
                    <a:pt x="10125678" y="2505681"/>
                    <a:pt x="10131078" y="2503298"/>
                    <a:pt x="10136401" y="2500661"/>
                  </a:cubicBezTo>
                  <a:cubicBezTo>
                    <a:pt x="10141725" y="2498025"/>
                    <a:pt x="10147099" y="2495084"/>
                    <a:pt x="10152524" y="2491839"/>
                  </a:cubicBezTo>
                  <a:cubicBezTo>
                    <a:pt x="10157949" y="2488595"/>
                    <a:pt x="10163551" y="2484893"/>
                    <a:pt x="10169331" y="2480736"/>
                  </a:cubicBezTo>
                  <a:close/>
                  <a:moveTo>
                    <a:pt x="9784303" y="2480736"/>
                  </a:moveTo>
                  <a:lnTo>
                    <a:pt x="9799209" y="2480736"/>
                  </a:lnTo>
                  <a:lnTo>
                    <a:pt x="9799209" y="2703716"/>
                  </a:lnTo>
                  <a:lnTo>
                    <a:pt x="9763921" y="2703716"/>
                  </a:lnTo>
                  <a:lnTo>
                    <a:pt x="9763921" y="2523933"/>
                  </a:lnTo>
                  <a:cubicBezTo>
                    <a:pt x="9757533" y="2528496"/>
                    <a:pt x="9750663" y="2532374"/>
                    <a:pt x="9743312" y="2535568"/>
                  </a:cubicBezTo>
                  <a:cubicBezTo>
                    <a:pt x="9735960" y="2538763"/>
                    <a:pt x="9727569" y="2541576"/>
                    <a:pt x="9718139" y="2544010"/>
                  </a:cubicBezTo>
                  <a:lnTo>
                    <a:pt x="9718139" y="2513894"/>
                  </a:lnTo>
                  <a:cubicBezTo>
                    <a:pt x="9724020" y="2511968"/>
                    <a:pt x="9729699" y="2509939"/>
                    <a:pt x="9735174" y="2507810"/>
                  </a:cubicBezTo>
                  <a:cubicBezTo>
                    <a:pt x="9740650" y="2505681"/>
                    <a:pt x="9746050" y="2503298"/>
                    <a:pt x="9751373" y="2500661"/>
                  </a:cubicBezTo>
                  <a:cubicBezTo>
                    <a:pt x="9756697" y="2498025"/>
                    <a:pt x="9762071" y="2495084"/>
                    <a:pt x="9767496" y="2491839"/>
                  </a:cubicBezTo>
                  <a:cubicBezTo>
                    <a:pt x="9772921" y="2488595"/>
                    <a:pt x="9778523" y="2484893"/>
                    <a:pt x="9784303" y="2480736"/>
                  </a:cubicBezTo>
                  <a:close/>
                  <a:moveTo>
                    <a:pt x="9633174" y="2480736"/>
                  </a:moveTo>
                  <a:lnTo>
                    <a:pt x="9648080" y="2480736"/>
                  </a:lnTo>
                  <a:lnTo>
                    <a:pt x="9648080" y="2703716"/>
                  </a:lnTo>
                  <a:lnTo>
                    <a:pt x="9612792" y="2703716"/>
                  </a:lnTo>
                  <a:lnTo>
                    <a:pt x="9612792" y="2523933"/>
                  </a:lnTo>
                  <a:cubicBezTo>
                    <a:pt x="9606404" y="2528496"/>
                    <a:pt x="9599534" y="2532374"/>
                    <a:pt x="9592183" y="2535568"/>
                  </a:cubicBezTo>
                  <a:cubicBezTo>
                    <a:pt x="9584831" y="2538763"/>
                    <a:pt x="9576440" y="2541576"/>
                    <a:pt x="9567010" y="2544010"/>
                  </a:cubicBezTo>
                  <a:lnTo>
                    <a:pt x="9567010" y="2513894"/>
                  </a:lnTo>
                  <a:cubicBezTo>
                    <a:pt x="9572891" y="2511968"/>
                    <a:pt x="9578570" y="2509939"/>
                    <a:pt x="9584045" y="2507810"/>
                  </a:cubicBezTo>
                  <a:cubicBezTo>
                    <a:pt x="9589521" y="2505681"/>
                    <a:pt x="9594921" y="2503298"/>
                    <a:pt x="9600244" y="2500661"/>
                  </a:cubicBezTo>
                  <a:cubicBezTo>
                    <a:pt x="9605568" y="2498025"/>
                    <a:pt x="9610942" y="2495084"/>
                    <a:pt x="9616367" y="2491839"/>
                  </a:cubicBezTo>
                  <a:cubicBezTo>
                    <a:pt x="9621792" y="2488595"/>
                    <a:pt x="9627394" y="2484893"/>
                    <a:pt x="9633174" y="2480736"/>
                  </a:cubicBezTo>
                  <a:close/>
                  <a:moveTo>
                    <a:pt x="9483201" y="2480736"/>
                  </a:moveTo>
                  <a:lnTo>
                    <a:pt x="9498107" y="2480736"/>
                  </a:lnTo>
                  <a:lnTo>
                    <a:pt x="9498107" y="2703716"/>
                  </a:lnTo>
                  <a:lnTo>
                    <a:pt x="9462819" y="2703716"/>
                  </a:lnTo>
                  <a:lnTo>
                    <a:pt x="9462819" y="2523933"/>
                  </a:lnTo>
                  <a:cubicBezTo>
                    <a:pt x="9456431" y="2528496"/>
                    <a:pt x="9449561" y="2532374"/>
                    <a:pt x="9442210" y="2535568"/>
                  </a:cubicBezTo>
                  <a:cubicBezTo>
                    <a:pt x="9434858" y="2538763"/>
                    <a:pt x="9426467" y="2541576"/>
                    <a:pt x="9417037" y="2544010"/>
                  </a:cubicBezTo>
                  <a:lnTo>
                    <a:pt x="9417037" y="2513894"/>
                  </a:lnTo>
                  <a:cubicBezTo>
                    <a:pt x="9422918" y="2511968"/>
                    <a:pt x="9428597" y="2509939"/>
                    <a:pt x="9434072" y="2507810"/>
                  </a:cubicBezTo>
                  <a:cubicBezTo>
                    <a:pt x="9439548" y="2505681"/>
                    <a:pt x="9444948" y="2503298"/>
                    <a:pt x="9450271" y="2500661"/>
                  </a:cubicBezTo>
                  <a:cubicBezTo>
                    <a:pt x="9455595" y="2498025"/>
                    <a:pt x="9460969" y="2495084"/>
                    <a:pt x="9466394" y="2491839"/>
                  </a:cubicBezTo>
                  <a:cubicBezTo>
                    <a:pt x="9471819" y="2488595"/>
                    <a:pt x="9477421" y="2484893"/>
                    <a:pt x="9483201" y="2480736"/>
                  </a:cubicBezTo>
                  <a:close/>
                  <a:moveTo>
                    <a:pt x="9333228" y="2480736"/>
                  </a:moveTo>
                  <a:lnTo>
                    <a:pt x="9348134" y="2480736"/>
                  </a:lnTo>
                  <a:lnTo>
                    <a:pt x="9348134" y="2703716"/>
                  </a:lnTo>
                  <a:lnTo>
                    <a:pt x="9312846" y="2703716"/>
                  </a:lnTo>
                  <a:lnTo>
                    <a:pt x="9312846" y="2523933"/>
                  </a:lnTo>
                  <a:cubicBezTo>
                    <a:pt x="9306458" y="2528496"/>
                    <a:pt x="9299588" y="2532374"/>
                    <a:pt x="9292237" y="2535568"/>
                  </a:cubicBezTo>
                  <a:cubicBezTo>
                    <a:pt x="9284885" y="2538763"/>
                    <a:pt x="9276494" y="2541576"/>
                    <a:pt x="9267064" y="2544010"/>
                  </a:cubicBezTo>
                  <a:lnTo>
                    <a:pt x="9267064" y="2513894"/>
                  </a:lnTo>
                  <a:cubicBezTo>
                    <a:pt x="9272945" y="2511968"/>
                    <a:pt x="9278624" y="2509939"/>
                    <a:pt x="9284099" y="2507810"/>
                  </a:cubicBezTo>
                  <a:cubicBezTo>
                    <a:pt x="9289575" y="2505681"/>
                    <a:pt x="9294975" y="2503298"/>
                    <a:pt x="9300298" y="2500661"/>
                  </a:cubicBezTo>
                  <a:cubicBezTo>
                    <a:pt x="9305622" y="2498025"/>
                    <a:pt x="9310996" y="2495084"/>
                    <a:pt x="9316421" y="2491839"/>
                  </a:cubicBezTo>
                  <a:cubicBezTo>
                    <a:pt x="9321846" y="2488595"/>
                    <a:pt x="9327448" y="2484893"/>
                    <a:pt x="9333228" y="2480736"/>
                  </a:cubicBezTo>
                  <a:close/>
                  <a:moveTo>
                    <a:pt x="9132835" y="2480736"/>
                  </a:moveTo>
                  <a:cubicBezTo>
                    <a:pt x="9180279" y="2480736"/>
                    <a:pt x="9204002" y="2517599"/>
                    <a:pt x="9204002" y="2591324"/>
                  </a:cubicBezTo>
                  <a:cubicBezTo>
                    <a:pt x="9204002" y="2627835"/>
                    <a:pt x="9197306" y="2655695"/>
                    <a:pt x="9183916" y="2674903"/>
                  </a:cubicBezTo>
                  <a:cubicBezTo>
                    <a:pt x="9170525" y="2694111"/>
                    <a:pt x="9151793" y="2703716"/>
                    <a:pt x="9127719" y="2703716"/>
                  </a:cubicBezTo>
                  <a:cubicBezTo>
                    <a:pt x="9105251" y="2703716"/>
                    <a:pt x="9087722" y="2694538"/>
                    <a:pt x="9075134" y="2676182"/>
                  </a:cubicBezTo>
                  <a:cubicBezTo>
                    <a:pt x="9062545" y="2657826"/>
                    <a:pt x="9056251" y="2631295"/>
                    <a:pt x="9056251" y="2596590"/>
                  </a:cubicBezTo>
                  <a:cubicBezTo>
                    <a:pt x="9056251" y="2558473"/>
                    <a:pt x="9062821" y="2529635"/>
                    <a:pt x="9075961" y="2510075"/>
                  </a:cubicBezTo>
                  <a:cubicBezTo>
                    <a:pt x="9089102" y="2490516"/>
                    <a:pt x="9108059" y="2480736"/>
                    <a:pt x="9132835" y="2480736"/>
                  </a:cubicBezTo>
                  <a:close/>
                  <a:moveTo>
                    <a:pt x="9001759" y="2480736"/>
                  </a:moveTo>
                  <a:lnTo>
                    <a:pt x="9016665" y="2480736"/>
                  </a:lnTo>
                  <a:lnTo>
                    <a:pt x="9016665" y="2703716"/>
                  </a:lnTo>
                  <a:lnTo>
                    <a:pt x="8981377" y="2703716"/>
                  </a:lnTo>
                  <a:lnTo>
                    <a:pt x="8981377" y="2523933"/>
                  </a:lnTo>
                  <a:cubicBezTo>
                    <a:pt x="8974989" y="2528496"/>
                    <a:pt x="8968119" y="2532374"/>
                    <a:pt x="8960768" y="2535568"/>
                  </a:cubicBezTo>
                  <a:cubicBezTo>
                    <a:pt x="8953416" y="2538763"/>
                    <a:pt x="8945025" y="2541576"/>
                    <a:pt x="8935595" y="2544010"/>
                  </a:cubicBezTo>
                  <a:lnTo>
                    <a:pt x="8935595" y="2513894"/>
                  </a:lnTo>
                  <a:cubicBezTo>
                    <a:pt x="8941476" y="2511968"/>
                    <a:pt x="8947155" y="2509939"/>
                    <a:pt x="8952630" y="2507810"/>
                  </a:cubicBezTo>
                  <a:cubicBezTo>
                    <a:pt x="8958106" y="2505681"/>
                    <a:pt x="8963506" y="2503298"/>
                    <a:pt x="8968829" y="2500661"/>
                  </a:cubicBezTo>
                  <a:cubicBezTo>
                    <a:pt x="8974153" y="2498025"/>
                    <a:pt x="8979527" y="2495084"/>
                    <a:pt x="8984952" y="2491839"/>
                  </a:cubicBezTo>
                  <a:cubicBezTo>
                    <a:pt x="8990377" y="2488595"/>
                    <a:pt x="8995979" y="2484893"/>
                    <a:pt x="9001759" y="2480736"/>
                  </a:cubicBezTo>
                  <a:close/>
                  <a:moveTo>
                    <a:pt x="8791078" y="2480736"/>
                  </a:moveTo>
                  <a:cubicBezTo>
                    <a:pt x="8838522" y="2480736"/>
                    <a:pt x="8862245" y="2517599"/>
                    <a:pt x="8862245" y="2591324"/>
                  </a:cubicBezTo>
                  <a:cubicBezTo>
                    <a:pt x="8862245" y="2627835"/>
                    <a:pt x="8855549" y="2655695"/>
                    <a:pt x="8842159" y="2674903"/>
                  </a:cubicBezTo>
                  <a:cubicBezTo>
                    <a:pt x="8828768" y="2694111"/>
                    <a:pt x="8810036" y="2703716"/>
                    <a:pt x="8785962" y="2703716"/>
                  </a:cubicBezTo>
                  <a:cubicBezTo>
                    <a:pt x="8763494" y="2703716"/>
                    <a:pt x="8745965" y="2694538"/>
                    <a:pt x="8733377" y="2676182"/>
                  </a:cubicBezTo>
                  <a:cubicBezTo>
                    <a:pt x="8720788" y="2657826"/>
                    <a:pt x="8714494" y="2631295"/>
                    <a:pt x="8714494" y="2596590"/>
                  </a:cubicBezTo>
                  <a:cubicBezTo>
                    <a:pt x="8714494" y="2558473"/>
                    <a:pt x="8721064" y="2529635"/>
                    <a:pt x="8734204" y="2510075"/>
                  </a:cubicBezTo>
                  <a:cubicBezTo>
                    <a:pt x="8747345" y="2490516"/>
                    <a:pt x="8766302" y="2480736"/>
                    <a:pt x="8791078" y="2480736"/>
                  </a:cubicBezTo>
                  <a:close/>
                  <a:moveTo>
                    <a:pt x="8089676" y="2480736"/>
                  </a:moveTo>
                  <a:cubicBezTo>
                    <a:pt x="8137121" y="2480736"/>
                    <a:pt x="8160843" y="2517599"/>
                    <a:pt x="8160843" y="2591324"/>
                  </a:cubicBezTo>
                  <a:cubicBezTo>
                    <a:pt x="8160843" y="2627835"/>
                    <a:pt x="8154148" y="2655695"/>
                    <a:pt x="8140757" y="2674903"/>
                  </a:cubicBezTo>
                  <a:cubicBezTo>
                    <a:pt x="8127366" y="2694111"/>
                    <a:pt x="8108634" y="2703716"/>
                    <a:pt x="8084560" y="2703716"/>
                  </a:cubicBezTo>
                  <a:cubicBezTo>
                    <a:pt x="8062092" y="2703716"/>
                    <a:pt x="8044563" y="2694538"/>
                    <a:pt x="8031975" y="2676182"/>
                  </a:cubicBezTo>
                  <a:cubicBezTo>
                    <a:pt x="8019386" y="2657826"/>
                    <a:pt x="8013092" y="2631295"/>
                    <a:pt x="8013092" y="2596590"/>
                  </a:cubicBezTo>
                  <a:cubicBezTo>
                    <a:pt x="8013092" y="2558473"/>
                    <a:pt x="8019662" y="2529635"/>
                    <a:pt x="8032802" y="2510075"/>
                  </a:cubicBezTo>
                  <a:cubicBezTo>
                    <a:pt x="8045943" y="2490516"/>
                    <a:pt x="8064900" y="2480736"/>
                    <a:pt x="8089676" y="2480736"/>
                  </a:cubicBezTo>
                  <a:close/>
                  <a:moveTo>
                    <a:pt x="7710515" y="2480736"/>
                  </a:moveTo>
                  <a:lnTo>
                    <a:pt x="7725421" y="2480736"/>
                  </a:lnTo>
                  <a:lnTo>
                    <a:pt x="7725421" y="2703716"/>
                  </a:lnTo>
                  <a:lnTo>
                    <a:pt x="7690133" y="2703716"/>
                  </a:lnTo>
                  <a:lnTo>
                    <a:pt x="7690133" y="2523933"/>
                  </a:lnTo>
                  <a:cubicBezTo>
                    <a:pt x="7683745" y="2528496"/>
                    <a:pt x="7676876" y="2532374"/>
                    <a:pt x="7669524" y="2535568"/>
                  </a:cubicBezTo>
                  <a:cubicBezTo>
                    <a:pt x="7662172" y="2538763"/>
                    <a:pt x="7653782" y="2541576"/>
                    <a:pt x="7644351" y="2544010"/>
                  </a:cubicBezTo>
                  <a:lnTo>
                    <a:pt x="7644351" y="2513894"/>
                  </a:lnTo>
                  <a:cubicBezTo>
                    <a:pt x="7650232" y="2511968"/>
                    <a:pt x="7655911" y="2509939"/>
                    <a:pt x="7661386" y="2507810"/>
                  </a:cubicBezTo>
                  <a:cubicBezTo>
                    <a:pt x="7666862" y="2505681"/>
                    <a:pt x="7672262" y="2503298"/>
                    <a:pt x="7677585" y="2500661"/>
                  </a:cubicBezTo>
                  <a:cubicBezTo>
                    <a:pt x="7682909" y="2498025"/>
                    <a:pt x="7688283" y="2495084"/>
                    <a:pt x="7693708" y="2491839"/>
                  </a:cubicBezTo>
                  <a:cubicBezTo>
                    <a:pt x="7699133" y="2488595"/>
                    <a:pt x="7704735" y="2484893"/>
                    <a:pt x="7710515" y="2480736"/>
                  </a:cubicBezTo>
                  <a:close/>
                  <a:moveTo>
                    <a:pt x="7348573" y="2480736"/>
                  </a:moveTo>
                  <a:lnTo>
                    <a:pt x="7363479" y="2480736"/>
                  </a:lnTo>
                  <a:lnTo>
                    <a:pt x="7363479" y="2703716"/>
                  </a:lnTo>
                  <a:lnTo>
                    <a:pt x="7328191" y="2703716"/>
                  </a:lnTo>
                  <a:lnTo>
                    <a:pt x="7328191" y="2523933"/>
                  </a:lnTo>
                  <a:cubicBezTo>
                    <a:pt x="7321803" y="2528496"/>
                    <a:pt x="7314934" y="2532374"/>
                    <a:pt x="7307582" y="2535568"/>
                  </a:cubicBezTo>
                  <a:cubicBezTo>
                    <a:pt x="7300230" y="2538763"/>
                    <a:pt x="7291840" y="2541576"/>
                    <a:pt x="7282409" y="2544010"/>
                  </a:cubicBezTo>
                  <a:lnTo>
                    <a:pt x="7282409" y="2513894"/>
                  </a:lnTo>
                  <a:cubicBezTo>
                    <a:pt x="7288290" y="2511968"/>
                    <a:pt x="7293969" y="2509939"/>
                    <a:pt x="7299444" y="2507810"/>
                  </a:cubicBezTo>
                  <a:cubicBezTo>
                    <a:pt x="7304920" y="2505681"/>
                    <a:pt x="7310320" y="2503298"/>
                    <a:pt x="7315643" y="2500661"/>
                  </a:cubicBezTo>
                  <a:cubicBezTo>
                    <a:pt x="7320967" y="2498025"/>
                    <a:pt x="7326341" y="2495084"/>
                    <a:pt x="7331766" y="2491839"/>
                  </a:cubicBezTo>
                  <a:cubicBezTo>
                    <a:pt x="7337191" y="2488595"/>
                    <a:pt x="7342793" y="2484893"/>
                    <a:pt x="7348573" y="2480736"/>
                  </a:cubicBezTo>
                  <a:close/>
                  <a:moveTo>
                    <a:pt x="7048627" y="2480736"/>
                  </a:moveTo>
                  <a:lnTo>
                    <a:pt x="7063533" y="2480736"/>
                  </a:lnTo>
                  <a:lnTo>
                    <a:pt x="7063533" y="2703716"/>
                  </a:lnTo>
                  <a:lnTo>
                    <a:pt x="7028245" y="2703716"/>
                  </a:lnTo>
                  <a:lnTo>
                    <a:pt x="7028245" y="2523933"/>
                  </a:lnTo>
                  <a:cubicBezTo>
                    <a:pt x="7021857" y="2528496"/>
                    <a:pt x="7014988" y="2532374"/>
                    <a:pt x="7007636" y="2535568"/>
                  </a:cubicBezTo>
                  <a:cubicBezTo>
                    <a:pt x="7000284" y="2538763"/>
                    <a:pt x="6991894" y="2541576"/>
                    <a:pt x="6982463" y="2544010"/>
                  </a:cubicBezTo>
                  <a:lnTo>
                    <a:pt x="6982463" y="2513894"/>
                  </a:lnTo>
                  <a:cubicBezTo>
                    <a:pt x="6988344" y="2511968"/>
                    <a:pt x="6994023" y="2509939"/>
                    <a:pt x="6999498" y="2507810"/>
                  </a:cubicBezTo>
                  <a:cubicBezTo>
                    <a:pt x="7004974" y="2505681"/>
                    <a:pt x="7010374" y="2503298"/>
                    <a:pt x="7015697" y="2500661"/>
                  </a:cubicBezTo>
                  <a:cubicBezTo>
                    <a:pt x="7021021" y="2498025"/>
                    <a:pt x="7026395" y="2495084"/>
                    <a:pt x="7031820" y="2491839"/>
                  </a:cubicBezTo>
                  <a:cubicBezTo>
                    <a:pt x="7037245" y="2488595"/>
                    <a:pt x="7042847" y="2484893"/>
                    <a:pt x="7048627" y="2480736"/>
                  </a:cubicBezTo>
                  <a:close/>
                  <a:moveTo>
                    <a:pt x="6831187" y="2480736"/>
                  </a:moveTo>
                  <a:cubicBezTo>
                    <a:pt x="6878632" y="2480736"/>
                    <a:pt x="6902354" y="2517599"/>
                    <a:pt x="6902354" y="2591324"/>
                  </a:cubicBezTo>
                  <a:cubicBezTo>
                    <a:pt x="6902354" y="2627835"/>
                    <a:pt x="6895659" y="2655695"/>
                    <a:pt x="6882268" y="2674903"/>
                  </a:cubicBezTo>
                  <a:cubicBezTo>
                    <a:pt x="6868877" y="2694111"/>
                    <a:pt x="6850145" y="2703716"/>
                    <a:pt x="6826071" y="2703716"/>
                  </a:cubicBezTo>
                  <a:cubicBezTo>
                    <a:pt x="6803603" y="2703716"/>
                    <a:pt x="6786074" y="2694538"/>
                    <a:pt x="6773486" y="2676182"/>
                  </a:cubicBezTo>
                  <a:cubicBezTo>
                    <a:pt x="6760897" y="2657826"/>
                    <a:pt x="6754603" y="2631295"/>
                    <a:pt x="6754603" y="2596590"/>
                  </a:cubicBezTo>
                  <a:cubicBezTo>
                    <a:pt x="6754603" y="2558473"/>
                    <a:pt x="6761173" y="2529635"/>
                    <a:pt x="6774313" y="2510075"/>
                  </a:cubicBezTo>
                  <a:cubicBezTo>
                    <a:pt x="6787454" y="2490516"/>
                    <a:pt x="6806411" y="2480736"/>
                    <a:pt x="6831187" y="2480736"/>
                  </a:cubicBezTo>
                  <a:close/>
                  <a:moveTo>
                    <a:pt x="6618093" y="2480736"/>
                  </a:moveTo>
                  <a:cubicBezTo>
                    <a:pt x="6665538" y="2480736"/>
                    <a:pt x="6689260" y="2517599"/>
                    <a:pt x="6689260" y="2591324"/>
                  </a:cubicBezTo>
                  <a:cubicBezTo>
                    <a:pt x="6689260" y="2627835"/>
                    <a:pt x="6682565" y="2655695"/>
                    <a:pt x="6669174" y="2674903"/>
                  </a:cubicBezTo>
                  <a:cubicBezTo>
                    <a:pt x="6655783" y="2694111"/>
                    <a:pt x="6637051" y="2703716"/>
                    <a:pt x="6612977" y="2703716"/>
                  </a:cubicBezTo>
                  <a:cubicBezTo>
                    <a:pt x="6590509" y="2703716"/>
                    <a:pt x="6572980" y="2694538"/>
                    <a:pt x="6560392" y="2676182"/>
                  </a:cubicBezTo>
                  <a:cubicBezTo>
                    <a:pt x="6547803" y="2657826"/>
                    <a:pt x="6541509" y="2631295"/>
                    <a:pt x="6541509" y="2596590"/>
                  </a:cubicBezTo>
                  <a:cubicBezTo>
                    <a:pt x="6541509" y="2558473"/>
                    <a:pt x="6548079" y="2529635"/>
                    <a:pt x="6561219" y="2510075"/>
                  </a:cubicBezTo>
                  <a:cubicBezTo>
                    <a:pt x="6574360" y="2490516"/>
                    <a:pt x="6593317" y="2480736"/>
                    <a:pt x="6618093" y="2480736"/>
                  </a:cubicBezTo>
                  <a:close/>
                  <a:moveTo>
                    <a:pt x="6456544" y="2480736"/>
                  </a:moveTo>
                  <a:lnTo>
                    <a:pt x="6471450" y="2480736"/>
                  </a:lnTo>
                  <a:lnTo>
                    <a:pt x="6471450" y="2703716"/>
                  </a:lnTo>
                  <a:lnTo>
                    <a:pt x="6436162" y="2703716"/>
                  </a:lnTo>
                  <a:lnTo>
                    <a:pt x="6436162" y="2523933"/>
                  </a:lnTo>
                  <a:cubicBezTo>
                    <a:pt x="6429774" y="2528496"/>
                    <a:pt x="6422905" y="2532374"/>
                    <a:pt x="6415553" y="2535568"/>
                  </a:cubicBezTo>
                  <a:cubicBezTo>
                    <a:pt x="6408201" y="2538763"/>
                    <a:pt x="6399811" y="2541576"/>
                    <a:pt x="6390380" y="2544010"/>
                  </a:cubicBezTo>
                  <a:lnTo>
                    <a:pt x="6390380" y="2513894"/>
                  </a:lnTo>
                  <a:cubicBezTo>
                    <a:pt x="6396261" y="2511968"/>
                    <a:pt x="6401940" y="2509939"/>
                    <a:pt x="6407415" y="2507810"/>
                  </a:cubicBezTo>
                  <a:cubicBezTo>
                    <a:pt x="6412891" y="2505681"/>
                    <a:pt x="6418291" y="2503298"/>
                    <a:pt x="6423614" y="2500661"/>
                  </a:cubicBezTo>
                  <a:cubicBezTo>
                    <a:pt x="6428938" y="2498025"/>
                    <a:pt x="6434312" y="2495084"/>
                    <a:pt x="6439737" y="2491839"/>
                  </a:cubicBezTo>
                  <a:cubicBezTo>
                    <a:pt x="6445162" y="2488595"/>
                    <a:pt x="6450764" y="2484893"/>
                    <a:pt x="6456544" y="2480736"/>
                  </a:cubicBezTo>
                  <a:close/>
                  <a:moveTo>
                    <a:pt x="6156598" y="2480736"/>
                  </a:moveTo>
                  <a:lnTo>
                    <a:pt x="6171504" y="2480736"/>
                  </a:lnTo>
                  <a:lnTo>
                    <a:pt x="6171504" y="2703716"/>
                  </a:lnTo>
                  <a:lnTo>
                    <a:pt x="6136216" y="2703716"/>
                  </a:lnTo>
                  <a:lnTo>
                    <a:pt x="6136216" y="2523933"/>
                  </a:lnTo>
                  <a:cubicBezTo>
                    <a:pt x="6129828" y="2528496"/>
                    <a:pt x="6122959" y="2532374"/>
                    <a:pt x="6115607" y="2535568"/>
                  </a:cubicBezTo>
                  <a:cubicBezTo>
                    <a:pt x="6108255" y="2538763"/>
                    <a:pt x="6099865" y="2541576"/>
                    <a:pt x="6090434" y="2544010"/>
                  </a:cubicBezTo>
                  <a:lnTo>
                    <a:pt x="6090434" y="2513894"/>
                  </a:lnTo>
                  <a:cubicBezTo>
                    <a:pt x="6096315" y="2511968"/>
                    <a:pt x="6101994" y="2509939"/>
                    <a:pt x="6107469" y="2507810"/>
                  </a:cubicBezTo>
                  <a:cubicBezTo>
                    <a:pt x="6112945" y="2505681"/>
                    <a:pt x="6118345" y="2503298"/>
                    <a:pt x="6123668" y="2500661"/>
                  </a:cubicBezTo>
                  <a:cubicBezTo>
                    <a:pt x="6128992" y="2498025"/>
                    <a:pt x="6134366" y="2495084"/>
                    <a:pt x="6139791" y="2491839"/>
                  </a:cubicBezTo>
                  <a:cubicBezTo>
                    <a:pt x="6145216" y="2488595"/>
                    <a:pt x="6150818" y="2484893"/>
                    <a:pt x="6156598" y="2480736"/>
                  </a:cubicBezTo>
                  <a:close/>
                  <a:moveTo>
                    <a:pt x="5973070" y="2480736"/>
                  </a:moveTo>
                  <a:lnTo>
                    <a:pt x="5987976" y="2480736"/>
                  </a:lnTo>
                  <a:lnTo>
                    <a:pt x="5987976" y="2703716"/>
                  </a:lnTo>
                  <a:lnTo>
                    <a:pt x="5952688" y="2703716"/>
                  </a:lnTo>
                  <a:lnTo>
                    <a:pt x="5952688" y="2523933"/>
                  </a:lnTo>
                  <a:cubicBezTo>
                    <a:pt x="5946299" y="2528496"/>
                    <a:pt x="5939431" y="2532374"/>
                    <a:pt x="5932078" y="2535568"/>
                  </a:cubicBezTo>
                  <a:cubicBezTo>
                    <a:pt x="5924727" y="2538763"/>
                    <a:pt x="5916337" y="2541576"/>
                    <a:pt x="5906905" y="2544010"/>
                  </a:cubicBezTo>
                  <a:lnTo>
                    <a:pt x="5906905" y="2513894"/>
                  </a:lnTo>
                  <a:cubicBezTo>
                    <a:pt x="5912787" y="2511968"/>
                    <a:pt x="5918466" y="2509939"/>
                    <a:pt x="5923941" y="2507810"/>
                  </a:cubicBezTo>
                  <a:cubicBezTo>
                    <a:pt x="5929417" y="2505681"/>
                    <a:pt x="5934817" y="2503298"/>
                    <a:pt x="5940139" y="2500661"/>
                  </a:cubicBezTo>
                  <a:cubicBezTo>
                    <a:pt x="5945464" y="2498025"/>
                    <a:pt x="5950838" y="2495084"/>
                    <a:pt x="5956262" y="2491839"/>
                  </a:cubicBezTo>
                  <a:cubicBezTo>
                    <a:pt x="5961687" y="2488595"/>
                    <a:pt x="5967290" y="2484893"/>
                    <a:pt x="5973070" y="2480736"/>
                  </a:cubicBezTo>
                  <a:close/>
                  <a:moveTo>
                    <a:pt x="5605408" y="2480736"/>
                  </a:moveTo>
                  <a:lnTo>
                    <a:pt x="5620313" y="2480736"/>
                  </a:lnTo>
                  <a:lnTo>
                    <a:pt x="5620313" y="2703716"/>
                  </a:lnTo>
                  <a:lnTo>
                    <a:pt x="5585026" y="2703716"/>
                  </a:lnTo>
                  <a:lnTo>
                    <a:pt x="5585026" y="2523933"/>
                  </a:lnTo>
                  <a:cubicBezTo>
                    <a:pt x="5578638" y="2528496"/>
                    <a:pt x="5571769" y="2532374"/>
                    <a:pt x="5564417" y="2535568"/>
                  </a:cubicBezTo>
                  <a:cubicBezTo>
                    <a:pt x="5557064" y="2538763"/>
                    <a:pt x="5548675" y="2541576"/>
                    <a:pt x="5539244" y="2544010"/>
                  </a:cubicBezTo>
                  <a:lnTo>
                    <a:pt x="5539244" y="2513894"/>
                  </a:lnTo>
                  <a:cubicBezTo>
                    <a:pt x="5545125" y="2511968"/>
                    <a:pt x="5550804" y="2509939"/>
                    <a:pt x="5556279" y="2507810"/>
                  </a:cubicBezTo>
                  <a:cubicBezTo>
                    <a:pt x="5561755" y="2505681"/>
                    <a:pt x="5567154" y="2503298"/>
                    <a:pt x="5572478" y="2500661"/>
                  </a:cubicBezTo>
                  <a:cubicBezTo>
                    <a:pt x="5577802" y="2498025"/>
                    <a:pt x="5583176" y="2495084"/>
                    <a:pt x="5588600" y="2491839"/>
                  </a:cubicBezTo>
                  <a:cubicBezTo>
                    <a:pt x="5594026" y="2488595"/>
                    <a:pt x="5599628" y="2484893"/>
                    <a:pt x="5605408" y="2480736"/>
                  </a:cubicBezTo>
                  <a:close/>
                  <a:moveTo>
                    <a:pt x="5455435" y="2480736"/>
                  </a:moveTo>
                  <a:lnTo>
                    <a:pt x="5470341" y="2480736"/>
                  </a:lnTo>
                  <a:lnTo>
                    <a:pt x="5470341" y="2703716"/>
                  </a:lnTo>
                  <a:lnTo>
                    <a:pt x="5435053" y="2703716"/>
                  </a:lnTo>
                  <a:lnTo>
                    <a:pt x="5435053" y="2523933"/>
                  </a:lnTo>
                  <a:cubicBezTo>
                    <a:pt x="5428664" y="2528496"/>
                    <a:pt x="5421796" y="2532374"/>
                    <a:pt x="5414443" y="2535568"/>
                  </a:cubicBezTo>
                  <a:cubicBezTo>
                    <a:pt x="5407092" y="2538763"/>
                    <a:pt x="5398702" y="2541576"/>
                    <a:pt x="5389271" y="2544010"/>
                  </a:cubicBezTo>
                  <a:lnTo>
                    <a:pt x="5389271" y="2513894"/>
                  </a:lnTo>
                  <a:cubicBezTo>
                    <a:pt x="5395152" y="2511968"/>
                    <a:pt x="5400831" y="2509939"/>
                    <a:pt x="5406306" y="2507810"/>
                  </a:cubicBezTo>
                  <a:cubicBezTo>
                    <a:pt x="5411782" y="2505681"/>
                    <a:pt x="5417182" y="2503298"/>
                    <a:pt x="5422505" y="2500661"/>
                  </a:cubicBezTo>
                  <a:cubicBezTo>
                    <a:pt x="5427829" y="2498025"/>
                    <a:pt x="5433203" y="2495084"/>
                    <a:pt x="5438628" y="2491839"/>
                  </a:cubicBezTo>
                  <a:cubicBezTo>
                    <a:pt x="5444053" y="2488595"/>
                    <a:pt x="5449655" y="2484893"/>
                    <a:pt x="5455435" y="2480736"/>
                  </a:cubicBezTo>
                  <a:close/>
                  <a:moveTo>
                    <a:pt x="5305462" y="2480736"/>
                  </a:moveTo>
                  <a:lnTo>
                    <a:pt x="5320368" y="2480736"/>
                  </a:lnTo>
                  <a:lnTo>
                    <a:pt x="5320368" y="2703716"/>
                  </a:lnTo>
                  <a:lnTo>
                    <a:pt x="5285079" y="2703716"/>
                  </a:lnTo>
                  <a:lnTo>
                    <a:pt x="5285079" y="2523933"/>
                  </a:lnTo>
                  <a:cubicBezTo>
                    <a:pt x="5278692" y="2528496"/>
                    <a:pt x="5271823" y="2532374"/>
                    <a:pt x="5264471" y="2535568"/>
                  </a:cubicBezTo>
                  <a:cubicBezTo>
                    <a:pt x="5257119" y="2538763"/>
                    <a:pt x="5248729" y="2541576"/>
                    <a:pt x="5239298" y="2544010"/>
                  </a:cubicBezTo>
                  <a:lnTo>
                    <a:pt x="5239298" y="2513894"/>
                  </a:lnTo>
                  <a:cubicBezTo>
                    <a:pt x="5245179" y="2511968"/>
                    <a:pt x="5250858" y="2509939"/>
                    <a:pt x="5256333" y="2507810"/>
                  </a:cubicBezTo>
                  <a:cubicBezTo>
                    <a:pt x="5261809" y="2505681"/>
                    <a:pt x="5267209" y="2503298"/>
                    <a:pt x="5272532" y="2500661"/>
                  </a:cubicBezTo>
                  <a:cubicBezTo>
                    <a:pt x="5277857" y="2498025"/>
                    <a:pt x="5283230" y="2495084"/>
                    <a:pt x="5288656" y="2491839"/>
                  </a:cubicBezTo>
                  <a:cubicBezTo>
                    <a:pt x="5294080" y="2488595"/>
                    <a:pt x="5299681" y="2484893"/>
                    <a:pt x="5305462" y="2480736"/>
                  </a:cubicBezTo>
                  <a:close/>
                  <a:moveTo>
                    <a:pt x="4556784" y="2480736"/>
                  </a:moveTo>
                  <a:lnTo>
                    <a:pt x="4571690" y="2480736"/>
                  </a:lnTo>
                  <a:lnTo>
                    <a:pt x="4571690" y="2703716"/>
                  </a:lnTo>
                  <a:lnTo>
                    <a:pt x="4536402" y="2703716"/>
                  </a:lnTo>
                  <a:lnTo>
                    <a:pt x="4536402" y="2523933"/>
                  </a:lnTo>
                  <a:cubicBezTo>
                    <a:pt x="4530014" y="2528496"/>
                    <a:pt x="4523145" y="2532374"/>
                    <a:pt x="4515793" y="2535568"/>
                  </a:cubicBezTo>
                  <a:cubicBezTo>
                    <a:pt x="4508441" y="2538763"/>
                    <a:pt x="4500051" y="2541576"/>
                    <a:pt x="4490620" y="2544010"/>
                  </a:cubicBezTo>
                  <a:lnTo>
                    <a:pt x="4490620" y="2513894"/>
                  </a:lnTo>
                  <a:cubicBezTo>
                    <a:pt x="4496501" y="2511968"/>
                    <a:pt x="4502179" y="2509939"/>
                    <a:pt x="4507655" y="2507810"/>
                  </a:cubicBezTo>
                  <a:cubicBezTo>
                    <a:pt x="4513131" y="2505681"/>
                    <a:pt x="4518531" y="2503298"/>
                    <a:pt x="4523854" y="2500661"/>
                  </a:cubicBezTo>
                  <a:cubicBezTo>
                    <a:pt x="4529178" y="2498025"/>
                    <a:pt x="4534552" y="2495084"/>
                    <a:pt x="4539977" y="2491839"/>
                  </a:cubicBezTo>
                  <a:cubicBezTo>
                    <a:pt x="4545402" y="2488595"/>
                    <a:pt x="4551004" y="2484893"/>
                    <a:pt x="4556784" y="2480736"/>
                  </a:cubicBezTo>
                  <a:close/>
                  <a:moveTo>
                    <a:pt x="4406811" y="2480736"/>
                  </a:moveTo>
                  <a:lnTo>
                    <a:pt x="4421716" y="2480736"/>
                  </a:lnTo>
                  <a:lnTo>
                    <a:pt x="4421716" y="2703716"/>
                  </a:lnTo>
                  <a:lnTo>
                    <a:pt x="4386429" y="2703716"/>
                  </a:lnTo>
                  <a:lnTo>
                    <a:pt x="4386429" y="2523933"/>
                  </a:lnTo>
                  <a:cubicBezTo>
                    <a:pt x="4380041" y="2528496"/>
                    <a:pt x="4373171" y="2532374"/>
                    <a:pt x="4365820" y="2535568"/>
                  </a:cubicBezTo>
                  <a:cubicBezTo>
                    <a:pt x="4358468" y="2538763"/>
                    <a:pt x="4350078" y="2541576"/>
                    <a:pt x="4340647" y="2544010"/>
                  </a:cubicBezTo>
                  <a:lnTo>
                    <a:pt x="4340647" y="2513894"/>
                  </a:lnTo>
                  <a:cubicBezTo>
                    <a:pt x="4346527" y="2511968"/>
                    <a:pt x="4352207" y="2509939"/>
                    <a:pt x="4357682" y="2507810"/>
                  </a:cubicBezTo>
                  <a:cubicBezTo>
                    <a:pt x="4363158" y="2505681"/>
                    <a:pt x="4368557" y="2503298"/>
                    <a:pt x="4373881" y="2500661"/>
                  </a:cubicBezTo>
                  <a:cubicBezTo>
                    <a:pt x="4379205" y="2498025"/>
                    <a:pt x="4384579" y="2495084"/>
                    <a:pt x="4390004" y="2491839"/>
                  </a:cubicBezTo>
                  <a:cubicBezTo>
                    <a:pt x="4395429" y="2488595"/>
                    <a:pt x="4401031" y="2484893"/>
                    <a:pt x="4406811" y="2480736"/>
                  </a:cubicBezTo>
                  <a:close/>
                  <a:moveTo>
                    <a:pt x="4106866" y="2480736"/>
                  </a:moveTo>
                  <a:lnTo>
                    <a:pt x="4121772" y="2480736"/>
                  </a:lnTo>
                  <a:lnTo>
                    <a:pt x="4121772" y="2703716"/>
                  </a:lnTo>
                  <a:lnTo>
                    <a:pt x="4086484" y="2703716"/>
                  </a:lnTo>
                  <a:lnTo>
                    <a:pt x="4086484" y="2523933"/>
                  </a:lnTo>
                  <a:cubicBezTo>
                    <a:pt x="4080096" y="2528496"/>
                    <a:pt x="4073226" y="2532374"/>
                    <a:pt x="4065875" y="2535568"/>
                  </a:cubicBezTo>
                  <a:cubicBezTo>
                    <a:pt x="4058523" y="2538763"/>
                    <a:pt x="4050133" y="2541576"/>
                    <a:pt x="4040701" y="2544010"/>
                  </a:cubicBezTo>
                  <a:lnTo>
                    <a:pt x="4040701" y="2513894"/>
                  </a:lnTo>
                  <a:cubicBezTo>
                    <a:pt x="4046583" y="2511968"/>
                    <a:pt x="4052262" y="2509939"/>
                    <a:pt x="4057737" y="2507810"/>
                  </a:cubicBezTo>
                  <a:cubicBezTo>
                    <a:pt x="4063213" y="2505681"/>
                    <a:pt x="4068613" y="2503298"/>
                    <a:pt x="4073936" y="2500661"/>
                  </a:cubicBezTo>
                  <a:cubicBezTo>
                    <a:pt x="4079260" y="2498025"/>
                    <a:pt x="4084634" y="2495084"/>
                    <a:pt x="4090059" y="2491839"/>
                  </a:cubicBezTo>
                  <a:cubicBezTo>
                    <a:pt x="4095484" y="2488595"/>
                    <a:pt x="4101086" y="2484893"/>
                    <a:pt x="4106866" y="2480736"/>
                  </a:cubicBezTo>
                  <a:close/>
                  <a:moveTo>
                    <a:pt x="3726275" y="2480736"/>
                  </a:moveTo>
                  <a:lnTo>
                    <a:pt x="3741181" y="2480736"/>
                  </a:lnTo>
                  <a:lnTo>
                    <a:pt x="3741181" y="2703716"/>
                  </a:lnTo>
                  <a:lnTo>
                    <a:pt x="3705893" y="2703716"/>
                  </a:lnTo>
                  <a:lnTo>
                    <a:pt x="3705893" y="2523933"/>
                  </a:lnTo>
                  <a:cubicBezTo>
                    <a:pt x="3699504" y="2528496"/>
                    <a:pt x="3692634" y="2532374"/>
                    <a:pt x="3685283" y="2535568"/>
                  </a:cubicBezTo>
                  <a:cubicBezTo>
                    <a:pt x="3677932" y="2538763"/>
                    <a:pt x="3669541" y="2541576"/>
                    <a:pt x="3660111" y="2544010"/>
                  </a:cubicBezTo>
                  <a:lnTo>
                    <a:pt x="3660111" y="2513894"/>
                  </a:lnTo>
                  <a:cubicBezTo>
                    <a:pt x="3665992" y="2511968"/>
                    <a:pt x="3671671" y="2509939"/>
                    <a:pt x="3677146" y="2507810"/>
                  </a:cubicBezTo>
                  <a:cubicBezTo>
                    <a:pt x="3682621" y="2505681"/>
                    <a:pt x="3688022" y="2503298"/>
                    <a:pt x="3693344" y="2500661"/>
                  </a:cubicBezTo>
                  <a:cubicBezTo>
                    <a:pt x="3698668" y="2498025"/>
                    <a:pt x="3704042" y="2495084"/>
                    <a:pt x="3709468" y="2491839"/>
                  </a:cubicBezTo>
                  <a:cubicBezTo>
                    <a:pt x="3714892" y="2488595"/>
                    <a:pt x="3720495" y="2484893"/>
                    <a:pt x="3726275" y="2480736"/>
                  </a:cubicBezTo>
                  <a:close/>
                  <a:moveTo>
                    <a:pt x="3576301" y="2480736"/>
                  </a:moveTo>
                  <a:lnTo>
                    <a:pt x="3591208" y="2480736"/>
                  </a:lnTo>
                  <a:lnTo>
                    <a:pt x="3591208" y="2703716"/>
                  </a:lnTo>
                  <a:lnTo>
                    <a:pt x="3555920" y="2703716"/>
                  </a:lnTo>
                  <a:lnTo>
                    <a:pt x="3555920" y="2523933"/>
                  </a:lnTo>
                  <a:cubicBezTo>
                    <a:pt x="3549532" y="2528496"/>
                    <a:pt x="3542662" y="2532374"/>
                    <a:pt x="3535311" y="2535568"/>
                  </a:cubicBezTo>
                  <a:cubicBezTo>
                    <a:pt x="3527958" y="2538763"/>
                    <a:pt x="3519568" y="2541576"/>
                    <a:pt x="3510138" y="2544010"/>
                  </a:cubicBezTo>
                  <a:lnTo>
                    <a:pt x="3510138" y="2513894"/>
                  </a:lnTo>
                  <a:cubicBezTo>
                    <a:pt x="3516019" y="2511968"/>
                    <a:pt x="3521698" y="2509939"/>
                    <a:pt x="3527173" y="2507810"/>
                  </a:cubicBezTo>
                  <a:cubicBezTo>
                    <a:pt x="3532648" y="2505681"/>
                    <a:pt x="3538049" y="2503298"/>
                    <a:pt x="3543372" y="2500661"/>
                  </a:cubicBezTo>
                  <a:cubicBezTo>
                    <a:pt x="3548695" y="2498025"/>
                    <a:pt x="3554069" y="2495084"/>
                    <a:pt x="3559494" y="2491839"/>
                  </a:cubicBezTo>
                  <a:cubicBezTo>
                    <a:pt x="3564920" y="2488595"/>
                    <a:pt x="3570522" y="2484893"/>
                    <a:pt x="3576301" y="2480736"/>
                  </a:cubicBezTo>
                  <a:close/>
                  <a:moveTo>
                    <a:pt x="3426329" y="2480736"/>
                  </a:moveTo>
                  <a:lnTo>
                    <a:pt x="3441235" y="2480736"/>
                  </a:lnTo>
                  <a:lnTo>
                    <a:pt x="3441235" y="2703716"/>
                  </a:lnTo>
                  <a:lnTo>
                    <a:pt x="3405947" y="2703716"/>
                  </a:lnTo>
                  <a:lnTo>
                    <a:pt x="3405947" y="2523933"/>
                  </a:lnTo>
                  <a:cubicBezTo>
                    <a:pt x="3399559" y="2528496"/>
                    <a:pt x="3392689" y="2532374"/>
                    <a:pt x="3385338" y="2535568"/>
                  </a:cubicBezTo>
                  <a:cubicBezTo>
                    <a:pt x="3377986" y="2538763"/>
                    <a:pt x="3369596" y="2541576"/>
                    <a:pt x="3360165" y="2544010"/>
                  </a:cubicBezTo>
                  <a:lnTo>
                    <a:pt x="3360165" y="2513894"/>
                  </a:lnTo>
                  <a:cubicBezTo>
                    <a:pt x="3366046" y="2511968"/>
                    <a:pt x="3371725" y="2509939"/>
                    <a:pt x="3377200" y="2507810"/>
                  </a:cubicBezTo>
                  <a:cubicBezTo>
                    <a:pt x="3382676" y="2505681"/>
                    <a:pt x="3388076" y="2503298"/>
                    <a:pt x="3393399" y="2500661"/>
                  </a:cubicBezTo>
                  <a:cubicBezTo>
                    <a:pt x="3398722" y="2498025"/>
                    <a:pt x="3404097" y="2495084"/>
                    <a:pt x="3409521" y="2491839"/>
                  </a:cubicBezTo>
                  <a:cubicBezTo>
                    <a:pt x="3414947" y="2488595"/>
                    <a:pt x="3420549" y="2484893"/>
                    <a:pt x="3426329" y="2480736"/>
                  </a:cubicBezTo>
                  <a:close/>
                  <a:moveTo>
                    <a:pt x="3276356" y="2480736"/>
                  </a:moveTo>
                  <a:lnTo>
                    <a:pt x="3291262" y="2480736"/>
                  </a:lnTo>
                  <a:lnTo>
                    <a:pt x="3291262" y="2703716"/>
                  </a:lnTo>
                  <a:lnTo>
                    <a:pt x="3255974" y="2703716"/>
                  </a:lnTo>
                  <a:lnTo>
                    <a:pt x="3255974" y="2523933"/>
                  </a:lnTo>
                  <a:cubicBezTo>
                    <a:pt x="3249586" y="2528496"/>
                    <a:pt x="3242716" y="2532374"/>
                    <a:pt x="3235365" y="2535568"/>
                  </a:cubicBezTo>
                  <a:cubicBezTo>
                    <a:pt x="3228013" y="2538763"/>
                    <a:pt x="3219623" y="2541576"/>
                    <a:pt x="3210192" y="2544010"/>
                  </a:cubicBezTo>
                  <a:lnTo>
                    <a:pt x="3210192" y="2513894"/>
                  </a:lnTo>
                  <a:cubicBezTo>
                    <a:pt x="3216073" y="2511968"/>
                    <a:pt x="3221752" y="2509939"/>
                    <a:pt x="3227227" y="2507810"/>
                  </a:cubicBezTo>
                  <a:cubicBezTo>
                    <a:pt x="3232702" y="2505681"/>
                    <a:pt x="3238103" y="2503298"/>
                    <a:pt x="3243426" y="2500661"/>
                  </a:cubicBezTo>
                  <a:cubicBezTo>
                    <a:pt x="3248750" y="2498025"/>
                    <a:pt x="3254124" y="2495084"/>
                    <a:pt x="3259549" y="2491839"/>
                  </a:cubicBezTo>
                  <a:cubicBezTo>
                    <a:pt x="3264974" y="2488595"/>
                    <a:pt x="3270576" y="2484893"/>
                    <a:pt x="3276356" y="2480736"/>
                  </a:cubicBezTo>
                  <a:close/>
                  <a:moveTo>
                    <a:pt x="3072419" y="2480736"/>
                  </a:moveTo>
                  <a:cubicBezTo>
                    <a:pt x="3119863" y="2480736"/>
                    <a:pt x="3143586" y="2517599"/>
                    <a:pt x="3143586" y="2591324"/>
                  </a:cubicBezTo>
                  <a:cubicBezTo>
                    <a:pt x="3143586" y="2627835"/>
                    <a:pt x="3136891" y="2655695"/>
                    <a:pt x="3123500" y="2674903"/>
                  </a:cubicBezTo>
                  <a:cubicBezTo>
                    <a:pt x="3110109" y="2694111"/>
                    <a:pt x="3091377" y="2703716"/>
                    <a:pt x="3067303" y="2703716"/>
                  </a:cubicBezTo>
                  <a:cubicBezTo>
                    <a:pt x="3044835" y="2703716"/>
                    <a:pt x="3027306" y="2694538"/>
                    <a:pt x="3014718" y="2676182"/>
                  </a:cubicBezTo>
                  <a:cubicBezTo>
                    <a:pt x="3002129" y="2657826"/>
                    <a:pt x="2995835" y="2631295"/>
                    <a:pt x="2995835" y="2596590"/>
                  </a:cubicBezTo>
                  <a:cubicBezTo>
                    <a:pt x="2995835" y="2558473"/>
                    <a:pt x="3002405" y="2529635"/>
                    <a:pt x="3015545" y="2510075"/>
                  </a:cubicBezTo>
                  <a:cubicBezTo>
                    <a:pt x="3028686" y="2490516"/>
                    <a:pt x="3047643" y="2480736"/>
                    <a:pt x="3072419" y="2480736"/>
                  </a:cubicBezTo>
                  <a:close/>
                  <a:moveTo>
                    <a:pt x="2942173" y="2480736"/>
                  </a:moveTo>
                  <a:lnTo>
                    <a:pt x="2957079" y="2480736"/>
                  </a:lnTo>
                  <a:lnTo>
                    <a:pt x="2957079" y="2703716"/>
                  </a:lnTo>
                  <a:lnTo>
                    <a:pt x="2921791" y="2703716"/>
                  </a:lnTo>
                  <a:lnTo>
                    <a:pt x="2921791" y="2523933"/>
                  </a:lnTo>
                  <a:cubicBezTo>
                    <a:pt x="2915403" y="2528496"/>
                    <a:pt x="2908533" y="2532374"/>
                    <a:pt x="2901182" y="2535568"/>
                  </a:cubicBezTo>
                  <a:cubicBezTo>
                    <a:pt x="2893830" y="2538763"/>
                    <a:pt x="2885440" y="2541576"/>
                    <a:pt x="2876008" y="2544010"/>
                  </a:cubicBezTo>
                  <a:lnTo>
                    <a:pt x="2876008" y="2513894"/>
                  </a:lnTo>
                  <a:cubicBezTo>
                    <a:pt x="2881890" y="2511968"/>
                    <a:pt x="2887569" y="2509939"/>
                    <a:pt x="2893044" y="2507810"/>
                  </a:cubicBezTo>
                  <a:cubicBezTo>
                    <a:pt x="2898520" y="2505681"/>
                    <a:pt x="2903920" y="2503298"/>
                    <a:pt x="2909242" y="2500661"/>
                  </a:cubicBezTo>
                  <a:cubicBezTo>
                    <a:pt x="2914567" y="2498025"/>
                    <a:pt x="2919941" y="2495084"/>
                    <a:pt x="2925366" y="2491839"/>
                  </a:cubicBezTo>
                  <a:cubicBezTo>
                    <a:pt x="2930790" y="2488595"/>
                    <a:pt x="2936393" y="2484893"/>
                    <a:pt x="2942173" y="2480736"/>
                  </a:cubicBezTo>
                  <a:close/>
                  <a:moveTo>
                    <a:pt x="2725616" y="2480736"/>
                  </a:moveTo>
                  <a:cubicBezTo>
                    <a:pt x="2773060" y="2480736"/>
                    <a:pt x="2796783" y="2517599"/>
                    <a:pt x="2796783" y="2591324"/>
                  </a:cubicBezTo>
                  <a:cubicBezTo>
                    <a:pt x="2796783" y="2627835"/>
                    <a:pt x="2790088" y="2655695"/>
                    <a:pt x="2776697" y="2674903"/>
                  </a:cubicBezTo>
                  <a:cubicBezTo>
                    <a:pt x="2763306" y="2694111"/>
                    <a:pt x="2744574" y="2703716"/>
                    <a:pt x="2720500" y="2703716"/>
                  </a:cubicBezTo>
                  <a:cubicBezTo>
                    <a:pt x="2698031" y="2703716"/>
                    <a:pt x="2680503" y="2694538"/>
                    <a:pt x="2667915" y="2676182"/>
                  </a:cubicBezTo>
                  <a:cubicBezTo>
                    <a:pt x="2655326" y="2657826"/>
                    <a:pt x="2649032" y="2631295"/>
                    <a:pt x="2649032" y="2596590"/>
                  </a:cubicBezTo>
                  <a:cubicBezTo>
                    <a:pt x="2649032" y="2558473"/>
                    <a:pt x="2655602" y="2529635"/>
                    <a:pt x="2668742" y="2510075"/>
                  </a:cubicBezTo>
                  <a:cubicBezTo>
                    <a:pt x="2681883" y="2490516"/>
                    <a:pt x="2700840" y="2480736"/>
                    <a:pt x="2725616" y="2480736"/>
                  </a:cubicBezTo>
                  <a:close/>
                  <a:moveTo>
                    <a:pt x="2034250" y="2480736"/>
                  </a:moveTo>
                  <a:cubicBezTo>
                    <a:pt x="2081695" y="2480736"/>
                    <a:pt x="2105417" y="2517599"/>
                    <a:pt x="2105417" y="2591324"/>
                  </a:cubicBezTo>
                  <a:cubicBezTo>
                    <a:pt x="2105417" y="2627835"/>
                    <a:pt x="2098723" y="2655695"/>
                    <a:pt x="2085332" y="2674903"/>
                  </a:cubicBezTo>
                  <a:cubicBezTo>
                    <a:pt x="2071941" y="2694111"/>
                    <a:pt x="2053208" y="2703716"/>
                    <a:pt x="2029134" y="2703716"/>
                  </a:cubicBezTo>
                  <a:cubicBezTo>
                    <a:pt x="2006666" y="2703716"/>
                    <a:pt x="1989138" y="2694538"/>
                    <a:pt x="1976549" y="2676182"/>
                  </a:cubicBezTo>
                  <a:cubicBezTo>
                    <a:pt x="1963960" y="2657826"/>
                    <a:pt x="1957666" y="2631295"/>
                    <a:pt x="1957666" y="2596590"/>
                  </a:cubicBezTo>
                  <a:cubicBezTo>
                    <a:pt x="1957666" y="2558473"/>
                    <a:pt x="1964236" y="2529635"/>
                    <a:pt x="1977376" y="2510075"/>
                  </a:cubicBezTo>
                  <a:cubicBezTo>
                    <a:pt x="1990517" y="2490516"/>
                    <a:pt x="2009474" y="2480736"/>
                    <a:pt x="2034250" y="2480736"/>
                  </a:cubicBezTo>
                  <a:close/>
                  <a:moveTo>
                    <a:pt x="1661890" y="2480736"/>
                  </a:moveTo>
                  <a:lnTo>
                    <a:pt x="1676796" y="2480736"/>
                  </a:lnTo>
                  <a:lnTo>
                    <a:pt x="1676796" y="2703716"/>
                  </a:lnTo>
                  <a:lnTo>
                    <a:pt x="1641507" y="2703716"/>
                  </a:lnTo>
                  <a:lnTo>
                    <a:pt x="1641507" y="2523933"/>
                  </a:lnTo>
                  <a:cubicBezTo>
                    <a:pt x="1635120" y="2528496"/>
                    <a:pt x="1628249" y="2532374"/>
                    <a:pt x="1620898" y="2535568"/>
                  </a:cubicBezTo>
                  <a:cubicBezTo>
                    <a:pt x="1613546" y="2538763"/>
                    <a:pt x="1605156" y="2541576"/>
                    <a:pt x="1595726" y="2544010"/>
                  </a:cubicBezTo>
                  <a:lnTo>
                    <a:pt x="1595726" y="2513894"/>
                  </a:lnTo>
                  <a:cubicBezTo>
                    <a:pt x="1601607" y="2511968"/>
                    <a:pt x="1607286" y="2509939"/>
                    <a:pt x="1612761" y="2507810"/>
                  </a:cubicBezTo>
                  <a:cubicBezTo>
                    <a:pt x="1618236" y="2505681"/>
                    <a:pt x="1623637" y="2503298"/>
                    <a:pt x="1628960" y="2500661"/>
                  </a:cubicBezTo>
                  <a:cubicBezTo>
                    <a:pt x="1634284" y="2498025"/>
                    <a:pt x="1639657" y="2495084"/>
                    <a:pt x="1645083" y="2491839"/>
                  </a:cubicBezTo>
                  <a:cubicBezTo>
                    <a:pt x="1650508" y="2488595"/>
                    <a:pt x="1656109" y="2484893"/>
                    <a:pt x="1661890" y="2480736"/>
                  </a:cubicBezTo>
                  <a:close/>
                  <a:moveTo>
                    <a:pt x="1285224" y="2480736"/>
                  </a:moveTo>
                  <a:lnTo>
                    <a:pt x="1300130" y="2480736"/>
                  </a:lnTo>
                  <a:lnTo>
                    <a:pt x="1300130" y="2703716"/>
                  </a:lnTo>
                  <a:lnTo>
                    <a:pt x="1264841" y="2703716"/>
                  </a:lnTo>
                  <a:lnTo>
                    <a:pt x="1264841" y="2523933"/>
                  </a:lnTo>
                  <a:cubicBezTo>
                    <a:pt x="1258454" y="2528496"/>
                    <a:pt x="1251583" y="2532374"/>
                    <a:pt x="1244232" y="2535568"/>
                  </a:cubicBezTo>
                  <a:cubicBezTo>
                    <a:pt x="1236881" y="2538763"/>
                    <a:pt x="1228490" y="2541576"/>
                    <a:pt x="1219060" y="2544010"/>
                  </a:cubicBezTo>
                  <a:lnTo>
                    <a:pt x="1219060" y="2513894"/>
                  </a:lnTo>
                  <a:cubicBezTo>
                    <a:pt x="1224940" y="2511968"/>
                    <a:pt x="1230619" y="2509939"/>
                    <a:pt x="1236094" y="2507810"/>
                  </a:cubicBezTo>
                  <a:cubicBezTo>
                    <a:pt x="1241571" y="2505681"/>
                    <a:pt x="1246971" y="2503298"/>
                    <a:pt x="1252294" y="2500661"/>
                  </a:cubicBezTo>
                  <a:cubicBezTo>
                    <a:pt x="1257618" y="2498025"/>
                    <a:pt x="1262992" y="2495084"/>
                    <a:pt x="1268416" y="2491839"/>
                  </a:cubicBezTo>
                  <a:cubicBezTo>
                    <a:pt x="1273842" y="2488595"/>
                    <a:pt x="1279443" y="2484893"/>
                    <a:pt x="1285224" y="2480736"/>
                  </a:cubicBezTo>
                  <a:close/>
                  <a:moveTo>
                    <a:pt x="985278" y="2480736"/>
                  </a:moveTo>
                  <a:lnTo>
                    <a:pt x="1000183" y="2480736"/>
                  </a:lnTo>
                  <a:lnTo>
                    <a:pt x="1000183" y="2703716"/>
                  </a:lnTo>
                  <a:lnTo>
                    <a:pt x="964896" y="2703716"/>
                  </a:lnTo>
                  <a:lnTo>
                    <a:pt x="964896" y="2523933"/>
                  </a:lnTo>
                  <a:cubicBezTo>
                    <a:pt x="958508" y="2528496"/>
                    <a:pt x="951638" y="2532374"/>
                    <a:pt x="944286" y="2535568"/>
                  </a:cubicBezTo>
                  <a:cubicBezTo>
                    <a:pt x="936935" y="2538763"/>
                    <a:pt x="928544" y="2541576"/>
                    <a:pt x="919114" y="2544010"/>
                  </a:cubicBezTo>
                  <a:lnTo>
                    <a:pt x="919114" y="2513894"/>
                  </a:lnTo>
                  <a:cubicBezTo>
                    <a:pt x="924995" y="2511968"/>
                    <a:pt x="930674" y="2509939"/>
                    <a:pt x="936149" y="2507810"/>
                  </a:cubicBezTo>
                  <a:cubicBezTo>
                    <a:pt x="941624" y="2505681"/>
                    <a:pt x="947024" y="2503298"/>
                    <a:pt x="952348" y="2500661"/>
                  </a:cubicBezTo>
                  <a:cubicBezTo>
                    <a:pt x="957672" y="2498025"/>
                    <a:pt x="963046" y="2495084"/>
                    <a:pt x="968471" y="2491839"/>
                  </a:cubicBezTo>
                  <a:cubicBezTo>
                    <a:pt x="973896" y="2488595"/>
                    <a:pt x="979498" y="2484893"/>
                    <a:pt x="985278" y="2480736"/>
                  </a:cubicBezTo>
                  <a:close/>
                  <a:moveTo>
                    <a:pt x="779044" y="2480736"/>
                  </a:moveTo>
                  <a:cubicBezTo>
                    <a:pt x="826488" y="2480736"/>
                    <a:pt x="850211" y="2517599"/>
                    <a:pt x="850211" y="2591324"/>
                  </a:cubicBezTo>
                  <a:cubicBezTo>
                    <a:pt x="850211" y="2627835"/>
                    <a:pt x="843515" y="2655695"/>
                    <a:pt x="830125" y="2674903"/>
                  </a:cubicBezTo>
                  <a:cubicBezTo>
                    <a:pt x="816734" y="2694111"/>
                    <a:pt x="798002" y="2703716"/>
                    <a:pt x="773928" y="2703716"/>
                  </a:cubicBezTo>
                  <a:cubicBezTo>
                    <a:pt x="751460" y="2703716"/>
                    <a:pt x="733931" y="2694538"/>
                    <a:pt x="721343" y="2676182"/>
                  </a:cubicBezTo>
                  <a:cubicBezTo>
                    <a:pt x="708754" y="2657826"/>
                    <a:pt x="702460" y="2631295"/>
                    <a:pt x="702460" y="2596590"/>
                  </a:cubicBezTo>
                  <a:cubicBezTo>
                    <a:pt x="702460" y="2558473"/>
                    <a:pt x="709030" y="2529635"/>
                    <a:pt x="722170" y="2510075"/>
                  </a:cubicBezTo>
                  <a:cubicBezTo>
                    <a:pt x="735311" y="2490516"/>
                    <a:pt x="754267" y="2480736"/>
                    <a:pt x="779044" y="2480736"/>
                  </a:cubicBezTo>
                  <a:close/>
                  <a:moveTo>
                    <a:pt x="558444" y="2480736"/>
                  </a:moveTo>
                  <a:cubicBezTo>
                    <a:pt x="605888" y="2480736"/>
                    <a:pt x="629611" y="2517599"/>
                    <a:pt x="629611" y="2591324"/>
                  </a:cubicBezTo>
                  <a:cubicBezTo>
                    <a:pt x="629611" y="2627835"/>
                    <a:pt x="622915" y="2655695"/>
                    <a:pt x="609525" y="2674903"/>
                  </a:cubicBezTo>
                  <a:cubicBezTo>
                    <a:pt x="596134" y="2694111"/>
                    <a:pt x="577402" y="2703716"/>
                    <a:pt x="553328" y="2703716"/>
                  </a:cubicBezTo>
                  <a:cubicBezTo>
                    <a:pt x="530860" y="2703716"/>
                    <a:pt x="513331" y="2694538"/>
                    <a:pt x="500742" y="2676182"/>
                  </a:cubicBezTo>
                  <a:cubicBezTo>
                    <a:pt x="488154" y="2657826"/>
                    <a:pt x="481860" y="2631295"/>
                    <a:pt x="481860" y="2596590"/>
                  </a:cubicBezTo>
                  <a:cubicBezTo>
                    <a:pt x="481860" y="2558473"/>
                    <a:pt x="488430" y="2529635"/>
                    <a:pt x="501570" y="2510075"/>
                  </a:cubicBezTo>
                  <a:cubicBezTo>
                    <a:pt x="514711" y="2490516"/>
                    <a:pt x="533668" y="2480736"/>
                    <a:pt x="558444" y="2480736"/>
                  </a:cubicBezTo>
                  <a:close/>
                  <a:moveTo>
                    <a:pt x="391282" y="2480736"/>
                  </a:moveTo>
                  <a:lnTo>
                    <a:pt x="406188" y="2480736"/>
                  </a:lnTo>
                  <a:lnTo>
                    <a:pt x="406188" y="2703716"/>
                  </a:lnTo>
                  <a:lnTo>
                    <a:pt x="370900" y="2703716"/>
                  </a:lnTo>
                  <a:lnTo>
                    <a:pt x="370900" y="2523933"/>
                  </a:lnTo>
                  <a:cubicBezTo>
                    <a:pt x="364512" y="2528496"/>
                    <a:pt x="357642" y="2532374"/>
                    <a:pt x="350291" y="2535568"/>
                  </a:cubicBezTo>
                  <a:cubicBezTo>
                    <a:pt x="342939" y="2538763"/>
                    <a:pt x="334547" y="2541576"/>
                    <a:pt x="325118" y="2544010"/>
                  </a:cubicBezTo>
                  <a:lnTo>
                    <a:pt x="325118" y="2513894"/>
                  </a:lnTo>
                  <a:cubicBezTo>
                    <a:pt x="330999" y="2511968"/>
                    <a:pt x="336677" y="2509939"/>
                    <a:pt x="342153" y="2507810"/>
                  </a:cubicBezTo>
                  <a:cubicBezTo>
                    <a:pt x="347629" y="2505681"/>
                    <a:pt x="353029" y="2503298"/>
                    <a:pt x="358352" y="2500661"/>
                  </a:cubicBezTo>
                  <a:cubicBezTo>
                    <a:pt x="363676" y="2498025"/>
                    <a:pt x="369050" y="2495084"/>
                    <a:pt x="374475" y="2491839"/>
                  </a:cubicBezTo>
                  <a:cubicBezTo>
                    <a:pt x="379900" y="2488595"/>
                    <a:pt x="385502" y="2484893"/>
                    <a:pt x="391282" y="2480736"/>
                  </a:cubicBezTo>
                  <a:close/>
                  <a:moveTo>
                    <a:pt x="91336" y="2480736"/>
                  </a:moveTo>
                  <a:lnTo>
                    <a:pt x="106242" y="2480736"/>
                  </a:lnTo>
                  <a:lnTo>
                    <a:pt x="106242" y="2703716"/>
                  </a:lnTo>
                  <a:lnTo>
                    <a:pt x="70954" y="2703716"/>
                  </a:lnTo>
                  <a:lnTo>
                    <a:pt x="70954" y="2523933"/>
                  </a:lnTo>
                  <a:cubicBezTo>
                    <a:pt x="64566" y="2528496"/>
                    <a:pt x="57696" y="2532374"/>
                    <a:pt x="50345" y="2535568"/>
                  </a:cubicBezTo>
                  <a:cubicBezTo>
                    <a:pt x="42993" y="2538763"/>
                    <a:pt x="34602" y="2541576"/>
                    <a:pt x="25172" y="2544010"/>
                  </a:cubicBezTo>
                  <a:lnTo>
                    <a:pt x="25172" y="2513894"/>
                  </a:lnTo>
                  <a:cubicBezTo>
                    <a:pt x="31053" y="2511968"/>
                    <a:pt x="36732" y="2509939"/>
                    <a:pt x="42207" y="2507810"/>
                  </a:cubicBezTo>
                  <a:cubicBezTo>
                    <a:pt x="47683" y="2505681"/>
                    <a:pt x="53083" y="2503298"/>
                    <a:pt x="58406" y="2500661"/>
                  </a:cubicBezTo>
                  <a:cubicBezTo>
                    <a:pt x="63730" y="2498025"/>
                    <a:pt x="69104" y="2495084"/>
                    <a:pt x="74529" y="2491839"/>
                  </a:cubicBezTo>
                  <a:cubicBezTo>
                    <a:pt x="79954" y="2488595"/>
                    <a:pt x="85556" y="2484893"/>
                    <a:pt x="91336" y="2480736"/>
                  </a:cubicBezTo>
                  <a:close/>
                  <a:moveTo>
                    <a:pt x="11987506" y="2204600"/>
                  </a:moveTo>
                  <a:cubicBezTo>
                    <a:pt x="11961326" y="2204600"/>
                    <a:pt x="11948236" y="2233438"/>
                    <a:pt x="11948236" y="2291114"/>
                  </a:cubicBezTo>
                  <a:cubicBezTo>
                    <a:pt x="11948236" y="2345078"/>
                    <a:pt x="11961075" y="2372061"/>
                    <a:pt x="11986754" y="2372061"/>
                  </a:cubicBezTo>
                  <a:cubicBezTo>
                    <a:pt x="12012030" y="2372061"/>
                    <a:pt x="12024669" y="2344627"/>
                    <a:pt x="12024669" y="2289760"/>
                  </a:cubicBezTo>
                  <a:cubicBezTo>
                    <a:pt x="12024669" y="2232986"/>
                    <a:pt x="12012281" y="2204600"/>
                    <a:pt x="11987506" y="2204600"/>
                  </a:cubicBezTo>
                  <a:close/>
                  <a:moveTo>
                    <a:pt x="11770996" y="2204600"/>
                  </a:moveTo>
                  <a:cubicBezTo>
                    <a:pt x="11744816" y="2204600"/>
                    <a:pt x="11731726" y="2233438"/>
                    <a:pt x="11731726" y="2291114"/>
                  </a:cubicBezTo>
                  <a:cubicBezTo>
                    <a:pt x="11731726" y="2345078"/>
                    <a:pt x="11744565" y="2372061"/>
                    <a:pt x="11770244" y="2372061"/>
                  </a:cubicBezTo>
                  <a:cubicBezTo>
                    <a:pt x="11795520" y="2372061"/>
                    <a:pt x="11808159" y="2344627"/>
                    <a:pt x="11808159" y="2289760"/>
                  </a:cubicBezTo>
                  <a:cubicBezTo>
                    <a:pt x="11808159" y="2232986"/>
                    <a:pt x="11795771" y="2204600"/>
                    <a:pt x="11770996" y="2204600"/>
                  </a:cubicBezTo>
                  <a:close/>
                  <a:moveTo>
                    <a:pt x="6976208" y="2204600"/>
                  </a:moveTo>
                  <a:cubicBezTo>
                    <a:pt x="6950028" y="2204600"/>
                    <a:pt x="6936938" y="2233438"/>
                    <a:pt x="6936938" y="2291114"/>
                  </a:cubicBezTo>
                  <a:cubicBezTo>
                    <a:pt x="6936938" y="2345078"/>
                    <a:pt x="6949777" y="2372061"/>
                    <a:pt x="6975456" y="2372061"/>
                  </a:cubicBezTo>
                  <a:cubicBezTo>
                    <a:pt x="7000733" y="2372061"/>
                    <a:pt x="7013371" y="2344627"/>
                    <a:pt x="7013371" y="2289760"/>
                  </a:cubicBezTo>
                  <a:cubicBezTo>
                    <a:pt x="7013371" y="2232986"/>
                    <a:pt x="7000983" y="2204600"/>
                    <a:pt x="6976208" y="2204600"/>
                  </a:cubicBezTo>
                  <a:close/>
                  <a:moveTo>
                    <a:pt x="6759698" y="2204600"/>
                  </a:moveTo>
                  <a:cubicBezTo>
                    <a:pt x="6733518" y="2204600"/>
                    <a:pt x="6720428" y="2233438"/>
                    <a:pt x="6720428" y="2291114"/>
                  </a:cubicBezTo>
                  <a:cubicBezTo>
                    <a:pt x="6720428" y="2345078"/>
                    <a:pt x="6733267" y="2372061"/>
                    <a:pt x="6758946" y="2372061"/>
                  </a:cubicBezTo>
                  <a:cubicBezTo>
                    <a:pt x="6784223" y="2372061"/>
                    <a:pt x="6796861" y="2344627"/>
                    <a:pt x="6796861" y="2289760"/>
                  </a:cubicBezTo>
                  <a:cubicBezTo>
                    <a:pt x="6796861" y="2232986"/>
                    <a:pt x="6784473" y="2204600"/>
                    <a:pt x="6759698" y="2204600"/>
                  </a:cubicBezTo>
                  <a:close/>
                  <a:moveTo>
                    <a:pt x="6141921" y="2204600"/>
                  </a:moveTo>
                  <a:cubicBezTo>
                    <a:pt x="6115741" y="2204600"/>
                    <a:pt x="6102651" y="2233438"/>
                    <a:pt x="6102651" y="2291114"/>
                  </a:cubicBezTo>
                  <a:cubicBezTo>
                    <a:pt x="6102651" y="2345078"/>
                    <a:pt x="6115490" y="2372061"/>
                    <a:pt x="6141169" y="2372061"/>
                  </a:cubicBezTo>
                  <a:cubicBezTo>
                    <a:pt x="6166446" y="2372061"/>
                    <a:pt x="6179084" y="2344627"/>
                    <a:pt x="6179084" y="2289760"/>
                  </a:cubicBezTo>
                  <a:cubicBezTo>
                    <a:pt x="6179084" y="2232986"/>
                    <a:pt x="6166696" y="2204600"/>
                    <a:pt x="6141921" y="2204600"/>
                  </a:cubicBezTo>
                  <a:close/>
                  <a:moveTo>
                    <a:pt x="5925411" y="2204600"/>
                  </a:moveTo>
                  <a:cubicBezTo>
                    <a:pt x="5899231" y="2204600"/>
                    <a:pt x="5886141" y="2233438"/>
                    <a:pt x="5886141" y="2291114"/>
                  </a:cubicBezTo>
                  <a:cubicBezTo>
                    <a:pt x="5886141" y="2345078"/>
                    <a:pt x="5898981" y="2372061"/>
                    <a:pt x="5924659" y="2372061"/>
                  </a:cubicBezTo>
                  <a:cubicBezTo>
                    <a:pt x="5949935" y="2372061"/>
                    <a:pt x="5962574" y="2344627"/>
                    <a:pt x="5962574" y="2289760"/>
                  </a:cubicBezTo>
                  <a:cubicBezTo>
                    <a:pt x="5962574" y="2232986"/>
                    <a:pt x="5950186" y="2204600"/>
                    <a:pt x="5925411" y="2204600"/>
                  </a:cubicBezTo>
                  <a:close/>
                  <a:moveTo>
                    <a:pt x="5701303" y="2204600"/>
                  </a:moveTo>
                  <a:cubicBezTo>
                    <a:pt x="5675125" y="2204600"/>
                    <a:pt x="5662035" y="2233438"/>
                    <a:pt x="5662035" y="2291114"/>
                  </a:cubicBezTo>
                  <a:cubicBezTo>
                    <a:pt x="5662035" y="2345078"/>
                    <a:pt x="5674873" y="2372061"/>
                    <a:pt x="5700551" y="2372061"/>
                  </a:cubicBezTo>
                  <a:cubicBezTo>
                    <a:pt x="5725828" y="2372061"/>
                    <a:pt x="5738467" y="2344627"/>
                    <a:pt x="5738467" y="2289760"/>
                  </a:cubicBezTo>
                  <a:cubicBezTo>
                    <a:pt x="5738467" y="2232986"/>
                    <a:pt x="5726080" y="2204600"/>
                    <a:pt x="5701303" y="2204600"/>
                  </a:cubicBezTo>
                  <a:close/>
                  <a:moveTo>
                    <a:pt x="923326" y="2204600"/>
                  </a:moveTo>
                  <a:cubicBezTo>
                    <a:pt x="897146" y="2204600"/>
                    <a:pt x="884056" y="2233438"/>
                    <a:pt x="884056" y="2291114"/>
                  </a:cubicBezTo>
                  <a:cubicBezTo>
                    <a:pt x="884056" y="2345078"/>
                    <a:pt x="896895" y="2372061"/>
                    <a:pt x="922574" y="2372061"/>
                  </a:cubicBezTo>
                  <a:cubicBezTo>
                    <a:pt x="947851" y="2372061"/>
                    <a:pt x="960489" y="2344627"/>
                    <a:pt x="960489" y="2289760"/>
                  </a:cubicBezTo>
                  <a:cubicBezTo>
                    <a:pt x="960489" y="2232986"/>
                    <a:pt x="948102" y="2204600"/>
                    <a:pt x="923326" y="2204600"/>
                  </a:cubicBezTo>
                  <a:close/>
                  <a:moveTo>
                    <a:pt x="707049" y="2204600"/>
                  </a:moveTo>
                  <a:cubicBezTo>
                    <a:pt x="680870" y="2204600"/>
                    <a:pt x="667781" y="2233438"/>
                    <a:pt x="667781" y="2291114"/>
                  </a:cubicBezTo>
                  <a:cubicBezTo>
                    <a:pt x="667781" y="2345078"/>
                    <a:pt x="680621" y="2372061"/>
                    <a:pt x="706298" y="2372061"/>
                  </a:cubicBezTo>
                  <a:cubicBezTo>
                    <a:pt x="731575" y="2372061"/>
                    <a:pt x="744214" y="2344627"/>
                    <a:pt x="744214" y="2289760"/>
                  </a:cubicBezTo>
                  <a:cubicBezTo>
                    <a:pt x="744214" y="2232986"/>
                    <a:pt x="731826" y="2204600"/>
                    <a:pt x="707049" y="2204600"/>
                  </a:cubicBezTo>
                  <a:close/>
                  <a:moveTo>
                    <a:pt x="85445" y="2204600"/>
                  </a:moveTo>
                  <a:cubicBezTo>
                    <a:pt x="59265" y="2204600"/>
                    <a:pt x="46174" y="2233438"/>
                    <a:pt x="46174" y="2291114"/>
                  </a:cubicBezTo>
                  <a:cubicBezTo>
                    <a:pt x="46174" y="2345078"/>
                    <a:pt x="59012" y="2372061"/>
                    <a:pt x="84690" y="2372061"/>
                  </a:cubicBezTo>
                  <a:cubicBezTo>
                    <a:pt x="109967" y="2372061"/>
                    <a:pt x="122606" y="2344627"/>
                    <a:pt x="122606" y="2289760"/>
                  </a:cubicBezTo>
                  <a:cubicBezTo>
                    <a:pt x="122606" y="2232986"/>
                    <a:pt x="110219" y="2204600"/>
                    <a:pt x="85445" y="2204600"/>
                  </a:cubicBezTo>
                  <a:close/>
                  <a:moveTo>
                    <a:pt x="11989161" y="2176765"/>
                  </a:moveTo>
                  <a:cubicBezTo>
                    <a:pt x="12036605" y="2176765"/>
                    <a:pt x="12060328" y="2213628"/>
                    <a:pt x="12060328" y="2287352"/>
                  </a:cubicBezTo>
                  <a:cubicBezTo>
                    <a:pt x="12060328" y="2323864"/>
                    <a:pt x="12053632" y="2351724"/>
                    <a:pt x="12040242" y="2370932"/>
                  </a:cubicBezTo>
                  <a:cubicBezTo>
                    <a:pt x="12026851" y="2390140"/>
                    <a:pt x="12008119" y="2399745"/>
                    <a:pt x="11984045" y="2399745"/>
                  </a:cubicBezTo>
                  <a:cubicBezTo>
                    <a:pt x="11961577" y="2399745"/>
                    <a:pt x="11944048" y="2390567"/>
                    <a:pt x="11931460" y="2372211"/>
                  </a:cubicBezTo>
                  <a:cubicBezTo>
                    <a:pt x="11918871" y="2353855"/>
                    <a:pt x="11912577" y="2327324"/>
                    <a:pt x="11912577" y="2292619"/>
                  </a:cubicBezTo>
                  <a:cubicBezTo>
                    <a:pt x="11912577" y="2254502"/>
                    <a:pt x="11919147" y="2225664"/>
                    <a:pt x="11932287" y="2206104"/>
                  </a:cubicBezTo>
                  <a:cubicBezTo>
                    <a:pt x="11945428" y="2186545"/>
                    <a:pt x="11964385" y="2176765"/>
                    <a:pt x="11989161" y="2176765"/>
                  </a:cubicBezTo>
                  <a:close/>
                  <a:moveTo>
                    <a:pt x="11772651" y="2176765"/>
                  </a:moveTo>
                  <a:cubicBezTo>
                    <a:pt x="11820095" y="2176765"/>
                    <a:pt x="11843818" y="2213628"/>
                    <a:pt x="11843818" y="2287352"/>
                  </a:cubicBezTo>
                  <a:cubicBezTo>
                    <a:pt x="11843818" y="2323864"/>
                    <a:pt x="11837122" y="2351724"/>
                    <a:pt x="11823732" y="2370932"/>
                  </a:cubicBezTo>
                  <a:cubicBezTo>
                    <a:pt x="11810341" y="2390140"/>
                    <a:pt x="11791609" y="2399745"/>
                    <a:pt x="11767535" y="2399745"/>
                  </a:cubicBezTo>
                  <a:cubicBezTo>
                    <a:pt x="11745067" y="2399745"/>
                    <a:pt x="11727538" y="2390567"/>
                    <a:pt x="11714950" y="2372211"/>
                  </a:cubicBezTo>
                  <a:cubicBezTo>
                    <a:pt x="11702361" y="2353855"/>
                    <a:pt x="11696067" y="2327324"/>
                    <a:pt x="11696067" y="2292619"/>
                  </a:cubicBezTo>
                  <a:cubicBezTo>
                    <a:pt x="11696067" y="2254502"/>
                    <a:pt x="11702637" y="2225664"/>
                    <a:pt x="11715777" y="2206104"/>
                  </a:cubicBezTo>
                  <a:cubicBezTo>
                    <a:pt x="11728918" y="2186545"/>
                    <a:pt x="11747875" y="2176765"/>
                    <a:pt x="11772651" y="2176765"/>
                  </a:cubicBezTo>
                  <a:close/>
                  <a:moveTo>
                    <a:pt x="11621096" y="2176765"/>
                  </a:moveTo>
                  <a:lnTo>
                    <a:pt x="11636002" y="2176765"/>
                  </a:lnTo>
                  <a:lnTo>
                    <a:pt x="11636002" y="2399745"/>
                  </a:lnTo>
                  <a:lnTo>
                    <a:pt x="11600714" y="2399745"/>
                  </a:lnTo>
                  <a:lnTo>
                    <a:pt x="11600714" y="2219962"/>
                  </a:lnTo>
                  <a:cubicBezTo>
                    <a:pt x="11594326" y="2224525"/>
                    <a:pt x="11587456" y="2228403"/>
                    <a:pt x="11580105" y="2231597"/>
                  </a:cubicBezTo>
                  <a:cubicBezTo>
                    <a:pt x="11572753" y="2234792"/>
                    <a:pt x="11564362" y="2237605"/>
                    <a:pt x="11554932" y="2240039"/>
                  </a:cubicBezTo>
                  <a:lnTo>
                    <a:pt x="11554932" y="2209923"/>
                  </a:lnTo>
                  <a:cubicBezTo>
                    <a:pt x="11560813" y="2207997"/>
                    <a:pt x="11566492" y="2205968"/>
                    <a:pt x="11571967" y="2203839"/>
                  </a:cubicBezTo>
                  <a:cubicBezTo>
                    <a:pt x="11577443" y="2201710"/>
                    <a:pt x="11582843" y="2199326"/>
                    <a:pt x="11588166" y="2196690"/>
                  </a:cubicBezTo>
                  <a:cubicBezTo>
                    <a:pt x="11593490" y="2194054"/>
                    <a:pt x="11598864" y="2191113"/>
                    <a:pt x="11604289" y="2187868"/>
                  </a:cubicBezTo>
                  <a:cubicBezTo>
                    <a:pt x="11609714" y="2184624"/>
                    <a:pt x="11615316" y="2180922"/>
                    <a:pt x="11621096" y="2176765"/>
                  </a:cubicBezTo>
                  <a:close/>
                  <a:moveTo>
                    <a:pt x="11318321" y="2176765"/>
                  </a:moveTo>
                  <a:lnTo>
                    <a:pt x="11333227" y="2176765"/>
                  </a:lnTo>
                  <a:lnTo>
                    <a:pt x="11333227" y="2399745"/>
                  </a:lnTo>
                  <a:lnTo>
                    <a:pt x="11297939" y="2399745"/>
                  </a:lnTo>
                  <a:lnTo>
                    <a:pt x="11297939" y="2219962"/>
                  </a:lnTo>
                  <a:cubicBezTo>
                    <a:pt x="11291551" y="2224525"/>
                    <a:pt x="11284681" y="2228403"/>
                    <a:pt x="11277330" y="2231597"/>
                  </a:cubicBezTo>
                  <a:cubicBezTo>
                    <a:pt x="11269978" y="2234792"/>
                    <a:pt x="11261587" y="2237605"/>
                    <a:pt x="11252157" y="2240039"/>
                  </a:cubicBezTo>
                  <a:lnTo>
                    <a:pt x="11252157" y="2209923"/>
                  </a:lnTo>
                  <a:cubicBezTo>
                    <a:pt x="11258038" y="2207997"/>
                    <a:pt x="11263717" y="2205968"/>
                    <a:pt x="11269192" y="2203839"/>
                  </a:cubicBezTo>
                  <a:cubicBezTo>
                    <a:pt x="11274668" y="2201710"/>
                    <a:pt x="11280068" y="2199326"/>
                    <a:pt x="11285391" y="2196690"/>
                  </a:cubicBezTo>
                  <a:cubicBezTo>
                    <a:pt x="11290715" y="2194054"/>
                    <a:pt x="11296089" y="2191113"/>
                    <a:pt x="11301514" y="2187868"/>
                  </a:cubicBezTo>
                  <a:cubicBezTo>
                    <a:pt x="11306939" y="2184624"/>
                    <a:pt x="11312541" y="2180922"/>
                    <a:pt x="11318321" y="2176765"/>
                  </a:cubicBezTo>
                  <a:close/>
                  <a:moveTo>
                    <a:pt x="10941157" y="2176765"/>
                  </a:moveTo>
                  <a:lnTo>
                    <a:pt x="10956063" y="2176765"/>
                  </a:lnTo>
                  <a:lnTo>
                    <a:pt x="10956063" y="2399745"/>
                  </a:lnTo>
                  <a:lnTo>
                    <a:pt x="10920775" y="2399745"/>
                  </a:lnTo>
                  <a:lnTo>
                    <a:pt x="10920775" y="2219962"/>
                  </a:lnTo>
                  <a:cubicBezTo>
                    <a:pt x="10914387" y="2224525"/>
                    <a:pt x="10907517" y="2228403"/>
                    <a:pt x="10900166" y="2231597"/>
                  </a:cubicBezTo>
                  <a:cubicBezTo>
                    <a:pt x="10892814" y="2234792"/>
                    <a:pt x="10884423" y="2237605"/>
                    <a:pt x="10874993" y="2240039"/>
                  </a:cubicBezTo>
                  <a:lnTo>
                    <a:pt x="10874993" y="2209923"/>
                  </a:lnTo>
                  <a:cubicBezTo>
                    <a:pt x="10880874" y="2207997"/>
                    <a:pt x="10886553" y="2205968"/>
                    <a:pt x="10892028" y="2203839"/>
                  </a:cubicBezTo>
                  <a:cubicBezTo>
                    <a:pt x="10897504" y="2201710"/>
                    <a:pt x="10902904" y="2199326"/>
                    <a:pt x="10908227" y="2196690"/>
                  </a:cubicBezTo>
                  <a:cubicBezTo>
                    <a:pt x="10913551" y="2194054"/>
                    <a:pt x="10918925" y="2191113"/>
                    <a:pt x="10924350" y="2187868"/>
                  </a:cubicBezTo>
                  <a:cubicBezTo>
                    <a:pt x="10929775" y="2184624"/>
                    <a:pt x="10935377" y="2180922"/>
                    <a:pt x="10941157" y="2176765"/>
                  </a:cubicBezTo>
                  <a:close/>
                  <a:moveTo>
                    <a:pt x="10792300" y="2176765"/>
                  </a:moveTo>
                  <a:lnTo>
                    <a:pt x="10807206" y="2176765"/>
                  </a:lnTo>
                  <a:lnTo>
                    <a:pt x="10807206" y="2399745"/>
                  </a:lnTo>
                  <a:lnTo>
                    <a:pt x="10771918" y="2399745"/>
                  </a:lnTo>
                  <a:lnTo>
                    <a:pt x="10771918" y="2219962"/>
                  </a:lnTo>
                  <a:cubicBezTo>
                    <a:pt x="10765530" y="2224525"/>
                    <a:pt x="10758660" y="2228403"/>
                    <a:pt x="10751309" y="2231597"/>
                  </a:cubicBezTo>
                  <a:cubicBezTo>
                    <a:pt x="10743957" y="2234792"/>
                    <a:pt x="10735566" y="2237605"/>
                    <a:pt x="10726136" y="2240039"/>
                  </a:cubicBezTo>
                  <a:lnTo>
                    <a:pt x="10726136" y="2209923"/>
                  </a:lnTo>
                  <a:cubicBezTo>
                    <a:pt x="10732017" y="2207997"/>
                    <a:pt x="10737696" y="2205968"/>
                    <a:pt x="10743171" y="2203839"/>
                  </a:cubicBezTo>
                  <a:cubicBezTo>
                    <a:pt x="10748647" y="2201710"/>
                    <a:pt x="10754047" y="2199326"/>
                    <a:pt x="10759370" y="2196690"/>
                  </a:cubicBezTo>
                  <a:cubicBezTo>
                    <a:pt x="10764694" y="2194054"/>
                    <a:pt x="10770068" y="2191113"/>
                    <a:pt x="10775493" y="2187868"/>
                  </a:cubicBezTo>
                  <a:cubicBezTo>
                    <a:pt x="10780918" y="2184624"/>
                    <a:pt x="10786520" y="2180922"/>
                    <a:pt x="10792300" y="2176765"/>
                  </a:cubicBezTo>
                  <a:close/>
                  <a:moveTo>
                    <a:pt x="10638382" y="2176765"/>
                  </a:moveTo>
                  <a:lnTo>
                    <a:pt x="10653288" y="2176765"/>
                  </a:lnTo>
                  <a:lnTo>
                    <a:pt x="10653288" y="2399745"/>
                  </a:lnTo>
                  <a:lnTo>
                    <a:pt x="10618000" y="2399745"/>
                  </a:lnTo>
                  <a:lnTo>
                    <a:pt x="10618000" y="2219962"/>
                  </a:lnTo>
                  <a:cubicBezTo>
                    <a:pt x="10611612" y="2224525"/>
                    <a:pt x="10604742" y="2228403"/>
                    <a:pt x="10597391" y="2231597"/>
                  </a:cubicBezTo>
                  <a:cubicBezTo>
                    <a:pt x="10590039" y="2234792"/>
                    <a:pt x="10581648" y="2237605"/>
                    <a:pt x="10572218" y="2240039"/>
                  </a:cubicBezTo>
                  <a:lnTo>
                    <a:pt x="10572218" y="2209923"/>
                  </a:lnTo>
                  <a:cubicBezTo>
                    <a:pt x="10578099" y="2207997"/>
                    <a:pt x="10583778" y="2205968"/>
                    <a:pt x="10589253" y="2203839"/>
                  </a:cubicBezTo>
                  <a:cubicBezTo>
                    <a:pt x="10594729" y="2201710"/>
                    <a:pt x="10600129" y="2199326"/>
                    <a:pt x="10605452" y="2196690"/>
                  </a:cubicBezTo>
                  <a:cubicBezTo>
                    <a:pt x="10610776" y="2194054"/>
                    <a:pt x="10616150" y="2191113"/>
                    <a:pt x="10621575" y="2187868"/>
                  </a:cubicBezTo>
                  <a:cubicBezTo>
                    <a:pt x="10627000" y="2184624"/>
                    <a:pt x="10632602" y="2180922"/>
                    <a:pt x="10638382" y="2176765"/>
                  </a:cubicBezTo>
                  <a:close/>
                  <a:moveTo>
                    <a:pt x="10489525" y="2176765"/>
                  </a:moveTo>
                  <a:lnTo>
                    <a:pt x="10504431" y="2176765"/>
                  </a:lnTo>
                  <a:lnTo>
                    <a:pt x="10504431" y="2399745"/>
                  </a:lnTo>
                  <a:lnTo>
                    <a:pt x="10469143" y="2399745"/>
                  </a:lnTo>
                  <a:lnTo>
                    <a:pt x="10469143" y="2219962"/>
                  </a:lnTo>
                  <a:cubicBezTo>
                    <a:pt x="10462755" y="2224525"/>
                    <a:pt x="10455885" y="2228403"/>
                    <a:pt x="10448534" y="2231597"/>
                  </a:cubicBezTo>
                  <a:cubicBezTo>
                    <a:pt x="10441182" y="2234792"/>
                    <a:pt x="10432791" y="2237605"/>
                    <a:pt x="10423361" y="2240039"/>
                  </a:cubicBezTo>
                  <a:lnTo>
                    <a:pt x="10423361" y="2209923"/>
                  </a:lnTo>
                  <a:cubicBezTo>
                    <a:pt x="10429242" y="2207997"/>
                    <a:pt x="10434921" y="2205968"/>
                    <a:pt x="10440396" y="2203839"/>
                  </a:cubicBezTo>
                  <a:cubicBezTo>
                    <a:pt x="10445872" y="2201710"/>
                    <a:pt x="10451272" y="2199326"/>
                    <a:pt x="10456595" y="2196690"/>
                  </a:cubicBezTo>
                  <a:cubicBezTo>
                    <a:pt x="10461919" y="2194054"/>
                    <a:pt x="10467293" y="2191113"/>
                    <a:pt x="10472718" y="2187868"/>
                  </a:cubicBezTo>
                  <a:cubicBezTo>
                    <a:pt x="10478143" y="2184624"/>
                    <a:pt x="10483745" y="2180922"/>
                    <a:pt x="10489525" y="2176765"/>
                  </a:cubicBezTo>
                  <a:close/>
                  <a:moveTo>
                    <a:pt x="9768134" y="2176765"/>
                  </a:moveTo>
                  <a:lnTo>
                    <a:pt x="9783040" y="2176765"/>
                  </a:lnTo>
                  <a:lnTo>
                    <a:pt x="9783040" y="2399745"/>
                  </a:lnTo>
                  <a:lnTo>
                    <a:pt x="9747752" y="2399745"/>
                  </a:lnTo>
                  <a:lnTo>
                    <a:pt x="9747752" y="2219962"/>
                  </a:lnTo>
                  <a:cubicBezTo>
                    <a:pt x="9741364" y="2224525"/>
                    <a:pt x="9734494" y="2228403"/>
                    <a:pt x="9727143" y="2231597"/>
                  </a:cubicBezTo>
                  <a:cubicBezTo>
                    <a:pt x="9719791" y="2234792"/>
                    <a:pt x="9711400" y="2237605"/>
                    <a:pt x="9701970" y="2240039"/>
                  </a:cubicBezTo>
                  <a:lnTo>
                    <a:pt x="9701970" y="2209923"/>
                  </a:lnTo>
                  <a:cubicBezTo>
                    <a:pt x="9707851" y="2207997"/>
                    <a:pt x="9713530" y="2205968"/>
                    <a:pt x="9719005" y="2203839"/>
                  </a:cubicBezTo>
                  <a:cubicBezTo>
                    <a:pt x="9724481" y="2201710"/>
                    <a:pt x="9729881" y="2199326"/>
                    <a:pt x="9735204" y="2196690"/>
                  </a:cubicBezTo>
                  <a:cubicBezTo>
                    <a:pt x="9740528" y="2194054"/>
                    <a:pt x="9745902" y="2191113"/>
                    <a:pt x="9751327" y="2187868"/>
                  </a:cubicBezTo>
                  <a:cubicBezTo>
                    <a:pt x="9756752" y="2184624"/>
                    <a:pt x="9762354" y="2180922"/>
                    <a:pt x="9768134" y="2176765"/>
                  </a:cubicBezTo>
                  <a:close/>
                  <a:moveTo>
                    <a:pt x="9619277" y="2176765"/>
                  </a:moveTo>
                  <a:lnTo>
                    <a:pt x="9634183" y="2176765"/>
                  </a:lnTo>
                  <a:lnTo>
                    <a:pt x="9634183" y="2399745"/>
                  </a:lnTo>
                  <a:lnTo>
                    <a:pt x="9598895" y="2399745"/>
                  </a:lnTo>
                  <a:lnTo>
                    <a:pt x="9598895" y="2219962"/>
                  </a:lnTo>
                  <a:cubicBezTo>
                    <a:pt x="9592507" y="2224525"/>
                    <a:pt x="9585637" y="2228403"/>
                    <a:pt x="9578286" y="2231597"/>
                  </a:cubicBezTo>
                  <a:cubicBezTo>
                    <a:pt x="9570934" y="2234792"/>
                    <a:pt x="9562543" y="2237605"/>
                    <a:pt x="9553113" y="2240039"/>
                  </a:cubicBezTo>
                  <a:lnTo>
                    <a:pt x="9553113" y="2209923"/>
                  </a:lnTo>
                  <a:cubicBezTo>
                    <a:pt x="9558994" y="2207997"/>
                    <a:pt x="9564673" y="2205968"/>
                    <a:pt x="9570148" y="2203839"/>
                  </a:cubicBezTo>
                  <a:cubicBezTo>
                    <a:pt x="9575624" y="2201710"/>
                    <a:pt x="9581024" y="2199326"/>
                    <a:pt x="9586347" y="2196690"/>
                  </a:cubicBezTo>
                  <a:cubicBezTo>
                    <a:pt x="9591671" y="2194054"/>
                    <a:pt x="9597045" y="2191113"/>
                    <a:pt x="9602470" y="2187868"/>
                  </a:cubicBezTo>
                  <a:cubicBezTo>
                    <a:pt x="9607895" y="2184624"/>
                    <a:pt x="9613497" y="2180922"/>
                    <a:pt x="9619277" y="2176765"/>
                  </a:cubicBezTo>
                  <a:close/>
                  <a:moveTo>
                    <a:pt x="8816172" y="2176765"/>
                  </a:moveTo>
                  <a:lnTo>
                    <a:pt x="8831078" y="2176765"/>
                  </a:lnTo>
                  <a:lnTo>
                    <a:pt x="8831078" y="2399745"/>
                  </a:lnTo>
                  <a:lnTo>
                    <a:pt x="8795790" y="2399745"/>
                  </a:lnTo>
                  <a:lnTo>
                    <a:pt x="8795790" y="2219962"/>
                  </a:lnTo>
                  <a:cubicBezTo>
                    <a:pt x="8789402" y="2224525"/>
                    <a:pt x="8782532" y="2228403"/>
                    <a:pt x="8775181" y="2231597"/>
                  </a:cubicBezTo>
                  <a:cubicBezTo>
                    <a:pt x="8767829" y="2234792"/>
                    <a:pt x="8759438" y="2237605"/>
                    <a:pt x="8750008" y="2240039"/>
                  </a:cubicBezTo>
                  <a:lnTo>
                    <a:pt x="8750008" y="2209923"/>
                  </a:lnTo>
                  <a:cubicBezTo>
                    <a:pt x="8755889" y="2207997"/>
                    <a:pt x="8761568" y="2205968"/>
                    <a:pt x="8767043" y="2203839"/>
                  </a:cubicBezTo>
                  <a:cubicBezTo>
                    <a:pt x="8772519" y="2201710"/>
                    <a:pt x="8777919" y="2199326"/>
                    <a:pt x="8783242" y="2196690"/>
                  </a:cubicBezTo>
                  <a:cubicBezTo>
                    <a:pt x="8788566" y="2194054"/>
                    <a:pt x="8793940" y="2191113"/>
                    <a:pt x="8799365" y="2187868"/>
                  </a:cubicBezTo>
                  <a:cubicBezTo>
                    <a:pt x="8804790" y="2184624"/>
                    <a:pt x="8810392" y="2180922"/>
                    <a:pt x="8816172" y="2176765"/>
                  </a:cubicBezTo>
                  <a:close/>
                  <a:moveTo>
                    <a:pt x="8437565" y="2176765"/>
                  </a:moveTo>
                  <a:lnTo>
                    <a:pt x="8452471" y="2176765"/>
                  </a:lnTo>
                  <a:lnTo>
                    <a:pt x="8452471" y="2399745"/>
                  </a:lnTo>
                  <a:lnTo>
                    <a:pt x="8417183" y="2399745"/>
                  </a:lnTo>
                  <a:lnTo>
                    <a:pt x="8417183" y="2219962"/>
                  </a:lnTo>
                  <a:cubicBezTo>
                    <a:pt x="8410795" y="2224525"/>
                    <a:pt x="8403925" y="2228403"/>
                    <a:pt x="8396574" y="2231597"/>
                  </a:cubicBezTo>
                  <a:cubicBezTo>
                    <a:pt x="8389222" y="2234792"/>
                    <a:pt x="8380831" y="2237605"/>
                    <a:pt x="8371401" y="2240039"/>
                  </a:cubicBezTo>
                  <a:lnTo>
                    <a:pt x="8371401" y="2209923"/>
                  </a:lnTo>
                  <a:cubicBezTo>
                    <a:pt x="8377282" y="2207997"/>
                    <a:pt x="8382961" y="2205968"/>
                    <a:pt x="8388436" y="2203839"/>
                  </a:cubicBezTo>
                  <a:cubicBezTo>
                    <a:pt x="8393912" y="2201710"/>
                    <a:pt x="8399312" y="2199326"/>
                    <a:pt x="8404635" y="2196690"/>
                  </a:cubicBezTo>
                  <a:cubicBezTo>
                    <a:pt x="8409959" y="2194054"/>
                    <a:pt x="8415333" y="2191113"/>
                    <a:pt x="8420758" y="2187868"/>
                  </a:cubicBezTo>
                  <a:cubicBezTo>
                    <a:pt x="8426183" y="2184624"/>
                    <a:pt x="8431785" y="2180922"/>
                    <a:pt x="8437565" y="2176765"/>
                  </a:cubicBezTo>
                  <a:close/>
                  <a:moveTo>
                    <a:pt x="8288708" y="2176765"/>
                  </a:moveTo>
                  <a:lnTo>
                    <a:pt x="8303614" y="2176765"/>
                  </a:lnTo>
                  <a:lnTo>
                    <a:pt x="8303614" y="2399745"/>
                  </a:lnTo>
                  <a:lnTo>
                    <a:pt x="8268326" y="2399745"/>
                  </a:lnTo>
                  <a:lnTo>
                    <a:pt x="8268326" y="2219962"/>
                  </a:lnTo>
                  <a:cubicBezTo>
                    <a:pt x="8261938" y="2224525"/>
                    <a:pt x="8255069" y="2228403"/>
                    <a:pt x="8247717" y="2231597"/>
                  </a:cubicBezTo>
                  <a:cubicBezTo>
                    <a:pt x="8240365" y="2234792"/>
                    <a:pt x="8231975" y="2237605"/>
                    <a:pt x="8222544" y="2240039"/>
                  </a:cubicBezTo>
                  <a:lnTo>
                    <a:pt x="8222544" y="2209923"/>
                  </a:lnTo>
                  <a:cubicBezTo>
                    <a:pt x="8228425" y="2207997"/>
                    <a:pt x="8234104" y="2205968"/>
                    <a:pt x="8239579" y="2203839"/>
                  </a:cubicBezTo>
                  <a:cubicBezTo>
                    <a:pt x="8245055" y="2201710"/>
                    <a:pt x="8250455" y="2199326"/>
                    <a:pt x="8255778" y="2196690"/>
                  </a:cubicBezTo>
                  <a:cubicBezTo>
                    <a:pt x="8261102" y="2194054"/>
                    <a:pt x="8266476" y="2191113"/>
                    <a:pt x="8271901" y="2187868"/>
                  </a:cubicBezTo>
                  <a:cubicBezTo>
                    <a:pt x="8277326" y="2184624"/>
                    <a:pt x="8282928" y="2180922"/>
                    <a:pt x="8288708" y="2176765"/>
                  </a:cubicBezTo>
                  <a:close/>
                  <a:moveTo>
                    <a:pt x="8134790" y="2176765"/>
                  </a:moveTo>
                  <a:lnTo>
                    <a:pt x="8149696" y="2176765"/>
                  </a:lnTo>
                  <a:lnTo>
                    <a:pt x="8149696" y="2399745"/>
                  </a:lnTo>
                  <a:lnTo>
                    <a:pt x="8114408" y="2399745"/>
                  </a:lnTo>
                  <a:lnTo>
                    <a:pt x="8114408" y="2219962"/>
                  </a:lnTo>
                  <a:cubicBezTo>
                    <a:pt x="8108020" y="2224525"/>
                    <a:pt x="8101151" y="2228403"/>
                    <a:pt x="8093799" y="2231597"/>
                  </a:cubicBezTo>
                  <a:cubicBezTo>
                    <a:pt x="8086447" y="2234792"/>
                    <a:pt x="8078057" y="2237605"/>
                    <a:pt x="8068626" y="2240039"/>
                  </a:cubicBezTo>
                  <a:lnTo>
                    <a:pt x="8068626" y="2209923"/>
                  </a:lnTo>
                  <a:cubicBezTo>
                    <a:pt x="8074507" y="2207997"/>
                    <a:pt x="8080186" y="2205968"/>
                    <a:pt x="8085661" y="2203839"/>
                  </a:cubicBezTo>
                  <a:cubicBezTo>
                    <a:pt x="8091137" y="2201710"/>
                    <a:pt x="8096537" y="2199326"/>
                    <a:pt x="8101860" y="2196690"/>
                  </a:cubicBezTo>
                  <a:cubicBezTo>
                    <a:pt x="8107184" y="2194054"/>
                    <a:pt x="8112558" y="2191113"/>
                    <a:pt x="8117983" y="2187868"/>
                  </a:cubicBezTo>
                  <a:cubicBezTo>
                    <a:pt x="8123408" y="2184624"/>
                    <a:pt x="8129010" y="2180922"/>
                    <a:pt x="8134790" y="2176765"/>
                  </a:cubicBezTo>
                  <a:close/>
                  <a:moveTo>
                    <a:pt x="7985933" y="2176765"/>
                  </a:moveTo>
                  <a:lnTo>
                    <a:pt x="8000839" y="2176765"/>
                  </a:lnTo>
                  <a:lnTo>
                    <a:pt x="8000839" y="2399745"/>
                  </a:lnTo>
                  <a:lnTo>
                    <a:pt x="7965551" y="2399745"/>
                  </a:lnTo>
                  <a:lnTo>
                    <a:pt x="7965551" y="2219962"/>
                  </a:lnTo>
                  <a:cubicBezTo>
                    <a:pt x="7959163" y="2224525"/>
                    <a:pt x="7952294" y="2228403"/>
                    <a:pt x="7944942" y="2231597"/>
                  </a:cubicBezTo>
                  <a:cubicBezTo>
                    <a:pt x="7937590" y="2234792"/>
                    <a:pt x="7929200" y="2237605"/>
                    <a:pt x="7919769" y="2240039"/>
                  </a:cubicBezTo>
                  <a:lnTo>
                    <a:pt x="7919769" y="2209923"/>
                  </a:lnTo>
                  <a:cubicBezTo>
                    <a:pt x="7925650" y="2207997"/>
                    <a:pt x="7931329" y="2205968"/>
                    <a:pt x="7936804" y="2203839"/>
                  </a:cubicBezTo>
                  <a:cubicBezTo>
                    <a:pt x="7942280" y="2201710"/>
                    <a:pt x="7947680" y="2199326"/>
                    <a:pt x="7953003" y="2196690"/>
                  </a:cubicBezTo>
                  <a:cubicBezTo>
                    <a:pt x="7958327" y="2194054"/>
                    <a:pt x="7963701" y="2191113"/>
                    <a:pt x="7969126" y="2187868"/>
                  </a:cubicBezTo>
                  <a:cubicBezTo>
                    <a:pt x="7974551" y="2184624"/>
                    <a:pt x="7980153" y="2180922"/>
                    <a:pt x="7985933" y="2176765"/>
                  </a:cubicBezTo>
                  <a:close/>
                  <a:moveTo>
                    <a:pt x="7837076" y="2176765"/>
                  </a:moveTo>
                  <a:lnTo>
                    <a:pt x="7851982" y="2176765"/>
                  </a:lnTo>
                  <a:lnTo>
                    <a:pt x="7851982" y="2399745"/>
                  </a:lnTo>
                  <a:lnTo>
                    <a:pt x="7816694" y="2399745"/>
                  </a:lnTo>
                  <a:lnTo>
                    <a:pt x="7816694" y="2219962"/>
                  </a:lnTo>
                  <a:cubicBezTo>
                    <a:pt x="7810306" y="2224525"/>
                    <a:pt x="7803437" y="2228403"/>
                    <a:pt x="7796085" y="2231597"/>
                  </a:cubicBezTo>
                  <a:cubicBezTo>
                    <a:pt x="7788733" y="2234792"/>
                    <a:pt x="7780343" y="2237605"/>
                    <a:pt x="7770912" y="2240039"/>
                  </a:cubicBezTo>
                  <a:lnTo>
                    <a:pt x="7770912" y="2209923"/>
                  </a:lnTo>
                  <a:cubicBezTo>
                    <a:pt x="7776793" y="2207997"/>
                    <a:pt x="7782472" y="2205968"/>
                    <a:pt x="7787947" y="2203839"/>
                  </a:cubicBezTo>
                  <a:cubicBezTo>
                    <a:pt x="7793423" y="2201710"/>
                    <a:pt x="7798823" y="2199326"/>
                    <a:pt x="7804146" y="2196690"/>
                  </a:cubicBezTo>
                  <a:cubicBezTo>
                    <a:pt x="7809470" y="2194054"/>
                    <a:pt x="7814844" y="2191113"/>
                    <a:pt x="7820269" y="2187868"/>
                  </a:cubicBezTo>
                  <a:cubicBezTo>
                    <a:pt x="7825694" y="2184624"/>
                    <a:pt x="7831296" y="2180922"/>
                    <a:pt x="7837076" y="2176765"/>
                  </a:cubicBezTo>
                  <a:close/>
                  <a:moveTo>
                    <a:pt x="7484989" y="2176765"/>
                  </a:moveTo>
                  <a:lnTo>
                    <a:pt x="7499895" y="2176765"/>
                  </a:lnTo>
                  <a:lnTo>
                    <a:pt x="7499895" y="2399745"/>
                  </a:lnTo>
                  <a:lnTo>
                    <a:pt x="7464607" y="2399745"/>
                  </a:lnTo>
                  <a:lnTo>
                    <a:pt x="7464607" y="2219962"/>
                  </a:lnTo>
                  <a:cubicBezTo>
                    <a:pt x="7458219" y="2224525"/>
                    <a:pt x="7451350" y="2228403"/>
                    <a:pt x="7443998" y="2231597"/>
                  </a:cubicBezTo>
                  <a:cubicBezTo>
                    <a:pt x="7436646" y="2234792"/>
                    <a:pt x="7428256" y="2237605"/>
                    <a:pt x="7418825" y="2240039"/>
                  </a:cubicBezTo>
                  <a:lnTo>
                    <a:pt x="7418825" y="2209923"/>
                  </a:lnTo>
                  <a:cubicBezTo>
                    <a:pt x="7424706" y="2207997"/>
                    <a:pt x="7430385" y="2205968"/>
                    <a:pt x="7435860" y="2203839"/>
                  </a:cubicBezTo>
                  <a:cubicBezTo>
                    <a:pt x="7441336" y="2201710"/>
                    <a:pt x="7446736" y="2199326"/>
                    <a:pt x="7452059" y="2196690"/>
                  </a:cubicBezTo>
                  <a:cubicBezTo>
                    <a:pt x="7457383" y="2194054"/>
                    <a:pt x="7462757" y="2191113"/>
                    <a:pt x="7468182" y="2187868"/>
                  </a:cubicBezTo>
                  <a:cubicBezTo>
                    <a:pt x="7473607" y="2184624"/>
                    <a:pt x="7479209" y="2180922"/>
                    <a:pt x="7484989" y="2176765"/>
                  </a:cubicBezTo>
                  <a:close/>
                  <a:moveTo>
                    <a:pt x="7187275" y="2176765"/>
                  </a:moveTo>
                  <a:lnTo>
                    <a:pt x="7202181" y="2176765"/>
                  </a:lnTo>
                  <a:lnTo>
                    <a:pt x="7202181" y="2399745"/>
                  </a:lnTo>
                  <a:lnTo>
                    <a:pt x="7166893" y="2399745"/>
                  </a:lnTo>
                  <a:lnTo>
                    <a:pt x="7166893" y="2219962"/>
                  </a:lnTo>
                  <a:cubicBezTo>
                    <a:pt x="7160505" y="2224525"/>
                    <a:pt x="7153636" y="2228403"/>
                    <a:pt x="7146284" y="2231597"/>
                  </a:cubicBezTo>
                  <a:cubicBezTo>
                    <a:pt x="7138932" y="2234792"/>
                    <a:pt x="7130542" y="2237605"/>
                    <a:pt x="7121111" y="2240039"/>
                  </a:cubicBezTo>
                  <a:lnTo>
                    <a:pt x="7121111" y="2209923"/>
                  </a:lnTo>
                  <a:cubicBezTo>
                    <a:pt x="7126992" y="2207997"/>
                    <a:pt x="7132671" y="2205968"/>
                    <a:pt x="7138146" y="2203839"/>
                  </a:cubicBezTo>
                  <a:cubicBezTo>
                    <a:pt x="7143622" y="2201710"/>
                    <a:pt x="7149022" y="2199326"/>
                    <a:pt x="7154345" y="2196690"/>
                  </a:cubicBezTo>
                  <a:cubicBezTo>
                    <a:pt x="7159669" y="2194054"/>
                    <a:pt x="7165043" y="2191113"/>
                    <a:pt x="7170468" y="2187868"/>
                  </a:cubicBezTo>
                  <a:cubicBezTo>
                    <a:pt x="7175893" y="2184624"/>
                    <a:pt x="7181495" y="2180922"/>
                    <a:pt x="7187275" y="2176765"/>
                  </a:cubicBezTo>
                  <a:close/>
                  <a:moveTo>
                    <a:pt x="6977863" y="2176765"/>
                  </a:moveTo>
                  <a:cubicBezTo>
                    <a:pt x="7025308" y="2176765"/>
                    <a:pt x="7049030" y="2213628"/>
                    <a:pt x="7049030" y="2287352"/>
                  </a:cubicBezTo>
                  <a:cubicBezTo>
                    <a:pt x="7049030" y="2323864"/>
                    <a:pt x="7042335" y="2351724"/>
                    <a:pt x="7028944" y="2370932"/>
                  </a:cubicBezTo>
                  <a:cubicBezTo>
                    <a:pt x="7015553" y="2390140"/>
                    <a:pt x="6996821" y="2399745"/>
                    <a:pt x="6972747" y="2399745"/>
                  </a:cubicBezTo>
                  <a:cubicBezTo>
                    <a:pt x="6950279" y="2399745"/>
                    <a:pt x="6932750" y="2390567"/>
                    <a:pt x="6920162" y="2372211"/>
                  </a:cubicBezTo>
                  <a:cubicBezTo>
                    <a:pt x="6907573" y="2353855"/>
                    <a:pt x="6901279" y="2327324"/>
                    <a:pt x="6901279" y="2292619"/>
                  </a:cubicBezTo>
                  <a:cubicBezTo>
                    <a:pt x="6901279" y="2254502"/>
                    <a:pt x="6907849" y="2225664"/>
                    <a:pt x="6920989" y="2206104"/>
                  </a:cubicBezTo>
                  <a:cubicBezTo>
                    <a:pt x="6934130" y="2186545"/>
                    <a:pt x="6953087" y="2176765"/>
                    <a:pt x="6977863" y="2176765"/>
                  </a:cubicBezTo>
                  <a:close/>
                  <a:moveTo>
                    <a:pt x="6761353" y="2176765"/>
                  </a:moveTo>
                  <a:cubicBezTo>
                    <a:pt x="6808798" y="2176765"/>
                    <a:pt x="6832520" y="2213628"/>
                    <a:pt x="6832520" y="2287352"/>
                  </a:cubicBezTo>
                  <a:cubicBezTo>
                    <a:pt x="6832520" y="2323864"/>
                    <a:pt x="6825825" y="2351724"/>
                    <a:pt x="6812434" y="2370932"/>
                  </a:cubicBezTo>
                  <a:cubicBezTo>
                    <a:pt x="6799043" y="2390140"/>
                    <a:pt x="6780311" y="2399745"/>
                    <a:pt x="6756237" y="2399745"/>
                  </a:cubicBezTo>
                  <a:cubicBezTo>
                    <a:pt x="6733769" y="2399745"/>
                    <a:pt x="6716240" y="2390567"/>
                    <a:pt x="6703652" y="2372211"/>
                  </a:cubicBezTo>
                  <a:cubicBezTo>
                    <a:pt x="6691063" y="2353855"/>
                    <a:pt x="6684769" y="2327324"/>
                    <a:pt x="6684769" y="2292619"/>
                  </a:cubicBezTo>
                  <a:cubicBezTo>
                    <a:pt x="6684769" y="2254502"/>
                    <a:pt x="6691339" y="2225664"/>
                    <a:pt x="6704479" y="2206104"/>
                  </a:cubicBezTo>
                  <a:cubicBezTo>
                    <a:pt x="6717620" y="2186545"/>
                    <a:pt x="6736577" y="2176765"/>
                    <a:pt x="6761353" y="2176765"/>
                  </a:cubicBezTo>
                  <a:close/>
                  <a:moveTo>
                    <a:pt x="6615046" y="2176765"/>
                  </a:moveTo>
                  <a:lnTo>
                    <a:pt x="6629952" y="2176765"/>
                  </a:lnTo>
                  <a:lnTo>
                    <a:pt x="6629952" y="2399745"/>
                  </a:lnTo>
                  <a:lnTo>
                    <a:pt x="6594664" y="2399745"/>
                  </a:lnTo>
                  <a:lnTo>
                    <a:pt x="6594664" y="2219962"/>
                  </a:lnTo>
                  <a:cubicBezTo>
                    <a:pt x="6588276" y="2224525"/>
                    <a:pt x="6581407" y="2228403"/>
                    <a:pt x="6574055" y="2231597"/>
                  </a:cubicBezTo>
                  <a:cubicBezTo>
                    <a:pt x="6566703" y="2234792"/>
                    <a:pt x="6558313" y="2237605"/>
                    <a:pt x="6548882" y="2240039"/>
                  </a:cubicBezTo>
                  <a:lnTo>
                    <a:pt x="6548882" y="2209923"/>
                  </a:lnTo>
                  <a:cubicBezTo>
                    <a:pt x="6554763" y="2207997"/>
                    <a:pt x="6560442" y="2205968"/>
                    <a:pt x="6565917" y="2203839"/>
                  </a:cubicBezTo>
                  <a:cubicBezTo>
                    <a:pt x="6571393" y="2201710"/>
                    <a:pt x="6576793" y="2199326"/>
                    <a:pt x="6582116" y="2196690"/>
                  </a:cubicBezTo>
                  <a:cubicBezTo>
                    <a:pt x="6587440" y="2194054"/>
                    <a:pt x="6592814" y="2191113"/>
                    <a:pt x="6598239" y="2187868"/>
                  </a:cubicBezTo>
                  <a:cubicBezTo>
                    <a:pt x="6603664" y="2184624"/>
                    <a:pt x="6609266" y="2180922"/>
                    <a:pt x="6615046" y="2176765"/>
                  </a:cubicBezTo>
                  <a:close/>
                  <a:moveTo>
                    <a:pt x="6317332" y="2176765"/>
                  </a:moveTo>
                  <a:lnTo>
                    <a:pt x="6332238" y="2176765"/>
                  </a:lnTo>
                  <a:lnTo>
                    <a:pt x="6332238" y="2399745"/>
                  </a:lnTo>
                  <a:lnTo>
                    <a:pt x="6296950" y="2399745"/>
                  </a:lnTo>
                  <a:lnTo>
                    <a:pt x="6296950" y="2219962"/>
                  </a:lnTo>
                  <a:cubicBezTo>
                    <a:pt x="6290562" y="2224525"/>
                    <a:pt x="6283693" y="2228403"/>
                    <a:pt x="6276341" y="2231597"/>
                  </a:cubicBezTo>
                  <a:cubicBezTo>
                    <a:pt x="6268989" y="2234792"/>
                    <a:pt x="6260599" y="2237605"/>
                    <a:pt x="6251168" y="2240039"/>
                  </a:cubicBezTo>
                  <a:lnTo>
                    <a:pt x="6251168" y="2209923"/>
                  </a:lnTo>
                  <a:cubicBezTo>
                    <a:pt x="6257049" y="2207997"/>
                    <a:pt x="6262728" y="2205968"/>
                    <a:pt x="6268203" y="2203839"/>
                  </a:cubicBezTo>
                  <a:cubicBezTo>
                    <a:pt x="6273679" y="2201710"/>
                    <a:pt x="6279079" y="2199326"/>
                    <a:pt x="6284402" y="2196690"/>
                  </a:cubicBezTo>
                  <a:cubicBezTo>
                    <a:pt x="6289726" y="2194054"/>
                    <a:pt x="6295100" y="2191113"/>
                    <a:pt x="6300525" y="2187868"/>
                  </a:cubicBezTo>
                  <a:cubicBezTo>
                    <a:pt x="6305950" y="2184624"/>
                    <a:pt x="6311552" y="2180922"/>
                    <a:pt x="6317332" y="2176765"/>
                  </a:cubicBezTo>
                  <a:close/>
                  <a:moveTo>
                    <a:pt x="6143576" y="2176765"/>
                  </a:moveTo>
                  <a:cubicBezTo>
                    <a:pt x="6191021" y="2176765"/>
                    <a:pt x="6214743" y="2213628"/>
                    <a:pt x="6214743" y="2287352"/>
                  </a:cubicBezTo>
                  <a:cubicBezTo>
                    <a:pt x="6214743" y="2323864"/>
                    <a:pt x="6208048" y="2351724"/>
                    <a:pt x="6194657" y="2370932"/>
                  </a:cubicBezTo>
                  <a:cubicBezTo>
                    <a:pt x="6181266" y="2390140"/>
                    <a:pt x="6162534" y="2399745"/>
                    <a:pt x="6138460" y="2399745"/>
                  </a:cubicBezTo>
                  <a:cubicBezTo>
                    <a:pt x="6115992" y="2399745"/>
                    <a:pt x="6098463" y="2390567"/>
                    <a:pt x="6085875" y="2372211"/>
                  </a:cubicBezTo>
                  <a:cubicBezTo>
                    <a:pt x="6073286" y="2353855"/>
                    <a:pt x="6066992" y="2327324"/>
                    <a:pt x="6066992" y="2292619"/>
                  </a:cubicBezTo>
                  <a:cubicBezTo>
                    <a:pt x="6066992" y="2254502"/>
                    <a:pt x="6073562" y="2225664"/>
                    <a:pt x="6086702" y="2206104"/>
                  </a:cubicBezTo>
                  <a:cubicBezTo>
                    <a:pt x="6099843" y="2186545"/>
                    <a:pt x="6118800" y="2176765"/>
                    <a:pt x="6143576" y="2176765"/>
                  </a:cubicBezTo>
                  <a:close/>
                  <a:moveTo>
                    <a:pt x="5927066" y="2176765"/>
                  </a:moveTo>
                  <a:cubicBezTo>
                    <a:pt x="5974510" y="2176765"/>
                    <a:pt x="5998233" y="2213628"/>
                    <a:pt x="5998233" y="2287352"/>
                  </a:cubicBezTo>
                  <a:cubicBezTo>
                    <a:pt x="5998233" y="2323864"/>
                    <a:pt x="5991537" y="2351724"/>
                    <a:pt x="5978148" y="2370932"/>
                  </a:cubicBezTo>
                  <a:cubicBezTo>
                    <a:pt x="5964756" y="2390140"/>
                    <a:pt x="5946024" y="2399745"/>
                    <a:pt x="5921951" y="2399745"/>
                  </a:cubicBezTo>
                  <a:cubicBezTo>
                    <a:pt x="5899481" y="2399745"/>
                    <a:pt x="5881953" y="2390567"/>
                    <a:pt x="5869364" y="2372211"/>
                  </a:cubicBezTo>
                  <a:cubicBezTo>
                    <a:pt x="5856776" y="2353855"/>
                    <a:pt x="5850483" y="2327324"/>
                    <a:pt x="5850483" y="2292619"/>
                  </a:cubicBezTo>
                  <a:cubicBezTo>
                    <a:pt x="5850483" y="2254502"/>
                    <a:pt x="5857053" y="2225664"/>
                    <a:pt x="5870192" y="2206104"/>
                  </a:cubicBezTo>
                  <a:cubicBezTo>
                    <a:pt x="5883332" y="2186545"/>
                    <a:pt x="5902290" y="2176765"/>
                    <a:pt x="5927066" y="2176765"/>
                  </a:cubicBezTo>
                  <a:close/>
                  <a:moveTo>
                    <a:pt x="5702958" y="2176765"/>
                  </a:moveTo>
                  <a:cubicBezTo>
                    <a:pt x="5750404" y="2176765"/>
                    <a:pt x="5774126" y="2213628"/>
                    <a:pt x="5774126" y="2287352"/>
                  </a:cubicBezTo>
                  <a:cubicBezTo>
                    <a:pt x="5774126" y="2323864"/>
                    <a:pt x="5767431" y="2351724"/>
                    <a:pt x="5754041" y="2370932"/>
                  </a:cubicBezTo>
                  <a:cubicBezTo>
                    <a:pt x="5740649" y="2390140"/>
                    <a:pt x="5721916" y="2399745"/>
                    <a:pt x="5697845" y="2399745"/>
                  </a:cubicBezTo>
                  <a:cubicBezTo>
                    <a:pt x="5675374" y="2399745"/>
                    <a:pt x="5657847" y="2390567"/>
                    <a:pt x="5645258" y="2372211"/>
                  </a:cubicBezTo>
                  <a:cubicBezTo>
                    <a:pt x="5632670" y="2353855"/>
                    <a:pt x="5626376" y="2327324"/>
                    <a:pt x="5626376" y="2292619"/>
                  </a:cubicBezTo>
                  <a:cubicBezTo>
                    <a:pt x="5626376" y="2254502"/>
                    <a:pt x="5632945" y="2225664"/>
                    <a:pt x="5646086" y="2206104"/>
                  </a:cubicBezTo>
                  <a:cubicBezTo>
                    <a:pt x="5659226" y="2186545"/>
                    <a:pt x="5678184" y="2176765"/>
                    <a:pt x="5702958" y="2176765"/>
                  </a:cubicBezTo>
                  <a:close/>
                  <a:moveTo>
                    <a:pt x="5545678" y="2176765"/>
                  </a:moveTo>
                  <a:lnTo>
                    <a:pt x="5560587" y="2176765"/>
                  </a:lnTo>
                  <a:lnTo>
                    <a:pt x="5560587" y="2399745"/>
                  </a:lnTo>
                  <a:lnTo>
                    <a:pt x="5525299" y="2399745"/>
                  </a:lnTo>
                  <a:lnTo>
                    <a:pt x="5525299" y="2219962"/>
                  </a:lnTo>
                  <a:cubicBezTo>
                    <a:pt x="5518910" y="2224525"/>
                    <a:pt x="5512039" y="2228403"/>
                    <a:pt x="5504689" y="2231597"/>
                  </a:cubicBezTo>
                  <a:cubicBezTo>
                    <a:pt x="5497337" y="2234792"/>
                    <a:pt x="5488945" y="2237605"/>
                    <a:pt x="5479516" y="2240039"/>
                  </a:cubicBezTo>
                  <a:lnTo>
                    <a:pt x="5479516" y="2209923"/>
                  </a:lnTo>
                  <a:cubicBezTo>
                    <a:pt x="5485396" y="2207997"/>
                    <a:pt x="5491075" y="2205968"/>
                    <a:pt x="5496550" y="2203839"/>
                  </a:cubicBezTo>
                  <a:cubicBezTo>
                    <a:pt x="5502026" y="2201710"/>
                    <a:pt x="5507425" y="2199326"/>
                    <a:pt x="5512750" y="2196690"/>
                  </a:cubicBezTo>
                  <a:cubicBezTo>
                    <a:pt x="5518072" y="2194054"/>
                    <a:pt x="5523447" y="2191113"/>
                    <a:pt x="5528872" y="2187868"/>
                  </a:cubicBezTo>
                  <a:cubicBezTo>
                    <a:pt x="5534298" y="2184624"/>
                    <a:pt x="5539899" y="2180922"/>
                    <a:pt x="5545678" y="2176765"/>
                  </a:cubicBezTo>
                  <a:close/>
                  <a:moveTo>
                    <a:pt x="5247965" y="2176765"/>
                  </a:moveTo>
                  <a:lnTo>
                    <a:pt x="5262872" y="2176765"/>
                  </a:lnTo>
                  <a:lnTo>
                    <a:pt x="5262872" y="2399745"/>
                  </a:lnTo>
                  <a:lnTo>
                    <a:pt x="5227584" y="2399745"/>
                  </a:lnTo>
                  <a:lnTo>
                    <a:pt x="5227584" y="2219962"/>
                  </a:lnTo>
                  <a:cubicBezTo>
                    <a:pt x="5221197" y="2224525"/>
                    <a:pt x="5214327" y="2228403"/>
                    <a:pt x="5206974" y="2231597"/>
                  </a:cubicBezTo>
                  <a:cubicBezTo>
                    <a:pt x="5199623" y="2234792"/>
                    <a:pt x="5191232" y="2237605"/>
                    <a:pt x="5181802" y="2240039"/>
                  </a:cubicBezTo>
                  <a:lnTo>
                    <a:pt x="5181802" y="2209923"/>
                  </a:lnTo>
                  <a:cubicBezTo>
                    <a:pt x="5187683" y="2207997"/>
                    <a:pt x="5193361" y="2205968"/>
                    <a:pt x="5198836" y="2203839"/>
                  </a:cubicBezTo>
                  <a:cubicBezTo>
                    <a:pt x="5204313" y="2201710"/>
                    <a:pt x="5209712" y="2199326"/>
                    <a:pt x="5215036" y="2196690"/>
                  </a:cubicBezTo>
                  <a:cubicBezTo>
                    <a:pt x="5220359" y="2194054"/>
                    <a:pt x="5225733" y="2191113"/>
                    <a:pt x="5231158" y="2187868"/>
                  </a:cubicBezTo>
                  <a:cubicBezTo>
                    <a:pt x="5236583" y="2184624"/>
                    <a:pt x="5242185" y="2180922"/>
                    <a:pt x="5247965" y="2176765"/>
                  </a:cubicBezTo>
                  <a:close/>
                  <a:moveTo>
                    <a:pt x="4873220" y="2176765"/>
                  </a:moveTo>
                  <a:lnTo>
                    <a:pt x="4888126" y="2176765"/>
                  </a:lnTo>
                  <a:lnTo>
                    <a:pt x="4888126" y="2399745"/>
                  </a:lnTo>
                  <a:lnTo>
                    <a:pt x="4852838" y="2399745"/>
                  </a:lnTo>
                  <a:lnTo>
                    <a:pt x="4852838" y="2219962"/>
                  </a:lnTo>
                  <a:cubicBezTo>
                    <a:pt x="4846450" y="2224525"/>
                    <a:pt x="4839580" y="2228403"/>
                    <a:pt x="4832228" y="2231597"/>
                  </a:cubicBezTo>
                  <a:cubicBezTo>
                    <a:pt x="4824878" y="2234792"/>
                    <a:pt x="4816488" y="2237605"/>
                    <a:pt x="4807057" y="2240039"/>
                  </a:cubicBezTo>
                  <a:lnTo>
                    <a:pt x="4807057" y="2209923"/>
                  </a:lnTo>
                  <a:cubicBezTo>
                    <a:pt x="4812938" y="2207997"/>
                    <a:pt x="4818616" y="2205968"/>
                    <a:pt x="4824092" y="2203839"/>
                  </a:cubicBezTo>
                  <a:cubicBezTo>
                    <a:pt x="4829568" y="2201710"/>
                    <a:pt x="4834966" y="2199326"/>
                    <a:pt x="4840292" y="2196690"/>
                  </a:cubicBezTo>
                  <a:cubicBezTo>
                    <a:pt x="4845614" y="2194054"/>
                    <a:pt x="4850988" y="2191113"/>
                    <a:pt x="4856413" y="2187868"/>
                  </a:cubicBezTo>
                  <a:cubicBezTo>
                    <a:pt x="4861838" y="2184624"/>
                    <a:pt x="4867440" y="2180922"/>
                    <a:pt x="4873220" y="2176765"/>
                  </a:cubicBezTo>
                  <a:close/>
                  <a:moveTo>
                    <a:pt x="4729612" y="2176765"/>
                  </a:moveTo>
                  <a:lnTo>
                    <a:pt x="4744518" y="2176765"/>
                  </a:lnTo>
                  <a:lnTo>
                    <a:pt x="4744518" y="2399745"/>
                  </a:lnTo>
                  <a:lnTo>
                    <a:pt x="4709230" y="2399745"/>
                  </a:lnTo>
                  <a:lnTo>
                    <a:pt x="4709230" y="2219962"/>
                  </a:lnTo>
                  <a:cubicBezTo>
                    <a:pt x="4702842" y="2224525"/>
                    <a:pt x="4695973" y="2228403"/>
                    <a:pt x="4688621" y="2231597"/>
                  </a:cubicBezTo>
                  <a:cubicBezTo>
                    <a:pt x="4681270" y="2234792"/>
                    <a:pt x="4672879" y="2237605"/>
                    <a:pt x="4663449" y="2240039"/>
                  </a:cubicBezTo>
                  <a:lnTo>
                    <a:pt x="4663449" y="2209923"/>
                  </a:lnTo>
                  <a:cubicBezTo>
                    <a:pt x="4669329" y="2207997"/>
                    <a:pt x="4675008" y="2205968"/>
                    <a:pt x="4680483" y="2203839"/>
                  </a:cubicBezTo>
                  <a:cubicBezTo>
                    <a:pt x="4685960" y="2201710"/>
                    <a:pt x="4691358" y="2199326"/>
                    <a:pt x="4696683" y="2196690"/>
                  </a:cubicBezTo>
                  <a:cubicBezTo>
                    <a:pt x="4702006" y="2194054"/>
                    <a:pt x="4707380" y="2191113"/>
                    <a:pt x="4712804" y="2187868"/>
                  </a:cubicBezTo>
                  <a:cubicBezTo>
                    <a:pt x="4718231" y="2184624"/>
                    <a:pt x="4723832" y="2180922"/>
                    <a:pt x="4729612" y="2176765"/>
                  </a:cubicBezTo>
                  <a:close/>
                  <a:moveTo>
                    <a:pt x="4586004" y="2176765"/>
                  </a:moveTo>
                  <a:lnTo>
                    <a:pt x="4600910" y="2176765"/>
                  </a:lnTo>
                  <a:lnTo>
                    <a:pt x="4600910" y="2399745"/>
                  </a:lnTo>
                  <a:lnTo>
                    <a:pt x="4565622" y="2399745"/>
                  </a:lnTo>
                  <a:lnTo>
                    <a:pt x="4565622" y="2219962"/>
                  </a:lnTo>
                  <a:cubicBezTo>
                    <a:pt x="4559235" y="2224525"/>
                    <a:pt x="4552364" y="2228403"/>
                    <a:pt x="4545013" y="2231597"/>
                  </a:cubicBezTo>
                  <a:cubicBezTo>
                    <a:pt x="4537661" y="2234792"/>
                    <a:pt x="4529271" y="2237605"/>
                    <a:pt x="4519841" y="2240039"/>
                  </a:cubicBezTo>
                  <a:lnTo>
                    <a:pt x="4519841" y="2209923"/>
                  </a:lnTo>
                  <a:cubicBezTo>
                    <a:pt x="4525721" y="2207997"/>
                    <a:pt x="4531400" y="2205968"/>
                    <a:pt x="4536875" y="2203839"/>
                  </a:cubicBezTo>
                  <a:cubicBezTo>
                    <a:pt x="4542352" y="2201710"/>
                    <a:pt x="4547750" y="2199326"/>
                    <a:pt x="4553076" y="2196690"/>
                  </a:cubicBezTo>
                  <a:cubicBezTo>
                    <a:pt x="4558398" y="2194054"/>
                    <a:pt x="4563773" y="2191113"/>
                    <a:pt x="4569196" y="2187868"/>
                  </a:cubicBezTo>
                  <a:cubicBezTo>
                    <a:pt x="4574624" y="2184624"/>
                    <a:pt x="4580224" y="2180922"/>
                    <a:pt x="4586004" y="2176765"/>
                  </a:cubicBezTo>
                  <a:close/>
                  <a:moveTo>
                    <a:pt x="4442396" y="2176765"/>
                  </a:moveTo>
                  <a:lnTo>
                    <a:pt x="4457303" y="2176765"/>
                  </a:lnTo>
                  <a:lnTo>
                    <a:pt x="4457303" y="2399745"/>
                  </a:lnTo>
                  <a:lnTo>
                    <a:pt x="4422014" y="2399745"/>
                  </a:lnTo>
                  <a:lnTo>
                    <a:pt x="4422014" y="2219962"/>
                  </a:lnTo>
                  <a:cubicBezTo>
                    <a:pt x="4415627" y="2224525"/>
                    <a:pt x="4408756" y="2228403"/>
                    <a:pt x="4401405" y="2231597"/>
                  </a:cubicBezTo>
                  <a:cubicBezTo>
                    <a:pt x="4394053" y="2234792"/>
                    <a:pt x="4385663" y="2237605"/>
                    <a:pt x="4376233" y="2240039"/>
                  </a:cubicBezTo>
                  <a:lnTo>
                    <a:pt x="4376233" y="2209923"/>
                  </a:lnTo>
                  <a:cubicBezTo>
                    <a:pt x="4382113" y="2207997"/>
                    <a:pt x="4387792" y="2205968"/>
                    <a:pt x="4393267" y="2203839"/>
                  </a:cubicBezTo>
                  <a:cubicBezTo>
                    <a:pt x="4398744" y="2201710"/>
                    <a:pt x="4404142" y="2199326"/>
                    <a:pt x="4409467" y="2196690"/>
                  </a:cubicBezTo>
                  <a:cubicBezTo>
                    <a:pt x="4414790" y="2194054"/>
                    <a:pt x="4420165" y="2191113"/>
                    <a:pt x="4425590" y="2187868"/>
                  </a:cubicBezTo>
                  <a:cubicBezTo>
                    <a:pt x="4431016" y="2184624"/>
                    <a:pt x="4436616" y="2180922"/>
                    <a:pt x="4442396" y="2176765"/>
                  </a:cubicBezTo>
                  <a:close/>
                  <a:moveTo>
                    <a:pt x="3702228" y="2176765"/>
                  </a:moveTo>
                  <a:lnTo>
                    <a:pt x="3717133" y="2176765"/>
                  </a:lnTo>
                  <a:lnTo>
                    <a:pt x="3717133" y="2399745"/>
                  </a:lnTo>
                  <a:lnTo>
                    <a:pt x="3681845" y="2399745"/>
                  </a:lnTo>
                  <a:lnTo>
                    <a:pt x="3681845" y="2219962"/>
                  </a:lnTo>
                  <a:cubicBezTo>
                    <a:pt x="3675458" y="2224525"/>
                    <a:pt x="3668588" y="2228403"/>
                    <a:pt x="3661236" y="2231597"/>
                  </a:cubicBezTo>
                  <a:cubicBezTo>
                    <a:pt x="3653885" y="2234792"/>
                    <a:pt x="3645492" y="2237605"/>
                    <a:pt x="3636063" y="2240039"/>
                  </a:cubicBezTo>
                  <a:lnTo>
                    <a:pt x="3636063" y="2209923"/>
                  </a:lnTo>
                  <a:cubicBezTo>
                    <a:pt x="3641944" y="2207997"/>
                    <a:pt x="3647623" y="2205968"/>
                    <a:pt x="3653098" y="2203839"/>
                  </a:cubicBezTo>
                  <a:cubicBezTo>
                    <a:pt x="3658573" y="2201710"/>
                    <a:pt x="3663973" y="2199326"/>
                    <a:pt x="3669298" y="2196690"/>
                  </a:cubicBezTo>
                  <a:cubicBezTo>
                    <a:pt x="3674622" y="2194054"/>
                    <a:pt x="3679995" y="2191113"/>
                    <a:pt x="3685419" y="2187868"/>
                  </a:cubicBezTo>
                  <a:cubicBezTo>
                    <a:pt x="3690846" y="2184624"/>
                    <a:pt x="3696447" y="2180922"/>
                    <a:pt x="3702228" y="2176765"/>
                  </a:cubicBezTo>
                  <a:close/>
                  <a:moveTo>
                    <a:pt x="3553371" y="2176765"/>
                  </a:moveTo>
                  <a:lnTo>
                    <a:pt x="3568277" y="2176765"/>
                  </a:lnTo>
                  <a:lnTo>
                    <a:pt x="3568277" y="2399745"/>
                  </a:lnTo>
                  <a:lnTo>
                    <a:pt x="3532989" y="2399745"/>
                  </a:lnTo>
                  <a:lnTo>
                    <a:pt x="3532989" y="2219962"/>
                  </a:lnTo>
                  <a:cubicBezTo>
                    <a:pt x="3526600" y="2224525"/>
                    <a:pt x="3519731" y="2228403"/>
                    <a:pt x="3512380" y="2231597"/>
                  </a:cubicBezTo>
                  <a:cubicBezTo>
                    <a:pt x="3505027" y="2234792"/>
                    <a:pt x="3496637" y="2237605"/>
                    <a:pt x="3487206" y="2240039"/>
                  </a:cubicBezTo>
                  <a:lnTo>
                    <a:pt x="3487206" y="2209923"/>
                  </a:lnTo>
                  <a:cubicBezTo>
                    <a:pt x="3493088" y="2207997"/>
                    <a:pt x="3498767" y="2205968"/>
                    <a:pt x="3504242" y="2203839"/>
                  </a:cubicBezTo>
                  <a:cubicBezTo>
                    <a:pt x="3509717" y="2201710"/>
                    <a:pt x="3515117" y="2199326"/>
                    <a:pt x="3520441" y="2196690"/>
                  </a:cubicBezTo>
                  <a:cubicBezTo>
                    <a:pt x="3525764" y="2194054"/>
                    <a:pt x="3531139" y="2191113"/>
                    <a:pt x="3536563" y="2187868"/>
                  </a:cubicBezTo>
                  <a:cubicBezTo>
                    <a:pt x="3541988" y="2184624"/>
                    <a:pt x="3547591" y="2180922"/>
                    <a:pt x="3553371" y="2176765"/>
                  </a:cubicBezTo>
                  <a:close/>
                  <a:moveTo>
                    <a:pt x="2748702" y="2176765"/>
                  </a:moveTo>
                  <a:lnTo>
                    <a:pt x="2763608" y="2176765"/>
                  </a:lnTo>
                  <a:lnTo>
                    <a:pt x="2763608" y="2399745"/>
                  </a:lnTo>
                  <a:lnTo>
                    <a:pt x="2728321" y="2399745"/>
                  </a:lnTo>
                  <a:lnTo>
                    <a:pt x="2728321" y="2219962"/>
                  </a:lnTo>
                  <a:cubicBezTo>
                    <a:pt x="2721933" y="2224525"/>
                    <a:pt x="2715062" y="2228403"/>
                    <a:pt x="2707711" y="2231597"/>
                  </a:cubicBezTo>
                  <a:cubicBezTo>
                    <a:pt x="2700359" y="2234792"/>
                    <a:pt x="2691969" y="2237605"/>
                    <a:pt x="2682538" y="2240039"/>
                  </a:cubicBezTo>
                  <a:lnTo>
                    <a:pt x="2682538" y="2209923"/>
                  </a:lnTo>
                  <a:cubicBezTo>
                    <a:pt x="2688420" y="2207997"/>
                    <a:pt x="2694098" y="2205968"/>
                    <a:pt x="2699574" y="2203839"/>
                  </a:cubicBezTo>
                  <a:cubicBezTo>
                    <a:pt x="2705048" y="2201710"/>
                    <a:pt x="2710449" y="2199326"/>
                    <a:pt x="2715773" y="2196690"/>
                  </a:cubicBezTo>
                  <a:cubicBezTo>
                    <a:pt x="2721097" y="2194054"/>
                    <a:pt x="2726470" y="2191113"/>
                    <a:pt x="2731895" y="2187868"/>
                  </a:cubicBezTo>
                  <a:cubicBezTo>
                    <a:pt x="2737320" y="2184624"/>
                    <a:pt x="2742921" y="2180922"/>
                    <a:pt x="2748702" y="2176765"/>
                  </a:cubicBezTo>
                  <a:close/>
                  <a:moveTo>
                    <a:pt x="2355943" y="2176765"/>
                  </a:moveTo>
                  <a:lnTo>
                    <a:pt x="2370850" y="2176765"/>
                  </a:lnTo>
                  <a:lnTo>
                    <a:pt x="2370850" y="2399745"/>
                  </a:lnTo>
                  <a:lnTo>
                    <a:pt x="2335562" y="2399745"/>
                  </a:lnTo>
                  <a:lnTo>
                    <a:pt x="2335562" y="2219962"/>
                  </a:lnTo>
                  <a:cubicBezTo>
                    <a:pt x="2329174" y="2224525"/>
                    <a:pt x="2322304" y="2228403"/>
                    <a:pt x="2314952" y="2231597"/>
                  </a:cubicBezTo>
                  <a:cubicBezTo>
                    <a:pt x="2307600" y="2234792"/>
                    <a:pt x="2299210" y="2237605"/>
                    <a:pt x="2289780" y="2240039"/>
                  </a:cubicBezTo>
                  <a:lnTo>
                    <a:pt x="2289780" y="2209923"/>
                  </a:lnTo>
                  <a:cubicBezTo>
                    <a:pt x="2295661" y="2207997"/>
                    <a:pt x="2301338" y="2205968"/>
                    <a:pt x="2306815" y="2203839"/>
                  </a:cubicBezTo>
                  <a:cubicBezTo>
                    <a:pt x="2312290" y="2201710"/>
                    <a:pt x="2317689" y="2199326"/>
                    <a:pt x="2323013" y="2196690"/>
                  </a:cubicBezTo>
                  <a:cubicBezTo>
                    <a:pt x="2328337" y="2194054"/>
                    <a:pt x="2333711" y="2191113"/>
                    <a:pt x="2339135" y="2187868"/>
                  </a:cubicBezTo>
                  <a:cubicBezTo>
                    <a:pt x="2344561" y="2184624"/>
                    <a:pt x="2350163" y="2180922"/>
                    <a:pt x="2355943" y="2176765"/>
                  </a:cubicBezTo>
                  <a:close/>
                  <a:moveTo>
                    <a:pt x="2212336" y="2176765"/>
                  </a:moveTo>
                  <a:lnTo>
                    <a:pt x="2227242" y="2176765"/>
                  </a:lnTo>
                  <a:lnTo>
                    <a:pt x="2227242" y="2399745"/>
                  </a:lnTo>
                  <a:lnTo>
                    <a:pt x="2191954" y="2399745"/>
                  </a:lnTo>
                  <a:lnTo>
                    <a:pt x="2191954" y="2219962"/>
                  </a:lnTo>
                  <a:cubicBezTo>
                    <a:pt x="2185566" y="2224525"/>
                    <a:pt x="2178696" y="2228403"/>
                    <a:pt x="2171344" y="2231597"/>
                  </a:cubicBezTo>
                  <a:cubicBezTo>
                    <a:pt x="2163993" y="2234792"/>
                    <a:pt x="2155601" y="2237605"/>
                    <a:pt x="2146172" y="2240039"/>
                  </a:cubicBezTo>
                  <a:lnTo>
                    <a:pt x="2146172" y="2209923"/>
                  </a:lnTo>
                  <a:cubicBezTo>
                    <a:pt x="2152053" y="2207997"/>
                    <a:pt x="2157731" y="2205968"/>
                    <a:pt x="2163206" y="2203839"/>
                  </a:cubicBezTo>
                  <a:cubicBezTo>
                    <a:pt x="2168682" y="2201710"/>
                    <a:pt x="2174080" y="2199326"/>
                    <a:pt x="2179406" y="2196690"/>
                  </a:cubicBezTo>
                  <a:cubicBezTo>
                    <a:pt x="2184729" y="2194054"/>
                    <a:pt x="2190103" y="2191113"/>
                    <a:pt x="2195528" y="2187868"/>
                  </a:cubicBezTo>
                  <a:cubicBezTo>
                    <a:pt x="2200953" y="2184624"/>
                    <a:pt x="2206554" y="2180922"/>
                    <a:pt x="2212336" y="2176765"/>
                  </a:cubicBezTo>
                  <a:close/>
                  <a:moveTo>
                    <a:pt x="2068726" y="2176765"/>
                  </a:moveTo>
                  <a:lnTo>
                    <a:pt x="2083633" y="2176765"/>
                  </a:lnTo>
                  <a:lnTo>
                    <a:pt x="2083633" y="2399745"/>
                  </a:lnTo>
                  <a:lnTo>
                    <a:pt x="2048345" y="2399745"/>
                  </a:lnTo>
                  <a:lnTo>
                    <a:pt x="2048345" y="2219962"/>
                  </a:lnTo>
                  <a:cubicBezTo>
                    <a:pt x="2041957" y="2224525"/>
                    <a:pt x="2035088" y="2228403"/>
                    <a:pt x="2027735" y="2231597"/>
                  </a:cubicBezTo>
                  <a:cubicBezTo>
                    <a:pt x="2020384" y="2234792"/>
                    <a:pt x="2011993" y="2237605"/>
                    <a:pt x="2002563" y="2240039"/>
                  </a:cubicBezTo>
                  <a:lnTo>
                    <a:pt x="2002563" y="2209923"/>
                  </a:lnTo>
                  <a:cubicBezTo>
                    <a:pt x="2008444" y="2207997"/>
                    <a:pt x="2014123" y="2205968"/>
                    <a:pt x="2019598" y="2203839"/>
                  </a:cubicBezTo>
                  <a:cubicBezTo>
                    <a:pt x="2025074" y="2201710"/>
                    <a:pt x="2030474" y="2199326"/>
                    <a:pt x="2035796" y="2196690"/>
                  </a:cubicBezTo>
                  <a:cubicBezTo>
                    <a:pt x="2041121" y="2194054"/>
                    <a:pt x="2046495" y="2191113"/>
                    <a:pt x="2051918" y="2187868"/>
                  </a:cubicBezTo>
                  <a:cubicBezTo>
                    <a:pt x="2057344" y="2184624"/>
                    <a:pt x="2062947" y="2180922"/>
                    <a:pt x="2068726" y="2176765"/>
                  </a:cubicBezTo>
                  <a:close/>
                  <a:moveTo>
                    <a:pt x="1925119" y="2176765"/>
                  </a:moveTo>
                  <a:lnTo>
                    <a:pt x="1940025" y="2176765"/>
                  </a:lnTo>
                  <a:lnTo>
                    <a:pt x="1940025" y="2399745"/>
                  </a:lnTo>
                  <a:lnTo>
                    <a:pt x="1904738" y="2399745"/>
                  </a:lnTo>
                  <a:lnTo>
                    <a:pt x="1904738" y="2219962"/>
                  </a:lnTo>
                  <a:cubicBezTo>
                    <a:pt x="1898350" y="2224525"/>
                    <a:pt x="1891479" y="2228403"/>
                    <a:pt x="1884128" y="2231597"/>
                  </a:cubicBezTo>
                  <a:cubicBezTo>
                    <a:pt x="1876776" y="2234792"/>
                    <a:pt x="1868386" y="2237605"/>
                    <a:pt x="1858955" y="2240039"/>
                  </a:cubicBezTo>
                  <a:lnTo>
                    <a:pt x="1858955" y="2209923"/>
                  </a:lnTo>
                  <a:cubicBezTo>
                    <a:pt x="1864837" y="2207997"/>
                    <a:pt x="1870515" y="2205968"/>
                    <a:pt x="1875991" y="2203839"/>
                  </a:cubicBezTo>
                  <a:cubicBezTo>
                    <a:pt x="1881466" y="2201710"/>
                    <a:pt x="1886866" y="2199326"/>
                    <a:pt x="1892190" y="2196690"/>
                  </a:cubicBezTo>
                  <a:cubicBezTo>
                    <a:pt x="1897514" y="2194054"/>
                    <a:pt x="1902887" y="2191113"/>
                    <a:pt x="1908312" y="2187868"/>
                  </a:cubicBezTo>
                  <a:cubicBezTo>
                    <a:pt x="1913738" y="2184624"/>
                    <a:pt x="1919339" y="2180922"/>
                    <a:pt x="1925119" y="2176765"/>
                  </a:cubicBezTo>
                  <a:close/>
                  <a:moveTo>
                    <a:pt x="1781511" y="2176765"/>
                  </a:moveTo>
                  <a:lnTo>
                    <a:pt x="1796417" y="2176765"/>
                  </a:lnTo>
                  <a:lnTo>
                    <a:pt x="1796417" y="2399745"/>
                  </a:lnTo>
                  <a:lnTo>
                    <a:pt x="1761130" y="2399745"/>
                  </a:lnTo>
                  <a:lnTo>
                    <a:pt x="1761130" y="2219962"/>
                  </a:lnTo>
                  <a:cubicBezTo>
                    <a:pt x="1754742" y="2224525"/>
                    <a:pt x="1747872" y="2228403"/>
                    <a:pt x="1740520" y="2231597"/>
                  </a:cubicBezTo>
                  <a:cubicBezTo>
                    <a:pt x="1733169" y="2234792"/>
                    <a:pt x="1724778" y="2237605"/>
                    <a:pt x="1715347" y="2240039"/>
                  </a:cubicBezTo>
                  <a:lnTo>
                    <a:pt x="1715347" y="2209923"/>
                  </a:lnTo>
                  <a:cubicBezTo>
                    <a:pt x="1721229" y="2207997"/>
                    <a:pt x="1726907" y="2205968"/>
                    <a:pt x="1732383" y="2203839"/>
                  </a:cubicBezTo>
                  <a:cubicBezTo>
                    <a:pt x="1737858" y="2201710"/>
                    <a:pt x="1743258" y="2199326"/>
                    <a:pt x="1748582" y="2196690"/>
                  </a:cubicBezTo>
                  <a:cubicBezTo>
                    <a:pt x="1753905" y="2194054"/>
                    <a:pt x="1759279" y="2191113"/>
                    <a:pt x="1764704" y="2187868"/>
                  </a:cubicBezTo>
                  <a:cubicBezTo>
                    <a:pt x="1770129" y="2184624"/>
                    <a:pt x="1775731" y="2180922"/>
                    <a:pt x="1781511" y="2176765"/>
                  </a:cubicBezTo>
                  <a:close/>
                  <a:moveTo>
                    <a:pt x="1433813" y="2176765"/>
                  </a:moveTo>
                  <a:lnTo>
                    <a:pt x="1448720" y="2176765"/>
                  </a:lnTo>
                  <a:lnTo>
                    <a:pt x="1448720" y="2399745"/>
                  </a:lnTo>
                  <a:lnTo>
                    <a:pt x="1413432" y="2399745"/>
                  </a:lnTo>
                  <a:lnTo>
                    <a:pt x="1413432" y="2219962"/>
                  </a:lnTo>
                  <a:cubicBezTo>
                    <a:pt x="1407044" y="2224525"/>
                    <a:pt x="1400174" y="2228403"/>
                    <a:pt x="1392822" y="2231597"/>
                  </a:cubicBezTo>
                  <a:cubicBezTo>
                    <a:pt x="1385471" y="2234792"/>
                    <a:pt x="1377080" y="2237605"/>
                    <a:pt x="1367650" y="2240039"/>
                  </a:cubicBezTo>
                  <a:lnTo>
                    <a:pt x="1367650" y="2209923"/>
                  </a:lnTo>
                  <a:cubicBezTo>
                    <a:pt x="1373531" y="2207997"/>
                    <a:pt x="1379210" y="2205968"/>
                    <a:pt x="1384685" y="2203839"/>
                  </a:cubicBezTo>
                  <a:cubicBezTo>
                    <a:pt x="1390159" y="2201710"/>
                    <a:pt x="1395559" y="2199326"/>
                    <a:pt x="1400884" y="2196690"/>
                  </a:cubicBezTo>
                  <a:cubicBezTo>
                    <a:pt x="1406207" y="2194054"/>
                    <a:pt x="1411581" y="2191113"/>
                    <a:pt x="1417006" y="2187868"/>
                  </a:cubicBezTo>
                  <a:cubicBezTo>
                    <a:pt x="1422431" y="2184624"/>
                    <a:pt x="1428034" y="2180922"/>
                    <a:pt x="1433813" y="2176765"/>
                  </a:cubicBezTo>
                  <a:close/>
                  <a:moveTo>
                    <a:pt x="1136100" y="2176765"/>
                  </a:moveTo>
                  <a:lnTo>
                    <a:pt x="1151006" y="2176765"/>
                  </a:lnTo>
                  <a:lnTo>
                    <a:pt x="1151006" y="2399745"/>
                  </a:lnTo>
                  <a:lnTo>
                    <a:pt x="1115718" y="2399745"/>
                  </a:lnTo>
                  <a:lnTo>
                    <a:pt x="1115718" y="2219962"/>
                  </a:lnTo>
                  <a:cubicBezTo>
                    <a:pt x="1109330" y="2224525"/>
                    <a:pt x="1102460" y="2228403"/>
                    <a:pt x="1095109" y="2231597"/>
                  </a:cubicBezTo>
                  <a:cubicBezTo>
                    <a:pt x="1087758" y="2234792"/>
                    <a:pt x="1079366" y="2237605"/>
                    <a:pt x="1069936" y="2240039"/>
                  </a:cubicBezTo>
                  <a:lnTo>
                    <a:pt x="1069936" y="2209923"/>
                  </a:lnTo>
                  <a:cubicBezTo>
                    <a:pt x="1075817" y="2207997"/>
                    <a:pt x="1081496" y="2205968"/>
                    <a:pt x="1086971" y="2203839"/>
                  </a:cubicBezTo>
                  <a:cubicBezTo>
                    <a:pt x="1092447" y="2201710"/>
                    <a:pt x="1097847" y="2199326"/>
                    <a:pt x="1103170" y="2196690"/>
                  </a:cubicBezTo>
                  <a:cubicBezTo>
                    <a:pt x="1108494" y="2194054"/>
                    <a:pt x="1113868" y="2191113"/>
                    <a:pt x="1119293" y="2187868"/>
                  </a:cubicBezTo>
                  <a:cubicBezTo>
                    <a:pt x="1124718" y="2184624"/>
                    <a:pt x="1130320" y="2180922"/>
                    <a:pt x="1136100" y="2176765"/>
                  </a:cubicBezTo>
                  <a:close/>
                  <a:moveTo>
                    <a:pt x="924981" y="2176765"/>
                  </a:moveTo>
                  <a:cubicBezTo>
                    <a:pt x="972425" y="2176765"/>
                    <a:pt x="996148" y="2213628"/>
                    <a:pt x="996148" y="2287352"/>
                  </a:cubicBezTo>
                  <a:cubicBezTo>
                    <a:pt x="996148" y="2323864"/>
                    <a:pt x="989453" y="2351724"/>
                    <a:pt x="976062" y="2370932"/>
                  </a:cubicBezTo>
                  <a:cubicBezTo>
                    <a:pt x="962671" y="2390140"/>
                    <a:pt x="943939" y="2399745"/>
                    <a:pt x="919866" y="2399745"/>
                  </a:cubicBezTo>
                  <a:cubicBezTo>
                    <a:pt x="897397" y="2399745"/>
                    <a:pt x="879869" y="2390567"/>
                    <a:pt x="867279" y="2372211"/>
                  </a:cubicBezTo>
                  <a:cubicBezTo>
                    <a:pt x="854692" y="2353855"/>
                    <a:pt x="848398" y="2327324"/>
                    <a:pt x="848398" y="2292619"/>
                  </a:cubicBezTo>
                  <a:cubicBezTo>
                    <a:pt x="848398" y="2254502"/>
                    <a:pt x="854968" y="2225664"/>
                    <a:pt x="868108" y="2206104"/>
                  </a:cubicBezTo>
                  <a:cubicBezTo>
                    <a:pt x="881248" y="2186545"/>
                    <a:pt x="900206" y="2176765"/>
                    <a:pt x="924981" y="2176765"/>
                  </a:cubicBezTo>
                  <a:close/>
                  <a:moveTo>
                    <a:pt x="708705" y="2176765"/>
                  </a:moveTo>
                  <a:cubicBezTo>
                    <a:pt x="756150" y="2176765"/>
                    <a:pt x="779872" y="2213628"/>
                    <a:pt x="779872" y="2287352"/>
                  </a:cubicBezTo>
                  <a:cubicBezTo>
                    <a:pt x="779872" y="2323864"/>
                    <a:pt x="773176" y="2351724"/>
                    <a:pt x="759785" y="2370932"/>
                  </a:cubicBezTo>
                  <a:cubicBezTo>
                    <a:pt x="746395" y="2390140"/>
                    <a:pt x="727662" y="2399745"/>
                    <a:pt x="703590" y="2399745"/>
                  </a:cubicBezTo>
                  <a:cubicBezTo>
                    <a:pt x="681120" y="2399745"/>
                    <a:pt x="663593" y="2390567"/>
                    <a:pt x="651004" y="2372211"/>
                  </a:cubicBezTo>
                  <a:cubicBezTo>
                    <a:pt x="638416" y="2353855"/>
                    <a:pt x="632122" y="2327324"/>
                    <a:pt x="632122" y="2292619"/>
                  </a:cubicBezTo>
                  <a:cubicBezTo>
                    <a:pt x="632122" y="2254502"/>
                    <a:pt x="638691" y="2225664"/>
                    <a:pt x="651832" y="2206104"/>
                  </a:cubicBezTo>
                  <a:cubicBezTo>
                    <a:pt x="664972" y="2186545"/>
                    <a:pt x="683931" y="2176765"/>
                    <a:pt x="708705" y="2176765"/>
                  </a:cubicBezTo>
                  <a:close/>
                  <a:moveTo>
                    <a:pt x="560572" y="2176765"/>
                  </a:moveTo>
                  <a:lnTo>
                    <a:pt x="575479" y="2176765"/>
                  </a:lnTo>
                  <a:lnTo>
                    <a:pt x="575479" y="2399745"/>
                  </a:lnTo>
                  <a:lnTo>
                    <a:pt x="540191" y="2399745"/>
                  </a:lnTo>
                  <a:lnTo>
                    <a:pt x="540191" y="2219962"/>
                  </a:lnTo>
                  <a:cubicBezTo>
                    <a:pt x="533803" y="2224525"/>
                    <a:pt x="526933" y="2228403"/>
                    <a:pt x="519581" y="2231597"/>
                  </a:cubicBezTo>
                  <a:cubicBezTo>
                    <a:pt x="512230" y="2234792"/>
                    <a:pt x="503839" y="2237605"/>
                    <a:pt x="494409" y="2240039"/>
                  </a:cubicBezTo>
                  <a:lnTo>
                    <a:pt x="494409" y="2209923"/>
                  </a:lnTo>
                  <a:cubicBezTo>
                    <a:pt x="500290" y="2207997"/>
                    <a:pt x="505969" y="2205968"/>
                    <a:pt x="511444" y="2203839"/>
                  </a:cubicBezTo>
                  <a:cubicBezTo>
                    <a:pt x="516920" y="2201710"/>
                    <a:pt x="522319" y="2199326"/>
                    <a:pt x="527643" y="2196690"/>
                  </a:cubicBezTo>
                  <a:cubicBezTo>
                    <a:pt x="532966" y="2194054"/>
                    <a:pt x="538342" y="2191113"/>
                    <a:pt x="543766" y="2187868"/>
                  </a:cubicBezTo>
                  <a:cubicBezTo>
                    <a:pt x="549191" y="2184624"/>
                    <a:pt x="554793" y="2180922"/>
                    <a:pt x="560572" y="2176765"/>
                  </a:cubicBezTo>
                  <a:close/>
                  <a:moveTo>
                    <a:pt x="262859" y="2176765"/>
                  </a:moveTo>
                  <a:lnTo>
                    <a:pt x="277764" y="2176765"/>
                  </a:lnTo>
                  <a:lnTo>
                    <a:pt x="277764" y="2399745"/>
                  </a:lnTo>
                  <a:lnTo>
                    <a:pt x="242478" y="2399745"/>
                  </a:lnTo>
                  <a:lnTo>
                    <a:pt x="242478" y="2219962"/>
                  </a:lnTo>
                  <a:cubicBezTo>
                    <a:pt x="236089" y="2224525"/>
                    <a:pt x="229220" y="2228403"/>
                    <a:pt x="221869" y="2231597"/>
                  </a:cubicBezTo>
                  <a:cubicBezTo>
                    <a:pt x="214516" y="2234792"/>
                    <a:pt x="206126" y="2237605"/>
                    <a:pt x="196695" y="2240039"/>
                  </a:cubicBezTo>
                  <a:lnTo>
                    <a:pt x="196695" y="2209923"/>
                  </a:lnTo>
                  <a:cubicBezTo>
                    <a:pt x="202577" y="2207997"/>
                    <a:pt x="208255" y="2205968"/>
                    <a:pt x="213729" y="2203839"/>
                  </a:cubicBezTo>
                  <a:cubicBezTo>
                    <a:pt x="219206" y="2201710"/>
                    <a:pt x="224606" y="2199326"/>
                    <a:pt x="229928" y="2196690"/>
                  </a:cubicBezTo>
                  <a:cubicBezTo>
                    <a:pt x="235253" y="2194054"/>
                    <a:pt x="240626" y="2191113"/>
                    <a:pt x="246052" y="2187868"/>
                  </a:cubicBezTo>
                  <a:cubicBezTo>
                    <a:pt x="251477" y="2184624"/>
                    <a:pt x="257080" y="2180922"/>
                    <a:pt x="262859" y="2176765"/>
                  </a:cubicBezTo>
                  <a:close/>
                  <a:moveTo>
                    <a:pt x="87099" y="2176765"/>
                  </a:moveTo>
                  <a:cubicBezTo>
                    <a:pt x="134543" y="2176765"/>
                    <a:pt x="158266" y="2213628"/>
                    <a:pt x="158266" y="2287352"/>
                  </a:cubicBezTo>
                  <a:cubicBezTo>
                    <a:pt x="158266" y="2323864"/>
                    <a:pt x="151570" y="2351724"/>
                    <a:pt x="138180" y="2370932"/>
                  </a:cubicBezTo>
                  <a:cubicBezTo>
                    <a:pt x="124789" y="2390140"/>
                    <a:pt x="106058" y="2399745"/>
                    <a:pt x="81984" y="2399745"/>
                  </a:cubicBezTo>
                  <a:cubicBezTo>
                    <a:pt x="59516" y="2399745"/>
                    <a:pt x="41986" y="2390567"/>
                    <a:pt x="29398" y="2372211"/>
                  </a:cubicBezTo>
                  <a:cubicBezTo>
                    <a:pt x="16810" y="2353855"/>
                    <a:pt x="10515" y="2327324"/>
                    <a:pt x="10515" y="2292619"/>
                  </a:cubicBezTo>
                  <a:cubicBezTo>
                    <a:pt x="10515" y="2254502"/>
                    <a:pt x="17085" y="2225664"/>
                    <a:pt x="30225" y="2206104"/>
                  </a:cubicBezTo>
                  <a:cubicBezTo>
                    <a:pt x="43366" y="2186545"/>
                    <a:pt x="62323" y="2176765"/>
                    <a:pt x="87099" y="2176765"/>
                  </a:cubicBezTo>
                  <a:close/>
                  <a:moveTo>
                    <a:pt x="11895120" y="1870182"/>
                  </a:moveTo>
                  <a:cubicBezTo>
                    <a:pt x="11868940" y="1870182"/>
                    <a:pt x="11855850" y="1899020"/>
                    <a:pt x="11855850" y="1956697"/>
                  </a:cubicBezTo>
                  <a:cubicBezTo>
                    <a:pt x="11855850" y="2010660"/>
                    <a:pt x="11868689" y="2037642"/>
                    <a:pt x="11894368" y="2037642"/>
                  </a:cubicBezTo>
                  <a:cubicBezTo>
                    <a:pt x="11919644" y="2037642"/>
                    <a:pt x="11932283" y="2010209"/>
                    <a:pt x="11932283" y="1955343"/>
                  </a:cubicBezTo>
                  <a:cubicBezTo>
                    <a:pt x="11932283" y="1898568"/>
                    <a:pt x="11919895" y="1870182"/>
                    <a:pt x="11895120" y="1870182"/>
                  </a:cubicBezTo>
                  <a:close/>
                  <a:moveTo>
                    <a:pt x="11188558" y="1870182"/>
                  </a:moveTo>
                  <a:cubicBezTo>
                    <a:pt x="11162378" y="1870182"/>
                    <a:pt x="11149288" y="1899020"/>
                    <a:pt x="11149288" y="1956697"/>
                  </a:cubicBezTo>
                  <a:cubicBezTo>
                    <a:pt x="11149288" y="2010660"/>
                    <a:pt x="11162127" y="2037642"/>
                    <a:pt x="11187806" y="2037642"/>
                  </a:cubicBezTo>
                  <a:cubicBezTo>
                    <a:pt x="11213082" y="2037642"/>
                    <a:pt x="11225721" y="2010209"/>
                    <a:pt x="11225721" y="1955343"/>
                  </a:cubicBezTo>
                  <a:cubicBezTo>
                    <a:pt x="11225721" y="1898568"/>
                    <a:pt x="11213333" y="1870182"/>
                    <a:pt x="11188558" y="1870182"/>
                  </a:cubicBezTo>
                  <a:close/>
                  <a:moveTo>
                    <a:pt x="9941039" y="1870182"/>
                  </a:moveTo>
                  <a:cubicBezTo>
                    <a:pt x="9914859" y="1870182"/>
                    <a:pt x="9901769" y="1899020"/>
                    <a:pt x="9901769" y="1956697"/>
                  </a:cubicBezTo>
                  <a:cubicBezTo>
                    <a:pt x="9901769" y="2010660"/>
                    <a:pt x="9914608" y="2037642"/>
                    <a:pt x="9940287" y="2037642"/>
                  </a:cubicBezTo>
                  <a:cubicBezTo>
                    <a:pt x="9965563" y="2037642"/>
                    <a:pt x="9978202" y="2010209"/>
                    <a:pt x="9978202" y="1955343"/>
                  </a:cubicBezTo>
                  <a:cubicBezTo>
                    <a:pt x="9978202" y="1898568"/>
                    <a:pt x="9965814" y="1870182"/>
                    <a:pt x="9941039" y="1870182"/>
                  </a:cubicBezTo>
                  <a:close/>
                  <a:moveTo>
                    <a:pt x="9721595" y="1870182"/>
                  </a:moveTo>
                  <a:cubicBezTo>
                    <a:pt x="9695415" y="1870182"/>
                    <a:pt x="9682325" y="1899020"/>
                    <a:pt x="9682325" y="1956697"/>
                  </a:cubicBezTo>
                  <a:cubicBezTo>
                    <a:pt x="9682325" y="2010660"/>
                    <a:pt x="9695164" y="2037642"/>
                    <a:pt x="9720843" y="2037642"/>
                  </a:cubicBezTo>
                  <a:cubicBezTo>
                    <a:pt x="9746119" y="2037642"/>
                    <a:pt x="9758758" y="2010209"/>
                    <a:pt x="9758758" y="1955343"/>
                  </a:cubicBezTo>
                  <a:cubicBezTo>
                    <a:pt x="9758758" y="1898568"/>
                    <a:pt x="9746370" y="1870182"/>
                    <a:pt x="9721595" y="1870182"/>
                  </a:cubicBezTo>
                  <a:close/>
                  <a:moveTo>
                    <a:pt x="6366950" y="1870182"/>
                  </a:moveTo>
                  <a:cubicBezTo>
                    <a:pt x="6340770" y="1870182"/>
                    <a:pt x="6327680" y="1899020"/>
                    <a:pt x="6327680" y="1956697"/>
                  </a:cubicBezTo>
                  <a:cubicBezTo>
                    <a:pt x="6327680" y="2010660"/>
                    <a:pt x="6340519" y="2037642"/>
                    <a:pt x="6366198" y="2037642"/>
                  </a:cubicBezTo>
                  <a:cubicBezTo>
                    <a:pt x="6391475" y="2037642"/>
                    <a:pt x="6404113" y="2010209"/>
                    <a:pt x="6404113" y="1955343"/>
                  </a:cubicBezTo>
                  <a:cubicBezTo>
                    <a:pt x="6404113" y="1898568"/>
                    <a:pt x="6391725" y="1870182"/>
                    <a:pt x="6366950" y="1870182"/>
                  </a:cubicBezTo>
                  <a:close/>
                  <a:moveTo>
                    <a:pt x="5831864" y="1870182"/>
                  </a:moveTo>
                  <a:cubicBezTo>
                    <a:pt x="5805684" y="1870182"/>
                    <a:pt x="5792595" y="1899020"/>
                    <a:pt x="5792595" y="1956697"/>
                  </a:cubicBezTo>
                  <a:cubicBezTo>
                    <a:pt x="5792595" y="2010660"/>
                    <a:pt x="5805433" y="2037642"/>
                    <a:pt x="5831113" y="2037642"/>
                  </a:cubicBezTo>
                  <a:cubicBezTo>
                    <a:pt x="5856389" y="2037642"/>
                    <a:pt x="5869027" y="2010209"/>
                    <a:pt x="5869027" y="1955343"/>
                  </a:cubicBezTo>
                  <a:cubicBezTo>
                    <a:pt x="5869027" y="1898568"/>
                    <a:pt x="5856640" y="1870182"/>
                    <a:pt x="5831864" y="1870182"/>
                  </a:cubicBezTo>
                  <a:close/>
                  <a:moveTo>
                    <a:pt x="5134215" y="1870182"/>
                  </a:moveTo>
                  <a:cubicBezTo>
                    <a:pt x="5108036" y="1870182"/>
                    <a:pt x="5094945" y="1899020"/>
                    <a:pt x="5094945" y="1956697"/>
                  </a:cubicBezTo>
                  <a:cubicBezTo>
                    <a:pt x="5094945" y="2010660"/>
                    <a:pt x="5107784" y="2037642"/>
                    <a:pt x="5133463" y="2037642"/>
                  </a:cubicBezTo>
                  <a:cubicBezTo>
                    <a:pt x="5158739" y="2037642"/>
                    <a:pt x="5171378" y="2010209"/>
                    <a:pt x="5171378" y="1955343"/>
                  </a:cubicBezTo>
                  <a:cubicBezTo>
                    <a:pt x="5171378" y="1898568"/>
                    <a:pt x="5158990" y="1870182"/>
                    <a:pt x="5134215" y="1870182"/>
                  </a:cubicBezTo>
                  <a:close/>
                  <a:moveTo>
                    <a:pt x="3882478" y="1870182"/>
                  </a:moveTo>
                  <a:cubicBezTo>
                    <a:pt x="3856298" y="1870182"/>
                    <a:pt x="3843208" y="1899020"/>
                    <a:pt x="3843208" y="1956697"/>
                  </a:cubicBezTo>
                  <a:cubicBezTo>
                    <a:pt x="3843208" y="2010660"/>
                    <a:pt x="3856047" y="2037642"/>
                    <a:pt x="3881726" y="2037642"/>
                  </a:cubicBezTo>
                  <a:cubicBezTo>
                    <a:pt x="3907002" y="2037642"/>
                    <a:pt x="3919642" y="2010209"/>
                    <a:pt x="3919642" y="1955343"/>
                  </a:cubicBezTo>
                  <a:cubicBezTo>
                    <a:pt x="3919642" y="1898568"/>
                    <a:pt x="3907253" y="1870182"/>
                    <a:pt x="3882478" y="1870182"/>
                  </a:cubicBezTo>
                  <a:close/>
                  <a:moveTo>
                    <a:pt x="3657815" y="1870182"/>
                  </a:moveTo>
                  <a:cubicBezTo>
                    <a:pt x="3631634" y="1870182"/>
                    <a:pt x="3618545" y="1899020"/>
                    <a:pt x="3618545" y="1956697"/>
                  </a:cubicBezTo>
                  <a:cubicBezTo>
                    <a:pt x="3618545" y="2010660"/>
                    <a:pt x="3631383" y="2037642"/>
                    <a:pt x="3657061" y="2037642"/>
                  </a:cubicBezTo>
                  <a:cubicBezTo>
                    <a:pt x="3682339" y="2037642"/>
                    <a:pt x="3694977" y="2010209"/>
                    <a:pt x="3694977" y="1955343"/>
                  </a:cubicBezTo>
                  <a:cubicBezTo>
                    <a:pt x="3694977" y="1898568"/>
                    <a:pt x="3682590" y="1870182"/>
                    <a:pt x="3657815" y="1870182"/>
                  </a:cubicBezTo>
                  <a:close/>
                  <a:moveTo>
                    <a:pt x="295699" y="1870182"/>
                  </a:moveTo>
                  <a:cubicBezTo>
                    <a:pt x="269519" y="1870182"/>
                    <a:pt x="256429" y="1899020"/>
                    <a:pt x="256429" y="1956697"/>
                  </a:cubicBezTo>
                  <a:cubicBezTo>
                    <a:pt x="256429" y="2010660"/>
                    <a:pt x="269268" y="2037642"/>
                    <a:pt x="294947" y="2037642"/>
                  </a:cubicBezTo>
                  <a:cubicBezTo>
                    <a:pt x="320224" y="2037642"/>
                    <a:pt x="332862" y="2010209"/>
                    <a:pt x="332862" y="1955343"/>
                  </a:cubicBezTo>
                  <a:cubicBezTo>
                    <a:pt x="332862" y="1898568"/>
                    <a:pt x="320474" y="1870182"/>
                    <a:pt x="295699" y="1870182"/>
                  </a:cubicBezTo>
                  <a:close/>
                  <a:moveTo>
                    <a:pt x="12088449" y="1842348"/>
                  </a:moveTo>
                  <a:lnTo>
                    <a:pt x="12103355" y="1842348"/>
                  </a:lnTo>
                  <a:lnTo>
                    <a:pt x="12103355" y="2065327"/>
                  </a:lnTo>
                  <a:lnTo>
                    <a:pt x="12068067" y="2065327"/>
                  </a:lnTo>
                  <a:lnTo>
                    <a:pt x="12068067" y="1885544"/>
                  </a:lnTo>
                  <a:cubicBezTo>
                    <a:pt x="12061679" y="1890108"/>
                    <a:pt x="12054809" y="1893985"/>
                    <a:pt x="12047458" y="1897179"/>
                  </a:cubicBezTo>
                  <a:cubicBezTo>
                    <a:pt x="12040106" y="1900374"/>
                    <a:pt x="12031715" y="1903188"/>
                    <a:pt x="12022285" y="1905622"/>
                  </a:cubicBezTo>
                  <a:lnTo>
                    <a:pt x="12022285" y="1875506"/>
                  </a:lnTo>
                  <a:cubicBezTo>
                    <a:pt x="12028166" y="1873580"/>
                    <a:pt x="12033845" y="1871550"/>
                    <a:pt x="12039320" y="1869422"/>
                  </a:cubicBezTo>
                  <a:cubicBezTo>
                    <a:pt x="12044796" y="1867293"/>
                    <a:pt x="12050196" y="1864909"/>
                    <a:pt x="12055519" y="1862273"/>
                  </a:cubicBezTo>
                  <a:cubicBezTo>
                    <a:pt x="12060843" y="1859637"/>
                    <a:pt x="12066217" y="1856696"/>
                    <a:pt x="12071642" y="1853451"/>
                  </a:cubicBezTo>
                  <a:cubicBezTo>
                    <a:pt x="12077067" y="1850207"/>
                    <a:pt x="12082669" y="1846504"/>
                    <a:pt x="12088449" y="1842348"/>
                  </a:cubicBezTo>
                  <a:close/>
                  <a:moveTo>
                    <a:pt x="11896775" y="1842348"/>
                  </a:moveTo>
                  <a:cubicBezTo>
                    <a:pt x="11944219" y="1842348"/>
                    <a:pt x="11967942" y="1879210"/>
                    <a:pt x="11967942" y="1952935"/>
                  </a:cubicBezTo>
                  <a:cubicBezTo>
                    <a:pt x="11967942" y="1989447"/>
                    <a:pt x="11961246" y="2017306"/>
                    <a:pt x="11947856" y="2036514"/>
                  </a:cubicBezTo>
                  <a:cubicBezTo>
                    <a:pt x="11934465" y="2055722"/>
                    <a:pt x="11915733" y="2065327"/>
                    <a:pt x="11891659" y="2065327"/>
                  </a:cubicBezTo>
                  <a:cubicBezTo>
                    <a:pt x="11869191" y="2065327"/>
                    <a:pt x="11851662" y="2056149"/>
                    <a:pt x="11839074" y="2037793"/>
                  </a:cubicBezTo>
                  <a:cubicBezTo>
                    <a:pt x="11826485" y="2019437"/>
                    <a:pt x="11820191" y="1992907"/>
                    <a:pt x="11820191" y="1958202"/>
                  </a:cubicBezTo>
                  <a:cubicBezTo>
                    <a:pt x="11820191" y="1920085"/>
                    <a:pt x="11826761" y="1891247"/>
                    <a:pt x="11839901" y="1871686"/>
                  </a:cubicBezTo>
                  <a:cubicBezTo>
                    <a:pt x="11853042" y="1852127"/>
                    <a:pt x="11871999" y="1842348"/>
                    <a:pt x="11896775" y="1842348"/>
                  </a:cubicBezTo>
                  <a:close/>
                  <a:moveTo>
                    <a:pt x="11190213" y="1842348"/>
                  </a:moveTo>
                  <a:cubicBezTo>
                    <a:pt x="11237657" y="1842348"/>
                    <a:pt x="11261380" y="1879210"/>
                    <a:pt x="11261380" y="1952935"/>
                  </a:cubicBezTo>
                  <a:cubicBezTo>
                    <a:pt x="11261380" y="1989447"/>
                    <a:pt x="11254684" y="2017306"/>
                    <a:pt x="11241294" y="2036514"/>
                  </a:cubicBezTo>
                  <a:cubicBezTo>
                    <a:pt x="11227903" y="2055722"/>
                    <a:pt x="11209171" y="2065327"/>
                    <a:pt x="11185097" y="2065327"/>
                  </a:cubicBezTo>
                  <a:cubicBezTo>
                    <a:pt x="11162629" y="2065327"/>
                    <a:pt x="11145100" y="2056149"/>
                    <a:pt x="11132512" y="2037793"/>
                  </a:cubicBezTo>
                  <a:cubicBezTo>
                    <a:pt x="11119923" y="2019437"/>
                    <a:pt x="11113629" y="1992907"/>
                    <a:pt x="11113629" y="1958202"/>
                  </a:cubicBezTo>
                  <a:cubicBezTo>
                    <a:pt x="11113629" y="1920085"/>
                    <a:pt x="11120199" y="1891247"/>
                    <a:pt x="11133339" y="1871686"/>
                  </a:cubicBezTo>
                  <a:cubicBezTo>
                    <a:pt x="11146480" y="1852127"/>
                    <a:pt x="11165437" y="1842348"/>
                    <a:pt x="11190213" y="1842348"/>
                  </a:cubicBezTo>
                  <a:close/>
                  <a:moveTo>
                    <a:pt x="10816495" y="1842348"/>
                  </a:moveTo>
                  <a:lnTo>
                    <a:pt x="10831401" y="1842348"/>
                  </a:lnTo>
                  <a:lnTo>
                    <a:pt x="10831401" y="2065327"/>
                  </a:lnTo>
                  <a:lnTo>
                    <a:pt x="10796113" y="2065327"/>
                  </a:lnTo>
                  <a:lnTo>
                    <a:pt x="10796113" y="1885544"/>
                  </a:lnTo>
                  <a:cubicBezTo>
                    <a:pt x="10789725" y="1890108"/>
                    <a:pt x="10782855" y="1893985"/>
                    <a:pt x="10775504" y="1897179"/>
                  </a:cubicBezTo>
                  <a:cubicBezTo>
                    <a:pt x="10768152" y="1900374"/>
                    <a:pt x="10759761" y="1903188"/>
                    <a:pt x="10750331" y="1905622"/>
                  </a:cubicBezTo>
                  <a:lnTo>
                    <a:pt x="10750331" y="1875506"/>
                  </a:lnTo>
                  <a:cubicBezTo>
                    <a:pt x="10756212" y="1873580"/>
                    <a:pt x="10761891" y="1871550"/>
                    <a:pt x="10767366" y="1869422"/>
                  </a:cubicBezTo>
                  <a:cubicBezTo>
                    <a:pt x="10772842" y="1867293"/>
                    <a:pt x="10778242" y="1864909"/>
                    <a:pt x="10783565" y="1862273"/>
                  </a:cubicBezTo>
                  <a:cubicBezTo>
                    <a:pt x="10788889" y="1859637"/>
                    <a:pt x="10794263" y="1856696"/>
                    <a:pt x="10799688" y="1853451"/>
                  </a:cubicBezTo>
                  <a:cubicBezTo>
                    <a:pt x="10805113" y="1850207"/>
                    <a:pt x="10810715" y="1846504"/>
                    <a:pt x="10816495" y="1842348"/>
                  </a:cubicBezTo>
                  <a:close/>
                  <a:moveTo>
                    <a:pt x="10444287" y="1842348"/>
                  </a:moveTo>
                  <a:lnTo>
                    <a:pt x="10459193" y="1842348"/>
                  </a:lnTo>
                  <a:lnTo>
                    <a:pt x="10459193" y="2065327"/>
                  </a:lnTo>
                  <a:lnTo>
                    <a:pt x="10423905" y="2065327"/>
                  </a:lnTo>
                  <a:lnTo>
                    <a:pt x="10423905" y="1885544"/>
                  </a:lnTo>
                  <a:cubicBezTo>
                    <a:pt x="10417517" y="1890108"/>
                    <a:pt x="10410647" y="1893985"/>
                    <a:pt x="10403296" y="1897179"/>
                  </a:cubicBezTo>
                  <a:cubicBezTo>
                    <a:pt x="10395944" y="1900374"/>
                    <a:pt x="10387553" y="1903188"/>
                    <a:pt x="10378123" y="1905622"/>
                  </a:cubicBezTo>
                  <a:lnTo>
                    <a:pt x="10378123" y="1875506"/>
                  </a:lnTo>
                  <a:cubicBezTo>
                    <a:pt x="10384004" y="1873580"/>
                    <a:pt x="10389683" y="1871550"/>
                    <a:pt x="10395158" y="1869422"/>
                  </a:cubicBezTo>
                  <a:cubicBezTo>
                    <a:pt x="10400634" y="1867293"/>
                    <a:pt x="10406034" y="1864909"/>
                    <a:pt x="10411357" y="1862273"/>
                  </a:cubicBezTo>
                  <a:cubicBezTo>
                    <a:pt x="10416681" y="1859637"/>
                    <a:pt x="10422055" y="1856696"/>
                    <a:pt x="10427480" y="1853451"/>
                  </a:cubicBezTo>
                  <a:cubicBezTo>
                    <a:pt x="10432905" y="1850207"/>
                    <a:pt x="10438507" y="1846504"/>
                    <a:pt x="10444287" y="1842348"/>
                  </a:cubicBezTo>
                  <a:close/>
                  <a:moveTo>
                    <a:pt x="10157071" y="1842348"/>
                  </a:moveTo>
                  <a:lnTo>
                    <a:pt x="10171977" y="1842348"/>
                  </a:lnTo>
                  <a:lnTo>
                    <a:pt x="10171977" y="2065327"/>
                  </a:lnTo>
                  <a:lnTo>
                    <a:pt x="10136689" y="2065327"/>
                  </a:lnTo>
                  <a:lnTo>
                    <a:pt x="10136689" y="1885544"/>
                  </a:lnTo>
                  <a:cubicBezTo>
                    <a:pt x="10130301" y="1890108"/>
                    <a:pt x="10123431" y="1893985"/>
                    <a:pt x="10116080" y="1897179"/>
                  </a:cubicBezTo>
                  <a:cubicBezTo>
                    <a:pt x="10108728" y="1900374"/>
                    <a:pt x="10100337" y="1903188"/>
                    <a:pt x="10090907" y="1905622"/>
                  </a:cubicBezTo>
                  <a:lnTo>
                    <a:pt x="10090907" y="1875506"/>
                  </a:lnTo>
                  <a:cubicBezTo>
                    <a:pt x="10096788" y="1873580"/>
                    <a:pt x="10102467" y="1871550"/>
                    <a:pt x="10107942" y="1869422"/>
                  </a:cubicBezTo>
                  <a:cubicBezTo>
                    <a:pt x="10113418" y="1867293"/>
                    <a:pt x="10118818" y="1864909"/>
                    <a:pt x="10124141" y="1862273"/>
                  </a:cubicBezTo>
                  <a:cubicBezTo>
                    <a:pt x="10129465" y="1859637"/>
                    <a:pt x="10134839" y="1856696"/>
                    <a:pt x="10140264" y="1853451"/>
                  </a:cubicBezTo>
                  <a:cubicBezTo>
                    <a:pt x="10145689" y="1850207"/>
                    <a:pt x="10151291" y="1846504"/>
                    <a:pt x="10157071" y="1842348"/>
                  </a:cubicBezTo>
                  <a:close/>
                  <a:moveTo>
                    <a:pt x="9942694" y="1842348"/>
                  </a:moveTo>
                  <a:cubicBezTo>
                    <a:pt x="9990138" y="1842348"/>
                    <a:pt x="10013861" y="1879210"/>
                    <a:pt x="10013861" y="1952935"/>
                  </a:cubicBezTo>
                  <a:cubicBezTo>
                    <a:pt x="10013861" y="1989447"/>
                    <a:pt x="10007165" y="2017306"/>
                    <a:pt x="9993775" y="2036514"/>
                  </a:cubicBezTo>
                  <a:cubicBezTo>
                    <a:pt x="9980384" y="2055722"/>
                    <a:pt x="9961652" y="2065327"/>
                    <a:pt x="9937578" y="2065327"/>
                  </a:cubicBezTo>
                  <a:cubicBezTo>
                    <a:pt x="9915110" y="2065327"/>
                    <a:pt x="9897581" y="2056149"/>
                    <a:pt x="9884993" y="2037793"/>
                  </a:cubicBezTo>
                  <a:cubicBezTo>
                    <a:pt x="9872404" y="2019437"/>
                    <a:pt x="9866110" y="1992907"/>
                    <a:pt x="9866110" y="1958202"/>
                  </a:cubicBezTo>
                  <a:cubicBezTo>
                    <a:pt x="9866110" y="1920085"/>
                    <a:pt x="9872680" y="1891247"/>
                    <a:pt x="9885820" y="1871686"/>
                  </a:cubicBezTo>
                  <a:cubicBezTo>
                    <a:pt x="9898961" y="1852127"/>
                    <a:pt x="9917918" y="1842348"/>
                    <a:pt x="9942694" y="1842348"/>
                  </a:cubicBezTo>
                  <a:close/>
                  <a:moveTo>
                    <a:pt x="9723250" y="1842348"/>
                  </a:moveTo>
                  <a:cubicBezTo>
                    <a:pt x="9770694" y="1842348"/>
                    <a:pt x="9794417" y="1879210"/>
                    <a:pt x="9794417" y="1952935"/>
                  </a:cubicBezTo>
                  <a:cubicBezTo>
                    <a:pt x="9794417" y="1989447"/>
                    <a:pt x="9787721" y="2017306"/>
                    <a:pt x="9774331" y="2036514"/>
                  </a:cubicBezTo>
                  <a:cubicBezTo>
                    <a:pt x="9760940" y="2055722"/>
                    <a:pt x="9742208" y="2065327"/>
                    <a:pt x="9718134" y="2065327"/>
                  </a:cubicBezTo>
                  <a:cubicBezTo>
                    <a:pt x="9695666" y="2065327"/>
                    <a:pt x="9678137" y="2056149"/>
                    <a:pt x="9665549" y="2037793"/>
                  </a:cubicBezTo>
                  <a:cubicBezTo>
                    <a:pt x="9652960" y="2019437"/>
                    <a:pt x="9646666" y="1992907"/>
                    <a:pt x="9646666" y="1958202"/>
                  </a:cubicBezTo>
                  <a:cubicBezTo>
                    <a:pt x="9646666" y="1920085"/>
                    <a:pt x="9653236" y="1891247"/>
                    <a:pt x="9666376" y="1871686"/>
                  </a:cubicBezTo>
                  <a:cubicBezTo>
                    <a:pt x="9679517" y="1852127"/>
                    <a:pt x="9698474" y="1842348"/>
                    <a:pt x="9723250" y="1842348"/>
                  </a:cubicBezTo>
                  <a:close/>
                  <a:moveTo>
                    <a:pt x="9556263" y="1842348"/>
                  </a:moveTo>
                  <a:lnTo>
                    <a:pt x="9571169" y="1842348"/>
                  </a:lnTo>
                  <a:lnTo>
                    <a:pt x="9571169" y="2065327"/>
                  </a:lnTo>
                  <a:lnTo>
                    <a:pt x="9535881" y="2065327"/>
                  </a:lnTo>
                  <a:lnTo>
                    <a:pt x="9535881" y="1885544"/>
                  </a:lnTo>
                  <a:cubicBezTo>
                    <a:pt x="9529493" y="1890108"/>
                    <a:pt x="9522623" y="1893985"/>
                    <a:pt x="9515272" y="1897179"/>
                  </a:cubicBezTo>
                  <a:cubicBezTo>
                    <a:pt x="9507920" y="1900374"/>
                    <a:pt x="9499529" y="1903188"/>
                    <a:pt x="9490099" y="1905622"/>
                  </a:cubicBezTo>
                  <a:lnTo>
                    <a:pt x="9490099" y="1875506"/>
                  </a:lnTo>
                  <a:cubicBezTo>
                    <a:pt x="9495980" y="1873580"/>
                    <a:pt x="9501659" y="1871550"/>
                    <a:pt x="9507134" y="1869422"/>
                  </a:cubicBezTo>
                  <a:cubicBezTo>
                    <a:pt x="9512610" y="1867293"/>
                    <a:pt x="9518010" y="1864909"/>
                    <a:pt x="9523333" y="1862273"/>
                  </a:cubicBezTo>
                  <a:cubicBezTo>
                    <a:pt x="9528657" y="1859637"/>
                    <a:pt x="9534031" y="1856696"/>
                    <a:pt x="9539456" y="1853451"/>
                  </a:cubicBezTo>
                  <a:cubicBezTo>
                    <a:pt x="9544881" y="1850207"/>
                    <a:pt x="9550483" y="1846504"/>
                    <a:pt x="9556263" y="1842348"/>
                  </a:cubicBezTo>
                  <a:close/>
                  <a:moveTo>
                    <a:pt x="9269047" y="1842348"/>
                  </a:moveTo>
                  <a:lnTo>
                    <a:pt x="9283953" y="1842348"/>
                  </a:lnTo>
                  <a:lnTo>
                    <a:pt x="9283953" y="2065327"/>
                  </a:lnTo>
                  <a:lnTo>
                    <a:pt x="9248665" y="2065327"/>
                  </a:lnTo>
                  <a:lnTo>
                    <a:pt x="9248665" y="1885544"/>
                  </a:lnTo>
                  <a:cubicBezTo>
                    <a:pt x="9242277" y="1890108"/>
                    <a:pt x="9235407" y="1893985"/>
                    <a:pt x="9228056" y="1897179"/>
                  </a:cubicBezTo>
                  <a:cubicBezTo>
                    <a:pt x="9220704" y="1900374"/>
                    <a:pt x="9212313" y="1903188"/>
                    <a:pt x="9202883" y="1905622"/>
                  </a:cubicBezTo>
                  <a:lnTo>
                    <a:pt x="9202883" y="1875506"/>
                  </a:lnTo>
                  <a:cubicBezTo>
                    <a:pt x="9208764" y="1873580"/>
                    <a:pt x="9214443" y="1871550"/>
                    <a:pt x="9219918" y="1869422"/>
                  </a:cubicBezTo>
                  <a:cubicBezTo>
                    <a:pt x="9225394" y="1867293"/>
                    <a:pt x="9230794" y="1864909"/>
                    <a:pt x="9236117" y="1862273"/>
                  </a:cubicBezTo>
                  <a:cubicBezTo>
                    <a:pt x="9241441" y="1859637"/>
                    <a:pt x="9246815" y="1856696"/>
                    <a:pt x="9252240" y="1853451"/>
                  </a:cubicBezTo>
                  <a:cubicBezTo>
                    <a:pt x="9257665" y="1850207"/>
                    <a:pt x="9263267" y="1846504"/>
                    <a:pt x="9269047" y="1842348"/>
                  </a:cubicBezTo>
                  <a:close/>
                  <a:moveTo>
                    <a:pt x="8879256" y="1842348"/>
                  </a:moveTo>
                  <a:lnTo>
                    <a:pt x="8894162" y="1842348"/>
                  </a:lnTo>
                  <a:lnTo>
                    <a:pt x="8894162" y="2065327"/>
                  </a:lnTo>
                  <a:lnTo>
                    <a:pt x="8858874" y="2065327"/>
                  </a:lnTo>
                  <a:lnTo>
                    <a:pt x="8858874" y="1885544"/>
                  </a:lnTo>
                  <a:cubicBezTo>
                    <a:pt x="8852486" y="1890108"/>
                    <a:pt x="8845616" y="1893985"/>
                    <a:pt x="8838265" y="1897179"/>
                  </a:cubicBezTo>
                  <a:cubicBezTo>
                    <a:pt x="8830913" y="1900374"/>
                    <a:pt x="8822522" y="1903188"/>
                    <a:pt x="8813092" y="1905622"/>
                  </a:cubicBezTo>
                  <a:lnTo>
                    <a:pt x="8813092" y="1875506"/>
                  </a:lnTo>
                  <a:cubicBezTo>
                    <a:pt x="8818973" y="1873580"/>
                    <a:pt x="8824652" y="1871550"/>
                    <a:pt x="8830127" y="1869422"/>
                  </a:cubicBezTo>
                  <a:cubicBezTo>
                    <a:pt x="8835603" y="1867293"/>
                    <a:pt x="8841003" y="1864909"/>
                    <a:pt x="8846326" y="1862273"/>
                  </a:cubicBezTo>
                  <a:cubicBezTo>
                    <a:pt x="8851650" y="1859637"/>
                    <a:pt x="8857024" y="1856696"/>
                    <a:pt x="8862449" y="1853451"/>
                  </a:cubicBezTo>
                  <a:cubicBezTo>
                    <a:pt x="8867874" y="1850207"/>
                    <a:pt x="8873476" y="1846504"/>
                    <a:pt x="8879256" y="1842348"/>
                  </a:cubicBezTo>
                  <a:close/>
                  <a:moveTo>
                    <a:pt x="8735648" y="1842348"/>
                  </a:moveTo>
                  <a:lnTo>
                    <a:pt x="8750554" y="1842348"/>
                  </a:lnTo>
                  <a:lnTo>
                    <a:pt x="8750554" y="2065327"/>
                  </a:lnTo>
                  <a:lnTo>
                    <a:pt x="8715266" y="2065327"/>
                  </a:lnTo>
                  <a:lnTo>
                    <a:pt x="8715266" y="1885544"/>
                  </a:lnTo>
                  <a:cubicBezTo>
                    <a:pt x="8708878" y="1890108"/>
                    <a:pt x="8702008" y="1893985"/>
                    <a:pt x="8694657" y="1897179"/>
                  </a:cubicBezTo>
                  <a:cubicBezTo>
                    <a:pt x="8687305" y="1900374"/>
                    <a:pt x="8678914" y="1903188"/>
                    <a:pt x="8669484" y="1905622"/>
                  </a:cubicBezTo>
                  <a:lnTo>
                    <a:pt x="8669484" y="1875506"/>
                  </a:lnTo>
                  <a:cubicBezTo>
                    <a:pt x="8675365" y="1873580"/>
                    <a:pt x="8681044" y="1871550"/>
                    <a:pt x="8686519" y="1869422"/>
                  </a:cubicBezTo>
                  <a:cubicBezTo>
                    <a:pt x="8691995" y="1867293"/>
                    <a:pt x="8697395" y="1864909"/>
                    <a:pt x="8702718" y="1862273"/>
                  </a:cubicBezTo>
                  <a:cubicBezTo>
                    <a:pt x="8708042" y="1859637"/>
                    <a:pt x="8713416" y="1856696"/>
                    <a:pt x="8718841" y="1853451"/>
                  </a:cubicBezTo>
                  <a:cubicBezTo>
                    <a:pt x="8724266" y="1850207"/>
                    <a:pt x="8729868" y="1846504"/>
                    <a:pt x="8735648" y="1842348"/>
                  </a:cubicBezTo>
                  <a:close/>
                  <a:moveTo>
                    <a:pt x="8592040" y="1842348"/>
                  </a:moveTo>
                  <a:lnTo>
                    <a:pt x="8606946" y="1842348"/>
                  </a:lnTo>
                  <a:lnTo>
                    <a:pt x="8606946" y="2065327"/>
                  </a:lnTo>
                  <a:lnTo>
                    <a:pt x="8571658" y="2065327"/>
                  </a:lnTo>
                  <a:lnTo>
                    <a:pt x="8571658" y="1885544"/>
                  </a:lnTo>
                  <a:cubicBezTo>
                    <a:pt x="8565270" y="1890108"/>
                    <a:pt x="8558400" y="1893985"/>
                    <a:pt x="8551049" y="1897179"/>
                  </a:cubicBezTo>
                  <a:cubicBezTo>
                    <a:pt x="8543697" y="1900374"/>
                    <a:pt x="8535306" y="1903188"/>
                    <a:pt x="8525876" y="1905622"/>
                  </a:cubicBezTo>
                  <a:lnTo>
                    <a:pt x="8525876" y="1875506"/>
                  </a:lnTo>
                  <a:cubicBezTo>
                    <a:pt x="8531757" y="1873580"/>
                    <a:pt x="8537436" y="1871550"/>
                    <a:pt x="8542911" y="1869422"/>
                  </a:cubicBezTo>
                  <a:cubicBezTo>
                    <a:pt x="8548387" y="1867293"/>
                    <a:pt x="8553787" y="1864909"/>
                    <a:pt x="8559110" y="1862273"/>
                  </a:cubicBezTo>
                  <a:cubicBezTo>
                    <a:pt x="8564434" y="1859637"/>
                    <a:pt x="8569808" y="1856696"/>
                    <a:pt x="8575233" y="1853451"/>
                  </a:cubicBezTo>
                  <a:cubicBezTo>
                    <a:pt x="8580658" y="1850207"/>
                    <a:pt x="8586260" y="1846504"/>
                    <a:pt x="8592040" y="1842348"/>
                  </a:cubicBezTo>
                  <a:close/>
                  <a:moveTo>
                    <a:pt x="7830039" y="1842348"/>
                  </a:moveTo>
                  <a:lnTo>
                    <a:pt x="7844946" y="1842348"/>
                  </a:lnTo>
                  <a:lnTo>
                    <a:pt x="7844946" y="2065327"/>
                  </a:lnTo>
                  <a:lnTo>
                    <a:pt x="7809658" y="2065327"/>
                  </a:lnTo>
                  <a:lnTo>
                    <a:pt x="7809658" y="1885544"/>
                  </a:lnTo>
                  <a:cubicBezTo>
                    <a:pt x="7803270" y="1890108"/>
                    <a:pt x="7796400" y="1893985"/>
                    <a:pt x="7789048" y="1897179"/>
                  </a:cubicBezTo>
                  <a:cubicBezTo>
                    <a:pt x="7781697" y="1900374"/>
                    <a:pt x="7773306" y="1903188"/>
                    <a:pt x="7763876" y="1905622"/>
                  </a:cubicBezTo>
                  <a:lnTo>
                    <a:pt x="7763876" y="1875506"/>
                  </a:lnTo>
                  <a:cubicBezTo>
                    <a:pt x="7769757" y="1873580"/>
                    <a:pt x="7775435" y="1871550"/>
                    <a:pt x="7780911" y="1869422"/>
                  </a:cubicBezTo>
                  <a:cubicBezTo>
                    <a:pt x="7786387" y="1867293"/>
                    <a:pt x="7791786" y="1864909"/>
                    <a:pt x="7797110" y="1862273"/>
                  </a:cubicBezTo>
                  <a:cubicBezTo>
                    <a:pt x="7802433" y="1859637"/>
                    <a:pt x="7807808" y="1856696"/>
                    <a:pt x="7813232" y="1853451"/>
                  </a:cubicBezTo>
                  <a:cubicBezTo>
                    <a:pt x="7818658" y="1850207"/>
                    <a:pt x="7824260" y="1846504"/>
                    <a:pt x="7830039" y="1842348"/>
                  </a:cubicBezTo>
                  <a:close/>
                  <a:moveTo>
                    <a:pt x="7686431" y="1842348"/>
                  </a:moveTo>
                  <a:lnTo>
                    <a:pt x="7701338" y="1842348"/>
                  </a:lnTo>
                  <a:lnTo>
                    <a:pt x="7701338" y="2065327"/>
                  </a:lnTo>
                  <a:lnTo>
                    <a:pt x="7666050" y="2065327"/>
                  </a:lnTo>
                  <a:lnTo>
                    <a:pt x="7666050" y="1885544"/>
                  </a:lnTo>
                  <a:cubicBezTo>
                    <a:pt x="7659662" y="1890108"/>
                    <a:pt x="7652792" y="1893985"/>
                    <a:pt x="7645440" y="1897179"/>
                  </a:cubicBezTo>
                  <a:cubicBezTo>
                    <a:pt x="7638089" y="1900374"/>
                    <a:pt x="7629698" y="1903188"/>
                    <a:pt x="7620268" y="1905622"/>
                  </a:cubicBezTo>
                  <a:lnTo>
                    <a:pt x="7620268" y="1875506"/>
                  </a:lnTo>
                  <a:cubicBezTo>
                    <a:pt x="7626149" y="1873580"/>
                    <a:pt x="7631827" y="1871550"/>
                    <a:pt x="7637303" y="1869422"/>
                  </a:cubicBezTo>
                  <a:cubicBezTo>
                    <a:pt x="7642779" y="1867293"/>
                    <a:pt x="7648178" y="1864909"/>
                    <a:pt x="7653502" y="1862273"/>
                  </a:cubicBezTo>
                  <a:cubicBezTo>
                    <a:pt x="7658825" y="1859637"/>
                    <a:pt x="7664200" y="1856696"/>
                    <a:pt x="7669624" y="1853451"/>
                  </a:cubicBezTo>
                  <a:cubicBezTo>
                    <a:pt x="7675050" y="1850207"/>
                    <a:pt x="7680652" y="1846504"/>
                    <a:pt x="7686431" y="1842348"/>
                  </a:cubicBezTo>
                  <a:close/>
                  <a:moveTo>
                    <a:pt x="7399215" y="1842348"/>
                  </a:moveTo>
                  <a:lnTo>
                    <a:pt x="7414122" y="1842348"/>
                  </a:lnTo>
                  <a:lnTo>
                    <a:pt x="7414122" y="2065327"/>
                  </a:lnTo>
                  <a:lnTo>
                    <a:pt x="7378834" y="2065327"/>
                  </a:lnTo>
                  <a:lnTo>
                    <a:pt x="7378834" y="1885544"/>
                  </a:lnTo>
                  <a:cubicBezTo>
                    <a:pt x="7372446" y="1890108"/>
                    <a:pt x="7365576" y="1893985"/>
                    <a:pt x="7358224" y="1897179"/>
                  </a:cubicBezTo>
                  <a:cubicBezTo>
                    <a:pt x="7350873" y="1900374"/>
                    <a:pt x="7342482" y="1903188"/>
                    <a:pt x="7333052" y="1905622"/>
                  </a:cubicBezTo>
                  <a:lnTo>
                    <a:pt x="7333052" y="1875506"/>
                  </a:lnTo>
                  <a:cubicBezTo>
                    <a:pt x="7338933" y="1873580"/>
                    <a:pt x="7344611" y="1871550"/>
                    <a:pt x="7350087" y="1869422"/>
                  </a:cubicBezTo>
                  <a:cubicBezTo>
                    <a:pt x="7355563" y="1867293"/>
                    <a:pt x="7360962" y="1864909"/>
                    <a:pt x="7366286" y="1862273"/>
                  </a:cubicBezTo>
                  <a:cubicBezTo>
                    <a:pt x="7371609" y="1859637"/>
                    <a:pt x="7376984" y="1856696"/>
                    <a:pt x="7382408" y="1853451"/>
                  </a:cubicBezTo>
                  <a:cubicBezTo>
                    <a:pt x="7387834" y="1850207"/>
                    <a:pt x="7393436" y="1846504"/>
                    <a:pt x="7399215" y="1842348"/>
                  </a:cubicBezTo>
                  <a:close/>
                  <a:moveTo>
                    <a:pt x="7000631" y="1842348"/>
                  </a:moveTo>
                  <a:lnTo>
                    <a:pt x="7015537" y="1842348"/>
                  </a:lnTo>
                  <a:lnTo>
                    <a:pt x="7015537" y="2065327"/>
                  </a:lnTo>
                  <a:lnTo>
                    <a:pt x="6980249" y="2065327"/>
                  </a:lnTo>
                  <a:lnTo>
                    <a:pt x="6980249" y="1885544"/>
                  </a:lnTo>
                  <a:cubicBezTo>
                    <a:pt x="6973861" y="1890108"/>
                    <a:pt x="6966992" y="1893985"/>
                    <a:pt x="6959640" y="1897179"/>
                  </a:cubicBezTo>
                  <a:cubicBezTo>
                    <a:pt x="6952288" y="1900374"/>
                    <a:pt x="6943898" y="1903188"/>
                    <a:pt x="6934467" y="1905622"/>
                  </a:cubicBezTo>
                  <a:lnTo>
                    <a:pt x="6934467" y="1875506"/>
                  </a:lnTo>
                  <a:cubicBezTo>
                    <a:pt x="6940348" y="1873580"/>
                    <a:pt x="6946027" y="1871550"/>
                    <a:pt x="6951502" y="1869422"/>
                  </a:cubicBezTo>
                  <a:cubicBezTo>
                    <a:pt x="6956978" y="1867293"/>
                    <a:pt x="6962378" y="1864909"/>
                    <a:pt x="6967701" y="1862273"/>
                  </a:cubicBezTo>
                  <a:cubicBezTo>
                    <a:pt x="6973025" y="1859637"/>
                    <a:pt x="6978399" y="1856696"/>
                    <a:pt x="6983824" y="1853451"/>
                  </a:cubicBezTo>
                  <a:cubicBezTo>
                    <a:pt x="6989249" y="1850207"/>
                    <a:pt x="6994851" y="1846504"/>
                    <a:pt x="7000631" y="1842348"/>
                  </a:cubicBezTo>
                  <a:close/>
                  <a:moveTo>
                    <a:pt x="6857023" y="1842348"/>
                  </a:moveTo>
                  <a:lnTo>
                    <a:pt x="6871929" y="1842348"/>
                  </a:lnTo>
                  <a:lnTo>
                    <a:pt x="6871929" y="2065327"/>
                  </a:lnTo>
                  <a:lnTo>
                    <a:pt x="6836641" y="2065327"/>
                  </a:lnTo>
                  <a:lnTo>
                    <a:pt x="6836641" y="1885544"/>
                  </a:lnTo>
                  <a:cubicBezTo>
                    <a:pt x="6830253" y="1890108"/>
                    <a:pt x="6823384" y="1893985"/>
                    <a:pt x="6816032" y="1897179"/>
                  </a:cubicBezTo>
                  <a:cubicBezTo>
                    <a:pt x="6808680" y="1900374"/>
                    <a:pt x="6800290" y="1903188"/>
                    <a:pt x="6790859" y="1905622"/>
                  </a:cubicBezTo>
                  <a:lnTo>
                    <a:pt x="6790859" y="1875506"/>
                  </a:lnTo>
                  <a:cubicBezTo>
                    <a:pt x="6796740" y="1873580"/>
                    <a:pt x="6802419" y="1871550"/>
                    <a:pt x="6807894" y="1869422"/>
                  </a:cubicBezTo>
                  <a:cubicBezTo>
                    <a:pt x="6813370" y="1867293"/>
                    <a:pt x="6818770" y="1864909"/>
                    <a:pt x="6824093" y="1862273"/>
                  </a:cubicBezTo>
                  <a:cubicBezTo>
                    <a:pt x="6829417" y="1859637"/>
                    <a:pt x="6834791" y="1856696"/>
                    <a:pt x="6840216" y="1853451"/>
                  </a:cubicBezTo>
                  <a:cubicBezTo>
                    <a:pt x="6845641" y="1850207"/>
                    <a:pt x="6851243" y="1846504"/>
                    <a:pt x="6857023" y="1842348"/>
                  </a:cubicBezTo>
                  <a:close/>
                  <a:moveTo>
                    <a:pt x="6713415" y="1842348"/>
                  </a:moveTo>
                  <a:lnTo>
                    <a:pt x="6728321" y="1842348"/>
                  </a:lnTo>
                  <a:lnTo>
                    <a:pt x="6728321" y="2065327"/>
                  </a:lnTo>
                  <a:lnTo>
                    <a:pt x="6693033" y="2065327"/>
                  </a:lnTo>
                  <a:lnTo>
                    <a:pt x="6693033" y="1885544"/>
                  </a:lnTo>
                  <a:cubicBezTo>
                    <a:pt x="6686645" y="1890108"/>
                    <a:pt x="6679776" y="1893985"/>
                    <a:pt x="6672424" y="1897179"/>
                  </a:cubicBezTo>
                  <a:cubicBezTo>
                    <a:pt x="6665072" y="1900374"/>
                    <a:pt x="6656682" y="1903188"/>
                    <a:pt x="6647251" y="1905622"/>
                  </a:cubicBezTo>
                  <a:lnTo>
                    <a:pt x="6647251" y="1875506"/>
                  </a:lnTo>
                  <a:cubicBezTo>
                    <a:pt x="6653132" y="1873580"/>
                    <a:pt x="6658811" y="1871550"/>
                    <a:pt x="6664286" y="1869422"/>
                  </a:cubicBezTo>
                  <a:cubicBezTo>
                    <a:pt x="6669762" y="1867293"/>
                    <a:pt x="6675162" y="1864909"/>
                    <a:pt x="6680485" y="1862273"/>
                  </a:cubicBezTo>
                  <a:cubicBezTo>
                    <a:pt x="6685809" y="1859637"/>
                    <a:pt x="6691183" y="1856696"/>
                    <a:pt x="6696608" y="1853451"/>
                  </a:cubicBezTo>
                  <a:cubicBezTo>
                    <a:pt x="6702033" y="1850207"/>
                    <a:pt x="6707635" y="1846504"/>
                    <a:pt x="6713415" y="1842348"/>
                  </a:cubicBezTo>
                  <a:close/>
                  <a:moveTo>
                    <a:pt x="6569807" y="1842348"/>
                  </a:moveTo>
                  <a:lnTo>
                    <a:pt x="6584713" y="1842348"/>
                  </a:lnTo>
                  <a:lnTo>
                    <a:pt x="6584713" y="2065327"/>
                  </a:lnTo>
                  <a:lnTo>
                    <a:pt x="6549425" y="2065327"/>
                  </a:lnTo>
                  <a:lnTo>
                    <a:pt x="6549425" y="1885544"/>
                  </a:lnTo>
                  <a:cubicBezTo>
                    <a:pt x="6543037" y="1890108"/>
                    <a:pt x="6536168" y="1893985"/>
                    <a:pt x="6528816" y="1897179"/>
                  </a:cubicBezTo>
                  <a:cubicBezTo>
                    <a:pt x="6521464" y="1900374"/>
                    <a:pt x="6513074" y="1903188"/>
                    <a:pt x="6503643" y="1905622"/>
                  </a:cubicBezTo>
                  <a:lnTo>
                    <a:pt x="6503643" y="1875506"/>
                  </a:lnTo>
                  <a:cubicBezTo>
                    <a:pt x="6509524" y="1873580"/>
                    <a:pt x="6515203" y="1871550"/>
                    <a:pt x="6520678" y="1869422"/>
                  </a:cubicBezTo>
                  <a:cubicBezTo>
                    <a:pt x="6526154" y="1867293"/>
                    <a:pt x="6531554" y="1864909"/>
                    <a:pt x="6536877" y="1862273"/>
                  </a:cubicBezTo>
                  <a:cubicBezTo>
                    <a:pt x="6542201" y="1859637"/>
                    <a:pt x="6547575" y="1856696"/>
                    <a:pt x="6553000" y="1853451"/>
                  </a:cubicBezTo>
                  <a:cubicBezTo>
                    <a:pt x="6558425" y="1850207"/>
                    <a:pt x="6564027" y="1846504"/>
                    <a:pt x="6569807" y="1842348"/>
                  </a:cubicBezTo>
                  <a:close/>
                  <a:moveTo>
                    <a:pt x="6368605" y="1842348"/>
                  </a:moveTo>
                  <a:cubicBezTo>
                    <a:pt x="6416050" y="1842348"/>
                    <a:pt x="6439772" y="1879210"/>
                    <a:pt x="6439772" y="1952935"/>
                  </a:cubicBezTo>
                  <a:cubicBezTo>
                    <a:pt x="6439772" y="1989447"/>
                    <a:pt x="6433077" y="2017306"/>
                    <a:pt x="6419686" y="2036514"/>
                  </a:cubicBezTo>
                  <a:cubicBezTo>
                    <a:pt x="6406295" y="2055722"/>
                    <a:pt x="6387563" y="2065327"/>
                    <a:pt x="6363489" y="2065327"/>
                  </a:cubicBezTo>
                  <a:cubicBezTo>
                    <a:pt x="6341021" y="2065327"/>
                    <a:pt x="6323492" y="2056149"/>
                    <a:pt x="6310904" y="2037793"/>
                  </a:cubicBezTo>
                  <a:cubicBezTo>
                    <a:pt x="6298315" y="2019437"/>
                    <a:pt x="6292021" y="1992907"/>
                    <a:pt x="6292021" y="1958202"/>
                  </a:cubicBezTo>
                  <a:cubicBezTo>
                    <a:pt x="6292021" y="1920085"/>
                    <a:pt x="6298591" y="1891247"/>
                    <a:pt x="6311731" y="1871686"/>
                  </a:cubicBezTo>
                  <a:cubicBezTo>
                    <a:pt x="6324872" y="1852127"/>
                    <a:pt x="6343829" y="1842348"/>
                    <a:pt x="6368605" y="1842348"/>
                  </a:cubicBezTo>
                  <a:close/>
                  <a:moveTo>
                    <a:pt x="6033478" y="1842348"/>
                  </a:moveTo>
                  <a:lnTo>
                    <a:pt x="6048383" y="1842348"/>
                  </a:lnTo>
                  <a:lnTo>
                    <a:pt x="6048383" y="2065327"/>
                  </a:lnTo>
                  <a:lnTo>
                    <a:pt x="6013095" y="2065327"/>
                  </a:lnTo>
                  <a:lnTo>
                    <a:pt x="6013095" y="1885544"/>
                  </a:lnTo>
                  <a:cubicBezTo>
                    <a:pt x="6006707" y="1890108"/>
                    <a:pt x="5999838" y="1893985"/>
                    <a:pt x="5992487" y="1897179"/>
                  </a:cubicBezTo>
                  <a:cubicBezTo>
                    <a:pt x="5985135" y="1900374"/>
                    <a:pt x="5976744" y="1903188"/>
                    <a:pt x="5967315" y="1905622"/>
                  </a:cubicBezTo>
                  <a:lnTo>
                    <a:pt x="5967315" y="1875506"/>
                  </a:lnTo>
                  <a:cubicBezTo>
                    <a:pt x="5973194" y="1873580"/>
                    <a:pt x="5978874" y="1871550"/>
                    <a:pt x="5984348" y="1869422"/>
                  </a:cubicBezTo>
                  <a:cubicBezTo>
                    <a:pt x="5989824" y="1867293"/>
                    <a:pt x="5995224" y="1864909"/>
                    <a:pt x="6000547" y="1862273"/>
                  </a:cubicBezTo>
                  <a:cubicBezTo>
                    <a:pt x="6005871" y="1859637"/>
                    <a:pt x="6011246" y="1856696"/>
                    <a:pt x="6016670" y="1853451"/>
                  </a:cubicBezTo>
                  <a:cubicBezTo>
                    <a:pt x="6022096" y="1850207"/>
                    <a:pt x="6027697" y="1846504"/>
                    <a:pt x="6033478" y="1842348"/>
                  </a:cubicBezTo>
                  <a:close/>
                  <a:moveTo>
                    <a:pt x="5833520" y="1842348"/>
                  </a:moveTo>
                  <a:cubicBezTo>
                    <a:pt x="5880965" y="1842348"/>
                    <a:pt x="5904686" y="1879210"/>
                    <a:pt x="5904686" y="1952935"/>
                  </a:cubicBezTo>
                  <a:cubicBezTo>
                    <a:pt x="5904686" y="1989447"/>
                    <a:pt x="5897991" y="2017306"/>
                    <a:pt x="5884601" y="2036514"/>
                  </a:cubicBezTo>
                  <a:cubicBezTo>
                    <a:pt x="5871210" y="2055722"/>
                    <a:pt x="5852477" y="2065327"/>
                    <a:pt x="5828403" y="2065327"/>
                  </a:cubicBezTo>
                  <a:cubicBezTo>
                    <a:pt x="5805935" y="2065327"/>
                    <a:pt x="5788407" y="2056149"/>
                    <a:pt x="5775818" y="2037793"/>
                  </a:cubicBezTo>
                  <a:cubicBezTo>
                    <a:pt x="5763229" y="2019437"/>
                    <a:pt x="5756935" y="1992907"/>
                    <a:pt x="5756935" y="1958202"/>
                  </a:cubicBezTo>
                  <a:cubicBezTo>
                    <a:pt x="5756935" y="1920085"/>
                    <a:pt x="5763506" y="1891247"/>
                    <a:pt x="5776646" y="1871686"/>
                  </a:cubicBezTo>
                  <a:cubicBezTo>
                    <a:pt x="5789787" y="1852127"/>
                    <a:pt x="5808744" y="1842348"/>
                    <a:pt x="5833520" y="1842348"/>
                  </a:cubicBezTo>
                  <a:close/>
                  <a:moveTo>
                    <a:pt x="5135870" y="1842348"/>
                  </a:moveTo>
                  <a:cubicBezTo>
                    <a:pt x="5183315" y="1842348"/>
                    <a:pt x="5207037" y="1879210"/>
                    <a:pt x="5207037" y="1952935"/>
                  </a:cubicBezTo>
                  <a:cubicBezTo>
                    <a:pt x="5207037" y="1989447"/>
                    <a:pt x="5200342" y="2017306"/>
                    <a:pt x="5186950" y="2036514"/>
                  </a:cubicBezTo>
                  <a:cubicBezTo>
                    <a:pt x="5173561" y="2055722"/>
                    <a:pt x="5154828" y="2065327"/>
                    <a:pt x="5130754" y="2065327"/>
                  </a:cubicBezTo>
                  <a:cubicBezTo>
                    <a:pt x="5108286" y="2065327"/>
                    <a:pt x="5090756" y="2056149"/>
                    <a:pt x="5078168" y="2037793"/>
                  </a:cubicBezTo>
                  <a:cubicBezTo>
                    <a:pt x="5065580" y="2019437"/>
                    <a:pt x="5059286" y="1992907"/>
                    <a:pt x="5059286" y="1958202"/>
                  </a:cubicBezTo>
                  <a:cubicBezTo>
                    <a:pt x="5059286" y="1920085"/>
                    <a:pt x="5065856" y="1891247"/>
                    <a:pt x="5078996" y="1871686"/>
                  </a:cubicBezTo>
                  <a:cubicBezTo>
                    <a:pt x="5092137" y="1852127"/>
                    <a:pt x="5111094" y="1842348"/>
                    <a:pt x="5135870" y="1842348"/>
                  </a:cubicBezTo>
                  <a:close/>
                  <a:moveTo>
                    <a:pt x="4761526" y="1842348"/>
                  </a:moveTo>
                  <a:lnTo>
                    <a:pt x="4776431" y="1842348"/>
                  </a:lnTo>
                  <a:lnTo>
                    <a:pt x="4776431" y="2065327"/>
                  </a:lnTo>
                  <a:lnTo>
                    <a:pt x="4741143" y="2065327"/>
                  </a:lnTo>
                  <a:lnTo>
                    <a:pt x="4741143" y="1885544"/>
                  </a:lnTo>
                  <a:cubicBezTo>
                    <a:pt x="4734755" y="1890108"/>
                    <a:pt x="4727885" y="1893985"/>
                    <a:pt x="4720534" y="1897179"/>
                  </a:cubicBezTo>
                  <a:cubicBezTo>
                    <a:pt x="4713182" y="1900374"/>
                    <a:pt x="4704792" y="1903188"/>
                    <a:pt x="4695361" y="1905622"/>
                  </a:cubicBezTo>
                  <a:lnTo>
                    <a:pt x="4695361" y="1875506"/>
                  </a:lnTo>
                  <a:cubicBezTo>
                    <a:pt x="4701241" y="1873580"/>
                    <a:pt x="4706921" y="1871550"/>
                    <a:pt x="4712395" y="1869422"/>
                  </a:cubicBezTo>
                  <a:cubicBezTo>
                    <a:pt x="4717872" y="1867293"/>
                    <a:pt x="4723271" y="1864909"/>
                    <a:pt x="4728594" y="1862273"/>
                  </a:cubicBezTo>
                  <a:cubicBezTo>
                    <a:pt x="4733919" y="1859637"/>
                    <a:pt x="4739293" y="1856696"/>
                    <a:pt x="4744717" y="1853451"/>
                  </a:cubicBezTo>
                  <a:cubicBezTo>
                    <a:pt x="4750143" y="1850207"/>
                    <a:pt x="4755744" y="1846504"/>
                    <a:pt x="4761526" y="1842348"/>
                  </a:cubicBezTo>
                  <a:close/>
                  <a:moveTo>
                    <a:pt x="4392240" y="1842348"/>
                  </a:moveTo>
                  <a:lnTo>
                    <a:pt x="4407147" y="1842348"/>
                  </a:lnTo>
                  <a:lnTo>
                    <a:pt x="4407147" y="2065327"/>
                  </a:lnTo>
                  <a:lnTo>
                    <a:pt x="4371860" y="2065327"/>
                  </a:lnTo>
                  <a:lnTo>
                    <a:pt x="4371860" y="1885544"/>
                  </a:lnTo>
                  <a:cubicBezTo>
                    <a:pt x="4365472" y="1890108"/>
                    <a:pt x="4358602" y="1893985"/>
                    <a:pt x="4351250" y="1897179"/>
                  </a:cubicBezTo>
                  <a:cubicBezTo>
                    <a:pt x="4343899" y="1900374"/>
                    <a:pt x="4335508" y="1903188"/>
                    <a:pt x="4326077" y="1905622"/>
                  </a:cubicBezTo>
                  <a:lnTo>
                    <a:pt x="4326077" y="1875506"/>
                  </a:lnTo>
                  <a:cubicBezTo>
                    <a:pt x="4331958" y="1873580"/>
                    <a:pt x="4337636" y="1871550"/>
                    <a:pt x="4343113" y="1869422"/>
                  </a:cubicBezTo>
                  <a:cubicBezTo>
                    <a:pt x="4348588" y="1867293"/>
                    <a:pt x="4353988" y="1864909"/>
                    <a:pt x="4359312" y="1862273"/>
                  </a:cubicBezTo>
                  <a:cubicBezTo>
                    <a:pt x="4364634" y="1859637"/>
                    <a:pt x="4370010" y="1856696"/>
                    <a:pt x="4375433" y="1853451"/>
                  </a:cubicBezTo>
                  <a:cubicBezTo>
                    <a:pt x="4380859" y="1850207"/>
                    <a:pt x="4386462" y="1846504"/>
                    <a:pt x="4392240" y="1842348"/>
                  </a:cubicBezTo>
                  <a:close/>
                  <a:moveTo>
                    <a:pt x="4091705" y="1842348"/>
                  </a:moveTo>
                  <a:lnTo>
                    <a:pt x="4106611" y="1842348"/>
                  </a:lnTo>
                  <a:lnTo>
                    <a:pt x="4106611" y="2065327"/>
                  </a:lnTo>
                  <a:lnTo>
                    <a:pt x="4071322" y="2065327"/>
                  </a:lnTo>
                  <a:lnTo>
                    <a:pt x="4071322" y="1885544"/>
                  </a:lnTo>
                  <a:cubicBezTo>
                    <a:pt x="4064935" y="1890108"/>
                    <a:pt x="4058065" y="1893985"/>
                    <a:pt x="4050714" y="1897179"/>
                  </a:cubicBezTo>
                  <a:cubicBezTo>
                    <a:pt x="4043362" y="1900374"/>
                    <a:pt x="4034970" y="1903188"/>
                    <a:pt x="4025540" y="1905622"/>
                  </a:cubicBezTo>
                  <a:lnTo>
                    <a:pt x="4025540" y="1875506"/>
                  </a:lnTo>
                  <a:cubicBezTo>
                    <a:pt x="4031421" y="1873580"/>
                    <a:pt x="4037100" y="1871550"/>
                    <a:pt x="4042575" y="1869422"/>
                  </a:cubicBezTo>
                  <a:cubicBezTo>
                    <a:pt x="4048051" y="1867293"/>
                    <a:pt x="4053451" y="1864909"/>
                    <a:pt x="4058774" y="1862273"/>
                  </a:cubicBezTo>
                  <a:cubicBezTo>
                    <a:pt x="4064098" y="1859637"/>
                    <a:pt x="4069473" y="1856696"/>
                    <a:pt x="4074897" y="1853451"/>
                  </a:cubicBezTo>
                  <a:cubicBezTo>
                    <a:pt x="4080323" y="1850207"/>
                    <a:pt x="4085924" y="1846504"/>
                    <a:pt x="4091705" y="1842348"/>
                  </a:cubicBezTo>
                  <a:close/>
                  <a:moveTo>
                    <a:pt x="3884133" y="1842348"/>
                  </a:moveTo>
                  <a:cubicBezTo>
                    <a:pt x="3931577" y="1842348"/>
                    <a:pt x="3955300" y="1879210"/>
                    <a:pt x="3955300" y="1952935"/>
                  </a:cubicBezTo>
                  <a:cubicBezTo>
                    <a:pt x="3955300" y="1989447"/>
                    <a:pt x="3948604" y="2017306"/>
                    <a:pt x="3935215" y="2036514"/>
                  </a:cubicBezTo>
                  <a:cubicBezTo>
                    <a:pt x="3921823" y="2055722"/>
                    <a:pt x="3903090" y="2065327"/>
                    <a:pt x="3879017" y="2065327"/>
                  </a:cubicBezTo>
                  <a:cubicBezTo>
                    <a:pt x="3856548" y="2065327"/>
                    <a:pt x="3839020" y="2056149"/>
                    <a:pt x="3826433" y="2037793"/>
                  </a:cubicBezTo>
                  <a:cubicBezTo>
                    <a:pt x="3813843" y="2019437"/>
                    <a:pt x="3807549" y="1992907"/>
                    <a:pt x="3807549" y="1958202"/>
                  </a:cubicBezTo>
                  <a:cubicBezTo>
                    <a:pt x="3807549" y="1920085"/>
                    <a:pt x="3814119" y="1891247"/>
                    <a:pt x="3827259" y="1871686"/>
                  </a:cubicBezTo>
                  <a:cubicBezTo>
                    <a:pt x="3840399" y="1852127"/>
                    <a:pt x="3859358" y="1842348"/>
                    <a:pt x="3884133" y="1842348"/>
                  </a:cubicBezTo>
                  <a:close/>
                  <a:moveTo>
                    <a:pt x="3659468" y="1842348"/>
                  </a:moveTo>
                  <a:cubicBezTo>
                    <a:pt x="3706913" y="1842348"/>
                    <a:pt x="3730636" y="1879210"/>
                    <a:pt x="3730636" y="1952935"/>
                  </a:cubicBezTo>
                  <a:cubicBezTo>
                    <a:pt x="3730636" y="1989447"/>
                    <a:pt x="3723940" y="2017306"/>
                    <a:pt x="3710550" y="2036514"/>
                  </a:cubicBezTo>
                  <a:cubicBezTo>
                    <a:pt x="3697160" y="2055722"/>
                    <a:pt x="3678427" y="2065327"/>
                    <a:pt x="3654354" y="2065327"/>
                  </a:cubicBezTo>
                  <a:cubicBezTo>
                    <a:pt x="3631885" y="2065327"/>
                    <a:pt x="3614357" y="2056149"/>
                    <a:pt x="3601769" y="2037793"/>
                  </a:cubicBezTo>
                  <a:cubicBezTo>
                    <a:pt x="3589180" y="2019437"/>
                    <a:pt x="3582886" y="1992907"/>
                    <a:pt x="3582886" y="1958202"/>
                  </a:cubicBezTo>
                  <a:cubicBezTo>
                    <a:pt x="3582886" y="1920085"/>
                    <a:pt x="3589456" y="1891247"/>
                    <a:pt x="3602596" y="1871686"/>
                  </a:cubicBezTo>
                  <a:cubicBezTo>
                    <a:pt x="3615736" y="1852127"/>
                    <a:pt x="3634693" y="1842348"/>
                    <a:pt x="3659468" y="1842348"/>
                  </a:cubicBezTo>
                  <a:close/>
                  <a:moveTo>
                    <a:pt x="3513017" y="1842348"/>
                  </a:moveTo>
                  <a:lnTo>
                    <a:pt x="3527924" y="1842348"/>
                  </a:lnTo>
                  <a:lnTo>
                    <a:pt x="3527924" y="2065327"/>
                  </a:lnTo>
                  <a:lnTo>
                    <a:pt x="3492635" y="2065327"/>
                  </a:lnTo>
                  <a:lnTo>
                    <a:pt x="3492635" y="1885544"/>
                  </a:lnTo>
                  <a:cubicBezTo>
                    <a:pt x="3486247" y="1890108"/>
                    <a:pt x="3479377" y="1893985"/>
                    <a:pt x="3472027" y="1897179"/>
                  </a:cubicBezTo>
                  <a:cubicBezTo>
                    <a:pt x="3464674" y="1900374"/>
                    <a:pt x="3456284" y="1903188"/>
                    <a:pt x="3446854" y="1905622"/>
                  </a:cubicBezTo>
                  <a:lnTo>
                    <a:pt x="3446854" y="1875506"/>
                  </a:lnTo>
                  <a:cubicBezTo>
                    <a:pt x="3452735" y="1873580"/>
                    <a:pt x="3458413" y="1871550"/>
                    <a:pt x="3463889" y="1869422"/>
                  </a:cubicBezTo>
                  <a:cubicBezTo>
                    <a:pt x="3469364" y="1867293"/>
                    <a:pt x="3474763" y="1864909"/>
                    <a:pt x="3480087" y="1862273"/>
                  </a:cubicBezTo>
                  <a:cubicBezTo>
                    <a:pt x="3485411" y="1859637"/>
                    <a:pt x="3490785" y="1856696"/>
                    <a:pt x="3496210" y="1853451"/>
                  </a:cubicBezTo>
                  <a:cubicBezTo>
                    <a:pt x="3501636" y="1850207"/>
                    <a:pt x="3507237" y="1846504"/>
                    <a:pt x="3513017" y="1842348"/>
                  </a:cubicBezTo>
                  <a:close/>
                  <a:moveTo>
                    <a:pt x="3208218" y="1842348"/>
                  </a:moveTo>
                  <a:lnTo>
                    <a:pt x="3223124" y="1842348"/>
                  </a:lnTo>
                  <a:lnTo>
                    <a:pt x="3223124" y="2065327"/>
                  </a:lnTo>
                  <a:lnTo>
                    <a:pt x="3187836" y="2065327"/>
                  </a:lnTo>
                  <a:lnTo>
                    <a:pt x="3187836" y="1885544"/>
                  </a:lnTo>
                  <a:cubicBezTo>
                    <a:pt x="3181448" y="1890108"/>
                    <a:pt x="3174578" y="1893985"/>
                    <a:pt x="3167227" y="1897179"/>
                  </a:cubicBezTo>
                  <a:cubicBezTo>
                    <a:pt x="3159874" y="1900374"/>
                    <a:pt x="3151483" y="1903188"/>
                    <a:pt x="3142053" y="1905622"/>
                  </a:cubicBezTo>
                  <a:lnTo>
                    <a:pt x="3142053" y="1875506"/>
                  </a:lnTo>
                  <a:cubicBezTo>
                    <a:pt x="3147935" y="1873580"/>
                    <a:pt x="3153614" y="1871550"/>
                    <a:pt x="3159089" y="1869422"/>
                  </a:cubicBezTo>
                  <a:cubicBezTo>
                    <a:pt x="3164565" y="1867293"/>
                    <a:pt x="3169964" y="1864909"/>
                    <a:pt x="3175288" y="1862273"/>
                  </a:cubicBezTo>
                  <a:cubicBezTo>
                    <a:pt x="3180612" y="1859637"/>
                    <a:pt x="3185985" y="1856696"/>
                    <a:pt x="3191409" y="1853451"/>
                  </a:cubicBezTo>
                  <a:cubicBezTo>
                    <a:pt x="3196835" y="1850207"/>
                    <a:pt x="3202438" y="1846504"/>
                    <a:pt x="3208218" y="1842348"/>
                  </a:cubicBezTo>
                  <a:close/>
                  <a:moveTo>
                    <a:pt x="2813523" y="1842348"/>
                  </a:moveTo>
                  <a:lnTo>
                    <a:pt x="2828429" y="1842348"/>
                  </a:lnTo>
                  <a:lnTo>
                    <a:pt x="2828429" y="2065327"/>
                  </a:lnTo>
                  <a:lnTo>
                    <a:pt x="2793141" y="2065327"/>
                  </a:lnTo>
                  <a:lnTo>
                    <a:pt x="2793141" y="1885544"/>
                  </a:lnTo>
                  <a:cubicBezTo>
                    <a:pt x="2786752" y="1890108"/>
                    <a:pt x="2779883" y="1893985"/>
                    <a:pt x="2772531" y="1897179"/>
                  </a:cubicBezTo>
                  <a:cubicBezTo>
                    <a:pt x="2765180" y="1900374"/>
                    <a:pt x="2756789" y="1903188"/>
                    <a:pt x="2747358" y="1905622"/>
                  </a:cubicBezTo>
                  <a:lnTo>
                    <a:pt x="2747358" y="1875506"/>
                  </a:lnTo>
                  <a:cubicBezTo>
                    <a:pt x="2753240" y="1873580"/>
                    <a:pt x="2758919" y="1871550"/>
                    <a:pt x="2764394" y="1869422"/>
                  </a:cubicBezTo>
                  <a:cubicBezTo>
                    <a:pt x="2769870" y="1867293"/>
                    <a:pt x="2775268" y="1864909"/>
                    <a:pt x="2780592" y="1862273"/>
                  </a:cubicBezTo>
                  <a:cubicBezTo>
                    <a:pt x="2785917" y="1859637"/>
                    <a:pt x="2791290" y="1856696"/>
                    <a:pt x="2796715" y="1853451"/>
                  </a:cubicBezTo>
                  <a:cubicBezTo>
                    <a:pt x="2802141" y="1850207"/>
                    <a:pt x="2807743" y="1846504"/>
                    <a:pt x="2813523" y="1842348"/>
                  </a:cubicBezTo>
                  <a:close/>
                  <a:moveTo>
                    <a:pt x="2662929" y="1842348"/>
                  </a:moveTo>
                  <a:lnTo>
                    <a:pt x="2677834" y="1842348"/>
                  </a:lnTo>
                  <a:lnTo>
                    <a:pt x="2677834" y="2065327"/>
                  </a:lnTo>
                  <a:lnTo>
                    <a:pt x="2642547" y="2065327"/>
                  </a:lnTo>
                  <a:lnTo>
                    <a:pt x="2642547" y="1885544"/>
                  </a:lnTo>
                  <a:cubicBezTo>
                    <a:pt x="2636159" y="1890108"/>
                    <a:pt x="2629289" y="1893985"/>
                    <a:pt x="2621937" y="1897179"/>
                  </a:cubicBezTo>
                  <a:cubicBezTo>
                    <a:pt x="2614586" y="1900374"/>
                    <a:pt x="2606195" y="1903188"/>
                    <a:pt x="2596765" y="1905622"/>
                  </a:cubicBezTo>
                  <a:lnTo>
                    <a:pt x="2596765" y="1875506"/>
                  </a:lnTo>
                  <a:cubicBezTo>
                    <a:pt x="2602646" y="1873580"/>
                    <a:pt x="2608325" y="1871550"/>
                    <a:pt x="2613800" y="1869422"/>
                  </a:cubicBezTo>
                  <a:cubicBezTo>
                    <a:pt x="2619276" y="1867293"/>
                    <a:pt x="2624675" y="1864909"/>
                    <a:pt x="2629998" y="1862273"/>
                  </a:cubicBezTo>
                  <a:cubicBezTo>
                    <a:pt x="2635322" y="1859637"/>
                    <a:pt x="2640696" y="1856696"/>
                    <a:pt x="2646120" y="1853451"/>
                  </a:cubicBezTo>
                  <a:cubicBezTo>
                    <a:pt x="2651547" y="1850207"/>
                    <a:pt x="2657149" y="1846504"/>
                    <a:pt x="2662929" y="1842348"/>
                  </a:cubicBezTo>
                  <a:close/>
                  <a:moveTo>
                    <a:pt x="2529603" y="1842348"/>
                  </a:moveTo>
                  <a:lnTo>
                    <a:pt x="2544509" y="1842348"/>
                  </a:lnTo>
                  <a:lnTo>
                    <a:pt x="2544509" y="2065327"/>
                  </a:lnTo>
                  <a:lnTo>
                    <a:pt x="2509221" y="2065327"/>
                  </a:lnTo>
                  <a:lnTo>
                    <a:pt x="2509221" y="1885544"/>
                  </a:lnTo>
                  <a:cubicBezTo>
                    <a:pt x="2502834" y="1890108"/>
                    <a:pt x="2495963" y="1893985"/>
                    <a:pt x="2488613" y="1897179"/>
                  </a:cubicBezTo>
                  <a:cubicBezTo>
                    <a:pt x="2481260" y="1900374"/>
                    <a:pt x="2472869" y="1903188"/>
                    <a:pt x="2463440" y="1905622"/>
                  </a:cubicBezTo>
                  <a:lnTo>
                    <a:pt x="2463440" y="1875506"/>
                  </a:lnTo>
                  <a:cubicBezTo>
                    <a:pt x="2469321" y="1873580"/>
                    <a:pt x="2474999" y="1871550"/>
                    <a:pt x="2480475" y="1869422"/>
                  </a:cubicBezTo>
                  <a:cubicBezTo>
                    <a:pt x="2485951" y="1867293"/>
                    <a:pt x="2491349" y="1864909"/>
                    <a:pt x="2496673" y="1862273"/>
                  </a:cubicBezTo>
                  <a:cubicBezTo>
                    <a:pt x="2501998" y="1859637"/>
                    <a:pt x="2507372" y="1856696"/>
                    <a:pt x="2512795" y="1853451"/>
                  </a:cubicBezTo>
                  <a:cubicBezTo>
                    <a:pt x="2518222" y="1850207"/>
                    <a:pt x="2523823" y="1846504"/>
                    <a:pt x="2529603" y="1842348"/>
                  </a:cubicBezTo>
                  <a:close/>
                  <a:moveTo>
                    <a:pt x="1775939" y="1842348"/>
                  </a:moveTo>
                  <a:lnTo>
                    <a:pt x="1790845" y="1842348"/>
                  </a:lnTo>
                  <a:lnTo>
                    <a:pt x="1790845" y="2065327"/>
                  </a:lnTo>
                  <a:lnTo>
                    <a:pt x="1755557" y="2065327"/>
                  </a:lnTo>
                  <a:lnTo>
                    <a:pt x="1755557" y="1885544"/>
                  </a:lnTo>
                  <a:cubicBezTo>
                    <a:pt x="1749170" y="1890108"/>
                    <a:pt x="1742299" y="1893985"/>
                    <a:pt x="1734948" y="1897179"/>
                  </a:cubicBezTo>
                  <a:cubicBezTo>
                    <a:pt x="1727596" y="1900374"/>
                    <a:pt x="1719205" y="1903188"/>
                    <a:pt x="1709775" y="1905622"/>
                  </a:cubicBezTo>
                  <a:lnTo>
                    <a:pt x="1709775" y="1875506"/>
                  </a:lnTo>
                  <a:cubicBezTo>
                    <a:pt x="1715656" y="1873580"/>
                    <a:pt x="1721335" y="1871550"/>
                    <a:pt x="1726810" y="1869422"/>
                  </a:cubicBezTo>
                  <a:cubicBezTo>
                    <a:pt x="1732286" y="1867293"/>
                    <a:pt x="1737686" y="1864909"/>
                    <a:pt x="1743009" y="1862273"/>
                  </a:cubicBezTo>
                  <a:cubicBezTo>
                    <a:pt x="1748333" y="1859637"/>
                    <a:pt x="1753707" y="1856696"/>
                    <a:pt x="1759132" y="1853451"/>
                  </a:cubicBezTo>
                  <a:cubicBezTo>
                    <a:pt x="1764557" y="1850207"/>
                    <a:pt x="1770159" y="1846504"/>
                    <a:pt x="1775939" y="1842348"/>
                  </a:cubicBezTo>
                  <a:close/>
                  <a:moveTo>
                    <a:pt x="1622547" y="1842348"/>
                  </a:moveTo>
                  <a:lnTo>
                    <a:pt x="1637453" y="1842348"/>
                  </a:lnTo>
                  <a:lnTo>
                    <a:pt x="1637453" y="2065327"/>
                  </a:lnTo>
                  <a:lnTo>
                    <a:pt x="1602165" y="2065327"/>
                  </a:lnTo>
                  <a:lnTo>
                    <a:pt x="1602165" y="1885544"/>
                  </a:lnTo>
                  <a:cubicBezTo>
                    <a:pt x="1595777" y="1890108"/>
                    <a:pt x="1588907" y="1893985"/>
                    <a:pt x="1581556" y="1897179"/>
                  </a:cubicBezTo>
                  <a:cubicBezTo>
                    <a:pt x="1574204" y="1900374"/>
                    <a:pt x="1565813" y="1903188"/>
                    <a:pt x="1556383" y="1905622"/>
                  </a:cubicBezTo>
                  <a:lnTo>
                    <a:pt x="1556383" y="1875506"/>
                  </a:lnTo>
                  <a:cubicBezTo>
                    <a:pt x="1562264" y="1873580"/>
                    <a:pt x="1567943" y="1871550"/>
                    <a:pt x="1573418" y="1869422"/>
                  </a:cubicBezTo>
                  <a:cubicBezTo>
                    <a:pt x="1578894" y="1867293"/>
                    <a:pt x="1584294" y="1864909"/>
                    <a:pt x="1589617" y="1862273"/>
                  </a:cubicBezTo>
                  <a:cubicBezTo>
                    <a:pt x="1594941" y="1859637"/>
                    <a:pt x="1600315" y="1856696"/>
                    <a:pt x="1605740" y="1853451"/>
                  </a:cubicBezTo>
                  <a:cubicBezTo>
                    <a:pt x="1611165" y="1850207"/>
                    <a:pt x="1616767" y="1846504"/>
                    <a:pt x="1622547" y="1842348"/>
                  </a:cubicBezTo>
                  <a:close/>
                  <a:moveTo>
                    <a:pt x="1328478" y="1842348"/>
                  </a:moveTo>
                  <a:lnTo>
                    <a:pt x="1343384" y="1842348"/>
                  </a:lnTo>
                  <a:lnTo>
                    <a:pt x="1343384" y="2065327"/>
                  </a:lnTo>
                  <a:lnTo>
                    <a:pt x="1308096" y="2065327"/>
                  </a:lnTo>
                  <a:lnTo>
                    <a:pt x="1308096" y="1885544"/>
                  </a:lnTo>
                  <a:cubicBezTo>
                    <a:pt x="1301708" y="1890108"/>
                    <a:pt x="1294838" y="1893985"/>
                    <a:pt x="1287487" y="1897179"/>
                  </a:cubicBezTo>
                  <a:cubicBezTo>
                    <a:pt x="1280135" y="1900374"/>
                    <a:pt x="1271744" y="1903188"/>
                    <a:pt x="1262314" y="1905622"/>
                  </a:cubicBezTo>
                  <a:lnTo>
                    <a:pt x="1262314" y="1875506"/>
                  </a:lnTo>
                  <a:cubicBezTo>
                    <a:pt x="1268195" y="1873580"/>
                    <a:pt x="1273874" y="1871550"/>
                    <a:pt x="1279349" y="1869422"/>
                  </a:cubicBezTo>
                  <a:cubicBezTo>
                    <a:pt x="1284825" y="1867293"/>
                    <a:pt x="1290225" y="1864909"/>
                    <a:pt x="1295548" y="1862273"/>
                  </a:cubicBezTo>
                  <a:cubicBezTo>
                    <a:pt x="1300872" y="1859637"/>
                    <a:pt x="1306246" y="1856696"/>
                    <a:pt x="1311671" y="1853451"/>
                  </a:cubicBezTo>
                  <a:cubicBezTo>
                    <a:pt x="1317096" y="1850207"/>
                    <a:pt x="1322698" y="1846504"/>
                    <a:pt x="1328478" y="1842348"/>
                  </a:cubicBezTo>
                  <a:close/>
                  <a:moveTo>
                    <a:pt x="953339" y="1842348"/>
                  </a:moveTo>
                  <a:lnTo>
                    <a:pt x="968245" y="1842348"/>
                  </a:lnTo>
                  <a:lnTo>
                    <a:pt x="968245" y="2065327"/>
                  </a:lnTo>
                  <a:lnTo>
                    <a:pt x="932957" y="2065327"/>
                  </a:lnTo>
                  <a:lnTo>
                    <a:pt x="932957" y="1885544"/>
                  </a:lnTo>
                  <a:cubicBezTo>
                    <a:pt x="926569" y="1890108"/>
                    <a:pt x="919699" y="1893985"/>
                    <a:pt x="912348" y="1897179"/>
                  </a:cubicBezTo>
                  <a:cubicBezTo>
                    <a:pt x="904996" y="1900374"/>
                    <a:pt x="896605" y="1903188"/>
                    <a:pt x="887175" y="1905622"/>
                  </a:cubicBezTo>
                  <a:lnTo>
                    <a:pt x="887175" y="1875506"/>
                  </a:lnTo>
                  <a:cubicBezTo>
                    <a:pt x="893056" y="1873580"/>
                    <a:pt x="898735" y="1871550"/>
                    <a:pt x="904210" y="1869422"/>
                  </a:cubicBezTo>
                  <a:cubicBezTo>
                    <a:pt x="909686" y="1867293"/>
                    <a:pt x="915086" y="1864909"/>
                    <a:pt x="920409" y="1862273"/>
                  </a:cubicBezTo>
                  <a:cubicBezTo>
                    <a:pt x="925733" y="1859637"/>
                    <a:pt x="931107" y="1856696"/>
                    <a:pt x="936532" y="1853451"/>
                  </a:cubicBezTo>
                  <a:cubicBezTo>
                    <a:pt x="941957" y="1850207"/>
                    <a:pt x="947559" y="1846504"/>
                    <a:pt x="953339" y="1842348"/>
                  </a:cubicBezTo>
                  <a:close/>
                  <a:moveTo>
                    <a:pt x="804482" y="1842348"/>
                  </a:moveTo>
                  <a:lnTo>
                    <a:pt x="819388" y="1842348"/>
                  </a:lnTo>
                  <a:lnTo>
                    <a:pt x="819388" y="2065327"/>
                  </a:lnTo>
                  <a:lnTo>
                    <a:pt x="784100" y="2065327"/>
                  </a:lnTo>
                  <a:lnTo>
                    <a:pt x="784100" y="1885544"/>
                  </a:lnTo>
                  <a:cubicBezTo>
                    <a:pt x="777712" y="1890108"/>
                    <a:pt x="770842" y="1893985"/>
                    <a:pt x="763491" y="1897179"/>
                  </a:cubicBezTo>
                  <a:cubicBezTo>
                    <a:pt x="756139" y="1900374"/>
                    <a:pt x="747748" y="1903188"/>
                    <a:pt x="738318" y="1905622"/>
                  </a:cubicBezTo>
                  <a:lnTo>
                    <a:pt x="738318" y="1875506"/>
                  </a:lnTo>
                  <a:cubicBezTo>
                    <a:pt x="744199" y="1873580"/>
                    <a:pt x="749878" y="1871550"/>
                    <a:pt x="755353" y="1869422"/>
                  </a:cubicBezTo>
                  <a:cubicBezTo>
                    <a:pt x="760829" y="1867293"/>
                    <a:pt x="766229" y="1864909"/>
                    <a:pt x="771552" y="1862273"/>
                  </a:cubicBezTo>
                  <a:cubicBezTo>
                    <a:pt x="776876" y="1859637"/>
                    <a:pt x="782250" y="1856696"/>
                    <a:pt x="787675" y="1853451"/>
                  </a:cubicBezTo>
                  <a:cubicBezTo>
                    <a:pt x="793100" y="1850207"/>
                    <a:pt x="798702" y="1846504"/>
                    <a:pt x="804482" y="1842348"/>
                  </a:cubicBezTo>
                  <a:close/>
                  <a:moveTo>
                    <a:pt x="655625" y="1842348"/>
                  </a:moveTo>
                  <a:lnTo>
                    <a:pt x="670531" y="1842348"/>
                  </a:lnTo>
                  <a:lnTo>
                    <a:pt x="670531" y="2065327"/>
                  </a:lnTo>
                  <a:lnTo>
                    <a:pt x="635243" y="2065327"/>
                  </a:lnTo>
                  <a:lnTo>
                    <a:pt x="635243" y="1885544"/>
                  </a:lnTo>
                  <a:cubicBezTo>
                    <a:pt x="628855" y="1890108"/>
                    <a:pt x="621985" y="1893985"/>
                    <a:pt x="614634" y="1897179"/>
                  </a:cubicBezTo>
                  <a:cubicBezTo>
                    <a:pt x="607282" y="1900374"/>
                    <a:pt x="598891" y="1903188"/>
                    <a:pt x="589461" y="1905622"/>
                  </a:cubicBezTo>
                  <a:lnTo>
                    <a:pt x="589461" y="1875506"/>
                  </a:lnTo>
                  <a:cubicBezTo>
                    <a:pt x="595342" y="1873580"/>
                    <a:pt x="601021" y="1871550"/>
                    <a:pt x="606496" y="1869422"/>
                  </a:cubicBezTo>
                  <a:cubicBezTo>
                    <a:pt x="611972" y="1867293"/>
                    <a:pt x="617372" y="1864909"/>
                    <a:pt x="622695" y="1862273"/>
                  </a:cubicBezTo>
                  <a:cubicBezTo>
                    <a:pt x="628019" y="1859637"/>
                    <a:pt x="633393" y="1856696"/>
                    <a:pt x="638818" y="1853451"/>
                  </a:cubicBezTo>
                  <a:cubicBezTo>
                    <a:pt x="644243" y="1850207"/>
                    <a:pt x="649845" y="1846504"/>
                    <a:pt x="655625" y="1842348"/>
                  </a:cubicBezTo>
                  <a:close/>
                  <a:moveTo>
                    <a:pt x="506768" y="1842348"/>
                  </a:moveTo>
                  <a:lnTo>
                    <a:pt x="521674" y="1842348"/>
                  </a:lnTo>
                  <a:lnTo>
                    <a:pt x="521674" y="2065327"/>
                  </a:lnTo>
                  <a:lnTo>
                    <a:pt x="486386" y="2065327"/>
                  </a:lnTo>
                  <a:lnTo>
                    <a:pt x="486386" y="1885544"/>
                  </a:lnTo>
                  <a:cubicBezTo>
                    <a:pt x="479998" y="1890108"/>
                    <a:pt x="473128" y="1893985"/>
                    <a:pt x="465777" y="1897179"/>
                  </a:cubicBezTo>
                  <a:cubicBezTo>
                    <a:pt x="458425" y="1900374"/>
                    <a:pt x="450034" y="1903188"/>
                    <a:pt x="440604" y="1905622"/>
                  </a:cubicBezTo>
                  <a:lnTo>
                    <a:pt x="440604" y="1875506"/>
                  </a:lnTo>
                  <a:cubicBezTo>
                    <a:pt x="446485" y="1873580"/>
                    <a:pt x="452164" y="1871550"/>
                    <a:pt x="457639" y="1869422"/>
                  </a:cubicBezTo>
                  <a:cubicBezTo>
                    <a:pt x="463115" y="1867293"/>
                    <a:pt x="468515" y="1864909"/>
                    <a:pt x="473838" y="1862273"/>
                  </a:cubicBezTo>
                  <a:cubicBezTo>
                    <a:pt x="479162" y="1859637"/>
                    <a:pt x="484536" y="1856696"/>
                    <a:pt x="489961" y="1853451"/>
                  </a:cubicBezTo>
                  <a:cubicBezTo>
                    <a:pt x="495386" y="1850207"/>
                    <a:pt x="500988" y="1846504"/>
                    <a:pt x="506768" y="1842348"/>
                  </a:cubicBezTo>
                  <a:close/>
                  <a:moveTo>
                    <a:pt x="297354" y="1842348"/>
                  </a:moveTo>
                  <a:cubicBezTo>
                    <a:pt x="344798" y="1842348"/>
                    <a:pt x="368521" y="1879210"/>
                    <a:pt x="368521" y="1952935"/>
                  </a:cubicBezTo>
                  <a:cubicBezTo>
                    <a:pt x="368521" y="1989447"/>
                    <a:pt x="361826" y="2017306"/>
                    <a:pt x="348435" y="2036514"/>
                  </a:cubicBezTo>
                  <a:cubicBezTo>
                    <a:pt x="335044" y="2055722"/>
                    <a:pt x="316312" y="2065327"/>
                    <a:pt x="292238" y="2065327"/>
                  </a:cubicBezTo>
                  <a:cubicBezTo>
                    <a:pt x="269770" y="2065327"/>
                    <a:pt x="252241" y="2056149"/>
                    <a:pt x="239653" y="2037793"/>
                  </a:cubicBezTo>
                  <a:cubicBezTo>
                    <a:pt x="227064" y="2019437"/>
                    <a:pt x="220770" y="1992907"/>
                    <a:pt x="220770" y="1958202"/>
                  </a:cubicBezTo>
                  <a:cubicBezTo>
                    <a:pt x="220770" y="1920085"/>
                    <a:pt x="227340" y="1891247"/>
                    <a:pt x="240480" y="1871686"/>
                  </a:cubicBezTo>
                  <a:cubicBezTo>
                    <a:pt x="253621" y="1852127"/>
                    <a:pt x="272578" y="1842348"/>
                    <a:pt x="297354" y="1842348"/>
                  </a:cubicBezTo>
                  <a:close/>
                  <a:moveTo>
                    <a:pt x="10090194" y="1549837"/>
                  </a:moveTo>
                  <a:cubicBezTo>
                    <a:pt x="10064014" y="1549837"/>
                    <a:pt x="10050924" y="1578675"/>
                    <a:pt x="10050924" y="1636351"/>
                  </a:cubicBezTo>
                  <a:cubicBezTo>
                    <a:pt x="10050924" y="1690315"/>
                    <a:pt x="10063763" y="1717298"/>
                    <a:pt x="10089442" y="1717298"/>
                  </a:cubicBezTo>
                  <a:cubicBezTo>
                    <a:pt x="10114718" y="1717298"/>
                    <a:pt x="10127357" y="1689865"/>
                    <a:pt x="10127357" y="1634998"/>
                  </a:cubicBezTo>
                  <a:cubicBezTo>
                    <a:pt x="10127357" y="1578223"/>
                    <a:pt x="10114969" y="1549837"/>
                    <a:pt x="10090194" y="1549837"/>
                  </a:cubicBezTo>
                  <a:close/>
                  <a:moveTo>
                    <a:pt x="9869271" y="1549837"/>
                  </a:moveTo>
                  <a:cubicBezTo>
                    <a:pt x="9843091" y="1549837"/>
                    <a:pt x="9830001" y="1578675"/>
                    <a:pt x="9830001" y="1636351"/>
                  </a:cubicBezTo>
                  <a:cubicBezTo>
                    <a:pt x="9830001" y="1690315"/>
                    <a:pt x="9842840" y="1717298"/>
                    <a:pt x="9868519" y="1717298"/>
                  </a:cubicBezTo>
                  <a:cubicBezTo>
                    <a:pt x="9893795" y="1717298"/>
                    <a:pt x="9906434" y="1689865"/>
                    <a:pt x="9906434" y="1634998"/>
                  </a:cubicBezTo>
                  <a:cubicBezTo>
                    <a:pt x="9906434" y="1578223"/>
                    <a:pt x="9894046" y="1549837"/>
                    <a:pt x="9869271" y="1549837"/>
                  </a:cubicBezTo>
                  <a:close/>
                  <a:moveTo>
                    <a:pt x="9207611" y="1549837"/>
                  </a:moveTo>
                  <a:cubicBezTo>
                    <a:pt x="9181431" y="1549837"/>
                    <a:pt x="9168341" y="1578675"/>
                    <a:pt x="9168341" y="1636351"/>
                  </a:cubicBezTo>
                  <a:cubicBezTo>
                    <a:pt x="9168341" y="1690315"/>
                    <a:pt x="9181180" y="1717298"/>
                    <a:pt x="9206859" y="1717298"/>
                  </a:cubicBezTo>
                  <a:cubicBezTo>
                    <a:pt x="9232135" y="1717298"/>
                    <a:pt x="9244774" y="1689865"/>
                    <a:pt x="9244774" y="1634998"/>
                  </a:cubicBezTo>
                  <a:cubicBezTo>
                    <a:pt x="9244774" y="1578223"/>
                    <a:pt x="9232386" y="1549837"/>
                    <a:pt x="9207611" y="1549837"/>
                  </a:cubicBezTo>
                  <a:close/>
                  <a:moveTo>
                    <a:pt x="8986688" y="1549837"/>
                  </a:moveTo>
                  <a:cubicBezTo>
                    <a:pt x="8960508" y="1549837"/>
                    <a:pt x="8947418" y="1578675"/>
                    <a:pt x="8947418" y="1636351"/>
                  </a:cubicBezTo>
                  <a:cubicBezTo>
                    <a:pt x="8947418" y="1690315"/>
                    <a:pt x="8960257" y="1717298"/>
                    <a:pt x="8985936" y="1717298"/>
                  </a:cubicBezTo>
                  <a:cubicBezTo>
                    <a:pt x="9011212" y="1717298"/>
                    <a:pt x="9023851" y="1689865"/>
                    <a:pt x="9023851" y="1634998"/>
                  </a:cubicBezTo>
                  <a:cubicBezTo>
                    <a:pt x="9023851" y="1578223"/>
                    <a:pt x="9011463" y="1549837"/>
                    <a:pt x="8986688" y="1549837"/>
                  </a:cubicBezTo>
                  <a:close/>
                  <a:moveTo>
                    <a:pt x="4034142" y="1549837"/>
                  </a:moveTo>
                  <a:cubicBezTo>
                    <a:pt x="4007962" y="1549837"/>
                    <a:pt x="3994872" y="1578675"/>
                    <a:pt x="3994872" y="1636351"/>
                  </a:cubicBezTo>
                  <a:cubicBezTo>
                    <a:pt x="3994872" y="1690315"/>
                    <a:pt x="4007711" y="1717298"/>
                    <a:pt x="4033390" y="1717298"/>
                  </a:cubicBezTo>
                  <a:cubicBezTo>
                    <a:pt x="4058667" y="1717298"/>
                    <a:pt x="4071305" y="1689865"/>
                    <a:pt x="4071305" y="1634998"/>
                  </a:cubicBezTo>
                  <a:cubicBezTo>
                    <a:pt x="4071305" y="1578223"/>
                    <a:pt x="4058917" y="1549837"/>
                    <a:pt x="4034142" y="1549837"/>
                  </a:cubicBezTo>
                  <a:close/>
                  <a:moveTo>
                    <a:pt x="3813219" y="1549837"/>
                  </a:moveTo>
                  <a:cubicBezTo>
                    <a:pt x="3787039" y="1549837"/>
                    <a:pt x="3773949" y="1578675"/>
                    <a:pt x="3773949" y="1636351"/>
                  </a:cubicBezTo>
                  <a:cubicBezTo>
                    <a:pt x="3773949" y="1690315"/>
                    <a:pt x="3786789" y="1717298"/>
                    <a:pt x="3812467" y="1717298"/>
                  </a:cubicBezTo>
                  <a:cubicBezTo>
                    <a:pt x="3837744" y="1717298"/>
                    <a:pt x="3850382" y="1689865"/>
                    <a:pt x="3850382" y="1634998"/>
                  </a:cubicBezTo>
                  <a:cubicBezTo>
                    <a:pt x="3850382" y="1578223"/>
                    <a:pt x="3837995" y="1549837"/>
                    <a:pt x="3813219" y="1549837"/>
                  </a:cubicBezTo>
                  <a:close/>
                  <a:moveTo>
                    <a:pt x="3151559" y="1549837"/>
                  </a:moveTo>
                  <a:cubicBezTo>
                    <a:pt x="3125380" y="1549837"/>
                    <a:pt x="3112289" y="1578675"/>
                    <a:pt x="3112289" y="1636351"/>
                  </a:cubicBezTo>
                  <a:cubicBezTo>
                    <a:pt x="3112289" y="1690315"/>
                    <a:pt x="3125129" y="1717298"/>
                    <a:pt x="3150808" y="1717298"/>
                  </a:cubicBezTo>
                  <a:cubicBezTo>
                    <a:pt x="3176084" y="1717298"/>
                    <a:pt x="3188723" y="1689865"/>
                    <a:pt x="3188723" y="1634998"/>
                  </a:cubicBezTo>
                  <a:cubicBezTo>
                    <a:pt x="3188723" y="1578223"/>
                    <a:pt x="3176334" y="1549837"/>
                    <a:pt x="3151559" y="1549837"/>
                  </a:cubicBezTo>
                  <a:close/>
                  <a:moveTo>
                    <a:pt x="2930637" y="1549837"/>
                  </a:moveTo>
                  <a:cubicBezTo>
                    <a:pt x="2904456" y="1549837"/>
                    <a:pt x="2891366" y="1578675"/>
                    <a:pt x="2891366" y="1636351"/>
                  </a:cubicBezTo>
                  <a:cubicBezTo>
                    <a:pt x="2891366" y="1690315"/>
                    <a:pt x="2904206" y="1717298"/>
                    <a:pt x="2929884" y="1717298"/>
                  </a:cubicBezTo>
                  <a:cubicBezTo>
                    <a:pt x="2955161" y="1717298"/>
                    <a:pt x="2967799" y="1689865"/>
                    <a:pt x="2967799" y="1634998"/>
                  </a:cubicBezTo>
                  <a:cubicBezTo>
                    <a:pt x="2967799" y="1578223"/>
                    <a:pt x="2955412" y="1549837"/>
                    <a:pt x="2930637" y="1549837"/>
                  </a:cubicBezTo>
                  <a:close/>
                  <a:moveTo>
                    <a:pt x="11918627" y="1522003"/>
                  </a:moveTo>
                  <a:lnTo>
                    <a:pt x="11933533" y="1522003"/>
                  </a:lnTo>
                  <a:lnTo>
                    <a:pt x="11933533" y="1744984"/>
                  </a:lnTo>
                  <a:lnTo>
                    <a:pt x="11898245" y="1744984"/>
                  </a:lnTo>
                  <a:lnTo>
                    <a:pt x="11898245" y="1565200"/>
                  </a:lnTo>
                  <a:cubicBezTo>
                    <a:pt x="11891857" y="1569764"/>
                    <a:pt x="11884987" y="1573641"/>
                    <a:pt x="11877636" y="1576836"/>
                  </a:cubicBezTo>
                  <a:cubicBezTo>
                    <a:pt x="11870284" y="1580031"/>
                    <a:pt x="11861893" y="1582843"/>
                    <a:pt x="11852463" y="1585278"/>
                  </a:cubicBezTo>
                  <a:lnTo>
                    <a:pt x="11852463" y="1555161"/>
                  </a:lnTo>
                  <a:cubicBezTo>
                    <a:pt x="11858344" y="1553236"/>
                    <a:pt x="11864023" y="1551207"/>
                    <a:pt x="11869498" y="1549078"/>
                  </a:cubicBezTo>
                  <a:cubicBezTo>
                    <a:pt x="11874974" y="1546948"/>
                    <a:pt x="11880374" y="1544566"/>
                    <a:pt x="11885697" y="1541929"/>
                  </a:cubicBezTo>
                  <a:cubicBezTo>
                    <a:pt x="11891021" y="1539292"/>
                    <a:pt x="11896395" y="1536351"/>
                    <a:pt x="11901820" y="1533106"/>
                  </a:cubicBezTo>
                  <a:cubicBezTo>
                    <a:pt x="11907245" y="1529862"/>
                    <a:pt x="11912847" y="1526162"/>
                    <a:pt x="11918627" y="1522003"/>
                  </a:cubicBezTo>
                  <a:close/>
                  <a:moveTo>
                    <a:pt x="11535759" y="1522003"/>
                  </a:moveTo>
                  <a:lnTo>
                    <a:pt x="11550665" y="1522003"/>
                  </a:lnTo>
                  <a:lnTo>
                    <a:pt x="11550665" y="1744984"/>
                  </a:lnTo>
                  <a:lnTo>
                    <a:pt x="11515377" y="1744984"/>
                  </a:lnTo>
                  <a:lnTo>
                    <a:pt x="11515377" y="1565200"/>
                  </a:lnTo>
                  <a:cubicBezTo>
                    <a:pt x="11508989" y="1569764"/>
                    <a:pt x="11502119" y="1573641"/>
                    <a:pt x="11494768" y="1576836"/>
                  </a:cubicBezTo>
                  <a:cubicBezTo>
                    <a:pt x="11487416" y="1580031"/>
                    <a:pt x="11479025" y="1582843"/>
                    <a:pt x="11469595" y="1585278"/>
                  </a:cubicBezTo>
                  <a:lnTo>
                    <a:pt x="11469595" y="1555161"/>
                  </a:lnTo>
                  <a:cubicBezTo>
                    <a:pt x="11475476" y="1553236"/>
                    <a:pt x="11481155" y="1551207"/>
                    <a:pt x="11486630" y="1549078"/>
                  </a:cubicBezTo>
                  <a:cubicBezTo>
                    <a:pt x="11492106" y="1546948"/>
                    <a:pt x="11497506" y="1544566"/>
                    <a:pt x="11502829" y="1541929"/>
                  </a:cubicBezTo>
                  <a:cubicBezTo>
                    <a:pt x="11508153" y="1539292"/>
                    <a:pt x="11513527" y="1536351"/>
                    <a:pt x="11518952" y="1533106"/>
                  </a:cubicBezTo>
                  <a:cubicBezTo>
                    <a:pt x="11524377" y="1529862"/>
                    <a:pt x="11529979" y="1526162"/>
                    <a:pt x="11535759" y="1522003"/>
                  </a:cubicBezTo>
                  <a:close/>
                  <a:moveTo>
                    <a:pt x="11391633" y="1522003"/>
                  </a:moveTo>
                  <a:lnTo>
                    <a:pt x="11406539" y="1522003"/>
                  </a:lnTo>
                  <a:lnTo>
                    <a:pt x="11406539" y="1744984"/>
                  </a:lnTo>
                  <a:lnTo>
                    <a:pt x="11371251" y="1744984"/>
                  </a:lnTo>
                  <a:lnTo>
                    <a:pt x="11371251" y="1565200"/>
                  </a:lnTo>
                  <a:cubicBezTo>
                    <a:pt x="11364863" y="1569764"/>
                    <a:pt x="11357993" y="1573641"/>
                    <a:pt x="11350642" y="1576836"/>
                  </a:cubicBezTo>
                  <a:cubicBezTo>
                    <a:pt x="11343290" y="1580031"/>
                    <a:pt x="11334899" y="1582843"/>
                    <a:pt x="11325469" y="1585278"/>
                  </a:cubicBezTo>
                  <a:lnTo>
                    <a:pt x="11325469" y="1555161"/>
                  </a:lnTo>
                  <a:cubicBezTo>
                    <a:pt x="11331350" y="1553236"/>
                    <a:pt x="11337029" y="1551207"/>
                    <a:pt x="11342504" y="1549078"/>
                  </a:cubicBezTo>
                  <a:cubicBezTo>
                    <a:pt x="11347980" y="1546948"/>
                    <a:pt x="11353380" y="1544566"/>
                    <a:pt x="11358703" y="1541929"/>
                  </a:cubicBezTo>
                  <a:cubicBezTo>
                    <a:pt x="11364027" y="1539292"/>
                    <a:pt x="11369401" y="1536351"/>
                    <a:pt x="11374826" y="1533106"/>
                  </a:cubicBezTo>
                  <a:cubicBezTo>
                    <a:pt x="11380251" y="1529862"/>
                    <a:pt x="11385853" y="1526162"/>
                    <a:pt x="11391633" y="1522003"/>
                  </a:cubicBezTo>
                  <a:close/>
                  <a:moveTo>
                    <a:pt x="11247508" y="1522003"/>
                  </a:moveTo>
                  <a:lnTo>
                    <a:pt x="11262414" y="1522003"/>
                  </a:lnTo>
                  <a:lnTo>
                    <a:pt x="11262414" y="1744984"/>
                  </a:lnTo>
                  <a:lnTo>
                    <a:pt x="11227126" y="1744984"/>
                  </a:lnTo>
                  <a:lnTo>
                    <a:pt x="11227126" y="1565200"/>
                  </a:lnTo>
                  <a:cubicBezTo>
                    <a:pt x="11220738" y="1569764"/>
                    <a:pt x="11213868" y="1573641"/>
                    <a:pt x="11206517" y="1576836"/>
                  </a:cubicBezTo>
                  <a:cubicBezTo>
                    <a:pt x="11199165" y="1580031"/>
                    <a:pt x="11190774" y="1582843"/>
                    <a:pt x="11181344" y="1585278"/>
                  </a:cubicBezTo>
                  <a:lnTo>
                    <a:pt x="11181344" y="1555161"/>
                  </a:lnTo>
                  <a:cubicBezTo>
                    <a:pt x="11187225" y="1553236"/>
                    <a:pt x="11192904" y="1551207"/>
                    <a:pt x="11198379" y="1549078"/>
                  </a:cubicBezTo>
                  <a:cubicBezTo>
                    <a:pt x="11203855" y="1546948"/>
                    <a:pt x="11209255" y="1544566"/>
                    <a:pt x="11214578" y="1541929"/>
                  </a:cubicBezTo>
                  <a:cubicBezTo>
                    <a:pt x="11219902" y="1539292"/>
                    <a:pt x="11225276" y="1536351"/>
                    <a:pt x="11230701" y="1533106"/>
                  </a:cubicBezTo>
                  <a:cubicBezTo>
                    <a:pt x="11236126" y="1529862"/>
                    <a:pt x="11241728" y="1526162"/>
                    <a:pt x="11247508" y="1522003"/>
                  </a:cubicBezTo>
                  <a:close/>
                  <a:moveTo>
                    <a:pt x="11103383" y="1522003"/>
                  </a:moveTo>
                  <a:lnTo>
                    <a:pt x="11118289" y="1522003"/>
                  </a:lnTo>
                  <a:lnTo>
                    <a:pt x="11118289" y="1744984"/>
                  </a:lnTo>
                  <a:lnTo>
                    <a:pt x="11083001" y="1744984"/>
                  </a:lnTo>
                  <a:lnTo>
                    <a:pt x="11083001" y="1565200"/>
                  </a:lnTo>
                  <a:cubicBezTo>
                    <a:pt x="11076613" y="1569764"/>
                    <a:pt x="11069743" y="1573641"/>
                    <a:pt x="11062392" y="1576836"/>
                  </a:cubicBezTo>
                  <a:cubicBezTo>
                    <a:pt x="11055040" y="1580031"/>
                    <a:pt x="11046649" y="1582843"/>
                    <a:pt x="11037219" y="1585278"/>
                  </a:cubicBezTo>
                  <a:lnTo>
                    <a:pt x="11037219" y="1555161"/>
                  </a:lnTo>
                  <a:cubicBezTo>
                    <a:pt x="11043100" y="1553236"/>
                    <a:pt x="11048779" y="1551207"/>
                    <a:pt x="11054254" y="1549078"/>
                  </a:cubicBezTo>
                  <a:cubicBezTo>
                    <a:pt x="11059730" y="1546948"/>
                    <a:pt x="11065130" y="1544566"/>
                    <a:pt x="11070453" y="1541929"/>
                  </a:cubicBezTo>
                  <a:cubicBezTo>
                    <a:pt x="11075777" y="1539292"/>
                    <a:pt x="11081151" y="1536351"/>
                    <a:pt x="11086576" y="1533106"/>
                  </a:cubicBezTo>
                  <a:cubicBezTo>
                    <a:pt x="11092001" y="1529862"/>
                    <a:pt x="11097603" y="1526162"/>
                    <a:pt x="11103383" y="1522003"/>
                  </a:cubicBezTo>
                  <a:close/>
                  <a:moveTo>
                    <a:pt x="10959258" y="1522003"/>
                  </a:moveTo>
                  <a:lnTo>
                    <a:pt x="10974164" y="1522003"/>
                  </a:lnTo>
                  <a:lnTo>
                    <a:pt x="10974164" y="1744984"/>
                  </a:lnTo>
                  <a:lnTo>
                    <a:pt x="10938876" y="1744984"/>
                  </a:lnTo>
                  <a:lnTo>
                    <a:pt x="10938876" y="1565200"/>
                  </a:lnTo>
                  <a:cubicBezTo>
                    <a:pt x="10932488" y="1569764"/>
                    <a:pt x="10925618" y="1573641"/>
                    <a:pt x="10918267" y="1576836"/>
                  </a:cubicBezTo>
                  <a:cubicBezTo>
                    <a:pt x="10910915" y="1580031"/>
                    <a:pt x="10902524" y="1582843"/>
                    <a:pt x="10893094" y="1585278"/>
                  </a:cubicBezTo>
                  <a:lnTo>
                    <a:pt x="10893094" y="1555161"/>
                  </a:lnTo>
                  <a:cubicBezTo>
                    <a:pt x="10898975" y="1553236"/>
                    <a:pt x="10904654" y="1551207"/>
                    <a:pt x="10910129" y="1549078"/>
                  </a:cubicBezTo>
                  <a:cubicBezTo>
                    <a:pt x="10915605" y="1546948"/>
                    <a:pt x="10921005" y="1544566"/>
                    <a:pt x="10926328" y="1541929"/>
                  </a:cubicBezTo>
                  <a:cubicBezTo>
                    <a:pt x="10931652" y="1539292"/>
                    <a:pt x="10937026" y="1536351"/>
                    <a:pt x="10942451" y="1533106"/>
                  </a:cubicBezTo>
                  <a:cubicBezTo>
                    <a:pt x="10947876" y="1529862"/>
                    <a:pt x="10953478" y="1526162"/>
                    <a:pt x="10959258" y="1522003"/>
                  </a:cubicBezTo>
                  <a:close/>
                  <a:moveTo>
                    <a:pt x="10571025" y="1522003"/>
                  </a:moveTo>
                  <a:lnTo>
                    <a:pt x="10585931" y="1522003"/>
                  </a:lnTo>
                  <a:lnTo>
                    <a:pt x="10585931" y="1744984"/>
                  </a:lnTo>
                  <a:lnTo>
                    <a:pt x="10550643" y="1744984"/>
                  </a:lnTo>
                  <a:lnTo>
                    <a:pt x="10550643" y="1565200"/>
                  </a:lnTo>
                  <a:cubicBezTo>
                    <a:pt x="10544255" y="1569764"/>
                    <a:pt x="10537385" y="1573641"/>
                    <a:pt x="10530034" y="1576836"/>
                  </a:cubicBezTo>
                  <a:cubicBezTo>
                    <a:pt x="10522682" y="1580031"/>
                    <a:pt x="10514291" y="1582843"/>
                    <a:pt x="10504861" y="1585278"/>
                  </a:cubicBezTo>
                  <a:lnTo>
                    <a:pt x="10504861" y="1555161"/>
                  </a:lnTo>
                  <a:cubicBezTo>
                    <a:pt x="10510742" y="1553236"/>
                    <a:pt x="10516421" y="1551207"/>
                    <a:pt x="10521896" y="1549078"/>
                  </a:cubicBezTo>
                  <a:cubicBezTo>
                    <a:pt x="10527372" y="1546948"/>
                    <a:pt x="10532772" y="1544566"/>
                    <a:pt x="10538095" y="1541929"/>
                  </a:cubicBezTo>
                  <a:cubicBezTo>
                    <a:pt x="10543419" y="1539292"/>
                    <a:pt x="10548793" y="1536351"/>
                    <a:pt x="10554218" y="1533106"/>
                  </a:cubicBezTo>
                  <a:cubicBezTo>
                    <a:pt x="10559643" y="1529862"/>
                    <a:pt x="10565245" y="1526162"/>
                    <a:pt x="10571025" y="1522003"/>
                  </a:cubicBezTo>
                  <a:close/>
                  <a:moveTo>
                    <a:pt x="10304917" y="1522003"/>
                  </a:moveTo>
                  <a:lnTo>
                    <a:pt x="10319823" y="1522003"/>
                  </a:lnTo>
                  <a:lnTo>
                    <a:pt x="10319823" y="1744984"/>
                  </a:lnTo>
                  <a:lnTo>
                    <a:pt x="10284535" y="1744984"/>
                  </a:lnTo>
                  <a:lnTo>
                    <a:pt x="10284535" y="1565200"/>
                  </a:lnTo>
                  <a:cubicBezTo>
                    <a:pt x="10278147" y="1569764"/>
                    <a:pt x="10271277" y="1573641"/>
                    <a:pt x="10263926" y="1576836"/>
                  </a:cubicBezTo>
                  <a:cubicBezTo>
                    <a:pt x="10256574" y="1580031"/>
                    <a:pt x="10248183" y="1582843"/>
                    <a:pt x="10238753" y="1585278"/>
                  </a:cubicBezTo>
                  <a:lnTo>
                    <a:pt x="10238753" y="1555161"/>
                  </a:lnTo>
                  <a:cubicBezTo>
                    <a:pt x="10244634" y="1553236"/>
                    <a:pt x="10250313" y="1551207"/>
                    <a:pt x="10255788" y="1549078"/>
                  </a:cubicBezTo>
                  <a:cubicBezTo>
                    <a:pt x="10261264" y="1546948"/>
                    <a:pt x="10266664" y="1544566"/>
                    <a:pt x="10271987" y="1541929"/>
                  </a:cubicBezTo>
                  <a:cubicBezTo>
                    <a:pt x="10277311" y="1539292"/>
                    <a:pt x="10282685" y="1536351"/>
                    <a:pt x="10288110" y="1533106"/>
                  </a:cubicBezTo>
                  <a:cubicBezTo>
                    <a:pt x="10293535" y="1529862"/>
                    <a:pt x="10299137" y="1526162"/>
                    <a:pt x="10304917" y="1522003"/>
                  </a:cubicBezTo>
                  <a:close/>
                  <a:moveTo>
                    <a:pt x="9693318" y="1522003"/>
                  </a:moveTo>
                  <a:lnTo>
                    <a:pt x="9708224" y="1522003"/>
                  </a:lnTo>
                  <a:lnTo>
                    <a:pt x="9708224" y="1744984"/>
                  </a:lnTo>
                  <a:lnTo>
                    <a:pt x="9672936" y="1744984"/>
                  </a:lnTo>
                  <a:lnTo>
                    <a:pt x="9672936" y="1565200"/>
                  </a:lnTo>
                  <a:cubicBezTo>
                    <a:pt x="9666548" y="1569764"/>
                    <a:pt x="9659678" y="1573641"/>
                    <a:pt x="9652327" y="1576836"/>
                  </a:cubicBezTo>
                  <a:cubicBezTo>
                    <a:pt x="9644975" y="1580031"/>
                    <a:pt x="9636584" y="1582843"/>
                    <a:pt x="9627154" y="1585278"/>
                  </a:cubicBezTo>
                  <a:lnTo>
                    <a:pt x="9627154" y="1555161"/>
                  </a:lnTo>
                  <a:cubicBezTo>
                    <a:pt x="9633035" y="1553236"/>
                    <a:pt x="9638714" y="1551207"/>
                    <a:pt x="9644189" y="1549078"/>
                  </a:cubicBezTo>
                  <a:cubicBezTo>
                    <a:pt x="9649665" y="1546948"/>
                    <a:pt x="9655065" y="1544566"/>
                    <a:pt x="9660388" y="1541929"/>
                  </a:cubicBezTo>
                  <a:cubicBezTo>
                    <a:pt x="9665712" y="1539292"/>
                    <a:pt x="9671086" y="1536351"/>
                    <a:pt x="9676511" y="1533106"/>
                  </a:cubicBezTo>
                  <a:cubicBezTo>
                    <a:pt x="9681936" y="1529862"/>
                    <a:pt x="9687538" y="1526162"/>
                    <a:pt x="9693318" y="1522003"/>
                  </a:cubicBezTo>
                  <a:close/>
                  <a:moveTo>
                    <a:pt x="9427210" y="1522003"/>
                  </a:moveTo>
                  <a:lnTo>
                    <a:pt x="9442116" y="1522003"/>
                  </a:lnTo>
                  <a:lnTo>
                    <a:pt x="9442116" y="1744984"/>
                  </a:lnTo>
                  <a:lnTo>
                    <a:pt x="9406828" y="1744984"/>
                  </a:lnTo>
                  <a:lnTo>
                    <a:pt x="9406828" y="1565200"/>
                  </a:lnTo>
                  <a:cubicBezTo>
                    <a:pt x="9400440" y="1569764"/>
                    <a:pt x="9393570" y="1573641"/>
                    <a:pt x="9386219" y="1576836"/>
                  </a:cubicBezTo>
                  <a:cubicBezTo>
                    <a:pt x="9378867" y="1580031"/>
                    <a:pt x="9370476" y="1582843"/>
                    <a:pt x="9361046" y="1585278"/>
                  </a:cubicBezTo>
                  <a:lnTo>
                    <a:pt x="9361046" y="1555161"/>
                  </a:lnTo>
                  <a:cubicBezTo>
                    <a:pt x="9366927" y="1553236"/>
                    <a:pt x="9372606" y="1551207"/>
                    <a:pt x="9378081" y="1549078"/>
                  </a:cubicBezTo>
                  <a:cubicBezTo>
                    <a:pt x="9383557" y="1546948"/>
                    <a:pt x="9388957" y="1544566"/>
                    <a:pt x="9394280" y="1541929"/>
                  </a:cubicBezTo>
                  <a:cubicBezTo>
                    <a:pt x="9399604" y="1539292"/>
                    <a:pt x="9404978" y="1536351"/>
                    <a:pt x="9410403" y="1533106"/>
                  </a:cubicBezTo>
                  <a:cubicBezTo>
                    <a:pt x="9415828" y="1529862"/>
                    <a:pt x="9421430" y="1526162"/>
                    <a:pt x="9427210" y="1522003"/>
                  </a:cubicBezTo>
                  <a:close/>
                  <a:moveTo>
                    <a:pt x="8820863" y="1522003"/>
                  </a:moveTo>
                  <a:lnTo>
                    <a:pt x="8835769" y="1522003"/>
                  </a:lnTo>
                  <a:lnTo>
                    <a:pt x="8835769" y="1744984"/>
                  </a:lnTo>
                  <a:lnTo>
                    <a:pt x="8800481" y="1744984"/>
                  </a:lnTo>
                  <a:lnTo>
                    <a:pt x="8800481" y="1565200"/>
                  </a:lnTo>
                  <a:cubicBezTo>
                    <a:pt x="8794093" y="1569764"/>
                    <a:pt x="8787223" y="1573641"/>
                    <a:pt x="8779872" y="1576836"/>
                  </a:cubicBezTo>
                  <a:cubicBezTo>
                    <a:pt x="8772520" y="1580031"/>
                    <a:pt x="8764129" y="1582843"/>
                    <a:pt x="8754699" y="1585278"/>
                  </a:cubicBezTo>
                  <a:lnTo>
                    <a:pt x="8754699" y="1555161"/>
                  </a:lnTo>
                  <a:cubicBezTo>
                    <a:pt x="8760580" y="1553236"/>
                    <a:pt x="8766259" y="1551207"/>
                    <a:pt x="8771734" y="1549078"/>
                  </a:cubicBezTo>
                  <a:cubicBezTo>
                    <a:pt x="8777210" y="1546948"/>
                    <a:pt x="8782610" y="1544566"/>
                    <a:pt x="8787933" y="1541929"/>
                  </a:cubicBezTo>
                  <a:cubicBezTo>
                    <a:pt x="8793257" y="1539292"/>
                    <a:pt x="8798631" y="1536351"/>
                    <a:pt x="8804056" y="1533106"/>
                  </a:cubicBezTo>
                  <a:cubicBezTo>
                    <a:pt x="8809481" y="1529862"/>
                    <a:pt x="8815083" y="1526162"/>
                    <a:pt x="8820863" y="1522003"/>
                  </a:cubicBezTo>
                  <a:close/>
                  <a:moveTo>
                    <a:pt x="8554755" y="1522003"/>
                  </a:moveTo>
                  <a:lnTo>
                    <a:pt x="8569661" y="1522003"/>
                  </a:lnTo>
                  <a:lnTo>
                    <a:pt x="8569661" y="1744984"/>
                  </a:lnTo>
                  <a:lnTo>
                    <a:pt x="8534373" y="1744984"/>
                  </a:lnTo>
                  <a:lnTo>
                    <a:pt x="8534373" y="1565200"/>
                  </a:lnTo>
                  <a:cubicBezTo>
                    <a:pt x="8527985" y="1569764"/>
                    <a:pt x="8521115" y="1573641"/>
                    <a:pt x="8513764" y="1576836"/>
                  </a:cubicBezTo>
                  <a:cubicBezTo>
                    <a:pt x="8506412" y="1580031"/>
                    <a:pt x="8498021" y="1582843"/>
                    <a:pt x="8488591" y="1585278"/>
                  </a:cubicBezTo>
                  <a:lnTo>
                    <a:pt x="8488591" y="1555161"/>
                  </a:lnTo>
                  <a:cubicBezTo>
                    <a:pt x="8494472" y="1553236"/>
                    <a:pt x="8500151" y="1551207"/>
                    <a:pt x="8505626" y="1549078"/>
                  </a:cubicBezTo>
                  <a:cubicBezTo>
                    <a:pt x="8511102" y="1546948"/>
                    <a:pt x="8516502" y="1544566"/>
                    <a:pt x="8521825" y="1541929"/>
                  </a:cubicBezTo>
                  <a:cubicBezTo>
                    <a:pt x="8527149" y="1539292"/>
                    <a:pt x="8532523" y="1536351"/>
                    <a:pt x="8537948" y="1533106"/>
                  </a:cubicBezTo>
                  <a:cubicBezTo>
                    <a:pt x="8543373" y="1529862"/>
                    <a:pt x="8548975" y="1526162"/>
                    <a:pt x="8554755" y="1522003"/>
                  </a:cubicBezTo>
                  <a:close/>
                  <a:moveTo>
                    <a:pt x="8142987" y="1522003"/>
                  </a:moveTo>
                  <a:lnTo>
                    <a:pt x="8157894" y="1522003"/>
                  </a:lnTo>
                  <a:lnTo>
                    <a:pt x="8157894" y="1744984"/>
                  </a:lnTo>
                  <a:lnTo>
                    <a:pt x="8122606" y="1744984"/>
                  </a:lnTo>
                  <a:lnTo>
                    <a:pt x="8122606" y="1565200"/>
                  </a:lnTo>
                  <a:cubicBezTo>
                    <a:pt x="8116218" y="1569764"/>
                    <a:pt x="8109348" y="1573641"/>
                    <a:pt x="8101996" y="1576836"/>
                  </a:cubicBezTo>
                  <a:cubicBezTo>
                    <a:pt x="8094645" y="1580031"/>
                    <a:pt x="8086254" y="1582843"/>
                    <a:pt x="8076824" y="1585278"/>
                  </a:cubicBezTo>
                  <a:lnTo>
                    <a:pt x="8076824" y="1555161"/>
                  </a:lnTo>
                  <a:cubicBezTo>
                    <a:pt x="8082705" y="1553236"/>
                    <a:pt x="8088383" y="1551207"/>
                    <a:pt x="8093859" y="1549078"/>
                  </a:cubicBezTo>
                  <a:cubicBezTo>
                    <a:pt x="8099335" y="1546948"/>
                    <a:pt x="8104734" y="1544566"/>
                    <a:pt x="8110058" y="1541929"/>
                  </a:cubicBezTo>
                  <a:cubicBezTo>
                    <a:pt x="8115381" y="1539292"/>
                    <a:pt x="8120756" y="1536351"/>
                    <a:pt x="8126180" y="1533106"/>
                  </a:cubicBezTo>
                  <a:cubicBezTo>
                    <a:pt x="8131606" y="1529862"/>
                    <a:pt x="8137208" y="1526162"/>
                    <a:pt x="8142987" y="1522003"/>
                  </a:cubicBezTo>
                  <a:close/>
                  <a:moveTo>
                    <a:pt x="8009933" y="1522003"/>
                  </a:moveTo>
                  <a:lnTo>
                    <a:pt x="8024840" y="1522003"/>
                  </a:lnTo>
                  <a:lnTo>
                    <a:pt x="8024840" y="1744984"/>
                  </a:lnTo>
                  <a:lnTo>
                    <a:pt x="7989552" y="1744984"/>
                  </a:lnTo>
                  <a:lnTo>
                    <a:pt x="7989552" y="1565200"/>
                  </a:lnTo>
                  <a:cubicBezTo>
                    <a:pt x="7983164" y="1569764"/>
                    <a:pt x="7976294" y="1573641"/>
                    <a:pt x="7968942" y="1576836"/>
                  </a:cubicBezTo>
                  <a:cubicBezTo>
                    <a:pt x="7961591" y="1580031"/>
                    <a:pt x="7953200" y="1582843"/>
                    <a:pt x="7943770" y="1585278"/>
                  </a:cubicBezTo>
                  <a:lnTo>
                    <a:pt x="7943770" y="1555161"/>
                  </a:lnTo>
                  <a:cubicBezTo>
                    <a:pt x="7949651" y="1553236"/>
                    <a:pt x="7955329" y="1551207"/>
                    <a:pt x="7960805" y="1549078"/>
                  </a:cubicBezTo>
                  <a:cubicBezTo>
                    <a:pt x="7966281" y="1546948"/>
                    <a:pt x="7971680" y="1544566"/>
                    <a:pt x="7977004" y="1541929"/>
                  </a:cubicBezTo>
                  <a:cubicBezTo>
                    <a:pt x="7982327" y="1539292"/>
                    <a:pt x="7987702" y="1536351"/>
                    <a:pt x="7993126" y="1533106"/>
                  </a:cubicBezTo>
                  <a:cubicBezTo>
                    <a:pt x="7998552" y="1529862"/>
                    <a:pt x="8004154" y="1526162"/>
                    <a:pt x="8009933" y="1522003"/>
                  </a:cubicBezTo>
                  <a:close/>
                  <a:moveTo>
                    <a:pt x="7876879" y="1522003"/>
                  </a:moveTo>
                  <a:lnTo>
                    <a:pt x="7891786" y="1522003"/>
                  </a:lnTo>
                  <a:lnTo>
                    <a:pt x="7891786" y="1744984"/>
                  </a:lnTo>
                  <a:lnTo>
                    <a:pt x="7856498" y="1744984"/>
                  </a:lnTo>
                  <a:lnTo>
                    <a:pt x="7856498" y="1565200"/>
                  </a:lnTo>
                  <a:cubicBezTo>
                    <a:pt x="7850110" y="1569764"/>
                    <a:pt x="7843240" y="1573641"/>
                    <a:pt x="7835888" y="1576836"/>
                  </a:cubicBezTo>
                  <a:cubicBezTo>
                    <a:pt x="7828537" y="1580031"/>
                    <a:pt x="7820146" y="1582843"/>
                    <a:pt x="7810716" y="1585278"/>
                  </a:cubicBezTo>
                  <a:lnTo>
                    <a:pt x="7810716" y="1555161"/>
                  </a:lnTo>
                  <a:cubicBezTo>
                    <a:pt x="7816597" y="1553236"/>
                    <a:pt x="7822275" y="1551207"/>
                    <a:pt x="7827751" y="1549078"/>
                  </a:cubicBezTo>
                  <a:cubicBezTo>
                    <a:pt x="7833227" y="1546948"/>
                    <a:pt x="7838626" y="1544566"/>
                    <a:pt x="7843950" y="1541929"/>
                  </a:cubicBezTo>
                  <a:cubicBezTo>
                    <a:pt x="7849273" y="1539292"/>
                    <a:pt x="7854648" y="1536351"/>
                    <a:pt x="7860072" y="1533106"/>
                  </a:cubicBezTo>
                  <a:cubicBezTo>
                    <a:pt x="7865498" y="1529862"/>
                    <a:pt x="7871100" y="1526162"/>
                    <a:pt x="7876879" y="1522003"/>
                  </a:cubicBezTo>
                  <a:close/>
                  <a:moveTo>
                    <a:pt x="7734267" y="1522003"/>
                  </a:moveTo>
                  <a:lnTo>
                    <a:pt x="7749174" y="1522003"/>
                  </a:lnTo>
                  <a:lnTo>
                    <a:pt x="7749174" y="1744984"/>
                  </a:lnTo>
                  <a:lnTo>
                    <a:pt x="7713886" y="1744984"/>
                  </a:lnTo>
                  <a:lnTo>
                    <a:pt x="7713886" y="1565200"/>
                  </a:lnTo>
                  <a:cubicBezTo>
                    <a:pt x="7707498" y="1569764"/>
                    <a:pt x="7700628" y="1573641"/>
                    <a:pt x="7693276" y="1576836"/>
                  </a:cubicBezTo>
                  <a:cubicBezTo>
                    <a:pt x="7685925" y="1580031"/>
                    <a:pt x="7677534" y="1582843"/>
                    <a:pt x="7668104" y="1585278"/>
                  </a:cubicBezTo>
                  <a:lnTo>
                    <a:pt x="7668104" y="1555161"/>
                  </a:lnTo>
                  <a:cubicBezTo>
                    <a:pt x="7673985" y="1553236"/>
                    <a:pt x="7679663" y="1551207"/>
                    <a:pt x="7685139" y="1549078"/>
                  </a:cubicBezTo>
                  <a:cubicBezTo>
                    <a:pt x="7690615" y="1546948"/>
                    <a:pt x="7696014" y="1544566"/>
                    <a:pt x="7701338" y="1541929"/>
                  </a:cubicBezTo>
                  <a:cubicBezTo>
                    <a:pt x="7706661" y="1539292"/>
                    <a:pt x="7712036" y="1536351"/>
                    <a:pt x="7717460" y="1533106"/>
                  </a:cubicBezTo>
                  <a:cubicBezTo>
                    <a:pt x="7722886" y="1529862"/>
                    <a:pt x="7728488" y="1526162"/>
                    <a:pt x="7734267" y="1522003"/>
                  </a:cubicBezTo>
                  <a:close/>
                  <a:moveTo>
                    <a:pt x="6986927" y="1522003"/>
                  </a:moveTo>
                  <a:lnTo>
                    <a:pt x="7001834" y="1522003"/>
                  </a:lnTo>
                  <a:lnTo>
                    <a:pt x="7001834" y="1744984"/>
                  </a:lnTo>
                  <a:lnTo>
                    <a:pt x="6966546" y="1744984"/>
                  </a:lnTo>
                  <a:lnTo>
                    <a:pt x="6966546" y="1565200"/>
                  </a:lnTo>
                  <a:cubicBezTo>
                    <a:pt x="6960158" y="1569764"/>
                    <a:pt x="6953288" y="1573641"/>
                    <a:pt x="6945936" y="1576836"/>
                  </a:cubicBezTo>
                  <a:cubicBezTo>
                    <a:pt x="6938585" y="1580031"/>
                    <a:pt x="6930194" y="1582843"/>
                    <a:pt x="6920764" y="1585278"/>
                  </a:cubicBezTo>
                  <a:lnTo>
                    <a:pt x="6920764" y="1555161"/>
                  </a:lnTo>
                  <a:cubicBezTo>
                    <a:pt x="6926645" y="1553236"/>
                    <a:pt x="6932323" y="1551207"/>
                    <a:pt x="6937799" y="1549078"/>
                  </a:cubicBezTo>
                  <a:cubicBezTo>
                    <a:pt x="6943275" y="1546948"/>
                    <a:pt x="6948674" y="1544566"/>
                    <a:pt x="6953998" y="1541929"/>
                  </a:cubicBezTo>
                  <a:cubicBezTo>
                    <a:pt x="6959321" y="1539292"/>
                    <a:pt x="6964696" y="1536351"/>
                    <a:pt x="6970120" y="1533106"/>
                  </a:cubicBezTo>
                  <a:cubicBezTo>
                    <a:pt x="6975546" y="1529862"/>
                    <a:pt x="6981148" y="1526162"/>
                    <a:pt x="6986927" y="1522003"/>
                  </a:cubicBezTo>
                  <a:close/>
                  <a:moveTo>
                    <a:pt x="6842801" y="1522003"/>
                  </a:moveTo>
                  <a:lnTo>
                    <a:pt x="6857708" y="1522003"/>
                  </a:lnTo>
                  <a:lnTo>
                    <a:pt x="6857708" y="1744984"/>
                  </a:lnTo>
                  <a:lnTo>
                    <a:pt x="6822420" y="1744984"/>
                  </a:lnTo>
                  <a:lnTo>
                    <a:pt x="6822420" y="1565200"/>
                  </a:lnTo>
                  <a:cubicBezTo>
                    <a:pt x="6816032" y="1569764"/>
                    <a:pt x="6809162" y="1573641"/>
                    <a:pt x="6801810" y="1576836"/>
                  </a:cubicBezTo>
                  <a:cubicBezTo>
                    <a:pt x="6794459" y="1580031"/>
                    <a:pt x="6786068" y="1582843"/>
                    <a:pt x="6776638" y="1585278"/>
                  </a:cubicBezTo>
                  <a:lnTo>
                    <a:pt x="6776638" y="1555161"/>
                  </a:lnTo>
                  <a:cubicBezTo>
                    <a:pt x="6782519" y="1553236"/>
                    <a:pt x="6788197" y="1551207"/>
                    <a:pt x="6793673" y="1549078"/>
                  </a:cubicBezTo>
                  <a:cubicBezTo>
                    <a:pt x="6799149" y="1546948"/>
                    <a:pt x="6804548" y="1544566"/>
                    <a:pt x="6809872" y="1541929"/>
                  </a:cubicBezTo>
                  <a:cubicBezTo>
                    <a:pt x="6815195" y="1539292"/>
                    <a:pt x="6820570" y="1536351"/>
                    <a:pt x="6825994" y="1533106"/>
                  </a:cubicBezTo>
                  <a:cubicBezTo>
                    <a:pt x="6831420" y="1529862"/>
                    <a:pt x="6837022" y="1526162"/>
                    <a:pt x="6842801" y="1522003"/>
                  </a:cubicBezTo>
                  <a:close/>
                  <a:moveTo>
                    <a:pt x="6150824" y="1522003"/>
                  </a:moveTo>
                  <a:lnTo>
                    <a:pt x="6165731" y="1522003"/>
                  </a:lnTo>
                  <a:lnTo>
                    <a:pt x="6165731" y="1744984"/>
                  </a:lnTo>
                  <a:lnTo>
                    <a:pt x="6130443" y="1744984"/>
                  </a:lnTo>
                  <a:lnTo>
                    <a:pt x="6130443" y="1565200"/>
                  </a:lnTo>
                  <a:cubicBezTo>
                    <a:pt x="6124055" y="1569764"/>
                    <a:pt x="6117185" y="1573641"/>
                    <a:pt x="6109833" y="1576836"/>
                  </a:cubicBezTo>
                  <a:cubicBezTo>
                    <a:pt x="6102482" y="1580031"/>
                    <a:pt x="6094091" y="1582843"/>
                    <a:pt x="6084661" y="1585278"/>
                  </a:cubicBezTo>
                  <a:lnTo>
                    <a:pt x="6084661" y="1555161"/>
                  </a:lnTo>
                  <a:cubicBezTo>
                    <a:pt x="6090542" y="1553236"/>
                    <a:pt x="6096220" y="1551207"/>
                    <a:pt x="6101696" y="1549078"/>
                  </a:cubicBezTo>
                  <a:cubicBezTo>
                    <a:pt x="6107172" y="1546948"/>
                    <a:pt x="6112571" y="1544566"/>
                    <a:pt x="6117895" y="1541929"/>
                  </a:cubicBezTo>
                  <a:cubicBezTo>
                    <a:pt x="6123218" y="1539292"/>
                    <a:pt x="6128593" y="1536351"/>
                    <a:pt x="6134017" y="1533106"/>
                  </a:cubicBezTo>
                  <a:cubicBezTo>
                    <a:pt x="6139443" y="1529862"/>
                    <a:pt x="6145045" y="1526162"/>
                    <a:pt x="6150824" y="1522003"/>
                  </a:cubicBezTo>
                  <a:close/>
                  <a:moveTo>
                    <a:pt x="5862574" y="1522003"/>
                  </a:moveTo>
                  <a:lnTo>
                    <a:pt x="5877481" y="1522003"/>
                  </a:lnTo>
                  <a:lnTo>
                    <a:pt x="5877481" y="1744984"/>
                  </a:lnTo>
                  <a:lnTo>
                    <a:pt x="5842193" y="1744984"/>
                  </a:lnTo>
                  <a:lnTo>
                    <a:pt x="5842193" y="1565200"/>
                  </a:lnTo>
                  <a:cubicBezTo>
                    <a:pt x="5835804" y="1569764"/>
                    <a:pt x="5828935" y="1573641"/>
                    <a:pt x="5821582" y="1576836"/>
                  </a:cubicBezTo>
                  <a:cubicBezTo>
                    <a:pt x="5814232" y="1580031"/>
                    <a:pt x="5805840" y="1582843"/>
                    <a:pt x="5796410" y="1585278"/>
                  </a:cubicBezTo>
                  <a:lnTo>
                    <a:pt x="5796410" y="1555161"/>
                  </a:lnTo>
                  <a:cubicBezTo>
                    <a:pt x="5802291" y="1553236"/>
                    <a:pt x="5807969" y="1551207"/>
                    <a:pt x="5813446" y="1549078"/>
                  </a:cubicBezTo>
                  <a:cubicBezTo>
                    <a:pt x="5818921" y="1546948"/>
                    <a:pt x="5824321" y="1544566"/>
                    <a:pt x="5829644" y="1541929"/>
                  </a:cubicBezTo>
                  <a:cubicBezTo>
                    <a:pt x="5834968" y="1539292"/>
                    <a:pt x="5840342" y="1536351"/>
                    <a:pt x="5845767" y="1533106"/>
                  </a:cubicBezTo>
                  <a:cubicBezTo>
                    <a:pt x="5851192" y="1529862"/>
                    <a:pt x="5856794" y="1526162"/>
                    <a:pt x="5862574" y="1522003"/>
                  </a:cubicBezTo>
                  <a:close/>
                  <a:moveTo>
                    <a:pt x="5479705" y="1522003"/>
                  </a:moveTo>
                  <a:lnTo>
                    <a:pt x="5494612" y="1522003"/>
                  </a:lnTo>
                  <a:lnTo>
                    <a:pt x="5494612" y="1744984"/>
                  </a:lnTo>
                  <a:lnTo>
                    <a:pt x="5459325" y="1744984"/>
                  </a:lnTo>
                  <a:lnTo>
                    <a:pt x="5459325" y="1565200"/>
                  </a:lnTo>
                  <a:cubicBezTo>
                    <a:pt x="5452937" y="1569764"/>
                    <a:pt x="5446067" y="1573641"/>
                    <a:pt x="5438715" y="1576836"/>
                  </a:cubicBezTo>
                  <a:cubicBezTo>
                    <a:pt x="5431364" y="1580031"/>
                    <a:pt x="5422973" y="1582843"/>
                    <a:pt x="5413543" y="1585278"/>
                  </a:cubicBezTo>
                  <a:lnTo>
                    <a:pt x="5413543" y="1555161"/>
                  </a:lnTo>
                  <a:cubicBezTo>
                    <a:pt x="5419424" y="1553236"/>
                    <a:pt x="5425102" y="1551207"/>
                    <a:pt x="5430578" y="1549078"/>
                  </a:cubicBezTo>
                  <a:cubicBezTo>
                    <a:pt x="5436054" y="1546948"/>
                    <a:pt x="5441453" y="1544566"/>
                    <a:pt x="5446777" y="1541929"/>
                  </a:cubicBezTo>
                  <a:cubicBezTo>
                    <a:pt x="5452100" y="1539292"/>
                    <a:pt x="5457475" y="1536351"/>
                    <a:pt x="5462898" y="1533106"/>
                  </a:cubicBezTo>
                  <a:cubicBezTo>
                    <a:pt x="5468325" y="1529862"/>
                    <a:pt x="5473927" y="1526162"/>
                    <a:pt x="5479705" y="1522003"/>
                  </a:cubicBezTo>
                  <a:close/>
                  <a:moveTo>
                    <a:pt x="5335580" y="1522003"/>
                  </a:moveTo>
                  <a:lnTo>
                    <a:pt x="5350487" y="1522003"/>
                  </a:lnTo>
                  <a:lnTo>
                    <a:pt x="5350487" y="1744984"/>
                  </a:lnTo>
                  <a:lnTo>
                    <a:pt x="5315199" y="1744984"/>
                  </a:lnTo>
                  <a:lnTo>
                    <a:pt x="5315199" y="1565200"/>
                  </a:lnTo>
                  <a:cubicBezTo>
                    <a:pt x="5308810" y="1569764"/>
                    <a:pt x="5301941" y="1573641"/>
                    <a:pt x="5294589" y="1576836"/>
                  </a:cubicBezTo>
                  <a:cubicBezTo>
                    <a:pt x="5287238" y="1580031"/>
                    <a:pt x="5278847" y="1582843"/>
                    <a:pt x="5269417" y="1585278"/>
                  </a:cubicBezTo>
                  <a:lnTo>
                    <a:pt x="5269417" y="1555161"/>
                  </a:lnTo>
                  <a:cubicBezTo>
                    <a:pt x="5275298" y="1553236"/>
                    <a:pt x="5280976" y="1551207"/>
                    <a:pt x="5286452" y="1549078"/>
                  </a:cubicBezTo>
                  <a:cubicBezTo>
                    <a:pt x="5291928" y="1546948"/>
                    <a:pt x="5297327" y="1544566"/>
                    <a:pt x="5302650" y="1541929"/>
                  </a:cubicBezTo>
                  <a:cubicBezTo>
                    <a:pt x="5307974" y="1539292"/>
                    <a:pt x="5313349" y="1536351"/>
                    <a:pt x="5318773" y="1533106"/>
                  </a:cubicBezTo>
                  <a:cubicBezTo>
                    <a:pt x="5324198" y="1529862"/>
                    <a:pt x="5329801" y="1526162"/>
                    <a:pt x="5335580" y="1522003"/>
                  </a:cubicBezTo>
                  <a:close/>
                  <a:moveTo>
                    <a:pt x="5191455" y="1522003"/>
                  </a:moveTo>
                  <a:lnTo>
                    <a:pt x="5206362" y="1522003"/>
                  </a:lnTo>
                  <a:lnTo>
                    <a:pt x="5206362" y="1744984"/>
                  </a:lnTo>
                  <a:lnTo>
                    <a:pt x="5171074" y="1744984"/>
                  </a:lnTo>
                  <a:lnTo>
                    <a:pt x="5171074" y="1565200"/>
                  </a:lnTo>
                  <a:cubicBezTo>
                    <a:pt x="5164686" y="1569764"/>
                    <a:pt x="5157816" y="1573641"/>
                    <a:pt x="5150464" y="1576836"/>
                  </a:cubicBezTo>
                  <a:cubicBezTo>
                    <a:pt x="5143113" y="1580031"/>
                    <a:pt x="5134721" y="1582843"/>
                    <a:pt x="5125291" y="1585278"/>
                  </a:cubicBezTo>
                  <a:lnTo>
                    <a:pt x="5125291" y="1555161"/>
                  </a:lnTo>
                  <a:cubicBezTo>
                    <a:pt x="5131172" y="1553236"/>
                    <a:pt x="5136851" y="1551207"/>
                    <a:pt x="5142326" y="1549078"/>
                  </a:cubicBezTo>
                  <a:cubicBezTo>
                    <a:pt x="5147803" y="1546948"/>
                    <a:pt x="5153202" y="1544566"/>
                    <a:pt x="5158526" y="1541929"/>
                  </a:cubicBezTo>
                  <a:cubicBezTo>
                    <a:pt x="5163848" y="1539292"/>
                    <a:pt x="5169223" y="1536351"/>
                    <a:pt x="5174648" y="1533106"/>
                  </a:cubicBezTo>
                  <a:cubicBezTo>
                    <a:pt x="5180074" y="1529862"/>
                    <a:pt x="5185676" y="1526162"/>
                    <a:pt x="5191455" y="1522003"/>
                  </a:cubicBezTo>
                  <a:close/>
                  <a:moveTo>
                    <a:pt x="5047329" y="1522003"/>
                  </a:moveTo>
                  <a:lnTo>
                    <a:pt x="5062237" y="1522003"/>
                  </a:lnTo>
                  <a:lnTo>
                    <a:pt x="5062237" y="1744984"/>
                  </a:lnTo>
                  <a:lnTo>
                    <a:pt x="5026949" y="1744984"/>
                  </a:lnTo>
                  <a:lnTo>
                    <a:pt x="5026949" y="1565200"/>
                  </a:lnTo>
                  <a:cubicBezTo>
                    <a:pt x="5020561" y="1569764"/>
                    <a:pt x="5013691" y="1573641"/>
                    <a:pt x="5006339" y="1576836"/>
                  </a:cubicBezTo>
                  <a:cubicBezTo>
                    <a:pt x="4998988" y="1580031"/>
                    <a:pt x="4990597" y="1582843"/>
                    <a:pt x="4981166" y="1585278"/>
                  </a:cubicBezTo>
                  <a:lnTo>
                    <a:pt x="4981166" y="1555161"/>
                  </a:lnTo>
                  <a:cubicBezTo>
                    <a:pt x="4987047" y="1553236"/>
                    <a:pt x="4992725" y="1551207"/>
                    <a:pt x="4998201" y="1549078"/>
                  </a:cubicBezTo>
                  <a:cubicBezTo>
                    <a:pt x="5003677" y="1546948"/>
                    <a:pt x="5009077" y="1544566"/>
                    <a:pt x="5014401" y="1541929"/>
                  </a:cubicBezTo>
                  <a:cubicBezTo>
                    <a:pt x="5019723" y="1539292"/>
                    <a:pt x="5025099" y="1536351"/>
                    <a:pt x="5030524" y="1533106"/>
                  </a:cubicBezTo>
                  <a:cubicBezTo>
                    <a:pt x="5035948" y="1529862"/>
                    <a:pt x="5041550" y="1526162"/>
                    <a:pt x="5047329" y="1522003"/>
                  </a:cubicBezTo>
                  <a:close/>
                  <a:moveTo>
                    <a:pt x="4903204" y="1522003"/>
                  </a:moveTo>
                  <a:lnTo>
                    <a:pt x="4918113" y="1522003"/>
                  </a:lnTo>
                  <a:lnTo>
                    <a:pt x="4918113" y="1744984"/>
                  </a:lnTo>
                  <a:lnTo>
                    <a:pt x="4882824" y="1744984"/>
                  </a:lnTo>
                  <a:lnTo>
                    <a:pt x="4882824" y="1565200"/>
                  </a:lnTo>
                  <a:cubicBezTo>
                    <a:pt x="4876436" y="1569764"/>
                    <a:pt x="4869566" y="1573641"/>
                    <a:pt x="4862214" y="1576836"/>
                  </a:cubicBezTo>
                  <a:cubicBezTo>
                    <a:pt x="4854863" y="1580031"/>
                    <a:pt x="4846471" y="1582843"/>
                    <a:pt x="4837041" y="1585278"/>
                  </a:cubicBezTo>
                  <a:lnTo>
                    <a:pt x="4837041" y="1555161"/>
                  </a:lnTo>
                  <a:cubicBezTo>
                    <a:pt x="4842923" y="1553236"/>
                    <a:pt x="4848601" y="1551207"/>
                    <a:pt x="4854077" y="1549078"/>
                  </a:cubicBezTo>
                  <a:cubicBezTo>
                    <a:pt x="4859552" y="1546948"/>
                    <a:pt x="4864952" y="1544566"/>
                    <a:pt x="4870276" y="1541929"/>
                  </a:cubicBezTo>
                  <a:cubicBezTo>
                    <a:pt x="4875598" y="1539292"/>
                    <a:pt x="4880974" y="1536351"/>
                    <a:pt x="4886398" y="1533106"/>
                  </a:cubicBezTo>
                  <a:cubicBezTo>
                    <a:pt x="4891824" y="1529862"/>
                    <a:pt x="4897426" y="1526162"/>
                    <a:pt x="4903204" y="1522003"/>
                  </a:cubicBezTo>
                  <a:close/>
                  <a:moveTo>
                    <a:pt x="4514973" y="1522003"/>
                  </a:moveTo>
                  <a:lnTo>
                    <a:pt x="4529878" y="1522003"/>
                  </a:lnTo>
                  <a:lnTo>
                    <a:pt x="4529878" y="1744984"/>
                  </a:lnTo>
                  <a:lnTo>
                    <a:pt x="4494591" y="1744984"/>
                  </a:lnTo>
                  <a:lnTo>
                    <a:pt x="4494591" y="1565200"/>
                  </a:lnTo>
                  <a:cubicBezTo>
                    <a:pt x="4488202" y="1569764"/>
                    <a:pt x="4481333" y="1573641"/>
                    <a:pt x="4473982" y="1576836"/>
                  </a:cubicBezTo>
                  <a:cubicBezTo>
                    <a:pt x="4466630" y="1580031"/>
                    <a:pt x="4458240" y="1582843"/>
                    <a:pt x="4448809" y="1585278"/>
                  </a:cubicBezTo>
                  <a:lnTo>
                    <a:pt x="4448809" y="1555161"/>
                  </a:lnTo>
                  <a:cubicBezTo>
                    <a:pt x="4454690" y="1553236"/>
                    <a:pt x="4460369" y="1551207"/>
                    <a:pt x="4465844" y="1549078"/>
                  </a:cubicBezTo>
                  <a:cubicBezTo>
                    <a:pt x="4471320" y="1546948"/>
                    <a:pt x="4476719" y="1544566"/>
                    <a:pt x="4482043" y="1541929"/>
                  </a:cubicBezTo>
                  <a:cubicBezTo>
                    <a:pt x="4487367" y="1539292"/>
                    <a:pt x="4492741" y="1536351"/>
                    <a:pt x="4498165" y="1533106"/>
                  </a:cubicBezTo>
                  <a:cubicBezTo>
                    <a:pt x="4503591" y="1529862"/>
                    <a:pt x="4509192" y="1526162"/>
                    <a:pt x="4514973" y="1522003"/>
                  </a:cubicBezTo>
                  <a:close/>
                  <a:moveTo>
                    <a:pt x="4248864" y="1522003"/>
                  </a:moveTo>
                  <a:lnTo>
                    <a:pt x="4263771" y="1522003"/>
                  </a:lnTo>
                  <a:lnTo>
                    <a:pt x="4263771" y="1744984"/>
                  </a:lnTo>
                  <a:lnTo>
                    <a:pt x="4228482" y="1744984"/>
                  </a:lnTo>
                  <a:lnTo>
                    <a:pt x="4228482" y="1565200"/>
                  </a:lnTo>
                  <a:cubicBezTo>
                    <a:pt x="4222095" y="1569764"/>
                    <a:pt x="4215226" y="1573641"/>
                    <a:pt x="4207874" y="1576836"/>
                  </a:cubicBezTo>
                  <a:cubicBezTo>
                    <a:pt x="4200521" y="1580031"/>
                    <a:pt x="4192131" y="1582843"/>
                    <a:pt x="4182701" y="1585278"/>
                  </a:cubicBezTo>
                  <a:lnTo>
                    <a:pt x="4182701" y="1555161"/>
                  </a:lnTo>
                  <a:cubicBezTo>
                    <a:pt x="4188582" y="1553236"/>
                    <a:pt x="4194260" y="1551207"/>
                    <a:pt x="4199735" y="1549078"/>
                  </a:cubicBezTo>
                  <a:cubicBezTo>
                    <a:pt x="4205212" y="1546948"/>
                    <a:pt x="4210612" y="1544566"/>
                    <a:pt x="4215934" y="1541929"/>
                  </a:cubicBezTo>
                  <a:cubicBezTo>
                    <a:pt x="4221259" y="1539292"/>
                    <a:pt x="4226632" y="1536351"/>
                    <a:pt x="4232057" y="1533106"/>
                  </a:cubicBezTo>
                  <a:cubicBezTo>
                    <a:pt x="4237483" y="1529862"/>
                    <a:pt x="4243085" y="1526162"/>
                    <a:pt x="4248864" y="1522003"/>
                  </a:cubicBezTo>
                  <a:close/>
                  <a:moveTo>
                    <a:pt x="3637266" y="1522003"/>
                  </a:moveTo>
                  <a:lnTo>
                    <a:pt x="3652172" y="1522003"/>
                  </a:lnTo>
                  <a:lnTo>
                    <a:pt x="3652172" y="1744984"/>
                  </a:lnTo>
                  <a:lnTo>
                    <a:pt x="3616884" y="1744984"/>
                  </a:lnTo>
                  <a:lnTo>
                    <a:pt x="3616884" y="1565200"/>
                  </a:lnTo>
                  <a:cubicBezTo>
                    <a:pt x="3610497" y="1569764"/>
                    <a:pt x="3603626" y="1573641"/>
                    <a:pt x="3596275" y="1576836"/>
                  </a:cubicBezTo>
                  <a:cubicBezTo>
                    <a:pt x="3588923" y="1580031"/>
                    <a:pt x="3580534" y="1582843"/>
                    <a:pt x="3571102" y="1585278"/>
                  </a:cubicBezTo>
                  <a:lnTo>
                    <a:pt x="3571102" y="1555161"/>
                  </a:lnTo>
                  <a:cubicBezTo>
                    <a:pt x="3576983" y="1553236"/>
                    <a:pt x="3582662" y="1551207"/>
                    <a:pt x="3588137" y="1549078"/>
                  </a:cubicBezTo>
                  <a:cubicBezTo>
                    <a:pt x="3593613" y="1546948"/>
                    <a:pt x="3599013" y="1544566"/>
                    <a:pt x="3604336" y="1541929"/>
                  </a:cubicBezTo>
                  <a:cubicBezTo>
                    <a:pt x="3609661" y="1539292"/>
                    <a:pt x="3615035" y="1536351"/>
                    <a:pt x="3620460" y="1533106"/>
                  </a:cubicBezTo>
                  <a:cubicBezTo>
                    <a:pt x="3625884" y="1529862"/>
                    <a:pt x="3631486" y="1526162"/>
                    <a:pt x="3637266" y="1522003"/>
                  </a:cubicBezTo>
                  <a:close/>
                  <a:moveTo>
                    <a:pt x="3371159" y="1522003"/>
                  </a:moveTo>
                  <a:lnTo>
                    <a:pt x="3386064" y="1522003"/>
                  </a:lnTo>
                  <a:lnTo>
                    <a:pt x="3386064" y="1744984"/>
                  </a:lnTo>
                  <a:lnTo>
                    <a:pt x="3350777" y="1744984"/>
                  </a:lnTo>
                  <a:lnTo>
                    <a:pt x="3350777" y="1565200"/>
                  </a:lnTo>
                  <a:cubicBezTo>
                    <a:pt x="3344388" y="1569764"/>
                    <a:pt x="3337519" y="1573641"/>
                    <a:pt x="3330167" y="1576836"/>
                  </a:cubicBezTo>
                  <a:cubicBezTo>
                    <a:pt x="3322816" y="1580031"/>
                    <a:pt x="3314425" y="1582843"/>
                    <a:pt x="3304994" y="1585278"/>
                  </a:cubicBezTo>
                  <a:lnTo>
                    <a:pt x="3304994" y="1555161"/>
                  </a:lnTo>
                  <a:cubicBezTo>
                    <a:pt x="3310875" y="1553236"/>
                    <a:pt x="3316554" y="1551207"/>
                    <a:pt x="3322030" y="1549078"/>
                  </a:cubicBezTo>
                  <a:cubicBezTo>
                    <a:pt x="3327505" y="1546948"/>
                    <a:pt x="3332905" y="1544566"/>
                    <a:pt x="3338229" y="1541929"/>
                  </a:cubicBezTo>
                  <a:cubicBezTo>
                    <a:pt x="3343552" y="1539292"/>
                    <a:pt x="3348927" y="1536351"/>
                    <a:pt x="3354351" y="1533106"/>
                  </a:cubicBezTo>
                  <a:cubicBezTo>
                    <a:pt x="3359776" y="1529862"/>
                    <a:pt x="3365379" y="1526162"/>
                    <a:pt x="3371159" y="1522003"/>
                  </a:cubicBezTo>
                  <a:close/>
                  <a:moveTo>
                    <a:pt x="2764811" y="1522003"/>
                  </a:moveTo>
                  <a:lnTo>
                    <a:pt x="2779717" y="1522003"/>
                  </a:lnTo>
                  <a:lnTo>
                    <a:pt x="2779717" y="1744984"/>
                  </a:lnTo>
                  <a:lnTo>
                    <a:pt x="2744429" y="1744984"/>
                  </a:lnTo>
                  <a:lnTo>
                    <a:pt x="2744429" y="1565200"/>
                  </a:lnTo>
                  <a:cubicBezTo>
                    <a:pt x="2738041" y="1569764"/>
                    <a:pt x="2731171" y="1573641"/>
                    <a:pt x="2723820" y="1576836"/>
                  </a:cubicBezTo>
                  <a:cubicBezTo>
                    <a:pt x="2716468" y="1580031"/>
                    <a:pt x="2708078" y="1582843"/>
                    <a:pt x="2698648" y="1585278"/>
                  </a:cubicBezTo>
                  <a:lnTo>
                    <a:pt x="2698648" y="1555161"/>
                  </a:lnTo>
                  <a:cubicBezTo>
                    <a:pt x="2704528" y="1553236"/>
                    <a:pt x="2710207" y="1551207"/>
                    <a:pt x="2715682" y="1549078"/>
                  </a:cubicBezTo>
                  <a:cubicBezTo>
                    <a:pt x="2721159" y="1546948"/>
                    <a:pt x="2726558" y="1544566"/>
                    <a:pt x="2731881" y="1541929"/>
                  </a:cubicBezTo>
                  <a:cubicBezTo>
                    <a:pt x="2737205" y="1539292"/>
                    <a:pt x="2742579" y="1536351"/>
                    <a:pt x="2748004" y="1533106"/>
                  </a:cubicBezTo>
                  <a:cubicBezTo>
                    <a:pt x="2753429" y="1529862"/>
                    <a:pt x="2759031" y="1526162"/>
                    <a:pt x="2764811" y="1522003"/>
                  </a:cubicBezTo>
                  <a:close/>
                  <a:moveTo>
                    <a:pt x="2498703" y="1522003"/>
                  </a:moveTo>
                  <a:lnTo>
                    <a:pt x="2513609" y="1522003"/>
                  </a:lnTo>
                  <a:lnTo>
                    <a:pt x="2513609" y="1744984"/>
                  </a:lnTo>
                  <a:lnTo>
                    <a:pt x="2478321" y="1744984"/>
                  </a:lnTo>
                  <a:lnTo>
                    <a:pt x="2478321" y="1565200"/>
                  </a:lnTo>
                  <a:cubicBezTo>
                    <a:pt x="2471933" y="1569764"/>
                    <a:pt x="2465063" y="1573641"/>
                    <a:pt x="2457712" y="1576836"/>
                  </a:cubicBezTo>
                  <a:cubicBezTo>
                    <a:pt x="2450360" y="1580031"/>
                    <a:pt x="2441970" y="1582843"/>
                    <a:pt x="2432539" y="1585278"/>
                  </a:cubicBezTo>
                  <a:lnTo>
                    <a:pt x="2432539" y="1555161"/>
                  </a:lnTo>
                  <a:cubicBezTo>
                    <a:pt x="2438420" y="1553236"/>
                    <a:pt x="2444099" y="1551207"/>
                    <a:pt x="2449574" y="1549078"/>
                  </a:cubicBezTo>
                  <a:cubicBezTo>
                    <a:pt x="2455050" y="1546948"/>
                    <a:pt x="2460450" y="1544566"/>
                    <a:pt x="2465773" y="1541929"/>
                  </a:cubicBezTo>
                  <a:cubicBezTo>
                    <a:pt x="2471097" y="1539292"/>
                    <a:pt x="2476471" y="1536351"/>
                    <a:pt x="2481896" y="1533106"/>
                  </a:cubicBezTo>
                  <a:cubicBezTo>
                    <a:pt x="2487321" y="1529862"/>
                    <a:pt x="2492923" y="1526162"/>
                    <a:pt x="2498703" y="1522003"/>
                  </a:cubicBezTo>
                  <a:close/>
                  <a:moveTo>
                    <a:pt x="2086936" y="1522003"/>
                  </a:moveTo>
                  <a:lnTo>
                    <a:pt x="2101842" y="1522003"/>
                  </a:lnTo>
                  <a:lnTo>
                    <a:pt x="2101842" y="1744984"/>
                  </a:lnTo>
                  <a:lnTo>
                    <a:pt x="2066554" y="1744984"/>
                  </a:lnTo>
                  <a:lnTo>
                    <a:pt x="2066554" y="1565200"/>
                  </a:lnTo>
                  <a:cubicBezTo>
                    <a:pt x="2060167" y="1569764"/>
                    <a:pt x="2053297" y="1573641"/>
                    <a:pt x="2045945" y="1576836"/>
                  </a:cubicBezTo>
                  <a:cubicBezTo>
                    <a:pt x="2038593" y="1580031"/>
                    <a:pt x="2030203" y="1582843"/>
                    <a:pt x="2020772" y="1585278"/>
                  </a:cubicBezTo>
                  <a:lnTo>
                    <a:pt x="2020772" y="1555161"/>
                  </a:lnTo>
                  <a:cubicBezTo>
                    <a:pt x="2026653" y="1553236"/>
                    <a:pt x="2032332" y="1551207"/>
                    <a:pt x="2037808" y="1549078"/>
                  </a:cubicBezTo>
                  <a:cubicBezTo>
                    <a:pt x="2043283" y="1546948"/>
                    <a:pt x="2048683" y="1544566"/>
                    <a:pt x="2054006" y="1541929"/>
                  </a:cubicBezTo>
                  <a:cubicBezTo>
                    <a:pt x="2059330" y="1539292"/>
                    <a:pt x="2064704" y="1536351"/>
                    <a:pt x="2070129" y="1533106"/>
                  </a:cubicBezTo>
                  <a:cubicBezTo>
                    <a:pt x="2075555" y="1529862"/>
                    <a:pt x="2081156" y="1526162"/>
                    <a:pt x="2086936" y="1522003"/>
                  </a:cubicBezTo>
                  <a:close/>
                  <a:moveTo>
                    <a:pt x="1953882" y="1522003"/>
                  </a:moveTo>
                  <a:lnTo>
                    <a:pt x="1968788" y="1522003"/>
                  </a:lnTo>
                  <a:lnTo>
                    <a:pt x="1968788" y="1744984"/>
                  </a:lnTo>
                  <a:lnTo>
                    <a:pt x="1933501" y="1744984"/>
                  </a:lnTo>
                  <a:lnTo>
                    <a:pt x="1933501" y="1565200"/>
                  </a:lnTo>
                  <a:cubicBezTo>
                    <a:pt x="1927112" y="1569764"/>
                    <a:pt x="1920243" y="1573641"/>
                    <a:pt x="1912891" y="1576836"/>
                  </a:cubicBezTo>
                  <a:cubicBezTo>
                    <a:pt x="1905539" y="1580031"/>
                    <a:pt x="1897149" y="1582843"/>
                    <a:pt x="1887718" y="1585278"/>
                  </a:cubicBezTo>
                  <a:lnTo>
                    <a:pt x="1887718" y="1555161"/>
                  </a:lnTo>
                  <a:cubicBezTo>
                    <a:pt x="1893600" y="1553236"/>
                    <a:pt x="1899278" y="1551207"/>
                    <a:pt x="1904753" y="1549078"/>
                  </a:cubicBezTo>
                  <a:cubicBezTo>
                    <a:pt x="1910229" y="1546948"/>
                    <a:pt x="1915629" y="1544566"/>
                    <a:pt x="1920952" y="1541929"/>
                  </a:cubicBezTo>
                  <a:cubicBezTo>
                    <a:pt x="1926276" y="1539292"/>
                    <a:pt x="1931650" y="1536351"/>
                    <a:pt x="1937075" y="1533106"/>
                  </a:cubicBezTo>
                  <a:cubicBezTo>
                    <a:pt x="1942500" y="1529862"/>
                    <a:pt x="1948102" y="1526162"/>
                    <a:pt x="1953882" y="1522003"/>
                  </a:cubicBezTo>
                  <a:close/>
                  <a:moveTo>
                    <a:pt x="1820828" y="1522003"/>
                  </a:moveTo>
                  <a:lnTo>
                    <a:pt x="1835734" y="1522003"/>
                  </a:lnTo>
                  <a:lnTo>
                    <a:pt x="1835734" y="1744984"/>
                  </a:lnTo>
                  <a:lnTo>
                    <a:pt x="1800447" y="1744984"/>
                  </a:lnTo>
                  <a:lnTo>
                    <a:pt x="1800447" y="1565200"/>
                  </a:lnTo>
                  <a:cubicBezTo>
                    <a:pt x="1794058" y="1569764"/>
                    <a:pt x="1787189" y="1573641"/>
                    <a:pt x="1779837" y="1576836"/>
                  </a:cubicBezTo>
                  <a:cubicBezTo>
                    <a:pt x="1772486" y="1580031"/>
                    <a:pt x="1764094" y="1582843"/>
                    <a:pt x="1754664" y="1585278"/>
                  </a:cubicBezTo>
                  <a:lnTo>
                    <a:pt x="1754664" y="1555161"/>
                  </a:lnTo>
                  <a:cubicBezTo>
                    <a:pt x="1760545" y="1553236"/>
                    <a:pt x="1766224" y="1551207"/>
                    <a:pt x="1771699" y="1549078"/>
                  </a:cubicBezTo>
                  <a:cubicBezTo>
                    <a:pt x="1777175" y="1546948"/>
                    <a:pt x="1782575" y="1544566"/>
                    <a:pt x="1787898" y="1541929"/>
                  </a:cubicBezTo>
                  <a:cubicBezTo>
                    <a:pt x="1793222" y="1539292"/>
                    <a:pt x="1798596" y="1536351"/>
                    <a:pt x="1804021" y="1533106"/>
                  </a:cubicBezTo>
                  <a:cubicBezTo>
                    <a:pt x="1809446" y="1529862"/>
                    <a:pt x="1815048" y="1526162"/>
                    <a:pt x="1820828" y="1522003"/>
                  </a:cubicBezTo>
                  <a:close/>
                  <a:moveTo>
                    <a:pt x="1678216" y="1522003"/>
                  </a:moveTo>
                  <a:lnTo>
                    <a:pt x="1693123" y="1522003"/>
                  </a:lnTo>
                  <a:lnTo>
                    <a:pt x="1693123" y="1744984"/>
                  </a:lnTo>
                  <a:lnTo>
                    <a:pt x="1657834" y="1744984"/>
                  </a:lnTo>
                  <a:lnTo>
                    <a:pt x="1657834" y="1565200"/>
                  </a:lnTo>
                  <a:cubicBezTo>
                    <a:pt x="1651447" y="1569764"/>
                    <a:pt x="1644577" y="1573641"/>
                    <a:pt x="1637225" y="1576836"/>
                  </a:cubicBezTo>
                  <a:cubicBezTo>
                    <a:pt x="1629873" y="1580031"/>
                    <a:pt x="1621483" y="1582843"/>
                    <a:pt x="1612053" y="1585278"/>
                  </a:cubicBezTo>
                  <a:lnTo>
                    <a:pt x="1612053" y="1555161"/>
                  </a:lnTo>
                  <a:cubicBezTo>
                    <a:pt x="1617933" y="1553236"/>
                    <a:pt x="1623612" y="1551207"/>
                    <a:pt x="1629088" y="1549078"/>
                  </a:cubicBezTo>
                  <a:cubicBezTo>
                    <a:pt x="1634563" y="1546948"/>
                    <a:pt x="1639963" y="1544566"/>
                    <a:pt x="1645287" y="1541929"/>
                  </a:cubicBezTo>
                  <a:cubicBezTo>
                    <a:pt x="1650610" y="1539292"/>
                    <a:pt x="1655984" y="1536351"/>
                    <a:pt x="1661409" y="1533106"/>
                  </a:cubicBezTo>
                  <a:cubicBezTo>
                    <a:pt x="1666834" y="1529862"/>
                    <a:pt x="1672436" y="1526162"/>
                    <a:pt x="1678216" y="1522003"/>
                  </a:cubicBezTo>
                  <a:close/>
                  <a:moveTo>
                    <a:pt x="922825" y="1522003"/>
                  </a:moveTo>
                  <a:lnTo>
                    <a:pt x="937731" y="1522003"/>
                  </a:lnTo>
                  <a:lnTo>
                    <a:pt x="937731" y="1744984"/>
                  </a:lnTo>
                  <a:lnTo>
                    <a:pt x="902443" y="1744984"/>
                  </a:lnTo>
                  <a:lnTo>
                    <a:pt x="902443" y="1565200"/>
                  </a:lnTo>
                  <a:cubicBezTo>
                    <a:pt x="896055" y="1569764"/>
                    <a:pt x="889185" y="1573641"/>
                    <a:pt x="881833" y="1576836"/>
                  </a:cubicBezTo>
                  <a:cubicBezTo>
                    <a:pt x="874482" y="1580031"/>
                    <a:pt x="866091" y="1582843"/>
                    <a:pt x="856661" y="1585278"/>
                  </a:cubicBezTo>
                  <a:lnTo>
                    <a:pt x="856661" y="1555161"/>
                  </a:lnTo>
                  <a:cubicBezTo>
                    <a:pt x="862542" y="1553236"/>
                    <a:pt x="868220" y="1551207"/>
                    <a:pt x="873696" y="1549078"/>
                  </a:cubicBezTo>
                  <a:cubicBezTo>
                    <a:pt x="879172" y="1546948"/>
                    <a:pt x="884571" y="1544566"/>
                    <a:pt x="889895" y="1541929"/>
                  </a:cubicBezTo>
                  <a:cubicBezTo>
                    <a:pt x="895218" y="1539292"/>
                    <a:pt x="900593" y="1536351"/>
                    <a:pt x="906017" y="1533106"/>
                  </a:cubicBezTo>
                  <a:cubicBezTo>
                    <a:pt x="911443" y="1529862"/>
                    <a:pt x="917045" y="1526162"/>
                    <a:pt x="922825" y="1522003"/>
                  </a:cubicBezTo>
                  <a:close/>
                  <a:moveTo>
                    <a:pt x="789770" y="1522003"/>
                  </a:moveTo>
                  <a:lnTo>
                    <a:pt x="804677" y="1522003"/>
                  </a:lnTo>
                  <a:lnTo>
                    <a:pt x="804677" y="1744984"/>
                  </a:lnTo>
                  <a:lnTo>
                    <a:pt x="769389" y="1744984"/>
                  </a:lnTo>
                  <a:lnTo>
                    <a:pt x="769389" y="1565200"/>
                  </a:lnTo>
                  <a:cubicBezTo>
                    <a:pt x="763001" y="1569764"/>
                    <a:pt x="756131" y="1573641"/>
                    <a:pt x="748779" y="1576836"/>
                  </a:cubicBezTo>
                  <a:cubicBezTo>
                    <a:pt x="741428" y="1580031"/>
                    <a:pt x="733037" y="1582843"/>
                    <a:pt x="723607" y="1585278"/>
                  </a:cubicBezTo>
                  <a:lnTo>
                    <a:pt x="723607" y="1555161"/>
                  </a:lnTo>
                  <a:cubicBezTo>
                    <a:pt x="729488" y="1553236"/>
                    <a:pt x="735167" y="1551207"/>
                    <a:pt x="740642" y="1549078"/>
                  </a:cubicBezTo>
                  <a:cubicBezTo>
                    <a:pt x="746117" y="1546948"/>
                    <a:pt x="751517" y="1544566"/>
                    <a:pt x="756841" y="1541929"/>
                  </a:cubicBezTo>
                  <a:cubicBezTo>
                    <a:pt x="762164" y="1539292"/>
                    <a:pt x="767539" y="1536351"/>
                    <a:pt x="772963" y="1533106"/>
                  </a:cubicBezTo>
                  <a:cubicBezTo>
                    <a:pt x="778388" y="1529862"/>
                    <a:pt x="783991" y="1526162"/>
                    <a:pt x="789770" y="1522003"/>
                  </a:cubicBezTo>
                  <a:close/>
                  <a:moveTo>
                    <a:pt x="10091849" y="1522002"/>
                  </a:moveTo>
                  <a:cubicBezTo>
                    <a:pt x="10139293" y="1522002"/>
                    <a:pt x="10163016" y="1558865"/>
                    <a:pt x="10163016" y="1632590"/>
                  </a:cubicBezTo>
                  <a:cubicBezTo>
                    <a:pt x="10163016" y="1669101"/>
                    <a:pt x="10156320" y="1696962"/>
                    <a:pt x="10142930" y="1716169"/>
                  </a:cubicBezTo>
                  <a:cubicBezTo>
                    <a:pt x="10129539" y="1735377"/>
                    <a:pt x="10110807" y="1744982"/>
                    <a:pt x="10086733" y="1744982"/>
                  </a:cubicBezTo>
                  <a:cubicBezTo>
                    <a:pt x="10064265" y="1744982"/>
                    <a:pt x="10046736" y="1735804"/>
                    <a:pt x="10034148" y="1717449"/>
                  </a:cubicBezTo>
                  <a:cubicBezTo>
                    <a:pt x="10021559" y="1699092"/>
                    <a:pt x="10015265" y="1672561"/>
                    <a:pt x="10015265" y="1637857"/>
                  </a:cubicBezTo>
                  <a:cubicBezTo>
                    <a:pt x="10015265" y="1599739"/>
                    <a:pt x="10021835" y="1570902"/>
                    <a:pt x="10034975" y="1551343"/>
                  </a:cubicBezTo>
                  <a:cubicBezTo>
                    <a:pt x="10048116" y="1531782"/>
                    <a:pt x="10067073" y="1522002"/>
                    <a:pt x="10091849" y="1522002"/>
                  </a:cubicBezTo>
                  <a:close/>
                  <a:moveTo>
                    <a:pt x="9870926" y="1522002"/>
                  </a:moveTo>
                  <a:cubicBezTo>
                    <a:pt x="9918370" y="1522002"/>
                    <a:pt x="9942093" y="1558865"/>
                    <a:pt x="9942093" y="1632590"/>
                  </a:cubicBezTo>
                  <a:cubicBezTo>
                    <a:pt x="9942093" y="1669101"/>
                    <a:pt x="9935397" y="1696962"/>
                    <a:pt x="9922007" y="1716169"/>
                  </a:cubicBezTo>
                  <a:cubicBezTo>
                    <a:pt x="9908616" y="1735377"/>
                    <a:pt x="9889884" y="1744982"/>
                    <a:pt x="9865810" y="1744982"/>
                  </a:cubicBezTo>
                  <a:cubicBezTo>
                    <a:pt x="9843342" y="1744982"/>
                    <a:pt x="9825813" y="1735804"/>
                    <a:pt x="9813225" y="1717449"/>
                  </a:cubicBezTo>
                  <a:cubicBezTo>
                    <a:pt x="9800636" y="1699092"/>
                    <a:pt x="9794342" y="1672561"/>
                    <a:pt x="9794342" y="1637857"/>
                  </a:cubicBezTo>
                  <a:cubicBezTo>
                    <a:pt x="9794342" y="1599739"/>
                    <a:pt x="9800912" y="1570902"/>
                    <a:pt x="9814052" y="1551343"/>
                  </a:cubicBezTo>
                  <a:cubicBezTo>
                    <a:pt x="9827193" y="1531782"/>
                    <a:pt x="9846150" y="1522002"/>
                    <a:pt x="9870926" y="1522002"/>
                  </a:cubicBezTo>
                  <a:close/>
                  <a:moveTo>
                    <a:pt x="9209266" y="1522002"/>
                  </a:moveTo>
                  <a:cubicBezTo>
                    <a:pt x="9256710" y="1522002"/>
                    <a:pt x="9280433" y="1558865"/>
                    <a:pt x="9280433" y="1632590"/>
                  </a:cubicBezTo>
                  <a:cubicBezTo>
                    <a:pt x="9280433" y="1669101"/>
                    <a:pt x="9273737" y="1696962"/>
                    <a:pt x="9260347" y="1716169"/>
                  </a:cubicBezTo>
                  <a:cubicBezTo>
                    <a:pt x="9246956" y="1735377"/>
                    <a:pt x="9228224" y="1744982"/>
                    <a:pt x="9204150" y="1744982"/>
                  </a:cubicBezTo>
                  <a:cubicBezTo>
                    <a:pt x="9181682" y="1744982"/>
                    <a:pt x="9164153" y="1735804"/>
                    <a:pt x="9151565" y="1717449"/>
                  </a:cubicBezTo>
                  <a:cubicBezTo>
                    <a:pt x="9138976" y="1699092"/>
                    <a:pt x="9132682" y="1672561"/>
                    <a:pt x="9132682" y="1637857"/>
                  </a:cubicBezTo>
                  <a:cubicBezTo>
                    <a:pt x="9132682" y="1599739"/>
                    <a:pt x="9139252" y="1570902"/>
                    <a:pt x="9152392" y="1551343"/>
                  </a:cubicBezTo>
                  <a:cubicBezTo>
                    <a:pt x="9165533" y="1531782"/>
                    <a:pt x="9184490" y="1522002"/>
                    <a:pt x="9209266" y="1522002"/>
                  </a:cubicBezTo>
                  <a:close/>
                  <a:moveTo>
                    <a:pt x="8988343" y="1522002"/>
                  </a:moveTo>
                  <a:cubicBezTo>
                    <a:pt x="9035787" y="1522002"/>
                    <a:pt x="9059510" y="1558865"/>
                    <a:pt x="9059510" y="1632590"/>
                  </a:cubicBezTo>
                  <a:cubicBezTo>
                    <a:pt x="9059510" y="1669101"/>
                    <a:pt x="9052814" y="1696962"/>
                    <a:pt x="9039424" y="1716169"/>
                  </a:cubicBezTo>
                  <a:cubicBezTo>
                    <a:pt x="9026033" y="1735377"/>
                    <a:pt x="9007301" y="1744982"/>
                    <a:pt x="8983227" y="1744982"/>
                  </a:cubicBezTo>
                  <a:cubicBezTo>
                    <a:pt x="8960759" y="1744982"/>
                    <a:pt x="8943230" y="1735804"/>
                    <a:pt x="8930642" y="1717449"/>
                  </a:cubicBezTo>
                  <a:cubicBezTo>
                    <a:pt x="8918053" y="1699092"/>
                    <a:pt x="8911759" y="1672561"/>
                    <a:pt x="8911759" y="1637857"/>
                  </a:cubicBezTo>
                  <a:cubicBezTo>
                    <a:pt x="8911759" y="1599739"/>
                    <a:pt x="8918329" y="1570902"/>
                    <a:pt x="8931469" y="1551343"/>
                  </a:cubicBezTo>
                  <a:cubicBezTo>
                    <a:pt x="8944610" y="1531782"/>
                    <a:pt x="8963567" y="1522002"/>
                    <a:pt x="8988343" y="1522002"/>
                  </a:cubicBezTo>
                  <a:close/>
                  <a:moveTo>
                    <a:pt x="4035797" y="1522002"/>
                  </a:moveTo>
                  <a:cubicBezTo>
                    <a:pt x="4083241" y="1522002"/>
                    <a:pt x="4106964" y="1558865"/>
                    <a:pt x="4106964" y="1632590"/>
                  </a:cubicBezTo>
                  <a:cubicBezTo>
                    <a:pt x="4106964" y="1669101"/>
                    <a:pt x="4100269" y="1696962"/>
                    <a:pt x="4086878" y="1716169"/>
                  </a:cubicBezTo>
                  <a:cubicBezTo>
                    <a:pt x="4073487" y="1735377"/>
                    <a:pt x="4054756" y="1744982"/>
                    <a:pt x="4030681" y="1744982"/>
                  </a:cubicBezTo>
                  <a:cubicBezTo>
                    <a:pt x="4008213" y="1744982"/>
                    <a:pt x="3990684" y="1735804"/>
                    <a:pt x="3978096" y="1717449"/>
                  </a:cubicBezTo>
                  <a:cubicBezTo>
                    <a:pt x="3965507" y="1699092"/>
                    <a:pt x="3959213" y="1672561"/>
                    <a:pt x="3959213" y="1637857"/>
                  </a:cubicBezTo>
                  <a:cubicBezTo>
                    <a:pt x="3959213" y="1599739"/>
                    <a:pt x="3965783" y="1570902"/>
                    <a:pt x="3978923" y="1551343"/>
                  </a:cubicBezTo>
                  <a:cubicBezTo>
                    <a:pt x="3992064" y="1531782"/>
                    <a:pt x="4011022" y="1522002"/>
                    <a:pt x="4035797" y="1522002"/>
                  </a:cubicBezTo>
                  <a:close/>
                  <a:moveTo>
                    <a:pt x="3814874" y="1522002"/>
                  </a:moveTo>
                  <a:cubicBezTo>
                    <a:pt x="3862319" y="1522002"/>
                    <a:pt x="3886042" y="1558865"/>
                    <a:pt x="3886042" y="1632590"/>
                  </a:cubicBezTo>
                  <a:cubicBezTo>
                    <a:pt x="3886042" y="1669101"/>
                    <a:pt x="3879346" y="1696962"/>
                    <a:pt x="3865955" y="1716169"/>
                  </a:cubicBezTo>
                  <a:cubicBezTo>
                    <a:pt x="3852564" y="1735377"/>
                    <a:pt x="3833832" y="1744982"/>
                    <a:pt x="3809758" y="1744982"/>
                  </a:cubicBezTo>
                  <a:cubicBezTo>
                    <a:pt x="3787290" y="1744982"/>
                    <a:pt x="3769761" y="1735804"/>
                    <a:pt x="3757173" y="1717449"/>
                  </a:cubicBezTo>
                  <a:cubicBezTo>
                    <a:pt x="3744584" y="1699092"/>
                    <a:pt x="3738290" y="1672561"/>
                    <a:pt x="3738290" y="1637857"/>
                  </a:cubicBezTo>
                  <a:cubicBezTo>
                    <a:pt x="3738290" y="1599739"/>
                    <a:pt x="3744860" y="1570902"/>
                    <a:pt x="3758000" y="1551343"/>
                  </a:cubicBezTo>
                  <a:cubicBezTo>
                    <a:pt x="3771141" y="1531782"/>
                    <a:pt x="3790098" y="1522002"/>
                    <a:pt x="3814874" y="1522002"/>
                  </a:cubicBezTo>
                  <a:close/>
                  <a:moveTo>
                    <a:pt x="3153215" y="1522002"/>
                  </a:moveTo>
                  <a:cubicBezTo>
                    <a:pt x="3200659" y="1522002"/>
                    <a:pt x="3224382" y="1558865"/>
                    <a:pt x="3224382" y="1632590"/>
                  </a:cubicBezTo>
                  <a:cubicBezTo>
                    <a:pt x="3224382" y="1669101"/>
                    <a:pt x="3217686" y="1696962"/>
                    <a:pt x="3204295" y="1716169"/>
                  </a:cubicBezTo>
                  <a:cubicBezTo>
                    <a:pt x="3190904" y="1735377"/>
                    <a:pt x="3172172" y="1744982"/>
                    <a:pt x="3148098" y="1744982"/>
                  </a:cubicBezTo>
                  <a:cubicBezTo>
                    <a:pt x="3125631" y="1744982"/>
                    <a:pt x="3108101" y="1735804"/>
                    <a:pt x="3095513" y="1717449"/>
                  </a:cubicBezTo>
                  <a:cubicBezTo>
                    <a:pt x="3082924" y="1699092"/>
                    <a:pt x="3076630" y="1672561"/>
                    <a:pt x="3076630" y="1637857"/>
                  </a:cubicBezTo>
                  <a:cubicBezTo>
                    <a:pt x="3076630" y="1599739"/>
                    <a:pt x="3083200" y="1570902"/>
                    <a:pt x="3096340" y="1551343"/>
                  </a:cubicBezTo>
                  <a:cubicBezTo>
                    <a:pt x="3109481" y="1531782"/>
                    <a:pt x="3128439" y="1522002"/>
                    <a:pt x="3153215" y="1522002"/>
                  </a:cubicBezTo>
                  <a:close/>
                  <a:moveTo>
                    <a:pt x="2932291" y="1522002"/>
                  </a:moveTo>
                  <a:cubicBezTo>
                    <a:pt x="2979736" y="1522002"/>
                    <a:pt x="3003458" y="1558865"/>
                    <a:pt x="3003458" y="1632590"/>
                  </a:cubicBezTo>
                  <a:cubicBezTo>
                    <a:pt x="3003458" y="1669101"/>
                    <a:pt x="2996763" y="1696962"/>
                    <a:pt x="2983372" y="1716169"/>
                  </a:cubicBezTo>
                  <a:cubicBezTo>
                    <a:pt x="2969981" y="1735377"/>
                    <a:pt x="2951249" y="1744982"/>
                    <a:pt x="2927176" y="1744982"/>
                  </a:cubicBezTo>
                  <a:cubicBezTo>
                    <a:pt x="2904707" y="1744982"/>
                    <a:pt x="2887178" y="1735804"/>
                    <a:pt x="2874590" y="1717449"/>
                  </a:cubicBezTo>
                  <a:cubicBezTo>
                    <a:pt x="2862001" y="1699092"/>
                    <a:pt x="2855708" y="1672561"/>
                    <a:pt x="2855708" y="1637857"/>
                  </a:cubicBezTo>
                  <a:cubicBezTo>
                    <a:pt x="2855708" y="1599739"/>
                    <a:pt x="2862277" y="1570902"/>
                    <a:pt x="2875417" y="1551343"/>
                  </a:cubicBezTo>
                  <a:cubicBezTo>
                    <a:pt x="2888558" y="1531782"/>
                    <a:pt x="2907515" y="1522002"/>
                    <a:pt x="2932291" y="1522002"/>
                  </a:cubicBezTo>
                  <a:close/>
                  <a:moveTo>
                    <a:pt x="111672" y="1522002"/>
                  </a:moveTo>
                  <a:lnTo>
                    <a:pt x="126579" y="1522002"/>
                  </a:lnTo>
                  <a:lnTo>
                    <a:pt x="126579" y="1744982"/>
                  </a:lnTo>
                  <a:lnTo>
                    <a:pt x="91291" y="1744982"/>
                  </a:lnTo>
                  <a:lnTo>
                    <a:pt x="91291" y="1565199"/>
                  </a:lnTo>
                  <a:cubicBezTo>
                    <a:pt x="84903" y="1569763"/>
                    <a:pt x="78033" y="1573641"/>
                    <a:pt x="70681" y="1576835"/>
                  </a:cubicBezTo>
                  <a:cubicBezTo>
                    <a:pt x="63330" y="1580030"/>
                    <a:pt x="54939" y="1582842"/>
                    <a:pt x="45509" y="1585277"/>
                  </a:cubicBezTo>
                  <a:lnTo>
                    <a:pt x="45509" y="1555160"/>
                  </a:lnTo>
                  <a:cubicBezTo>
                    <a:pt x="51390" y="1553235"/>
                    <a:pt x="57068" y="1551206"/>
                    <a:pt x="62544" y="1549076"/>
                  </a:cubicBezTo>
                  <a:cubicBezTo>
                    <a:pt x="68019" y="1546948"/>
                    <a:pt x="73419" y="1544565"/>
                    <a:pt x="78743" y="1541927"/>
                  </a:cubicBezTo>
                  <a:cubicBezTo>
                    <a:pt x="84066" y="1539291"/>
                    <a:pt x="89441" y="1536350"/>
                    <a:pt x="94865" y="1533105"/>
                  </a:cubicBezTo>
                  <a:cubicBezTo>
                    <a:pt x="100291" y="1529861"/>
                    <a:pt x="105893" y="1526160"/>
                    <a:pt x="111672" y="1522002"/>
                  </a:cubicBezTo>
                  <a:close/>
                  <a:moveTo>
                    <a:pt x="9137689" y="1236534"/>
                  </a:moveTo>
                  <a:cubicBezTo>
                    <a:pt x="9111509" y="1236534"/>
                    <a:pt x="9098419" y="1265372"/>
                    <a:pt x="9098419" y="1323048"/>
                  </a:cubicBezTo>
                  <a:cubicBezTo>
                    <a:pt x="9098419" y="1377012"/>
                    <a:pt x="9111258" y="1403995"/>
                    <a:pt x="9136937" y="1403995"/>
                  </a:cubicBezTo>
                  <a:cubicBezTo>
                    <a:pt x="9162213" y="1403995"/>
                    <a:pt x="9174852" y="1376561"/>
                    <a:pt x="9174852" y="1321695"/>
                  </a:cubicBezTo>
                  <a:cubicBezTo>
                    <a:pt x="9174852" y="1264921"/>
                    <a:pt x="9162464" y="1236534"/>
                    <a:pt x="9137689" y="1236534"/>
                  </a:cubicBezTo>
                  <a:close/>
                  <a:moveTo>
                    <a:pt x="8795932" y="1236534"/>
                  </a:moveTo>
                  <a:cubicBezTo>
                    <a:pt x="8769752" y="1236534"/>
                    <a:pt x="8756662" y="1265372"/>
                    <a:pt x="8756662" y="1323048"/>
                  </a:cubicBezTo>
                  <a:cubicBezTo>
                    <a:pt x="8756662" y="1377012"/>
                    <a:pt x="8769501" y="1403995"/>
                    <a:pt x="8795180" y="1403995"/>
                  </a:cubicBezTo>
                  <a:cubicBezTo>
                    <a:pt x="8820456" y="1403995"/>
                    <a:pt x="8833095" y="1376561"/>
                    <a:pt x="8833095" y="1321695"/>
                  </a:cubicBezTo>
                  <a:cubicBezTo>
                    <a:pt x="8833095" y="1264921"/>
                    <a:pt x="8820707" y="1236534"/>
                    <a:pt x="8795932" y="1236534"/>
                  </a:cubicBezTo>
                  <a:close/>
                  <a:moveTo>
                    <a:pt x="8094530" y="1236534"/>
                  </a:moveTo>
                  <a:cubicBezTo>
                    <a:pt x="8068350" y="1236534"/>
                    <a:pt x="8055260" y="1265372"/>
                    <a:pt x="8055260" y="1323048"/>
                  </a:cubicBezTo>
                  <a:cubicBezTo>
                    <a:pt x="8055260" y="1377012"/>
                    <a:pt x="8068099" y="1403995"/>
                    <a:pt x="8093778" y="1403995"/>
                  </a:cubicBezTo>
                  <a:cubicBezTo>
                    <a:pt x="8119055" y="1403995"/>
                    <a:pt x="8131693" y="1376561"/>
                    <a:pt x="8131693" y="1321695"/>
                  </a:cubicBezTo>
                  <a:cubicBezTo>
                    <a:pt x="8131693" y="1264921"/>
                    <a:pt x="8119305" y="1236534"/>
                    <a:pt x="8094530" y="1236534"/>
                  </a:cubicBezTo>
                  <a:close/>
                  <a:moveTo>
                    <a:pt x="6836041" y="1236534"/>
                  </a:moveTo>
                  <a:cubicBezTo>
                    <a:pt x="6809861" y="1236534"/>
                    <a:pt x="6796771" y="1265372"/>
                    <a:pt x="6796771" y="1323048"/>
                  </a:cubicBezTo>
                  <a:cubicBezTo>
                    <a:pt x="6796771" y="1377012"/>
                    <a:pt x="6809610" y="1403995"/>
                    <a:pt x="6835289" y="1403995"/>
                  </a:cubicBezTo>
                  <a:cubicBezTo>
                    <a:pt x="6860566" y="1403995"/>
                    <a:pt x="6873204" y="1376561"/>
                    <a:pt x="6873204" y="1321695"/>
                  </a:cubicBezTo>
                  <a:cubicBezTo>
                    <a:pt x="6873204" y="1264921"/>
                    <a:pt x="6860816" y="1236534"/>
                    <a:pt x="6836041" y="1236534"/>
                  </a:cubicBezTo>
                  <a:close/>
                  <a:moveTo>
                    <a:pt x="6622947" y="1236534"/>
                  </a:moveTo>
                  <a:cubicBezTo>
                    <a:pt x="6596767" y="1236534"/>
                    <a:pt x="6583677" y="1265372"/>
                    <a:pt x="6583677" y="1323048"/>
                  </a:cubicBezTo>
                  <a:cubicBezTo>
                    <a:pt x="6583677" y="1377012"/>
                    <a:pt x="6596516" y="1403995"/>
                    <a:pt x="6622195" y="1403995"/>
                  </a:cubicBezTo>
                  <a:cubicBezTo>
                    <a:pt x="6647472" y="1403995"/>
                    <a:pt x="6660110" y="1376561"/>
                    <a:pt x="6660110" y="1321695"/>
                  </a:cubicBezTo>
                  <a:cubicBezTo>
                    <a:pt x="6660110" y="1264921"/>
                    <a:pt x="6647722" y="1236534"/>
                    <a:pt x="6622947" y="1236534"/>
                  </a:cubicBezTo>
                  <a:close/>
                  <a:moveTo>
                    <a:pt x="3077272" y="1236534"/>
                  </a:moveTo>
                  <a:cubicBezTo>
                    <a:pt x="3051092" y="1236534"/>
                    <a:pt x="3038002" y="1265372"/>
                    <a:pt x="3038002" y="1323048"/>
                  </a:cubicBezTo>
                  <a:cubicBezTo>
                    <a:pt x="3038002" y="1377012"/>
                    <a:pt x="3050841" y="1403995"/>
                    <a:pt x="3076520" y="1403995"/>
                  </a:cubicBezTo>
                  <a:cubicBezTo>
                    <a:pt x="3101797" y="1403995"/>
                    <a:pt x="3114435" y="1376561"/>
                    <a:pt x="3114435" y="1321695"/>
                  </a:cubicBezTo>
                  <a:cubicBezTo>
                    <a:pt x="3114435" y="1264921"/>
                    <a:pt x="3102047" y="1236534"/>
                    <a:pt x="3077272" y="1236534"/>
                  </a:cubicBezTo>
                  <a:close/>
                  <a:moveTo>
                    <a:pt x="2730469" y="1236534"/>
                  </a:moveTo>
                  <a:cubicBezTo>
                    <a:pt x="2704289" y="1236534"/>
                    <a:pt x="2691199" y="1265372"/>
                    <a:pt x="2691199" y="1323048"/>
                  </a:cubicBezTo>
                  <a:cubicBezTo>
                    <a:pt x="2691199" y="1377012"/>
                    <a:pt x="2704038" y="1403995"/>
                    <a:pt x="2729717" y="1403995"/>
                  </a:cubicBezTo>
                  <a:cubicBezTo>
                    <a:pt x="2754994" y="1403995"/>
                    <a:pt x="2767632" y="1376561"/>
                    <a:pt x="2767632" y="1321695"/>
                  </a:cubicBezTo>
                  <a:cubicBezTo>
                    <a:pt x="2767632" y="1264921"/>
                    <a:pt x="2755244" y="1236534"/>
                    <a:pt x="2730469" y="1236534"/>
                  </a:cubicBezTo>
                  <a:close/>
                  <a:moveTo>
                    <a:pt x="2039104" y="1236534"/>
                  </a:moveTo>
                  <a:cubicBezTo>
                    <a:pt x="2012924" y="1236534"/>
                    <a:pt x="1999834" y="1265372"/>
                    <a:pt x="1999834" y="1323048"/>
                  </a:cubicBezTo>
                  <a:cubicBezTo>
                    <a:pt x="1999834" y="1377012"/>
                    <a:pt x="2012673" y="1403995"/>
                    <a:pt x="2038352" y="1403995"/>
                  </a:cubicBezTo>
                  <a:cubicBezTo>
                    <a:pt x="2063629" y="1403995"/>
                    <a:pt x="2076267" y="1376561"/>
                    <a:pt x="2076267" y="1321695"/>
                  </a:cubicBezTo>
                  <a:cubicBezTo>
                    <a:pt x="2076267" y="1264921"/>
                    <a:pt x="2063879" y="1236534"/>
                    <a:pt x="2039104" y="1236534"/>
                  </a:cubicBezTo>
                  <a:close/>
                  <a:moveTo>
                    <a:pt x="783897" y="1236534"/>
                  </a:moveTo>
                  <a:cubicBezTo>
                    <a:pt x="757717" y="1236534"/>
                    <a:pt x="744627" y="1265372"/>
                    <a:pt x="744627" y="1323048"/>
                  </a:cubicBezTo>
                  <a:cubicBezTo>
                    <a:pt x="744627" y="1377012"/>
                    <a:pt x="757466" y="1403995"/>
                    <a:pt x="783145" y="1403995"/>
                  </a:cubicBezTo>
                  <a:cubicBezTo>
                    <a:pt x="808422" y="1403995"/>
                    <a:pt x="821060" y="1376561"/>
                    <a:pt x="821060" y="1321695"/>
                  </a:cubicBezTo>
                  <a:cubicBezTo>
                    <a:pt x="821060" y="1264921"/>
                    <a:pt x="808672" y="1236534"/>
                    <a:pt x="783897" y="1236534"/>
                  </a:cubicBezTo>
                  <a:close/>
                  <a:moveTo>
                    <a:pt x="563297" y="1236534"/>
                  </a:moveTo>
                  <a:cubicBezTo>
                    <a:pt x="537117" y="1236534"/>
                    <a:pt x="524027" y="1265372"/>
                    <a:pt x="524027" y="1323048"/>
                  </a:cubicBezTo>
                  <a:cubicBezTo>
                    <a:pt x="524027" y="1377012"/>
                    <a:pt x="536866" y="1403995"/>
                    <a:pt x="562545" y="1403995"/>
                  </a:cubicBezTo>
                  <a:cubicBezTo>
                    <a:pt x="587822" y="1403995"/>
                    <a:pt x="600460" y="1376561"/>
                    <a:pt x="600460" y="1321695"/>
                  </a:cubicBezTo>
                  <a:cubicBezTo>
                    <a:pt x="600460" y="1264921"/>
                    <a:pt x="588072" y="1236534"/>
                    <a:pt x="563297" y="1236534"/>
                  </a:cubicBezTo>
                  <a:close/>
                  <a:moveTo>
                    <a:pt x="12042385" y="1208700"/>
                  </a:moveTo>
                  <a:lnTo>
                    <a:pt x="12057291" y="1208700"/>
                  </a:lnTo>
                  <a:lnTo>
                    <a:pt x="12057291" y="1431679"/>
                  </a:lnTo>
                  <a:lnTo>
                    <a:pt x="12022003" y="1431679"/>
                  </a:lnTo>
                  <a:lnTo>
                    <a:pt x="12022003" y="1251896"/>
                  </a:lnTo>
                  <a:cubicBezTo>
                    <a:pt x="12015615" y="1256459"/>
                    <a:pt x="12008745" y="1260337"/>
                    <a:pt x="12001394" y="1263531"/>
                  </a:cubicBezTo>
                  <a:cubicBezTo>
                    <a:pt x="11994042" y="1266726"/>
                    <a:pt x="11985651" y="1269539"/>
                    <a:pt x="11976221" y="1271973"/>
                  </a:cubicBezTo>
                  <a:lnTo>
                    <a:pt x="11976221" y="1241857"/>
                  </a:lnTo>
                  <a:cubicBezTo>
                    <a:pt x="11982102" y="1239931"/>
                    <a:pt x="11987781" y="1237902"/>
                    <a:pt x="11993256" y="1235773"/>
                  </a:cubicBezTo>
                  <a:cubicBezTo>
                    <a:pt x="11998732" y="1233645"/>
                    <a:pt x="12004132" y="1231262"/>
                    <a:pt x="12009455" y="1228624"/>
                  </a:cubicBezTo>
                  <a:cubicBezTo>
                    <a:pt x="12014779" y="1225988"/>
                    <a:pt x="12020153" y="1223048"/>
                    <a:pt x="12025578" y="1219803"/>
                  </a:cubicBezTo>
                  <a:cubicBezTo>
                    <a:pt x="12031003" y="1216559"/>
                    <a:pt x="12036605" y="1212856"/>
                    <a:pt x="12042385" y="1208700"/>
                  </a:cubicBezTo>
                  <a:close/>
                  <a:moveTo>
                    <a:pt x="11669820" y="1208700"/>
                  </a:moveTo>
                  <a:lnTo>
                    <a:pt x="11684726" y="1208700"/>
                  </a:lnTo>
                  <a:lnTo>
                    <a:pt x="11684726" y="1431679"/>
                  </a:lnTo>
                  <a:lnTo>
                    <a:pt x="11649438" y="1431679"/>
                  </a:lnTo>
                  <a:lnTo>
                    <a:pt x="11649438" y="1251896"/>
                  </a:lnTo>
                  <a:cubicBezTo>
                    <a:pt x="11643050" y="1256459"/>
                    <a:pt x="11636180" y="1260337"/>
                    <a:pt x="11628829" y="1263531"/>
                  </a:cubicBezTo>
                  <a:cubicBezTo>
                    <a:pt x="11621477" y="1266726"/>
                    <a:pt x="11613086" y="1269539"/>
                    <a:pt x="11603656" y="1271973"/>
                  </a:cubicBezTo>
                  <a:lnTo>
                    <a:pt x="11603656" y="1241857"/>
                  </a:lnTo>
                  <a:cubicBezTo>
                    <a:pt x="11609537" y="1239931"/>
                    <a:pt x="11615216" y="1237902"/>
                    <a:pt x="11620691" y="1235773"/>
                  </a:cubicBezTo>
                  <a:cubicBezTo>
                    <a:pt x="11626167" y="1233645"/>
                    <a:pt x="11631567" y="1231262"/>
                    <a:pt x="11636890" y="1228624"/>
                  </a:cubicBezTo>
                  <a:cubicBezTo>
                    <a:pt x="11642214" y="1225988"/>
                    <a:pt x="11647588" y="1223048"/>
                    <a:pt x="11653013" y="1219803"/>
                  </a:cubicBezTo>
                  <a:cubicBezTo>
                    <a:pt x="11658438" y="1216559"/>
                    <a:pt x="11664040" y="1212856"/>
                    <a:pt x="11669820" y="1208700"/>
                  </a:cubicBezTo>
                  <a:close/>
                  <a:moveTo>
                    <a:pt x="11519847" y="1208700"/>
                  </a:moveTo>
                  <a:lnTo>
                    <a:pt x="11534753" y="1208700"/>
                  </a:lnTo>
                  <a:lnTo>
                    <a:pt x="11534753" y="1431679"/>
                  </a:lnTo>
                  <a:lnTo>
                    <a:pt x="11499465" y="1431679"/>
                  </a:lnTo>
                  <a:lnTo>
                    <a:pt x="11499465" y="1251896"/>
                  </a:lnTo>
                  <a:cubicBezTo>
                    <a:pt x="11493077" y="1256459"/>
                    <a:pt x="11486207" y="1260337"/>
                    <a:pt x="11478856" y="1263531"/>
                  </a:cubicBezTo>
                  <a:cubicBezTo>
                    <a:pt x="11471504" y="1266726"/>
                    <a:pt x="11463113" y="1269539"/>
                    <a:pt x="11453683" y="1271973"/>
                  </a:cubicBezTo>
                  <a:lnTo>
                    <a:pt x="11453683" y="1241857"/>
                  </a:lnTo>
                  <a:cubicBezTo>
                    <a:pt x="11459564" y="1239931"/>
                    <a:pt x="11465243" y="1237902"/>
                    <a:pt x="11470718" y="1235773"/>
                  </a:cubicBezTo>
                  <a:cubicBezTo>
                    <a:pt x="11476194" y="1233645"/>
                    <a:pt x="11481594" y="1231262"/>
                    <a:pt x="11486917" y="1228624"/>
                  </a:cubicBezTo>
                  <a:cubicBezTo>
                    <a:pt x="11492241" y="1225988"/>
                    <a:pt x="11497615" y="1223048"/>
                    <a:pt x="11503040" y="1219803"/>
                  </a:cubicBezTo>
                  <a:cubicBezTo>
                    <a:pt x="11508465" y="1216559"/>
                    <a:pt x="11514067" y="1212856"/>
                    <a:pt x="11519847" y="1208700"/>
                  </a:cubicBezTo>
                  <a:close/>
                  <a:moveTo>
                    <a:pt x="11369874" y="1208700"/>
                  </a:moveTo>
                  <a:lnTo>
                    <a:pt x="11384780" y="1208700"/>
                  </a:lnTo>
                  <a:lnTo>
                    <a:pt x="11384780" y="1431679"/>
                  </a:lnTo>
                  <a:lnTo>
                    <a:pt x="11349492" y="1431679"/>
                  </a:lnTo>
                  <a:lnTo>
                    <a:pt x="11349492" y="1251896"/>
                  </a:lnTo>
                  <a:cubicBezTo>
                    <a:pt x="11343104" y="1256459"/>
                    <a:pt x="11336234" y="1260337"/>
                    <a:pt x="11328883" y="1263531"/>
                  </a:cubicBezTo>
                  <a:cubicBezTo>
                    <a:pt x="11321531" y="1266726"/>
                    <a:pt x="11313140" y="1269539"/>
                    <a:pt x="11303710" y="1271973"/>
                  </a:cubicBezTo>
                  <a:lnTo>
                    <a:pt x="11303710" y="1241857"/>
                  </a:lnTo>
                  <a:cubicBezTo>
                    <a:pt x="11309591" y="1239931"/>
                    <a:pt x="11315270" y="1237902"/>
                    <a:pt x="11320745" y="1235773"/>
                  </a:cubicBezTo>
                  <a:cubicBezTo>
                    <a:pt x="11326221" y="1233645"/>
                    <a:pt x="11331621" y="1231262"/>
                    <a:pt x="11336944" y="1228624"/>
                  </a:cubicBezTo>
                  <a:cubicBezTo>
                    <a:pt x="11342268" y="1225988"/>
                    <a:pt x="11347642" y="1223048"/>
                    <a:pt x="11353067" y="1219803"/>
                  </a:cubicBezTo>
                  <a:cubicBezTo>
                    <a:pt x="11358492" y="1216559"/>
                    <a:pt x="11364094" y="1212856"/>
                    <a:pt x="11369874" y="1208700"/>
                  </a:cubicBezTo>
                  <a:close/>
                  <a:moveTo>
                    <a:pt x="10626916" y="1208700"/>
                  </a:moveTo>
                  <a:lnTo>
                    <a:pt x="10641822" y="1208700"/>
                  </a:lnTo>
                  <a:lnTo>
                    <a:pt x="10641822" y="1431679"/>
                  </a:lnTo>
                  <a:lnTo>
                    <a:pt x="10606534" y="1431679"/>
                  </a:lnTo>
                  <a:lnTo>
                    <a:pt x="10606534" y="1251896"/>
                  </a:lnTo>
                  <a:cubicBezTo>
                    <a:pt x="10600146" y="1256459"/>
                    <a:pt x="10593276" y="1260337"/>
                    <a:pt x="10585925" y="1263531"/>
                  </a:cubicBezTo>
                  <a:cubicBezTo>
                    <a:pt x="10578573" y="1266726"/>
                    <a:pt x="10570182" y="1269539"/>
                    <a:pt x="10560752" y="1271973"/>
                  </a:cubicBezTo>
                  <a:lnTo>
                    <a:pt x="10560752" y="1241857"/>
                  </a:lnTo>
                  <a:cubicBezTo>
                    <a:pt x="10566633" y="1239931"/>
                    <a:pt x="10572312" y="1237902"/>
                    <a:pt x="10577787" y="1235773"/>
                  </a:cubicBezTo>
                  <a:cubicBezTo>
                    <a:pt x="10583263" y="1233645"/>
                    <a:pt x="10588663" y="1231262"/>
                    <a:pt x="10593986" y="1228624"/>
                  </a:cubicBezTo>
                  <a:cubicBezTo>
                    <a:pt x="10599310" y="1225988"/>
                    <a:pt x="10604684" y="1223048"/>
                    <a:pt x="10610109" y="1219803"/>
                  </a:cubicBezTo>
                  <a:cubicBezTo>
                    <a:pt x="10615534" y="1216559"/>
                    <a:pt x="10621136" y="1212856"/>
                    <a:pt x="10626916" y="1208700"/>
                  </a:cubicBezTo>
                  <a:close/>
                  <a:moveTo>
                    <a:pt x="10475787" y="1208700"/>
                  </a:moveTo>
                  <a:lnTo>
                    <a:pt x="10490693" y="1208700"/>
                  </a:lnTo>
                  <a:lnTo>
                    <a:pt x="10490693" y="1431679"/>
                  </a:lnTo>
                  <a:lnTo>
                    <a:pt x="10455405" y="1431679"/>
                  </a:lnTo>
                  <a:lnTo>
                    <a:pt x="10455405" y="1251896"/>
                  </a:lnTo>
                  <a:cubicBezTo>
                    <a:pt x="10449017" y="1256459"/>
                    <a:pt x="10442147" y="1260337"/>
                    <a:pt x="10434796" y="1263531"/>
                  </a:cubicBezTo>
                  <a:cubicBezTo>
                    <a:pt x="10427444" y="1266726"/>
                    <a:pt x="10419053" y="1269539"/>
                    <a:pt x="10409623" y="1271973"/>
                  </a:cubicBezTo>
                  <a:lnTo>
                    <a:pt x="10409623" y="1241857"/>
                  </a:lnTo>
                  <a:cubicBezTo>
                    <a:pt x="10415504" y="1239931"/>
                    <a:pt x="10421183" y="1237902"/>
                    <a:pt x="10426658" y="1235773"/>
                  </a:cubicBezTo>
                  <a:cubicBezTo>
                    <a:pt x="10432134" y="1233645"/>
                    <a:pt x="10437534" y="1231262"/>
                    <a:pt x="10442857" y="1228624"/>
                  </a:cubicBezTo>
                  <a:cubicBezTo>
                    <a:pt x="10448181" y="1225988"/>
                    <a:pt x="10453555" y="1223048"/>
                    <a:pt x="10458980" y="1219803"/>
                  </a:cubicBezTo>
                  <a:cubicBezTo>
                    <a:pt x="10464405" y="1216559"/>
                    <a:pt x="10470007" y="1212856"/>
                    <a:pt x="10475787" y="1208700"/>
                  </a:cubicBezTo>
                  <a:close/>
                  <a:moveTo>
                    <a:pt x="10175840" y="1208700"/>
                  </a:moveTo>
                  <a:lnTo>
                    <a:pt x="10190746" y="1208700"/>
                  </a:lnTo>
                  <a:lnTo>
                    <a:pt x="10190746" y="1431679"/>
                  </a:lnTo>
                  <a:lnTo>
                    <a:pt x="10155458" y="1431679"/>
                  </a:lnTo>
                  <a:lnTo>
                    <a:pt x="10155458" y="1251896"/>
                  </a:lnTo>
                  <a:cubicBezTo>
                    <a:pt x="10149070" y="1256459"/>
                    <a:pt x="10142200" y="1260337"/>
                    <a:pt x="10134849" y="1263531"/>
                  </a:cubicBezTo>
                  <a:cubicBezTo>
                    <a:pt x="10127497" y="1266726"/>
                    <a:pt x="10119106" y="1269539"/>
                    <a:pt x="10109676" y="1271973"/>
                  </a:cubicBezTo>
                  <a:lnTo>
                    <a:pt x="10109676" y="1241857"/>
                  </a:lnTo>
                  <a:cubicBezTo>
                    <a:pt x="10115557" y="1239931"/>
                    <a:pt x="10121236" y="1237902"/>
                    <a:pt x="10126711" y="1235773"/>
                  </a:cubicBezTo>
                  <a:cubicBezTo>
                    <a:pt x="10132187" y="1233645"/>
                    <a:pt x="10137587" y="1231262"/>
                    <a:pt x="10142910" y="1228624"/>
                  </a:cubicBezTo>
                  <a:cubicBezTo>
                    <a:pt x="10148234" y="1225988"/>
                    <a:pt x="10153608" y="1223048"/>
                    <a:pt x="10159033" y="1219803"/>
                  </a:cubicBezTo>
                  <a:cubicBezTo>
                    <a:pt x="10164458" y="1216559"/>
                    <a:pt x="10170060" y="1212856"/>
                    <a:pt x="10175840" y="1208700"/>
                  </a:cubicBezTo>
                  <a:close/>
                  <a:moveTo>
                    <a:pt x="9790812" y="1208700"/>
                  </a:moveTo>
                  <a:lnTo>
                    <a:pt x="9805718" y="1208700"/>
                  </a:lnTo>
                  <a:lnTo>
                    <a:pt x="9805718" y="1431679"/>
                  </a:lnTo>
                  <a:lnTo>
                    <a:pt x="9770430" y="1431679"/>
                  </a:lnTo>
                  <a:lnTo>
                    <a:pt x="9770430" y="1251896"/>
                  </a:lnTo>
                  <a:cubicBezTo>
                    <a:pt x="9764042" y="1256459"/>
                    <a:pt x="9757172" y="1260337"/>
                    <a:pt x="9749821" y="1263531"/>
                  </a:cubicBezTo>
                  <a:cubicBezTo>
                    <a:pt x="9742469" y="1266726"/>
                    <a:pt x="9734078" y="1269539"/>
                    <a:pt x="9724648" y="1271973"/>
                  </a:cubicBezTo>
                  <a:lnTo>
                    <a:pt x="9724648" y="1241857"/>
                  </a:lnTo>
                  <a:cubicBezTo>
                    <a:pt x="9730529" y="1239931"/>
                    <a:pt x="9736208" y="1237902"/>
                    <a:pt x="9741683" y="1235773"/>
                  </a:cubicBezTo>
                  <a:cubicBezTo>
                    <a:pt x="9747159" y="1233645"/>
                    <a:pt x="9752559" y="1231262"/>
                    <a:pt x="9757882" y="1228624"/>
                  </a:cubicBezTo>
                  <a:cubicBezTo>
                    <a:pt x="9763206" y="1225988"/>
                    <a:pt x="9768580" y="1223048"/>
                    <a:pt x="9774005" y="1219803"/>
                  </a:cubicBezTo>
                  <a:cubicBezTo>
                    <a:pt x="9779430" y="1216559"/>
                    <a:pt x="9785032" y="1212856"/>
                    <a:pt x="9790812" y="1208700"/>
                  </a:cubicBezTo>
                  <a:close/>
                  <a:moveTo>
                    <a:pt x="9639683" y="1208700"/>
                  </a:moveTo>
                  <a:lnTo>
                    <a:pt x="9654589" y="1208700"/>
                  </a:lnTo>
                  <a:lnTo>
                    <a:pt x="9654589" y="1431679"/>
                  </a:lnTo>
                  <a:lnTo>
                    <a:pt x="9619301" y="1431679"/>
                  </a:lnTo>
                  <a:lnTo>
                    <a:pt x="9619301" y="1251896"/>
                  </a:lnTo>
                  <a:cubicBezTo>
                    <a:pt x="9612913" y="1256459"/>
                    <a:pt x="9606043" y="1260337"/>
                    <a:pt x="9598692" y="1263531"/>
                  </a:cubicBezTo>
                  <a:cubicBezTo>
                    <a:pt x="9591340" y="1266726"/>
                    <a:pt x="9582949" y="1269539"/>
                    <a:pt x="9573519" y="1271973"/>
                  </a:cubicBezTo>
                  <a:lnTo>
                    <a:pt x="9573519" y="1241857"/>
                  </a:lnTo>
                  <a:cubicBezTo>
                    <a:pt x="9579400" y="1239931"/>
                    <a:pt x="9585079" y="1237902"/>
                    <a:pt x="9590554" y="1235773"/>
                  </a:cubicBezTo>
                  <a:cubicBezTo>
                    <a:pt x="9596030" y="1233645"/>
                    <a:pt x="9601430" y="1231262"/>
                    <a:pt x="9606753" y="1228624"/>
                  </a:cubicBezTo>
                  <a:cubicBezTo>
                    <a:pt x="9612077" y="1225988"/>
                    <a:pt x="9617451" y="1223048"/>
                    <a:pt x="9622876" y="1219803"/>
                  </a:cubicBezTo>
                  <a:cubicBezTo>
                    <a:pt x="9628301" y="1216559"/>
                    <a:pt x="9633903" y="1212856"/>
                    <a:pt x="9639683" y="1208700"/>
                  </a:cubicBezTo>
                  <a:close/>
                  <a:moveTo>
                    <a:pt x="9489710" y="1208700"/>
                  </a:moveTo>
                  <a:lnTo>
                    <a:pt x="9504616" y="1208700"/>
                  </a:lnTo>
                  <a:lnTo>
                    <a:pt x="9504616" y="1431679"/>
                  </a:lnTo>
                  <a:lnTo>
                    <a:pt x="9469328" y="1431679"/>
                  </a:lnTo>
                  <a:lnTo>
                    <a:pt x="9469328" y="1251896"/>
                  </a:lnTo>
                  <a:cubicBezTo>
                    <a:pt x="9462940" y="1256459"/>
                    <a:pt x="9456070" y="1260337"/>
                    <a:pt x="9448719" y="1263531"/>
                  </a:cubicBezTo>
                  <a:cubicBezTo>
                    <a:pt x="9441367" y="1266726"/>
                    <a:pt x="9432976" y="1269539"/>
                    <a:pt x="9423546" y="1271973"/>
                  </a:cubicBezTo>
                  <a:lnTo>
                    <a:pt x="9423546" y="1241857"/>
                  </a:lnTo>
                  <a:cubicBezTo>
                    <a:pt x="9429427" y="1239931"/>
                    <a:pt x="9435106" y="1237902"/>
                    <a:pt x="9440581" y="1235773"/>
                  </a:cubicBezTo>
                  <a:cubicBezTo>
                    <a:pt x="9446057" y="1233645"/>
                    <a:pt x="9451457" y="1231262"/>
                    <a:pt x="9456780" y="1228624"/>
                  </a:cubicBezTo>
                  <a:cubicBezTo>
                    <a:pt x="9462104" y="1225988"/>
                    <a:pt x="9467478" y="1223048"/>
                    <a:pt x="9472903" y="1219803"/>
                  </a:cubicBezTo>
                  <a:cubicBezTo>
                    <a:pt x="9478328" y="1216559"/>
                    <a:pt x="9483930" y="1212856"/>
                    <a:pt x="9489710" y="1208700"/>
                  </a:cubicBezTo>
                  <a:close/>
                  <a:moveTo>
                    <a:pt x="9339737" y="1208700"/>
                  </a:moveTo>
                  <a:lnTo>
                    <a:pt x="9354643" y="1208700"/>
                  </a:lnTo>
                  <a:lnTo>
                    <a:pt x="9354643" y="1431679"/>
                  </a:lnTo>
                  <a:lnTo>
                    <a:pt x="9319355" y="1431679"/>
                  </a:lnTo>
                  <a:lnTo>
                    <a:pt x="9319355" y="1251896"/>
                  </a:lnTo>
                  <a:cubicBezTo>
                    <a:pt x="9312967" y="1256459"/>
                    <a:pt x="9306097" y="1260337"/>
                    <a:pt x="9298746" y="1263531"/>
                  </a:cubicBezTo>
                  <a:cubicBezTo>
                    <a:pt x="9291394" y="1266726"/>
                    <a:pt x="9283003" y="1269539"/>
                    <a:pt x="9273573" y="1271973"/>
                  </a:cubicBezTo>
                  <a:lnTo>
                    <a:pt x="9273573" y="1241857"/>
                  </a:lnTo>
                  <a:cubicBezTo>
                    <a:pt x="9279454" y="1239931"/>
                    <a:pt x="9285133" y="1237902"/>
                    <a:pt x="9290608" y="1235773"/>
                  </a:cubicBezTo>
                  <a:cubicBezTo>
                    <a:pt x="9296084" y="1233645"/>
                    <a:pt x="9301484" y="1231262"/>
                    <a:pt x="9306807" y="1228624"/>
                  </a:cubicBezTo>
                  <a:cubicBezTo>
                    <a:pt x="9312131" y="1225988"/>
                    <a:pt x="9317505" y="1223048"/>
                    <a:pt x="9322930" y="1219803"/>
                  </a:cubicBezTo>
                  <a:cubicBezTo>
                    <a:pt x="9328355" y="1216559"/>
                    <a:pt x="9333957" y="1212856"/>
                    <a:pt x="9339737" y="1208700"/>
                  </a:cubicBezTo>
                  <a:close/>
                  <a:moveTo>
                    <a:pt x="9139344" y="1208700"/>
                  </a:moveTo>
                  <a:cubicBezTo>
                    <a:pt x="9186788" y="1208700"/>
                    <a:pt x="9210511" y="1245562"/>
                    <a:pt x="9210511" y="1319287"/>
                  </a:cubicBezTo>
                  <a:cubicBezTo>
                    <a:pt x="9210511" y="1355798"/>
                    <a:pt x="9203815" y="1383658"/>
                    <a:pt x="9190425" y="1402866"/>
                  </a:cubicBezTo>
                  <a:cubicBezTo>
                    <a:pt x="9177034" y="1422074"/>
                    <a:pt x="9158302" y="1431679"/>
                    <a:pt x="9134228" y="1431679"/>
                  </a:cubicBezTo>
                  <a:cubicBezTo>
                    <a:pt x="9111760" y="1431679"/>
                    <a:pt x="9094231" y="1422501"/>
                    <a:pt x="9081643" y="1404145"/>
                  </a:cubicBezTo>
                  <a:cubicBezTo>
                    <a:pt x="9069054" y="1385789"/>
                    <a:pt x="9062760" y="1359259"/>
                    <a:pt x="9062760" y="1324553"/>
                  </a:cubicBezTo>
                  <a:cubicBezTo>
                    <a:pt x="9062760" y="1286436"/>
                    <a:pt x="9069330" y="1257599"/>
                    <a:pt x="9082470" y="1238039"/>
                  </a:cubicBezTo>
                  <a:cubicBezTo>
                    <a:pt x="9095611" y="1218479"/>
                    <a:pt x="9114568" y="1208700"/>
                    <a:pt x="9139344" y="1208700"/>
                  </a:cubicBezTo>
                  <a:close/>
                  <a:moveTo>
                    <a:pt x="9008268" y="1208700"/>
                  </a:moveTo>
                  <a:lnTo>
                    <a:pt x="9023174" y="1208700"/>
                  </a:lnTo>
                  <a:lnTo>
                    <a:pt x="9023174" y="1431679"/>
                  </a:lnTo>
                  <a:lnTo>
                    <a:pt x="8987886" y="1431679"/>
                  </a:lnTo>
                  <a:lnTo>
                    <a:pt x="8987886" y="1251896"/>
                  </a:lnTo>
                  <a:cubicBezTo>
                    <a:pt x="8981498" y="1256459"/>
                    <a:pt x="8974628" y="1260337"/>
                    <a:pt x="8967277" y="1263531"/>
                  </a:cubicBezTo>
                  <a:cubicBezTo>
                    <a:pt x="8959925" y="1266726"/>
                    <a:pt x="8951534" y="1269539"/>
                    <a:pt x="8942104" y="1271973"/>
                  </a:cubicBezTo>
                  <a:lnTo>
                    <a:pt x="8942104" y="1241857"/>
                  </a:lnTo>
                  <a:cubicBezTo>
                    <a:pt x="8947985" y="1239931"/>
                    <a:pt x="8953664" y="1237902"/>
                    <a:pt x="8959139" y="1235773"/>
                  </a:cubicBezTo>
                  <a:cubicBezTo>
                    <a:pt x="8964615" y="1233645"/>
                    <a:pt x="8970015" y="1231262"/>
                    <a:pt x="8975338" y="1228624"/>
                  </a:cubicBezTo>
                  <a:cubicBezTo>
                    <a:pt x="8980662" y="1225988"/>
                    <a:pt x="8986036" y="1223048"/>
                    <a:pt x="8991461" y="1219803"/>
                  </a:cubicBezTo>
                  <a:cubicBezTo>
                    <a:pt x="8996886" y="1216559"/>
                    <a:pt x="9002488" y="1212856"/>
                    <a:pt x="9008268" y="1208700"/>
                  </a:cubicBezTo>
                  <a:close/>
                  <a:moveTo>
                    <a:pt x="8797587" y="1208700"/>
                  </a:moveTo>
                  <a:cubicBezTo>
                    <a:pt x="8845031" y="1208700"/>
                    <a:pt x="8868754" y="1245562"/>
                    <a:pt x="8868754" y="1319287"/>
                  </a:cubicBezTo>
                  <a:cubicBezTo>
                    <a:pt x="8868754" y="1355798"/>
                    <a:pt x="8862058" y="1383658"/>
                    <a:pt x="8848668" y="1402866"/>
                  </a:cubicBezTo>
                  <a:cubicBezTo>
                    <a:pt x="8835277" y="1422074"/>
                    <a:pt x="8816545" y="1431679"/>
                    <a:pt x="8792471" y="1431679"/>
                  </a:cubicBezTo>
                  <a:cubicBezTo>
                    <a:pt x="8770003" y="1431679"/>
                    <a:pt x="8752474" y="1422501"/>
                    <a:pt x="8739886" y="1404145"/>
                  </a:cubicBezTo>
                  <a:cubicBezTo>
                    <a:pt x="8727297" y="1385789"/>
                    <a:pt x="8721003" y="1359259"/>
                    <a:pt x="8721003" y="1324553"/>
                  </a:cubicBezTo>
                  <a:cubicBezTo>
                    <a:pt x="8721003" y="1286436"/>
                    <a:pt x="8727573" y="1257599"/>
                    <a:pt x="8740713" y="1238039"/>
                  </a:cubicBezTo>
                  <a:cubicBezTo>
                    <a:pt x="8753854" y="1218479"/>
                    <a:pt x="8772811" y="1208700"/>
                    <a:pt x="8797587" y="1208700"/>
                  </a:cubicBezTo>
                  <a:close/>
                  <a:moveTo>
                    <a:pt x="8096185" y="1208700"/>
                  </a:moveTo>
                  <a:cubicBezTo>
                    <a:pt x="8143630" y="1208700"/>
                    <a:pt x="8167352" y="1245562"/>
                    <a:pt x="8167352" y="1319287"/>
                  </a:cubicBezTo>
                  <a:cubicBezTo>
                    <a:pt x="8167352" y="1355798"/>
                    <a:pt x="8160657" y="1383658"/>
                    <a:pt x="8147266" y="1402866"/>
                  </a:cubicBezTo>
                  <a:cubicBezTo>
                    <a:pt x="8133875" y="1422074"/>
                    <a:pt x="8115143" y="1431679"/>
                    <a:pt x="8091069" y="1431679"/>
                  </a:cubicBezTo>
                  <a:cubicBezTo>
                    <a:pt x="8068601" y="1431679"/>
                    <a:pt x="8051072" y="1422501"/>
                    <a:pt x="8038484" y="1404145"/>
                  </a:cubicBezTo>
                  <a:cubicBezTo>
                    <a:pt x="8025895" y="1385789"/>
                    <a:pt x="8019601" y="1359259"/>
                    <a:pt x="8019601" y="1324553"/>
                  </a:cubicBezTo>
                  <a:cubicBezTo>
                    <a:pt x="8019601" y="1286436"/>
                    <a:pt x="8026171" y="1257599"/>
                    <a:pt x="8039311" y="1238039"/>
                  </a:cubicBezTo>
                  <a:cubicBezTo>
                    <a:pt x="8052452" y="1218479"/>
                    <a:pt x="8071409" y="1208700"/>
                    <a:pt x="8096185" y="1208700"/>
                  </a:cubicBezTo>
                  <a:close/>
                  <a:moveTo>
                    <a:pt x="7717024" y="1208700"/>
                  </a:moveTo>
                  <a:lnTo>
                    <a:pt x="7731930" y="1208700"/>
                  </a:lnTo>
                  <a:lnTo>
                    <a:pt x="7731930" y="1431679"/>
                  </a:lnTo>
                  <a:lnTo>
                    <a:pt x="7696642" y="1431679"/>
                  </a:lnTo>
                  <a:lnTo>
                    <a:pt x="7696642" y="1251896"/>
                  </a:lnTo>
                  <a:cubicBezTo>
                    <a:pt x="7690254" y="1256459"/>
                    <a:pt x="7683385" y="1260337"/>
                    <a:pt x="7676033" y="1263531"/>
                  </a:cubicBezTo>
                  <a:cubicBezTo>
                    <a:pt x="7668681" y="1266726"/>
                    <a:pt x="7660291" y="1269539"/>
                    <a:pt x="7650860" y="1271973"/>
                  </a:cubicBezTo>
                  <a:lnTo>
                    <a:pt x="7650860" y="1241857"/>
                  </a:lnTo>
                  <a:cubicBezTo>
                    <a:pt x="7656741" y="1239931"/>
                    <a:pt x="7662420" y="1237902"/>
                    <a:pt x="7667895" y="1235773"/>
                  </a:cubicBezTo>
                  <a:cubicBezTo>
                    <a:pt x="7673371" y="1233645"/>
                    <a:pt x="7678771" y="1231262"/>
                    <a:pt x="7684094" y="1228624"/>
                  </a:cubicBezTo>
                  <a:cubicBezTo>
                    <a:pt x="7689418" y="1225988"/>
                    <a:pt x="7694792" y="1223048"/>
                    <a:pt x="7700217" y="1219803"/>
                  </a:cubicBezTo>
                  <a:cubicBezTo>
                    <a:pt x="7705642" y="1216559"/>
                    <a:pt x="7711244" y="1212856"/>
                    <a:pt x="7717024" y="1208700"/>
                  </a:cubicBezTo>
                  <a:close/>
                  <a:moveTo>
                    <a:pt x="7355082" y="1208700"/>
                  </a:moveTo>
                  <a:lnTo>
                    <a:pt x="7369988" y="1208700"/>
                  </a:lnTo>
                  <a:lnTo>
                    <a:pt x="7369988" y="1431679"/>
                  </a:lnTo>
                  <a:lnTo>
                    <a:pt x="7334700" y="1431679"/>
                  </a:lnTo>
                  <a:lnTo>
                    <a:pt x="7334700" y="1251896"/>
                  </a:lnTo>
                  <a:cubicBezTo>
                    <a:pt x="7328312" y="1256459"/>
                    <a:pt x="7321443" y="1260337"/>
                    <a:pt x="7314091" y="1263531"/>
                  </a:cubicBezTo>
                  <a:cubicBezTo>
                    <a:pt x="7306739" y="1266726"/>
                    <a:pt x="7298349" y="1269539"/>
                    <a:pt x="7288918" y="1271973"/>
                  </a:cubicBezTo>
                  <a:lnTo>
                    <a:pt x="7288918" y="1241857"/>
                  </a:lnTo>
                  <a:cubicBezTo>
                    <a:pt x="7294799" y="1239931"/>
                    <a:pt x="7300478" y="1237902"/>
                    <a:pt x="7305953" y="1235773"/>
                  </a:cubicBezTo>
                  <a:cubicBezTo>
                    <a:pt x="7311429" y="1233645"/>
                    <a:pt x="7316829" y="1231262"/>
                    <a:pt x="7322152" y="1228624"/>
                  </a:cubicBezTo>
                  <a:cubicBezTo>
                    <a:pt x="7327476" y="1225988"/>
                    <a:pt x="7332850" y="1223048"/>
                    <a:pt x="7338275" y="1219803"/>
                  </a:cubicBezTo>
                  <a:cubicBezTo>
                    <a:pt x="7343700" y="1216559"/>
                    <a:pt x="7349302" y="1212856"/>
                    <a:pt x="7355082" y="1208700"/>
                  </a:cubicBezTo>
                  <a:close/>
                  <a:moveTo>
                    <a:pt x="7055136" y="1208700"/>
                  </a:moveTo>
                  <a:lnTo>
                    <a:pt x="7070042" y="1208700"/>
                  </a:lnTo>
                  <a:lnTo>
                    <a:pt x="7070042" y="1431679"/>
                  </a:lnTo>
                  <a:lnTo>
                    <a:pt x="7034754" y="1431679"/>
                  </a:lnTo>
                  <a:lnTo>
                    <a:pt x="7034754" y="1251896"/>
                  </a:lnTo>
                  <a:cubicBezTo>
                    <a:pt x="7028366" y="1256459"/>
                    <a:pt x="7021497" y="1260337"/>
                    <a:pt x="7014145" y="1263531"/>
                  </a:cubicBezTo>
                  <a:cubicBezTo>
                    <a:pt x="7006793" y="1266726"/>
                    <a:pt x="6998403" y="1269539"/>
                    <a:pt x="6988972" y="1271973"/>
                  </a:cubicBezTo>
                  <a:lnTo>
                    <a:pt x="6988972" y="1241857"/>
                  </a:lnTo>
                  <a:cubicBezTo>
                    <a:pt x="6994853" y="1239931"/>
                    <a:pt x="7000532" y="1237902"/>
                    <a:pt x="7006007" y="1235773"/>
                  </a:cubicBezTo>
                  <a:cubicBezTo>
                    <a:pt x="7011483" y="1233645"/>
                    <a:pt x="7016883" y="1231262"/>
                    <a:pt x="7022206" y="1228624"/>
                  </a:cubicBezTo>
                  <a:cubicBezTo>
                    <a:pt x="7027530" y="1225988"/>
                    <a:pt x="7032904" y="1223048"/>
                    <a:pt x="7038329" y="1219803"/>
                  </a:cubicBezTo>
                  <a:cubicBezTo>
                    <a:pt x="7043754" y="1216559"/>
                    <a:pt x="7049356" y="1212856"/>
                    <a:pt x="7055136" y="1208700"/>
                  </a:cubicBezTo>
                  <a:close/>
                  <a:moveTo>
                    <a:pt x="6837696" y="1208700"/>
                  </a:moveTo>
                  <a:cubicBezTo>
                    <a:pt x="6885141" y="1208700"/>
                    <a:pt x="6908863" y="1245562"/>
                    <a:pt x="6908863" y="1319287"/>
                  </a:cubicBezTo>
                  <a:cubicBezTo>
                    <a:pt x="6908863" y="1355798"/>
                    <a:pt x="6902168" y="1383658"/>
                    <a:pt x="6888777" y="1402866"/>
                  </a:cubicBezTo>
                  <a:cubicBezTo>
                    <a:pt x="6875386" y="1422074"/>
                    <a:pt x="6856654" y="1431679"/>
                    <a:pt x="6832580" y="1431679"/>
                  </a:cubicBezTo>
                  <a:cubicBezTo>
                    <a:pt x="6810112" y="1431679"/>
                    <a:pt x="6792583" y="1422501"/>
                    <a:pt x="6779995" y="1404145"/>
                  </a:cubicBezTo>
                  <a:cubicBezTo>
                    <a:pt x="6767406" y="1385789"/>
                    <a:pt x="6761112" y="1359259"/>
                    <a:pt x="6761112" y="1324553"/>
                  </a:cubicBezTo>
                  <a:cubicBezTo>
                    <a:pt x="6761112" y="1286436"/>
                    <a:pt x="6767682" y="1257599"/>
                    <a:pt x="6780822" y="1238039"/>
                  </a:cubicBezTo>
                  <a:cubicBezTo>
                    <a:pt x="6793963" y="1218479"/>
                    <a:pt x="6812920" y="1208700"/>
                    <a:pt x="6837696" y="1208700"/>
                  </a:cubicBezTo>
                  <a:close/>
                  <a:moveTo>
                    <a:pt x="6624602" y="1208700"/>
                  </a:moveTo>
                  <a:cubicBezTo>
                    <a:pt x="6672047" y="1208700"/>
                    <a:pt x="6695769" y="1245562"/>
                    <a:pt x="6695769" y="1319287"/>
                  </a:cubicBezTo>
                  <a:cubicBezTo>
                    <a:pt x="6695769" y="1355798"/>
                    <a:pt x="6689074" y="1383658"/>
                    <a:pt x="6675683" y="1402866"/>
                  </a:cubicBezTo>
                  <a:cubicBezTo>
                    <a:pt x="6662292" y="1422074"/>
                    <a:pt x="6643560" y="1431679"/>
                    <a:pt x="6619486" y="1431679"/>
                  </a:cubicBezTo>
                  <a:cubicBezTo>
                    <a:pt x="6597018" y="1431679"/>
                    <a:pt x="6579489" y="1422501"/>
                    <a:pt x="6566901" y="1404145"/>
                  </a:cubicBezTo>
                  <a:cubicBezTo>
                    <a:pt x="6554312" y="1385789"/>
                    <a:pt x="6548018" y="1359259"/>
                    <a:pt x="6548018" y="1324553"/>
                  </a:cubicBezTo>
                  <a:cubicBezTo>
                    <a:pt x="6548018" y="1286436"/>
                    <a:pt x="6554588" y="1257599"/>
                    <a:pt x="6567728" y="1238039"/>
                  </a:cubicBezTo>
                  <a:cubicBezTo>
                    <a:pt x="6580869" y="1218479"/>
                    <a:pt x="6599826" y="1208700"/>
                    <a:pt x="6624602" y="1208700"/>
                  </a:cubicBezTo>
                  <a:close/>
                  <a:moveTo>
                    <a:pt x="6463053" y="1208700"/>
                  </a:moveTo>
                  <a:lnTo>
                    <a:pt x="6477959" y="1208700"/>
                  </a:lnTo>
                  <a:lnTo>
                    <a:pt x="6477959" y="1431679"/>
                  </a:lnTo>
                  <a:lnTo>
                    <a:pt x="6442671" y="1431679"/>
                  </a:lnTo>
                  <a:lnTo>
                    <a:pt x="6442671" y="1251896"/>
                  </a:lnTo>
                  <a:cubicBezTo>
                    <a:pt x="6436283" y="1256459"/>
                    <a:pt x="6429414" y="1260337"/>
                    <a:pt x="6422062" y="1263531"/>
                  </a:cubicBezTo>
                  <a:cubicBezTo>
                    <a:pt x="6414710" y="1266726"/>
                    <a:pt x="6406320" y="1269539"/>
                    <a:pt x="6396889" y="1271973"/>
                  </a:cubicBezTo>
                  <a:lnTo>
                    <a:pt x="6396889" y="1241857"/>
                  </a:lnTo>
                  <a:cubicBezTo>
                    <a:pt x="6402770" y="1239931"/>
                    <a:pt x="6408449" y="1237902"/>
                    <a:pt x="6413924" y="1235773"/>
                  </a:cubicBezTo>
                  <a:cubicBezTo>
                    <a:pt x="6419400" y="1233645"/>
                    <a:pt x="6424800" y="1231262"/>
                    <a:pt x="6430123" y="1228624"/>
                  </a:cubicBezTo>
                  <a:cubicBezTo>
                    <a:pt x="6435447" y="1225988"/>
                    <a:pt x="6440821" y="1223048"/>
                    <a:pt x="6446246" y="1219803"/>
                  </a:cubicBezTo>
                  <a:cubicBezTo>
                    <a:pt x="6451671" y="1216559"/>
                    <a:pt x="6457273" y="1212856"/>
                    <a:pt x="6463053" y="1208700"/>
                  </a:cubicBezTo>
                  <a:close/>
                  <a:moveTo>
                    <a:pt x="6163107" y="1208700"/>
                  </a:moveTo>
                  <a:lnTo>
                    <a:pt x="6178013" y="1208700"/>
                  </a:lnTo>
                  <a:lnTo>
                    <a:pt x="6178013" y="1431679"/>
                  </a:lnTo>
                  <a:lnTo>
                    <a:pt x="6142725" y="1431679"/>
                  </a:lnTo>
                  <a:lnTo>
                    <a:pt x="6142725" y="1251896"/>
                  </a:lnTo>
                  <a:cubicBezTo>
                    <a:pt x="6136337" y="1256459"/>
                    <a:pt x="6129468" y="1260337"/>
                    <a:pt x="6122116" y="1263531"/>
                  </a:cubicBezTo>
                  <a:cubicBezTo>
                    <a:pt x="6114764" y="1266726"/>
                    <a:pt x="6106374" y="1269539"/>
                    <a:pt x="6096943" y="1271973"/>
                  </a:cubicBezTo>
                  <a:lnTo>
                    <a:pt x="6096943" y="1241857"/>
                  </a:lnTo>
                  <a:cubicBezTo>
                    <a:pt x="6102824" y="1239931"/>
                    <a:pt x="6108503" y="1237902"/>
                    <a:pt x="6113978" y="1235773"/>
                  </a:cubicBezTo>
                  <a:cubicBezTo>
                    <a:pt x="6119454" y="1233645"/>
                    <a:pt x="6124854" y="1231262"/>
                    <a:pt x="6130177" y="1228624"/>
                  </a:cubicBezTo>
                  <a:cubicBezTo>
                    <a:pt x="6135501" y="1225988"/>
                    <a:pt x="6140875" y="1223048"/>
                    <a:pt x="6146300" y="1219803"/>
                  </a:cubicBezTo>
                  <a:cubicBezTo>
                    <a:pt x="6151725" y="1216559"/>
                    <a:pt x="6157327" y="1212856"/>
                    <a:pt x="6163107" y="1208700"/>
                  </a:cubicBezTo>
                  <a:close/>
                  <a:moveTo>
                    <a:pt x="5979578" y="1208700"/>
                  </a:moveTo>
                  <a:lnTo>
                    <a:pt x="5994484" y="1208700"/>
                  </a:lnTo>
                  <a:lnTo>
                    <a:pt x="5994484" y="1431679"/>
                  </a:lnTo>
                  <a:lnTo>
                    <a:pt x="5959196" y="1431679"/>
                  </a:lnTo>
                  <a:lnTo>
                    <a:pt x="5959196" y="1251896"/>
                  </a:lnTo>
                  <a:cubicBezTo>
                    <a:pt x="5952808" y="1256459"/>
                    <a:pt x="5945939" y="1260337"/>
                    <a:pt x="5938587" y="1263531"/>
                  </a:cubicBezTo>
                  <a:cubicBezTo>
                    <a:pt x="5931236" y="1266726"/>
                    <a:pt x="5922846" y="1269539"/>
                    <a:pt x="5913415" y="1271973"/>
                  </a:cubicBezTo>
                  <a:lnTo>
                    <a:pt x="5913415" y="1241857"/>
                  </a:lnTo>
                  <a:cubicBezTo>
                    <a:pt x="5919296" y="1239931"/>
                    <a:pt x="5924974" y="1237902"/>
                    <a:pt x="5930450" y="1235773"/>
                  </a:cubicBezTo>
                  <a:cubicBezTo>
                    <a:pt x="5935926" y="1233645"/>
                    <a:pt x="5941325" y="1231262"/>
                    <a:pt x="5946648" y="1228624"/>
                  </a:cubicBezTo>
                  <a:cubicBezTo>
                    <a:pt x="5951973" y="1225988"/>
                    <a:pt x="5957347" y="1223048"/>
                    <a:pt x="5962771" y="1219803"/>
                  </a:cubicBezTo>
                  <a:cubicBezTo>
                    <a:pt x="5968196" y="1216559"/>
                    <a:pt x="5973799" y="1212856"/>
                    <a:pt x="5979578" y="1208700"/>
                  </a:cubicBezTo>
                  <a:close/>
                  <a:moveTo>
                    <a:pt x="5611916" y="1208700"/>
                  </a:moveTo>
                  <a:lnTo>
                    <a:pt x="5626822" y="1208700"/>
                  </a:lnTo>
                  <a:lnTo>
                    <a:pt x="5626822" y="1431679"/>
                  </a:lnTo>
                  <a:lnTo>
                    <a:pt x="5591534" y="1431679"/>
                  </a:lnTo>
                  <a:lnTo>
                    <a:pt x="5591534" y="1251896"/>
                  </a:lnTo>
                  <a:cubicBezTo>
                    <a:pt x="5585147" y="1256459"/>
                    <a:pt x="5578277" y="1260337"/>
                    <a:pt x="5570926" y="1263531"/>
                  </a:cubicBezTo>
                  <a:cubicBezTo>
                    <a:pt x="5563574" y="1266726"/>
                    <a:pt x="5555183" y="1269539"/>
                    <a:pt x="5545753" y="1271973"/>
                  </a:cubicBezTo>
                  <a:lnTo>
                    <a:pt x="5545753" y="1241857"/>
                  </a:lnTo>
                  <a:cubicBezTo>
                    <a:pt x="5551633" y="1239931"/>
                    <a:pt x="5557312" y="1237902"/>
                    <a:pt x="5562787" y="1235773"/>
                  </a:cubicBezTo>
                  <a:cubicBezTo>
                    <a:pt x="5568263" y="1233645"/>
                    <a:pt x="5573663" y="1231262"/>
                    <a:pt x="5578987" y="1228624"/>
                  </a:cubicBezTo>
                  <a:cubicBezTo>
                    <a:pt x="5584310" y="1225988"/>
                    <a:pt x="5589684" y="1223048"/>
                    <a:pt x="5595109" y="1219803"/>
                  </a:cubicBezTo>
                  <a:cubicBezTo>
                    <a:pt x="5600535" y="1216559"/>
                    <a:pt x="5606136" y="1212856"/>
                    <a:pt x="5611916" y="1208700"/>
                  </a:cubicBezTo>
                  <a:close/>
                  <a:moveTo>
                    <a:pt x="5461944" y="1208700"/>
                  </a:moveTo>
                  <a:lnTo>
                    <a:pt x="5476850" y="1208700"/>
                  </a:lnTo>
                  <a:lnTo>
                    <a:pt x="5476850" y="1431679"/>
                  </a:lnTo>
                  <a:lnTo>
                    <a:pt x="5441562" y="1431679"/>
                  </a:lnTo>
                  <a:lnTo>
                    <a:pt x="5441562" y="1251896"/>
                  </a:lnTo>
                  <a:cubicBezTo>
                    <a:pt x="5435173" y="1256459"/>
                    <a:pt x="5428305" y="1260337"/>
                    <a:pt x="5420952" y="1263531"/>
                  </a:cubicBezTo>
                  <a:cubicBezTo>
                    <a:pt x="5413601" y="1266726"/>
                    <a:pt x="5405211" y="1269539"/>
                    <a:pt x="5395779" y="1271973"/>
                  </a:cubicBezTo>
                  <a:lnTo>
                    <a:pt x="5395779" y="1241857"/>
                  </a:lnTo>
                  <a:cubicBezTo>
                    <a:pt x="5401661" y="1239931"/>
                    <a:pt x="5407340" y="1237902"/>
                    <a:pt x="5412815" y="1235773"/>
                  </a:cubicBezTo>
                  <a:cubicBezTo>
                    <a:pt x="5418291" y="1233645"/>
                    <a:pt x="5423691" y="1231262"/>
                    <a:pt x="5429013" y="1228624"/>
                  </a:cubicBezTo>
                  <a:cubicBezTo>
                    <a:pt x="5434338" y="1225988"/>
                    <a:pt x="5439711" y="1223048"/>
                    <a:pt x="5445137" y="1219803"/>
                  </a:cubicBezTo>
                  <a:cubicBezTo>
                    <a:pt x="5450561" y="1216559"/>
                    <a:pt x="5456164" y="1212856"/>
                    <a:pt x="5461944" y="1208700"/>
                  </a:cubicBezTo>
                  <a:close/>
                  <a:moveTo>
                    <a:pt x="5311970" y="1208700"/>
                  </a:moveTo>
                  <a:lnTo>
                    <a:pt x="5326877" y="1208700"/>
                  </a:lnTo>
                  <a:lnTo>
                    <a:pt x="5326877" y="1431679"/>
                  </a:lnTo>
                  <a:lnTo>
                    <a:pt x="5291589" y="1431679"/>
                  </a:lnTo>
                  <a:lnTo>
                    <a:pt x="5291589" y="1251896"/>
                  </a:lnTo>
                  <a:cubicBezTo>
                    <a:pt x="5285201" y="1256459"/>
                    <a:pt x="5278332" y="1260337"/>
                    <a:pt x="5270980" y="1263531"/>
                  </a:cubicBezTo>
                  <a:cubicBezTo>
                    <a:pt x="5263627" y="1266726"/>
                    <a:pt x="5255237" y="1269539"/>
                    <a:pt x="5245806" y="1271973"/>
                  </a:cubicBezTo>
                  <a:lnTo>
                    <a:pt x="5245806" y="1241857"/>
                  </a:lnTo>
                  <a:cubicBezTo>
                    <a:pt x="5251687" y="1239931"/>
                    <a:pt x="5257366" y="1237902"/>
                    <a:pt x="5262841" y="1235773"/>
                  </a:cubicBezTo>
                  <a:cubicBezTo>
                    <a:pt x="5268318" y="1233645"/>
                    <a:pt x="5273717" y="1231262"/>
                    <a:pt x="5279041" y="1228624"/>
                  </a:cubicBezTo>
                  <a:cubicBezTo>
                    <a:pt x="5284364" y="1225988"/>
                    <a:pt x="5289738" y="1223048"/>
                    <a:pt x="5295163" y="1219803"/>
                  </a:cubicBezTo>
                  <a:cubicBezTo>
                    <a:pt x="5300589" y="1216559"/>
                    <a:pt x="5306191" y="1212856"/>
                    <a:pt x="5311970" y="1208700"/>
                  </a:cubicBezTo>
                  <a:close/>
                  <a:moveTo>
                    <a:pt x="4563292" y="1208700"/>
                  </a:moveTo>
                  <a:lnTo>
                    <a:pt x="4578199" y="1208700"/>
                  </a:lnTo>
                  <a:lnTo>
                    <a:pt x="4578199" y="1431679"/>
                  </a:lnTo>
                  <a:lnTo>
                    <a:pt x="4542910" y="1431679"/>
                  </a:lnTo>
                  <a:lnTo>
                    <a:pt x="4542910" y="1251896"/>
                  </a:lnTo>
                  <a:cubicBezTo>
                    <a:pt x="4536523" y="1256459"/>
                    <a:pt x="4529654" y="1260337"/>
                    <a:pt x="4522301" y="1263531"/>
                  </a:cubicBezTo>
                  <a:cubicBezTo>
                    <a:pt x="4514949" y="1266726"/>
                    <a:pt x="4506560" y="1269539"/>
                    <a:pt x="4497129" y="1271973"/>
                  </a:cubicBezTo>
                  <a:lnTo>
                    <a:pt x="4497129" y="1241857"/>
                  </a:lnTo>
                  <a:cubicBezTo>
                    <a:pt x="4503009" y="1239931"/>
                    <a:pt x="4508688" y="1237902"/>
                    <a:pt x="4514163" y="1235773"/>
                  </a:cubicBezTo>
                  <a:cubicBezTo>
                    <a:pt x="4519640" y="1233645"/>
                    <a:pt x="4525040" y="1231262"/>
                    <a:pt x="4530362" y="1228624"/>
                  </a:cubicBezTo>
                  <a:cubicBezTo>
                    <a:pt x="4535687" y="1225988"/>
                    <a:pt x="4541061" y="1223048"/>
                    <a:pt x="4546485" y="1219803"/>
                  </a:cubicBezTo>
                  <a:cubicBezTo>
                    <a:pt x="4551911" y="1216559"/>
                    <a:pt x="4557512" y="1212856"/>
                    <a:pt x="4563292" y="1208700"/>
                  </a:cubicBezTo>
                  <a:close/>
                  <a:moveTo>
                    <a:pt x="4413319" y="1208700"/>
                  </a:moveTo>
                  <a:lnTo>
                    <a:pt x="4428226" y="1208700"/>
                  </a:lnTo>
                  <a:lnTo>
                    <a:pt x="4428226" y="1431679"/>
                  </a:lnTo>
                  <a:lnTo>
                    <a:pt x="4392937" y="1431679"/>
                  </a:lnTo>
                  <a:lnTo>
                    <a:pt x="4392937" y="1251896"/>
                  </a:lnTo>
                  <a:cubicBezTo>
                    <a:pt x="4386550" y="1256459"/>
                    <a:pt x="4379681" y="1260337"/>
                    <a:pt x="4372329" y="1263531"/>
                  </a:cubicBezTo>
                  <a:cubicBezTo>
                    <a:pt x="4364976" y="1266726"/>
                    <a:pt x="4356586" y="1269539"/>
                    <a:pt x="4347156" y="1271973"/>
                  </a:cubicBezTo>
                  <a:lnTo>
                    <a:pt x="4347156" y="1241857"/>
                  </a:lnTo>
                  <a:cubicBezTo>
                    <a:pt x="4353037" y="1239931"/>
                    <a:pt x="4358715" y="1237902"/>
                    <a:pt x="4364190" y="1235773"/>
                  </a:cubicBezTo>
                  <a:cubicBezTo>
                    <a:pt x="4369666" y="1233645"/>
                    <a:pt x="4375067" y="1231262"/>
                    <a:pt x="4380389" y="1228624"/>
                  </a:cubicBezTo>
                  <a:cubicBezTo>
                    <a:pt x="4385713" y="1225988"/>
                    <a:pt x="4391087" y="1223048"/>
                    <a:pt x="4396513" y="1219803"/>
                  </a:cubicBezTo>
                  <a:cubicBezTo>
                    <a:pt x="4401938" y="1216559"/>
                    <a:pt x="4407539" y="1212856"/>
                    <a:pt x="4413319" y="1208700"/>
                  </a:cubicBezTo>
                  <a:close/>
                  <a:moveTo>
                    <a:pt x="4113374" y="1208700"/>
                  </a:moveTo>
                  <a:lnTo>
                    <a:pt x="4128280" y="1208700"/>
                  </a:lnTo>
                  <a:lnTo>
                    <a:pt x="4128280" y="1431679"/>
                  </a:lnTo>
                  <a:lnTo>
                    <a:pt x="4092992" y="1431679"/>
                  </a:lnTo>
                  <a:lnTo>
                    <a:pt x="4092992" y="1251896"/>
                  </a:lnTo>
                  <a:cubicBezTo>
                    <a:pt x="4086604" y="1256459"/>
                    <a:pt x="4079734" y="1260337"/>
                    <a:pt x="4072383" y="1263531"/>
                  </a:cubicBezTo>
                  <a:cubicBezTo>
                    <a:pt x="4065031" y="1266726"/>
                    <a:pt x="4056641" y="1269539"/>
                    <a:pt x="4047210" y="1271973"/>
                  </a:cubicBezTo>
                  <a:lnTo>
                    <a:pt x="4047210" y="1241857"/>
                  </a:lnTo>
                  <a:cubicBezTo>
                    <a:pt x="4053091" y="1239931"/>
                    <a:pt x="4058770" y="1237902"/>
                    <a:pt x="4064245" y="1235773"/>
                  </a:cubicBezTo>
                  <a:cubicBezTo>
                    <a:pt x="4069721" y="1233645"/>
                    <a:pt x="4075121" y="1231262"/>
                    <a:pt x="4080444" y="1228624"/>
                  </a:cubicBezTo>
                  <a:cubicBezTo>
                    <a:pt x="4085768" y="1225988"/>
                    <a:pt x="4091142" y="1223048"/>
                    <a:pt x="4096567" y="1219803"/>
                  </a:cubicBezTo>
                  <a:cubicBezTo>
                    <a:pt x="4101992" y="1216559"/>
                    <a:pt x="4107594" y="1212856"/>
                    <a:pt x="4113374" y="1208700"/>
                  </a:cubicBezTo>
                  <a:close/>
                  <a:moveTo>
                    <a:pt x="3732783" y="1208700"/>
                  </a:moveTo>
                  <a:lnTo>
                    <a:pt x="3747689" y="1208700"/>
                  </a:lnTo>
                  <a:lnTo>
                    <a:pt x="3747689" y="1431679"/>
                  </a:lnTo>
                  <a:lnTo>
                    <a:pt x="3712401" y="1431679"/>
                  </a:lnTo>
                  <a:lnTo>
                    <a:pt x="3712401" y="1251896"/>
                  </a:lnTo>
                  <a:cubicBezTo>
                    <a:pt x="3706013" y="1256459"/>
                    <a:pt x="3699143" y="1260337"/>
                    <a:pt x="3691792" y="1263531"/>
                  </a:cubicBezTo>
                  <a:cubicBezTo>
                    <a:pt x="3684440" y="1266726"/>
                    <a:pt x="3676050" y="1269539"/>
                    <a:pt x="3666619" y="1271973"/>
                  </a:cubicBezTo>
                  <a:lnTo>
                    <a:pt x="3666619" y="1241857"/>
                  </a:lnTo>
                  <a:cubicBezTo>
                    <a:pt x="3672500" y="1239931"/>
                    <a:pt x="3678179" y="1237902"/>
                    <a:pt x="3683654" y="1235773"/>
                  </a:cubicBezTo>
                  <a:cubicBezTo>
                    <a:pt x="3689130" y="1233645"/>
                    <a:pt x="3694530" y="1231262"/>
                    <a:pt x="3699853" y="1228624"/>
                  </a:cubicBezTo>
                  <a:cubicBezTo>
                    <a:pt x="3705177" y="1225988"/>
                    <a:pt x="3710551" y="1223048"/>
                    <a:pt x="3715976" y="1219803"/>
                  </a:cubicBezTo>
                  <a:cubicBezTo>
                    <a:pt x="3721401" y="1216559"/>
                    <a:pt x="3727003" y="1212856"/>
                    <a:pt x="3732783" y="1208700"/>
                  </a:cubicBezTo>
                  <a:close/>
                  <a:moveTo>
                    <a:pt x="3582810" y="1208700"/>
                  </a:moveTo>
                  <a:lnTo>
                    <a:pt x="3597716" y="1208700"/>
                  </a:lnTo>
                  <a:lnTo>
                    <a:pt x="3597716" y="1431679"/>
                  </a:lnTo>
                  <a:lnTo>
                    <a:pt x="3562428" y="1431679"/>
                  </a:lnTo>
                  <a:lnTo>
                    <a:pt x="3562428" y="1251896"/>
                  </a:lnTo>
                  <a:cubicBezTo>
                    <a:pt x="3556040" y="1256459"/>
                    <a:pt x="3549170" y="1260337"/>
                    <a:pt x="3541819" y="1263531"/>
                  </a:cubicBezTo>
                  <a:cubicBezTo>
                    <a:pt x="3534467" y="1266726"/>
                    <a:pt x="3526077" y="1269539"/>
                    <a:pt x="3516646" y="1271973"/>
                  </a:cubicBezTo>
                  <a:lnTo>
                    <a:pt x="3516646" y="1241857"/>
                  </a:lnTo>
                  <a:cubicBezTo>
                    <a:pt x="3522527" y="1239931"/>
                    <a:pt x="3528206" y="1237902"/>
                    <a:pt x="3533681" y="1235773"/>
                  </a:cubicBezTo>
                  <a:cubicBezTo>
                    <a:pt x="3539157" y="1233645"/>
                    <a:pt x="3544557" y="1231262"/>
                    <a:pt x="3549880" y="1228624"/>
                  </a:cubicBezTo>
                  <a:cubicBezTo>
                    <a:pt x="3555204" y="1225988"/>
                    <a:pt x="3560578" y="1223048"/>
                    <a:pt x="3566003" y="1219803"/>
                  </a:cubicBezTo>
                  <a:cubicBezTo>
                    <a:pt x="3571428" y="1216559"/>
                    <a:pt x="3577030" y="1212856"/>
                    <a:pt x="3582810" y="1208700"/>
                  </a:cubicBezTo>
                  <a:close/>
                  <a:moveTo>
                    <a:pt x="3432837" y="1208700"/>
                  </a:moveTo>
                  <a:lnTo>
                    <a:pt x="3447743" y="1208700"/>
                  </a:lnTo>
                  <a:lnTo>
                    <a:pt x="3447743" y="1431679"/>
                  </a:lnTo>
                  <a:lnTo>
                    <a:pt x="3412455" y="1431679"/>
                  </a:lnTo>
                  <a:lnTo>
                    <a:pt x="3412455" y="1251896"/>
                  </a:lnTo>
                  <a:cubicBezTo>
                    <a:pt x="3406067" y="1256459"/>
                    <a:pt x="3399197" y="1260337"/>
                    <a:pt x="3391846" y="1263531"/>
                  </a:cubicBezTo>
                  <a:cubicBezTo>
                    <a:pt x="3384494" y="1266726"/>
                    <a:pt x="3376104" y="1269539"/>
                    <a:pt x="3366673" y="1271973"/>
                  </a:cubicBezTo>
                  <a:lnTo>
                    <a:pt x="3366673" y="1241857"/>
                  </a:lnTo>
                  <a:cubicBezTo>
                    <a:pt x="3372554" y="1239931"/>
                    <a:pt x="3378233" y="1237902"/>
                    <a:pt x="3383708" y="1235773"/>
                  </a:cubicBezTo>
                  <a:cubicBezTo>
                    <a:pt x="3389184" y="1233645"/>
                    <a:pt x="3394584" y="1231262"/>
                    <a:pt x="3399907" y="1228624"/>
                  </a:cubicBezTo>
                  <a:cubicBezTo>
                    <a:pt x="3405231" y="1225988"/>
                    <a:pt x="3410605" y="1223048"/>
                    <a:pt x="3416030" y="1219803"/>
                  </a:cubicBezTo>
                  <a:cubicBezTo>
                    <a:pt x="3421455" y="1216559"/>
                    <a:pt x="3427057" y="1212856"/>
                    <a:pt x="3432837" y="1208700"/>
                  </a:cubicBezTo>
                  <a:close/>
                  <a:moveTo>
                    <a:pt x="3282864" y="1208700"/>
                  </a:moveTo>
                  <a:lnTo>
                    <a:pt x="3297770" y="1208700"/>
                  </a:lnTo>
                  <a:lnTo>
                    <a:pt x="3297770" y="1431679"/>
                  </a:lnTo>
                  <a:lnTo>
                    <a:pt x="3262482" y="1431679"/>
                  </a:lnTo>
                  <a:lnTo>
                    <a:pt x="3262482" y="1251896"/>
                  </a:lnTo>
                  <a:cubicBezTo>
                    <a:pt x="3256094" y="1256459"/>
                    <a:pt x="3249224" y="1260337"/>
                    <a:pt x="3241873" y="1263531"/>
                  </a:cubicBezTo>
                  <a:cubicBezTo>
                    <a:pt x="3234521" y="1266726"/>
                    <a:pt x="3226131" y="1269539"/>
                    <a:pt x="3216700" y="1271973"/>
                  </a:cubicBezTo>
                  <a:lnTo>
                    <a:pt x="3216700" y="1241857"/>
                  </a:lnTo>
                  <a:cubicBezTo>
                    <a:pt x="3222581" y="1239931"/>
                    <a:pt x="3228260" y="1237902"/>
                    <a:pt x="3233735" y="1235773"/>
                  </a:cubicBezTo>
                  <a:cubicBezTo>
                    <a:pt x="3239211" y="1233645"/>
                    <a:pt x="3244611" y="1231262"/>
                    <a:pt x="3249934" y="1228624"/>
                  </a:cubicBezTo>
                  <a:cubicBezTo>
                    <a:pt x="3255258" y="1225988"/>
                    <a:pt x="3260632" y="1223048"/>
                    <a:pt x="3266057" y="1219803"/>
                  </a:cubicBezTo>
                  <a:cubicBezTo>
                    <a:pt x="3271482" y="1216559"/>
                    <a:pt x="3277084" y="1212856"/>
                    <a:pt x="3282864" y="1208700"/>
                  </a:cubicBezTo>
                  <a:close/>
                  <a:moveTo>
                    <a:pt x="3078927" y="1208700"/>
                  </a:moveTo>
                  <a:cubicBezTo>
                    <a:pt x="3126371" y="1208700"/>
                    <a:pt x="3150094" y="1245562"/>
                    <a:pt x="3150094" y="1319287"/>
                  </a:cubicBezTo>
                  <a:cubicBezTo>
                    <a:pt x="3150094" y="1355798"/>
                    <a:pt x="3143399" y="1383658"/>
                    <a:pt x="3130008" y="1402866"/>
                  </a:cubicBezTo>
                  <a:cubicBezTo>
                    <a:pt x="3116617" y="1422074"/>
                    <a:pt x="3097885" y="1431679"/>
                    <a:pt x="3073811" y="1431679"/>
                  </a:cubicBezTo>
                  <a:cubicBezTo>
                    <a:pt x="3051343" y="1431679"/>
                    <a:pt x="3033814" y="1422501"/>
                    <a:pt x="3021226" y="1404145"/>
                  </a:cubicBezTo>
                  <a:cubicBezTo>
                    <a:pt x="3008637" y="1385789"/>
                    <a:pt x="3002343" y="1359259"/>
                    <a:pt x="3002343" y="1324553"/>
                  </a:cubicBezTo>
                  <a:cubicBezTo>
                    <a:pt x="3002343" y="1286436"/>
                    <a:pt x="3008913" y="1257599"/>
                    <a:pt x="3022053" y="1238039"/>
                  </a:cubicBezTo>
                  <a:cubicBezTo>
                    <a:pt x="3035194" y="1218479"/>
                    <a:pt x="3054151" y="1208700"/>
                    <a:pt x="3078927" y="1208700"/>
                  </a:cubicBezTo>
                  <a:close/>
                  <a:moveTo>
                    <a:pt x="2948681" y="1208700"/>
                  </a:moveTo>
                  <a:lnTo>
                    <a:pt x="2963587" y="1208700"/>
                  </a:lnTo>
                  <a:lnTo>
                    <a:pt x="2963587" y="1431679"/>
                  </a:lnTo>
                  <a:lnTo>
                    <a:pt x="2928299" y="1431679"/>
                  </a:lnTo>
                  <a:lnTo>
                    <a:pt x="2928299" y="1251896"/>
                  </a:lnTo>
                  <a:cubicBezTo>
                    <a:pt x="2921911" y="1256459"/>
                    <a:pt x="2915041" y="1260337"/>
                    <a:pt x="2907690" y="1263531"/>
                  </a:cubicBezTo>
                  <a:cubicBezTo>
                    <a:pt x="2900338" y="1266726"/>
                    <a:pt x="2891948" y="1269539"/>
                    <a:pt x="2882517" y="1271973"/>
                  </a:cubicBezTo>
                  <a:lnTo>
                    <a:pt x="2882517" y="1241857"/>
                  </a:lnTo>
                  <a:cubicBezTo>
                    <a:pt x="2888398" y="1239931"/>
                    <a:pt x="2894077" y="1237902"/>
                    <a:pt x="2899552" y="1235773"/>
                  </a:cubicBezTo>
                  <a:cubicBezTo>
                    <a:pt x="2905028" y="1233645"/>
                    <a:pt x="2910428" y="1231262"/>
                    <a:pt x="2915751" y="1228624"/>
                  </a:cubicBezTo>
                  <a:cubicBezTo>
                    <a:pt x="2921075" y="1225988"/>
                    <a:pt x="2926449" y="1223048"/>
                    <a:pt x="2931874" y="1219803"/>
                  </a:cubicBezTo>
                  <a:cubicBezTo>
                    <a:pt x="2937299" y="1216559"/>
                    <a:pt x="2942901" y="1212856"/>
                    <a:pt x="2948681" y="1208700"/>
                  </a:cubicBezTo>
                  <a:close/>
                  <a:moveTo>
                    <a:pt x="2732124" y="1208700"/>
                  </a:moveTo>
                  <a:cubicBezTo>
                    <a:pt x="2779568" y="1208700"/>
                    <a:pt x="2803291" y="1245562"/>
                    <a:pt x="2803291" y="1319287"/>
                  </a:cubicBezTo>
                  <a:cubicBezTo>
                    <a:pt x="2803291" y="1355798"/>
                    <a:pt x="2796596" y="1383658"/>
                    <a:pt x="2783205" y="1402866"/>
                  </a:cubicBezTo>
                  <a:cubicBezTo>
                    <a:pt x="2769814" y="1422074"/>
                    <a:pt x="2751082" y="1431679"/>
                    <a:pt x="2727008" y="1431679"/>
                  </a:cubicBezTo>
                  <a:cubicBezTo>
                    <a:pt x="2704540" y="1431679"/>
                    <a:pt x="2687011" y="1422501"/>
                    <a:pt x="2674423" y="1404145"/>
                  </a:cubicBezTo>
                  <a:cubicBezTo>
                    <a:pt x="2661834" y="1385789"/>
                    <a:pt x="2655540" y="1359259"/>
                    <a:pt x="2655540" y="1324553"/>
                  </a:cubicBezTo>
                  <a:cubicBezTo>
                    <a:pt x="2655540" y="1286436"/>
                    <a:pt x="2662110" y="1257599"/>
                    <a:pt x="2675250" y="1238039"/>
                  </a:cubicBezTo>
                  <a:cubicBezTo>
                    <a:pt x="2688391" y="1218479"/>
                    <a:pt x="2707348" y="1208700"/>
                    <a:pt x="2732124" y="1208700"/>
                  </a:cubicBezTo>
                  <a:close/>
                  <a:moveTo>
                    <a:pt x="2040759" y="1208700"/>
                  </a:moveTo>
                  <a:cubicBezTo>
                    <a:pt x="2088203" y="1208700"/>
                    <a:pt x="2111926" y="1245562"/>
                    <a:pt x="2111926" y="1319287"/>
                  </a:cubicBezTo>
                  <a:cubicBezTo>
                    <a:pt x="2111926" y="1355798"/>
                    <a:pt x="2105231" y="1383658"/>
                    <a:pt x="2091840" y="1402866"/>
                  </a:cubicBezTo>
                  <a:cubicBezTo>
                    <a:pt x="2078449" y="1422074"/>
                    <a:pt x="2059717" y="1431679"/>
                    <a:pt x="2035643" y="1431679"/>
                  </a:cubicBezTo>
                  <a:cubicBezTo>
                    <a:pt x="2013175" y="1431679"/>
                    <a:pt x="1995646" y="1422501"/>
                    <a:pt x="1983058" y="1404145"/>
                  </a:cubicBezTo>
                  <a:cubicBezTo>
                    <a:pt x="1970469" y="1385789"/>
                    <a:pt x="1964175" y="1359259"/>
                    <a:pt x="1964175" y="1324553"/>
                  </a:cubicBezTo>
                  <a:cubicBezTo>
                    <a:pt x="1964175" y="1286436"/>
                    <a:pt x="1970745" y="1257599"/>
                    <a:pt x="1983885" y="1238039"/>
                  </a:cubicBezTo>
                  <a:cubicBezTo>
                    <a:pt x="1997026" y="1218479"/>
                    <a:pt x="2015983" y="1208700"/>
                    <a:pt x="2040759" y="1208700"/>
                  </a:cubicBezTo>
                  <a:close/>
                  <a:moveTo>
                    <a:pt x="1668398" y="1208700"/>
                  </a:moveTo>
                  <a:lnTo>
                    <a:pt x="1683304" y="1208700"/>
                  </a:lnTo>
                  <a:lnTo>
                    <a:pt x="1683304" y="1431679"/>
                  </a:lnTo>
                  <a:lnTo>
                    <a:pt x="1648016" y="1431679"/>
                  </a:lnTo>
                  <a:lnTo>
                    <a:pt x="1648016" y="1251896"/>
                  </a:lnTo>
                  <a:cubicBezTo>
                    <a:pt x="1641628" y="1256459"/>
                    <a:pt x="1634758" y="1260337"/>
                    <a:pt x="1627407" y="1263531"/>
                  </a:cubicBezTo>
                  <a:cubicBezTo>
                    <a:pt x="1620055" y="1266726"/>
                    <a:pt x="1611664" y="1269539"/>
                    <a:pt x="1602234" y="1271973"/>
                  </a:cubicBezTo>
                  <a:lnTo>
                    <a:pt x="1602234" y="1241857"/>
                  </a:lnTo>
                  <a:cubicBezTo>
                    <a:pt x="1608115" y="1239931"/>
                    <a:pt x="1613794" y="1237902"/>
                    <a:pt x="1619269" y="1235773"/>
                  </a:cubicBezTo>
                  <a:cubicBezTo>
                    <a:pt x="1624745" y="1233645"/>
                    <a:pt x="1630145" y="1231262"/>
                    <a:pt x="1635468" y="1228624"/>
                  </a:cubicBezTo>
                  <a:cubicBezTo>
                    <a:pt x="1640792" y="1225988"/>
                    <a:pt x="1646166" y="1223048"/>
                    <a:pt x="1651591" y="1219803"/>
                  </a:cubicBezTo>
                  <a:cubicBezTo>
                    <a:pt x="1657016" y="1216559"/>
                    <a:pt x="1662618" y="1212856"/>
                    <a:pt x="1668398" y="1208700"/>
                  </a:cubicBezTo>
                  <a:close/>
                  <a:moveTo>
                    <a:pt x="1291732" y="1208700"/>
                  </a:moveTo>
                  <a:lnTo>
                    <a:pt x="1306638" y="1208700"/>
                  </a:lnTo>
                  <a:lnTo>
                    <a:pt x="1306638" y="1431679"/>
                  </a:lnTo>
                  <a:lnTo>
                    <a:pt x="1271350" y="1431679"/>
                  </a:lnTo>
                  <a:lnTo>
                    <a:pt x="1271350" y="1251896"/>
                  </a:lnTo>
                  <a:cubicBezTo>
                    <a:pt x="1264962" y="1256459"/>
                    <a:pt x="1258092" y="1260337"/>
                    <a:pt x="1250741" y="1263531"/>
                  </a:cubicBezTo>
                  <a:cubicBezTo>
                    <a:pt x="1243389" y="1266726"/>
                    <a:pt x="1234998" y="1269539"/>
                    <a:pt x="1225568" y="1271973"/>
                  </a:cubicBezTo>
                  <a:lnTo>
                    <a:pt x="1225568" y="1241857"/>
                  </a:lnTo>
                  <a:cubicBezTo>
                    <a:pt x="1231449" y="1239931"/>
                    <a:pt x="1237128" y="1237902"/>
                    <a:pt x="1242603" y="1235773"/>
                  </a:cubicBezTo>
                  <a:cubicBezTo>
                    <a:pt x="1248079" y="1233645"/>
                    <a:pt x="1253479" y="1231262"/>
                    <a:pt x="1258802" y="1228624"/>
                  </a:cubicBezTo>
                  <a:cubicBezTo>
                    <a:pt x="1264126" y="1225988"/>
                    <a:pt x="1269500" y="1223048"/>
                    <a:pt x="1274925" y="1219803"/>
                  </a:cubicBezTo>
                  <a:cubicBezTo>
                    <a:pt x="1280350" y="1216559"/>
                    <a:pt x="1285952" y="1212856"/>
                    <a:pt x="1291732" y="1208700"/>
                  </a:cubicBezTo>
                  <a:close/>
                  <a:moveTo>
                    <a:pt x="991786" y="1208700"/>
                  </a:moveTo>
                  <a:lnTo>
                    <a:pt x="1006692" y="1208700"/>
                  </a:lnTo>
                  <a:lnTo>
                    <a:pt x="1006692" y="1431679"/>
                  </a:lnTo>
                  <a:lnTo>
                    <a:pt x="971404" y="1431679"/>
                  </a:lnTo>
                  <a:lnTo>
                    <a:pt x="971404" y="1251896"/>
                  </a:lnTo>
                  <a:cubicBezTo>
                    <a:pt x="965016" y="1256459"/>
                    <a:pt x="958146" y="1260337"/>
                    <a:pt x="950795" y="1263531"/>
                  </a:cubicBezTo>
                  <a:cubicBezTo>
                    <a:pt x="943443" y="1266726"/>
                    <a:pt x="935052" y="1269539"/>
                    <a:pt x="925622" y="1271973"/>
                  </a:cubicBezTo>
                  <a:lnTo>
                    <a:pt x="925622" y="1241857"/>
                  </a:lnTo>
                  <a:cubicBezTo>
                    <a:pt x="931503" y="1239931"/>
                    <a:pt x="937182" y="1237902"/>
                    <a:pt x="942657" y="1235773"/>
                  </a:cubicBezTo>
                  <a:cubicBezTo>
                    <a:pt x="948133" y="1233645"/>
                    <a:pt x="953533" y="1231262"/>
                    <a:pt x="958856" y="1228624"/>
                  </a:cubicBezTo>
                  <a:cubicBezTo>
                    <a:pt x="964180" y="1225988"/>
                    <a:pt x="969554" y="1223048"/>
                    <a:pt x="974979" y="1219803"/>
                  </a:cubicBezTo>
                  <a:cubicBezTo>
                    <a:pt x="980404" y="1216559"/>
                    <a:pt x="986006" y="1212856"/>
                    <a:pt x="991786" y="1208700"/>
                  </a:cubicBezTo>
                  <a:close/>
                  <a:moveTo>
                    <a:pt x="785552" y="1208700"/>
                  </a:moveTo>
                  <a:cubicBezTo>
                    <a:pt x="832996" y="1208700"/>
                    <a:pt x="856719" y="1245562"/>
                    <a:pt x="856719" y="1319287"/>
                  </a:cubicBezTo>
                  <a:cubicBezTo>
                    <a:pt x="856719" y="1355798"/>
                    <a:pt x="850023" y="1383658"/>
                    <a:pt x="836633" y="1402866"/>
                  </a:cubicBezTo>
                  <a:cubicBezTo>
                    <a:pt x="823242" y="1422074"/>
                    <a:pt x="804510" y="1431679"/>
                    <a:pt x="780436" y="1431679"/>
                  </a:cubicBezTo>
                  <a:cubicBezTo>
                    <a:pt x="757968" y="1431679"/>
                    <a:pt x="740439" y="1422501"/>
                    <a:pt x="727851" y="1404145"/>
                  </a:cubicBezTo>
                  <a:cubicBezTo>
                    <a:pt x="715262" y="1385789"/>
                    <a:pt x="708968" y="1359259"/>
                    <a:pt x="708968" y="1324553"/>
                  </a:cubicBezTo>
                  <a:cubicBezTo>
                    <a:pt x="708968" y="1286436"/>
                    <a:pt x="715538" y="1257599"/>
                    <a:pt x="728678" y="1238039"/>
                  </a:cubicBezTo>
                  <a:cubicBezTo>
                    <a:pt x="741819" y="1218479"/>
                    <a:pt x="760776" y="1208700"/>
                    <a:pt x="785552" y="1208700"/>
                  </a:cubicBezTo>
                  <a:close/>
                  <a:moveTo>
                    <a:pt x="564952" y="1208700"/>
                  </a:moveTo>
                  <a:cubicBezTo>
                    <a:pt x="612396" y="1208700"/>
                    <a:pt x="636119" y="1245562"/>
                    <a:pt x="636119" y="1319287"/>
                  </a:cubicBezTo>
                  <a:cubicBezTo>
                    <a:pt x="636119" y="1355798"/>
                    <a:pt x="629423" y="1383658"/>
                    <a:pt x="616033" y="1402866"/>
                  </a:cubicBezTo>
                  <a:cubicBezTo>
                    <a:pt x="602642" y="1422074"/>
                    <a:pt x="583910" y="1431679"/>
                    <a:pt x="559836" y="1431679"/>
                  </a:cubicBezTo>
                  <a:cubicBezTo>
                    <a:pt x="537368" y="1431679"/>
                    <a:pt x="519839" y="1422501"/>
                    <a:pt x="507251" y="1404145"/>
                  </a:cubicBezTo>
                  <a:cubicBezTo>
                    <a:pt x="494662" y="1385789"/>
                    <a:pt x="488368" y="1359259"/>
                    <a:pt x="488368" y="1324553"/>
                  </a:cubicBezTo>
                  <a:cubicBezTo>
                    <a:pt x="488368" y="1286436"/>
                    <a:pt x="494938" y="1257599"/>
                    <a:pt x="508078" y="1238039"/>
                  </a:cubicBezTo>
                  <a:cubicBezTo>
                    <a:pt x="521219" y="1218479"/>
                    <a:pt x="540176" y="1208700"/>
                    <a:pt x="564952" y="1208700"/>
                  </a:cubicBezTo>
                  <a:close/>
                  <a:moveTo>
                    <a:pt x="397790" y="1208700"/>
                  </a:moveTo>
                  <a:lnTo>
                    <a:pt x="412696" y="1208700"/>
                  </a:lnTo>
                  <a:lnTo>
                    <a:pt x="412696" y="1431679"/>
                  </a:lnTo>
                  <a:lnTo>
                    <a:pt x="377408" y="1431679"/>
                  </a:lnTo>
                  <a:lnTo>
                    <a:pt x="377408" y="1251896"/>
                  </a:lnTo>
                  <a:cubicBezTo>
                    <a:pt x="371020" y="1256459"/>
                    <a:pt x="364150" y="1260337"/>
                    <a:pt x="356799" y="1263531"/>
                  </a:cubicBezTo>
                  <a:cubicBezTo>
                    <a:pt x="349447" y="1266726"/>
                    <a:pt x="341056" y="1269539"/>
                    <a:pt x="331626" y="1271973"/>
                  </a:cubicBezTo>
                  <a:lnTo>
                    <a:pt x="331626" y="1241857"/>
                  </a:lnTo>
                  <a:cubicBezTo>
                    <a:pt x="337507" y="1239931"/>
                    <a:pt x="343186" y="1237902"/>
                    <a:pt x="348661" y="1235773"/>
                  </a:cubicBezTo>
                  <a:cubicBezTo>
                    <a:pt x="354137" y="1233645"/>
                    <a:pt x="359537" y="1231262"/>
                    <a:pt x="364860" y="1228624"/>
                  </a:cubicBezTo>
                  <a:cubicBezTo>
                    <a:pt x="370184" y="1225988"/>
                    <a:pt x="375558" y="1223048"/>
                    <a:pt x="380983" y="1219803"/>
                  </a:cubicBezTo>
                  <a:cubicBezTo>
                    <a:pt x="386408" y="1216559"/>
                    <a:pt x="392010" y="1212856"/>
                    <a:pt x="397790" y="1208700"/>
                  </a:cubicBezTo>
                  <a:close/>
                  <a:moveTo>
                    <a:pt x="97844" y="1208700"/>
                  </a:moveTo>
                  <a:lnTo>
                    <a:pt x="112750" y="1208700"/>
                  </a:lnTo>
                  <a:lnTo>
                    <a:pt x="112750" y="1431679"/>
                  </a:lnTo>
                  <a:lnTo>
                    <a:pt x="77462" y="1431679"/>
                  </a:lnTo>
                  <a:lnTo>
                    <a:pt x="77462" y="1251896"/>
                  </a:lnTo>
                  <a:cubicBezTo>
                    <a:pt x="71074" y="1256459"/>
                    <a:pt x="64204" y="1260337"/>
                    <a:pt x="56853" y="1263531"/>
                  </a:cubicBezTo>
                  <a:cubicBezTo>
                    <a:pt x="49501" y="1266726"/>
                    <a:pt x="41110" y="1269539"/>
                    <a:pt x="31680" y="1271973"/>
                  </a:cubicBezTo>
                  <a:lnTo>
                    <a:pt x="31680" y="1241857"/>
                  </a:lnTo>
                  <a:cubicBezTo>
                    <a:pt x="37561" y="1239931"/>
                    <a:pt x="43240" y="1237902"/>
                    <a:pt x="48715" y="1235773"/>
                  </a:cubicBezTo>
                  <a:cubicBezTo>
                    <a:pt x="54191" y="1233645"/>
                    <a:pt x="59591" y="1231262"/>
                    <a:pt x="64914" y="1228624"/>
                  </a:cubicBezTo>
                  <a:cubicBezTo>
                    <a:pt x="70238" y="1225988"/>
                    <a:pt x="75612" y="1223048"/>
                    <a:pt x="81037" y="1219803"/>
                  </a:cubicBezTo>
                  <a:cubicBezTo>
                    <a:pt x="86462" y="1216559"/>
                    <a:pt x="92064" y="1212856"/>
                    <a:pt x="97844" y="1208700"/>
                  </a:cubicBezTo>
                  <a:close/>
                  <a:moveTo>
                    <a:pt x="11990061" y="942895"/>
                  </a:moveTo>
                  <a:cubicBezTo>
                    <a:pt x="11963881" y="942895"/>
                    <a:pt x="11950791" y="971733"/>
                    <a:pt x="11950791" y="1029409"/>
                  </a:cubicBezTo>
                  <a:cubicBezTo>
                    <a:pt x="11950791" y="1083373"/>
                    <a:pt x="11963630" y="1110356"/>
                    <a:pt x="11989309" y="1110356"/>
                  </a:cubicBezTo>
                  <a:cubicBezTo>
                    <a:pt x="12014585" y="1110356"/>
                    <a:pt x="12027224" y="1082922"/>
                    <a:pt x="12027224" y="1028055"/>
                  </a:cubicBezTo>
                  <a:cubicBezTo>
                    <a:pt x="12027224" y="971281"/>
                    <a:pt x="12014836" y="942895"/>
                    <a:pt x="11990061" y="942895"/>
                  </a:cubicBezTo>
                  <a:close/>
                  <a:moveTo>
                    <a:pt x="11773551" y="942895"/>
                  </a:moveTo>
                  <a:cubicBezTo>
                    <a:pt x="11747371" y="942895"/>
                    <a:pt x="11734281" y="971733"/>
                    <a:pt x="11734281" y="1029409"/>
                  </a:cubicBezTo>
                  <a:cubicBezTo>
                    <a:pt x="11734281" y="1083373"/>
                    <a:pt x="11747120" y="1110356"/>
                    <a:pt x="11772799" y="1110356"/>
                  </a:cubicBezTo>
                  <a:cubicBezTo>
                    <a:pt x="11798075" y="1110356"/>
                    <a:pt x="11810714" y="1082922"/>
                    <a:pt x="11810714" y="1028055"/>
                  </a:cubicBezTo>
                  <a:cubicBezTo>
                    <a:pt x="11810714" y="971281"/>
                    <a:pt x="11798326" y="942895"/>
                    <a:pt x="11773551" y="942895"/>
                  </a:cubicBezTo>
                  <a:close/>
                  <a:moveTo>
                    <a:pt x="6978763" y="942895"/>
                  </a:moveTo>
                  <a:cubicBezTo>
                    <a:pt x="6952583" y="942895"/>
                    <a:pt x="6939493" y="971733"/>
                    <a:pt x="6939493" y="1029409"/>
                  </a:cubicBezTo>
                  <a:cubicBezTo>
                    <a:pt x="6939493" y="1083373"/>
                    <a:pt x="6952332" y="1110356"/>
                    <a:pt x="6978011" y="1110356"/>
                  </a:cubicBezTo>
                  <a:cubicBezTo>
                    <a:pt x="7003288" y="1110356"/>
                    <a:pt x="7015926" y="1082922"/>
                    <a:pt x="7015926" y="1028055"/>
                  </a:cubicBezTo>
                  <a:cubicBezTo>
                    <a:pt x="7015926" y="971281"/>
                    <a:pt x="7003538" y="942895"/>
                    <a:pt x="6978763" y="942895"/>
                  </a:cubicBezTo>
                  <a:close/>
                  <a:moveTo>
                    <a:pt x="6762253" y="942895"/>
                  </a:moveTo>
                  <a:cubicBezTo>
                    <a:pt x="6736073" y="942895"/>
                    <a:pt x="6722983" y="971733"/>
                    <a:pt x="6722983" y="1029409"/>
                  </a:cubicBezTo>
                  <a:cubicBezTo>
                    <a:pt x="6722983" y="1083373"/>
                    <a:pt x="6735822" y="1110356"/>
                    <a:pt x="6761501" y="1110356"/>
                  </a:cubicBezTo>
                  <a:cubicBezTo>
                    <a:pt x="6786778" y="1110356"/>
                    <a:pt x="6799416" y="1082922"/>
                    <a:pt x="6799416" y="1028055"/>
                  </a:cubicBezTo>
                  <a:cubicBezTo>
                    <a:pt x="6799416" y="971281"/>
                    <a:pt x="6787028" y="942895"/>
                    <a:pt x="6762253" y="942895"/>
                  </a:cubicBezTo>
                  <a:close/>
                  <a:moveTo>
                    <a:pt x="6144476" y="942895"/>
                  </a:moveTo>
                  <a:cubicBezTo>
                    <a:pt x="6118296" y="942895"/>
                    <a:pt x="6105206" y="971733"/>
                    <a:pt x="6105206" y="1029409"/>
                  </a:cubicBezTo>
                  <a:cubicBezTo>
                    <a:pt x="6105206" y="1083373"/>
                    <a:pt x="6118045" y="1110356"/>
                    <a:pt x="6143724" y="1110356"/>
                  </a:cubicBezTo>
                  <a:cubicBezTo>
                    <a:pt x="6169001" y="1110356"/>
                    <a:pt x="6181639" y="1082922"/>
                    <a:pt x="6181639" y="1028055"/>
                  </a:cubicBezTo>
                  <a:cubicBezTo>
                    <a:pt x="6181639" y="971281"/>
                    <a:pt x="6169251" y="942895"/>
                    <a:pt x="6144476" y="942895"/>
                  </a:cubicBezTo>
                  <a:close/>
                  <a:moveTo>
                    <a:pt x="5927965" y="942895"/>
                  </a:moveTo>
                  <a:cubicBezTo>
                    <a:pt x="5901786" y="942895"/>
                    <a:pt x="5888696" y="971733"/>
                    <a:pt x="5888696" y="1029409"/>
                  </a:cubicBezTo>
                  <a:cubicBezTo>
                    <a:pt x="5888696" y="1083373"/>
                    <a:pt x="5901536" y="1110356"/>
                    <a:pt x="5927213" y="1110356"/>
                  </a:cubicBezTo>
                  <a:cubicBezTo>
                    <a:pt x="5952490" y="1110356"/>
                    <a:pt x="5965130" y="1082922"/>
                    <a:pt x="5965130" y="1028055"/>
                  </a:cubicBezTo>
                  <a:cubicBezTo>
                    <a:pt x="5965130" y="971281"/>
                    <a:pt x="5952741" y="942895"/>
                    <a:pt x="5927965" y="942895"/>
                  </a:cubicBezTo>
                  <a:close/>
                  <a:moveTo>
                    <a:pt x="5703858" y="942895"/>
                  </a:moveTo>
                  <a:cubicBezTo>
                    <a:pt x="5677680" y="942895"/>
                    <a:pt x="5664590" y="971733"/>
                    <a:pt x="5664590" y="1029409"/>
                  </a:cubicBezTo>
                  <a:cubicBezTo>
                    <a:pt x="5664590" y="1083373"/>
                    <a:pt x="5677428" y="1110356"/>
                    <a:pt x="5703106" y="1110356"/>
                  </a:cubicBezTo>
                  <a:cubicBezTo>
                    <a:pt x="5728384" y="1110356"/>
                    <a:pt x="5741022" y="1082922"/>
                    <a:pt x="5741022" y="1028055"/>
                  </a:cubicBezTo>
                  <a:cubicBezTo>
                    <a:pt x="5741022" y="971281"/>
                    <a:pt x="5728634" y="942895"/>
                    <a:pt x="5703858" y="942895"/>
                  </a:cubicBezTo>
                  <a:close/>
                  <a:moveTo>
                    <a:pt x="925881" y="942895"/>
                  </a:moveTo>
                  <a:cubicBezTo>
                    <a:pt x="899701" y="942895"/>
                    <a:pt x="886611" y="971733"/>
                    <a:pt x="886611" y="1029409"/>
                  </a:cubicBezTo>
                  <a:cubicBezTo>
                    <a:pt x="886611" y="1083373"/>
                    <a:pt x="899450" y="1110356"/>
                    <a:pt x="925129" y="1110356"/>
                  </a:cubicBezTo>
                  <a:cubicBezTo>
                    <a:pt x="950406" y="1110356"/>
                    <a:pt x="963044" y="1082922"/>
                    <a:pt x="963044" y="1028055"/>
                  </a:cubicBezTo>
                  <a:cubicBezTo>
                    <a:pt x="963044" y="971281"/>
                    <a:pt x="950657" y="942895"/>
                    <a:pt x="925881" y="942895"/>
                  </a:cubicBezTo>
                  <a:close/>
                  <a:moveTo>
                    <a:pt x="709604" y="942895"/>
                  </a:moveTo>
                  <a:cubicBezTo>
                    <a:pt x="683425" y="942895"/>
                    <a:pt x="670336" y="971733"/>
                    <a:pt x="670336" y="1029409"/>
                  </a:cubicBezTo>
                  <a:cubicBezTo>
                    <a:pt x="670336" y="1083373"/>
                    <a:pt x="683175" y="1110356"/>
                    <a:pt x="708853" y="1110356"/>
                  </a:cubicBezTo>
                  <a:cubicBezTo>
                    <a:pt x="734130" y="1110356"/>
                    <a:pt x="746769" y="1082922"/>
                    <a:pt x="746769" y="1028055"/>
                  </a:cubicBezTo>
                  <a:cubicBezTo>
                    <a:pt x="746769" y="971281"/>
                    <a:pt x="734381" y="942895"/>
                    <a:pt x="709604" y="942895"/>
                  </a:cubicBezTo>
                  <a:close/>
                  <a:moveTo>
                    <a:pt x="87999" y="942895"/>
                  </a:moveTo>
                  <a:cubicBezTo>
                    <a:pt x="61819" y="942895"/>
                    <a:pt x="48728" y="971733"/>
                    <a:pt x="48728" y="1029409"/>
                  </a:cubicBezTo>
                  <a:cubicBezTo>
                    <a:pt x="48728" y="1083373"/>
                    <a:pt x="61567" y="1110356"/>
                    <a:pt x="87245" y="1110356"/>
                  </a:cubicBezTo>
                  <a:cubicBezTo>
                    <a:pt x="112522" y="1110356"/>
                    <a:pt x="125161" y="1082922"/>
                    <a:pt x="125161" y="1028055"/>
                  </a:cubicBezTo>
                  <a:cubicBezTo>
                    <a:pt x="125161" y="971281"/>
                    <a:pt x="112774" y="942895"/>
                    <a:pt x="87999" y="942895"/>
                  </a:cubicBezTo>
                  <a:close/>
                  <a:moveTo>
                    <a:pt x="11991716" y="915060"/>
                  </a:moveTo>
                  <a:cubicBezTo>
                    <a:pt x="12039160" y="915060"/>
                    <a:pt x="12062883" y="951923"/>
                    <a:pt x="12062883" y="1025647"/>
                  </a:cubicBezTo>
                  <a:cubicBezTo>
                    <a:pt x="12062883" y="1062159"/>
                    <a:pt x="12056187" y="1090019"/>
                    <a:pt x="12042797" y="1109227"/>
                  </a:cubicBezTo>
                  <a:cubicBezTo>
                    <a:pt x="12029406" y="1128435"/>
                    <a:pt x="12010674" y="1138040"/>
                    <a:pt x="11986600" y="1138040"/>
                  </a:cubicBezTo>
                  <a:cubicBezTo>
                    <a:pt x="11964132" y="1138040"/>
                    <a:pt x="11946603" y="1128862"/>
                    <a:pt x="11934015" y="1110506"/>
                  </a:cubicBezTo>
                  <a:cubicBezTo>
                    <a:pt x="11921426" y="1092150"/>
                    <a:pt x="11915132" y="1065619"/>
                    <a:pt x="11915132" y="1030914"/>
                  </a:cubicBezTo>
                  <a:cubicBezTo>
                    <a:pt x="11915132" y="992797"/>
                    <a:pt x="11921702" y="963959"/>
                    <a:pt x="11934842" y="944399"/>
                  </a:cubicBezTo>
                  <a:cubicBezTo>
                    <a:pt x="11947983" y="924840"/>
                    <a:pt x="11966940" y="915060"/>
                    <a:pt x="11991716" y="915060"/>
                  </a:cubicBezTo>
                  <a:close/>
                  <a:moveTo>
                    <a:pt x="11775206" y="915060"/>
                  </a:moveTo>
                  <a:cubicBezTo>
                    <a:pt x="11822650" y="915060"/>
                    <a:pt x="11846373" y="951923"/>
                    <a:pt x="11846373" y="1025647"/>
                  </a:cubicBezTo>
                  <a:cubicBezTo>
                    <a:pt x="11846373" y="1062159"/>
                    <a:pt x="11839677" y="1090019"/>
                    <a:pt x="11826287" y="1109227"/>
                  </a:cubicBezTo>
                  <a:cubicBezTo>
                    <a:pt x="11812896" y="1128435"/>
                    <a:pt x="11794164" y="1138040"/>
                    <a:pt x="11770090" y="1138040"/>
                  </a:cubicBezTo>
                  <a:cubicBezTo>
                    <a:pt x="11747622" y="1138040"/>
                    <a:pt x="11730093" y="1128862"/>
                    <a:pt x="11717505" y="1110506"/>
                  </a:cubicBezTo>
                  <a:cubicBezTo>
                    <a:pt x="11704916" y="1092150"/>
                    <a:pt x="11698622" y="1065619"/>
                    <a:pt x="11698622" y="1030914"/>
                  </a:cubicBezTo>
                  <a:cubicBezTo>
                    <a:pt x="11698622" y="992797"/>
                    <a:pt x="11705192" y="963959"/>
                    <a:pt x="11718332" y="944399"/>
                  </a:cubicBezTo>
                  <a:cubicBezTo>
                    <a:pt x="11731473" y="924840"/>
                    <a:pt x="11750430" y="915060"/>
                    <a:pt x="11775206" y="915060"/>
                  </a:cubicBezTo>
                  <a:close/>
                  <a:moveTo>
                    <a:pt x="11623651" y="915060"/>
                  </a:moveTo>
                  <a:lnTo>
                    <a:pt x="11638557" y="915060"/>
                  </a:lnTo>
                  <a:lnTo>
                    <a:pt x="11638557" y="1138040"/>
                  </a:lnTo>
                  <a:lnTo>
                    <a:pt x="11603269" y="1138040"/>
                  </a:lnTo>
                  <a:lnTo>
                    <a:pt x="11603269" y="958257"/>
                  </a:lnTo>
                  <a:cubicBezTo>
                    <a:pt x="11596881" y="962820"/>
                    <a:pt x="11590011" y="966698"/>
                    <a:pt x="11582660" y="969892"/>
                  </a:cubicBezTo>
                  <a:cubicBezTo>
                    <a:pt x="11575308" y="973087"/>
                    <a:pt x="11566917" y="975900"/>
                    <a:pt x="11557487" y="978334"/>
                  </a:cubicBezTo>
                  <a:lnTo>
                    <a:pt x="11557487" y="948218"/>
                  </a:lnTo>
                  <a:cubicBezTo>
                    <a:pt x="11563368" y="946292"/>
                    <a:pt x="11569047" y="944263"/>
                    <a:pt x="11574522" y="942134"/>
                  </a:cubicBezTo>
                  <a:cubicBezTo>
                    <a:pt x="11579998" y="940005"/>
                    <a:pt x="11585398" y="937621"/>
                    <a:pt x="11590721" y="934985"/>
                  </a:cubicBezTo>
                  <a:cubicBezTo>
                    <a:pt x="11596045" y="932349"/>
                    <a:pt x="11601419" y="929408"/>
                    <a:pt x="11606844" y="926163"/>
                  </a:cubicBezTo>
                  <a:cubicBezTo>
                    <a:pt x="11612269" y="922919"/>
                    <a:pt x="11617871" y="919217"/>
                    <a:pt x="11623651" y="915060"/>
                  </a:cubicBezTo>
                  <a:close/>
                  <a:moveTo>
                    <a:pt x="11320876" y="915060"/>
                  </a:moveTo>
                  <a:lnTo>
                    <a:pt x="11335782" y="915060"/>
                  </a:lnTo>
                  <a:lnTo>
                    <a:pt x="11335782" y="1138040"/>
                  </a:lnTo>
                  <a:lnTo>
                    <a:pt x="11300494" y="1138040"/>
                  </a:lnTo>
                  <a:lnTo>
                    <a:pt x="11300494" y="958257"/>
                  </a:lnTo>
                  <a:cubicBezTo>
                    <a:pt x="11294106" y="962820"/>
                    <a:pt x="11287236" y="966698"/>
                    <a:pt x="11279885" y="969892"/>
                  </a:cubicBezTo>
                  <a:cubicBezTo>
                    <a:pt x="11272533" y="973087"/>
                    <a:pt x="11264142" y="975900"/>
                    <a:pt x="11254712" y="978334"/>
                  </a:cubicBezTo>
                  <a:lnTo>
                    <a:pt x="11254712" y="948218"/>
                  </a:lnTo>
                  <a:cubicBezTo>
                    <a:pt x="11260593" y="946292"/>
                    <a:pt x="11266272" y="944263"/>
                    <a:pt x="11271747" y="942134"/>
                  </a:cubicBezTo>
                  <a:cubicBezTo>
                    <a:pt x="11277223" y="940005"/>
                    <a:pt x="11282623" y="937621"/>
                    <a:pt x="11287946" y="934985"/>
                  </a:cubicBezTo>
                  <a:cubicBezTo>
                    <a:pt x="11293270" y="932349"/>
                    <a:pt x="11298644" y="929408"/>
                    <a:pt x="11304069" y="926163"/>
                  </a:cubicBezTo>
                  <a:cubicBezTo>
                    <a:pt x="11309494" y="922919"/>
                    <a:pt x="11315096" y="919217"/>
                    <a:pt x="11320876" y="915060"/>
                  </a:cubicBezTo>
                  <a:close/>
                  <a:moveTo>
                    <a:pt x="10943712" y="915060"/>
                  </a:moveTo>
                  <a:lnTo>
                    <a:pt x="10958618" y="915060"/>
                  </a:lnTo>
                  <a:lnTo>
                    <a:pt x="10958618" y="1138040"/>
                  </a:lnTo>
                  <a:lnTo>
                    <a:pt x="10923330" y="1138040"/>
                  </a:lnTo>
                  <a:lnTo>
                    <a:pt x="10923330" y="958257"/>
                  </a:lnTo>
                  <a:cubicBezTo>
                    <a:pt x="10916942" y="962820"/>
                    <a:pt x="10910072" y="966698"/>
                    <a:pt x="10902721" y="969892"/>
                  </a:cubicBezTo>
                  <a:cubicBezTo>
                    <a:pt x="10895369" y="973087"/>
                    <a:pt x="10886978" y="975900"/>
                    <a:pt x="10877548" y="978334"/>
                  </a:cubicBezTo>
                  <a:lnTo>
                    <a:pt x="10877548" y="948218"/>
                  </a:lnTo>
                  <a:cubicBezTo>
                    <a:pt x="10883429" y="946292"/>
                    <a:pt x="10889108" y="944263"/>
                    <a:pt x="10894583" y="942134"/>
                  </a:cubicBezTo>
                  <a:cubicBezTo>
                    <a:pt x="10900059" y="940005"/>
                    <a:pt x="10905459" y="937621"/>
                    <a:pt x="10910782" y="934985"/>
                  </a:cubicBezTo>
                  <a:cubicBezTo>
                    <a:pt x="10916106" y="932349"/>
                    <a:pt x="10921480" y="929408"/>
                    <a:pt x="10926905" y="926163"/>
                  </a:cubicBezTo>
                  <a:cubicBezTo>
                    <a:pt x="10932330" y="922919"/>
                    <a:pt x="10937932" y="919217"/>
                    <a:pt x="10943712" y="915060"/>
                  </a:cubicBezTo>
                  <a:close/>
                  <a:moveTo>
                    <a:pt x="10794855" y="915060"/>
                  </a:moveTo>
                  <a:lnTo>
                    <a:pt x="10809761" y="915060"/>
                  </a:lnTo>
                  <a:lnTo>
                    <a:pt x="10809761" y="1138040"/>
                  </a:lnTo>
                  <a:lnTo>
                    <a:pt x="10774473" y="1138040"/>
                  </a:lnTo>
                  <a:lnTo>
                    <a:pt x="10774473" y="958257"/>
                  </a:lnTo>
                  <a:cubicBezTo>
                    <a:pt x="10768085" y="962820"/>
                    <a:pt x="10761215" y="966698"/>
                    <a:pt x="10753864" y="969892"/>
                  </a:cubicBezTo>
                  <a:cubicBezTo>
                    <a:pt x="10746512" y="973087"/>
                    <a:pt x="10738121" y="975900"/>
                    <a:pt x="10728691" y="978334"/>
                  </a:cubicBezTo>
                  <a:lnTo>
                    <a:pt x="10728691" y="948218"/>
                  </a:lnTo>
                  <a:cubicBezTo>
                    <a:pt x="10734572" y="946292"/>
                    <a:pt x="10740251" y="944263"/>
                    <a:pt x="10745726" y="942134"/>
                  </a:cubicBezTo>
                  <a:cubicBezTo>
                    <a:pt x="10751202" y="940005"/>
                    <a:pt x="10756602" y="937621"/>
                    <a:pt x="10761925" y="934985"/>
                  </a:cubicBezTo>
                  <a:cubicBezTo>
                    <a:pt x="10767249" y="932349"/>
                    <a:pt x="10772623" y="929408"/>
                    <a:pt x="10778048" y="926163"/>
                  </a:cubicBezTo>
                  <a:cubicBezTo>
                    <a:pt x="10783473" y="922919"/>
                    <a:pt x="10789075" y="919217"/>
                    <a:pt x="10794855" y="915060"/>
                  </a:cubicBezTo>
                  <a:close/>
                  <a:moveTo>
                    <a:pt x="10640937" y="915060"/>
                  </a:moveTo>
                  <a:lnTo>
                    <a:pt x="10655843" y="915060"/>
                  </a:lnTo>
                  <a:lnTo>
                    <a:pt x="10655843" y="1138040"/>
                  </a:lnTo>
                  <a:lnTo>
                    <a:pt x="10620555" y="1138040"/>
                  </a:lnTo>
                  <a:lnTo>
                    <a:pt x="10620555" y="958257"/>
                  </a:lnTo>
                  <a:cubicBezTo>
                    <a:pt x="10614167" y="962820"/>
                    <a:pt x="10607297" y="966698"/>
                    <a:pt x="10599946" y="969892"/>
                  </a:cubicBezTo>
                  <a:cubicBezTo>
                    <a:pt x="10592594" y="973087"/>
                    <a:pt x="10584203" y="975900"/>
                    <a:pt x="10574773" y="978334"/>
                  </a:cubicBezTo>
                  <a:lnTo>
                    <a:pt x="10574773" y="948218"/>
                  </a:lnTo>
                  <a:cubicBezTo>
                    <a:pt x="10580654" y="946292"/>
                    <a:pt x="10586333" y="944263"/>
                    <a:pt x="10591808" y="942134"/>
                  </a:cubicBezTo>
                  <a:cubicBezTo>
                    <a:pt x="10597284" y="940005"/>
                    <a:pt x="10602684" y="937621"/>
                    <a:pt x="10608007" y="934985"/>
                  </a:cubicBezTo>
                  <a:cubicBezTo>
                    <a:pt x="10613331" y="932349"/>
                    <a:pt x="10618705" y="929408"/>
                    <a:pt x="10624130" y="926163"/>
                  </a:cubicBezTo>
                  <a:cubicBezTo>
                    <a:pt x="10629555" y="922919"/>
                    <a:pt x="10635157" y="919217"/>
                    <a:pt x="10640937" y="915060"/>
                  </a:cubicBezTo>
                  <a:close/>
                  <a:moveTo>
                    <a:pt x="10492080" y="915060"/>
                  </a:moveTo>
                  <a:lnTo>
                    <a:pt x="10506986" y="915060"/>
                  </a:lnTo>
                  <a:lnTo>
                    <a:pt x="10506986" y="1138040"/>
                  </a:lnTo>
                  <a:lnTo>
                    <a:pt x="10471698" y="1138040"/>
                  </a:lnTo>
                  <a:lnTo>
                    <a:pt x="10471698" y="958257"/>
                  </a:lnTo>
                  <a:cubicBezTo>
                    <a:pt x="10465310" y="962820"/>
                    <a:pt x="10458440" y="966698"/>
                    <a:pt x="10451089" y="969892"/>
                  </a:cubicBezTo>
                  <a:cubicBezTo>
                    <a:pt x="10443737" y="973087"/>
                    <a:pt x="10435346" y="975900"/>
                    <a:pt x="10425916" y="978334"/>
                  </a:cubicBezTo>
                  <a:lnTo>
                    <a:pt x="10425916" y="948218"/>
                  </a:lnTo>
                  <a:cubicBezTo>
                    <a:pt x="10431797" y="946292"/>
                    <a:pt x="10437476" y="944263"/>
                    <a:pt x="10442951" y="942134"/>
                  </a:cubicBezTo>
                  <a:cubicBezTo>
                    <a:pt x="10448427" y="940005"/>
                    <a:pt x="10453827" y="937621"/>
                    <a:pt x="10459150" y="934985"/>
                  </a:cubicBezTo>
                  <a:cubicBezTo>
                    <a:pt x="10464474" y="932349"/>
                    <a:pt x="10469848" y="929408"/>
                    <a:pt x="10475273" y="926163"/>
                  </a:cubicBezTo>
                  <a:cubicBezTo>
                    <a:pt x="10480698" y="922919"/>
                    <a:pt x="10486300" y="919217"/>
                    <a:pt x="10492080" y="915060"/>
                  </a:cubicBezTo>
                  <a:close/>
                  <a:moveTo>
                    <a:pt x="9770689" y="915060"/>
                  </a:moveTo>
                  <a:lnTo>
                    <a:pt x="9785595" y="915060"/>
                  </a:lnTo>
                  <a:lnTo>
                    <a:pt x="9785595" y="1138040"/>
                  </a:lnTo>
                  <a:lnTo>
                    <a:pt x="9750307" y="1138040"/>
                  </a:lnTo>
                  <a:lnTo>
                    <a:pt x="9750307" y="958257"/>
                  </a:lnTo>
                  <a:cubicBezTo>
                    <a:pt x="9743919" y="962820"/>
                    <a:pt x="9737049" y="966698"/>
                    <a:pt x="9729698" y="969892"/>
                  </a:cubicBezTo>
                  <a:cubicBezTo>
                    <a:pt x="9722346" y="973087"/>
                    <a:pt x="9713955" y="975900"/>
                    <a:pt x="9704525" y="978334"/>
                  </a:cubicBezTo>
                  <a:lnTo>
                    <a:pt x="9704525" y="948218"/>
                  </a:lnTo>
                  <a:cubicBezTo>
                    <a:pt x="9710406" y="946292"/>
                    <a:pt x="9716085" y="944263"/>
                    <a:pt x="9721560" y="942134"/>
                  </a:cubicBezTo>
                  <a:cubicBezTo>
                    <a:pt x="9727036" y="940005"/>
                    <a:pt x="9732436" y="937621"/>
                    <a:pt x="9737759" y="934985"/>
                  </a:cubicBezTo>
                  <a:cubicBezTo>
                    <a:pt x="9743083" y="932349"/>
                    <a:pt x="9748457" y="929408"/>
                    <a:pt x="9753882" y="926163"/>
                  </a:cubicBezTo>
                  <a:cubicBezTo>
                    <a:pt x="9759307" y="922919"/>
                    <a:pt x="9764909" y="919217"/>
                    <a:pt x="9770689" y="915060"/>
                  </a:cubicBezTo>
                  <a:close/>
                  <a:moveTo>
                    <a:pt x="9621832" y="915060"/>
                  </a:moveTo>
                  <a:lnTo>
                    <a:pt x="9636738" y="915060"/>
                  </a:lnTo>
                  <a:lnTo>
                    <a:pt x="9636738" y="1138040"/>
                  </a:lnTo>
                  <a:lnTo>
                    <a:pt x="9601450" y="1138040"/>
                  </a:lnTo>
                  <a:lnTo>
                    <a:pt x="9601450" y="958257"/>
                  </a:lnTo>
                  <a:cubicBezTo>
                    <a:pt x="9595062" y="962820"/>
                    <a:pt x="9588192" y="966698"/>
                    <a:pt x="9580841" y="969892"/>
                  </a:cubicBezTo>
                  <a:cubicBezTo>
                    <a:pt x="9573489" y="973087"/>
                    <a:pt x="9565098" y="975900"/>
                    <a:pt x="9555668" y="978334"/>
                  </a:cubicBezTo>
                  <a:lnTo>
                    <a:pt x="9555668" y="948218"/>
                  </a:lnTo>
                  <a:cubicBezTo>
                    <a:pt x="9561549" y="946292"/>
                    <a:pt x="9567228" y="944263"/>
                    <a:pt x="9572703" y="942134"/>
                  </a:cubicBezTo>
                  <a:cubicBezTo>
                    <a:pt x="9578179" y="940005"/>
                    <a:pt x="9583579" y="937621"/>
                    <a:pt x="9588902" y="934985"/>
                  </a:cubicBezTo>
                  <a:cubicBezTo>
                    <a:pt x="9594226" y="932349"/>
                    <a:pt x="9599600" y="929408"/>
                    <a:pt x="9605025" y="926163"/>
                  </a:cubicBezTo>
                  <a:cubicBezTo>
                    <a:pt x="9610450" y="922919"/>
                    <a:pt x="9616052" y="919217"/>
                    <a:pt x="9621832" y="915060"/>
                  </a:cubicBezTo>
                  <a:close/>
                  <a:moveTo>
                    <a:pt x="8818727" y="915060"/>
                  </a:moveTo>
                  <a:lnTo>
                    <a:pt x="8833633" y="915060"/>
                  </a:lnTo>
                  <a:lnTo>
                    <a:pt x="8833633" y="1138040"/>
                  </a:lnTo>
                  <a:lnTo>
                    <a:pt x="8798345" y="1138040"/>
                  </a:lnTo>
                  <a:lnTo>
                    <a:pt x="8798345" y="958257"/>
                  </a:lnTo>
                  <a:cubicBezTo>
                    <a:pt x="8791957" y="962820"/>
                    <a:pt x="8785087" y="966698"/>
                    <a:pt x="8777736" y="969892"/>
                  </a:cubicBezTo>
                  <a:cubicBezTo>
                    <a:pt x="8770384" y="973087"/>
                    <a:pt x="8761993" y="975900"/>
                    <a:pt x="8752563" y="978334"/>
                  </a:cubicBezTo>
                  <a:lnTo>
                    <a:pt x="8752563" y="948218"/>
                  </a:lnTo>
                  <a:cubicBezTo>
                    <a:pt x="8758444" y="946292"/>
                    <a:pt x="8764123" y="944263"/>
                    <a:pt x="8769598" y="942134"/>
                  </a:cubicBezTo>
                  <a:cubicBezTo>
                    <a:pt x="8775074" y="940005"/>
                    <a:pt x="8780474" y="937621"/>
                    <a:pt x="8785797" y="934985"/>
                  </a:cubicBezTo>
                  <a:cubicBezTo>
                    <a:pt x="8791121" y="932349"/>
                    <a:pt x="8796495" y="929408"/>
                    <a:pt x="8801920" y="926163"/>
                  </a:cubicBezTo>
                  <a:cubicBezTo>
                    <a:pt x="8807345" y="922919"/>
                    <a:pt x="8812947" y="919217"/>
                    <a:pt x="8818727" y="915060"/>
                  </a:cubicBezTo>
                  <a:close/>
                  <a:moveTo>
                    <a:pt x="8440120" y="915060"/>
                  </a:moveTo>
                  <a:lnTo>
                    <a:pt x="8455026" y="915060"/>
                  </a:lnTo>
                  <a:lnTo>
                    <a:pt x="8455026" y="1138040"/>
                  </a:lnTo>
                  <a:lnTo>
                    <a:pt x="8419738" y="1138040"/>
                  </a:lnTo>
                  <a:lnTo>
                    <a:pt x="8419738" y="958257"/>
                  </a:lnTo>
                  <a:cubicBezTo>
                    <a:pt x="8413350" y="962820"/>
                    <a:pt x="8406480" y="966698"/>
                    <a:pt x="8399129" y="969892"/>
                  </a:cubicBezTo>
                  <a:cubicBezTo>
                    <a:pt x="8391777" y="973087"/>
                    <a:pt x="8383386" y="975900"/>
                    <a:pt x="8373956" y="978334"/>
                  </a:cubicBezTo>
                  <a:lnTo>
                    <a:pt x="8373956" y="948218"/>
                  </a:lnTo>
                  <a:cubicBezTo>
                    <a:pt x="8379837" y="946292"/>
                    <a:pt x="8385516" y="944263"/>
                    <a:pt x="8390991" y="942134"/>
                  </a:cubicBezTo>
                  <a:cubicBezTo>
                    <a:pt x="8396467" y="940005"/>
                    <a:pt x="8401867" y="937621"/>
                    <a:pt x="8407190" y="934985"/>
                  </a:cubicBezTo>
                  <a:cubicBezTo>
                    <a:pt x="8412514" y="932349"/>
                    <a:pt x="8417888" y="929408"/>
                    <a:pt x="8423313" y="926163"/>
                  </a:cubicBezTo>
                  <a:cubicBezTo>
                    <a:pt x="8428738" y="922919"/>
                    <a:pt x="8434340" y="919217"/>
                    <a:pt x="8440120" y="915060"/>
                  </a:cubicBezTo>
                  <a:close/>
                  <a:moveTo>
                    <a:pt x="8291263" y="915060"/>
                  </a:moveTo>
                  <a:lnTo>
                    <a:pt x="8306169" y="915060"/>
                  </a:lnTo>
                  <a:lnTo>
                    <a:pt x="8306169" y="1138040"/>
                  </a:lnTo>
                  <a:lnTo>
                    <a:pt x="8270881" y="1138040"/>
                  </a:lnTo>
                  <a:lnTo>
                    <a:pt x="8270881" y="958257"/>
                  </a:lnTo>
                  <a:cubicBezTo>
                    <a:pt x="8264493" y="962820"/>
                    <a:pt x="8257624" y="966698"/>
                    <a:pt x="8250272" y="969892"/>
                  </a:cubicBezTo>
                  <a:cubicBezTo>
                    <a:pt x="8242920" y="973087"/>
                    <a:pt x="8234530" y="975900"/>
                    <a:pt x="8225099" y="978334"/>
                  </a:cubicBezTo>
                  <a:lnTo>
                    <a:pt x="8225099" y="948218"/>
                  </a:lnTo>
                  <a:cubicBezTo>
                    <a:pt x="8230980" y="946292"/>
                    <a:pt x="8236659" y="944263"/>
                    <a:pt x="8242134" y="942134"/>
                  </a:cubicBezTo>
                  <a:cubicBezTo>
                    <a:pt x="8247610" y="940005"/>
                    <a:pt x="8253010" y="937621"/>
                    <a:pt x="8258333" y="934985"/>
                  </a:cubicBezTo>
                  <a:cubicBezTo>
                    <a:pt x="8263657" y="932349"/>
                    <a:pt x="8269031" y="929408"/>
                    <a:pt x="8274456" y="926163"/>
                  </a:cubicBezTo>
                  <a:cubicBezTo>
                    <a:pt x="8279881" y="922919"/>
                    <a:pt x="8285483" y="919217"/>
                    <a:pt x="8291263" y="915060"/>
                  </a:cubicBezTo>
                  <a:close/>
                  <a:moveTo>
                    <a:pt x="8137345" y="915060"/>
                  </a:moveTo>
                  <a:lnTo>
                    <a:pt x="8152251" y="915060"/>
                  </a:lnTo>
                  <a:lnTo>
                    <a:pt x="8152251" y="1138040"/>
                  </a:lnTo>
                  <a:lnTo>
                    <a:pt x="8116963" y="1138040"/>
                  </a:lnTo>
                  <a:lnTo>
                    <a:pt x="8116963" y="958257"/>
                  </a:lnTo>
                  <a:cubicBezTo>
                    <a:pt x="8110575" y="962820"/>
                    <a:pt x="8103706" y="966698"/>
                    <a:pt x="8096354" y="969892"/>
                  </a:cubicBezTo>
                  <a:cubicBezTo>
                    <a:pt x="8089002" y="973087"/>
                    <a:pt x="8080612" y="975900"/>
                    <a:pt x="8071181" y="978334"/>
                  </a:cubicBezTo>
                  <a:lnTo>
                    <a:pt x="8071181" y="948218"/>
                  </a:lnTo>
                  <a:cubicBezTo>
                    <a:pt x="8077062" y="946292"/>
                    <a:pt x="8082741" y="944263"/>
                    <a:pt x="8088216" y="942134"/>
                  </a:cubicBezTo>
                  <a:cubicBezTo>
                    <a:pt x="8093692" y="940005"/>
                    <a:pt x="8099092" y="937621"/>
                    <a:pt x="8104415" y="934985"/>
                  </a:cubicBezTo>
                  <a:cubicBezTo>
                    <a:pt x="8109739" y="932349"/>
                    <a:pt x="8115113" y="929408"/>
                    <a:pt x="8120538" y="926163"/>
                  </a:cubicBezTo>
                  <a:cubicBezTo>
                    <a:pt x="8125963" y="922919"/>
                    <a:pt x="8131565" y="919217"/>
                    <a:pt x="8137345" y="915060"/>
                  </a:cubicBezTo>
                  <a:close/>
                  <a:moveTo>
                    <a:pt x="7988488" y="915060"/>
                  </a:moveTo>
                  <a:lnTo>
                    <a:pt x="8003394" y="915060"/>
                  </a:lnTo>
                  <a:lnTo>
                    <a:pt x="8003394" y="1138040"/>
                  </a:lnTo>
                  <a:lnTo>
                    <a:pt x="7968106" y="1138040"/>
                  </a:lnTo>
                  <a:lnTo>
                    <a:pt x="7968106" y="958257"/>
                  </a:lnTo>
                  <a:cubicBezTo>
                    <a:pt x="7961718" y="962820"/>
                    <a:pt x="7954849" y="966698"/>
                    <a:pt x="7947497" y="969892"/>
                  </a:cubicBezTo>
                  <a:cubicBezTo>
                    <a:pt x="7940145" y="973087"/>
                    <a:pt x="7931755" y="975900"/>
                    <a:pt x="7922324" y="978334"/>
                  </a:cubicBezTo>
                  <a:lnTo>
                    <a:pt x="7922324" y="948218"/>
                  </a:lnTo>
                  <a:cubicBezTo>
                    <a:pt x="7928205" y="946292"/>
                    <a:pt x="7933884" y="944263"/>
                    <a:pt x="7939359" y="942134"/>
                  </a:cubicBezTo>
                  <a:cubicBezTo>
                    <a:pt x="7944835" y="940005"/>
                    <a:pt x="7950235" y="937621"/>
                    <a:pt x="7955558" y="934985"/>
                  </a:cubicBezTo>
                  <a:cubicBezTo>
                    <a:pt x="7960882" y="932349"/>
                    <a:pt x="7966256" y="929408"/>
                    <a:pt x="7971681" y="926163"/>
                  </a:cubicBezTo>
                  <a:cubicBezTo>
                    <a:pt x="7977106" y="922919"/>
                    <a:pt x="7982708" y="919217"/>
                    <a:pt x="7988488" y="915060"/>
                  </a:cubicBezTo>
                  <a:close/>
                  <a:moveTo>
                    <a:pt x="7839631" y="915060"/>
                  </a:moveTo>
                  <a:lnTo>
                    <a:pt x="7854537" y="915060"/>
                  </a:lnTo>
                  <a:lnTo>
                    <a:pt x="7854537" y="1138040"/>
                  </a:lnTo>
                  <a:lnTo>
                    <a:pt x="7819249" y="1138040"/>
                  </a:lnTo>
                  <a:lnTo>
                    <a:pt x="7819249" y="958257"/>
                  </a:lnTo>
                  <a:cubicBezTo>
                    <a:pt x="7812861" y="962820"/>
                    <a:pt x="7805992" y="966698"/>
                    <a:pt x="7798640" y="969892"/>
                  </a:cubicBezTo>
                  <a:cubicBezTo>
                    <a:pt x="7791288" y="973087"/>
                    <a:pt x="7782898" y="975900"/>
                    <a:pt x="7773467" y="978334"/>
                  </a:cubicBezTo>
                  <a:lnTo>
                    <a:pt x="7773467" y="948218"/>
                  </a:lnTo>
                  <a:cubicBezTo>
                    <a:pt x="7779348" y="946292"/>
                    <a:pt x="7785027" y="944263"/>
                    <a:pt x="7790502" y="942134"/>
                  </a:cubicBezTo>
                  <a:cubicBezTo>
                    <a:pt x="7795978" y="940005"/>
                    <a:pt x="7801378" y="937621"/>
                    <a:pt x="7806701" y="934985"/>
                  </a:cubicBezTo>
                  <a:cubicBezTo>
                    <a:pt x="7812025" y="932349"/>
                    <a:pt x="7817399" y="929408"/>
                    <a:pt x="7822824" y="926163"/>
                  </a:cubicBezTo>
                  <a:cubicBezTo>
                    <a:pt x="7828249" y="922919"/>
                    <a:pt x="7833851" y="919217"/>
                    <a:pt x="7839631" y="915060"/>
                  </a:cubicBezTo>
                  <a:close/>
                  <a:moveTo>
                    <a:pt x="7487544" y="915060"/>
                  </a:moveTo>
                  <a:lnTo>
                    <a:pt x="7502450" y="915060"/>
                  </a:lnTo>
                  <a:lnTo>
                    <a:pt x="7502450" y="1138040"/>
                  </a:lnTo>
                  <a:lnTo>
                    <a:pt x="7467162" y="1138040"/>
                  </a:lnTo>
                  <a:lnTo>
                    <a:pt x="7467162" y="958257"/>
                  </a:lnTo>
                  <a:cubicBezTo>
                    <a:pt x="7460774" y="962820"/>
                    <a:pt x="7453905" y="966698"/>
                    <a:pt x="7446553" y="969892"/>
                  </a:cubicBezTo>
                  <a:cubicBezTo>
                    <a:pt x="7439201" y="973087"/>
                    <a:pt x="7430811" y="975900"/>
                    <a:pt x="7421380" y="978334"/>
                  </a:cubicBezTo>
                  <a:lnTo>
                    <a:pt x="7421380" y="948218"/>
                  </a:lnTo>
                  <a:cubicBezTo>
                    <a:pt x="7427261" y="946292"/>
                    <a:pt x="7432940" y="944263"/>
                    <a:pt x="7438415" y="942134"/>
                  </a:cubicBezTo>
                  <a:cubicBezTo>
                    <a:pt x="7443891" y="940005"/>
                    <a:pt x="7449291" y="937621"/>
                    <a:pt x="7454614" y="934985"/>
                  </a:cubicBezTo>
                  <a:cubicBezTo>
                    <a:pt x="7459938" y="932349"/>
                    <a:pt x="7465312" y="929408"/>
                    <a:pt x="7470737" y="926163"/>
                  </a:cubicBezTo>
                  <a:cubicBezTo>
                    <a:pt x="7476162" y="922919"/>
                    <a:pt x="7481764" y="919217"/>
                    <a:pt x="7487544" y="915060"/>
                  </a:cubicBezTo>
                  <a:close/>
                  <a:moveTo>
                    <a:pt x="7189830" y="915060"/>
                  </a:moveTo>
                  <a:lnTo>
                    <a:pt x="7204736" y="915060"/>
                  </a:lnTo>
                  <a:lnTo>
                    <a:pt x="7204736" y="1138040"/>
                  </a:lnTo>
                  <a:lnTo>
                    <a:pt x="7169448" y="1138040"/>
                  </a:lnTo>
                  <a:lnTo>
                    <a:pt x="7169448" y="958257"/>
                  </a:lnTo>
                  <a:cubicBezTo>
                    <a:pt x="7163060" y="962820"/>
                    <a:pt x="7156191" y="966698"/>
                    <a:pt x="7148839" y="969892"/>
                  </a:cubicBezTo>
                  <a:cubicBezTo>
                    <a:pt x="7141487" y="973087"/>
                    <a:pt x="7133097" y="975900"/>
                    <a:pt x="7123666" y="978334"/>
                  </a:cubicBezTo>
                  <a:lnTo>
                    <a:pt x="7123666" y="948218"/>
                  </a:lnTo>
                  <a:cubicBezTo>
                    <a:pt x="7129547" y="946292"/>
                    <a:pt x="7135226" y="944263"/>
                    <a:pt x="7140701" y="942134"/>
                  </a:cubicBezTo>
                  <a:cubicBezTo>
                    <a:pt x="7146177" y="940005"/>
                    <a:pt x="7151577" y="937621"/>
                    <a:pt x="7156900" y="934985"/>
                  </a:cubicBezTo>
                  <a:cubicBezTo>
                    <a:pt x="7162224" y="932349"/>
                    <a:pt x="7167598" y="929408"/>
                    <a:pt x="7173023" y="926163"/>
                  </a:cubicBezTo>
                  <a:cubicBezTo>
                    <a:pt x="7178448" y="922919"/>
                    <a:pt x="7184050" y="919217"/>
                    <a:pt x="7189830" y="915060"/>
                  </a:cubicBezTo>
                  <a:close/>
                  <a:moveTo>
                    <a:pt x="6980418" y="915060"/>
                  </a:moveTo>
                  <a:cubicBezTo>
                    <a:pt x="7027863" y="915060"/>
                    <a:pt x="7051585" y="951923"/>
                    <a:pt x="7051585" y="1025647"/>
                  </a:cubicBezTo>
                  <a:cubicBezTo>
                    <a:pt x="7051585" y="1062159"/>
                    <a:pt x="7044890" y="1090019"/>
                    <a:pt x="7031499" y="1109227"/>
                  </a:cubicBezTo>
                  <a:cubicBezTo>
                    <a:pt x="7018108" y="1128435"/>
                    <a:pt x="6999376" y="1138040"/>
                    <a:pt x="6975302" y="1138040"/>
                  </a:cubicBezTo>
                  <a:cubicBezTo>
                    <a:pt x="6952834" y="1138040"/>
                    <a:pt x="6935305" y="1128862"/>
                    <a:pt x="6922717" y="1110506"/>
                  </a:cubicBezTo>
                  <a:cubicBezTo>
                    <a:pt x="6910128" y="1092150"/>
                    <a:pt x="6903834" y="1065619"/>
                    <a:pt x="6903834" y="1030914"/>
                  </a:cubicBezTo>
                  <a:cubicBezTo>
                    <a:pt x="6903834" y="992797"/>
                    <a:pt x="6910404" y="963959"/>
                    <a:pt x="6923544" y="944399"/>
                  </a:cubicBezTo>
                  <a:cubicBezTo>
                    <a:pt x="6936685" y="924840"/>
                    <a:pt x="6955642" y="915060"/>
                    <a:pt x="6980418" y="915060"/>
                  </a:cubicBezTo>
                  <a:close/>
                  <a:moveTo>
                    <a:pt x="6763908" y="915060"/>
                  </a:moveTo>
                  <a:cubicBezTo>
                    <a:pt x="6811353" y="915060"/>
                    <a:pt x="6835075" y="951923"/>
                    <a:pt x="6835075" y="1025647"/>
                  </a:cubicBezTo>
                  <a:cubicBezTo>
                    <a:pt x="6835075" y="1062159"/>
                    <a:pt x="6828380" y="1090019"/>
                    <a:pt x="6814989" y="1109227"/>
                  </a:cubicBezTo>
                  <a:cubicBezTo>
                    <a:pt x="6801598" y="1128435"/>
                    <a:pt x="6782866" y="1138040"/>
                    <a:pt x="6758792" y="1138040"/>
                  </a:cubicBezTo>
                  <a:cubicBezTo>
                    <a:pt x="6736324" y="1138040"/>
                    <a:pt x="6718795" y="1128862"/>
                    <a:pt x="6706207" y="1110506"/>
                  </a:cubicBezTo>
                  <a:cubicBezTo>
                    <a:pt x="6693618" y="1092150"/>
                    <a:pt x="6687324" y="1065619"/>
                    <a:pt x="6687324" y="1030914"/>
                  </a:cubicBezTo>
                  <a:cubicBezTo>
                    <a:pt x="6687324" y="992797"/>
                    <a:pt x="6693894" y="963959"/>
                    <a:pt x="6707034" y="944399"/>
                  </a:cubicBezTo>
                  <a:cubicBezTo>
                    <a:pt x="6720175" y="924840"/>
                    <a:pt x="6739132" y="915060"/>
                    <a:pt x="6763908" y="915060"/>
                  </a:cubicBezTo>
                  <a:close/>
                  <a:moveTo>
                    <a:pt x="6617601" y="915060"/>
                  </a:moveTo>
                  <a:lnTo>
                    <a:pt x="6632507" y="915060"/>
                  </a:lnTo>
                  <a:lnTo>
                    <a:pt x="6632507" y="1138040"/>
                  </a:lnTo>
                  <a:lnTo>
                    <a:pt x="6597219" y="1138040"/>
                  </a:lnTo>
                  <a:lnTo>
                    <a:pt x="6597219" y="958257"/>
                  </a:lnTo>
                  <a:cubicBezTo>
                    <a:pt x="6590831" y="962820"/>
                    <a:pt x="6583962" y="966698"/>
                    <a:pt x="6576610" y="969892"/>
                  </a:cubicBezTo>
                  <a:cubicBezTo>
                    <a:pt x="6569258" y="973087"/>
                    <a:pt x="6560868" y="975900"/>
                    <a:pt x="6551437" y="978334"/>
                  </a:cubicBezTo>
                  <a:lnTo>
                    <a:pt x="6551437" y="948218"/>
                  </a:lnTo>
                  <a:cubicBezTo>
                    <a:pt x="6557318" y="946292"/>
                    <a:pt x="6562997" y="944263"/>
                    <a:pt x="6568472" y="942134"/>
                  </a:cubicBezTo>
                  <a:cubicBezTo>
                    <a:pt x="6573948" y="940005"/>
                    <a:pt x="6579348" y="937621"/>
                    <a:pt x="6584671" y="934985"/>
                  </a:cubicBezTo>
                  <a:cubicBezTo>
                    <a:pt x="6589995" y="932349"/>
                    <a:pt x="6595369" y="929408"/>
                    <a:pt x="6600794" y="926163"/>
                  </a:cubicBezTo>
                  <a:cubicBezTo>
                    <a:pt x="6606219" y="922919"/>
                    <a:pt x="6611821" y="919217"/>
                    <a:pt x="6617601" y="915060"/>
                  </a:cubicBezTo>
                  <a:close/>
                  <a:moveTo>
                    <a:pt x="6319887" y="915060"/>
                  </a:moveTo>
                  <a:lnTo>
                    <a:pt x="6334793" y="915060"/>
                  </a:lnTo>
                  <a:lnTo>
                    <a:pt x="6334793" y="1138040"/>
                  </a:lnTo>
                  <a:lnTo>
                    <a:pt x="6299505" y="1138040"/>
                  </a:lnTo>
                  <a:lnTo>
                    <a:pt x="6299505" y="958257"/>
                  </a:lnTo>
                  <a:cubicBezTo>
                    <a:pt x="6293117" y="962820"/>
                    <a:pt x="6286248" y="966698"/>
                    <a:pt x="6278896" y="969892"/>
                  </a:cubicBezTo>
                  <a:cubicBezTo>
                    <a:pt x="6271544" y="973087"/>
                    <a:pt x="6263154" y="975900"/>
                    <a:pt x="6253723" y="978334"/>
                  </a:cubicBezTo>
                  <a:lnTo>
                    <a:pt x="6253723" y="948218"/>
                  </a:lnTo>
                  <a:cubicBezTo>
                    <a:pt x="6259604" y="946292"/>
                    <a:pt x="6265283" y="944263"/>
                    <a:pt x="6270758" y="942134"/>
                  </a:cubicBezTo>
                  <a:cubicBezTo>
                    <a:pt x="6276234" y="940005"/>
                    <a:pt x="6281634" y="937621"/>
                    <a:pt x="6286957" y="934985"/>
                  </a:cubicBezTo>
                  <a:cubicBezTo>
                    <a:pt x="6292281" y="932349"/>
                    <a:pt x="6297655" y="929408"/>
                    <a:pt x="6303080" y="926163"/>
                  </a:cubicBezTo>
                  <a:cubicBezTo>
                    <a:pt x="6308505" y="922919"/>
                    <a:pt x="6314107" y="919217"/>
                    <a:pt x="6319887" y="915060"/>
                  </a:cubicBezTo>
                  <a:close/>
                  <a:moveTo>
                    <a:pt x="6146131" y="915060"/>
                  </a:moveTo>
                  <a:cubicBezTo>
                    <a:pt x="6193576" y="915060"/>
                    <a:pt x="6217298" y="951923"/>
                    <a:pt x="6217298" y="1025647"/>
                  </a:cubicBezTo>
                  <a:cubicBezTo>
                    <a:pt x="6217298" y="1062159"/>
                    <a:pt x="6210603" y="1090019"/>
                    <a:pt x="6197212" y="1109227"/>
                  </a:cubicBezTo>
                  <a:cubicBezTo>
                    <a:pt x="6183821" y="1128435"/>
                    <a:pt x="6165089" y="1138040"/>
                    <a:pt x="6141015" y="1138040"/>
                  </a:cubicBezTo>
                  <a:cubicBezTo>
                    <a:pt x="6118547" y="1138040"/>
                    <a:pt x="6101018" y="1128862"/>
                    <a:pt x="6088430" y="1110506"/>
                  </a:cubicBezTo>
                  <a:cubicBezTo>
                    <a:pt x="6075841" y="1092150"/>
                    <a:pt x="6069547" y="1065619"/>
                    <a:pt x="6069547" y="1030914"/>
                  </a:cubicBezTo>
                  <a:cubicBezTo>
                    <a:pt x="6069547" y="992797"/>
                    <a:pt x="6076117" y="963959"/>
                    <a:pt x="6089257" y="944399"/>
                  </a:cubicBezTo>
                  <a:cubicBezTo>
                    <a:pt x="6102398" y="924840"/>
                    <a:pt x="6121355" y="915060"/>
                    <a:pt x="6146131" y="915060"/>
                  </a:cubicBezTo>
                  <a:close/>
                  <a:moveTo>
                    <a:pt x="5929621" y="915060"/>
                  </a:moveTo>
                  <a:cubicBezTo>
                    <a:pt x="5977065" y="915060"/>
                    <a:pt x="6000789" y="951923"/>
                    <a:pt x="6000789" y="1025647"/>
                  </a:cubicBezTo>
                  <a:cubicBezTo>
                    <a:pt x="6000789" y="1062159"/>
                    <a:pt x="5994092" y="1090019"/>
                    <a:pt x="5980702" y="1109227"/>
                  </a:cubicBezTo>
                  <a:cubicBezTo>
                    <a:pt x="5967310" y="1128435"/>
                    <a:pt x="5948579" y="1138040"/>
                    <a:pt x="5924506" y="1138040"/>
                  </a:cubicBezTo>
                  <a:cubicBezTo>
                    <a:pt x="5902036" y="1138040"/>
                    <a:pt x="5884508" y="1128862"/>
                    <a:pt x="5871919" y="1110506"/>
                  </a:cubicBezTo>
                  <a:cubicBezTo>
                    <a:pt x="5859331" y="1092150"/>
                    <a:pt x="5853037" y="1065619"/>
                    <a:pt x="5853037" y="1030914"/>
                  </a:cubicBezTo>
                  <a:cubicBezTo>
                    <a:pt x="5853037" y="992797"/>
                    <a:pt x="5859608" y="963959"/>
                    <a:pt x="5872748" y="944399"/>
                  </a:cubicBezTo>
                  <a:cubicBezTo>
                    <a:pt x="5885887" y="924840"/>
                    <a:pt x="5904846" y="915060"/>
                    <a:pt x="5929621" y="915060"/>
                  </a:cubicBezTo>
                  <a:close/>
                  <a:moveTo>
                    <a:pt x="5705513" y="915060"/>
                  </a:moveTo>
                  <a:cubicBezTo>
                    <a:pt x="5752958" y="915060"/>
                    <a:pt x="5776681" y="951923"/>
                    <a:pt x="5776681" y="1025647"/>
                  </a:cubicBezTo>
                  <a:cubicBezTo>
                    <a:pt x="5776681" y="1062159"/>
                    <a:pt x="5769985" y="1090019"/>
                    <a:pt x="5756596" y="1109227"/>
                  </a:cubicBezTo>
                  <a:cubicBezTo>
                    <a:pt x="5743203" y="1128435"/>
                    <a:pt x="5724471" y="1138040"/>
                    <a:pt x="5700399" y="1138040"/>
                  </a:cubicBezTo>
                  <a:cubicBezTo>
                    <a:pt x="5677929" y="1138040"/>
                    <a:pt x="5660402" y="1128862"/>
                    <a:pt x="5647813" y="1110506"/>
                  </a:cubicBezTo>
                  <a:cubicBezTo>
                    <a:pt x="5635224" y="1092150"/>
                    <a:pt x="5628930" y="1065619"/>
                    <a:pt x="5628930" y="1030914"/>
                  </a:cubicBezTo>
                  <a:cubicBezTo>
                    <a:pt x="5628930" y="992797"/>
                    <a:pt x="5635500" y="963959"/>
                    <a:pt x="5648641" y="944399"/>
                  </a:cubicBezTo>
                  <a:cubicBezTo>
                    <a:pt x="5661780" y="924840"/>
                    <a:pt x="5680739" y="915060"/>
                    <a:pt x="5705513" y="915060"/>
                  </a:cubicBezTo>
                  <a:close/>
                  <a:moveTo>
                    <a:pt x="5548234" y="915060"/>
                  </a:moveTo>
                  <a:lnTo>
                    <a:pt x="5563142" y="915060"/>
                  </a:lnTo>
                  <a:lnTo>
                    <a:pt x="5563142" y="1138040"/>
                  </a:lnTo>
                  <a:lnTo>
                    <a:pt x="5527853" y="1138040"/>
                  </a:lnTo>
                  <a:lnTo>
                    <a:pt x="5527853" y="958257"/>
                  </a:lnTo>
                  <a:cubicBezTo>
                    <a:pt x="5521465" y="962820"/>
                    <a:pt x="5514594" y="966698"/>
                    <a:pt x="5507244" y="969892"/>
                  </a:cubicBezTo>
                  <a:cubicBezTo>
                    <a:pt x="5499891" y="973087"/>
                    <a:pt x="5491500" y="975900"/>
                    <a:pt x="5482071" y="978334"/>
                  </a:cubicBezTo>
                  <a:lnTo>
                    <a:pt x="5482071" y="948218"/>
                  </a:lnTo>
                  <a:cubicBezTo>
                    <a:pt x="5487951" y="946292"/>
                    <a:pt x="5493629" y="944263"/>
                    <a:pt x="5499105" y="942134"/>
                  </a:cubicBezTo>
                  <a:cubicBezTo>
                    <a:pt x="5504581" y="940005"/>
                    <a:pt x="5509980" y="937621"/>
                    <a:pt x="5515305" y="934985"/>
                  </a:cubicBezTo>
                  <a:cubicBezTo>
                    <a:pt x="5520627" y="932349"/>
                    <a:pt x="5526002" y="929408"/>
                    <a:pt x="5531426" y="926163"/>
                  </a:cubicBezTo>
                  <a:cubicBezTo>
                    <a:pt x="5536852" y="922919"/>
                    <a:pt x="5542454" y="919217"/>
                    <a:pt x="5548234" y="915060"/>
                  </a:cubicBezTo>
                  <a:close/>
                  <a:moveTo>
                    <a:pt x="5250520" y="915060"/>
                  </a:moveTo>
                  <a:lnTo>
                    <a:pt x="5265426" y="915060"/>
                  </a:lnTo>
                  <a:lnTo>
                    <a:pt x="5265426" y="1138040"/>
                  </a:lnTo>
                  <a:lnTo>
                    <a:pt x="5230139" y="1138040"/>
                  </a:lnTo>
                  <a:lnTo>
                    <a:pt x="5230139" y="958257"/>
                  </a:lnTo>
                  <a:cubicBezTo>
                    <a:pt x="5223751" y="962820"/>
                    <a:pt x="5216882" y="966698"/>
                    <a:pt x="5209528" y="969892"/>
                  </a:cubicBezTo>
                  <a:cubicBezTo>
                    <a:pt x="5202178" y="973087"/>
                    <a:pt x="5193787" y="975900"/>
                    <a:pt x="5184357" y="978334"/>
                  </a:cubicBezTo>
                  <a:lnTo>
                    <a:pt x="5184357" y="948218"/>
                  </a:lnTo>
                  <a:cubicBezTo>
                    <a:pt x="5190238" y="946292"/>
                    <a:pt x="5195916" y="944263"/>
                    <a:pt x="5201391" y="942134"/>
                  </a:cubicBezTo>
                  <a:cubicBezTo>
                    <a:pt x="5206868" y="940005"/>
                    <a:pt x="5212267" y="937621"/>
                    <a:pt x="5217590" y="934985"/>
                  </a:cubicBezTo>
                  <a:cubicBezTo>
                    <a:pt x="5222914" y="932349"/>
                    <a:pt x="5228288" y="929408"/>
                    <a:pt x="5233712" y="926163"/>
                  </a:cubicBezTo>
                  <a:cubicBezTo>
                    <a:pt x="5239139" y="922919"/>
                    <a:pt x="5244741" y="919217"/>
                    <a:pt x="5250520" y="915060"/>
                  </a:cubicBezTo>
                  <a:close/>
                  <a:moveTo>
                    <a:pt x="4875775" y="915060"/>
                  </a:moveTo>
                  <a:lnTo>
                    <a:pt x="4890681" y="915060"/>
                  </a:lnTo>
                  <a:lnTo>
                    <a:pt x="4890681" y="1138040"/>
                  </a:lnTo>
                  <a:lnTo>
                    <a:pt x="4855393" y="1138040"/>
                  </a:lnTo>
                  <a:lnTo>
                    <a:pt x="4855393" y="958257"/>
                  </a:lnTo>
                  <a:cubicBezTo>
                    <a:pt x="4849005" y="962820"/>
                    <a:pt x="4842135" y="966698"/>
                    <a:pt x="4834784" y="969892"/>
                  </a:cubicBezTo>
                  <a:cubicBezTo>
                    <a:pt x="4827432" y="973087"/>
                    <a:pt x="4819042" y="975900"/>
                    <a:pt x="4809611" y="978334"/>
                  </a:cubicBezTo>
                  <a:lnTo>
                    <a:pt x="4809611" y="948218"/>
                  </a:lnTo>
                  <a:cubicBezTo>
                    <a:pt x="4815492" y="946292"/>
                    <a:pt x="4821170" y="944263"/>
                    <a:pt x="4826646" y="942134"/>
                  </a:cubicBezTo>
                  <a:cubicBezTo>
                    <a:pt x="4832122" y="940005"/>
                    <a:pt x="4837521" y="937621"/>
                    <a:pt x="4842846" y="934985"/>
                  </a:cubicBezTo>
                  <a:cubicBezTo>
                    <a:pt x="4848168" y="932349"/>
                    <a:pt x="4853543" y="929408"/>
                    <a:pt x="4858968" y="926163"/>
                  </a:cubicBezTo>
                  <a:cubicBezTo>
                    <a:pt x="4864393" y="922919"/>
                    <a:pt x="4869995" y="919217"/>
                    <a:pt x="4875775" y="915060"/>
                  </a:cubicBezTo>
                  <a:close/>
                  <a:moveTo>
                    <a:pt x="4732167" y="915060"/>
                  </a:moveTo>
                  <a:lnTo>
                    <a:pt x="4747074" y="915060"/>
                  </a:lnTo>
                  <a:lnTo>
                    <a:pt x="4747074" y="1138040"/>
                  </a:lnTo>
                  <a:lnTo>
                    <a:pt x="4711785" y="1138040"/>
                  </a:lnTo>
                  <a:lnTo>
                    <a:pt x="4711785" y="958257"/>
                  </a:lnTo>
                  <a:cubicBezTo>
                    <a:pt x="4705398" y="962820"/>
                    <a:pt x="4698527" y="966698"/>
                    <a:pt x="4691176" y="969892"/>
                  </a:cubicBezTo>
                  <a:cubicBezTo>
                    <a:pt x="4683824" y="973087"/>
                    <a:pt x="4675433" y="975900"/>
                    <a:pt x="4666003" y="978334"/>
                  </a:cubicBezTo>
                  <a:lnTo>
                    <a:pt x="4666003" y="948218"/>
                  </a:lnTo>
                  <a:cubicBezTo>
                    <a:pt x="4671884" y="946292"/>
                    <a:pt x="4677562" y="944263"/>
                    <a:pt x="4683038" y="942134"/>
                  </a:cubicBezTo>
                  <a:cubicBezTo>
                    <a:pt x="4688514" y="940005"/>
                    <a:pt x="4693913" y="937621"/>
                    <a:pt x="4699238" y="934985"/>
                  </a:cubicBezTo>
                  <a:cubicBezTo>
                    <a:pt x="4704560" y="932349"/>
                    <a:pt x="4709935" y="929408"/>
                    <a:pt x="4715360" y="926163"/>
                  </a:cubicBezTo>
                  <a:cubicBezTo>
                    <a:pt x="4720786" y="922919"/>
                    <a:pt x="4726387" y="919217"/>
                    <a:pt x="4732167" y="915060"/>
                  </a:cubicBezTo>
                  <a:close/>
                  <a:moveTo>
                    <a:pt x="4588559" y="915060"/>
                  </a:moveTo>
                  <a:lnTo>
                    <a:pt x="4603466" y="915060"/>
                  </a:lnTo>
                  <a:lnTo>
                    <a:pt x="4603466" y="1138040"/>
                  </a:lnTo>
                  <a:lnTo>
                    <a:pt x="4568177" y="1138040"/>
                  </a:lnTo>
                  <a:lnTo>
                    <a:pt x="4568177" y="958257"/>
                  </a:lnTo>
                  <a:cubicBezTo>
                    <a:pt x="4561790" y="962820"/>
                    <a:pt x="4554919" y="966698"/>
                    <a:pt x="4547568" y="969892"/>
                  </a:cubicBezTo>
                  <a:cubicBezTo>
                    <a:pt x="4540216" y="973087"/>
                    <a:pt x="4531825" y="975900"/>
                    <a:pt x="4522395" y="978334"/>
                  </a:cubicBezTo>
                  <a:lnTo>
                    <a:pt x="4522395" y="948218"/>
                  </a:lnTo>
                  <a:cubicBezTo>
                    <a:pt x="4528276" y="946292"/>
                    <a:pt x="4533954" y="944263"/>
                    <a:pt x="4539430" y="942134"/>
                  </a:cubicBezTo>
                  <a:cubicBezTo>
                    <a:pt x="4544906" y="940005"/>
                    <a:pt x="4550306" y="937621"/>
                    <a:pt x="4555630" y="934985"/>
                  </a:cubicBezTo>
                  <a:cubicBezTo>
                    <a:pt x="4560952" y="932349"/>
                    <a:pt x="4566328" y="929408"/>
                    <a:pt x="4571752" y="926163"/>
                  </a:cubicBezTo>
                  <a:cubicBezTo>
                    <a:pt x="4577178" y="922919"/>
                    <a:pt x="4582779" y="919217"/>
                    <a:pt x="4588559" y="915060"/>
                  </a:cubicBezTo>
                  <a:close/>
                  <a:moveTo>
                    <a:pt x="4444951" y="915060"/>
                  </a:moveTo>
                  <a:lnTo>
                    <a:pt x="4459858" y="915060"/>
                  </a:lnTo>
                  <a:lnTo>
                    <a:pt x="4459858" y="1138040"/>
                  </a:lnTo>
                  <a:lnTo>
                    <a:pt x="4424569" y="1138040"/>
                  </a:lnTo>
                  <a:lnTo>
                    <a:pt x="4424569" y="958257"/>
                  </a:lnTo>
                  <a:cubicBezTo>
                    <a:pt x="4418182" y="962820"/>
                    <a:pt x="4411311" y="966698"/>
                    <a:pt x="4403960" y="969892"/>
                  </a:cubicBezTo>
                  <a:cubicBezTo>
                    <a:pt x="4396608" y="973087"/>
                    <a:pt x="4388217" y="975900"/>
                    <a:pt x="4378788" y="978334"/>
                  </a:cubicBezTo>
                  <a:lnTo>
                    <a:pt x="4378788" y="948218"/>
                  </a:lnTo>
                  <a:cubicBezTo>
                    <a:pt x="4384669" y="946292"/>
                    <a:pt x="4390346" y="944263"/>
                    <a:pt x="4395823" y="942134"/>
                  </a:cubicBezTo>
                  <a:cubicBezTo>
                    <a:pt x="4401298" y="940005"/>
                    <a:pt x="4406697" y="937621"/>
                    <a:pt x="4412022" y="934985"/>
                  </a:cubicBezTo>
                  <a:cubicBezTo>
                    <a:pt x="4417345" y="932349"/>
                    <a:pt x="4422719" y="929408"/>
                    <a:pt x="4428144" y="926163"/>
                  </a:cubicBezTo>
                  <a:cubicBezTo>
                    <a:pt x="4433570" y="922919"/>
                    <a:pt x="4439171" y="919217"/>
                    <a:pt x="4444951" y="915060"/>
                  </a:cubicBezTo>
                  <a:close/>
                  <a:moveTo>
                    <a:pt x="3704782" y="915060"/>
                  </a:moveTo>
                  <a:lnTo>
                    <a:pt x="3719687" y="915060"/>
                  </a:lnTo>
                  <a:lnTo>
                    <a:pt x="3719687" y="1138040"/>
                  </a:lnTo>
                  <a:lnTo>
                    <a:pt x="3684398" y="1138040"/>
                  </a:lnTo>
                  <a:lnTo>
                    <a:pt x="3684398" y="958257"/>
                  </a:lnTo>
                  <a:cubicBezTo>
                    <a:pt x="3678012" y="962820"/>
                    <a:pt x="3671142" y="966698"/>
                    <a:pt x="3663791" y="969892"/>
                  </a:cubicBezTo>
                  <a:cubicBezTo>
                    <a:pt x="3656439" y="973087"/>
                    <a:pt x="3648047" y="975900"/>
                    <a:pt x="3638618" y="978334"/>
                  </a:cubicBezTo>
                  <a:lnTo>
                    <a:pt x="3638618" y="948218"/>
                  </a:lnTo>
                  <a:cubicBezTo>
                    <a:pt x="3644499" y="946292"/>
                    <a:pt x="3650177" y="944263"/>
                    <a:pt x="3655653" y="942134"/>
                  </a:cubicBezTo>
                  <a:cubicBezTo>
                    <a:pt x="3661128" y="940005"/>
                    <a:pt x="3666528" y="937621"/>
                    <a:pt x="3671852" y="934985"/>
                  </a:cubicBezTo>
                  <a:cubicBezTo>
                    <a:pt x="3677175" y="932349"/>
                    <a:pt x="3682550" y="929408"/>
                    <a:pt x="3687974" y="926163"/>
                  </a:cubicBezTo>
                  <a:cubicBezTo>
                    <a:pt x="3693400" y="922919"/>
                    <a:pt x="3699002" y="919217"/>
                    <a:pt x="3704782" y="915060"/>
                  </a:cubicBezTo>
                  <a:close/>
                  <a:moveTo>
                    <a:pt x="3555925" y="915060"/>
                  </a:moveTo>
                  <a:lnTo>
                    <a:pt x="3570831" y="915060"/>
                  </a:lnTo>
                  <a:lnTo>
                    <a:pt x="3570831" y="1138040"/>
                  </a:lnTo>
                  <a:lnTo>
                    <a:pt x="3535543" y="1138040"/>
                  </a:lnTo>
                  <a:lnTo>
                    <a:pt x="3535543" y="958257"/>
                  </a:lnTo>
                  <a:cubicBezTo>
                    <a:pt x="3529155" y="962820"/>
                    <a:pt x="3522285" y="966698"/>
                    <a:pt x="3514934" y="969892"/>
                  </a:cubicBezTo>
                  <a:cubicBezTo>
                    <a:pt x="3507582" y="973087"/>
                    <a:pt x="3499191" y="975900"/>
                    <a:pt x="3489761" y="978334"/>
                  </a:cubicBezTo>
                  <a:lnTo>
                    <a:pt x="3489761" y="948218"/>
                  </a:lnTo>
                  <a:cubicBezTo>
                    <a:pt x="3495642" y="946292"/>
                    <a:pt x="3501321" y="944263"/>
                    <a:pt x="3506796" y="942134"/>
                  </a:cubicBezTo>
                  <a:cubicBezTo>
                    <a:pt x="3512272" y="940005"/>
                    <a:pt x="3517671" y="937621"/>
                    <a:pt x="3522995" y="934985"/>
                  </a:cubicBezTo>
                  <a:cubicBezTo>
                    <a:pt x="3528319" y="932349"/>
                    <a:pt x="3533692" y="929408"/>
                    <a:pt x="3539117" y="926163"/>
                  </a:cubicBezTo>
                  <a:cubicBezTo>
                    <a:pt x="3544543" y="922919"/>
                    <a:pt x="3550145" y="919217"/>
                    <a:pt x="3555925" y="915060"/>
                  </a:cubicBezTo>
                  <a:close/>
                  <a:moveTo>
                    <a:pt x="2751256" y="915060"/>
                  </a:moveTo>
                  <a:lnTo>
                    <a:pt x="2766162" y="915060"/>
                  </a:lnTo>
                  <a:lnTo>
                    <a:pt x="2766162" y="1138040"/>
                  </a:lnTo>
                  <a:lnTo>
                    <a:pt x="2730875" y="1138040"/>
                  </a:lnTo>
                  <a:lnTo>
                    <a:pt x="2730875" y="958257"/>
                  </a:lnTo>
                  <a:cubicBezTo>
                    <a:pt x="2724487" y="962820"/>
                    <a:pt x="2717616" y="966698"/>
                    <a:pt x="2710265" y="969892"/>
                  </a:cubicBezTo>
                  <a:cubicBezTo>
                    <a:pt x="2702913" y="973087"/>
                    <a:pt x="2694523" y="975900"/>
                    <a:pt x="2685092" y="978334"/>
                  </a:cubicBezTo>
                  <a:lnTo>
                    <a:pt x="2685092" y="948218"/>
                  </a:lnTo>
                  <a:cubicBezTo>
                    <a:pt x="2690974" y="946292"/>
                    <a:pt x="2696652" y="944263"/>
                    <a:pt x="2702128" y="942134"/>
                  </a:cubicBezTo>
                  <a:cubicBezTo>
                    <a:pt x="2707602" y="940005"/>
                    <a:pt x="2713003" y="937621"/>
                    <a:pt x="2718327" y="934985"/>
                  </a:cubicBezTo>
                  <a:cubicBezTo>
                    <a:pt x="2723651" y="932349"/>
                    <a:pt x="2729024" y="929408"/>
                    <a:pt x="2734449" y="926163"/>
                  </a:cubicBezTo>
                  <a:cubicBezTo>
                    <a:pt x="2739874" y="922919"/>
                    <a:pt x="2745476" y="919217"/>
                    <a:pt x="2751256" y="915060"/>
                  </a:cubicBezTo>
                  <a:close/>
                  <a:moveTo>
                    <a:pt x="2358497" y="915060"/>
                  </a:moveTo>
                  <a:lnTo>
                    <a:pt x="2373404" y="915060"/>
                  </a:lnTo>
                  <a:lnTo>
                    <a:pt x="2373404" y="1138040"/>
                  </a:lnTo>
                  <a:lnTo>
                    <a:pt x="2338116" y="1138040"/>
                  </a:lnTo>
                  <a:lnTo>
                    <a:pt x="2338116" y="958257"/>
                  </a:lnTo>
                  <a:cubicBezTo>
                    <a:pt x="2331728" y="962820"/>
                    <a:pt x="2324858" y="966698"/>
                    <a:pt x="2317506" y="969892"/>
                  </a:cubicBezTo>
                  <a:cubicBezTo>
                    <a:pt x="2310154" y="973087"/>
                    <a:pt x="2301764" y="975900"/>
                    <a:pt x="2292334" y="978334"/>
                  </a:cubicBezTo>
                  <a:lnTo>
                    <a:pt x="2292334" y="948218"/>
                  </a:lnTo>
                  <a:cubicBezTo>
                    <a:pt x="2298215" y="946292"/>
                    <a:pt x="2303893" y="944263"/>
                    <a:pt x="2309369" y="942134"/>
                  </a:cubicBezTo>
                  <a:cubicBezTo>
                    <a:pt x="2314844" y="940005"/>
                    <a:pt x="2320244" y="937621"/>
                    <a:pt x="2325567" y="934985"/>
                  </a:cubicBezTo>
                  <a:cubicBezTo>
                    <a:pt x="2330891" y="932349"/>
                    <a:pt x="2336265" y="929408"/>
                    <a:pt x="2341689" y="926163"/>
                  </a:cubicBezTo>
                  <a:cubicBezTo>
                    <a:pt x="2347115" y="922919"/>
                    <a:pt x="2352717" y="919217"/>
                    <a:pt x="2358497" y="915060"/>
                  </a:cubicBezTo>
                  <a:close/>
                  <a:moveTo>
                    <a:pt x="2214890" y="915060"/>
                  </a:moveTo>
                  <a:lnTo>
                    <a:pt x="2229796" y="915060"/>
                  </a:lnTo>
                  <a:lnTo>
                    <a:pt x="2229796" y="1138040"/>
                  </a:lnTo>
                  <a:lnTo>
                    <a:pt x="2194508" y="1138040"/>
                  </a:lnTo>
                  <a:lnTo>
                    <a:pt x="2194508" y="958257"/>
                  </a:lnTo>
                  <a:cubicBezTo>
                    <a:pt x="2188120" y="962820"/>
                    <a:pt x="2181250" y="966698"/>
                    <a:pt x="2173898" y="969892"/>
                  </a:cubicBezTo>
                  <a:cubicBezTo>
                    <a:pt x="2166547" y="973087"/>
                    <a:pt x="2158155" y="975900"/>
                    <a:pt x="2148726" y="978334"/>
                  </a:cubicBezTo>
                  <a:lnTo>
                    <a:pt x="2148726" y="948218"/>
                  </a:lnTo>
                  <a:cubicBezTo>
                    <a:pt x="2154607" y="946292"/>
                    <a:pt x="2160285" y="944263"/>
                    <a:pt x="2165760" y="942134"/>
                  </a:cubicBezTo>
                  <a:cubicBezTo>
                    <a:pt x="2171237" y="940005"/>
                    <a:pt x="2176635" y="937621"/>
                    <a:pt x="2181960" y="934985"/>
                  </a:cubicBezTo>
                  <a:cubicBezTo>
                    <a:pt x="2187283" y="932349"/>
                    <a:pt x="2192657" y="929408"/>
                    <a:pt x="2198082" y="926163"/>
                  </a:cubicBezTo>
                  <a:cubicBezTo>
                    <a:pt x="2203507" y="922919"/>
                    <a:pt x="2209108" y="919217"/>
                    <a:pt x="2214890" y="915060"/>
                  </a:cubicBezTo>
                  <a:close/>
                  <a:moveTo>
                    <a:pt x="2071281" y="915060"/>
                  </a:moveTo>
                  <a:lnTo>
                    <a:pt x="2086188" y="915060"/>
                  </a:lnTo>
                  <a:lnTo>
                    <a:pt x="2086188" y="1138040"/>
                  </a:lnTo>
                  <a:lnTo>
                    <a:pt x="2050900" y="1138040"/>
                  </a:lnTo>
                  <a:lnTo>
                    <a:pt x="2050900" y="958257"/>
                  </a:lnTo>
                  <a:cubicBezTo>
                    <a:pt x="2044512" y="962820"/>
                    <a:pt x="2037643" y="966698"/>
                    <a:pt x="2030290" y="969892"/>
                  </a:cubicBezTo>
                  <a:cubicBezTo>
                    <a:pt x="2022939" y="973087"/>
                    <a:pt x="2014548" y="975900"/>
                    <a:pt x="2005118" y="978334"/>
                  </a:cubicBezTo>
                  <a:lnTo>
                    <a:pt x="2005118" y="948218"/>
                  </a:lnTo>
                  <a:cubicBezTo>
                    <a:pt x="2010999" y="946292"/>
                    <a:pt x="2016678" y="944263"/>
                    <a:pt x="2022153" y="942134"/>
                  </a:cubicBezTo>
                  <a:cubicBezTo>
                    <a:pt x="2027629" y="940005"/>
                    <a:pt x="2033029" y="937621"/>
                    <a:pt x="2038351" y="934985"/>
                  </a:cubicBezTo>
                  <a:cubicBezTo>
                    <a:pt x="2043676" y="932349"/>
                    <a:pt x="2049050" y="929408"/>
                    <a:pt x="2054473" y="926163"/>
                  </a:cubicBezTo>
                  <a:cubicBezTo>
                    <a:pt x="2059899" y="922919"/>
                    <a:pt x="2065501" y="919217"/>
                    <a:pt x="2071281" y="915060"/>
                  </a:cubicBezTo>
                  <a:close/>
                  <a:moveTo>
                    <a:pt x="1927674" y="915060"/>
                  </a:moveTo>
                  <a:lnTo>
                    <a:pt x="1942580" y="915060"/>
                  </a:lnTo>
                  <a:lnTo>
                    <a:pt x="1942580" y="1138040"/>
                  </a:lnTo>
                  <a:lnTo>
                    <a:pt x="1907293" y="1138040"/>
                  </a:lnTo>
                  <a:lnTo>
                    <a:pt x="1907293" y="958257"/>
                  </a:lnTo>
                  <a:cubicBezTo>
                    <a:pt x="1900905" y="962820"/>
                    <a:pt x="1894034" y="966698"/>
                    <a:pt x="1886683" y="969892"/>
                  </a:cubicBezTo>
                  <a:cubicBezTo>
                    <a:pt x="1879331" y="973087"/>
                    <a:pt x="1870941" y="975900"/>
                    <a:pt x="1861510" y="978334"/>
                  </a:cubicBezTo>
                  <a:lnTo>
                    <a:pt x="1861510" y="948218"/>
                  </a:lnTo>
                  <a:cubicBezTo>
                    <a:pt x="1867392" y="946292"/>
                    <a:pt x="1873070" y="944263"/>
                    <a:pt x="1878546" y="942134"/>
                  </a:cubicBezTo>
                  <a:cubicBezTo>
                    <a:pt x="1884021" y="940005"/>
                    <a:pt x="1889421" y="937621"/>
                    <a:pt x="1894745" y="934985"/>
                  </a:cubicBezTo>
                  <a:cubicBezTo>
                    <a:pt x="1900069" y="932349"/>
                    <a:pt x="1905442" y="929408"/>
                    <a:pt x="1910867" y="926163"/>
                  </a:cubicBezTo>
                  <a:cubicBezTo>
                    <a:pt x="1916293" y="922919"/>
                    <a:pt x="1921894" y="919217"/>
                    <a:pt x="1927674" y="915060"/>
                  </a:cubicBezTo>
                  <a:close/>
                  <a:moveTo>
                    <a:pt x="1784066" y="915060"/>
                  </a:moveTo>
                  <a:lnTo>
                    <a:pt x="1798972" y="915060"/>
                  </a:lnTo>
                  <a:lnTo>
                    <a:pt x="1798972" y="1138040"/>
                  </a:lnTo>
                  <a:lnTo>
                    <a:pt x="1763685" y="1138040"/>
                  </a:lnTo>
                  <a:lnTo>
                    <a:pt x="1763685" y="958257"/>
                  </a:lnTo>
                  <a:cubicBezTo>
                    <a:pt x="1757297" y="962820"/>
                    <a:pt x="1750427" y="966698"/>
                    <a:pt x="1743075" y="969892"/>
                  </a:cubicBezTo>
                  <a:cubicBezTo>
                    <a:pt x="1735724" y="973087"/>
                    <a:pt x="1727333" y="975900"/>
                    <a:pt x="1717902" y="978334"/>
                  </a:cubicBezTo>
                  <a:lnTo>
                    <a:pt x="1717902" y="948218"/>
                  </a:lnTo>
                  <a:cubicBezTo>
                    <a:pt x="1723784" y="946292"/>
                    <a:pt x="1729462" y="944263"/>
                    <a:pt x="1734938" y="942134"/>
                  </a:cubicBezTo>
                  <a:cubicBezTo>
                    <a:pt x="1740413" y="940005"/>
                    <a:pt x="1745813" y="937621"/>
                    <a:pt x="1751137" y="934985"/>
                  </a:cubicBezTo>
                  <a:cubicBezTo>
                    <a:pt x="1756460" y="932349"/>
                    <a:pt x="1761834" y="929408"/>
                    <a:pt x="1767259" y="926163"/>
                  </a:cubicBezTo>
                  <a:cubicBezTo>
                    <a:pt x="1772684" y="922919"/>
                    <a:pt x="1778286" y="919217"/>
                    <a:pt x="1784066" y="915060"/>
                  </a:cubicBezTo>
                  <a:close/>
                  <a:moveTo>
                    <a:pt x="1436368" y="915060"/>
                  </a:moveTo>
                  <a:lnTo>
                    <a:pt x="1451275" y="915060"/>
                  </a:lnTo>
                  <a:lnTo>
                    <a:pt x="1451275" y="1138040"/>
                  </a:lnTo>
                  <a:lnTo>
                    <a:pt x="1415987" y="1138040"/>
                  </a:lnTo>
                  <a:lnTo>
                    <a:pt x="1415987" y="958257"/>
                  </a:lnTo>
                  <a:cubicBezTo>
                    <a:pt x="1409599" y="962820"/>
                    <a:pt x="1402729" y="966698"/>
                    <a:pt x="1395377" y="969892"/>
                  </a:cubicBezTo>
                  <a:cubicBezTo>
                    <a:pt x="1388026" y="973087"/>
                    <a:pt x="1379635" y="975900"/>
                    <a:pt x="1370205" y="978334"/>
                  </a:cubicBezTo>
                  <a:lnTo>
                    <a:pt x="1370205" y="948218"/>
                  </a:lnTo>
                  <a:cubicBezTo>
                    <a:pt x="1376086" y="946292"/>
                    <a:pt x="1381764" y="944263"/>
                    <a:pt x="1387240" y="942134"/>
                  </a:cubicBezTo>
                  <a:cubicBezTo>
                    <a:pt x="1392714" y="940005"/>
                    <a:pt x="1398114" y="937621"/>
                    <a:pt x="1403439" y="934985"/>
                  </a:cubicBezTo>
                  <a:cubicBezTo>
                    <a:pt x="1408762" y="932349"/>
                    <a:pt x="1414136" y="929408"/>
                    <a:pt x="1419561" y="926163"/>
                  </a:cubicBezTo>
                  <a:cubicBezTo>
                    <a:pt x="1424986" y="922919"/>
                    <a:pt x="1430589" y="919217"/>
                    <a:pt x="1436368" y="915060"/>
                  </a:cubicBezTo>
                  <a:close/>
                  <a:moveTo>
                    <a:pt x="1138655" y="915060"/>
                  </a:moveTo>
                  <a:lnTo>
                    <a:pt x="1153561" y="915060"/>
                  </a:lnTo>
                  <a:lnTo>
                    <a:pt x="1153561" y="1138040"/>
                  </a:lnTo>
                  <a:lnTo>
                    <a:pt x="1118273" y="1138040"/>
                  </a:lnTo>
                  <a:lnTo>
                    <a:pt x="1118273" y="958257"/>
                  </a:lnTo>
                  <a:cubicBezTo>
                    <a:pt x="1111885" y="962820"/>
                    <a:pt x="1105015" y="966698"/>
                    <a:pt x="1097664" y="969892"/>
                  </a:cubicBezTo>
                  <a:cubicBezTo>
                    <a:pt x="1090312" y="973087"/>
                    <a:pt x="1081921" y="975900"/>
                    <a:pt x="1072491" y="978334"/>
                  </a:cubicBezTo>
                  <a:lnTo>
                    <a:pt x="1072491" y="948218"/>
                  </a:lnTo>
                  <a:cubicBezTo>
                    <a:pt x="1078372" y="946292"/>
                    <a:pt x="1084051" y="944263"/>
                    <a:pt x="1089526" y="942134"/>
                  </a:cubicBezTo>
                  <a:cubicBezTo>
                    <a:pt x="1095002" y="940005"/>
                    <a:pt x="1100402" y="937621"/>
                    <a:pt x="1105725" y="934985"/>
                  </a:cubicBezTo>
                  <a:cubicBezTo>
                    <a:pt x="1111049" y="932349"/>
                    <a:pt x="1116423" y="929408"/>
                    <a:pt x="1121848" y="926163"/>
                  </a:cubicBezTo>
                  <a:cubicBezTo>
                    <a:pt x="1127273" y="922919"/>
                    <a:pt x="1132875" y="919217"/>
                    <a:pt x="1138655" y="915060"/>
                  </a:cubicBezTo>
                  <a:close/>
                  <a:moveTo>
                    <a:pt x="927536" y="915060"/>
                  </a:moveTo>
                  <a:cubicBezTo>
                    <a:pt x="974980" y="915060"/>
                    <a:pt x="998703" y="951923"/>
                    <a:pt x="998703" y="1025647"/>
                  </a:cubicBezTo>
                  <a:cubicBezTo>
                    <a:pt x="998703" y="1062159"/>
                    <a:pt x="992008" y="1090019"/>
                    <a:pt x="978617" y="1109227"/>
                  </a:cubicBezTo>
                  <a:cubicBezTo>
                    <a:pt x="965226" y="1128435"/>
                    <a:pt x="946494" y="1138040"/>
                    <a:pt x="922421" y="1138040"/>
                  </a:cubicBezTo>
                  <a:cubicBezTo>
                    <a:pt x="899952" y="1138040"/>
                    <a:pt x="882424" y="1128862"/>
                    <a:pt x="869834" y="1110506"/>
                  </a:cubicBezTo>
                  <a:cubicBezTo>
                    <a:pt x="857247" y="1092150"/>
                    <a:pt x="850953" y="1065619"/>
                    <a:pt x="850953" y="1030914"/>
                  </a:cubicBezTo>
                  <a:cubicBezTo>
                    <a:pt x="850953" y="992797"/>
                    <a:pt x="857523" y="963959"/>
                    <a:pt x="870663" y="944399"/>
                  </a:cubicBezTo>
                  <a:cubicBezTo>
                    <a:pt x="883803" y="924840"/>
                    <a:pt x="902761" y="915060"/>
                    <a:pt x="927536" y="915060"/>
                  </a:cubicBezTo>
                  <a:close/>
                  <a:moveTo>
                    <a:pt x="711260" y="915060"/>
                  </a:moveTo>
                  <a:cubicBezTo>
                    <a:pt x="758705" y="915060"/>
                    <a:pt x="782427" y="951923"/>
                    <a:pt x="782427" y="1025647"/>
                  </a:cubicBezTo>
                  <a:cubicBezTo>
                    <a:pt x="782427" y="1062159"/>
                    <a:pt x="775731" y="1090019"/>
                    <a:pt x="762340" y="1109227"/>
                  </a:cubicBezTo>
                  <a:cubicBezTo>
                    <a:pt x="748950" y="1128435"/>
                    <a:pt x="730217" y="1138040"/>
                    <a:pt x="706145" y="1138040"/>
                  </a:cubicBezTo>
                  <a:cubicBezTo>
                    <a:pt x="683675" y="1138040"/>
                    <a:pt x="666148" y="1128862"/>
                    <a:pt x="653559" y="1110506"/>
                  </a:cubicBezTo>
                  <a:cubicBezTo>
                    <a:pt x="640971" y="1092150"/>
                    <a:pt x="634677" y="1065619"/>
                    <a:pt x="634677" y="1030914"/>
                  </a:cubicBezTo>
                  <a:cubicBezTo>
                    <a:pt x="634677" y="992797"/>
                    <a:pt x="641246" y="963959"/>
                    <a:pt x="654387" y="944399"/>
                  </a:cubicBezTo>
                  <a:cubicBezTo>
                    <a:pt x="667527" y="924840"/>
                    <a:pt x="686485" y="915060"/>
                    <a:pt x="711260" y="915060"/>
                  </a:cubicBezTo>
                  <a:close/>
                  <a:moveTo>
                    <a:pt x="563127" y="915060"/>
                  </a:moveTo>
                  <a:lnTo>
                    <a:pt x="578034" y="915060"/>
                  </a:lnTo>
                  <a:lnTo>
                    <a:pt x="578034" y="1138040"/>
                  </a:lnTo>
                  <a:lnTo>
                    <a:pt x="542746" y="1138040"/>
                  </a:lnTo>
                  <a:lnTo>
                    <a:pt x="542746" y="958257"/>
                  </a:lnTo>
                  <a:cubicBezTo>
                    <a:pt x="536358" y="962820"/>
                    <a:pt x="529488" y="966698"/>
                    <a:pt x="522136" y="969892"/>
                  </a:cubicBezTo>
                  <a:cubicBezTo>
                    <a:pt x="514785" y="973087"/>
                    <a:pt x="506393" y="975900"/>
                    <a:pt x="496964" y="978334"/>
                  </a:cubicBezTo>
                  <a:lnTo>
                    <a:pt x="496964" y="948218"/>
                  </a:lnTo>
                  <a:cubicBezTo>
                    <a:pt x="502845" y="946292"/>
                    <a:pt x="508524" y="944263"/>
                    <a:pt x="513999" y="942134"/>
                  </a:cubicBezTo>
                  <a:cubicBezTo>
                    <a:pt x="519475" y="940005"/>
                    <a:pt x="524874" y="937621"/>
                    <a:pt x="530198" y="934985"/>
                  </a:cubicBezTo>
                  <a:cubicBezTo>
                    <a:pt x="535521" y="932349"/>
                    <a:pt x="540896" y="929408"/>
                    <a:pt x="546320" y="926163"/>
                  </a:cubicBezTo>
                  <a:cubicBezTo>
                    <a:pt x="551745" y="922919"/>
                    <a:pt x="557348" y="919217"/>
                    <a:pt x="563127" y="915060"/>
                  </a:cubicBezTo>
                  <a:close/>
                  <a:moveTo>
                    <a:pt x="265414" y="915060"/>
                  </a:moveTo>
                  <a:lnTo>
                    <a:pt x="280319" y="915060"/>
                  </a:lnTo>
                  <a:lnTo>
                    <a:pt x="280319" y="1138040"/>
                  </a:lnTo>
                  <a:lnTo>
                    <a:pt x="245032" y="1138040"/>
                  </a:lnTo>
                  <a:lnTo>
                    <a:pt x="245032" y="958257"/>
                  </a:lnTo>
                  <a:cubicBezTo>
                    <a:pt x="238644" y="962820"/>
                    <a:pt x="231774" y="966698"/>
                    <a:pt x="224423" y="969892"/>
                  </a:cubicBezTo>
                  <a:cubicBezTo>
                    <a:pt x="217071" y="973087"/>
                    <a:pt x="208681" y="975900"/>
                    <a:pt x="199250" y="978334"/>
                  </a:cubicBezTo>
                  <a:lnTo>
                    <a:pt x="199250" y="948218"/>
                  </a:lnTo>
                  <a:cubicBezTo>
                    <a:pt x="205131" y="946292"/>
                    <a:pt x="210810" y="944263"/>
                    <a:pt x="216284" y="942134"/>
                  </a:cubicBezTo>
                  <a:cubicBezTo>
                    <a:pt x="221761" y="940005"/>
                    <a:pt x="227161" y="937621"/>
                    <a:pt x="232483" y="934985"/>
                  </a:cubicBezTo>
                  <a:cubicBezTo>
                    <a:pt x="237808" y="932349"/>
                    <a:pt x="243181" y="929408"/>
                    <a:pt x="248607" y="926163"/>
                  </a:cubicBezTo>
                  <a:cubicBezTo>
                    <a:pt x="254032" y="922919"/>
                    <a:pt x="259634" y="919217"/>
                    <a:pt x="265414" y="915060"/>
                  </a:cubicBezTo>
                  <a:close/>
                  <a:moveTo>
                    <a:pt x="89653" y="915060"/>
                  </a:moveTo>
                  <a:cubicBezTo>
                    <a:pt x="137098" y="915060"/>
                    <a:pt x="160821" y="951923"/>
                    <a:pt x="160821" y="1025647"/>
                  </a:cubicBezTo>
                  <a:cubicBezTo>
                    <a:pt x="160821" y="1062159"/>
                    <a:pt x="154125" y="1090019"/>
                    <a:pt x="140735" y="1109227"/>
                  </a:cubicBezTo>
                  <a:cubicBezTo>
                    <a:pt x="127344" y="1128435"/>
                    <a:pt x="108612" y="1138040"/>
                    <a:pt x="84538" y="1138040"/>
                  </a:cubicBezTo>
                  <a:cubicBezTo>
                    <a:pt x="62070" y="1138040"/>
                    <a:pt x="44541" y="1128862"/>
                    <a:pt x="31953" y="1110506"/>
                  </a:cubicBezTo>
                  <a:cubicBezTo>
                    <a:pt x="19364" y="1092150"/>
                    <a:pt x="13070" y="1065619"/>
                    <a:pt x="13070" y="1030914"/>
                  </a:cubicBezTo>
                  <a:cubicBezTo>
                    <a:pt x="13070" y="992797"/>
                    <a:pt x="19640" y="963959"/>
                    <a:pt x="32780" y="944399"/>
                  </a:cubicBezTo>
                  <a:cubicBezTo>
                    <a:pt x="45921" y="924840"/>
                    <a:pt x="64878" y="915060"/>
                    <a:pt x="89653" y="915060"/>
                  </a:cubicBezTo>
                  <a:close/>
                  <a:moveTo>
                    <a:pt x="9143281" y="660590"/>
                  </a:moveTo>
                  <a:cubicBezTo>
                    <a:pt x="9117101" y="660590"/>
                    <a:pt x="9104011" y="689428"/>
                    <a:pt x="9104011" y="747104"/>
                  </a:cubicBezTo>
                  <a:cubicBezTo>
                    <a:pt x="9104011" y="801068"/>
                    <a:pt x="9116850" y="828051"/>
                    <a:pt x="9142529" y="828051"/>
                  </a:cubicBezTo>
                  <a:cubicBezTo>
                    <a:pt x="9167805" y="828051"/>
                    <a:pt x="9180444" y="800617"/>
                    <a:pt x="9180444" y="745750"/>
                  </a:cubicBezTo>
                  <a:cubicBezTo>
                    <a:pt x="9180444" y="688976"/>
                    <a:pt x="9168056" y="660590"/>
                    <a:pt x="9143281" y="660590"/>
                  </a:cubicBezTo>
                  <a:close/>
                  <a:moveTo>
                    <a:pt x="8801524" y="660590"/>
                  </a:moveTo>
                  <a:cubicBezTo>
                    <a:pt x="8775344" y="660590"/>
                    <a:pt x="8762254" y="689428"/>
                    <a:pt x="8762254" y="747104"/>
                  </a:cubicBezTo>
                  <a:cubicBezTo>
                    <a:pt x="8762254" y="801068"/>
                    <a:pt x="8775093" y="828051"/>
                    <a:pt x="8800772" y="828051"/>
                  </a:cubicBezTo>
                  <a:cubicBezTo>
                    <a:pt x="8826048" y="828051"/>
                    <a:pt x="8838687" y="800617"/>
                    <a:pt x="8838687" y="745750"/>
                  </a:cubicBezTo>
                  <a:cubicBezTo>
                    <a:pt x="8838687" y="688976"/>
                    <a:pt x="8826299" y="660590"/>
                    <a:pt x="8801524" y="660590"/>
                  </a:cubicBezTo>
                  <a:close/>
                  <a:moveTo>
                    <a:pt x="8100122" y="660590"/>
                  </a:moveTo>
                  <a:cubicBezTo>
                    <a:pt x="8073942" y="660590"/>
                    <a:pt x="8060852" y="689428"/>
                    <a:pt x="8060852" y="747104"/>
                  </a:cubicBezTo>
                  <a:cubicBezTo>
                    <a:pt x="8060852" y="801068"/>
                    <a:pt x="8073691" y="828051"/>
                    <a:pt x="8099370" y="828051"/>
                  </a:cubicBezTo>
                  <a:cubicBezTo>
                    <a:pt x="8124647" y="828051"/>
                    <a:pt x="8137285" y="800617"/>
                    <a:pt x="8137285" y="745750"/>
                  </a:cubicBezTo>
                  <a:cubicBezTo>
                    <a:pt x="8137285" y="688976"/>
                    <a:pt x="8124897" y="660590"/>
                    <a:pt x="8100122" y="660590"/>
                  </a:cubicBezTo>
                  <a:close/>
                  <a:moveTo>
                    <a:pt x="6841633" y="660590"/>
                  </a:moveTo>
                  <a:cubicBezTo>
                    <a:pt x="6815453" y="660590"/>
                    <a:pt x="6802363" y="689428"/>
                    <a:pt x="6802363" y="747104"/>
                  </a:cubicBezTo>
                  <a:cubicBezTo>
                    <a:pt x="6802363" y="801068"/>
                    <a:pt x="6815202" y="828051"/>
                    <a:pt x="6840881" y="828051"/>
                  </a:cubicBezTo>
                  <a:cubicBezTo>
                    <a:pt x="6866158" y="828051"/>
                    <a:pt x="6878796" y="800617"/>
                    <a:pt x="6878796" y="745750"/>
                  </a:cubicBezTo>
                  <a:cubicBezTo>
                    <a:pt x="6878796" y="688976"/>
                    <a:pt x="6866408" y="660590"/>
                    <a:pt x="6841633" y="660590"/>
                  </a:cubicBezTo>
                  <a:close/>
                  <a:moveTo>
                    <a:pt x="6628539" y="660590"/>
                  </a:moveTo>
                  <a:cubicBezTo>
                    <a:pt x="6602359" y="660590"/>
                    <a:pt x="6589269" y="689428"/>
                    <a:pt x="6589269" y="747104"/>
                  </a:cubicBezTo>
                  <a:cubicBezTo>
                    <a:pt x="6589269" y="801068"/>
                    <a:pt x="6602108" y="828051"/>
                    <a:pt x="6627787" y="828051"/>
                  </a:cubicBezTo>
                  <a:cubicBezTo>
                    <a:pt x="6653064" y="828051"/>
                    <a:pt x="6665702" y="800617"/>
                    <a:pt x="6665702" y="745750"/>
                  </a:cubicBezTo>
                  <a:cubicBezTo>
                    <a:pt x="6665702" y="688976"/>
                    <a:pt x="6653314" y="660590"/>
                    <a:pt x="6628539" y="660590"/>
                  </a:cubicBezTo>
                  <a:close/>
                  <a:moveTo>
                    <a:pt x="3082864" y="660590"/>
                  </a:moveTo>
                  <a:cubicBezTo>
                    <a:pt x="3056684" y="660590"/>
                    <a:pt x="3043594" y="689428"/>
                    <a:pt x="3043594" y="747104"/>
                  </a:cubicBezTo>
                  <a:cubicBezTo>
                    <a:pt x="3043594" y="801068"/>
                    <a:pt x="3056433" y="828051"/>
                    <a:pt x="3082111" y="828051"/>
                  </a:cubicBezTo>
                  <a:cubicBezTo>
                    <a:pt x="3107389" y="828051"/>
                    <a:pt x="3120027" y="800617"/>
                    <a:pt x="3120027" y="745750"/>
                  </a:cubicBezTo>
                  <a:cubicBezTo>
                    <a:pt x="3120027" y="688976"/>
                    <a:pt x="3107639" y="660590"/>
                    <a:pt x="3082864" y="660590"/>
                  </a:cubicBezTo>
                  <a:close/>
                  <a:moveTo>
                    <a:pt x="2736061" y="660590"/>
                  </a:moveTo>
                  <a:cubicBezTo>
                    <a:pt x="2709881" y="660590"/>
                    <a:pt x="2696791" y="689428"/>
                    <a:pt x="2696791" y="747104"/>
                  </a:cubicBezTo>
                  <a:cubicBezTo>
                    <a:pt x="2696791" y="801068"/>
                    <a:pt x="2709630" y="828051"/>
                    <a:pt x="2735309" y="828051"/>
                  </a:cubicBezTo>
                  <a:cubicBezTo>
                    <a:pt x="2760586" y="828051"/>
                    <a:pt x="2773224" y="800617"/>
                    <a:pt x="2773224" y="745750"/>
                  </a:cubicBezTo>
                  <a:cubicBezTo>
                    <a:pt x="2773224" y="688976"/>
                    <a:pt x="2760836" y="660590"/>
                    <a:pt x="2736061" y="660590"/>
                  </a:cubicBezTo>
                  <a:close/>
                  <a:moveTo>
                    <a:pt x="2044696" y="660590"/>
                  </a:moveTo>
                  <a:cubicBezTo>
                    <a:pt x="2018515" y="660590"/>
                    <a:pt x="2005426" y="689428"/>
                    <a:pt x="2005426" y="747104"/>
                  </a:cubicBezTo>
                  <a:cubicBezTo>
                    <a:pt x="2005426" y="801068"/>
                    <a:pt x="2018265" y="828051"/>
                    <a:pt x="2043944" y="828051"/>
                  </a:cubicBezTo>
                  <a:cubicBezTo>
                    <a:pt x="2069221" y="828051"/>
                    <a:pt x="2081859" y="800617"/>
                    <a:pt x="2081859" y="745750"/>
                  </a:cubicBezTo>
                  <a:cubicBezTo>
                    <a:pt x="2081859" y="688976"/>
                    <a:pt x="2069471" y="660590"/>
                    <a:pt x="2044696" y="660590"/>
                  </a:cubicBezTo>
                  <a:close/>
                  <a:moveTo>
                    <a:pt x="789489" y="660590"/>
                  </a:moveTo>
                  <a:cubicBezTo>
                    <a:pt x="763309" y="660590"/>
                    <a:pt x="750218" y="689428"/>
                    <a:pt x="750218" y="747104"/>
                  </a:cubicBezTo>
                  <a:cubicBezTo>
                    <a:pt x="750218" y="801068"/>
                    <a:pt x="763058" y="828051"/>
                    <a:pt x="788737" y="828051"/>
                  </a:cubicBezTo>
                  <a:cubicBezTo>
                    <a:pt x="814014" y="828051"/>
                    <a:pt x="826652" y="800617"/>
                    <a:pt x="826652" y="745750"/>
                  </a:cubicBezTo>
                  <a:cubicBezTo>
                    <a:pt x="826652" y="688976"/>
                    <a:pt x="814264" y="660590"/>
                    <a:pt x="789489" y="660590"/>
                  </a:cubicBezTo>
                  <a:close/>
                  <a:moveTo>
                    <a:pt x="568889" y="660590"/>
                  </a:moveTo>
                  <a:cubicBezTo>
                    <a:pt x="542709" y="660590"/>
                    <a:pt x="529618" y="689428"/>
                    <a:pt x="529618" y="747104"/>
                  </a:cubicBezTo>
                  <a:cubicBezTo>
                    <a:pt x="529618" y="801068"/>
                    <a:pt x="542457" y="828051"/>
                    <a:pt x="568137" y="828051"/>
                  </a:cubicBezTo>
                  <a:cubicBezTo>
                    <a:pt x="593414" y="828051"/>
                    <a:pt x="606052" y="800617"/>
                    <a:pt x="606052" y="745750"/>
                  </a:cubicBezTo>
                  <a:cubicBezTo>
                    <a:pt x="606052" y="688976"/>
                    <a:pt x="593664" y="660590"/>
                    <a:pt x="568889" y="660590"/>
                  </a:cubicBezTo>
                  <a:close/>
                  <a:moveTo>
                    <a:pt x="12047977" y="632755"/>
                  </a:moveTo>
                  <a:lnTo>
                    <a:pt x="12062883" y="632755"/>
                  </a:lnTo>
                  <a:lnTo>
                    <a:pt x="12062883" y="855735"/>
                  </a:lnTo>
                  <a:lnTo>
                    <a:pt x="12027595" y="855735"/>
                  </a:lnTo>
                  <a:lnTo>
                    <a:pt x="12027595" y="675952"/>
                  </a:lnTo>
                  <a:cubicBezTo>
                    <a:pt x="12021207" y="680515"/>
                    <a:pt x="12014337" y="684393"/>
                    <a:pt x="12006986" y="687587"/>
                  </a:cubicBezTo>
                  <a:cubicBezTo>
                    <a:pt x="11999634" y="690782"/>
                    <a:pt x="11991243" y="693595"/>
                    <a:pt x="11981813" y="696029"/>
                  </a:cubicBezTo>
                  <a:lnTo>
                    <a:pt x="11981813" y="665913"/>
                  </a:lnTo>
                  <a:cubicBezTo>
                    <a:pt x="11987694" y="663987"/>
                    <a:pt x="11993373" y="661958"/>
                    <a:pt x="11998848" y="659829"/>
                  </a:cubicBezTo>
                  <a:cubicBezTo>
                    <a:pt x="12004324" y="657700"/>
                    <a:pt x="12009724" y="655317"/>
                    <a:pt x="12015047" y="652680"/>
                  </a:cubicBezTo>
                  <a:cubicBezTo>
                    <a:pt x="12020371" y="650044"/>
                    <a:pt x="12025745" y="647103"/>
                    <a:pt x="12031170" y="643858"/>
                  </a:cubicBezTo>
                  <a:cubicBezTo>
                    <a:pt x="12036595" y="640614"/>
                    <a:pt x="12042197" y="636912"/>
                    <a:pt x="12047977" y="632755"/>
                  </a:cubicBezTo>
                  <a:close/>
                  <a:moveTo>
                    <a:pt x="11675412" y="632755"/>
                  </a:moveTo>
                  <a:lnTo>
                    <a:pt x="11690318" y="632755"/>
                  </a:lnTo>
                  <a:lnTo>
                    <a:pt x="11690318" y="855735"/>
                  </a:lnTo>
                  <a:lnTo>
                    <a:pt x="11655030" y="855735"/>
                  </a:lnTo>
                  <a:lnTo>
                    <a:pt x="11655030" y="675952"/>
                  </a:lnTo>
                  <a:cubicBezTo>
                    <a:pt x="11648642" y="680515"/>
                    <a:pt x="11641772" y="684393"/>
                    <a:pt x="11634421" y="687587"/>
                  </a:cubicBezTo>
                  <a:cubicBezTo>
                    <a:pt x="11627069" y="690782"/>
                    <a:pt x="11618678" y="693595"/>
                    <a:pt x="11609248" y="696029"/>
                  </a:cubicBezTo>
                  <a:lnTo>
                    <a:pt x="11609248" y="665913"/>
                  </a:lnTo>
                  <a:cubicBezTo>
                    <a:pt x="11615129" y="663987"/>
                    <a:pt x="11620808" y="661958"/>
                    <a:pt x="11626283" y="659829"/>
                  </a:cubicBezTo>
                  <a:cubicBezTo>
                    <a:pt x="11631759" y="657700"/>
                    <a:pt x="11637159" y="655317"/>
                    <a:pt x="11642482" y="652680"/>
                  </a:cubicBezTo>
                  <a:cubicBezTo>
                    <a:pt x="11647806" y="650044"/>
                    <a:pt x="11653180" y="647103"/>
                    <a:pt x="11658605" y="643858"/>
                  </a:cubicBezTo>
                  <a:cubicBezTo>
                    <a:pt x="11664030" y="640614"/>
                    <a:pt x="11669632" y="636912"/>
                    <a:pt x="11675412" y="632755"/>
                  </a:cubicBezTo>
                  <a:close/>
                  <a:moveTo>
                    <a:pt x="11525439" y="632755"/>
                  </a:moveTo>
                  <a:lnTo>
                    <a:pt x="11540345" y="632755"/>
                  </a:lnTo>
                  <a:lnTo>
                    <a:pt x="11540345" y="855735"/>
                  </a:lnTo>
                  <a:lnTo>
                    <a:pt x="11505057" y="855735"/>
                  </a:lnTo>
                  <a:lnTo>
                    <a:pt x="11505057" y="675952"/>
                  </a:lnTo>
                  <a:cubicBezTo>
                    <a:pt x="11498669" y="680515"/>
                    <a:pt x="11491799" y="684393"/>
                    <a:pt x="11484448" y="687587"/>
                  </a:cubicBezTo>
                  <a:cubicBezTo>
                    <a:pt x="11477096" y="690782"/>
                    <a:pt x="11468705" y="693595"/>
                    <a:pt x="11459275" y="696029"/>
                  </a:cubicBezTo>
                  <a:lnTo>
                    <a:pt x="11459275" y="665913"/>
                  </a:lnTo>
                  <a:cubicBezTo>
                    <a:pt x="11465156" y="663987"/>
                    <a:pt x="11470835" y="661958"/>
                    <a:pt x="11476310" y="659829"/>
                  </a:cubicBezTo>
                  <a:cubicBezTo>
                    <a:pt x="11481786" y="657700"/>
                    <a:pt x="11487186" y="655317"/>
                    <a:pt x="11492509" y="652680"/>
                  </a:cubicBezTo>
                  <a:cubicBezTo>
                    <a:pt x="11497833" y="650044"/>
                    <a:pt x="11503207" y="647103"/>
                    <a:pt x="11508632" y="643858"/>
                  </a:cubicBezTo>
                  <a:cubicBezTo>
                    <a:pt x="11514057" y="640614"/>
                    <a:pt x="11519659" y="636912"/>
                    <a:pt x="11525439" y="632755"/>
                  </a:cubicBezTo>
                  <a:close/>
                  <a:moveTo>
                    <a:pt x="11375466" y="632755"/>
                  </a:moveTo>
                  <a:lnTo>
                    <a:pt x="11390372" y="632755"/>
                  </a:lnTo>
                  <a:lnTo>
                    <a:pt x="11390372" y="855735"/>
                  </a:lnTo>
                  <a:lnTo>
                    <a:pt x="11355084" y="855735"/>
                  </a:lnTo>
                  <a:lnTo>
                    <a:pt x="11355084" y="675952"/>
                  </a:lnTo>
                  <a:cubicBezTo>
                    <a:pt x="11348696" y="680515"/>
                    <a:pt x="11341826" y="684393"/>
                    <a:pt x="11334475" y="687587"/>
                  </a:cubicBezTo>
                  <a:cubicBezTo>
                    <a:pt x="11327123" y="690782"/>
                    <a:pt x="11318732" y="693595"/>
                    <a:pt x="11309302" y="696029"/>
                  </a:cubicBezTo>
                  <a:lnTo>
                    <a:pt x="11309302" y="665913"/>
                  </a:lnTo>
                  <a:cubicBezTo>
                    <a:pt x="11315183" y="663987"/>
                    <a:pt x="11320862" y="661958"/>
                    <a:pt x="11326337" y="659829"/>
                  </a:cubicBezTo>
                  <a:cubicBezTo>
                    <a:pt x="11331813" y="657700"/>
                    <a:pt x="11337213" y="655317"/>
                    <a:pt x="11342536" y="652680"/>
                  </a:cubicBezTo>
                  <a:cubicBezTo>
                    <a:pt x="11347860" y="650044"/>
                    <a:pt x="11353234" y="647103"/>
                    <a:pt x="11358659" y="643858"/>
                  </a:cubicBezTo>
                  <a:cubicBezTo>
                    <a:pt x="11364084" y="640614"/>
                    <a:pt x="11369686" y="636912"/>
                    <a:pt x="11375466" y="632755"/>
                  </a:cubicBezTo>
                  <a:close/>
                  <a:moveTo>
                    <a:pt x="10632508" y="632755"/>
                  </a:moveTo>
                  <a:lnTo>
                    <a:pt x="10647414" y="632755"/>
                  </a:lnTo>
                  <a:lnTo>
                    <a:pt x="10647414" y="855735"/>
                  </a:lnTo>
                  <a:lnTo>
                    <a:pt x="10612126" y="855735"/>
                  </a:lnTo>
                  <a:lnTo>
                    <a:pt x="10612126" y="675952"/>
                  </a:lnTo>
                  <a:cubicBezTo>
                    <a:pt x="10605738" y="680515"/>
                    <a:pt x="10598868" y="684393"/>
                    <a:pt x="10591517" y="687587"/>
                  </a:cubicBezTo>
                  <a:cubicBezTo>
                    <a:pt x="10584165" y="690782"/>
                    <a:pt x="10575774" y="693595"/>
                    <a:pt x="10566344" y="696029"/>
                  </a:cubicBezTo>
                  <a:lnTo>
                    <a:pt x="10566344" y="665913"/>
                  </a:lnTo>
                  <a:cubicBezTo>
                    <a:pt x="10572225" y="663987"/>
                    <a:pt x="10577904" y="661958"/>
                    <a:pt x="10583379" y="659829"/>
                  </a:cubicBezTo>
                  <a:cubicBezTo>
                    <a:pt x="10588855" y="657700"/>
                    <a:pt x="10594255" y="655317"/>
                    <a:pt x="10599578" y="652680"/>
                  </a:cubicBezTo>
                  <a:cubicBezTo>
                    <a:pt x="10604902" y="650044"/>
                    <a:pt x="10610276" y="647103"/>
                    <a:pt x="10615701" y="643858"/>
                  </a:cubicBezTo>
                  <a:cubicBezTo>
                    <a:pt x="10621126" y="640614"/>
                    <a:pt x="10626728" y="636912"/>
                    <a:pt x="10632508" y="632755"/>
                  </a:cubicBezTo>
                  <a:close/>
                  <a:moveTo>
                    <a:pt x="10481379" y="632755"/>
                  </a:moveTo>
                  <a:lnTo>
                    <a:pt x="10496285" y="632755"/>
                  </a:lnTo>
                  <a:lnTo>
                    <a:pt x="10496285" y="855735"/>
                  </a:lnTo>
                  <a:lnTo>
                    <a:pt x="10460997" y="855735"/>
                  </a:lnTo>
                  <a:lnTo>
                    <a:pt x="10460997" y="675952"/>
                  </a:lnTo>
                  <a:cubicBezTo>
                    <a:pt x="10454609" y="680515"/>
                    <a:pt x="10447739" y="684393"/>
                    <a:pt x="10440388" y="687587"/>
                  </a:cubicBezTo>
                  <a:cubicBezTo>
                    <a:pt x="10433036" y="690782"/>
                    <a:pt x="10424645" y="693595"/>
                    <a:pt x="10415215" y="696029"/>
                  </a:cubicBezTo>
                  <a:lnTo>
                    <a:pt x="10415215" y="665913"/>
                  </a:lnTo>
                  <a:cubicBezTo>
                    <a:pt x="10421096" y="663987"/>
                    <a:pt x="10426775" y="661958"/>
                    <a:pt x="10432250" y="659829"/>
                  </a:cubicBezTo>
                  <a:cubicBezTo>
                    <a:pt x="10437726" y="657700"/>
                    <a:pt x="10443126" y="655317"/>
                    <a:pt x="10448449" y="652680"/>
                  </a:cubicBezTo>
                  <a:cubicBezTo>
                    <a:pt x="10453773" y="650044"/>
                    <a:pt x="10459147" y="647103"/>
                    <a:pt x="10464572" y="643858"/>
                  </a:cubicBezTo>
                  <a:cubicBezTo>
                    <a:pt x="10469997" y="640614"/>
                    <a:pt x="10475599" y="636912"/>
                    <a:pt x="10481379" y="632755"/>
                  </a:cubicBezTo>
                  <a:close/>
                  <a:moveTo>
                    <a:pt x="10181432" y="632755"/>
                  </a:moveTo>
                  <a:lnTo>
                    <a:pt x="10196338" y="632755"/>
                  </a:lnTo>
                  <a:lnTo>
                    <a:pt x="10196338" y="855735"/>
                  </a:lnTo>
                  <a:lnTo>
                    <a:pt x="10161050" y="855735"/>
                  </a:lnTo>
                  <a:lnTo>
                    <a:pt x="10161050" y="675952"/>
                  </a:lnTo>
                  <a:cubicBezTo>
                    <a:pt x="10154662" y="680515"/>
                    <a:pt x="10147792" y="684393"/>
                    <a:pt x="10140441" y="687587"/>
                  </a:cubicBezTo>
                  <a:cubicBezTo>
                    <a:pt x="10133089" y="690782"/>
                    <a:pt x="10124698" y="693595"/>
                    <a:pt x="10115268" y="696029"/>
                  </a:cubicBezTo>
                  <a:lnTo>
                    <a:pt x="10115268" y="665913"/>
                  </a:lnTo>
                  <a:cubicBezTo>
                    <a:pt x="10121149" y="663987"/>
                    <a:pt x="10126828" y="661958"/>
                    <a:pt x="10132303" y="659829"/>
                  </a:cubicBezTo>
                  <a:cubicBezTo>
                    <a:pt x="10137779" y="657700"/>
                    <a:pt x="10143179" y="655317"/>
                    <a:pt x="10148502" y="652680"/>
                  </a:cubicBezTo>
                  <a:cubicBezTo>
                    <a:pt x="10153826" y="650044"/>
                    <a:pt x="10159200" y="647103"/>
                    <a:pt x="10164625" y="643858"/>
                  </a:cubicBezTo>
                  <a:cubicBezTo>
                    <a:pt x="10170050" y="640614"/>
                    <a:pt x="10175652" y="636912"/>
                    <a:pt x="10181432" y="632755"/>
                  </a:cubicBezTo>
                  <a:close/>
                  <a:moveTo>
                    <a:pt x="9796404" y="632755"/>
                  </a:moveTo>
                  <a:lnTo>
                    <a:pt x="9811310" y="632755"/>
                  </a:lnTo>
                  <a:lnTo>
                    <a:pt x="9811310" y="855735"/>
                  </a:lnTo>
                  <a:lnTo>
                    <a:pt x="9776022" y="855735"/>
                  </a:lnTo>
                  <a:lnTo>
                    <a:pt x="9776022" y="675952"/>
                  </a:lnTo>
                  <a:cubicBezTo>
                    <a:pt x="9769634" y="680515"/>
                    <a:pt x="9762764" y="684393"/>
                    <a:pt x="9755413" y="687587"/>
                  </a:cubicBezTo>
                  <a:cubicBezTo>
                    <a:pt x="9748061" y="690782"/>
                    <a:pt x="9739670" y="693595"/>
                    <a:pt x="9730240" y="696029"/>
                  </a:cubicBezTo>
                  <a:lnTo>
                    <a:pt x="9730240" y="665913"/>
                  </a:lnTo>
                  <a:cubicBezTo>
                    <a:pt x="9736121" y="663987"/>
                    <a:pt x="9741800" y="661958"/>
                    <a:pt x="9747275" y="659829"/>
                  </a:cubicBezTo>
                  <a:cubicBezTo>
                    <a:pt x="9752751" y="657700"/>
                    <a:pt x="9758151" y="655317"/>
                    <a:pt x="9763474" y="652680"/>
                  </a:cubicBezTo>
                  <a:cubicBezTo>
                    <a:pt x="9768798" y="650044"/>
                    <a:pt x="9774172" y="647103"/>
                    <a:pt x="9779597" y="643858"/>
                  </a:cubicBezTo>
                  <a:cubicBezTo>
                    <a:pt x="9785022" y="640614"/>
                    <a:pt x="9790624" y="636912"/>
                    <a:pt x="9796404" y="632755"/>
                  </a:cubicBezTo>
                  <a:close/>
                  <a:moveTo>
                    <a:pt x="9645275" y="632755"/>
                  </a:moveTo>
                  <a:lnTo>
                    <a:pt x="9660181" y="632755"/>
                  </a:lnTo>
                  <a:lnTo>
                    <a:pt x="9660181" y="855735"/>
                  </a:lnTo>
                  <a:lnTo>
                    <a:pt x="9624893" y="855735"/>
                  </a:lnTo>
                  <a:lnTo>
                    <a:pt x="9624893" y="675952"/>
                  </a:lnTo>
                  <a:cubicBezTo>
                    <a:pt x="9618505" y="680515"/>
                    <a:pt x="9611635" y="684393"/>
                    <a:pt x="9604284" y="687587"/>
                  </a:cubicBezTo>
                  <a:cubicBezTo>
                    <a:pt x="9596932" y="690782"/>
                    <a:pt x="9588541" y="693595"/>
                    <a:pt x="9579111" y="696029"/>
                  </a:cubicBezTo>
                  <a:lnTo>
                    <a:pt x="9579111" y="665913"/>
                  </a:lnTo>
                  <a:cubicBezTo>
                    <a:pt x="9584992" y="663987"/>
                    <a:pt x="9590671" y="661958"/>
                    <a:pt x="9596146" y="659829"/>
                  </a:cubicBezTo>
                  <a:cubicBezTo>
                    <a:pt x="9601622" y="657700"/>
                    <a:pt x="9607022" y="655317"/>
                    <a:pt x="9612345" y="652680"/>
                  </a:cubicBezTo>
                  <a:cubicBezTo>
                    <a:pt x="9617669" y="650044"/>
                    <a:pt x="9623043" y="647103"/>
                    <a:pt x="9628468" y="643858"/>
                  </a:cubicBezTo>
                  <a:cubicBezTo>
                    <a:pt x="9633893" y="640614"/>
                    <a:pt x="9639495" y="636912"/>
                    <a:pt x="9645275" y="632755"/>
                  </a:cubicBezTo>
                  <a:close/>
                  <a:moveTo>
                    <a:pt x="9495302" y="632755"/>
                  </a:moveTo>
                  <a:lnTo>
                    <a:pt x="9510208" y="632755"/>
                  </a:lnTo>
                  <a:lnTo>
                    <a:pt x="9510208" y="855735"/>
                  </a:lnTo>
                  <a:lnTo>
                    <a:pt x="9474920" y="855735"/>
                  </a:lnTo>
                  <a:lnTo>
                    <a:pt x="9474920" y="675952"/>
                  </a:lnTo>
                  <a:cubicBezTo>
                    <a:pt x="9468532" y="680515"/>
                    <a:pt x="9461662" y="684393"/>
                    <a:pt x="9454311" y="687587"/>
                  </a:cubicBezTo>
                  <a:cubicBezTo>
                    <a:pt x="9446959" y="690782"/>
                    <a:pt x="9438568" y="693595"/>
                    <a:pt x="9429138" y="696029"/>
                  </a:cubicBezTo>
                  <a:lnTo>
                    <a:pt x="9429138" y="665913"/>
                  </a:lnTo>
                  <a:cubicBezTo>
                    <a:pt x="9435019" y="663987"/>
                    <a:pt x="9440698" y="661958"/>
                    <a:pt x="9446173" y="659829"/>
                  </a:cubicBezTo>
                  <a:cubicBezTo>
                    <a:pt x="9451649" y="657700"/>
                    <a:pt x="9457049" y="655317"/>
                    <a:pt x="9462372" y="652680"/>
                  </a:cubicBezTo>
                  <a:cubicBezTo>
                    <a:pt x="9467696" y="650044"/>
                    <a:pt x="9473070" y="647103"/>
                    <a:pt x="9478495" y="643858"/>
                  </a:cubicBezTo>
                  <a:cubicBezTo>
                    <a:pt x="9483920" y="640614"/>
                    <a:pt x="9489522" y="636912"/>
                    <a:pt x="9495302" y="632755"/>
                  </a:cubicBezTo>
                  <a:close/>
                  <a:moveTo>
                    <a:pt x="9345329" y="632755"/>
                  </a:moveTo>
                  <a:lnTo>
                    <a:pt x="9360235" y="632755"/>
                  </a:lnTo>
                  <a:lnTo>
                    <a:pt x="9360235" y="855735"/>
                  </a:lnTo>
                  <a:lnTo>
                    <a:pt x="9324947" y="855735"/>
                  </a:lnTo>
                  <a:lnTo>
                    <a:pt x="9324947" y="675952"/>
                  </a:lnTo>
                  <a:cubicBezTo>
                    <a:pt x="9318559" y="680515"/>
                    <a:pt x="9311689" y="684393"/>
                    <a:pt x="9304338" y="687587"/>
                  </a:cubicBezTo>
                  <a:cubicBezTo>
                    <a:pt x="9296986" y="690782"/>
                    <a:pt x="9288595" y="693595"/>
                    <a:pt x="9279165" y="696029"/>
                  </a:cubicBezTo>
                  <a:lnTo>
                    <a:pt x="9279165" y="665913"/>
                  </a:lnTo>
                  <a:cubicBezTo>
                    <a:pt x="9285046" y="663987"/>
                    <a:pt x="9290725" y="661958"/>
                    <a:pt x="9296200" y="659829"/>
                  </a:cubicBezTo>
                  <a:cubicBezTo>
                    <a:pt x="9301676" y="657700"/>
                    <a:pt x="9307076" y="655317"/>
                    <a:pt x="9312399" y="652680"/>
                  </a:cubicBezTo>
                  <a:cubicBezTo>
                    <a:pt x="9317723" y="650044"/>
                    <a:pt x="9323097" y="647103"/>
                    <a:pt x="9328522" y="643858"/>
                  </a:cubicBezTo>
                  <a:cubicBezTo>
                    <a:pt x="9333947" y="640614"/>
                    <a:pt x="9339549" y="636912"/>
                    <a:pt x="9345329" y="632755"/>
                  </a:cubicBezTo>
                  <a:close/>
                  <a:moveTo>
                    <a:pt x="9144936" y="632755"/>
                  </a:moveTo>
                  <a:cubicBezTo>
                    <a:pt x="9192380" y="632755"/>
                    <a:pt x="9216103" y="669618"/>
                    <a:pt x="9216103" y="743343"/>
                  </a:cubicBezTo>
                  <a:cubicBezTo>
                    <a:pt x="9216103" y="779854"/>
                    <a:pt x="9209407" y="807714"/>
                    <a:pt x="9196017" y="826922"/>
                  </a:cubicBezTo>
                  <a:cubicBezTo>
                    <a:pt x="9182626" y="846130"/>
                    <a:pt x="9163894" y="855735"/>
                    <a:pt x="9139820" y="855735"/>
                  </a:cubicBezTo>
                  <a:cubicBezTo>
                    <a:pt x="9117352" y="855735"/>
                    <a:pt x="9099823" y="846557"/>
                    <a:pt x="9087235" y="828201"/>
                  </a:cubicBezTo>
                  <a:cubicBezTo>
                    <a:pt x="9074646" y="809845"/>
                    <a:pt x="9068352" y="783314"/>
                    <a:pt x="9068352" y="748609"/>
                  </a:cubicBezTo>
                  <a:cubicBezTo>
                    <a:pt x="9068352" y="710492"/>
                    <a:pt x="9074922" y="681654"/>
                    <a:pt x="9088062" y="662094"/>
                  </a:cubicBezTo>
                  <a:cubicBezTo>
                    <a:pt x="9101203" y="642535"/>
                    <a:pt x="9120160" y="632755"/>
                    <a:pt x="9144936" y="632755"/>
                  </a:cubicBezTo>
                  <a:close/>
                  <a:moveTo>
                    <a:pt x="9013860" y="632755"/>
                  </a:moveTo>
                  <a:lnTo>
                    <a:pt x="9028766" y="632755"/>
                  </a:lnTo>
                  <a:lnTo>
                    <a:pt x="9028766" y="855735"/>
                  </a:lnTo>
                  <a:lnTo>
                    <a:pt x="8993478" y="855735"/>
                  </a:lnTo>
                  <a:lnTo>
                    <a:pt x="8993478" y="675952"/>
                  </a:lnTo>
                  <a:cubicBezTo>
                    <a:pt x="8987090" y="680515"/>
                    <a:pt x="8980220" y="684393"/>
                    <a:pt x="8972869" y="687587"/>
                  </a:cubicBezTo>
                  <a:cubicBezTo>
                    <a:pt x="8965517" y="690782"/>
                    <a:pt x="8957126" y="693595"/>
                    <a:pt x="8947696" y="696029"/>
                  </a:cubicBezTo>
                  <a:lnTo>
                    <a:pt x="8947696" y="665913"/>
                  </a:lnTo>
                  <a:cubicBezTo>
                    <a:pt x="8953577" y="663987"/>
                    <a:pt x="8959256" y="661958"/>
                    <a:pt x="8964731" y="659829"/>
                  </a:cubicBezTo>
                  <a:cubicBezTo>
                    <a:pt x="8970207" y="657700"/>
                    <a:pt x="8975607" y="655317"/>
                    <a:pt x="8980930" y="652680"/>
                  </a:cubicBezTo>
                  <a:cubicBezTo>
                    <a:pt x="8986254" y="650044"/>
                    <a:pt x="8991628" y="647103"/>
                    <a:pt x="8997053" y="643858"/>
                  </a:cubicBezTo>
                  <a:cubicBezTo>
                    <a:pt x="9002478" y="640614"/>
                    <a:pt x="9008080" y="636912"/>
                    <a:pt x="9013860" y="632755"/>
                  </a:cubicBezTo>
                  <a:close/>
                  <a:moveTo>
                    <a:pt x="8803179" y="632755"/>
                  </a:moveTo>
                  <a:cubicBezTo>
                    <a:pt x="8850623" y="632755"/>
                    <a:pt x="8874346" y="669618"/>
                    <a:pt x="8874346" y="743343"/>
                  </a:cubicBezTo>
                  <a:cubicBezTo>
                    <a:pt x="8874346" y="779854"/>
                    <a:pt x="8867650" y="807714"/>
                    <a:pt x="8854260" y="826922"/>
                  </a:cubicBezTo>
                  <a:cubicBezTo>
                    <a:pt x="8840869" y="846130"/>
                    <a:pt x="8822137" y="855735"/>
                    <a:pt x="8798063" y="855735"/>
                  </a:cubicBezTo>
                  <a:cubicBezTo>
                    <a:pt x="8775595" y="855735"/>
                    <a:pt x="8758066" y="846557"/>
                    <a:pt x="8745478" y="828201"/>
                  </a:cubicBezTo>
                  <a:cubicBezTo>
                    <a:pt x="8732889" y="809845"/>
                    <a:pt x="8726595" y="783314"/>
                    <a:pt x="8726595" y="748609"/>
                  </a:cubicBezTo>
                  <a:cubicBezTo>
                    <a:pt x="8726595" y="710492"/>
                    <a:pt x="8733165" y="681654"/>
                    <a:pt x="8746305" y="662094"/>
                  </a:cubicBezTo>
                  <a:cubicBezTo>
                    <a:pt x="8759446" y="642535"/>
                    <a:pt x="8778403" y="632755"/>
                    <a:pt x="8803179" y="632755"/>
                  </a:cubicBezTo>
                  <a:close/>
                  <a:moveTo>
                    <a:pt x="8101777" y="632755"/>
                  </a:moveTo>
                  <a:cubicBezTo>
                    <a:pt x="8149222" y="632755"/>
                    <a:pt x="8172944" y="669618"/>
                    <a:pt x="8172944" y="743343"/>
                  </a:cubicBezTo>
                  <a:cubicBezTo>
                    <a:pt x="8172944" y="779854"/>
                    <a:pt x="8166249" y="807714"/>
                    <a:pt x="8152858" y="826922"/>
                  </a:cubicBezTo>
                  <a:cubicBezTo>
                    <a:pt x="8139467" y="846130"/>
                    <a:pt x="8120735" y="855735"/>
                    <a:pt x="8096661" y="855735"/>
                  </a:cubicBezTo>
                  <a:cubicBezTo>
                    <a:pt x="8074193" y="855735"/>
                    <a:pt x="8056664" y="846557"/>
                    <a:pt x="8044076" y="828201"/>
                  </a:cubicBezTo>
                  <a:cubicBezTo>
                    <a:pt x="8031487" y="809845"/>
                    <a:pt x="8025193" y="783314"/>
                    <a:pt x="8025193" y="748609"/>
                  </a:cubicBezTo>
                  <a:cubicBezTo>
                    <a:pt x="8025193" y="710492"/>
                    <a:pt x="8031763" y="681654"/>
                    <a:pt x="8044903" y="662094"/>
                  </a:cubicBezTo>
                  <a:cubicBezTo>
                    <a:pt x="8058044" y="642535"/>
                    <a:pt x="8077001" y="632755"/>
                    <a:pt x="8101777" y="632755"/>
                  </a:cubicBezTo>
                  <a:close/>
                  <a:moveTo>
                    <a:pt x="7722616" y="632755"/>
                  </a:moveTo>
                  <a:lnTo>
                    <a:pt x="7737522" y="632755"/>
                  </a:lnTo>
                  <a:lnTo>
                    <a:pt x="7737522" y="855735"/>
                  </a:lnTo>
                  <a:lnTo>
                    <a:pt x="7702234" y="855735"/>
                  </a:lnTo>
                  <a:lnTo>
                    <a:pt x="7702234" y="675952"/>
                  </a:lnTo>
                  <a:cubicBezTo>
                    <a:pt x="7695846" y="680515"/>
                    <a:pt x="7688977" y="684393"/>
                    <a:pt x="7681625" y="687587"/>
                  </a:cubicBezTo>
                  <a:cubicBezTo>
                    <a:pt x="7674273" y="690782"/>
                    <a:pt x="7665883" y="693595"/>
                    <a:pt x="7656452" y="696029"/>
                  </a:cubicBezTo>
                  <a:lnTo>
                    <a:pt x="7656452" y="665913"/>
                  </a:lnTo>
                  <a:cubicBezTo>
                    <a:pt x="7662333" y="663987"/>
                    <a:pt x="7668012" y="661958"/>
                    <a:pt x="7673487" y="659829"/>
                  </a:cubicBezTo>
                  <a:cubicBezTo>
                    <a:pt x="7678963" y="657700"/>
                    <a:pt x="7684363" y="655317"/>
                    <a:pt x="7689686" y="652680"/>
                  </a:cubicBezTo>
                  <a:cubicBezTo>
                    <a:pt x="7695010" y="650044"/>
                    <a:pt x="7700384" y="647103"/>
                    <a:pt x="7705809" y="643858"/>
                  </a:cubicBezTo>
                  <a:cubicBezTo>
                    <a:pt x="7711234" y="640614"/>
                    <a:pt x="7716836" y="636912"/>
                    <a:pt x="7722616" y="632755"/>
                  </a:cubicBezTo>
                  <a:close/>
                  <a:moveTo>
                    <a:pt x="7360674" y="632755"/>
                  </a:moveTo>
                  <a:lnTo>
                    <a:pt x="7375580" y="632755"/>
                  </a:lnTo>
                  <a:lnTo>
                    <a:pt x="7375580" y="855735"/>
                  </a:lnTo>
                  <a:lnTo>
                    <a:pt x="7340292" y="855735"/>
                  </a:lnTo>
                  <a:lnTo>
                    <a:pt x="7340292" y="675952"/>
                  </a:lnTo>
                  <a:cubicBezTo>
                    <a:pt x="7333904" y="680515"/>
                    <a:pt x="7327035" y="684393"/>
                    <a:pt x="7319683" y="687587"/>
                  </a:cubicBezTo>
                  <a:cubicBezTo>
                    <a:pt x="7312331" y="690782"/>
                    <a:pt x="7303941" y="693595"/>
                    <a:pt x="7294510" y="696029"/>
                  </a:cubicBezTo>
                  <a:lnTo>
                    <a:pt x="7294510" y="665913"/>
                  </a:lnTo>
                  <a:cubicBezTo>
                    <a:pt x="7300391" y="663987"/>
                    <a:pt x="7306070" y="661958"/>
                    <a:pt x="7311545" y="659829"/>
                  </a:cubicBezTo>
                  <a:cubicBezTo>
                    <a:pt x="7317021" y="657700"/>
                    <a:pt x="7322421" y="655317"/>
                    <a:pt x="7327744" y="652680"/>
                  </a:cubicBezTo>
                  <a:cubicBezTo>
                    <a:pt x="7333068" y="650044"/>
                    <a:pt x="7338442" y="647103"/>
                    <a:pt x="7343867" y="643858"/>
                  </a:cubicBezTo>
                  <a:cubicBezTo>
                    <a:pt x="7349292" y="640614"/>
                    <a:pt x="7354894" y="636912"/>
                    <a:pt x="7360674" y="632755"/>
                  </a:cubicBezTo>
                  <a:close/>
                  <a:moveTo>
                    <a:pt x="7060728" y="632755"/>
                  </a:moveTo>
                  <a:lnTo>
                    <a:pt x="7075634" y="632755"/>
                  </a:lnTo>
                  <a:lnTo>
                    <a:pt x="7075634" y="855735"/>
                  </a:lnTo>
                  <a:lnTo>
                    <a:pt x="7040346" y="855735"/>
                  </a:lnTo>
                  <a:lnTo>
                    <a:pt x="7040346" y="675952"/>
                  </a:lnTo>
                  <a:cubicBezTo>
                    <a:pt x="7033958" y="680515"/>
                    <a:pt x="7027089" y="684393"/>
                    <a:pt x="7019737" y="687587"/>
                  </a:cubicBezTo>
                  <a:cubicBezTo>
                    <a:pt x="7012385" y="690782"/>
                    <a:pt x="7003995" y="693595"/>
                    <a:pt x="6994564" y="696029"/>
                  </a:cubicBezTo>
                  <a:lnTo>
                    <a:pt x="6994564" y="665913"/>
                  </a:lnTo>
                  <a:cubicBezTo>
                    <a:pt x="7000445" y="663987"/>
                    <a:pt x="7006124" y="661958"/>
                    <a:pt x="7011599" y="659829"/>
                  </a:cubicBezTo>
                  <a:cubicBezTo>
                    <a:pt x="7017075" y="657700"/>
                    <a:pt x="7022475" y="655317"/>
                    <a:pt x="7027798" y="652680"/>
                  </a:cubicBezTo>
                  <a:cubicBezTo>
                    <a:pt x="7033122" y="650044"/>
                    <a:pt x="7038496" y="647103"/>
                    <a:pt x="7043921" y="643858"/>
                  </a:cubicBezTo>
                  <a:cubicBezTo>
                    <a:pt x="7049346" y="640614"/>
                    <a:pt x="7054948" y="636912"/>
                    <a:pt x="7060728" y="632755"/>
                  </a:cubicBezTo>
                  <a:close/>
                  <a:moveTo>
                    <a:pt x="6843288" y="632755"/>
                  </a:moveTo>
                  <a:cubicBezTo>
                    <a:pt x="6890733" y="632755"/>
                    <a:pt x="6914455" y="669618"/>
                    <a:pt x="6914455" y="743343"/>
                  </a:cubicBezTo>
                  <a:cubicBezTo>
                    <a:pt x="6914455" y="779854"/>
                    <a:pt x="6907760" y="807714"/>
                    <a:pt x="6894369" y="826922"/>
                  </a:cubicBezTo>
                  <a:cubicBezTo>
                    <a:pt x="6880978" y="846130"/>
                    <a:pt x="6862246" y="855735"/>
                    <a:pt x="6838172" y="855735"/>
                  </a:cubicBezTo>
                  <a:cubicBezTo>
                    <a:pt x="6815704" y="855735"/>
                    <a:pt x="6798175" y="846557"/>
                    <a:pt x="6785587" y="828201"/>
                  </a:cubicBezTo>
                  <a:cubicBezTo>
                    <a:pt x="6772998" y="809845"/>
                    <a:pt x="6766704" y="783314"/>
                    <a:pt x="6766704" y="748609"/>
                  </a:cubicBezTo>
                  <a:cubicBezTo>
                    <a:pt x="6766704" y="710492"/>
                    <a:pt x="6773274" y="681654"/>
                    <a:pt x="6786414" y="662094"/>
                  </a:cubicBezTo>
                  <a:cubicBezTo>
                    <a:pt x="6799555" y="642535"/>
                    <a:pt x="6818512" y="632755"/>
                    <a:pt x="6843288" y="632755"/>
                  </a:cubicBezTo>
                  <a:close/>
                  <a:moveTo>
                    <a:pt x="6630194" y="632755"/>
                  </a:moveTo>
                  <a:cubicBezTo>
                    <a:pt x="6677639" y="632755"/>
                    <a:pt x="6701361" y="669618"/>
                    <a:pt x="6701361" y="743343"/>
                  </a:cubicBezTo>
                  <a:cubicBezTo>
                    <a:pt x="6701361" y="779854"/>
                    <a:pt x="6694666" y="807714"/>
                    <a:pt x="6681275" y="826922"/>
                  </a:cubicBezTo>
                  <a:cubicBezTo>
                    <a:pt x="6667884" y="846130"/>
                    <a:pt x="6649152" y="855735"/>
                    <a:pt x="6625078" y="855735"/>
                  </a:cubicBezTo>
                  <a:cubicBezTo>
                    <a:pt x="6602610" y="855735"/>
                    <a:pt x="6585081" y="846557"/>
                    <a:pt x="6572493" y="828201"/>
                  </a:cubicBezTo>
                  <a:cubicBezTo>
                    <a:pt x="6559904" y="809845"/>
                    <a:pt x="6553610" y="783314"/>
                    <a:pt x="6553610" y="748609"/>
                  </a:cubicBezTo>
                  <a:cubicBezTo>
                    <a:pt x="6553610" y="710492"/>
                    <a:pt x="6560180" y="681654"/>
                    <a:pt x="6573320" y="662094"/>
                  </a:cubicBezTo>
                  <a:cubicBezTo>
                    <a:pt x="6586461" y="642535"/>
                    <a:pt x="6605418" y="632755"/>
                    <a:pt x="6630194" y="632755"/>
                  </a:cubicBezTo>
                  <a:close/>
                  <a:moveTo>
                    <a:pt x="6468645" y="632755"/>
                  </a:moveTo>
                  <a:lnTo>
                    <a:pt x="6483551" y="632755"/>
                  </a:lnTo>
                  <a:lnTo>
                    <a:pt x="6483551" y="855735"/>
                  </a:lnTo>
                  <a:lnTo>
                    <a:pt x="6448263" y="855735"/>
                  </a:lnTo>
                  <a:lnTo>
                    <a:pt x="6448263" y="675952"/>
                  </a:lnTo>
                  <a:cubicBezTo>
                    <a:pt x="6441875" y="680515"/>
                    <a:pt x="6435006" y="684393"/>
                    <a:pt x="6427654" y="687587"/>
                  </a:cubicBezTo>
                  <a:cubicBezTo>
                    <a:pt x="6420302" y="690782"/>
                    <a:pt x="6411912" y="693595"/>
                    <a:pt x="6402481" y="696029"/>
                  </a:cubicBezTo>
                  <a:lnTo>
                    <a:pt x="6402481" y="665913"/>
                  </a:lnTo>
                  <a:cubicBezTo>
                    <a:pt x="6408362" y="663987"/>
                    <a:pt x="6414041" y="661958"/>
                    <a:pt x="6419516" y="659829"/>
                  </a:cubicBezTo>
                  <a:cubicBezTo>
                    <a:pt x="6424992" y="657700"/>
                    <a:pt x="6430392" y="655317"/>
                    <a:pt x="6435715" y="652680"/>
                  </a:cubicBezTo>
                  <a:cubicBezTo>
                    <a:pt x="6441039" y="650044"/>
                    <a:pt x="6446413" y="647103"/>
                    <a:pt x="6451838" y="643858"/>
                  </a:cubicBezTo>
                  <a:cubicBezTo>
                    <a:pt x="6457263" y="640614"/>
                    <a:pt x="6462865" y="636912"/>
                    <a:pt x="6468645" y="632755"/>
                  </a:cubicBezTo>
                  <a:close/>
                  <a:moveTo>
                    <a:pt x="6168699" y="632755"/>
                  </a:moveTo>
                  <a:lnTo>
                    <a:pt x="6183605" y="632755"/>
                  </a:lnTo>
                  <a:lnTo>
                    <a:pt x="6183605" y="855735"/>
                  </a:lnTo>
                  <a:lnTo>
                    <a:pt x="6148317" y="855735"/>
                  </a:lnTo>
                  <a:lnTo>
                    <a:pt x="6148317" y="675952"/>
                  </a:lnTo>
                  <a:cubicBezTo>
                    <a:pt x="6141929" y="680515"/>
                    <a:pt x="6135060" y="684393"/>
                    <a:pt x="6127708" y="687587"/>
                  </a:cubicBezTo>
                  <a:cubicBezTo>
                    <a:pt x="6120356" y="690782"/>
                    <a:pt x="6111966" y="693595"/>
                    <a:pt x="6102535" y="696029"/>
                  </a:cubicBezTo>
                  <a:lnTo>
                    <a:pt x="6102535" y="665913"/>
                  </a:lnTo>
                  <a:cubicBezTo>
                    <a:pt x="6108416" y="663987"/>
                    <a:pt x="6114095" y="661958"/>
                    <a:pt x="6119570" y="659829"/>
                  </a:cubicBezTo>
                  <a:cubicBezTo>
                    <a:pt x="6125046" y="657700"/>
                    <a:pt x="6130446" y="655317"/>
                    <a:pt x="6135769" y="652680"/>
                  </a:cubicBezTo>
                  <a:cubicBezTo>
                    <a:pt x="6141093" y="650044"/>
                    <a:pt x="6146467" y="647103"/>
                    <a:pt x="6151892" y="643858"/>
                  </a:cubicBezTo>
                  <a:cubicBezTo>
                    <a:pt x="6157317" y="640614"/>
                    <a:pt x="6162919" y="636912"/>
                    <a:pt x="6168699" y="632755"/>
                  </a:cubicBezTo>
                  <a:close/>
                  <a:moveTo>
                    <a:pt x="5985170" y="632755"/>
                  </a:moveTo>
                  <a:lnTo>
                    <a:pt x="6000077" y="632755"/>
                  </a:lnTo>
                  <a:lnTo>
                    <a:pt x="6000077" y="855735"/>
                  </a:lnTo>
                  <a:lnTo>
                    <a:pt x="5964788" y="855735"/>
                  </a:lnTo>
                  <a:lnTo>
                    <a:pt x="5964788" y="675952"/>
                  </a:lnTo>
                  <a:cubicBezTo>
                    <a:pt x="5958401" y="680515"/>
                    <a:pt x="5951531" y="684393"/>
                    <a:pt x="5944180" y="687587"/>
                  </a:cubicBezTo>
                  <a:cubicBezTo>
                    <a:pt x="5936827" y="690782"/>
                    <a:pt x="5928437" y="693595"/>
                    <a:pt x="5919006" y="696029"/>
                  </a:cubicBezTo>
                  <a:lnTo>
                    <a:pt x="5919006" y="665913"/>
                  </a:lnTo>
                  <a:cubicBezTo>
                    <a:pt x="5924887" y="663987"/>
                    <a:pt x="5930567" y="661958"/>
                    <a:pt x="5936041" y="659829"/>
                  </a:cubicBezTo>
                  <a:cubicBezTo>
                    <a:pt x="5941517" y="657700"/>
                    <a:pt x="5946918" y="655317"/>
                    <a:pt x="5952241" y="652680"/>
                  </a:cubicBezTo>
                  <a:cubicBezTo>
                    <a:pt x="5957564" y="650044"/>
                    <a:pt x="5962938" y="647103"/>
                    <a:pt x="5968363" y="643858"/>
                  </a:cubicBezTo>
                  <a:cubicBezTo>
                    <a:pt x="5973788" y="640614"/>
                    <a:pt x="5979390" y="636912"/>
                    <a:pt x="5985170" y="632755"/>
                  </a:cubicBezTo>
                  <a:close/>
                  <a:moveTo>
                    <a:pt x="5617508" y="632755"/>
                  </a:moveTo>
                  <a:lnTo>
                    <a:pt x="5632415" y="632755"/>
                  </a:lnTo>
                  <a:lnTo>
                    <a:pt x="5632415" y="855735"/>
                  </a:lnTo>
                  <a:lnTo>
                    <a:pt x="5597126" y="855735"/>
                  </a:lnTo>
                  <a:lnTo>
                    <a:pt x="5597126" y="675952"/>
                  </a:lnTo>
                  <a:cubicBezTo>
                    <a:pt x="5590739" y="680515"/>
                    <a:pt x="5583869" y="684393"/>
                    <a:pt x="5576518" y="687587"/>
                  </a:cubicBezTo>
                  <a:cubicBezTo>
                    <a:pt x="5569165" y="690782"/>
                    <a:pt x="5560775" y="693595"/>
                    <a:pt x="5551344" y="696029"/>
                  </a:cubicBezTo>
                  <a:lnTo>
                    <a:pt x="5551344" y="665913"/>
                  </a:lnTo>
                  <a:cubicBezTo>
                    <a:pt x="5557225" y="663987"/>
                    <a:pt x="5562904" y="661958"/>
                    <a:pt x="5568379" y="659829"/>
                  </a:cubicBezTo>
                  <a:cubicBezTo>
                    <a:pt x="5573855" y="657700"/>
                    <a:pt x="5579256" y="655317"/>
                    <a:pt x="5584578" y="652680"/>
                  </a:cubicBezTo>
                  <a:cubicBezTo>
                    <a:pt x="5589902" y="650044"/>
                    <a:pt x="5595276" y="647103"/>
                    <a:pt x="5600701" y="643858"/>
                  </a:cubicBezTo>
                  <a:cubicBezTo>
                    <a:pt x="5606126" y="640614"/>
                    <a:pt x="5611728" y="636912"/>
                    <a:pt x="5617508" y="632755"/>
                  </a:cubicBezTo>
                  <a:close/>
                  <a:moveTo>
                    <a:pt x="5467535" y="632755"/>
                  </a:moveTo>
                  <a:lnTo>
                    <a:pt x="5482441" y="632755"/>
                  </a:lnTo>
                  <a:lnTo>
                    <a:pt x="5482441" y="855735"/>
                  </a:lnTo>
                  <a:lnTo>
                    <a:pt x="5447153" y="855735"/>
                  </a:lnTo>
                  <a:lnTo>
                    <a:pt x="5447153" y="675952"/>
                  </a:lnTo>
                  <a:cubicBezTo>
                    <a:pt x="5440765" y="680515"/>
                    <a:pt x="5433896" y="684393"/>
                    <a:pt x="5426545" y="687587"/>
                  </a:cubicBezTo>
                  <a:cubicBezTo>
                    <a:pt x="5419192" y="690782"/>
                    <a:pt x="5410803" y="693595"/>
                    <a:pt x="5401372" y="696029"/>
                  </a:cubicBezTo>
                  <a:lnTo>
                    <a:pt x="5401372" y="665913"/>
                  </a:lnTo>
                  <a:cubicBezTo>
                    <a:pt x="5407253" y="663987"/>
                    <a:pt x="5412931" y="661958"/>
                    <a:pt x="5418407" y="659829"/>
                  </a:cubicBezTo>
                  <a:cubicBezTo>
                    <a:pt x="5423882" y="657700"/>
                    <a:pt x="5429282" y="655317"/>
                    <a:pt x="5434605" y="652680"/>
                  </a:cubicBezTo>
                  <a:cubicBezTo>
                    <a:pt x="5439929" y="650044"/>
                    <a:pt x="5445304" y="647103"/>
                    <a:pt x="5450728" y="643858"/>
                  </a:cubicBezTo>
                  <a:cubicBezTo>
                    <a:pt x="5456153" y="640614"/>
                    <a:pt x="5461755" y="636912"/>
                    <a:pt x="5467535" y="632755"/>
                  </a:cubicBezTo>
                  <a:close/>
                  <a:moveTo>
                    <a:pt x="5317563" y="632755"/>
                  </a:moveTo>
                  <a:lnTo>
                    <a:pt x="5332469" y="632755"/>
                  </a:lnTo>
                  <a:lnTo>
                    <a:pt x="5332469" y="855735"/>
                  </a:lnTo>
                  <a:lnTo>
                    <a:pt x="5297180" y="855735"/>
                  </a:lnTo>
                  <a:lnTo>
                    <a:pt x="5297180" y="675952"/>
                  </a:lnTo>
                  <a:cubicBezTo>
                    <a:pt x="5290792" y="680515"/>
                    <a:pt x="5283924" y="684393"/>
                    <a:pt x="5276571" y="687587"/>
                  </a:cubicBezTo>
                  <a:cubicBezTo>
                    <a:pt x="5269220" y="690782"/>
                    <a:pt x="5260829" y="693595"/>
                    <a:pt x="5251398" y="696029"/>
                  </a:cubicBezTo>
                  <a:lnTo>
                    <a:pt x="5251398" y="665913"/>
                  </a:lnTo>
                  <a:cubicBezTo>
                    <a:pt x="5257279" y="663987"/>
                    <a:pt x="5262958" y="661958"/>
                    <a:pt x="5268433" y="659829"/>
                  </a:cubicBezTo>
                  <a:cubicBezTo>
                    <a:pt x="5273909" y="657700"/>
                    <a:pt x="5279309" y="655317"/>
                    <a:pt x="5284632" y="652680"/>
                  </a:cubicBezTo>
                  <a:cubicBezTo>
                    <a:pt x="5289957" y="650044"/>
                    <a:pt x="5295330" y="647103"/>
                    <a:pt x="5300756" y="643858"/>
                  </a:cubicBezTo>
                  <a:cubicBezTo>
                    <a:pt x="5306180" y="640614"/>
                    <a:pt x="5311782" y="636912"/>
                    <a:pt x="5317563" y="632755"/>
                  </a:cubicBezTo>
                  <a:close/>
                  <a:moveTo>
                    <a:pt x="4568884" y="632755"/>
                  </a:moveTo>
                  <a:lnTo>
                    <a:pt x="4583790" y="632755"/>
                  </a:lnTo>
                  <a:lnTo>
                    <a:pt x="4583790" y="855735"/>
                  </a:lnTo>
                  <a:lnTo>
                    <a:pt x="4548503" y="855735"/>
                  </a:lnTo>
                  <a:lnTo>
                    <a:pt x="4548503" y="675952"/>
                  </a:lnTo>
                  <a:cubicBezTo>
                    <a:pt x="4542115" y="680515"/>
                    <a:pt x="4535245" y="684393"/>
                    <a:pt x="4527893" y="687587"/>
                  </a:cubicBezTo>
                  <a:cubicBezTo>
                    <a:pt x="4520541" y="690782"/>
                    <a:pt x="4512151" y="693595"/>
                    <a:pt x="4502720" y="696029"/>
                  </a:cubicBezTo>
                  <a:lnTo>
                    <a:pt x="4502720" y="665913"/>
                  </a:lnTo>
                  <a:cubicBezTo>
                    <a:pt x="4508602" y="663987"/>
                    <a:pt x="4514280" y="661958"/>
                    <a:pt x="4519755" y="659829"/>
                  </a:cubicBezTo>
                  <a:cubicBezTo>
                    <a:pt x="4525232" y="657700"/>
                    <a:pt x="4530631" y="655317"/>
                    <a:pt x="4535955" y="652680"/>
                  </a:cubicBezTo>
                  <a:cubicBezTo>
                    <a:pt x="4541278" y="650044"/>
                    <a:pt x="4546652" y="647103"/>
                    <a:pt x="4552078" y="643858"/>
                  </a:cubicBezTo>
                  <a:cubicBezTo>
                    <a:pt x="4557502" y="640614"/>
                    <a:pt x="4563105" y="636912"/>
                    <a:pt x="4568884" y="632755"/>
                  </a:cubicBezTo>
                  <a:close/>
                  <a:moveTo>
                    <a:pt x="4418912" y="632755"/>
                  </a:moveTo>
                  <a:lnTo>
                    <a:pt x="4433817" y="632755"/>
                  </a:lnTo>
                  <a:lnTo>
                    <a:pt x="4433817" y="855735"/>
                  </a:lnTo>
                  <a:lnTo>
                    <a:pt x="4398529" y="855735"/>
                  </a:lnTo>
                  <a:lnTo>
                    <a:pt x="4398529" y="675952"/>
                  </a:lnTo>
                  <a:cubicBezTo>
                    <a:pt x="4392141" y="680515"/>
                    <a:pt x="4385273" y="684393"/>
                    <a:pt x="4377920" y="687587"/>
                  </a:cubicBezTo>
                  <a:cubicBezTo>
                    <a:pt x="4370568" y="690782"/>
                    <a:pt x="4362179" y="693595"/>
                    <a:pt x="4352748" y="696029"/>
                  </a:cubicBezTo>
                  <a:lnTo>
                    <a:pt x="4352748" y="665913"/>
                  </a:lnTo>
                  <a:cubicBezTo>
                    <a:pt x="4358628" y="663987"/>
                    <a:pt x="4364307" y="661958"/>
                    <a:pt x="4369782" y="659829"/>
                  </a:cubicBezTo>
                  <a:cubicBezTo>
                    <a:pt x="4375259" y="657700"/>
                    <a:pt x="4380658" y="655317"/>
                    <a:pt x="4385981" y="652680"/>
                  </a:cubicBezTo>
                  <a:cubicBezTo>
                    <a:pt x="4391306" y="650044"/>
                    <a:pt x="4396680" y="647103"/>
                    <a:pt x="4402104" y="643858"/>
                  </a:cubicBezTo>
                  <a:cubicBezTo>
                    <a:pt x="4407530" y="640614"/>
                    <a:pt x="4413131" y="636912"/>
                    <a:pt x="4418912" y="632755"/>
                  </a:cubicBezTo>
                  <a:close/>
                  <a:moveTo>
                    <a:pt x="4118966" y="632755"/>
                  </a:moveTo>
                  <a:lnTo>
                    <a:pt x="4133872" y="632755"/>
                  </a:lnTo>
                  <a:lnTo>
                    <a:pt x="4133872" y="855735"/>
                  </a:lnTo>
                  <a:lnTo>
                    <a:pt x="4098584" y="855735"/>
                  </a:lnTo>
                  <a:lnTo>
                    <a:pt x="4098584" y="675952"/>
                  </a:lnTo>
                  <a:cubicBezTo>
                    <a:pt x="4092196" y="680515"/>
                    <a:pt x="4085326" y="684393"/>
                    <a:pt x="4077975" y="687587"/>
                  </a:cubicBezTo>
                  <a:cubicBezTo>
                    <a:pt x="4070623" y="690782"/>
                    <a:pt x="4062233" y="693595"/>
                    <a:pt x="4052802" y="696029"/>
                  </a:cubicBezTo>
                  <a:lnTo>
                    <a:pt x="4052802" y="665913"/>
                  </a:lnTo>
                  <a:cubicBezTo>
                    <a:pt x="4058683" y="663987"/>
                    <a:pt x="4064362" y="661958"/>
                    <a:pt x="4069837" y="659829"/>
                  </a:cubicBezTo>
                  <a:cubicBezTo>
                    <a:pt x="4075313" y="657700"/>
                    <a:pt x="4080713" y="655317"/>
                    <a:pt x="4086036" y="652680"/>
                  </a:cubicBezTo>
                  <a:cubicBezTo>
                    <a:pt x="4091359" y="650044"/>
                    <a:pt x="4096734" y="647103"/>
                    <a:pt x="4102158" y="643858"/>
                  </a:cubicBezTo>
                  <a:cubicBezTo>
                    <a:pt x="4107584" y="640614"/>
                    <a:pt x="4113186" y="636912"/>
                    <a:pt x="4118966" y="632755"/>
                  </a:cubicBezTo>
                  <a:close/>
                  <a:moveTo>
                    <a:pt x="3738375" y="632755"/>
                  </a:moveTo>
                  <a:lnTo>
                    <a:pt x="3753281" y="632755"/>
                  </a:lnTo>
                  <a:lnTo>
                    <a:pt x="3753281" y="855735"/>
                  </a:lnTo>
                  <a:lnTo>
                    <a:pt x="3717993" y="855735"/>
                  </a:lnTo>
                  <a:lnTo>
                    <a:pt x="3717993" y="675952"/>
                  </a:lnTo>
                  <a:cubicBezTo>
                    <a:pt x="3711604" y="680515"/>
                    <a:pt x="3704735" y="684393"/>
                    <a:pt x="3697384" y="687587"/>
                  </a:cubicBezTo>
                  <a:cubicBezTo>
                    <a:pt x="3690032" y="690782"/>
                    <a:pt x="3681642" y="693595"/>
                    <a:pt x="3672211" y="696029"/>
                  </a:cubicBezTo>
                  <a:lnTo>
                    <a:pt x="3672211" y="665913"/>
                  </a:lnTo>
                  <a:cubicBezTo>
                    <a:pt x="3678092" y="663987"/>
                    <a:pt x="3683771" y="661958"/>
                    <a:pt x="3689246" y="659829"/>
                  </a:cubicBezTo>
                  <a:cubicBezTo>
                    <a:pt x="3694722" y="657700"/>
                    <a:pt x="3700122" y="655317"/>
                    <a:pt x="3705445" y="652680"/>
                  </a:cubicBezTo>
                  <a:cubicBezTo>
                    <a:pt x="3710769" y="650044"/>
                    <a:pt x="3716143" y="647103"/>
                    <a:pt x="3721568" y="643858"/>
                  </a:cubicBezTo>
                  <a:cubicBezTo>
                    <a:pt x="3726993" y="640614"/>
                    <a:pt x="3732595" y="636912"/>
                    <a:pt x="3738375" y="632755"/>
                  </a:cubicBezTo>
                  <a:close/>
                  <a:moveTo>
                    <a:pt x="3588402" y="632755"/>
                  </a:moveTo>
                  <a:lnTo>
                    <a:pt x="3603308" y="632755"/>
                  </a:lnTo>
                  <a:lnTo>
                    <a:pt x="3603308" y="855735"/>
                  </a:lnTo>
                  <a:lnTo>
                    <a:pt x="3568020" y="855735"/>
                  </a:lnTo>
                  <a:lnTo>
                    <a:pt x="3568020" y="675952"/>
                  </a:lnTo>
                  <a:cubicBezTo>
                    <a:pt x="3561632" y="680515"/>
                    <a:pt x="3554762" y="684393"/>
                    <a:pt x="3547411" y="687587"/>
                  </a:cubicBezTo>
                  <a:cubicBezTo>
                    <a:pt x="3540059" y="690782"/>
                    <a:pt x="3531668" y="693595"/>
                    <a:pt x="3522237" y="696029"/>
                  </a:cubicBezTo>
                  <a:lnTo>
                    <a:pt x="3522237" y="665913"/>
                  </a:lnTo>
                  <a:cubicBezTo>
                    <a:pt x="3528119" y="663987"/>
                    <a:pt x="3533798" y="661958"/>
                    <a:pt x="3539273" y="659829"/>
                  </a:cubicBezTo>
                  <a:cubicBezTo>
                    <a:pt x="3544749" y="657700"/>
                    <a:pt x="3550149" y="655317"/>
                    <a:pt x="3555472" y="652680"/>
                  </a:cubicBezTo>
                  <a:cubicBezTo>
                    <a:pt x="3560796" y="650044"/>
                    <a:pt x="3566170" y="647103"/>
                    <a:pt x="3571595" y="643858"/>
                  </a:cubicBezTo>
                  <a:cubicBezTo>
                    <a:pt x="3577020" y="640614"/>
                    <a:pt x="3582622" y="636912"/>
                    <a:pt x="3588402" y="632755"/>
                  </a:cubicBezTo>
                  <a:close/>
                  <a:moveTo>
                    <a:pt x="3438429" y="632755"/>
                  </a:moveTo>
                  <a:lnTo>
                    <a:pt x="3453335" y="632755"/>
                  </a:lnTo>
                  <a:lnTo>
                    <a:pt x="3453335" y="855735"/>
                  </a:lnTo>
                  <a:lnTo>
                    <a:pt x="3418047" y="855735"/>
                  </a:lnTo>
                  <a:lnTo>
                    <a:pt x="3418047" y="675952"/>
                  </a:lnTo>
                  <a:cubicBezTo>
                    <a:pt x="3411659" y="680515"/>
                    <a:pt x="3404789" y="684393"/>
                    <a:pt x="3397438" y="687587"/>
                  </a:cubicBezTo>
                  <a:cubicBezTo>
                    <a:pt x="3390086" y="690782"/>
                    <a:pt x="3381696" y="693595"/>
                    <a:pt x="3372265" y="696029"/>
                  </a:cubicBezTo>
                  <a:lnTo>
                    <a:pt x="3372265" y="665913"/>
                  </a:lnTo>
                  <a:cubicBezTo>
                    <a:pt x="3378146" y="663987"/>
                    <a:pt x="3383825" y="661958"/>
                    <a:pt x="3389300" y="659829"/>
                  </a:cubicBezTo>
                  <a:cubicBezTo>
                    <a:pt x="3394776" y="657700"/>
                    <a:pt x="3400176" y="655317"/>
                    <a:pt x="3405499" y="652680"/>
                  </a:cubicBezTo>
                  <a:cubicBezTo>
                    <a:pt x="3410823" y="650044"/>
                    <a:pt x="3416197" y="647103"/>
                    <a:pt x="3421622" y="643858"/>
                  </a:cubicBezTo>
                  <a:cubicBezTo>
                    <a:pt x="3427047" y="640614"/>
                    <a:pt x="3432649" y="636912"/>
                    <a:pt x="3438429" y="632755"/>
                  </a:cubicBezTo>
                  <a:close/>
                  <a:moveTo>
                    <a:pt x="3288456" y="632755"/>
                  </a:moveTo>
                  <a:lnTo>
                    <a:pt x="3303362" y="632755"/>
                  </a:lnTo>
                  <a:lnTo>
                    <a:pt x="3303362" y="855735"/>
                  </a:lnTo>
                  <a:lnTo>
                    <a:pt x="3268074" y="855735"/>
                  </a:lnTo>
                  <a:lnTo>
                    <a:pt x="3268074" y="675952"/>
                  </a:lnTo>
                  <a:cubicBezTo>
                    <a:pt x="3261686" y="680515"/>
                    <a:pt x="3254815" y="684393"/>
                    <a:pt x="3247464" y="687587"/>
                  </a:cubicBezTo>
                  <a:cubicBezTo>
                    <a:pt x="3240113" y="690782"/>
                    <a:pt x="3231723" y="693595"/>
                    <a:pt x="3222292" y="696029"/>
                  </a:cubicBezTo>
                  <a:lnTo>
                    <a:pt x="3222292" y="665913"/>
                  </a:lnTo>
                  <a:cubicBezTo>
                    <a:pt x="3228173" y="663987"/>
                    <a:pt x="3233852" y="661958"/>
                    <a:pt x="3239327" y="659829"/>
                  </a:cubicBezTo>
                  <a:cubicBezTo>
                    <a:pt x="3244803" y="657700"/>
                    <a:pt x="3250203" y="655317"/>
                    <a:pt x="3255526" y="652680"/>
                  </a:cubicBezTo>
                  <a:cubicBezTo>
                    <a:pt x="3260850" y="650044"/>
                    <a:pt x="3266224" y="647103"/>
                    <a:pt x="3271649" y="643858"/>
                  </a:cubicBezTo>
                  <a:cubicBezTo>
                    <a:pt x="3277074" y="640614"/>
                    <a:pt x="3282676" y="636912"/>
                    <a:pt x="3288456" y="632755"/>
                  </a:cubicBezTo>
                  <a:close/>
                  <a:moveTo>
                    <a:pt x="3084519" y="632755"/>
                  </a:moveTo>
                  <a:cubicBezTo>
                    <a:pt x="3131963" y="632755"/>
                    <a:pt x="3155686" y="669618"/>
                    <a:pt x="3155686" y="743343"/>
                  </a:cubicBezTo>
                  <a:cubicBezTo>
                    <a:pt x="3155686" y="779854"/>
                    <a:pt x="3148991" y="807714"/>
                    <a:pt x="3135600" y="826922"/>
                  </a:cubicBezTo>
                  <a:cubicBezTo>
                    <a:pt x="3122209" y="846130"/>
                    <a:pt x="3103477" y="855735"/>
                    <a:pt x="3079403" y="855735"/>
                  </a:cubicBezTo>
                  <a:cubicBezTo>
                    <a:pt x="3056935" y="855735"/>
                    <a:pt x="3039406" y="846557"/>
                    <a:pt x="3026818" y="828201"/>
                  </a:cubicBezTo>
                  <a:cubicBezTo>
                    <a:pt x="3014229" y="809845"/>
                    <a:pt x="3007935" y="783314"/>
                    <a:pt x="3007935" y="748609"/>
                  </a:cubicBezTo>
                  <a:cubicBezTo>
                    <a:pt x="3007935" y="710492"/>
                    <a:pt x="3014505" y="681654"/>
                    <a:pt x="3027645" y="662094"/>
                  </a:cubicBezTo>
                  <a:cubicBezTo>
                    <a:pt x="3040786" y="642535"/>
                    <a:pt x="3059743" y="632755"/>
                    <a:pt x="3084519" y="632755"/>
                  </a:cubicBezTo>
                  <a:close/>
                  <a:moveTo>
                    <a:pt x="2954273" y="632755"/>
                  </a:moveTo>
                  <a:lnTo>
                    <a:pt x="2969178" y="632755"/>
                  </a:lnTo>
                  <a:lnTo>
                    <a:pt x="2969178" y="855735"/>
                  </a:lnTo>
                  <a:lnTo>
                    <a:pt x="2933891" y="855735"/>
                  </a:lnTo>
                  <a:lnTo>
                    <a:pt x="2933891" y="675952"/>
                  </a:lnTo>
                  <a:cubicBezTo>
                    <a:pt x="2927503" y="680515"/>
                    <a:pt x="2920633" y="684393"/>
                    <a:pt x="2913282" y="687587"/>
                  </a:cubicBezTo>
                  <a:cubicBezTo>
                    <a:pt x="2905930" y="690782"/>
                    <a:pt x="2897540" y="693595"/>
                    <a:pt x="2888109" y="696029"/>
                  </a:cubicBezTo>
                  <a:lnTo>
                    <a:pt x="2888109" y="665913"/>
                  </a:lnTo>
                  <a:cubicBezTo>
                    <a:pt x="2893990" y="663987"/>
                    <a:pt x="2899669" y="661958"/>
                    <a:pt x="2905144" y="659829"/>
                  </a:cubicBezTo>
                  <a:cubicBezTo>
                    <a:pt x="2910620" y="657700"/>
                    <a:pt x="2916020" y="655317"/>
                    <a:pt x="2921343" y="652680"/>
                  </a:cubicBezTo>
                  <a:cubicBezTo>
                    <a:pt x="2926667" y="650044"/>
                    <a:pt x="2932041" y="647103"/>
                    <a:pt x="2937466" y="643858"/>
                  </a:cubicBezTo>
                  <a:cubicBezTo>
                    <a:pt x="2942890" y="640614"/>
                    <a:pt x="2948493" y="636912"/>
                    <a:pt x="2954273" y="632755"/>
                  </a:cubicBezTo>
                  <a:close/>
                  <a:moveTo>
                    <a:pt x="2737716" y="632755"/>
                  </a:moveTo>
                  <a:cubicBezTo>
                    <a:pt x="2785160" y="632755"/>
                    <a:pt x="2808883" y="669618"/>
                    <a:pt x="2808883" y="743343"/>
                  </a:cubicBezTo>
                  <a:cubicBezTo>
                    <a:pt x="2808883" y="779854"/>
                    <a:pt x="2802188" y="807714"/>
                    <a:pt x="2788797" y="826922"/>
                  </a:cubicBezTo>
                  <a:cubicBezTo>
                    <a:pt x="2775406" y="846130"/>
                    <a:pt x="2756674" y="855735"/>
                    <a:pt x="2732600" y="855735"/>
                  </a:cubicBezTo>
                  <a:cubicBezTo>
                    <a:pt x="2710132" y="855735"/>
                    <a:pt x="2692602" y="846557"/>
                    <a:pt x="2680015" y="828201"/>
                  </a:cubicBezTo>
                  <a:cubicBezTo>
                    <a:pt x="2667426" y="809845"/>
                    <a:pt x="2661132" y="783314"/>
                    <a:pt x="2661132" y="748609"/>
                  </a:cubicBezTo>
                  <a:cubicBezTo>
                    <a:pt x="2661132" y="710492"/>
                    <a:pt x="2667702" y="681654"/>
                    <a:pt x="2680842" y="662094"/>
                  </a:cubicBezTo>
                  <a:cubicBezTo>
                    <a:pt x="2693983" y="642535"/>
                    <a:pt x="2712940" y="632755"/>
                    <a:pt x="2737716" y="632755"/>
                  </a:cubicBezTo>
                  <a:close/>
                  <a:moveTo>
                    <a:pt x="2046351" y="632755"/>
                  </a:moveTo>
                  <a:cubicBezTo>
                    <a:pt x="2093795" y="632755"/>
                    <a:pt x="2117517" y="669618"/>
                    <a:pt x="2117517" y="743343"/>
                  </a:cubicBezTo>
                  <a:cubicBezTo>
                    <a:pt x="2117517" y="779854"/>
                    <a:pt x="2110822" y="807714"/>
                    <a:pt x="2097432" y="826922"/>
                  </a:cubicBezTo>
                  <a:cubicBezTo>
                    <a:pt x="2084041" y="846130"/>
                    <a:pt x="2065309" y="855735"/>
                    <a:pt x="2041234" y="855735"/>
                  </a:cubicBezTo>
                  <a:cubicBezTo>
                    <a:pt x="2018767" y="855735"/>
                    <a:pt x="2001238" y="846557"/>
                    <a:pt x="1988650" y="828201"/>
                  </a:cubicBezTo>
                  <a:cubicBezTo>
                    <a:pt x="1976060" y="809845"/>
                    <a:pt x="1969766" y="783314"/>
                    <a:pt x="1969766" y="748609"/>
                  </a:cubicBezTo>
                  <a:cubicBezTo>
                    <a:pt x="1969766" y="710492"/>
                    <a:pt x="1976337" y="681654"/>
                    <a:pt x="1989476" y="662094"/>
                  </a:cubicBezTo>
                  <a:cubicBezTo>
                    <a:pt x="2002618" y="642535"/>
                    <a:pt x="2021574" y="632755"/>
                    <a:pt x="2046351" y="632755"/>
                  </a:cubicBezTo>
                  <a:close/>
                  <a:moveTo>
                    <a:pt x="1673990" y="632755"/>
                  </a:moveTo>
                  <a:lnTo>
                    <a:pt x="1688896" y="632755"/>
                  </a:lnTo>
                  <a:lnTo>
                    <a:pt x="1688896" y="855735"/>
                  </a:lnTo>
                  <a:lnTo>
                    <a:pt x="1653607" y="855735"/>
                  </a:lnTo>
                  <a:lnTo>
                    <a:pt x="1653607" y="675952"/>
                  </a:lnTo>
                  <a:cubicBezTo>
                    <a:pt x="1647219" y="680515"/>
                    <a:pt x="1640349" y="684393"/>
                    <a:pt x="1632999" y="687587"/>
                  </a:cubicBezTo>
                  <a:cubicBezTo>
                    <a:pt x="1625647" y="690782"/>
                    <a:pt x="1617256" y="693595"/>
                    <a:pt x="1607825" y="696029"/>
                  </a:cubicBezTo>
                  <a:lnTo>
                    <a:pt x="1607825" y="665913"/>
                  </a:lnTo>
                  <a:cubicBezTo>
                    <a:pt x="1613706" y="663987"/>
                    <a:pt x="1619385" y="661958"/>
                    <a:pt x="1624860" y="659829"/>
                  </a:cubicBezTo>
                  <a:cubicBezTo>
                    <a:pt x="1630337" y="657700"/>
                    <a:pt x="1635737" y="655317"/>
                    <a:pt x="1641059" y="652680"/>
                  </a:cubicBezTo>
                  <a:cubicBezTo>
                    <a:pt x="1646384" y="650044"/>
                    <a:pt x="1651758" y="647103"/>
                    <a:pt x="1657183" y="643858"/>
                  </a:cubicBezTo>
                  <a:cubicBezTo>
                    <a:pt x="1662607" y="640614"/>
                    <a:pt x="1668209" y="636912"/>
                    <a:pt x="1673990" y="632755"/>
                  </a:cubicBezTo>
                  <a:close/>
                  <a:moveTo>
                    <a:pt x="1297324" y="632755"/>
                  </a:moveTo>
                  <a:lnTo>
                    <a:pt x="1312230" y="632755"/>
                  </a:lnTo>
                  <a:lnTo>
                    <a:pt x="1312230" y="855735"/>
                  </a:lnTo>
                  <a:lnTo>
                    <a:pt x="1276941" y="855735"/>
                  </a:lnTo>
                  <a:lnTo>
                    <a:pt x="1276941" y="675952"/>
                  </a:lnTo>
                  <a:cubicBezTo>
                    <a:pt x="1270553" y="680515"/>
                    <a:pt x="1263684" y="684393"/>
                    <a:pt x="1256333" y="687587"/>
                  </a:cubicBezTo>
                  <a:cubicBezTo>
                    <a:pt x="1248981" y="690782"/>
                    <a:pt x="1240589" y="693595"/>
                    <a:pt x="1231160" y="696029"/>
                  </a:cubicBezTo>
                  <a:lnTo>
                    <a:pt x="1231160" y="665913"/>
                  </a:lnTo>
                  <a:cubicBezTo>
                    <a:pt x="1237041" y="663987"/>
                    <a:pt x="1242720" y="661958"/>
                    <a:pt x="1248195" y="659829"/>
                  </a:cubicBezTo>
                  <a:cubicBezTo>
                    <a:pt x="1253671" y="657700"/>
                    <a:pt x="1259071" y="655317"/>
                    <a:pt x="1264393" y="652680"/>
                  </a:cubicBezTo>
                  <a:cubicBezTo>
                    <a:pt x="1269718" y="650044"/>
                    <a:pt x="1275092" y="647103"/>
                    <a:pt x="1280517" y="643858"/>
                  </a:cubicBezTo>
                  <a:cubicBezTo>
                    <a:pt x="1285941" y="640614"/>
                    <a:pt x="1291543" y="636912"/>
                    <a:pt x="1297324" y="632755"/>
                  </a:cubicBezTo>
                  <a:close/>
                  <a:moveTo>
                    <a:pt x="997378" y="632755"/>
                  </a:moveTo>
                  <a:lnTo>
                    <a:pt x="1012284" y="632755"/>
                  </a:lnTo>
                  <a:lnTo>
                    <a:pt x="1012284" y="855735"/>
                  </a:lnTo>
                  <a:lnTo>
                    <a:pt x="976996" y="855735"/>
                  </a:lnTo>
                  <a:lnTo>
                    <a:pt x="976996" y="675952"/>
                  </a:lnTo>
                  <a:cubicBezTo>
                    <a:pt x="970608" y="680515"/>
                    <a:pt x="963737" y="684393"/>
                    <a:pt x="956386" y="687587"/>
                  </a:cubicBezTo>
                  <a:cubicBezTo>
                    <a:pt x="949035" y="690782"/>
                    <a:pt x="940644" y="693595"/>
                    <a:pt x="931214" y="696029"/>
                  </a:cubicBezTo>
                  <a:lnTo>
                    <a:pt x="931214" y="665913"/>
                  </a:lnTo>
                  <a:cubicBezTo>
                    <a:pt x="937095" y="663987"/>
                    <a:pt x="942773" y="661958"/>
                    <a:pt x="948249" y="659829"/>
                  </a:cubicBezTo>
                  <a:cubicBezTo>
                    <a:pt x="953725" y="657700"/>
                    <a:pt x="959125" y="655317"/>
                    <a:pt x="964447" y="652680"/>
                  </a:cubicBezTo>
                  <a:cubicBezTo>
                    <a:pt x="969772" y="650044"/>
                    <a:pt x="975145" y="647103"/>
                    <a:pt x="980570" y="643858"/>
                  </a:cubicBezTo>
                  <a:cubicBezTo>
                    <a:pt x="985995" y="640614"/>
                    <a:pt x="991598" y="636912"/>
                    <a:pt x="997378" y="632755"/>
                  </a:cubicBezTo>
                  <a:close/>
                  <a:moveTo>
                    <a:pt x="791144" y="632755"/>
                  </a:moveTo>
                  <a:cubicBezTo>
                    <a:pt x="838588" y="632755"/>
                    <a:pt x="862311" y="669618"/>
                    <a:pt x="862311" y="743343"/>
                  </a:cubicBezTo>
                  <a:cubicBezTo>
                    <a:pt x="862311" y="779854"/>
                    <a:pt x="855615" y="807714"/>
                    <a:pt x="842224" y="826922"/>
                  </a:cubicBezTo>
                  <a:cubicBezTo>
                    <a:pt x="828834" y="846130"/>
                    <a:pt x="810102" y="855735"/>
                    <a:pt x="786027" y="855735"/>
                  </a:cubicBezTo>
                  <a:cubicBezTo>
                    <a:pt x="763560" y="855735"/>
                    <a:pt x="746031" y="846557"/>
                    <a:pt x="733443" y="828201"/>
                  </a:cubicBezTo>
                  <a:cubicBezTo>
                    <a:pt x="720853" y="809845"/>
                    <a:pt x="714559" y="783314"/>
                    <a:pt x="714559" y="748609"/>
                  </a:cubicBezTo>
                  <a:cubicBezTo>
                    <a:pt x="714559" y="710492"/>
                    <a:pt x="721130" y="681654"/>
                    <a:pt x="734269" y="662094"/>
                  </a:cubicBezTo>
                  <a:cubicBezTo>
                    <a:pt x="747411" y="642535"/>
                    <a:pt x="766368" y="632755"/>
                    <a:pt x="791144" y="632755"/>
                  </a:cubicBezTo>
                  <a:close/>
                  <a:moveTo>
                    <a:pt x="570544" y="632755"/>
                  </a:moveTo>
                  <a:cubicBezTo>
                    <a:pt x="617988" y="632755"/>
                    <a:pt x="641710" y="669618"/>
                    <a:pt x="641710" y="743343"/>
                  </a:cubicBezTo>
                  <a:cubicBezTo>
                    <a:pt x="641710" y="779854"/>
                    <a:pt x="635015" y="807714"/>
                    <a:pt x="621624" y="826922"/>
                  </a:cubicBezTo>
                  <a:cubicBezTo>
                    <a:pt x="608233" y="846130"/>
                    <a:pt x="589502" y="855735"/>
                    <a:pt x="565428" y="855735"/>
                  </a:cubicBezTo>
                  <a:cubicBezTo>
                    <a:pt x="542960" y="855735"/>
                    <a:pt x="525430" y="846557"/>
                    <a:pt x="512842" y="828201"/>
                  </a:cubicBezTo>
                  <a:cubicBezTo>
                    <a:pt x="500254" y="809845"/>
                    <a:pt x="493960" y="783314"/>
                    <a:pt x="493960" y="748609"/>
                  </a:cubicBezTo>
                  <a:cubicBezTo>
                    <a:pt x="493960" y="710492"/>
                    <a:pt x="500530" y="681654"/>
                    <a:pt x="513670" y="662094"/>
                  </a:cubicBezTo>
                  <a:cubicBezTo>
                    <a:pt x="526811" y="642535"/>
                    <a:pt x="545768" y="632755"/>
                    <a:pt x="570544" y="632755"/>
                  </a:cubicBezTo>
                  <a:close/>
                  <a:moveTo>
                    <a:pt x="403382" y="632755"/>
                  </a:moveTo>
                  <a:lnTo>
                    <a:pt x="418288" y="632755"/>
                  </a:lnTo>
                  <a:lnTo>
                    <a:pt x="418288" y="855735"/>
                  </a:lnTo>
                  <a:lnTo>
                    <a:pt x="382999" y="855735"/>
                  </a:lnTo>
                  <a:lnTo>
                    <a:pt x="382999" y="675952"/>
                  </a:lnTo>
                  <a:cubicBezTo>
                    <a:pt x="376612" y="680515"/>
                    <a:pt x="369742" y="684393"/>
                    <a:pt x="362391" y="687587"/>
                  </a:cubicBezTo>
                  <a:cubicBezTo>
                    <a:pt x="355039" y="690782"/>
                    <a:pt x="346648" y="693595"/>
                    <a:pt x="337217" y="696029"/>
                  </a:cubicBezTo>
                  <a:lnTo>
                    <a:pt x="337217" y="665913"/>
                  </a:lnTo>
                  <a:cubicBezTo>
                    <a:pt x="343098" y="663987"/>
                    <a:pt x="348778" y="661958"/>
                    <a:pt x="354252" y="659829"/>
                  </a:cubicBezTo>
                  <a:cubicBezTo>
                    <a:pt x="359729" y="657700"/>
                    <a:pt x="365129" y="655317"/>
                    <a:pt x="370452" y="652680"/>
                  </a:cubicBezTo>
                  <a:cubicBezTo>
                    <a:pt x="375775" y="650044"/>
                    <a:pt x="381150" y="647103"/>
                    <a:pt x="386575" y="643858"/>
                  </a:cubicBezTo>
                  <a:cubicBezTo>
                    <a:pt x="392000" y="640614"/>
                    <a:pt x="397601" y="636912"/>
                    <a:pt x="403382" y="632755"/>
                  </a:cubicBezTo>
                  <a:close/>
                  <a:moveTo>
                    <a:pt x="103435" y="632755"/>
                  </a:moveTo>
                  <a:lnTo>
                    <a:pt x="118342" y="632755"/>
                  </a:lnTo>
                  <a:lnTo>
                    <a:pt x="118342" y="855735"/>
                  </a:lnTo>
                  <a:lnTo>
                    <a:pt x="83054" y="855735"/>
                  </a:lnTo>
                  <a:lnTo>
                    <a:pt x="83054" y="675952"/>
                  </a:lnTo>
                  <a:cubicBezTo>
                    <a:pt x="76666" y="680515"/>
                    <a:pt x="69796" y="684393"/>
                    <a:pt x="62445" y="687587"/>
                  </a:cubicBezTo>
                  <a:cubicBezTo>
                    <a:pt x="55092" y="690782"/>
                    <a:pt x="46702" y="693595"/>
                    <a:pt x="37272" y="696029"/>
                  </a:cubicBezTo>
                  <a:lnTo>
                    <a:pt x="37272" y="665913"/>
                  </a:lnTo>
                  <a:cubicBezTo>
                    <a:pt x="43153" y="663987"/>
                    <a:pt x="48832" y="661958"/>
                    <a:pt x="54307" y="659829"/>
                  </a:cubicBezTo>
                  <a:cubicBezTo>
                    <a:pt x="59783" y="657700"/>
                    <a:pt x="65183" y="655317"/>
                    <a:pt x="70506" y="652680"/>
                  </a:cubicBezTo>
                  <a:cubicBezTo>
                    <a:pt x="75830" y="650044"/>
                    <a:pt x="81203" y="647103"/>
                    <a:pt x="86629" y="643858"/>
                  </a:cubicBezTo>
                  <a:cubicBezTo>
                    <a:pt x="92054" y="640614"/>
                    <a:pt x="97656" y="636912"/>
                    <a:pt x="103435" y="632755"/>
                  </a:cubicBezTo>
                  <a:close/>
                  <a:moveTo>
                    <a:pt x="11997319" y="356082"/>
                  </a:moveTo>
                  <a:cubicBezTo>
                    <a:pt x="11971139" y="356082"/>
                    <a:pt x="11958049" y="384920"/>
                    <a:pt x="11958049" y="442596"/>
                  </a:cubicBezTo>
                  <a:cubicBezTo>
                    <a:pt x="11958049" y="496560"/>
                    <a:pt x="11970888" y="523543"/>
                    <a:pt x="11996567" y="523543"/>
                  </a:cubicBezTo>
                  <a:cubicBezTo>
                    <a:pt x="12021843" y="523543"/>
                    <a:pt x="12034482" y="496109"/>
                    <a:pt x="12034482" y="441242"/>
                  </a:cubicBezTo>
                  <a:cubicBezTo>
                    <a:pt x="12034482" y="384468"/>
                    <a:pt x="12022094" y="356082"/>
                    <a:pt x="11997319" y="356082"/>
                  </a:cubicBezTo>
                  <a:close/>
                  <a:moveTo>
                    <a:pt x="11780809" y="356082"/>
                  </a:moveTo>
                  <a:cubicBezTo>
                    <a:pt x="11754629" y="356082"/>
                    <a:pt x="11741539" y="384920"/>
                    <a:pt x="11741539" y="442596"/>
                  </a:cubicBezTo>
                  <a:cubicBezTo>
                    <a:pt x="11741539" y="496560"/>
                    <a:pt x="11754378" y="523543"/>
                    <a:pt x="11780057" y="523543"/>
                  </a:cubicBezTo>
                  <a:cubicBezTo>
                    <a:pt x="11805333" y="523543"/>
                    <a:pt x="11817972" y="496109"/>
                    <a:pt x="11817972" y="441242"/>
                  </a:cubicBezTo>
                  <a:cubicBezTo>
                    <a:pt x="11817972" y="384468"/>
                    <a:pt x="11805584" y="356082"/>
                    <a:pt x="11780809" y="356082"/>
                  </a:cubicBezTo>
                  <a:close/>
                  <a:moveTo>
                    <a:pt x="6986021" y="356082"/>
                  </a:moveTo>
                  <a:cubicBezTo>
                    <a:pt x="6959841" y="356082"/>
                    <a:pt x="6946751" y="384920"/>
                    <a:pt x="6946751" y="442596"/>
                  </a:cubicBezTo>
                  <a:cubicBezTo>
                    <a:pt x="6946751" y="496560"/>
                    <a:pt x="6959590" y="523543"/>
                    <a:pt x="6985269" y="523543"/>
                  </a:cubicBezTo>
                  <a:cubicBezTo>
                    <a:pt x="7010546" y="523543"/>
                    <a:pt x="7023184" y="496109"/>
                    <a:pt x="7023184" y="441242"/>
                  </a:cubicBezTo>
                  <a:cubicBezTo>
                    <a:pt x="7023184" y="384468"/>
                    <a:pt x="7010796" y="356082"/>
                    <a:pt x="6986021" y="356082"/>
                  </a:cubicBezTo>
                  <a:close/>
                  <a:moveTo>
                    <a:pt x="6769511" y="356082"/>
                  </a:moveTo>
                  <a:cubicBezTo>
                    <a:pt x="6743331" y="356082"/>
                    <a:pt x="6730241" y="384920"/>
                    <a:pt x="6730241" y="442596"/>
                  </a:cubicBezTo>
                  <a:cubicBezTo>
                    <a:pt x="6730241" y="496560"/>
                    <a:pt x="6743080" y="523543"/>
                    <a:pt x="6768759" y="523543"/>
                  </a:cubicBezTo>
                  <a:cubicBezTo>
                    <a:pt x="6794036" y="523543"/>
                    <a:pt x="6806674" y="496109"/>
                    <a:pt x="6806674" y="441242"/>
                  </a:cubicBezTo>
                  <a:cubicBezTo>
                    <a:pt x="6806674" y="384468"/>
                    <a:pt x="6794286" y="356082"/>
                    <a:pt x="6769511" y="356082"/>
                  </a:cubicBezTo>
                  <a:close/>
                  <a:moveTo>
                    <a:pt x="6151734" y="356082"/>
                  </a:moveTo>
                  <a:cubicBezTo>
                    <a:pt x="6125554" y="356082"/>
                    <a:pt x="6112464" y="384920"/>
                    <a:pt x="6112464" y="442596"/>
                  </a:cubicBezTo>
                  <a:cubicBezTo>
                    <a:pt x="6112464" y="496560"/>
                    <a:pt x="6125303" y="523543"/>
                    <a:pt x="6150982" y="523543"/>
                  </a:cubicBezTo>
                  <a:cubicBezTo>
                    <a:pt x="6176259" y="523543"/>
                    <a:pt x="6188897" y="496109"/>
                    <a:pt x="6188897" y="441242"/>
                  </a:cubicBezTo>
                  <a:cubicBezTo>
                    <a:pt x="6188897" y="384468"/>
                    <a:pt x="6176509" y="356082"/>
                    <a:pt x="6151734" y="356082"/>
                  </a:cubicBezTo>
                  <a:close/>
                  <a:moveTo>
                    <a:pt x="5935223" y="356082"/>
                  </a:moveTo>
                  <a:cubicBezTo>
                    <a:pt x="5909045" y="356082"/>
                    <a:pt x="5895954" y="384920"/>
                    <a:pt x="5895954" y="442596"/>
                  </a:cubicBezTo>
                  <a:cubicBezTo>
                    <a:pt x="5895954" y="496560"/>
                    <a:pt x="5908794" y="523543"/>
                    <a:pt x="5934472" y="523543"/>
                  </a:cubicBezTo>
                  <a:cubicBezTo>
                    <a:pt x="5959748" y="523543"/>
                    <a:pt x="5972387" y="496109"/>
                    <a:pt x="5972387" y="441242"/>
                  </a:cubicBezTo>
                  <a:cubicBezTo>
                    <a:pt x="5972387" y="384468"/>
                    <a:pt x="5959999" y="356082"/>
                    <a:pt x="5935223" y="356082"/>
                  </a:cubicBezTo>
                  <a:close/>
                  <a:moveTo>
                    <a:pt x="5711116" y="356082"/>
                  </a:moveTo>
                  <a:cubicBezTo>
                    <a:pt x="5684938" y="356082"/>
                    <a:pt x="5671847" y="384920"/>
                    <a:pt x="5671847" y="442596"/>
                  </a:cubicBezTo>
                  <a:cubicBezTo>
                    <a:pt x="5671847" y="496560"/>
                    <a:pt x="5684686" y="523543"/>
                    <a:pt x="5710364" y="523543"/>
                  </a:cubicBezTo>
                  <a:cubicBezTo>
                    <a:pt x="5735642" y="523543"/>
                    <a:pt x="5748280" y="496109"/>
                    <a:pt x="5748280" y="441242"/>
                  </a:cubicBezTo>
                  <a:cubicBezTo>
                    <a:pt x="5748280" y="384468"/>
                    <a:pt x="5735892" y="356082"/>
                    <a:pt x="5711116" y="356082"/>
                  </a:cubicBezTo>
                  <a:close/>
                  <a:moveTo>
                    <a:pt x="933138" y="356082"/>
                  </a:moveTo>
                  <a:cubicBezTo>
                    <a:pt x="906958" y="356082"/>
                    <a:pt x="893868" y="384920"/>
                    <a:pt x="893868" y="442596"/>
                  </a:cubicBezTo>
                  <a:cubicBezTo>
                    <a:pt x="893868" y="496560"/>
                    <a:pt x="906707" y="523543"/>
                    <a:pt x="932386" y="523543"/>
                  </a:cubicBezTo>
                  <a:cubicBezTo>
                    <a:pt x="957663" y="523543"/>
                    <a:pt x="970301" y="496109"/>
                    <a:pt x="970301" y="441242"/>
                  </a:cubicBezTo>
                  <a:cubicBezTo>
                    <a:pt x="970301" y="384468"/>
                    <a:pt x="957914" y="356082"/>
                    <a:pt x="933138" y="356082"/>
                  </a:cubicBezTo>
                  <a:close/>
                  <a:moveTo>
                    <a:pt x="716861" y="356082"/>
                  </a:moveTo>
                  <a:cubicBezTo>
                    <a:pt x="690682" y="356082"/>
                    <a:pt x="677593" y="384920"/>
                    <a:pt x="677593" y="442596"/>
                  </a:cubicBezTo>
                  <a:cubicBezTo>
                    <a:pt x="677593" y="496560"/>
                    <a:pt x="690433" y="523543"/>
                    <a:pt x="716110" y="523543"/>
                  </a:cubicBezTo>
                  <a:cubicBezTo>
                    <a:pt x="741387" y="523543"/>
                    <a:pt x="754026" y="496109"/>
                    <a:pt x="754026" y="441242"/>
                  </a:cubicBezTo>
                  <a:cubicBezTo>
                    <a:pt x="754026" y="384468"/>
                    <a:pt x="741638" y="356082"/>
                    <a:pt x="716861" y="356082"/>
                  </a:cubicBezTo>
                  <a:close/>
                  <a:moveTo>
                    <a:pt x="95256" y="356082"/>
                  </a:moveTo>
                  <a:cubicBezTo>
                    <a:pt x="69076" y="356082"/>
                    <a:pt x="55985" y="384920"/>
                    <a:pt x="55985" y="442596"/>
                  </a:cubicBezTo>
                  <a:cubicBezTo>
                    <a:pt x="55985" y="496560"/>
                    <a:pt x="68824" y="523543"/>
                    <a:pt x="94502" y="523543"/>
                  </a:cubicBezTo>
                  <a:cubicBezTo>
                    <a:pt x="119779" y="523543"/>
                    <a:pt x="132418" y="496109"/>
                    <a:pt x="132418" y="441242"/>
                  </a:cubicBezTo>
                  <a:cubicBezTo>
                    <a:pt x="132418" y="384468"/>
                    <a:pt x="120031" y="356082"/>
                    <a:pt x="95256" y="356082"/>
                  </a:cubicBezTo>
                  <a:close/>
                  <a:moveTo>
                    <a:pt x="11998974" y="328247"/>
                  </a:moveTo>
                  <a:cubicBezTo>
                    <a:pt x="12046418" y="328247"/>
                    <a:pt x="12070141" y="365110"/>
                    <a:pt x="12070141" y="438834"/>
                  </a:cubicBezTo>
                  <a:cubicBezTo>
                    <a:pt x="12070141" y="475346"/>
                    <a:pt x="12063445" y="503206"/>
                    <a:pt x="12050055" y="522414"/>
                  </a:cubicBezTo>
                  <a:cubicBezTo>
                    <a:pt x="12036664" y="541622"/>
                    <a:pt x="12017932" y="551227"/>
                    <a:pt x="11993858" y="551227"/>
                  </a:cubicBezTo>
                  <a:cubicBezTo>
                    <a:pt x="11971390" y="551227"/>
                    <a:pt x="11953861" y="542049"/>
                    <a:pt x="11941273" y="523693"/>
                  </a:cubicBezTo>
                  <a:cubicBezTo>
                    <a:pt x="11928684" y="505337"/>
                    <a:pt x="11922390" y="478806"/>
                    <a:pt x="11922390" y="444101"/>
                  </a:cubicBezTo>
                  <a:cubicBezTo>
                    <a:pt x="11922390" y="405984"/>
                    <a:pt x="11928960" y="377146"/>
                    <a:pt x="11942100" y="357586"/>
                  </a:cubicBezTo>
                  <a:cubicBezTo>
                    <a:pt x="11955241" y="338027"/>
                    <a:pt x="11974198" y="328247"/>
                    <a:pt x="11998974" y="328247"/>
                  </a:cubicBezTo>
                  <a:close/>
                  <a:moveTo>
                    <a:pt x="11782464" y="328247"/>
                  </a:moveTo>
                  <a:cubicBezTo>
                    <a:pt x="11829908" y="328247"/>
                    <a:pt x="11853631" y="365110"/>
                    <a:pt x="11853631" y="438834"/>
                  </a:cubicBezTo>
                  <a:cubicBezTo>
                    <a:pt x="11853631" y="475346"/>
                    <a:pt x="11846935" y="503206"/>
                    <a:pt x="11833545" y="522414"/>
                  </a:cubicBezTo>
                  <a:cubicBezTo>
                    <a:pt x="11820154" y="541622"/>
                    <a:pt x="11801422" y="551227"/>
                    <a:pt x="11777348" y="551227"/>
                  </a:cubicBezTo>
                  <a:cubicBezTo>
                    <a:pt x="11754880" y="551227"/>
                    <a:pt x="11737351" y="542049"/>
                    <a:pt x="11724763" y="523693"/>
                  </a:cubicBezTo>
                  <a:cubicBezTo>
                    <a:pt x="11712174" y="505337"/>
                    <a:pt x="11705880" y="478806"/>
                    <a:pt x="11705880" y="444101"/>
                  </a:cubicBezTo>
                  <a:cubicBezTo>
                    <a:pt x="11705880" y="405984"/>
                    <a:pt x="11712450" y="377146"/>
                    <a:pt x="11725590" y="357586"/>
                  </a:cubicBezTo>
                  <a:cubicBezTo>
                    <a:pt x="11738731" y="338027"/>
                    <a:pt x="11757688" y="328247"/>
                    <a:pt x="11782464" y="328247"/>
                  </a:cubicBezTo>
                  <a:close/>
                  <a:moveTo>
                    <a:pt x="11630909" y="328247"/>
                  </a:moveTo>
                  <a:lnTo>
                    <a:pt x="11645815" y="328247"/>
                  </a:lnTo>
                  <a:lnTo>
                    <a:pt x="11645815" y="551227"/>
                  </a:lnTo>
                  <a:lnTo>
                    <a:pt x="11610527" y="551227"/>
                  </a:lnTo>
                  <a:lnTo>
                    <a:pt x="11610527" y="371444"/>
                  </a:lnTo>
                  <a:cubicBezTo>
                    <a:pt x="11604139" y="376007"/>
                    <a:pt x="11597269" y="379885"/>
                    <a:pt x="11589918" y="383079"/>
                  </a:cubicBezTo>
                  <a:cubicBezTo>
                    <a:pt x="11582566" y="386274"/>
                    <a:pt x="11574175" y="389087"/>
                    <a:pt x="11564745" y="391521"/>
                  </a:cubicBezTo>
                  <a:lnTo>
                    <a:pt x="11564745" y="361405"/>
                  </a:lnTo>
                  <a:cubicBezTo>
                    <a:pt x="11570626" y="359479"/>
                    <a:pt x="11576305" y="357450"/>
                    <a:pt x="11581780" y="355321"/>
                  </a:cubicBezTo>
                  <a:cubicBezTo>
                    <a:pt x="11587256" y="353192"/>
                    <a:pt x="11592656" y="350808"/>
                    <a:pt x="11597979" y="348172"/>
                  </a:cubicBezTo>
                  <a:cubicBezTo>
                    <a:pt x="11603303" y="345536"/>
                    <a:pt x="11608677" y="342595"/>
                    <a:pt x="11614102" y="339350"/>
                  </a:cubicBezTo>
                  <a:cubicBezTo>
                    <a:pt x="11619527" y="336106"/>
                    <a:pt x="11625129" y="332404"/>
                    <a:pt x="11630909" y="328247"/>
                  </a:cubicBezTo>
                  <a:close/>
                  <a:moveTo>
                    <a:pt x="11328134" y="328247"/>
                  </a:moveTo>
                  <a:lnTo>
                    <a:pt x="11343040" y="328247"/>
                  </a:lnTo>
                  <a:lnTo>
                    <a:pt x="11343040" y="551227"/>
                  </a:lnTo>
                  <a:lnTo>
                    <a:pt x="11307752" y="551227"/>
                  </a:lnTo>
                  <a:lnTo>
                    <a:pt x="11307752" y="371444"/>
                  </a:lnTo>
                  <a:cubicBezTo>
                    <a:pt x="11301364" y="376007"/>
                    <a:pt x="11294494" y="379885"/>
                    <a:pt x="11287143" y="383079"/>
                  </a:cubicBezTo>
                  <a:cubicBezTo>
                    <a:pt x="11279791" y="386274"/>
                    <a:pt x="11271400" y="389087"/>
                    <a:pt x="11261970" y="391521"/>
                  </a:cubicBezTo>
                  <a:lnTo>
                    <a:pt x="11261970" y="361405"/>
                  </a:lnTo>
                  <a:cubicBezTo>
                    <a:pt x="11267851" y="359479"/>
                    <a:pt x="11273530" y="357450"/>
                    <a:pt x="11279005" y="355321"/>
                  </a:cubicBezTo>
                  <a:cubicBezTo>
                    <a:pt x="11284481" y="353192"/>
                    <a:pt x="11289881" y="350808"/>
                    <a:pt x="11295204" y="348172"/>
                  </a:cubicBezTo>
                  <a:cubicBezTo>
                    <a:pt x="11300528" y="345536"/>
                    <a:pt x="11305902" y="342595"/>
                    <a:pt x="11311327" y="339350"/>
                  </a:cubicBezTo>
                  <a:cubicBezTo>
                    <a:pt x="11316752" y="336106"/>
                    <a:pt x="11322354" y="332404"/>
                    <a:pt x="11328134" y="328247"/>
                  </a:cubicBezTo>
                  <a:close/>
                  <a:moveTo>
                    <a:pt x="10950970" y="328247"/>
                  </a:moveTo>
                  <a:lnTo>
                    <a:pt x="10965876" y="328247"/>
                  </a:lnTo>
                  <a:lnTo>
                    <a:pt x="10965876" y="551227"/>
                  </a:lnTo>
                  <a:lnTo>
                    <a:pt x="10930588" y="551227"/>
                  </a:lnTo>
                  <a:lnTo>
                    <a:pt x="10930588" y="371444"/>
                  </a:lnTo>
                  <a:cubicBezTo>
                    <a:pt x="10924200" y="376007"/>
                    <a:pt x="10917330" y="379885"/>
                    <a:pt x="10909979" y="383079"/>
                  </a:cubicBezTo>
                  <a:cubicBezTo>
                    <a:pt x="10902627" y="386274"/>
                    <a:pt x="10894236" y="389087"/>
                    <a:pt x="10884806" y="391521"/>
                  </a:cubicBezTo>
                  <a:lnTo>
                    <a:pt x="10884806" y="361405"/>
                  </a:lnTo>
                  <a:cubicBezTo>
                    <a:pt x="10890687" y="359479"/>
                    <a:pt x="10896366" y="357450"/>
                    <a:pt x="10901841" y="355321"/>
                  </a:cubicBezTo>
                  <a:cubicBezTo>
                    <a:pt x="10907317" y="353192"/>
                    <a:pt x="10912717" y="350808"/>
                    <a:pt x="10918040" y="348172"/>
                  </a:cubicBezTo>
                  <a:cubicBezTo>
                    <a:pt x="10923364" y="345536"/>
                    <a:pt x="10928738" y="342595"/>
                    <a:pt x="10934163" y="339350"/>
                  </a:cubicBezTo>
                  <a:cubicBezTo>
                    <a:pt x="10939588" y="336106"/>
                    <a:pt x="10945190" y="332404"/>
                    <a:pt x="10950970" y="328247"/>
                  </a:cubicBezTo>
                  <a:close/>
                  <a:moveTo>
                    <a:pt x="10802113" y="328247"/>
                  </a:moveTo>
                  <a:lnTo>
                    <a:pt x="10817019" y="328247"/>
                  </a:lnTo>
                  <a:lnTo>
                    <a:pt x="10817019" y="551227"/>
                  </a:lnTo>
                  <a:lnTo>
                    <a:pt x="10781731" y="551227"/>
                  </a:lnTo>
                  <a:lnTo>
                    <a:pt x="10781731" y="371444"/>
                  </a:lnTo>
                  <a:cubicBezTo>
                    <a:pt x="10775343" y="376007"/>
                    <a:pt x="10768473" y="379885"/>
                    <a:pt x="10761122" y="383079"/>
                  </a:cubicBezTo>
                  <a:cubicBezTo>
                    <a:pt x="10753770" y="386274"/>
                    <a:pt x="10745379" y="389087"/>
                    <a:pt x="10735949" y="391521"/>
                  </a:cubicBezTo>
                  <a:lnTo>
                    <a:pt x="10735949" y="361405"/>
                  </a:lnTo>
                  <a:cubicBezTo>
                    <a:pt x="10741830" y="359479"/>
                    <a:pt x="10747509" y="357450"/>
                    <a:pt x="10752984" y="355321"/>
                  </a:cubicBezTo>
                  <a:cubicBezTo>
                    <a:pt x="10758460" y="353192"/>
                    <a:pt x="10763860" y="350808"/>
                    <a:pt x="10769183" y="348172"/>
                  </a:cubicBezTo>
                  <a:cubicBezTo>
                    <a:pt x="10774507" y="345536"/>
                    <a:pt x="10779881" y="342595"/>
                    <a:pt x="10785306" y="339350"/>
                  </a:cubicBezTo>
                  <a:cubicBezTo>
                    <a:pt x="10790731" y="336106"/>
                    <a:pt x="10796333" y="332404"/>
                    <a:pt x="10802113" y="328247"/>
                  </a:cubicBezTo>
                  <a:close/>
                  <a:moveTo>
                    <a:pt x="10648195" y="328247"/>
                  </a:moveTo>
                  <a:lnTo>
                    <a:pt x="10663101" y="328247"/>
                  </a:lnTo>
                  <a:lnTo>
                    <a:pt x="10663101" y="551227"/>
                  </a:lnTo>
                  <a:lnTo>
                    <a:pt x="10627813" y="551227"/>
                  </a:lnTo>
                  <a:lnTo>
                    <a:pt x="10627813" y="371444"/>
                  </a:lnTo>
                  <a:cubicBezTo>
                    <a:pt x="10621425" y="376007"/>
                    <a:pt x="10614555" y="379885"/>
                    <a:pt x="10607204" y="383079"/>
                  </a:cubicBezTo>
                  <a:cubicBezTo>
                    <a:pt x="10599852" y="386274"/>
                    <a:pt x="10591461" y="389087"/>
                    <a:pt x="10582031" y="391521"/>
                  </a:cubicBezTo>
                  <a:lnTo>
                    <a:pt x="10582031" y="361405"/>
                  </a:lnTo>
                  <a:cubicBezTo>
                    <a:pt x="10587912" y="359479"/>
                    <a:pt x="10593591" y="357450"/>
                    <a:pt x="10599066" y="355321"/>
                  </a:cubicBezTo>
                  <a:cubicBezTo>
                    <a:pt x="10604542" y="353192"/>
                    <a:pt x="10609942" y="350808"/>
                    <a:pt x="10615265" y="348172"/>
                  </a:cubicBezTo>
                  <a:cubicBezTo>
                    <a:pt x="10620589" y="345536"/>
                    <a:pt x="10625963" y="342595"/>
                    <a:pt x="10631388" y="339350"/>
                  </a:cubicBezTo>
                  <a:cubicBezTo>
                    <a:pt x="10636813" y="336106"/>
                    <a:pt x="10642415" y="332404"/>
                    <a:pt x="10648195" y="328247"/>
                  </a:cubicBezTo>
                  <a:close/>
                  <a:moveTo>
                    <a:pt x="10499338" y="328247"/>
                  </a:moveTo>
                  <a:lnTo>
                    <a:pt x="10514244" y="328247"/>
                  </a:lnTo>
                  <a:lnTo>
                    <a:pt x="10514244" y="551227"/>
                  </a:lnTo>
                  <a:lnTo>
                    <a:pt x="10478956" y="551227"/>
                  </a:lnTo>
                  <a:lnTo>
                    <a:pt x="10478956" y="371444"/>
                  </a:lnTo>
                  <a:cubicBezTo>
                    <a:pt x="10472568" y="376007"/>
                    <a:pt x="10465698" y="379885"/>
                    <a:pt x="10458347" y="383079"/>
                  </a:cubicBezTo>
                  <a:cubicBezTo>
                    <a:pt x="10450995" y="386274"/>
                    <a:pt x="10442604" y="389087"/>
                    <a:pt x="10433174" y="391521"/>
                  </a:cubicBezTo>
                  <a:lnTo>
                    <a:pt x="10433174" y="361405"/>
                  </a:lnTo>
                  <a:cubicBezTo>
                    <a:pt x="10439055" y="359479"/>
                    <a:pt x="10444734" y="357450"/>
                    <a:pt x="10450209" y="355321"/>
                  </a:cubicBezTo>
                  <a:cubicBezTo>
                    <a:pt x="10455685" y="353192"/>
                    <a:pt x="10461085" y="350808"/>
                    <a:pt x="10466408" y="348172"/>
                  </a:cubicBezTo>
                  <a:cubicBezTo>
                    <a:pt x="10471732" y="345536"/>
                    <a:pt x="10477106" y="342595"/>
                    <a:pt x="10482531" y="339350"/>
                  </a:cubicBezTo>
                  <a:cubicBezTo>
                    <a:pt x="10487956" y="336106"/>
                    <a:pt x="10493558" y="332404"/>
                    <a:pt x="10499338" y="328247"/>
                  </a:cubicBezTo>
                  <a:close/>
                  <a:moveTo>
                    <a:pt x="9777947" y="328247"/>
                  </a:moveTo>
                  <a:lnTo>
                    <a:pt x="9792853" y="328247"/>
                  </a:lnTo>
                  <a:lnTo>
                    <a:pt x="9792853" y="551227"/>
                  </a:lnTo>
                  <a:lnTo>
                    <a:pt x="9757565" y="551227"/>
                  </a:lnTo>
                  <a:lnTo>
                    <a:pt x="9757565" y="371444"/>
                  </a:lnTo>
                  <a:cubicBezTo>
                    <a:pt x="9751177" y="376007"/>
                    <a:pt x="9744307" y="379885"/>
                    <a:pt x="9736956" y="383079"/>
                  </a:cubicBezTo>
                  <a:cubicBezTo>
                    <a:pt x="9729604" y="386274"/>
                    <a:pt x="9721213" y="389087"/>
                    <a:pt x="9711783" y="391521"/>
                  </a:cubicBezTo>
                  <a:lnTo>
                    <a:pt x="9711783" y="361405"/>
                  </a:lnTo>
                  <a:cubicBezTo>
                    <a:pt x="9717664" y="359479"/>
                    <a:pt x="9723343" y="357450"/>
                    <a:pt x="9728818" y="355321"/>
                  </a:cubicBezTo>
                  <a:cubicBezTo>
                    <a:pt x="9734294" y="353192"/>
                    <a:pt x="9739694" y="350808"/>
                    <a:pt x="9745017" y="348172"/>
                  </a:cubicBezTo>
                  <a:cubicBezTo>
                    <a:pt x="9750341" y="345536"/>
                    <a:pt x="9755715" y="342595"/>
                    <a:pt x="9761140" y="339350"/>
                  </a:cubicBezTo>
                  <a:cubicBezTo>
                    <a:pt x="9766565" y="336106"/>
                    <a:pt x="9772167" y="332404"/>
                    <a:pt x="9777947" y="328247"/>
                  </a:cubicBezTo>
                  <a:close/>
                  <a:moveTo>
                    <a:pt x="9629090" y="328247"/>
                  </a:moveTo>
                  <a:lnTo>
                    <a:pt x="9643996" y="328247"/>
                  </a:lnTo>
                  <a:lnTo>
                    <a:pt x="9643996" y="551227"/>
                  </a:lnTo>
                  <a:lnTo>
                    <a:pt x="9608708" y="551227"/>
                  </a:lnTo>
                  <a:lnTo>
                    <a:pt x="9608708" y="371444"/>
                  </a:lnTo>
                  <a:cubicBezTo>
                    <a:pt x="9602320" y="376007"/>
                    <a:pt x="9595450" y="379885"/>
                    <a:pt x="9588099" y="383079"/>
                  </a:cubicBezTo>
                  <a:cubicBezTo>
                    <a:pt x="9580747" y="386274"/>
                    <a:pt x="9572356" y="389087"/>
                    <a:pt x="9562926" y="391521"/>
                  </a:cubicBezTo>
                  <a:lnTo>
                    <a:pt x="9562926" y="361405"/>
                  </a:lnTo>
                  <a:cubicBezTo>
                    <a:pt x="9568807" y="359479"/>
                    <a:pt x="9574486" y="357450"/>
                    <a:pt x="9579961" y="355321"/>
                  </a:cubicBezTo>
                  <a:cubicBezTo>
                    <a:pt x="9585437" y="353192"/>
                    <a:pt x="9590837" y="350808"/>
                    <a:pt x="9596160" y="348172"/>
                  </a:cubicBezTo>
                  <a:cubicBezTo>
                    <a:pt x="9601484" y="345536"/>
                    <a:pt x="9606858" y="342595"/>
                    <a:pt x="9612283" y="339350"/>
                  </a:cubicBezTo>
                  <a:cubicBezTo>
                    <a:pt x="9617708" y="336106"/>
                    <a:pt x="9623310" y="332404"/>
                    <a:pt x="9629090" y="328247"/>
                  </a:cubicBezTo>
                  <a:close/>
                  <a:moveTo>
                    <a:pt x="8825985" y="328247"/>
                  </a:moveTo>
                  <a:lnTo>
                    <a:pt x="8840891" y="328247"/>
                  </a:lnTo>
                  <a:lnTo>
                    <a:pt x="8840891" y="551227"/>
                  </a:lnTo>
                  <a:lnTo>
                    <a:pt x="8805603" y="551227"/>
                  </a:lnTo>
                  <a:lnTo>
                    <a:pt x="8805603" y="371444"/>
                  </a:lnTo>
                  <a:cubicBezTo>
                    <a:pt x="8799215" y="376007"/>
                    <a:pt x="8792345" y="379885"/>
                    <a:pt x="8784994" y="383079"/>
                  </a:cubicBezTo>
                  <a:cubicBezTo>
                    <a:pt x="8777642" y="386274"/>
                    <a:pt x="8769251" y="389087"/>
                    <a:pt x="8759821" y="391521"/>
                  </a:cubicBezTo>
                  <a:lnTo>
                    <a:pt x="8759821" y="361405"/>
                  </a:lnTo>
                  <a:cubicBezTo>
                    <a:pt x="8765702" y="359479"/>
                    <a:pt x="8771381" y="357450"/>
                    <a:pt x="8776856" y="355321"/>
                  </a:cubicBezTo>
                  <a:cubicBezTo>
                    <a:pt x="8782332" y="353192"/>
                    <a:pt x="8787732" y="350808"/>
                    <a:pt x="8793055" y="348172"/>
                  </a:cubicBezTo>
                  <a:cubicBezTo>
                    <a:pt x="8798379" y="345536"/>
                    <a:pt x="8803753" y="342595"/>
                    <a:pt x="8809178" y="339350"/>
                  </a:cubicBezTo>
                  <a:cubicBezTo>
                    <a:pt x="8814603" y="336106"/>
                    <a:pt x="8820205" y="332404"/>
                    <a:pt x="8825985" y="328247"/>
                  </a:cubicBezTo>
                  <a:close/>
                  <a:moveTo>
                    <a:pt x="8447378" y="328247"/>
                  </a:moveTo>
                  <a:lnTo>
                    <a:pt x="8462284" y="328247"/>
                  </a:lnTo>
                  <a:lnTo>
                    <a:pt x="8462284" y="551227"/>
                  </a:lnTo>
                  <a:lnTo>
                    <a:pt x="8426996" y="551227"/>
                  </a:lnTo>
                  <a:lnTo>
                    <a:pt x="8426996" y="371444"/>
                  </a:lnTo>
                  <a:cubicBezTo>
                    <a:pt x="8420608" y="376007"/>
                    <a:pt x="8413738" y="379885"/>
                    <a:pt x="8406387" y="383079"/>
                  </a:cubicBezTo>
                  <a:cubicBezTo>
                    <a:pt x="8399035" y="386274"/>
                    <a:pt x="8390644" y="389087"/>
                    <a:pt x="8381214" y="391521"/>
                  </a:cubicBezTo>
                  <a:lnTo>
                    <a:pt x="8381214" y="361405"/>
                  </a:lnTo>
                  <a:cubicBezTo>
                    <a:pt x="8387095" y="359479"/>
                    <a:pt x="8392774" y="357450"/>
                    <a:pt x="8398249" y="355321"/>
                  </a:cubicBezTo>
                  <a:cubicBezTo>
                    <a:pt x="8403725" y="353192"/>
                    <a:pt x="8409125" y="350808"/>
                    <a:pt x="8414448" y="348172"/>
                  </a:cubicBezTo>
                  <a:cubicBezTo>
                    <a:pt x="8419772" y="345536"/>
                    <a:pt x="8425146" y="342595"/>
                    <a:pt x="8430571" y="339350"/>
                  </a:cubicBezTo>
                  <a:cubicBezTo>
                    <a:pt x="8435996" y="336106"/>
                    <a:pt x="8441598" y="332404"/>
                    <a:pt x="8447378" y="328247"/>
                  </a:cubicBezTo>
                  <a:close/>
                  <a:moveTo>
                    <a:pt x="8298521" y="328247"/>
                  </a:moveTo>
                  <a:lnTo>
                    <a:pt x="8313427" y="328247"/>
                  </a:lnTo>
                  <a:lnTo>
                    <a:pt x="8313427" y="551227"/>
                  </a:lnTo>
                  <a:lnTo>
                    <a:pt x="8278139" y="551227"/>
                  </a:lnTo>
                  <a:lnTo>
                    <a:pt x="8278139" y="371444"/>
                  </a:lnTo>
                  <a:cubicBezTo>
                    <a:pt x="8271751" y="376007"/>
                    <a:pt x="8264882" y="379885"/>
                    <a:pt x="8257530" y="383079"/>
                  </a:cubicBezTo>
                  <a:cubicBezTo>
                    <a:pt x="8250178" y="386274"/>
                    <a:pt x="8241788" y="389087"/>
                    <a:pt x="8232357" y="391521"/>
                  </a:cubicBezTo>
                  <a:lnTo>
                    <a:pt x="8232357" y="361405"/>
                  </a:lnTo>
                  <a:cubicBezTo>
                    <a:pt x="8238238" y="359479"/>
                    <a:pt x="8243917" y="357450"/>
                    <a:pt x="8249392" y="355321"/>
                  </a:cubicBezTo>
                  <a:cubicBezTo>
                    <a:pt x="8254868" y="353192"/>
                    <a:pt x="8260268" y="350808"/>
                    <a:pt x="8265591" y="348172"/>
                  </a:cubicBezTo>
                  <a:cubicBezTo>
                    <a:pt x="8270915" y="345536"/>
                    <a:pt x="8276289" y="342595"/>
                    <a:pt x="8281714" y="339350"/>
                  </a:cubicBezTo>
                  <a:cubicBezTo>
                    <a:pt x="8287139" y="336106"/>
                    <a:pt x="8292741" y="332404"/>
                    <a:pt x="8298521" y="328247"/>
                  </a:cubicBezTo>
                  <a:close/>
                  <a:moveTo>
                    <a:pt x="8144603" y="328247"/>
                  </a:moveTo>
                  <a:lnTo>
                    <a:pt x="8159509" y="328247"/>
                  </a:lnTo>
                  <a:lnTo>
                    <a:pt x="8159509" y="551227"/>
                  </a:lnTo>
                  <a:lnTo>
                    <a:pt x="8124221" y="551227"/>
                  </a:lnTo>
                  <a:lnTo>
                    <a:pt x="8124221" y="371444"/>
                  </a:lnTo>
                  <a:cubicBezTo>
                    <a:pt x="8117833" y="376007"/>
                    <a:pt x="8110964" y="379885"/>
                    <a:pt x="8103612" y="383079"/>
                  </a:cubicBezTo>
                  <a:cubicBezTo>
                    <a:pt x="8096260" y="386274"/>
                    <a:pt x="8087870" y="389087"/>
                    <a:pt x="8078439" y="391521"/>
                  </a:cubicBezTo>
                  <a:lnTo>
                    <a:pt x="8078439" y="361405"/>
                  </a:lnTo>
                  <a:cubicBezTo>
                    <a:pt x="8084320" y="359479"/>
                    <a:pt x="8089999" y="357450"/>
                    <a:pt x="8095474" y="355321"/>
                  </a:cubicBezTo>
                  <a:cubicBezTo>
                    <a:pt x="8100950" y="353192"/>
                    <a:pt x="8106350" y="350808"/>
                    <a:pt x="8111673" y="348172"/>
                  </a:cubicBezTo>
                  <a:cubicBezTo>
                    <a:pt x="8116997" y="345536"/>
                    <a:pt x="8122371" y="342595"/>
                    <a:pt x="8127796" y="339350"/>
                  </a:cubicBezTo>
                  <a:cubicBezTo>
                    <a:pt x="8133221" y="336106"/>
                    <a:pt x="8138823" y="332404"/>
                    <a:pt x="8144603" y="328247"/>
                  </a:cubicBezTo>
                  <a:close/>
                  <a:moveTo>
                    <a:pt x="7995746" y="328247"/>
                  </a:moveTo>
                  <a:lnTo>
                    <a:pt x="8010652" y="328247"/>
                  </a:lnTo>
                  <a:lnTo>
                    <a:pt x="8010652" y="551227"/>
                  </a:lnTo>
                  <a:lnTo>
                    <a:pt x="7975364" y="551227"/>
                  </a:lnTo>
                  <a:lnTo>
                    <a:pt x="7975364" y="371444"/>
                  </a:lnTo>
                  <a:cubicBezTo>
                    <a:pt x="7968976" y="376007"/>
                    <a:pt x="7962107" y="379885"/>
                    <a:pt x="7954755" y="383079"/>
                  </a:cubicBezTo>
                  <a:cubicBezTo>
                    <a:pt x="7947403" y="386274"/>
                    <a:pt x="7939013" y="389087"/>
                    <a:pt x="7929582" y="391521"/>
                  </a:cubicBezTo>
                  <a:lnTo>
                    <a:pt x="7929582" y="361405"/>
                  </a:lnTo>
                  <a:cubicBezTo>
                    <a:pt x="7935463" y="359479"/>
                    <a:pt x="7941142" y="357450"/>
                    <a:pt x="7946617" y="355321"/>
                  </a:cubicBezTo>
                  <a:cubicBezTo>
                    <a:pt x="7952093" y="353192"/>
                    <a:pt x="7957493" y="350808"/>
                    <a:pt x="7962816" y="348172"/>
                  </a:cubicBezTo>
                  <a:cubicBezTo>
                    <a:pt x="7968140" y="345536"/>
                    <a:pt x="7973514" y="342595"/>
                    <a:pt x="7978939" y="339350"/>
                  </a:cubicBezTo>
                  <a:cubicBezTo>
                    <a:pt x="7984364" y="336106"/>
                    <a:pt x="7989966" y="332404"/>
                    <a:pt x="7995746" y="328247"/>
                  </a:cubicBezTo>
                  <a:close/>
                  <a:moveTo>
                    <a:pt x="7846889" y="328247"/>
                  </a:moveTo>
                  <a:lnTo>
                    <a:pt x="7861795" y="328247"/>
                  </a:lnTo>
                  <a:lnTo>
                    <a:pt x="7861795" y="551227"/>
                  </a:lnTo>
                  <a:lnTo>
                    <a:pt x="7826507" y="551227"/>
                  </a:lnTo>
                  <a:lnTo>
                    <a:pt x="7826507" y="371444"/>
                  </a:lnTo>
                  <a:cubicBezTo>
                    <a:pt x="7820119" y="376007"/>
                    <a:pt x="7813250" y="379885"/>
                    <a:pt x="7805898" y="383079"/>
                  </a:cubicBezTo>
                  <a:cubicBezTo>
                    <a:pt x="7798546" y="386274"/>
                    <a:pt x="7790156" y="389087"/>
                    <a:pt x="7780725" y="391521"/>
                  </a:cubicBezTo>
                  <a:lnTo>
                    <a:pt x="7780725" y="361405"/>
                  </a:lnTo>
                  <a:cubicBezTo>
                    <a:pt x="7786606" y="359479"/>
                    <a:pt x="7792285" y="357450"/>
                    <a:pt x="7797760" y="355321"/>
                  </a:cubicBezTo>
                  <a:cubicBezTo>
                    <a:pt x="7803236" y="353192"/>
                    <a:pt x="7808636" y="350808"/>
                    <a:pt x="7813959" y="348172"/>
                  </a:cubicBezTo>
                  <a:cubicBezTo>
                    <a:pt x="7819283" y="345536"/>
                    <a:pt x="7824657" y="342595"/>
                    <a:pt x="7830082" y="339350"/>
                  </a:cubicBezTo>
                  <a:cubicBezTo>
                    <a:pt x="7835507" y="336106"/>
                    <a:pt x="7841109" y="332404"/>
                    <a:pt x="7846889" y="328247"/>
                  </a:cubicBezTo>
                  <a:close/>
                  <a:moveTo>
                    <a:pt x="7494802" y="328247"/>
                  </a:moveTo>
                  <a:lnTo>
                    <a:pt x="7509708" y="328247"/>
                  </a:lnTo>
                  <a:lnTo>
                    <a:pt x="7509708" y="551227"/>
                  </a:lnTo>
                  <a:lnTo>
                    <a:pt x="7474420" y="551227"/>
                  </a:lnTo>
                  <a:lnTo>
                    <a:pt x="7474420" y="371444"/>
                  </a:lnTo>
                  <a:cubicBezTo>
                    <a:pt x="7468032" y="376007"/>
                    <a:pt x="7461163" y="379885"/>
                    <a:pt x="7453811" y="383079"/>
                  </a:cubicBezTo>
                  <a:cubicBezTo>
                    <a:pt x="7446459" y="386274"/>
                    <a:pt x="7438069" y="389087"/>
                    <a:pt x="7428638" y="391521"/>
                  </a:cubicBezTo>
                  <a:lnTo>
                    <a:pt x="7428638" y="361405"/>
                  </a:lnTo>
                  <a:cubicBezTo>
                    <a:pt x="7434519" y="359479"/>
                    <a:pt x="7440198" y="357450"/>
                    <a:pt x="7445673" y="355321"/>
                  </a:cubicBezTo>
                  <a:cubicBezTo>
                    <a:pt x="7451149" y="353192"/>
                    <a:pt x="7456549" y="350808"/>
                    <a:pt x="7461872" y="348172"/>
                  </a:cubicBezTo>
                  <a:cubicBezTo>
                    <a:pt x="7467196" y="345536"/>
                    <a:pt x="7472570" y="342595"/>
                    <a:pt x="7477995" y="339350"/>
                  </a:cubicBezTo>
                  <a:cubicBezTo>
                    <a:pt x="7483420" y="336106"/>
                    <a:pt x="7489022" y="332404"/>
                    <a:pt x="7494802" y="328247"/>
                  </a:cubicBezTo>
                  <a:close/>
                  <a:moveTo>
                    <a:pt x="7197088" y="328247"/>
                  </a:moveTo>
                  <a:lnTo>
                    <a:pt x="7211994" y="328247"/>
                  </a:lnTo>
                  <a:lnTo>
                    <a:pt x="7211994" y="551227"/>
                  </a:lnTo>
                  <a:lnTo>
                    <a:pt x="7176706" y="551227"/>
                  </a:lnTo>
                  <a:lnTo>
                    <a:pt x="7176706" y="371444"/>
                  </a:lnTo>
                  <a:cubicBezTo>
                    <a:pt x="7170318" y="376007"/>
                    <a:pt x="7163449" y="379885"/>
                    <a:pt x="7156097" y="383079"/>
                  </a:cubicBezTo>
                  <a:cubicBezTo>
                    <a:pt x="7148745" y="386274"/>
                    <a:pt x="7140355" y="389087"/>
                    <a:pt x="7130924" y="391521"/>
                  </a:cubicBezTo>
                  <a:lnTo>
                    <a:pt x="7130924" y="361405"/>
                  </a:lnTo>
                  <a:cubicBezTo>
                    <a:pt x="7136805" y="359479"/>
                    <a:pt x="7142484" y="357450"/>
                    <a:pt x="7147959" y="355321"/>
                  </a:cubicBezTo>
                  <a:cubicBezTo>
                    <a:pt x="7153435" y="353192"/>
                    <a:pt x="7158835" y="350808"/>
                    <a:pt x="7164158" y="348172"/>
                  </a:cubicBezTo>
                  <a:cubicBezTo>
                    <a:pt x="7169482" y="345536"/>
                    <a:pt x="7174856" y="342595"/>
                    <a:pt x="7180281" y="339350"/>
                  </a:cubicBezTo>
                  <a:cubicBezTo>
                    <a:pt x="7185706" y="336106"/>
                    <a:pt x="7191308" y="332404"/>
                    <a:pt x="7197088" y="328247"/>
                  </a:cubicBezTo>
                  <a:close/>
                  <a:moveTo>
                    <a:pt x="6987676" y="328247"/>
                  </a:moveTo>
                  <a:cubicBezTo>
                    <a:pt x="7035121" y="328247"/>
                    <a:pt x="7058843" y="365110"/>
                    <a:pt x="7058843" y="438834"/>
                  </a:cubicBezTo>
                  <a:cubicBezTo>
                    <a:pt x="7058843" y="475346"/>
                    <a:pt x="7052148" y="503206"/>
                    <a:pt x="7038757" y="522414"/>
                  </a:cubicBezTo>
                  <a:cubicBezTo>
                    <a:pt x="7025366" y="541622"/>
                    <a:pt x="7006634" y="551227"/>
                    <a:pt x="6982560" y="551227"/>
                  </a:cubicBezTo>
                  <a:cubicBezTo>
                    <a:pt x="6960092" y="551227"/>
                    <a:pt x="6942563" y="542049"/>
                    <a:pt x="6929975" y="523693"/>
                  </a:cubicBezTo>
                  <a:cubicBezTo>
                    <a:pt x="6917386" y="505337"/>
                    <a:pt x="6911092" y="478806"/>
                    <a:pt x="6911092" y="444101"/>
                  </a:cubicBezTo>
                  <a:cubicBezTo>
                    <a:pt x="6911092" y="405984"/>
                    <a:pt x="6917662" y="377146"/>
                    <a:pt x="6930802" y="357586"/>
                  </a:cubicBezTo>
                  <a:cubicBezTo>
                    <a:pt x="6943943" y="338027"/>
                    <a:pt x="6962900" y="328247"/>
                    <a:pt x="6987676" y="328247"/>
                  </a:cubicBezTo>
                  <a:close/>
                  <a:moveTo>
                    <a:pt x="6771166" y="328247"/>
                  </a:moveTo>
                  <a:cubicBezTo>
                    <a:pt x="6818611" y="328247"/>
                    <a:pt x="6842333" y="365110"/>
                    <a:pt x="6842333" y="438834"/>
                  </a:cubicBezTo>
                  <a:cubicBezTo>
                    <a:pt x="6842333" y="475346"/>
                    <a:pt x="6835638" y="503206"/>
                    <a:pt x="6822247" y="522414"/>
                  </a:cubicBezTo>
                  <a:cubicBezTo>
                    <a:pt x="6808856" y="541622"/>
                    <a:pt x="6790124" y="551227"/>
                    <a:pt x="6766050" y="551227"/>
                  </a:cubicBezTo>
                  <a:cubicBezTo>
                    <a:pt x="6743582" y="551227"/>
                    <a:pt x="6726053" y="542049"/>
                    <a:pt x="6713465" y="523693"/>
                  </a:cubicBezTo>
                  <a:cubicBezTo>
                    <a:pt x="6700876" y="505337"/>
                    <a:pt x="6694582" y="478806"/>
                    <a:pt x="6694582" y="444101"/>
                  </a:cubicBezTo>
                  <a:cubicBezTo>
                    <a:pt x="6694582" y="405984"/>
                    <a:pt x="6701152" y="377146"/>
                    <a:pt x="6714292" y="357586"/>
                  </a:cubicBezTo>
                  <a:cubicBezTo>
                    <a:pt x="6727433" y="338027"/>
                    <a:pt x="6746390" y="328247"/>
                    <a:pt x="6771166" y="328247"/>
                  </a:cubicBezTo>
                  <a:close/>
                  <a:moveTo>
                    <a:pt x="6624859" y="328247"/>
                  </a:moveTo>
                  <a:lnTo>
                    <a:pt x="6639765" y="328247"/>
                  </a:lnTo>
                  <a:lnTo>
                    <a:pt x="6639765" y="551227"/>
                  </a:lnTo>
                  <a:lnTo>
                    <a:pt x="6604477" y="551227"/>
                  </a:lnTo>
                  <a:lnTo>
                    <a:pt x="6604477" y="371444"/>
                  </a:lnTo>
                  <a:cubicBezTo>
                    <a:pt x="6598089" y="376007"/>
                    <a:pt x="6591220" y="379885"/>
                    <a:pt x="6583868" y="383079"/>
                  </a:cubicBezTo>
                  <a:cubicBezTo>
                    <a:pt x="6576516" y="386274"/>
                    <a:pt x="6568126" y="389087"/>
                    <a:pt x="6558695" y="391521"/>
                  </a:cubicBezTo>
                  <a:lnTo>
                    <a:pt x="6558695" y="361405"/>
                  </a:lnTo>
                  <a:cubicBezTo>
                    <a:pt x="6564576" y="359479"/>
                    <a:pt x="6570255" y="357450"/>
                    <a:pt x="6575730" y="355321"/>
                  </a:cubicBezTo>
                  <a:cubicBezTo>
                    <a:pt x="6581206" y="353192"/>
                    <a:pt x="6586606" y="350808"/>
                    <a:pt x="6591929" y="348172"/>
                  </a:cubicBezTo>
                  <a:cubicBezTo>
                    <a:pt x="6597253" y="345536"/>
                    <a:pt x="6602627" y="342595"/>
                    <a:pt x="6608052" y="339350"/>
                  </a:cubicBezTo>
                  <a:cubicBezTo>
                    <a:pt x="6613477" y="336106"/>
                    <a:pt x="6619079" y="332404"/>
                    <a:pt x="6624859" y="328247"/>
                  </a:cubicBezTo>
                  <a:close/>
                  <a:moveTo>
                    <a:pt x="6327145" y="328247"/>
                  </a:moveTo>
                  <a:lnTo>
                    <a:pt x="6342051" y="328247"/>
                  </a:lnTo>
                  <a:lnTo>
                    <a:pt x="6342051" y="551227"/>
                  </a:lnTo>
                  <a:lnTo>
                    <a:pt x="6306763" y="551227"/>
                  </a:lnTo>
                  <a:lnTo>
                    <a:pt x="6306763" y="371444"/>
                  </a:lnTo>
                  <a:cubicBezTo>
                    <a:pt x="6300375" y="376007"/>
                    <a:pt x="6293506" y="379885"/>
                    <a:pt x="6286154" y="383079"/>
                  </a:cubicBezTo>
                  <a:cubicBezTo>
                    <a:pt x="6278802" y="386274"/>
                    <a:pt x="6270412" y="389087"/>
                    <a:pt x="6260981" y="391521"/>
                  </a:cubicBezTo>
                  <a:lnTo>
                    <a:pt x="6260981" y="361405"/>
                  </a:lnTo>
                  <a:cubicBezTo>
                    <a:pt x="6266862" y="359479"/>
                    <a:pt x="6272541" y="357450"/>
                    <a:pt x="6278016" y="355321"/>
                  </a:cubicBezTo>
                  <a:cubicBezTo>
                    <a:pt x="6283492" y="353192"/>
                    <a:pt x="6288892" y="350808"/>
                    <a:pt x="6294215" y="348172"/>
                  </a:cubicBezTo>
                  <a:cubicBezTo>
                    <a:pt x="6299539" y="345536"/>
                    <a:pt x="6304913" y="342595"/>
                    <a:pt x="6310338" y="339350"/>
                  </a:cubicBezTo>
                  <a:cubicBezTo>
                    <a:pt x="6315763" y="336106"/>
                    <a:pt x="6321365" y="332404"/>
                    <a:pt x="6327145" y="328247"/>
                  </a:cubicBezTo>
                  <a:close/>
                  <a:moveTo>
                    <a:pt x="6153389" y="328247"/>
                  </a:moveTo>
                  <a:cubicBezTo>
                    <a:pt x="6200834" y="328247"/>
                    <a:pt x="6224556" y="365110"/>
                    <a:pt x="6224556" y="438834"/>
                  </a:cubicBezTo>
                  <a:cubicBezTo>
                    <a:pt x="6224556" y="475346"/>
                    <a:pt x="6217861" y="503206"/>
                    <a:pt x="6204470" y="522414"/>
                  </a:cubicBezTo>
                  <a:cubicBezTo>
                    <a:pt x="6191079" y="541622"/>
                    <a:pt x="6172347" y="551227"/>
                    <a:pt x="6148273" y="551227"/>
                  </a:cubicBezTo>
                  <a:cubicBezTo>
                    <a:pt x="6125805" y="551227"/>
                    <a:pt x="6108276" y="542049"/>
                    <a:pt x="6095688" y="523693"/>
                  </a:cubicBezTo>
                  <a:cubicBezTo>
                    <a:pt x="6083099" y="505337"/>
                    <a:pt x="6076805" y="478806"/>
                    <a:pt x="6076805" y="444101"/>
                  </a:cubicBezTo>
                  <a:cubicBezTo>
                    <a:pt x="6076805" y="405984"/>
                    <a:pt x="6083375" y="377146"/>
                    <a:pt x="6096515" y="357586"/>
                  </a:cubicBezTo>
                  <a:cubicBezTo>
                    <a:pt x="6109656" y="338027"/>
                    <a:pt x="6128613" y="328247"/>
                    <a:pt x="6153389" y="328247"/>
                  </a:cubicBezTo>
                  <a:close/>
                  <a:moveTo>
                    <a:pt x="5936879" y="328247"/>
                  </a:moveTo>
                  <a:cubicBezTo>
                    <a:pt x="5984323" y="328247"/>
                    <a:pt x="6008046" y="365110"/>
                    <a:pt x="6008046" y="438834"/>
                  </a:cubicBezTo>
                  <a:cubicBezTo>
                    <a:pt x="6008046" y="475346"/>
                    <a:pt x="6001350" y="503206"/>
                    <a:pt x="5987960" y="522414"/>
                  </a:cubicBezTo>
                  <a:cubicBezTo>
                    <a:pt x="5974568" y="541622"/>
                    <a:pt x="5955837" y="551227"/>
                    <a:pt x="5931764" y="551227"/>
                  </a:cubicBezTo>
                  <a:cubicBezTo>
                    <a:pt x="5909295" y="551227"/>
                    <a:pt x="5891766" y="542049"/>
                    <a:pt x="5879177" y="523693"/>
                  </a:cubicBezTo>
                  <a:cubicBezTo>
                    <a:pt x="5866589" y="505337"/>
                    <a:pt x="5860295" y="478806"/>
                    <a:pt x="5860295" y="444101"/>
                  </a:cubicBezTo>
                  <a:cubicBezTo>
                    <a:pt x="5860295" y="405984"/>
                    <a:pt x="5866866" y="377146"/>
                    <a:pt x="5880005" y="357586"/>
                  </a:cubicBezTo>
                  <a:cubicBezTo>
                    <a:pt x="5893145" y="338027"/>
                    <a:pt x="5912103" y="328247"/>
                    <a:pt x="5936879" y="328247"/>
                  </a:cubicBezTo>
                  <a:close/>
                  <a:moveTo>
                    <a:pt x="5712771" y="328247"/>
                  </a:moveTo>
                  <a:cubicBezTo>
                    <a:pt x="5760216" y="328247"/>
                    <a:pt x="5783939" y="365110"/>
                    <a:pt x="5783939" y="438834"/>
                  </a:cubicBezTo>
                  <a:cubicBezTo>
                    <a:pt x="5783939" y="475346"/>
                    <a:pt x="5777243" y="503206"/>
                    <a:pt x="5763853" y="522414"/>
                  </a:cubicBezTo>
                  <a:cubicBezTo>
                    <a:pt x="5750461" y="541622"/>
                    <a:pt x="5731729" y="551227"/>
                    <a:pt x="5707657" y="551227"/>
                  </a:cubicBezTo>
                  <a:cubicBezTo>
                    <a:pt x="5685187" y="551227"/>
                    <a:pt x="5667659" y="542049"/>
                    <a:pt x="5655071" y="523693"/>
                  </a:cubicBezTo>
                  <a:cubicBezTo>
                    <a:pt x="5642482" y="505337"/>
                    <a:pt x="5636188" y="478806"/>
                    <a:pt x="5636188" y="444101"/>
                  </a:cubicBezTo>
                  <a:cubicBezTo>
                    <a:pt x="5636188" y="405984"/>
                    <a:pt x="5642758" y="377146"/>
                    <a:pt x="5655899" y="357586"/>
                  </a:cubicBezTo>
                  <a:cubicBezTo>
                    <a:pt x="5669039" y="338027"/>
                    <a:pt x="5687996" y="328247"/>
                    <a:pt x="5712771" y="328247"/>
                  </a:cubicBezTo>
                  <a:close/>
                  <a:moveTo>
                    <a:pt x="5555491" y="328247"/>
                  </a:moveTo>
                  <a:lnTo>
                    <a:pt x="5570400" y="328247"/>
                  </a:lnTo>
                  <a:lnTo>
                    <a:pt x="5570400" y="551227"/>
                  </a:lnTo>
                  <a:lnTo>
                    <a:pt x="5535111" y="551227"/>
                  </a:lnTo>
                  <a:lnTo>
                    <a:pt x="5535111" y="371444"/>
                  </a:lnTo>
                  <a:cubicBezTo>
                    <a:pt x="5528722" y="376007"/>
                    <a:pt x="5521852" y="379885"/>
                    <a:pt x="5514501" y="383079"/>
                  </a:cubicBezTo>
                  <a:cubicBezTo>
                    <a:pt x="5507149" y="386274"/>
                    <a:pt x="5498759" y="389087"/>
                    <a:pt x="5489329" y="391521"/>
                  </a:cubicBezTo>
                  <a:lnTo>
                    <a:pt x="5489329" y="361405"/>
                  </a:lnTo>
                  <a:cubicBezTo>
                    <a:pt x="5495209" y="359479"/>
                    <a:pt x="5500887" y="357450"/>
                    <a:pt x="5506363" y="355321"/>
                  </a:cubicBezTo>
                  <a:cubicBezTo>
                    <a:pt x="5511839" y="353192"/>
                    <a:pt x="5517238" y="350808"/>
                    <a:pt x="5522562" y="348172"/>
                  </a:cubicBezTo>
                  <a:cubicBezTo>
                    <a:pt x="5527885" y="345536"/>
                    <a:pt x="5533260" y="342595"/>
                    <a:pt x="5538684" y="339350"/>
                  </a:cubicBezTo>
                  <a:cubicBezTo>
                    <a:pt x="5544110" y="336106"/>
                    <a:pt x="5549712" y="332404"/>
                    <a:pt x="5555491" y="328247"/>
                  </a:cubicBezTo>
                  <a:close/>
                  <a:moveTo>
                    <a:pt x="5257777" y="328247"/>
                  </a:moveTo>
                  <a:lnTo>
                    <a:pt x="5272684" y="328247"/>
                  </a:lnTo>
                  <a:lnTo>
                    <a:pt x="5272684" y="551227"/>
                  </a:lnTo>
                  <a:lnTo>
                    <a:pt x="5237397" y="551227"/>
                  </a:lnTo>
                  <a:lnTo>
                    <a:pt x="5237397" y="371444"/>
                  </a:lnTo>
                  <a:cubicBezTo>
                    <a:pt x="5231010" y="376007"/>
                    <a:pt x="5224139" y="379885"/>
                    <a:pt x="5216786" y="383079"/>
                  </a:cubicBezTo>
                  <a:cubicBezTo>
                    <a:pt x="5209436" y="386274"/>
                    <a:pt x="5201044" y="389087"/>
                    <a:pt x="5191614" y="391521"/>
                  </a:cubicBezTo>
                  <a:lnTo>
                    <a:pt x="5191614" y="361405"/>
                  </a:lnTo>
                  <a:cubicBezTo>
                    <a:pt x="5197496" y="359479"/>
                    <a:pt x="5203174" y="357450"/>
                    <a:pt x="5208650" y="355321"/>
                  </a:cubicBezTo>
                  <a:cubicBezTo>
                    <a:pt x="5214125" y="353192"/>
                    <a:pt x="5219525" y="350808"/>
                    <a:pt x="5224848" y="348172"/>
                  </a:cubicBezTo>
                  <a:cubicBezTo>
                    <a:pt x="5230172" y="345536"/>
                    <a:pt x="5235547" y="342595"/>
                    <a:pt x="5240970" y="339350"/>
                  </a:cubicBezTo>
                  <a:cubicBezTo>
                    <a:pt x="5246396" y="336106"/>
                    <a:pt x="5251999" y="332404"/>
                    <a:pt x="5257777" y="328247"/>
                  </a:cubicBezTo>
                  <a:close/>
                  <a:moveTo>
                    <a:pt x="4883032" y="328247"/>
                  </a:moveTo>
                  <a:lnTo>
                    <a:pt x="4897939" y="328247"/>
                  </a:lnTo>
                  <a:lnTo>
                    <a:pt x="4897939" y="551227"/>
                  </a:lnTo>
                  <a:lnTo>
                    <a:pt x="4862651" y="551227"/>
                  </a:lnTo>
                  <a:lnTo>
                    <a:pt x="4862651" y="371444"/>
                  </a:lnTo>
                  <a:cubicBezTo>
                    <a:pt x="4856263" y="376007"/>
                    <a:pt x="4849393" y="379885"/>
                    <a:pt x="4842041" y="383079"/>
                  </a:cubicBezTo>
                  <a:cubicBezTo>
                    <a:pt x="4834690" y="386274"/>
                    <a:pt x="4826299" y="389087"/>
                    <a:pt x="4816869" y="391521"/>
                  </a:cubicBezTo>
                  <a:lnTo>
                    <a:pt x="4816869" y="361405"/>
                  </a:lnTo>
                  <a:cubicBezTo>
                    <a:pt x="4822750" y="359479"/>
                    <a:pt x="4828428" y="357450"/>
                    <a:pt x="4833904" y="355321"/>
                  </a:cubicBezTo>
                  <a:cubicBezTo>
                    <a:pt x="4839380" y="353192"/>
                    <a:pt x="4844779" y="350808"/>
                    <a:pt x="4850103" y="348172"/>
                  </a:cubicBezTo>
                  <a:cubicBezTo>
                    <a:pt x="4855426" y="345536"/>
                    <a:pt x="4860801" y="342595"/>
                    <a:pt x="4866225" y="339350"/>
                  </a:cubicBezTo>
                  <a:cubicBezTo>
                    <a:pt x="4871651" y="336106"/>
                    <a:pt x="4877253" y="332404"/>
                    <a:pt x="4883032" y="328247"/>
                  </a:cubicBezTo>
                  <a:close/>
                  <a:moveTo>
                    <a:pt x="4739424" y="328247"/>
                  </a:moveTo>
                  <a:lnTo>
                    <a:pt x="4754331" y="328247"/>
                  </a:lnTo>
                  <a:lnTo>
                    <a:pt x="4754331" y="551227"/>
                  </a:lnTo>
                  <a:lnTo>
                    <a:pt x="4719043" y="551227"/>
                  </a:lnTo>
                  <a:lnTo>
                    <a:pt x="4719043" y="371444"/>
                  </a:lnTo>
                  <a:cubicBezTo>
                    <a:pt x="4712655" y="376007"/>
                    <a:pt x="4705785" y="379885"/>
                    <a:pt x="4698434" y="383079"/>
                  </a:cubicBezTo>
                  <a:cubicBezTo>
                    <a:pt x="4691082" y="386274"/>
                    <a:pt x="4682691" y="389087"/>
                    <a:pt x="4673261" y="391521"/>
                  </a:cubicBezTo>
                  <a:lnTo>
                    <a:pt x="4673261" y="361405"/>
                  </a:lnTo>
                  <a:cubicBezTo>
                    <a:pt x="4679142" y="359479"/>
                    <a:pt x="4684820" y="357450"/>
                    <a:pt x="4690296" y="355321"/>
                  </a:cubicBezTo>
                  <a:cubicBezTo>
                    <a:pt x="4695772" y="353192"/>
                    <a:pt x="4701171" y="350808"/>
                    <a:pt x="4706496" y="348172"/>
                  </a:cubicBezTo>
                  <a:cubicBezTo>
                    <a:pt x="4711818" y="345536"/>
                    <a:pt x="4717194" y="342595"/>
                    <a:pt x="4722617" y="339350"/>
                  </a:cubicBezTo>
                  <a:cubicBezTo>
                    <a:pt x="4728045" y="336106"/>
                    <a:pt x="4733645" y="332404"/>
                    <a:pt x="4739424" y="328247"/>
                  </a:cubicBezTo>
                  <a:close/>
                  <a:moveTo>
                    <a:pt x="4595816" y="328247"/>
                  </a:moveTo>
                  <a:lnTo>
                    <a:pt x="4610723" y="328247"/>
                  </a:lnTo>
                  <a:lnTo>
                    <a:pt x="4610723" y="551227"/>
                  </a:lnTo>
                  <a:lnTo>
                    <a:pt x="4575435" y="551227"/>
                  </a:lnTo>
                  <a:lnTo>
                    <a:pt x="4575435" y="371444"/>
                  </a:lnTo>
                  <a:cubicBezTo>
                    <a:pt x="4569047" y="376007"/>
                    <a:pt x="4562177" y="379885"/>
                    <a:pt x="4554826" y="383079"/>
                  </a:cubicBezTo>
                  <a:cubicBezTo>
                    <a:pt x="4547474" y="386274"/>
                    <a:pt x="4539083" y="389087"/>
                    <a:pt x="4529653" y="391521"/>
                  </a:cubicBezTo>
                  <a:lnTo>
                    <a:pt x="4529653" y="361405"/>
                  </a:lnTo>
                  <a:cubicBezTo>
                    <a:pt x="4535534" y="359479"/>
                    <a:pt x="4541212" y="357450"/>
                    <a:pt x="4546689" y="355321"/>
                  </a:cubicBezTo>
                  <a:cubicBezTo>
                    <a:pt x="4552164" y="353192"/>
                    <a:pt x="4557563" y="350808"/>
                    <a:pt x="4562888" y="348172"/>
                  </a:cubicBezTo>
                  <a:cubicBezTo>
                    <a:pt x="4568211" y="345536"/>
                    <a:pt x="4573585" y="342595"/>
                    <a:pt x="4579010" y="339350"/>
                  </a:cubicBezTo>
                  <a:cubicBezTo>
                    <a:pt x="4584436" y="336106"/>
                    <a:pt x="4590037" y="332404"/>
                    <a:pt x="4595816" y="328247"/>
                  </a:cubicBezTo>
                  <a:close/>
                  <a:moveTo>
                    <a:pt x="4452209" y="328247"/>
                  </a:moveTo>
                  <a:lnTo>
                    <a:pt x="4467115" y="328247"/>
                  </a:lnTo>
                  <a:lnTo>
                    <a:pt x="4467115" y="551227"/>
                  </a:lnTo>
                  <a:lnTo>
                    <a:pt x="4431828" y="551227"/>
                  </a:lnTo>
                  <a:lnTo>
                    <a:pt x="4431828" y="371444"/>
                  </a:lnTo>
                  <a:cubicBezTo>
                    <a:pt x="4425440" y="376007"/>
                    <a:pt x="4418570" y="379885"/>
                    <a:pt x="4411218" y="383079"/>
                  </a:cubicBezTo>
                  <a:cubicBezTo>
                    <a:pt x="4403866" y="386274"/>
                    <a:pt x="4395475" y="389087"/>
                    <a:pt x="4386045" y="391521"/>
                  </a:cubicBezTo>
                  <a:lnTo>
                    <a:pt x="4386045" y="361405"/>
                  </a:lnTo>
                  <a:cubicBezTo>
                    <a:pt x="4391926" y="359479"/>
                    <a:pt x="4397604" y="357450"/>
                    <a:pt x="4403080" y="355321"/>
                  </a:cubicBezTo>
                  <a:cubicBezTo>
                    <a:pt x="4408557" y="353192"/>
                    <a:pt x="4413955" y="350808"/>
                    <a:pt x="4419280" y="348172"/>
                  </a:cubicBezTo>
                  <a:cubicBezTo>
                    <a:pt x="4424602" y="345536"/>
                    <a:pt x="4429977" y="342595"/>
                    <a:pt x="4435402" y="339350"/>
                  </a:cubicBezTo>
                  <a:cubicBezTo>
                    <a:pt x="4440828" y="336106"/>
                    <a:pt x="4446429" y="332404"/>
                    <a:pt x="4452209" y="328247"/>
                  </a:cubicBezTo>
                  <a:close/>
                  <a:moveTo>
                    <a:pt x="3712039" y="328247"/>
                  </a:moveTo>
                  <a:lnTo>
                    <a:pt x="3726944" y="328247"/>
                  </a:lnTo>
                  <a:lnTo>
                    <a:pt x="3726944" y="551227"/>
                  </a:lnTo>
                  <a:lnTo>
                    <a:pt x="3691657" y="551227"/>
                  </a:lnTo>
                  <a:lnTo>
                    <a:pt x="3691657" y="371444"/>
                  </a:lnTo>
                  <a:cubicBezTo>
                    <a:pt x="3685269" y="376007"/>
                    <a:pt x="3678400" y="379885"/>
                    <a:pt x="3671049" y="383079"/>
                  </a:cubicBezTo>
                  <a:cubicBezTo>
                    <a:pt x="3663697" y="386274"/>
                    <a:pt x="3655305" y="389087"/>
                    <a:pt x="3645875" y="391521"/>
                  </a:cubicBezTo>
                  <a:lnTo>
                    <a:pt x="3645875" y="361405"/>
                  </a:lnTo>
                  <a:cubicBezTo>
                    <a:pt x="3651756" y="359479"/>
                    <a:pt x="3657435" y="357450"/>
                    <a:pt x="3662911" y="355321"/>
                  </a:cubicBezTo>
                  <a:cubicBezTo>
                    <a:pt x="3668385" y="353192"/>
                    <a:pt x="3673785" y="350808"/>
                    <a:pt x="3679110" y="348172"/>
                  </a:cubicBezTo>
                  <a:cubicBezTo>
                    <a:pt x="3684434" y="345536"/>
                    <a:pt x="3689807" y="342595"/>
                    <a:pt x="3695232" y="339350"/>
                  </a:cubicBezTo>
                  <a:cubicBezTo>
                    <a:pt x="3700657" y="336106"/>
                    <a:pt x="3706260" y="332404"/>
                    <a:pt x="3712039" y="328247"/>
                  </a:cubicBezTo>
                  <a:close/>
                  <a:moveTo>
                    <a:pt x="3563183" y="328247"/>
                  </a:moveTo>
                  <a:lnTo>
                    <a:pt x="3578089" y="328247"/>
                  </a:lnTo>
                  <a:lnTo>
                    <a:pt x="3578089" y="551227"/>
                  </a:lnTo>
                  <a:lnTo>
                    <a:pt x="3542801" y="551227"/>
                  </a:lnTo>
                  <a:lnTo>
                    <a:pt x="3542801" y="371444"/>
                  </a:lnTo>
                  <a:cubicBezTo>
                    <a:pt x="3536412" y="376007"/>
                    <a:pt x="3529543" y="379885"/>
                    <a:pt x="3522192" y="383079"/>
                  </a:cubicBezTo>
                  <a:cubicBezTo>
                    <a:pt x="3514840" y="386274"/>
                    <a:pt x="3506449" y="389087"/>
                    <a:pt x="3497018" y="391521"/>
                  </a:cubicBezTo>
                  <a:lnTo>
                    <a:pt x="3497018" y="361405"/>
                  </a:lnTo>
                  <a:cubicBezTo>
                    <a:pt x="3502899" y="359479"/>
                    <a:pt x="3508579" y="357450"/>
                    <a:pt x="3514053" y="355321"/>
                  </a:cubicBezTo>
                  <a:cubicBezTo>
                    <a:pt x="3519530" y="353192"/>
                    <a:pt x="3524929" y="350808"/>
                    <a:pt x="3530252" y="348172"/>
                  </a:cubicBezTo>
                  <a:cubicBezTo>
                    <a:pt x="3535577" y="345536"/>
                    <a:pt x="3540951" y="342595"/>
                    <a:pt x="3546374" y="339350"/>
                  </a:cubicBezTo>
                  <a:cubicBezTo>
                    <a:pt x="3551801" y="336106"/>
                    <a:pt x="3557403" y="332404"/>
                    <a:pt x="3563183" y="328247"/>
                  </a:cubicBezTo>
                  <a:close/>
                  <a:moveTo>
                    <a:pt x="2758514" y="328247"/>
                  </a:moveTo>
                  <a:lnTo>
                    <a:pt x="2773420" y="328247"/>
                  </a:lnTo>
                  <a:lnTo>
                    <a:pt x="2773420" y="551227"/>
                  </a:lnTo>
                  <a:lnTo>
                    <a:pt x="2738133" y="551227"/>
                  </a:lnTo>
                  <a:lnTo>
                    <a:pt x="2738133" y="371444"/>
                  </a:lnTo>
                  <a:cubicBezTo>
                    <a:pt x="2731744" y="376007"/>
                    <a:pt x="2724874" y="379885"/>
                    <a:pt x="2717522" y="383079"/>
                  </a:cubicBezTo>
                  <a:cubicBezTo>
                    <a:pt x="2710171" y="386274"/>
                    <a:pt x="2701780" y="389087"/>
                    <a:pt x="2692349" y="391521"/>
                  </a:cubicBezTo>
                  <a:lnTo>
                    <a:pt x="2692349" y="361405"/>
                  </a:lnTo>
                  <a:cubicBezTo>
                    <a:pt x="2698232" y="359479"/>
                    <a:pt x="2703910" y="357450"/>
                    <a:pt x="2709386" y="355321"/>
                  </a:cubicBezTo>
                  <a:cubicBezTo>
                    <a:pt x="2714860" y="353192"/>
                    <a:pt x="2720261" y="350808"/>
                    <a:pt x="2725584" y="348172"/>
                  </a:cubicBezTo>
                  <a:cubicBezTo>
                    <a:pt x="2730908" y="345536"/>
                    <a:pt x="2736281" y="342595"/>
                    <a:pt x="2741707" y="339350"/>
                  </a:cubicBezTo>
                  <a:cubicBezTo>
                    <a:pt x="2747131" y="336106"/>
                    <a:pt x="2752733" y="332404"/>
                    <a:pt x="2758514" y="328247"/>
                  </a:cubicBezTo>
                  <a:close/>
                  <a:moveTo>
                    <a:pt x="2365755" y="328247"/>
                  </a:moveTo>
                  <a:lnTo>
                    <a:pt x="2380662" y="328247"/>
                  </a:lnTo>
                  <a:lnTo>
                    <a:pt x="2380662" y="551227"/>
                  </a:lnTo>
                  <a:lnTo>
                    <a:pt x="2345374" y="551227"/>
                  </a:lnTo>
                  <a:lnTo>
                    <a:pt x="2345374" y="371444"/>
                  </a:lnTo>
                  <a:cubicBezTo>
                    <a:pt x="2338985" y="376007"/>
                    <a:pt x="2332116" y="379885"/>
                    <a:pt x="2324763" y="383079"/>
                  </a:cubicBezTo>
                  <a:cubicBezTo>
                    <a:pt x="2317412" y="386274"/>
                    <a:pt x="2309021" y="389087"/>
                    <a:pt x="2299591" y="391521"/>
                  </a:cubicBezTo>
                  <a:lnTo>
                    <a:pt x="2299591" y="361405"/>
                  </a:lnTo>
                  <a:cubicBezTo>
                    <a:pt x="2305473" y="359479"/>
                    <a:pt x="2311150" y="357450"/>
                    <a:pt x="2316626" y="355321"/>
                  </a:cubicBezTo>
                  <a:cubicBezTo>
                    <a:pt x="2322102" y="353192"/>
                    <a:pt x="2327501" y="350808"/>
                    <a:pt x="2332825" y="348172"/>
                  </a:cubicBezTo>
                  <a:cubicBezTo>
                    <a:pt x="2338148" y="345536"/>
                    <a:pt x="2343522" y="342595"/>
                    <a:pt x="2348947" y="339350"/>
                  </a:cubicBezTo>
                  <a:cubicBezTo>
                    <a:pt x="2354373" y="336106"/>
                    <a:pt x="2359975" y="332404"/>
                    <a:pt x="2365755" y="328247"/>
                  </a:cubicBezTo>
                  <a:close/>
                  <a:moveTo>
                    <a:pt x="2222148" y="328247"/>
                  </a:moveTo>
                  <a:lnTo>
                    <a:pt x="2237054" y="328247"/>
                  </a:lnTo>
                  <a:lnTo>
                    <a:pt x="2237054" y="551227"/>
                  </a:lnTo>
                  <a:lnTo>
                    <a:pt x="2201765" y="551227"/>
                  </a:lnTo>
                  <a:lnTo>
                    <a:pt x="2201765" y="371444"/>
                  </a:lnTo>
                  <a:cubicBezTo>
                    <a:pt x="2195377" y="376007"/>
                    <a:pt x="2188507" y="379885"/>
                    <a:pt x="2181155" y="383079"/>
                  </a:cubicBezTo>
                  <a:cubicBezTo>
                    <a:pt x="2173805" y="386274"/>
                    <a:pt x="2165413" y="389087"/>
                    <a:pt x="2155983" y="391521"/>
                  </a:cubicBezTo>
                  <a:lnTo>
                    <a:pt x="2155983" y="361405"/>
                  </a:lnTo>
                  <a:cubicBezTo>
                    <a:pt x="2161864" y="359479"/>
                    <a:pt x="2167543" y="357450"/>
                    <a:pt x="2173018" y="355321"/>
                  </a:cubicBezTo>
                  <a:cubicBezTo>
                    <a:pt x="2178494" y="353192"/>
                    <a:pt x="2183893" y="350808"/>
                    <a:pt x="2189217" y="348172"/>
                  </a:cubicBezTo>
                  <a:cubicBezTo>
                    <a:pt x="2194540" y="345536"/>
                    <a:pt x="2199914" y="342595"/>
                    <a:pt x="2205340" y="339350"/>
                  </a:cubicBezTo>
                  <a:cubicBezTo>
                    <a:pt x="2210765" y="336106"/>
                    <a:pt x="2216365" y="332404"/>
                    <a:pt x="2222148" y="328247"/>
                  </a:cubicBezTo>
                  <a:close/>
                  <a:moveTo>
                    <a:pt x="2078538" y="328247"/>
                  </a:moveTo>
                  <a:lnTo>
                    <a:pt x="2093445" y="328247"/>
                  </a:lnTo>
                  <a:lnTo>
                    <a:pt x="2093445" y="551227"/>
                  </a:lnTo>
                  <a:lnTo>
                    <a:pt x="2058157" y="551227"/>
                  </a:lnTo>
                  <a:lnTo>
                    <a:pt x="2058157" y="371444"/>
                  </a:lnTo>
                  <a:cubicBezTo>
                    <a:pt x="2051769" y="376007"/>
                    <a:pt x="2044900" y="379885"/>
                    <a:pt x="2037547" y="383079"/>
                  </a:cubicBezTo>
                  <a:cubicBezTo>
                    <a:pt x="2030197" y="386274"/>
                    <a:pt x="2021805" y="389087"/>
                    <a:pt x="2012375" y="391521"/>
                  </a:cubicBezTo>
                  <a:lnTo>
                    <a:pt x="2012375" y="361405"/>
                  </a:lnTo>
                  <a:cubicBezTo>
                    <a:pt x="2018256" y="359479"/>
                    <a:pt x="2023935" y="357450"/>
                    <a:pt x="2029410" y="355321"/>
                  </a:cubicBezTo>
                  <a:cubicBezTo>
                    <a:pt x="2034886" y="353192"/>
                    <a:pt x="2040286" y="350808"/>
                    <a:pt x="2045609" y="348172"/>
                  </a:cubicBezTo>
                  <a:cubicBezTo>
                    <a:pt x="2050933" y="345536"/>
                    <a:pt x="2056308" y="342595"/>
                    <a:pt x="2061730" y="339350"/>
                  </a:cubicBezTo>
                  <a:cubicBezTo>
                    <a:pt x="2067157" y="336106"/>
                    <a:pt x="2072759" y="332404"/>
                    <a:pt x="2078538" y="328247"/>
                  </a:cubicBezTo>
                  <a:close/>
                  <a:moveTo>
                    <a:pt x="1934932" y="328247"/>
                  </a:moveTo>
                  <a:lnTo>
                    <a:pt x="1949837" y="328247"/>
                  </a:lnTo>
                  <a:lnTo>
                    <a:pt x="1949837" y="551227"/>
                  </a:lnTo>
                  <a:lnTo>
                    <a:pt x="1914550" y="551227"/>
                  </a:lnTo>
                  <a:lnTo>
                    <a:pt x="1914550" y="371444"/>
                  </a:lnTo>
                  <a:cubicBezTo>
                    <a:pt x="1908163" y="376007"/>
                    <a:pt x="1901291" y="379885"/>
                    <a:pt x="1893940" y="383079"/>
                  </a:cubicBezTo>
                  <a:cubicBezTo>
                    <a:pt x="1886589" y="386274"/>
                    <a:pt x="1878199" y="389087"/>
                    <a:pt x="1868767" y="391521"/>
                  </a:cubicBezTo>
                  <a:lnTo>
                    <a:pt x="1868767" y="361405"/>
                  </a:lnTo>
                  <a:cubicBezTo>
                    <a:pt x="1874649" y="359479"/>
                    <a:pt x="1880327" y="357450"/>
                    <a:pt x="1885803" y="355321"/>
                  </a:cubicBezTo>
                  <a:cubicBezTo>
                    <a:pt x="1891278" y="353192"/>
                    <a:pt x="1896678" y="350808"/>
                    <a:pt x="1902003" y="348172"/>
                  </a:cubicBezTo>
                  <a:cubicBezTo>
                    <a:pt x="1907327" y="345536"/>
                    <a:pt x="1912700" y="342595"/>
                    <a:pt x="1918124" y="339350"/>
                  </a:cubicBezTo>
                  <a:cubicBezTo>
                    <a:pt x="1923551" y="336106"/>
                    <a:pt x="1929151" y="332404"/>
                    <a:pt x="1934932" y="328247"/>
                  </a:cubicBezTo>
                  <a:close/>
                  <a:moveTo>
                    <a:pt x="1791323" y="328247"/>
                  </a:moveTo>
                  <a:lnTo>
                    <a:pt x="1806229" y="328247"/>
                  </a:lnTo>
                  <a:lnTo>
                    <a:pt x="1806229" y="551227"/>
                  </a:lnTo>
                  <a:lnTo>
                    <a:pt x="1770942" y="551227"/>
                  </a:lnTo>
                  <a:lnTo>
                    <a:pt x="1770942" y="371444"/>
                  </a:lnTo>
                  <a:cubicBezTo>
                    <a:pt x="1764555" y="376007"/>
                    <a:pt x="1757684" y="379885"/>
                    <a:pt x="1750332" y="383079"/>
                  </a:cubicBezTo>
                  <a:cubicBezTo>
                    <a:pt x="1742981" y="386274"/>
                    <a:pt x="1734591" y="389087"/>
                    <a:pt x="1725159" y="391521"/>
                  </a:cubicBezTo>
                  <a:lnTo>
                    <a:pt x="1725159" y="361405"/>
                  </a:lnTo>
                  <a:cubicBezTo>
                    <a:pt x="1731041" y="359479"/>
                    <a:pt x="1736719" y="357450"/>
                    <a:pt x="1742195" y="355321"/>
                  </a:cubicBezTo>
                  <a:cubicBezTo>
                    <a:pt x="1747671" y="353192"/>
                    <a:pt x="1753070" y="350808"/>
                    <a:pt x="1758394" y="348172"/>
                  </a:cubicBezTo>
                  <a:cubicBezTo>
                    <a:pt x="1763717" y="345536"/>
                    <a:pt x="1769091" y="342595"/>
                    <a:pt x="1774516" y="339350"/>
                  </a:cubicBezTo>
                  <a:cubicBezTo>
                    <a:pt x="1779941" y="336106"/>
                    <a:pt x="1785543" y="332404"/>
                    <a:pt x="1791323" y="328247"/>
                  </a:cubicBezTo>
                  <a:close/>
                  <a:moveTo>
                    <a:pt x="1443625" y="328247"/>
                  </a:moveTo>
                  <a:lnTo>
                    <a:pt x="1458532" y="328247"/>
                  </a:lnTo>
                  <a:lnTo>
                    <a:pt x="1458532" y="551227"/>
                  </a:lnTo>
                  <a:lnTo>
                    <a:pt x="1423244" y="551227"/>
                  </a:lnTo>
                  <a:lnTo>
                    <a:pt x="1423244" y="371444"/>
                  </a:lnTo>
                  <a:cubicBezTo>
                    <a:pt x="1416856" y="376007"/>
                    <a:pt x="1409986" y="379885"/>
                    <a:pt x="1402634" y="383079"/>
                  </a:cubicBezTo>
                  <a:cubicBezTo>
                    <a:pt x="1395284" y="386274"/>
                    <a:pt x="1386892" y="389087"/>
                    <a:pt x="1377462" y="391521"/>
                  </a:cubicBezTo>
                  <a:lnTo>
                    <a:pt x="1377462" y="361405"/>
                  </a:lnTo>
                  <a:cubicBezTo>
                    <a:pt x="1383343" y="359479"/>
                    <a:pt x="1389022" y="357450"/>
                    <a:pt x="1394497" y="355321"/>
                  </a:cubicBezTo>
                  <a:cubicBezTo>
                    <a:pt x="1399971" y="353192"/>
                    <a:pt x="1405371" y="350808"/>
                    <a:pt x="1410696" y="348172"/>
                  </a:cubicBezTo>
                  <a:cubicBezTo>
                    <a:pt x="1416019" y="345536"/>
                    <a:pt x="1421393" y="342595"/>
                    <a:pt x="1426818" y="339350"/>
                  </a:cubicBezTo>
                  <a:cubicBezTo>
                    <a:pt x="1432244" y="336106"/>
                    <a:pt x="1437846" y="332404"/>
                    <a:pt x="1443625" y="328247"/>
                  </a:cubicBezTo>
                  <a:close/>
                  <a:moveTo>
                    <a:pt x="1145912" y="328247"/>
                  </a:moveTo>
                  <a:lnTo>
                    <a:pt x="1160818" y="328247"/>
                  </a:lnTo>
                  <a:lnTo>
                    <a:pt x="1160818" y="551227"/>
                  </a:lnTo>
                  <a:lnTo>
                    <a:pt x="1125531" y="551227"/>
                  </a:lnTo>
                  <a:lnTo>
                    <a:pt x="1125531" y="371444"/>
                  </a:lnTo>
                  <a:cubicBezTo>
                    <a:pt x="1119142" y="376007"/>
                    <a:pt x="1112273" y="379885"/>
                    <a:pt x="1104921" y="383079"/>
                  </a:cubicBezTo>
                  <a:cubicBezTo>
                    <a:pt x="1097569" y="386274"/>
                    <a:pt x="1089178" y="389087"/>
                    <a:pt x="1079749" y="391521"/>
                  </a:cubicBezTo>
                  <a:lnTo>
                    <a:pt x="1079749" y="361405"/>
                  </a:lnTo>
                  <a:cubicBezTo>
                    <a:pt x="1085630" y="359479"/>
                    <a:pt x="1091308" y="357450"/>
                    <a:pt x="1096784" y="355321"/>
                  </a:cubicBezTo>
                  <a:cubicBezTo>
                    <a:pt x="1102259" y="353192"/>
                    <a:pt x="1107659" y="350808"/>
                    <a:pt x="1112982" y="348172"/>
                  </a:cubicBezTo>
                  <a:cubicBezTo>
                    <a:pt x="1118306" y="345536"/>
                    <a:pt x="1123680" y="342595"/>
                    <a:pt x="1129105" y="339350"/>
                  </a:cubicBezTo>
                  <a:cubicBezTo>
                    <a:pt x="1134531" y="336106"/>
                    <a:pt x="1140133" y="332404"/>
                    <a:pt x="1145912" y="328247"/>
                  </a:cubicBezTo>
                  <a:close/>
                  <a:moveTo>
                    <a:pt x="934793" y="328247"/>
                  </a:moveTo>
                  <a:cubicBezTo>
                    <a:pt x="982237" y="328247"/>
                    <a:pt x="1005960" y="365110"/>
                    <a:pt x="1005960" y="438834"/>
                  </a:cubicBezTo>
                  <a:cubicBezTo>
                    <a:pt x="1005960" y="475346"/>
                    <a:pt x="999265" y="503206"/>
                    <a:pt x="985874" y="522414"/>
                  </a:cubicBezTo>
                  <a:cubicBezTo>
                    <a:pt x="972483" y="541622"/>
                    <a:pt x="953751" y="551227"/>
                    <a:pt x="929678" y="551227"/>
                  </a:cubicBezTo>
                  <a:cubicBezTo>
                    <a:pt x="907209" y="551227"/>
                    <a:pt x="889681" y="542049"/>
                    <a:pt x="877091" y="523693"/>
                  </a:cubicBezTo>
                  <a:cubicBezTo>
                    <a:pt x="864504" y="505337"/>
                    <a:pt x="858210" y="478806"/>
                    <a:pt x="858210" y="444101"/>
                  </a:cubicBezTo>
                  <a:cubicBezTo>
                    <a:pt x="858210" y="405984"/>
                    <a:pt x="864780" y="377146"/>
                    <a:pt x="877920" y="357586"/>
                  </a:cubicBezTo>
                  <a:cubicBezTo>
                    <a:pt x="891060" y="338027"/>
                    <a:pt x="910018" y="328247"/>
                    <a:pt x="934793" y="328247"/>
                  </a:cubicBezTo>
                  <a:close/>
                  <a:moveTo>
                    <a:pt x="718517" y="328247"/>
                  </a:moveTo>
                  <a:cubicBezTo>
                    <a:pt x="765962" y="328247"/>
                    <a:pt x="789684" y="365110"/>
                    <a:pt x="789684" y="438834"/>
                  </a:cubicBezTo>
                  <a:cubicBezTo>
                    <a:pt x="789684" y="475346"/>
                    <a:pt x="782988" y="503206"/>
                    <a:pt x="769597" y="522414"/>
                  </a:cubicBezTo>
                  <a:cubicBezTo>
                    <a:pt x="756207" y="541622"/>
                    <a:pt x="737474" y="551227"/>
                    <a:pt x="713402" y="551227"/>
                  </a:cubicBezTo>
                  <a:cubicBezTo>
                    <a:pt x="690932" y="551227"/>
                    <a:pt x="673405" y="542049"/>
                    <a:pt x="660816" y="523693"/>
                  </a:cubicBezTo>
                  <a:cubicBezTo>
                    <a:pt x="648228" y="505337"/>
                    <a:pt x="641934" y="478806"/>
                    <a:pt x="641934" y="444101"/>
                  </a:cubicBezTo>
                  <a:cubicBezTo>
                    <a:pt x="641934" y="405984"/>
                    <a:pt x="648503" y="377146"/>
                    <a:pt x="661644" y="357586"/>
                  </a:cubicBezTo>
                  <a:cubicBezTo>
                    <a:pt x="674784" y="338027"/>
                    <a:pt x="693742" y="328247"/>
                    <a:pt x="718517" y="328247"/>
                  </a:cubicBezTo>
                  <a:close/>
                  <a:moveTo>
                    <a:pt x="570384" y="328247"/>
                  </a:moveTo>
                  <a:lnTo>
                    <a:pt x="585291" y="328247"/>
                  </a:lnTo>
                  <a:lnTo>
                    <a:pt x="585291" y="551227"/>
                  </a:lnTo>
                  <a:lnTo>
                    <a:pt x="550003" y="551227"/>
                  </a:lnTo>
                  <a:lnTo>
                    <a:pt x="550003" y="371444"/>
                  </a:lnTo>
                  <a:cubicBezTo>
                    <a:pt x="543615" y="376007"/>
                    <a:pt x="536745" y="379885"/>
                    <a:pt x="529393" y="383079"/>
                  </a:cubicBezTo>
                  <a:cubicBezTo>
                    <a:pt x="522042" y="386274"/>
                    <a:pt x="513651" y="389087"/>
                    <a:pt x="504221" y="391521"/>
                  </a:cubicBezTo>
                  <a:lnTo>
                    <a:pt x="504221" y="361405"/>
                  </a:lnTo>
                  <a:cubicBezTo>
                    <a:pt x="510102" y="359479"/>
                    <a:pt x="515781" y="357450"/>
                    <a:pt x="521256" y="355321"/>
                  </a:cubicBezTo>
                  <a:cubicBezTo>
                    <a:pt x="526733" y="353192"/>
                    <a:pt x="532131" y="350808"/>
                    <a:pt x="537455" y="348172"/>
                  </a:cubicBezTo>
                  <a:cubicBezTo>
                    <a:pt x="542778" y="345536"/>
                    <a:pt x="548153" y="342595"/>
                    <a:pt x="553578" y="339350"/>
                  </a:cubicBezTo>
                  <a:cubicBezTo>
                    <a:pt x="559002" y="336106"/>
                    <a:pt x="564605" y="332404"/>
                    <a:pt x="570384" y="328247"/>
                  </a:cubicBezTo>
                  <a:close/>
                  <a:moveTo>
                    <a:pt x="272671" y="328247"/>
                  </a:moveTo>
                  <a:lnTo>
                    <a:pt x="287576" y="328247"/>
                  </a:lnTo>
                  <a:lnTo>
                    <a:pt x="287576" y="551227"/>
                  </a:lnTo>
                  <a:lnTo>
                    <a:pt x="252289" y="551227"/>
                  </a:lnTo>
                  <a:lnTo>
                    <a:pt x="252289" y="371444"/>
                  </a:lnTo>
                  <a:cubicBezTo>
                    <a:pt x="245901" y="376007"/>
                    <a:pt x="239031" y="379885"/>
                    <a:pt x="231681" y="383079"/>
                  </a:cubicBezTo>
                  <a:cubicBezTo>
                    <a:pt x="224328" y="386274"/>
                    <a:pt x="215938" y="389087"/>
                    <a:pt x="206507" y="391521"/>
                  </a:cubicBezTo>
                  <a:lnTo>
                    <a:pt x="206507" y="361405"/>
                  </a:lnTo>
                  <a:cubicBezTo>
                    <a:pt x="212388" y="359479"/>
                    <a:pt x="218067" y="357450"/>
                    <a:pt x="223541" y="355321"/>
                  </a:cubicBezTo>
                  <a:cubicBezTo>
                    <a:pt x="229018" y="353192"/>
                    <a:pt x="234418" y="350808"/>
                    <a:pt x="239740" y="348172"/>
                  </a:cubicBezTo>
                  <a:cubicBezTo>
                    <a:pt x="245065" y="345536"/>
                    <a:pt x="250438" y="342595"/>
                    <a:pt x="255864" y="339350"/>
                  </a:cubicBezTo>
                  <a:cubicBezTo>
                    <a:pt x="261289" y="336106"/>
                    <a:pt x="266891" y="332404"/>
                    <a:pt x="272671" y="328247"/>
                  </a:cubicBezTo>
                  <a:close/>
                  <a:moveTo>
                    <a:pt x="96910" y="328247"/>
                  </a:moveTo>
                  <a:cubicBezTo>
                    <a:pt x="144355" y="328247"/>
                    <a:pt x="168078" y="365110"/>
                    <a:pt x="168078" y="438834"/>
                  </a:cubicBezTo>
                  <a:cubicBezTo>
                    <a:pt x="168078" y="475346"/>
                    <a:pt x="161382" y="503206"/>
                    <a:pt x="147992" y="522414"/>
                  </a:cubicBezTo>
                  <a:cubicBezTo>
                    <a:pt x="134601" y="541622"/>
                    <a:pt x="115869" y="551227"/>
                    <a:pt x="91795" y="551227"/>
                  </a:cubicBezTo>
                  <a:cubicBezTo>
                    <a:pt x="69327" y="551227"/>
                    <a:pt x="51798" y="542049"/>
                    <a:pt x="39210" y="523693"/>
                  </a:cubicBezTo>
                  <a:cubicBezTo>
                    <a:pt x="26621" y="505337"/>
                    <a:pt x="20327" y="478806"/>
                    <a:pt x="20327" y="444101"/>
                  </a:cubicBezTo>
                  <a:cubicBezTo>
                    <a:pt x="20327" y="405984"/>
                    <a:pt x="26897" y="377146"/>
                    <a:pt x="40037" y="357586"/>
                  </a:cubicBezTo>
                  <a:cubicBezTo>
                    <a:pt x="53178" y="338027"/>
                    <a:pt x="72135" y="328247"/>
                    <a:pt x="96910" y="328247"/>
                  </a:cubicBezTo>
                  <a:close/>
                  <a:moveTo>
                    <a:pt x="11909636" y="27835"/>
                  </a:moveTo>
                  <a:cubicBezTo>
                    <a:pt x="11883456" y="27835"/>
                    <a:pt x="11870366" y="56673"/>
                    <a:pt x="11870366" y="114349"/>
                  </a:cubicBezTo>
                  <a:cubicBezTo>
                    <a:pt x="11870366" y="168313"/>
                    <a:pt x="11883205" y="195295"/>
                    <a:pt x="11908884" y="195295"/>
                  </a:cubicBezTo>
                  <a:cubicBezTo>
                    <a:pt x="11934160" y="195295"/>
                    <a:pt x="11946799" y="167862"/>
                    <a:pt x="11946799" y="112995"/>
                  </a:cubicBezTo>
                  <a:cubicBezTo>
                    <a:pt x="11946799" y="56221"/>
                    <a:pt x="11934411" y="27835"/>
                    <a:pt x="11909636" y="27835"/>
                  </a:cubicBezTo>
                  <a:close/>
                  <a:moveTo>
                    <a:pt x="11203074" y="27835"/>
                  </a:moveTo>
                  <a:cubicBezTo>
                    <a:pt x="11176894" y="27835"/>
                    <a:pt x="11163804" y="56673"/>
                    <a:pt x="11163804" y="114349"/>
                  </a:cubicBezTo>
                  <a:cubicBezTo>
                    <a:pt x="11163804" y="168313"/>
                    <a:pt x="11176643" y="195295"/>
                    <a:pt x="11202322" y="195295"/>
                  </a:cubicBezTo>
                  <a:cubicBezTo>
                    <a:pt x="11227598" y="195295"/>
                    <a:pt x="11240237" y="167862"/>
                    <a:pt x="11240237" y="112995"/>
                  </a:cubicBezTo>
                  <a:cubicBezTo>
                    <a:pt x="11240237" y="56221"/>
                    <a:pt x="11227849" y="27835"/>
                    <a:pt x="11203074" y="27835"/>
                  </a:cubicBezTo>
                  <a:close/>
                  <a:moveTo>
                    <a:pt x="9955555" y="27835"/>
                  </a:moveTo>
                  <a:cubicBezTo>
                    <a:pt x="9929375" y="27835"/>
                    <a:pt x="9916285" y="56673"/>
                    <a:pt x="9916285" y="114349"/>
                  </a:cubicBezTo>
                  <a:cubicBezTo>
                    <a:pt x="9916285" y="168313"/>
                    <a:pt x="9929124" y="195295"/>
                    <a:pt x="9954803" y="195295"/>
                  </a:cubicBezTo>
                  <a:cubicBezTo>
                    <a:pt x="9980079" y="195295"/>
                    <a:pt x="9992718" y="167862"/>
                    <a:pt x="9992718" y="112995"/>
                  </a:cubicBezTo>
                  <a:cubicBezTo>
                    <a:pt x="9992718" y="56221"/>
                    <a:pt x="9980330" y="27835"/>
                    <a:pt x="9955555" y="27835"/>
                  </a:cubicBezTo>
                  <a:close/>
                  <a:moveTo>
                    <a:pt x="9736111" y="27835"/>
                  </a:moveTo>
                  <a:cubicBezTo>
                    <a:pt x="9709931" y="27835"/>
                    <a:pt x="9696841" y="56673"/>
                    <a:pt x="9696841" y="114349"/>
                  </a:cubicBezTo>
                  <a:cubicBezTo>
                    <a:pt x="9696841" y="168313"/>
                    <a:pt x="9709680" y="195295"/>
                    <a:pt x="9735359" y="195295"/>
                  </a:cubicBezTo>
                  <a:cubicBezTo>
                    <a:pt x="9760635" y="195295"/>
                    <a:pt x="9773274" y="167862"/>
                    <a:pt x="9773274" y="112995"/>
                  </a:cubicBezTo>
                  <a:cubicBezTo>
                    <a:pt x="9773274" y="56221"/>
                    <a:pt x="9760886" y="27835"/>
                    <a:pt x="9736111" y="27835"/>
                  </a:cubicBezTo>
                  <a:close/>
                  <a:moveTo>
                    <a:pt x="6381466" y="27835"/>
                  </a:moveTo>
                  <a:cubicBezTo>
                    <a:pt x="6355286" y="27835"/>
                    <a:pt x="6342196" y="56673"/>
                    <a:pt x="6342196" y="114349"/>
                  </a:cubicBezTo>
                  <a:cubicBezTo>
                    <a:pt x="6342196" y="168313"/>
                    <a:pt x="6355035" y="195295"/>
                    <a:pt x="6380714" y="195295"/>
                  </a:cubicBezTo>
                  <a:cubicBezTo>
                    <a:pt x="6405991" y="195295"/>
                    <a:pt x="6418629" y="167862"/>
                    <a:pt x="6418629" y="112995"/>
                  </a:cubicBezTo>
                  <a:cubicBezTo>
                    <a:pt x="6418629" y="56221"/>
                    <a:pt x="6406241" y="27835"/>
                    <a:pt x="6381466" y="27835"/>
                  </a:cubicBezTo>
                  <a:close/>
                  <a:moveTo>
                    <a:pt x="5846380" y="27835"/>
                  </a:moveTo>
                  <a:cubicBezTo>
                    <a:pt x="5820200" y="27835"/>
                    <a:pt x="5807110" y="56673"/>
                    <a:pt x="5807110" y="114349"/>
                  </a:cubicBezTo>
                  <a:cubicBezTo>
                    <a:pt x="5807110" y="168313"/>
                    <a:pt x="5819949" y="195295"/>
                    <a:pt x="5845628" y="195295"/>
                  </a:cubicBezTo>
                  <a:cubicBezTo>
                    <a:pt x="5870906" y="195295"/>
                    <a:pt x="5883543" y="167862"/>
                    <a:pt x="5883543" y="112995"/>
                  </a:cubicBezTo>
                  <a:cubicBezTo>
                    <a:pt x="5883543" y="56221"/>
                    <a:pt x="5871155" y="27835"/>
                    <a:pt x="5846380" y="27835"/>
                  </a:cubicBezTo>
                  <a:close/>
                  <a:moveTo>
                    <a:pt x="5148730" y="27835"/>
                  </a:moveTo>
                  <a:cubicBezTo>
                    <a:pt x="5122550" y="27835"/>
                    <a:pt x="5109460" y="56673"/>
                    <a:pt x="5109460" y="114349"/>
                  </a:cubicBezTo>
                  <a:cubicBezTo>
                    <a:pt x="5109460" y="168313"/>
                    <a:pt x="5122299" y="195295"/>
                    <a:pt x="5147978" y="195295"/>
                  </a:cubicBezTo>
                  <a:cubicBezTo>
                    <a:pt x="5173255" y="195295"/>
                    <a:pt x="5185893" y="167862"/>
                    <a:pt x="5185893" y="112995"/>
                  </a:cubicBezTo>
                  <a:cubicBezTo>
                    <a:pt x="5185893" y="56221"/>
                    <a:pt x="5173505" y="27835"/>
                    <a:pt x="5148730" y="27835"/>
                  </a:cubicBezTo>
                  <a:close/>
                  <a:moveTo>
                    <a:pt x="3896993" y="27835"/>
                  </a:moveTo>
                  <a:cubicBezTo>
                    <a:pt x="3870813" y="27835"/>
                    <a:pt x="3857723" y="56673"/>
                    <a:pt x="3857723" y="114349"/>
                  </a:cubicBezTo>
                  <a:cubicBezTo>
                    <a:pt x="3857723" y="168313"/>
                    <a:pt x="3870562" y="195295"/>
                    <a:pt x="3896240" y="195295"/>
                  </a:cubicBezTo>
                  <a:cubicBezTo>
                    <a:pt x="3921517" y="195295"/>
                    <a:pt x="3934156" y="167862"/>
                    <a:pt x="3934156" y="112995"/>
                  </a:cubicBezTo>
                  <a:cubicBezTo>
                    <a:pt x="3934156" y="56221"/>
                    <a:pt x="3921768" y="27835"/>
                    <a:pt x="3896993" y="27835"/>
                  </a:cubicBezTo>
                  <a:close/>
                  <a:moveTo>
                    <a:pt x="3672329" y="27835"/>
                  </a:moveTo>
                  <a:cubicBezTo>
                    <a:pt x="3646149" y="27835"/>
                    <a:pt x="3633059" y="56673"/>
                    <a:pt x="3633059" y="114349"/>
                  </a:cubicBezTo>
                  <a:cubicBezTo>
                    <a:pt x="3633059" y="168313"/>
                    <a:pt x="3645898" y="195295"/>
                    <a:pt x="3671576" y="195295"/>
                  </a:cubicBezTo>
                  <a:cubicBezTo>
                    <a:pt x="3696853" y="195295"/>
                    <a:pt x="3709492" y="167862"/>
                    <a:pt x="3709492" y="112995"/>
                  </a:cubicBezTo>
                  <a:cubicBezTo>
                    <a:pt x="3709492" y="56221"/>
                    <a:pt x="3697104" y="27835"/>
                    <a:pt x="3672329" y="27835"/>
                  </a:cubicBezTo>
                  <a:close/>
                  <a:moveTo>
                    <a:pt x="310214" y="27835"/>
                  </a:moveTo>
                  <a:cubicBezTo>
                    <a:pt x="284034" y="27835"/>
                    <a:pt x="270944" y="56673"/>
                    <a:pt x="270944" y="114349"/>
                  </a:cubicBezTo>
                  <a:cubicBezTo>
                    <a:pt x="270944" y="168313"/>
                    <a:pt x="283783" y="195295"/>
                    <a:pt x="309462" y="195295"/>
                  </a:cubicBezTo>
                  <a:cubicBezTo>
                    <a:pt x="334739" y="195295"/>
                    <a:pt x="347377" y="167862"/>
                    <a:pt x="347377" y="112995"/>
                  </a:cubicBezTo>
                  <a:cubicBezTo>
                    <a:pt x="347377" y="56221"/>
                    <a:pt x="334989" y="27835"/>
                    <a:pt x="310214" y="27835"/>
                  </a:cubicBezTo>
                  <a:close/>
                  <a:moveTo>
                    <a:pt x="12102965" y="0"/>
                  </a:moveTo>
                  <a:lnTo>
                    <a:pt x="12117871" y="0"/>
                  </a:lnTo>
                  <a:lnTo>
                    <a:pt x="12117871" y="222980"/>
                  </a:lnTo>
                  <a:lnTo>
                    <a:pt x="12082583" y="222980"/>
                  </a:lnTo>
                  <a:lnTo>
                    <a:pt x="12082583" y="43196"/>
                  </a:lnTo>
                  <a:cubicBezTo>
                    <a:pt x="12076195" y="47760"/>
                    <a:pt x="12069325" y="51638"/>
                    <a:pt x="12061974" y="54832"/>
                  </a:cubicBezTo>
                  <a:cubicBezTo>
                    <a:pt x="12054622" y="58027"/>
                    <a:pt x="12046231" y="60840"/>
                    <a:pt x="12036801" y="63274"/>
                  </a:cubicBezTo>
                  <a:lnTo>
                    <a:pt x="12036801" y="33158"/>
                  </a:lnTo>
                  <a:cubicBezTo>
                    <a:pt x="12042682" y="31232"/>
                    <a:pt x="12048361" y="29203"/>
                    <a:pt x="12053836" y="27074"/>
                  </a:cubicBezTo>
                  <a:cubicBezTo>
                    <a:pt x="12059312" y="24945"/>
                    <a:pt x="12064712" y="22561"/>
                    <a:pt x="12070035" y="19925"/>
                  </a:cubicBezTo>
                  <a:cubicBezTo>
                    <a:pt x="12075359" y="17289"/>
                    <a:pt x="12080733" y="14348"/>
                    <a:pt x="12086158" y="11103"/>
                  </a:cubicBezTo>
                  <a:cubicBezTo>
                    <a:pt x="12091583" y="7859"/>
                    <a:pt x="12097185" y="4157"/>
                    <a:pt x="12102965" y="0"/>
                  </a:cubicBezTo>
                  <a:close/>
                  <a:moveTo>
                    <a:pt x="11911291" y="0"/>
                  </a:moveTo>
                  <a:cubicBezTo>
                    <a:pt x="11958735" y="0"/>
                    <a:pt x="11982458" y="36862"/>
                    <a:pt x="11982458" y="110587"/>
                  </a:cubicBezTo>
                  <a:cubicBezTo>
                    <a:pt x="11982458" y="147099"/>
                    <a:pt x="11975762" y="174959"/>
                    <a:pt x="11962372" y="194167"/>
                  </a:cubicBezTo>
                  <a:cubicBezTo>
                    <a:pt x="11948981" y="213375"/>
                    <a:pt x="11930249" y="222980"/>
                    <a:pt x="11906175" y="222980"/>
                  </a:cubicBezTo>
                  <a:cubicBezTo>
                    <a:pt x="11883707" y="222980"/>
                    <a:pt x="11866178" y="213802"/>
                    <a:pt x="11853590" y="195446"/>
                  </a:cubicBezTo>
                  <a:cubicBezTo>
                    <a:pt x="11841001" y="177090"/>
                    <a:pt x="11834707" y="150559"/>
                    <a:pt x="11834707" y="115854"/>
                  </a:cubicBezTo>
                  <a:cubicBezTo>
                    <a:pt x="11834707" y="77737"/>
                    <a:pt x="11841277" y="48899"/>
                    <a:pt x="11854417" y="29339"/>
                  </a:cubicBezTo>
                  <a:cubicBezTo>
                    <a:pt x="11867558" y="9780"/>
                    <a:pt x="11886515" y="0"/>
                    <a:pt x="11911291" y="0"/>
                  </a:cubicBezTo>
                  <a:close/>
                  <a:moveTo>
                    <a:pt x="11204729" y="0"/>
                  </a:moveTo>
                  <a:cubicBezTo>
                    <a:pt x="11252173" y="0"/>
                    <a:pt x="11275896" y="36862"/>
                    <a:pt x="11275896" y="110587"/>
                  </a:cubicBezTo>
                  <a:cubicBezTo>
                    <a:pt x="11275896" y="147099"/>
                    <a:pt x="11269200" y="174959"/>
                    <a:pt x="11255810" y="194167"/>
                  </a:cubicBezTo>
                  <a:cubicBezTo>
                    <a:pt x="11242419" y="213375"/>
                    <a:pt x="11223687" y="222980"/>
                    <a:pt x="11199613" y="222980"/>
                  </a:cubicBezTo>
                  <a:cubicBezTo>
                    <a:pt x="11177145" y="222980"/>
                    <a:pt x="11159616" y="213802"/>
                    <a:pt x="11147028" y="195446"/>
                  </a:cubicBezTo>
                  <a:cubicBezTo>
                    <a:pt x="11134439" y="177090"/>
                    <a:pt x="11128145" y="150559"/>
                    <a:pt x="11128145" y="115854"/>
                  </a:cubicBezTo>
                  <a:cubicBezTo>
                    <a:pt x="11128145" y="77737"/>
                    <a:pt x="11134715" y="48899"/>
                    <a:pt x="11147855" y="29339"/>
                  </a:cubicBezTo>
                  <a:cubicBezTo>
                    <a:pt x="11160996" y="9780"/>
                    <a:pt x="11179953" y="0"/>
                    <a:pt x="11204729" y="0"/>
                  </a:cubicBezTo>
                  <a:close/>
                  <a:moveTo>
                    <a:pt x="10831011" y="0"/>
                  </a:moveTo>
                  <a:lnTo>
                    <a:pt x="10845917" y="0"/>
                  </a:lnTo>
                  <a:lnTo>
                    <a:pt x="10845917" y="222980"/>
                  </a:lnTo>
                  <a:lnTo>
                    <a:pt x="10810629" y="222980"/>
                  </a:lnTo>
                  <a:lnTo>
                    <a:pt x="10810629" y="43196"/>
                  </a:lnTo>
                  <a:cubicBezTo>
                    <a:pt x="10804241" y="47760"/>
                    <a:pt x="10797371" y="51638"/>
                    <a:pt x="10790020" y="54832"/>
                  </a:cubicBezTo>
                  <a:cubicBezTo>
                    <a:pt x="10782668" y="58027"/>
                    <a:pt x="10774277" y="60840"/>
                    <a:pt x="10764847" y="63274"/>
                  </a:cubicBezTo>
                  <a:lnTo>
                    <a:pt x="10764847" y="33158"/>
                  </a:lnTo>
                  <a:cubicBezTo>
                    <a:pt x="10770728" y="31232"/>
                    <a:pt x="10776407" y="29203"/>
                    <a:pt x="10781882" y="27074"/>
                  </a:cubicBezTo>
                  <a:cubicBezTo>
                    <a:pt x="10787358" y="24945"/>
                    <a:pt x="10792758" y="22561"/>
                    <a:pt x="10798081" y="19925"/>
                  </a:cubicBezTo>
                  <a:cubicBezTo>
                    <a:pt x="10803405" y="17289"/>
                    <a:pt x="10808779" y="14348"/>
                    <a:pt x="10814204" y="11103"/>
                  </a:cubicBezTo>
                  <a:cubicBezTo>
                    <a:pt x="10819629" y="7859"/>
                    <a:pt x="10825231" y="4157"/>
                    <a:pt x="10831011" y="0"/>
                  </a:cubicBezTo>
                  <a:close/>
                  <a:moveTo>
                    <a:pt x="10458803" y="0"/>
                  </a:moveTo>
                  <a:lnTo>
                    <a:pt x="10473709" y="0"/>
                  </a:lnTo>
                  <a:lnTo>
                    <a:pt x="10473709" y="222980"/>
                  </a:lnTo>
                  <a:lnTo>
                    <a:pt x="10438421" y="222980"/>
                  </a:lnTo>
                  <a:lnTo>
                    <a:pt x="10438421" y="43196"/>
                  </a:lnTo>
                  <a:cubicBezTo>
                    <a:pt x="10432033" y="47760"/>
                    <a:pt x="10425163" y="51638"/>
                    <a:pt x="10417812" y="54832"/>
                  </a:cubicBezTo>
                  <a:cubicBezTo>
                    <a:pt x="10410460" y="58027"/>
                    <a:pt x="10402069" y="60840"/>
                    <a:pt x="10392639" y="63274"/>
                  </a:cubicBezTo>
                  <a:lnTo>
                    <a:pt x="10392639" y="33158"/>
                  </a:lnTo>
                  <a:cubicBezTo>
                    <a:pt x="10398520" y="31232"/>
                    <a:pt x="10404199" y="29203"/>
                    <a:pt x="10409674" y="27074"/>
                  </a:cubicBezTo>
                  <a:cubicBezTo>
                    <a:pt x="10415150" y="24945"/>
                    <a:pt x="10420550" y="22561"/>
                    <a:pt x="10425873" y="19925"/>
                  </a:cubicBezTo>
                  <a:cubicBezTo>
                    <a:pt x="10431197" y="17289"/>
                    <a:pt x="10436571" y="14348"/>
                    <a:pt x="10441996" y="11103"/>
                  </a:cubicBezTo>
                  <a:cubicBezTo>
                    <a:pt x="10447421" y="7859"/>
                    <a:pt x="10453023" y="4157"/>
                    <a:pt x="10458803" y="0"/>
                  </a:cubicBezTo>
                  <a:close/>
                  <a:moveTo>
                    <a:pt x="10171587" y="0"/>
                  </a:moveTo>
                  <a:lnTo>
                    <a:pt x="10186493" y="0"/>
                  </a:lnTo>
                  <a:lnTo>
                    <a:pt x="10186493" y="222980"/>
                  </a:lnTo>
                  <a:lnTo>
                    <a:pt x="10151205" y="222980"/>
                  </a:lnTo>
                  <a:lnTo>
                    <a:pt x="10151205" y="43196"/>
                  </a:lnTo>
                  <a:cubicBezTo>
                    <a:pt x="10144817" y="47760"/>
                    <a:pt x="10137947" y="51638"/>
                    <a:pt x="10130596" y="54832"/>
                  </a:cubicBezTo>
                  <a:cubicBezTo>
                    <a:pt x="10123244" y="58027"/>
                    <a:pt x="10114853" y="60840"/>
                    <a:pt x="10105423" y="63274"/>
                  </a:cubicBezTo>
                  <a:lnTo>
                    <a:pt x="10105423" y="33158"/>
                  </a:lnTo>
                  <a:cubicBezTo>
                    <a:pt x="10111304" y="31232"/>
                    <a:pt x="10116983" y="29203"/>
                    <a:pt x="10122458" y="27074"/>
                  </a:cubicBezTo>
                  <a:cubicBezTo>
                    <a:pt x="10127934" y="24945"/>
                    <a:pt x="10133334" y="22561"/>
                    <a:pt x="10138657" y="19925"/>
                  </a:cubicBezTo>
                  <a:cubicBezTo>
                    <a:pt x="10143981" y="17289"/>
                    <a:pt x="10149355" y="14348"/>
                    <a:pt x="10154780" y="11103"/>
                  </a:cubicBezTo>
                  <a:cubicBezTo>
                    <a:pt x="10160205" y="7859"/>
                    <a:pt x="10165807" y="4157"/>
                    <a:pt x="10171587" y="0"/>
                  </a:cubicBezTo>
                  <a:close/>
                  <a:moveTo>
                    <a:pt x="9957210" y="0"/>
                  </a:moveTo>
                  <a:cubicBezTo>
                    <a:pt x="10004654" y="0"/>
                    <a:pt x="10028377" y="36862"/>
                    <a:pt x="10028377" y="110587"/>
                  </a:cubicBezTo>
                  <a:cubicBezTo>
                    <a:pt x="10028377" y="147099"/>
                    <a:pt x="10021681" y="174959"/>
                    <a:pt x="10008291" y="194167"/>
                  </a:cubicBezTo>
                  <a:cubicBezTo>
                    <a:pt x="9994900" y="213375"/>
                    <a:pt x="9976168" y="222980"/>
                    <a:pt x="9952094" y="222980"/>
                  </a:cubicBezTo>
                  <a:cubicBezTo>
                    <a:pt x="9929626" y="222980"/>
                    <a:pt x="9912097" y="213802"/>
                    <a:pt x="9899509" y="195446"/>
                  </a:cubicBezTo>
                  <a:cubicBezTo>
                    <a:pt x="9886920" y="177090"/>
                    <a:pt x="9880626" y="150559"/>
                    <a:pt x="9880626" y="115854"/>
                  </a:cubicBezTo>
                  <a:cubicBezTo>
                    <a:pt x="9880626" y="77737"/>
                    <a:pt x="9887196" y="48899"/>
                    <a:pt x="9900336" y="29339"/>
                  </a:cubicBezTo>
                  <a:cubicBezTo>
                    <a:pt x="9913477" y="9780"/>
                    <a:pt x="9932434" y="0"/>
                    <a:pt x="9957210" y="0"/>
                  </a:cubicBezTo>
                  <a:close/>
                  <a:moveTo>
                    <a:pt x="9737766" y="0"/>
                  </a:moveTo>
                  <a:cubicBezTo>
                    <a:pt x="9785210" y="0"/>
                    <a:pt x="9808933" y="36862"/>
                    <a:pt x="9808933" y="110587"/>
                  </a:cubicBezTo>
                  <a:cubicBezTo>
                    <a:pt x="9808933" y="147099"/>
                    <a:pt x="9802237" y="174959"/>
                    <a:pt x="9788847" y="194167"/>
                  </a:cubicBezTo>
                  <a:cubicBezTo>
                    <a:pt x="9775456" y="213375"/>
                    <a:pt x="9756724" y="222980"/>
                    <a:pt x="9732650" y="222980"/>
                  </a:cubicBezTo>
                  <a:cubicBezTo>
                    <a:pt x="9710182" y="222980"/>
                    <a:pt x="9692653" y="213802"/>
                    <a:pt x="9680065" y="195446"/>
                  </a:cubicBezTo>
                  <a:cubicBezTo>
                    <a:pt x="9667476" y="177090"/>
                    <a:pt x="9661182" y="150559"/>
                    <a:pt x="9661182" y="115854"/>
                  </a:cubicBezTo>
                  <a:cubicBezTo>
                    <a:pt x="9661182" y="77737"/>
                    <a:pt x="9667752" y="48899"/>
                    <a:pt x="9680892" y="29339"/>
                  </a:cubicBezTo>
                  <a:cubicBezTo>
                    <a:pt x="9694033" y="9780"/>
                    <a:pt x="9712990" y="0"/>
                    <a:pt x="9737766" y="0"/>
                  </a:cubicBezTo>
                  <a:close/>
                  <a:moveTo>
                    <a:pt x="9570779" y="0"/>
                  </a:moveTo>
                  <a:lnTo>
                    <a:pt x="9585685" y="0"/>
                  </a:lnTo>
                  <a:lnTo>
                    <a:pt x="9585685" y="222980"/>
                  </a:lnTo>
                  <a:lnTo>
                    <a:pt x="9550397" y="222980"/>
                  </a:lnTo>
                  <a:lnTo>
                    <a:pt x="9550397" y="43196"/>
                  </a:lnTo>
                  <a:cubicBezTo>
                    <a:pt x="9544009" y="47760"/>
                    <a:pt x="9537139" y="51638"/>
                    <a:pt x="9529788" y="54832"/>
                  </a:cubicBezTo>
                  <a:cubicBezTo>
                    <a:pt x="9522436" y="58027"/>
                    <a:pt x="9514045" y="60840"/>
                    <a:pt x="9504615" y="63274"/>
                  </a:cubicBezTo>
                  <a:lnTo>
                    <a:pt x="9504615" y="33158"/>
                  </a:lnTo>
                  <a:cubicBezTo>
                    <a:pt x="9510496" y="31232"/>
                    <a:pt x="9516175" y="29203"/>
                    <a:pt x="9521650" y="27074"/>
                  </a:cubicBezTo>
                  <a:cubicBezTo>
                    <a:pt x="9527126" y="24945"/>
                    <a:pt x="9532526" y="22561"/>
                    <a:pt x="9537849" y="19925"/>
                  </a:cubicBezTo>
                  <a:cubicBezTo>
                    <a:pt x="9543173" y="17289"/>
                    <a:pt x="9548547" y="14348"/>
                    <a:pt x="9553972" y="11103"/>
                  </a:cubicBezTo>
                  <a:cubicBezTo>
                    <a:pt x="9559397" y="7859"/>
                    <a:pt x="9564999" y="4157"/>
                    <a:pt x="9570779" y="0"/>
                  </a:cubicBezTo>
                  <a:close/>
                  <a:moveTo>
                    <a:pt x="9283563" y="0"/>
                  </a:moveTo>
                  <a:lnTo>
                    <a:pt x="9298469" y="0"/>
                  </a:lnTo>
                  <a:lnTo>
                    <a:pt x="9298469" y="222980"/>
                  </a:lnTo>
                  <a:lnTo>
                    <a:pt x="9263181" y="222980"/>
                  </a:lnTo>
                  <a:lnTo>
                    <a:pt x="9263181" y="43196"/>
                  </a:lnTo>
                  <a:cubicBezTo>
                    <a:pt x="9256793" y="47760"/>
                    <a:pt x="9249923" y="51638"/>
                    <a:pt x="9242572" y="54832"/>
                  </a:cubicBezTo>
                  <a:cubicBezTo>
                    <a:pt x="9235220" y="58027"/>
                    <a:pt x="9226829" y="60840"/>
                    <a:pt x="9217399" y="63274"/>
                  </a:cubicBezTo>
                  <a:lnTo>
                    <a:pt x="9217399" y="33158"/>
                  </a:lnTo>
                  <a:cubicBezTo>
                    <a:pt x="9223280" y="31232"/>
                    <a:pt x="9228959" y="29203"/>
                    <a:pt x="9234434" y="27074"/>
                  </a:cubicBezTo>
                  <a:cubicBezTo>
                    <a:pt x="9239910" y="24945"/>
                    <a:pt x="9245310" y="22561"/>
                    <a:pt x="9250633" y="19925"/>
                  </a:cubicBezTo>
                  <a:cubicBezTo>
                    <a:pt x="9255957" y="17289"/>
                    <a:pt x="9261331" y="14348"/>
                    <a:pt x="9266756" y="11103"/>
                  </a:cubicBezTo>
                  <a:cubicBezTo>
                    <a:pt x="9272181" y="7859"/>
                    <a:pt x="9277783" y="4157"/>
                    <a:pt x="9283563" y="0"/>
                  </a:cubicBezTo>
                  <a:close/>
                  <a:moveTo>
                    <a:pt x="8893772" y="0"/>
                  </a:moveTo>
                  <a:lnTo>
                    <a:pt x="8908678" y="0"/>
                  </a:lnTo>
                  <a:lnTo>
                    <a:pt x="8908678" y="222980"/>
                  </a:lnTo>
                  <a:lnTo>
                    <a:pt x="8873390" y="222980"/>
                  </a:lnTo>
                  <a:lnTo>
                    <a:pt x="8873390" y="43196"/>
                  </a:lnTo>
                  <a:cubicBezTo>
                    <a:pt x="8867002" y="47760"/>
                    <a:pt x="8860132" y="51638"/>
                    <a:pt x="8852781" y="54832"/>
                  </a:cubicBezTo>
                  <a:cubicBezTo>
                    <a:pt x="8845429" y="58027"/>
                    <a:pt x="8837038" y="60840"/>
                    <a:pt x="8827608" y="63274"/>
                  </a:cubicBezTo>
                  <a:lnTo>
                    <a:pt x="8827608" y="33158"/>
                  </a:lnTo>
                  <a:cubicBezTo>
                    <a:pt x="8833489" y="31232"/>
                    <a:pt x="8839168" y="29203"/>
                    <a:pt x="8844643" y="27074"/>
                  </a:cubicBezTo>
                  <a:cubicBezTo>
                    <a:pt x="8850119" y="24945"/>
                    <a:pt x="8855519" y="22561"/>
                    <a:pt x="8860842" y="19925"/>
                  </a:cubicBezTo>
                  <a:cubicBezTo>
                    <a:pt x="8866166" y="17289"/>
                    <a:pt x="8871540" y="14348"/>
                    <a:pt x="8876965" y="11103"/>
                  </a:cubicBezTo>
                  <a:cubicBezTo>
                    <a:pt x="8882390" y="7859"/>
                    <a:pt x="8887992" y="4157"/>
                    <a:pt x="8893772" y="0"/>
                  </a:cubicBezTo>
                  <a:close/>
                  <a:moveTo>
                    <a:pt x="8750164" y="0"/>
                  </a:moveTo>
                  <a:lnTo>
                    <a:pt x="8765070" y="0"/>
                  </a:lnTo>
                  <a:lnTo>
                    <a:pt x="8765070" y="222980"/>
                  </a:lnTo>
                  <a:lnTo>
                    <a:pt x="8729782" y="222980"/>
                  </a:lnTo>
                  <a:lnTo>
                    <a:pt x="8729782" y="43196"/>
                  </a:lnTo>
                  <a:cubicBezTo>
                    <a:pt x="8723394" y="47760"/>
                    <a:pt x="8716524" y="51638"/>
                    <a:pt x="8709173" y="54832"/>
                  </a:cubicBezTo>
                  <a:cubicBezTo>
                    <a:pt x="8701821" y="58027"/>
                    <a:pt x="8693430" y="60840"/>
                    <a:pt x="8684000" y="63274"/>
                  </a:cubicBezTo>
                  <a:lnTo>
                    <a:pt x="8684000" y="33158"/>
                  </a:lnTo>
                  <a:cubicBezTo>
                    <a:pt x="8689881" y="31232"/>
                    <a:pt x="8695560" y="29203"/>
                    <a:pt x="8701035" y="27074"/>
                  </a:cubicBezTo>
                  <a:cubicBezTo>
                    <a:pt x="8706511" y="24945"/>
                    <a:pt x="8711911" y="22561"/>
                    <a:pt x="8717234" y="19925"/>
                  </a:cubicBezTo>
                  <a:cubicBezTo>
                    <a:pt x="8722558" y="17289"/>
                    <a:pt x="8727932" y="14348"/>
                    <a:pt x="8733357" y="11103"/>
                  </a:cubicBezTo>
                  <a:cubicBezTo>
                    <a:pt x="8738782" y="7859"/>
                    <a:pt x="8744384" y="4157"/>
                    <a:pt x="8750164" y="0"/>
                  </a:cubicBezTo>
                  <a:close/>
                  <a:moveTo>
                    <a:pt x="8606556" y="0"/>
                  </a:moveTo>
                  <a:lnTo>
                    <a:pt x="8621462" y="0"/>
                  </a:lnTo>
                  <a:lnTo>
                    <a:pt x="8621462" y="222980"/>
                  </a:lnTo>
                  <a:lnTo>
                    <a:pt x="8586174" y="222980"/>
                  </a:lnTo>
                  <a:lnTo>
                    <a:pt x="8586174" y="43196"/>
                  </a:lnTo>
                  <a:cubicBezTo>
                    <a:pt x="8579786" y="47760"/>
                    <a:pt x="8572916" y="51638"/>
                    <a:pt x="8565565" y="54832"/>
                  </a:cubicBezTo>
                  <a:cubicBezTo>
                    <a:pt x="8558213" y="58027"/>
                    <a:pt x="8549822" y="60840"/>
                    <a:pt x="8540392" y="63274"/>
                  </a:cubicBezTo>
                  <a:lnTo>
                    <a:pt x="8540392" y="33158"/>
                  </a:lnTo>
                  <a:cubicBezTo>
                    <a:pt x="8546273" y="31232"/>
                    <a:pt x="8551952" y="29203"/>
                    <a:pt x="8557427" y="27074"/>
                  </a:cubicBezTo>
                  <a:cubicBezTo>
                    <a:pt x="8562903" y="24945"/>
                    <a:pt x="8568303" y="22561"/>
                    <a:pt x="8573626" y="19925"/>
                  </a:cubicBezTo>
                  <a:cubicBezTo>
                    <a:pt x="8578950" y="17289"/>
                    <a:pt x="8584324" y="14348"/>
                    <a:pt x="8589749" y="11103"/>
                  </a:cubicBezTo>
                  <a:cubicBezTo>
                    <a:pt x="8595174" y="7859"/>
                    <a:pt x="8600776" y="4157"/>
                    <a:pt x="8606556" y="0"/>
                  </a:cubicBezTo>
                  <a:close/>
                  <a:moveTo>
                    <a:pt x="7844555" y="0"/>
                  </a:moveTo>
                  <a:lnTo>
                    <a:pt x="7859462" y="0"/>
                  </a:lnTo>
                  <a:lnTo>
                    <a:pt x="7859462" y="222980"/>
                  </a:lnTo>
                  <a:lnTo>
                    <a:pt x="7824174" y="222980"/>
                  </a:lnTo>
                  <a:lnTo>
                    <a:pt x="7824174" y="43196"/>
                  </a:lnTo>
                  <a:cubicBezTo>
                    <a:pt x="7817786" y="47760"/>
                    <a:pt x="7810916" y="51638"/>
                    <a:pt x="7803564" y="54832"/>
                  </a:cubicBezTo>
                  <a:cubicBezTo>
                    <a:pt x="7796213" y="58027"/>
                    <a:pt x="7787822" y="60840"/>
                    <a:pt x="7778392" y="63274"/>
                  </a:cubicBezTo>
                  <a:lnTo>
                    <a:pt x="7778392" y="33158"/>
                  </a:lnTo>
                  <a:cubicBezTo>
                    <a:pt x="7784273" y="31232"/>
                    <a:pt x="7789951" y="29203"/>
                    <a:pt x="7795427" y="27074"/>
                  </a:cubicBezTo>
                  <a:cubicBezTo>
                    <a:pt x="7800903" y="24945"/>
                    <a:pt x="7806302" y="22561"/>
                    <a:pt x="7811626" y="19925"/>
                  </a:cubicBezTo>
                  <a:cubicBezTo>
                    <a:pt x="7816949" y="17289"/>
                    <a:pt x="7822324" y="14348"/>
                    <a:pt x="7827748" y="11103"/>
                  </a:cubicBezTo>
                  <a:cubicBezTo>
                    <a:pt x="7833174" y="7859"/>
                    <a:pt x="7838776" y="4157"/>
                    <a:pt x="7844555" y="0"/>
                  </a:cubicBezTo>
                  <a:close/>
                  <a:moveTo>
                    <a:pt x="7700947" y="0"/>
                  </a:moveTo>
                  <a:lnTo>
                    <a:pt x="7715854" y="0"/>
                  </a:lnTo>
                  <a:lnTo>
                    <a:pt x="7715854" y="222980"/>
                  </a:lnTo>
                  <a:lnTo>
                    <a:pt x="7680566" y="222980"/>
                  </a:lnTo>
                  <a:lnTo>
                    <a:pt x="7680566" y="43196"/>
                  </a:lnTo>
                  <a:cubicBezTo>
                    <a:pt x="7674178" y="47760"/>
                    <a:pt x="7667308" y="51638"/>
                    <a:pt x="7659956" y="54832"/>
                  </a:cubicBezTo>
                  <a:cubicBezTo>
                    <a:pt x="7652605" y="58027"/>
                    <a:pt x="7644214" y="60840"/>
                    <a:pt x="7634784" y="63274"/>
                  </a:cubicBezTo>
                  <a:lnTo>
                    <a:pt x="7634784" y="33158"/>
                  </a:lnTo>
                  <a:cubicBezTo>
                    <a:pt x="7640665" y="31232"/>
                    <a:pt x="7646343" y="29203"/>
                    <a:pt x="7651819" y="27074"/>
                  </a:cubicBezTo>
                  <a:cubicBezTo>
                    <a:pt x="7657295" y="24945"/>
                    <a:pt x="7662694" y="22561"/>
                    <a:pt x="7668018" y="19925"/>
                  </a:cubicBezTo>
                  <a:cubicBezTo>
                    <a:pt x="7673341" y="17289"/>
                    <a:pt x="7678716" y="14348"/>
                    <a:pt x="7684140" y="11103"/>
                  </a:cubicBezTo>
                  <a:cubicBezTo>
                    <a:pt x="7689566" y="7859"/>
                    <a:pt x="7695168" y="4157"/>
                    <a:pt x="7700947" y="0"/>
                  </a:cubicBezTo>
                  <a:close/>
                  <a:moveTo>
                    <a:pt x="7413731" y="0"/>
                  </a:moveTo>
                  <a:lnTo>
                    <a:pt x="7428638" y="0"/>
                  </a:lnTo>
                  <a:lnTo>
                    <a:pt x="7428638" y="222980"/>
                  </a:lnTo>
                  <a:lnTo>
                    <a:pt x="7393350" y="222980"/>
                  </a:lnTo>
                  <a:lnTo>
                    <a:pt x="7393350" y="43196"/>
                  </a:lnTo>
                  <a:cubicBezTo>
                    <a:pt x="7386962" y="47760"/>
                    <a:pt x="7380092" y="51638"/>
                    <a:pt x="7372740" y="54832"/>
                  </a:cubicBezTo>
                  <a:cubicBezTo>
                    <a:pt x="7365389" y="58027"/>
                    <a:pt x="7356998" y="60840"/>
                    <a:pt x="7347568" y="63274"/>
                  </a:cubicBezTo>
                  <a:lnTo>
                    <a:pt x="7347568" y="33158"/>
                  </a:lnTo>
                  <a:cubicBezTo>
                    <a:pt x="7353449" y="31232"/>
                    <a:pt x="7359127" y="29203"/>
                    <a:pt x="7364603" y="27074"/>
                  </a:cubicBezTo>
                  <a:cubicBezTo>
                    <a:pt x="7370079" y="24945"/>
                    <a:pt x="7375478" y="22561"/>
                    <a:pt x="7380802" y="19925"/>
                  </a:cubicBezTo>
                  <a:cubicBezTo>
                    <a:pt x="7386125" y="17289"/>
                    <a:pt x="7391500" y="14348"/>
                    <a:pt x="7396924" y="11103"/>
                  </a:cubicBezTo>
                  <a:cubicBezTo>
                    <a:pt x="7402350" y="7859"/>
                    <a:pt x="7407952" y="4157"/>
                    <a:pt x="7413731" y="0"/>
                  </a:cubicBezTo>
                  <a:close/>
                  <a:moveTo>
                    <a:pt x="7015147" y="0"/>
                  </a:moveTo>
                  <a:lnTo>
                    <a:pt x="7030053" y="0"/>
                  </a:lnTo>
                  <a:lnTo>
                    <a:pt x="7030053" y="222980"/>
                  </a:lnTo>
                  <a:lnTo>
                    <a:pt x="6994765" y="222980"/>
                  </a:lnTo>
                  <a:lnTo>
                    <a:pt x="6994765" y="43196"/>
                  </a:lnTo>
                  <a:cubicBezTo>
                    <a:pt x="6988377" y="47760"/>
                    <a:pt x="6981508" y="51638"/>
                    <a:pt x="6974156" y="54832"/>
                  </a:cubicBezTo>
                  <a:cubicBezTo>
                    <a:pt x="6966804" y="58027"/>
                    <a:pt x="6958414" y="60840"/>
                    <a:pt x="6948983" y="63274"/>
                  </a:cubicBezTo>
                  <a:lnTo>
                    <a:pt x="6948983" y="33158"/>
                  </a:lnTo>
                  <a:cubicBezTo>
                    <a:pt x="6954864" y="31232"/>
                    <a:pt x="6960543" y="29203"/>
                    <a:pt x="6966018" y="27074"/>
                  </a:cubicBezTo>
                  <a:cubicBezTo>
                    <a:pt x="6971494" y="24945"/>
                    <a:pt x="6976894" y="22561"/>
                    <a:pt x="6982217" y="19925"/>
                  </a:cubicBezTo>
                  <a:cubicBezTo>
                    <a:pt x="6987541" y="17289"/>
                    <a:pt x="6992915" y="14348"/>
                    <a:pt x="6998340" y="11103"/>
                  </a:cubicBezTo>
                  <a:cubicBezTo>
                    <a:pt x="7003765" y="7859"/>
                    <a:pt x="7009367" y="4157"/>
                    <a:pt x="7015147" y="0"/>
                  </a:cubicBezTo>
                  <a:close/>
                  <a:moveTo>
                    <a:pt x="6871539" y="0"/>
                  </a:moveTo>
                  <a:lnTo>
                    <a:pt x="6886445" y="0"/>
                  </a:lnTo>
                  <a:lnTo>
                    <a:pt x="6886445" y="222980"/>
                  </a:lnTo>
                  <a:lnTo>
                    <a:pt x="6851157" y="222980"/>
                  </a:lnTo>
                  <a:lnTo>
                    <a:pt x="6851157" y="43196"/>
                  </a:lnTo>
                  <a:cubicBezTo>
                    <a:pt x="6844769" y="47760"/>
                    <a:pt x="6837900" y="51638"/>
                    <a:pt x="6830548" y="54832"/>
                  </a:cubicBezTo>
                  <a:cubicBezTo>
                    <a:pt x="6823196" y="58027"/>
                    <a:pt x="6814806" y="60840"/>
                    <a:pt x="6805375" y="63274"/>
                  </a:cubicBezTo>
                  <a:lnTo>
                    <a:pt x="6805375" y="33158"/>
                  </a:lnTo>
                  <a:cubicBezTo>
                    <a:pt x="6811256" y="31232"/>
                    <a:pt x="6816935" y="29203"/>
                    <a:pt x="6822410" y="27074"/>
                  </a:cubicBezTo>
                  <a:cubicBezTo>
                    <a:pt x="6827886" y="24945"/>
                    <a:pt x="6833286" y="22561"/>
                    <a:pt x="6838609" y="19925"/>
                  </a:cubicBezTo>
                  <a:cubicBezTo>
                    <a:pt x="6843933" y="17289"/>
                    <a:pt x="6849307" y="14348"/>
                    <a:pt x="6854732" y="11103"/>
                  </a:cubicBezTo>
                  <a:cubicBezTo>
                    <a:pt x="6860157" y="7859"/>
                    <a:pt x="6865759" y="4157"/>
                    <a:pt x="6871539" y="0"/>
                  </a:cubicBezTo>
                  <a:close/>
                  <a:moveTo>
                    <a:pt x="6727931" y="0"/>
                  </a:moveTo>
                  <a:lnTo>
                    <a:pt x="6742837" y="0"/>
                  </a:lnTo>
                  <a:lnTo>
                    <a:pt x="6742837" y="222980"/>
                  </a:lnTo>
                  <a:lnTo>
                    <a:pt x="6707549" y="222980"/>
                  </a:lnTo>
                  <a:lnTo>
                    <a:pt x="6707549" y="43196"/>
                  </a:lnTo>
                  <a:cubicBezTo>
                    <a:pt x="6701161" y="47760"/>
                    <a:pt x="6694292" y="51638"/>
                    <a:pt x="6686940" y="54832"/>
                  </a:cubicBezTo>
                  <a:cubicBezTo>
                    <a:pt x="6679588" y="58027"/>
                    <a:pt x="6671198" y="60840"/>
                    <a:pt x="6661767" y="63274"/>
                  </a:cubicBezTo>
                  <a:lnTo>
                    <a:pt x="6661767" y="33158"/>
                  </a:lnTo>
                  <a:cubicBezTo>
                    <a:pt x="6667648" y="31232"/>
                    <a:pt x="6673327" y="29203"/>
                    <a:pt x="6678802" y="27074"/>
                  </a:cubicBezTo>
                  <a:cubicBezTo>
                    <a:pt x="6684278" y="24945"/>
                    <a:pt x="6689678" y="22561"/>
                    <a:pt x="6695001" y="19925"/>
                  </a:cubicBezTo>
                  <a:cubicBezTo>
                    <a:pt x="6700325" y="17289"/>
                    <a:pt x="6705699" y="14348"/>
                    <a:pt x="6711124" y="11103"/>
                  </a:cubicBezTo>
                  <a:cubicBezTo>
                    <a:pt x="6716549" y="7859"/>
                    <a:pt x="6722151" y="4157"/>
                    <a:pt x="6727931" y="0"/>
                  </a:cubicBezTo>
                  <a:close/>
                  <a:moveTo>
                    <a:pt x="6584323" y="0"/>
                  </a:moveTo>
                  <a:lnTo>
                    <a:pt x="6599229" y="0"/>
                  </a:lnTo>
                  <a:lnTo>
                    <a:pt x="6599229" y="222980"/>
                  </a:lnTo>
                  <a:lnTo>
                    <a:pt x="6563941" y="222980"/>
                  </a:lnTo>
                  <a:lnTo>
                    <a:pt x="6563941" y="43196"/>
                  </a:lnTo>
                  <a:cubicBezTo>
                    <a:pt x="6557553" y="47760"/>
                    <a:pt x="6550684" y="51638"/>
                    <a:pt x="6543332" y="54832"/>
                  </a:cubicBezTo>
                  <a:cubicBezTo>
                    <a:pt x="6535980" y="58027"/>
                    <a:pt x="6527590" y="60840"/>
                    <a:pt x="6518159" y="63274"/>
                  </a:cubicBezTo>
                  <a:lnTo>
                    <a:pt x="6518159" y="33158"/>
                  </a:lnTo>
                  <a:cubicBezTo>
                    <a:pt x="6524040" y="31232"/>
                    <a:pt x="6529719" y="29203"/>
                    <a:pt x="6535194" y="27074"/>
                  </a:cubicBezTo>
                  <a:cubicBezTo>
                    <a:pt x="6540670" y="24945"/>
                    <a:pt x="6546070" y="22561"/>
                    <a:pt x="6551393" y="19925"/>
                  </a:cubicBezTo>
                  <a:cubicBezTo>
                    <a:pt x="6556717" y="17289"/>
                    <a:pt x="6562091" y="14348"/>
                    <a:pt x="6567516" y="11103"/>
                  </a:cubicBezTo>
                  <a:cubicBezTo>
                    <a:pt x="6572941" y="7859"/>
                    <a:pt x="6578543" y="4157"/>
                    <a:pt x="6584323" y="0"/>
                  </a:cubicBezTo>
                  <a:close/>
                  <a:moveTo>
                    <a:pt x="6383121" y="0"/>
                  </a:moveTo>
                  <a:cubicBezTo>
                    <a:pt x="6430566" y="0"/>
                    <a:pt x="6454288" y="36862"/>
                    <a:pt x="6454288" y="110587"/>
                  </a:cubicBezTo>
                  <a:cubicBezTo>
                    <a:pt x="6454288" y="147099"/>
                    <a:pt x="6447593" y="174959"/>
                    <a:pt x="6434202" y="194167"/>
                  </a:cubicBezTo>
                  <a:cubicBezTo>
                    <a:pt x="6420811" y="213375"/>
                    <a:pt x="6402079" y="222980"/>
                    <a:pt x="6378005" y="222980"/>
                  </a:cubicBezTo>
                  <a:cubicBezTo>
                    <a:pt x="6355537" y="222980"/>
                    <a:pt x="6338008" y="213802"/>
                    <a:pt x="6325420" y="195446"/>
                  </a:cubicBezTo>
                  <a:cubicBezTo>
                    <a:pt x="6312831" y="177090"/>
                    <a:pt x="6306537" y="150559"/>
                    <a:pt x="6306537" y="115854"/>
                  </a:cubicBezTo>
                  <a:cubicBezTo>
                    <a:pt x="6306537" y="77737"/>
                    <a:pt x="6313107" y="48899"/>
                    <a:pt x="6326247" y="29339"/>
                  </a:cubicBezTo>
                  <a:cubicBezTo>
                    <a:pt x="6339388" y="9780"/>
                    <a:pt x="6358345" y="0"/>
                    <a:pt x="6383121" y="0"/>
                  </a:cubicBezTo>
                  <a:close/>
                  <a:moveTo>
                    <a:pt x="6047993" y="0"/>
                  </a:moveTo>
                  <a:lnTo>
                    <a:pt x="6062899" y="0"/>
                  </a:lnTo>
                  <a:lnTo>
                    <a:pt x="6062899" y="222980"/>
                  </a:lnTo>
                  <a:lnTo>
                    <a:pt x="6027612" y="222980"/>
                  </a:lnTo>
                  <a:lnTo>
                    <a:pt x="6027612" y="43196"/>
                  </a:lnTo>
                  <a:cubicBezTo>
                    <a:pt x="6021223" y="47760"/>
                    <a:pt x="6014354" y="51638"/>
                    <a:pt x="6007002" y="54832"/>
                  </a:cubicBezTo>
                  <a:cubicBezTo>
                    <a:pt x="5999651" y="58027"/>
                    <a:pt x="5991260" y="60840"/>
                    <a:pt x="5981830" y="63274"/>
                  </a:cubicBezTo>
                  <a:lnTo>
                    <a:pt x="5981830" y="33158"/>
                  </a:lnTo>
                  <a:cubicBezTo>
                    <a:pt x="5987711" y="31232"/>
                    <a:pt x="5993390" y="29203"/>
                    <a:pt x="5998864" y="27074"/>
                  </a:cubicBezTo>
                  <a:cubicBezTo>
                    <a:pt x="6004341" y="24945"/>
                    <a:pt x="6009740" y="22561"/>
                    <a:pt x="6015063" y="19925"/>
                  </a:cubicBezTo>
                  <a:cubicBezTo>
                    <a:pt x="6020387" y="17289"/>
                    <a:pt x="6025761" y="14348"/>
                    <a:pt x="6031186" y="11103"/>
                  </a:cubicBezTo>
                  <a:cubicBezTo>
                    <a:pt x="6036611" y="7859"/>
                    <a:pt x="6042214" y="4157"/>
                    <a:pt x="6047993" y="0"/>
                  </a:cubicBezTo>
                  <a:close/>
                  <a:moveTo>
                    <a:pt x="5848035" y="0"/>
                  </a:moveTo>
                  <a:cubicBezTo>
                    <a:pt x="5895480" y="0"/>
                    <a:pt x="5919202" y="36862"/>
                    <a:pt x="5919202" y="110587"/>
                  </a:cubicBezTo>
                  <a:cubicBezTo>
                    <a:pt x="5919202" y="147099"/>
                    <a:pt x="5912507" y="174959"/>
                    <a:pt x="5899116" y="194167"/>
                  </a:cubicBezTo>
                  <a:cubicBezTo>
                    <a:pt x="5885725" y="213375"/>
                    <a:pt x="5866993" y="222980"/>
                    <a:pt x="5842919" y="222980"/>
                  </a:cubicBezTo>
                  <a:cubicBezTo>
                    <a:pt x="5820451" y="222980"/>
                    <a:pt x="5802922" y="213802"/>
                    <a:pt x="5790334" y="195446"/>
                  </a:cubicBezTo>
                  <a:cubicBezTo>
                    <a:pt x="5777745" y="177090"/>
                    <a:pt x="5771452" y="150559"/>
                    <a:pt x="5771452" y="115854"/>
                  </a:cubicBezTo>
                  <a:cubicBezTo>
                    <a:pt x="5771452" y="77737"/>
                    <a:pt x="5778021" y="48899"/>
                    <a:pt x="5791162" y="29339"/>
                  </a:cubicBezTo>
                  <a:cubicBezTo>
                    <a:pt x="5804303" y="9780"/>
                    <a:pt x="5823259" y="0"/>
                    <a:pt x="5848035" y="0"/>
                  </a:cubicBezTo>
                  <a:close/>
                  <a:moveTo>
                    <a:pt x="5150385" y="0"/>
                  </a:moveTo>
                  <a:cubicBezTo>
                    <a:pt x="5197830" y="0"/>
                    <a:pt x="5221552" y="36862"/>
                    <a:pt x="5221552" y="110587"/>
                  </a:cubicBezTo>
                  <a:cubicBezTo>
                    <a:pt x="5221552" y="147099"/>
                    <a:pt x="5214857" y="174959"/>
                    <a:pt x="5201466" y="194167"/>
                  </a:cubicBezTo>
                  <a:cubicBezTo>
                    <a:pt x="5188075" y="213375"/>
                    <a:pt x="5169343" y="222980"/>
                    <a:pt x="5145269" y="222980"/>
                  </a:cubicBezTo>
                  <a:cubicBezTo>
                    <a:pt x="5122801" y="222980"/>
                    <a:pt x="5105272" y="213802"/>
                    <a:pt x="5092684" y="195446"/>
                  </a:cubicBezTo>
                  <a:cubicBezTo>
                    <a:pt x="5080095" y="177090"/>
                    <a:pt x="5073801" y="150559"/>
                    <a:pt x="5073801" y="115854"/>
                  </a:cubicBezTo>
                  <a:cubicBezTo>
                    <a:pt x="5073801" y="77737"/>
                    <a:pt x="5080371" y="48899"/>
                    <a:pt x="5093512" y="29339"/>
                  </a:cubicBezTo>
                  <a:cubicBezTo>
                    <a:pt x="5106653" y="9780"/>
                    <a:pt x="5125610" y="0"/>
                    <a:pt x="5150385" y="0"/>
                  </a:cubicBezTo>
                  <a:close/>
                  <a:moveTo>
                    <a:pt x="4776040" y="0"/>
                  </a:moveTo>
                  <a:lnTo>
                    <a:pt x="4790946" y="0"/>
                  </a:lnTo>
                  <a:lnTo>
                    <a:pt x="4790946" y="222980"/>
                  </a:lnTo>
                  <a:lnTo>
                    <a:pt x="4755658" y="222980"/>
                  </a:lnTo>
                  <a:lnTo>
                    <a:pt x="4755658" y="43196"/>
                  </a:lnTo>
                  <a:cubicBezTo>
                    <a:pt x="4749270" y="47760"/>
                    <a:pt x="4742401" y="51638"/>
                    <a:pt x="4735049" y="54832"/>
                  </a:cubicBezTo>
                  <a:cubicBezTo>
                    <a:pt x="4727697" y="58027"/>
                    <a:pt x="4719307" y="60840"/>
                    <a:pt x="4709876" y="63274"/>
                  </a:cubicBezTo>
                  <a:lnTo>
                    <a:pt x="4709876" y="33158"/>
                  </a:lnTo>
                  <a:cubicBezTo>
                    <a:pt x="4715757" y="31232"/>
                    <a:pt x="4721436" y="29203"/>
                    <a:pt x="4726911" y="27074"/>
                  </a:cubicBezTo>
                  <a:cubicBezTo>
                    <a:pt x="4732387" y="24945"/>
                    <a:pt x="4737787" y="22561"/>
                    <a:pt x="4743110" y="19925"/>
                  </a:cubicBezTo>
                  <a:cubicBezTo>
                    <a:pt x="4748435" y="17289"/>
                    <a:pt x="4753808" y="14348"/>
                    <a:pt x="4759233" y="11103"/>
                  </a:cubicBezTo>
                  <a:cubicBezTo>
                    <a:pt x="4764658" y="7859"/>
                    <a:pt x="4770260" y="4157"/>
                    <a:pt x="4776040" y="0"/>
                  </a:cubicBezTo>
                  <a:close/>
                  <a:moveTo>
                    <a:pt x="4406756" y="0"/>
                  </a:moveTo>
                  <a:lnTo>
                    <a:pt x="4421663" y="0"/>
                  </a:lnTo>
                  <a:lnTo>
                    <a:pt x="4421663" y="222980"/>
                  </a:lnTo>
                  <a:lnTo>
                    <a:pt x="4386375" y="222980"/>
                  </a:lnTo>
                  <a:lnTo>
                    <a:pt x="4386375" y="43196"/>
                  </a:lnTo>
                  <a:cubicBezTo>
                    <a:pt x="4379987" y="47760"/>
                    <a:pt x="4373117" y="51638"/>
                    <a:pt x="4365765" y="54832"/>
                  </a:cubicBezTo>
                  <a:cubicBezTo>
                    <a:pt x="4358414" y="58027"/>
                    <a:pt x="4350023" y="60840"/>
                    <a:pt x="4340593" y="63274"/>
                  </a:cubicBezTo>
                  <a:lnTo>
                    <a:pt x="4340593" y="33158"/>
                  </a:lnTo>
                  <a:cubicBezTo>
                    <a:pt x="4346474" y="31232"/>
                    <a:pt x="4352152" y="29203"/>
                    <a:pt x="4357628" y="27074"/>
                  </a:cubicBezTo>
                  <a:cubicBezTo>
                    <a:pt x="4363104" y="24945"/>
                    <a:pt x="4368503" y="22561"/>
                    <a:pt x="4373827" y="19925"/>
                  </a:cubicBezTo>
                  <a:cubicBezTo>
                    <a:pt x="4379150" y="17289"/>
                    <a:pt x="4384525" y="14348"/>
                    <a:pt x="4389949" y="11103"/>
                  </a:cubicBezTo>
                  <a:cubicBezTo>
                    <a:pt x="4395375" y="7859"/>
                    <a:pt x="4400977" y="4157"/>
                    <a:pt x="4406756" y="0"/>
                  </a:cubicBezTo>
                  <a:close/>
                  <a:moveTo>
                    <a:pt x="4106219" y="0"/>
                  </a:moveTo>
                  <a:lnTo>
                    <a:pt x="4121125" y="0"/>
                  </a:lnTo>
                  <a:lnTo>
                    <a:pt x="4121125" y="222980"/>
                  </a:lnTo>
                  <a:lnTo>
                    <a:pt x="4085837" y="222980"/>
                  </a:lnTo>
                  <a:lnTo>
                    <a:pt x="4085837" y="43196"/>
                  </a:lnTo>
                  <a:cubicBezTo>
                    <a:pt x="4079449" y="47760"/>
                    <a:pt x="4072579" y="51638"/>
                    <a:pt x="4065228" y="54832"/>
                  </a:cubicBezTo>
                  <a:cubicBezTo>
                    <a:pt x="4057876" y="58027"/>
                    <a:pt x="4049485" y="60840"/>
                    <a:pt x="4040055" y="63274"/>
                  </a:cubicBezTo>
                  <a:lnTo>
                    <a:pt x="4040055" y="33158"/>
                  </a:lnTo>
                  <a:cubicBezTo>
                    <a:pt x="4045936" y="31232"/>
                    <a:pt x="4051615" y="29203"/>
                    <a:pt x="4057090" y="27074"/>
                  </a:cubicBezTo>
                  <a:cubicBezTo>
                    <a:pt x="4062566" y="24945"/>
                    <a:pt x="4067965" y="22561"/>
                    <a:pt x="4073289" y="19925"/>
                  </a:cubicBezTo>
                  <a:cubicBezTo>
                    <a:pt x="4078613" y="17289"/>
                    <a:pt x="4083987" y="14348"/>
                    <a:pt x="4089411" y="11103"/>
                  </a:cubicBezTo>
                  <a:cubicBezTo>
                    <a:pt x="4094837" y="7859"/>
                    <a:pt x="4100439" y="4157"/>
                    <a:pt x="4106219" y="0"/>
                  </a:cubicBezTo>
                  <a:close/>
                  <a:moveTo>
                    <a:pt x="3898647" y="0"/>
                  </a:moveTo>
                  <a:cubicBezTo>
                    <a:pt x="3946092" y="0"/>
                    <a:pt x="3969815" y="36862"/>
                    <a:pt x="3969815" y="110587"/>
                  </a:cubicBezTo>
                  <a:cubicBezTo>
                    <a:pt x="3969815" y="147099"/>
                    <a:pt x="3963119" y="174959"/>
                    <a:pt x="3949729" y="194167"/>
                  </a:cubicBezTo>
                  <a:cubicBezTo>
                    <a:pt x="3936338" y="213375"/>
                    <a:pt x="3917605" y="222980"/>
                    <a:pt x="3893532" y="222980"/>
                  </a:cubicBezTo>
                  <a:cubicBezTo>
                    <a:pt x="3871063" y="222980"/>
                    <a:pt x="3853535" y="213802"/>
                    <a:pt x="3840947" y="195446"/>
                  </a:cubicBezTo>
                  <a:cubicBezTo>
                    <a:pt x="3828358" y="177090"/>
                    <a:pt x="3822064" y="150559"/>
                    <a:pt x="3822064" y="115854"/>
                  </a:cubicBezTo>
                  <a:cubicBezTo>
                    <a:pt x="3822064" y="77737"/>
                    <a:pt x="3828634" y="48899"/>
                    <a:pt x="3841774" y="29339"/>
                  </a:cubicBezTo>
                  <a:cubicBezTo>
                    <a:pt x="3854914" y="9780"/>
                    <a:pt x="3873872" y="0"/>
                    <a:pt x="3898647" y="0"/>
                  </a:cubicBezTo>
                  <a:close/>
                  <a:moveTo>
                    <a:pt x="3673983" y="0"/>
                  </a:moveTo>
                  <a:cubicBezTo>
                    <a:pt x="3721428" y="0"/>
                    <a:pt x="3745151" y="36862"/>
                    <a:pt x="3745151" y="110587"/>
                  </a:cubicBezTo>
                  <a:cubicBezTo>
                    <a:pt x="3745151" y="147099"/>
                    <a:pt x="3738455" y="174959"/>
                    <a:pt x="3725065" y="194167"/>
                  </a:cubicBezTo>
                  <a:cubicBezTo>
                    <a:pt x="3711674" y="213375"/>
                    <a:pt x="3692941" y="222980"/>
                    <a:pt x="3668868" y="222980"/>
                  </a:cubicBezTo>
                  <a:cubicBezTo>
                    <a:pt x="3646399" y="222980"/>
                    <a:pt x="3628871" y="213802"/>
                    <a:pt x="3616283" y="195446"/>
                  </a:cubicBezTo>
                  <a:cubicBezTo>
                    <a:pt x="3603694" y="177090"/>
                    <a:pt x="3597400" y="150559"/>
                    <a:pt x="3597400" y="115854"/>
                  </a:cubicBezTo>
                  <a:cubicBezTo>
                    <a:pt x="3597400" y="77737"/>
                    <a:pt x="3603970" y="48899"/>
                    <a:pt x="3617110" y="29339"/>
                  </a:cubicBezTo>
                  <a:cubicBezTo>
                    <a:pt x="3630250" y="9780"/>
                    <a:pt x="3649208" y="0"/>
                    <a:pt x="3673983" y="0"/>
                  </a:cubicBezTo>
                  <a:close/>
                  <a:moveTo>
                    <a:pt x="3527532" y="0"/>
                  </a:moveTo>
                  <a:lnTo>
                    <a:pt x="3542438" y="0"/>
                  </a:lnTo>
                  <a:lnTo>
                    <a:pt x="3542438" y="222980"/>
                  </a:lnTo>
                  <a:lnTo>
                    <a:pt x="3507150" y="222980"/>
                  </a:lnTo>
                  <a:lnTo>
                    <a:pt x="3507150" y="43196"/>
                  </a:lnTo>
                  <a:cubicBezTo>
                    <a:pt x="3500762" y="47760"/>
                    <a:pt x="3493892" y="51638"/>
                    <a:pt x="3486541" y="54832"/>
                  </a:cubicBezTo>
                  <a:cubicBezTo>
                    <a:pt x="3479189" y="58027"/>
                    <a:pt x="3470798" y="60840"/>
                    <a:pt x="3461368" y="63274"/>
                  </a:cubicBezTo>
                  <a:lnTo>
                    <a:pt x="3461368" y="33158"/>
                  </a:lnTo>
                  <a:cubicBezTo>
                    <a:pt x="3467249" y="31232"/>
                    <a:pt x="3472928" y="29203"/>
                    <a:pt x="3478403" y="27074"/>
                  </a:cubicBezTo>
                  <a:cubicBezTo>
                    <a:pt x="3483879" y="24945"/>
                    <a:pt x="3489278" y="22561"/>
                    <a:pt x="3494602" y="19925"/>
                  </a:cubicBezTo>
                  <a:cubicBezTo>
                    <a:pt x="3499926" y="17289"/>
                    <a:pt x="3505300" y="14348"/>
                    <a:pt x="3510724" y="11103"/>
                  </a:cubicBezTo>
                  <a:cubicBezTo>
                    <a:pt x="3516150" y="7859"/>
                    <a:pt x="3521752" y="4157"/>
                    <a:pt x="3527532" y="0"/>
                  </a:cubicBezTo>
                  <a:close/>
                  <a:moveTo>
                    <a:pt x="3222732" y="0"/>
                  </a:moveTo>
                  <a:lnTo>
                    <a:pt x="3237638" y="0"/>
                  </a:lnTo>
                  <a:lnTo>
                    <a:pt x="3237638" y="222980"/>
                  </a:lnTo>
                  <a:lnTo>
                    <a:pt x="3202350" y="222980"/>
                  </a:lnTo>
                  <a:lnTo>
                    <a:pt x="3202350" y="43196"/>
                  </a:lnTo>
                  <a:cubicBezTo>
                    <a:pt x="3195962" y="47760"/>
                    <a:pt x="3189092" y="51638"/>
                    <a:pt x="3181741" y="54832"/>
                  </a:cubicBezTo>
                  <a:cubicBezTo>
                    <a:pt x="3174389" y="58027"/>
                    <a:pt x="3165998" y="60840"/>
                    <a:pt x="3156568" y="63274"/>
                  </a:cubicBezTo>
                  <a:lnTo>
                    <a:pt x="3156568" y="33158"/>
                  </a:lnTo>
                  <a:cubicBezTo>
                    <a:pt x="3162449" y="31232"/>
                    <a:pt x="3168128" y="29203"/>
                    <a:pt x="3173603" y="27074"/>
                  </a:cubicBezTo>
                  <a:cubicBezTo>
                    <a:pt x="3179079" y="24945"/>
                    <a:pt x="3184478" y="22561"/>
                    <a:pt x="3189802" y="19925"/>
                  </a:cubicBezTo>
                  <a:cubicBezTo>
                    <a:pt x="3195126" y="17289"/>
                    <a:pt x="3200500" y="14348"/>
                    <a:pt x="3205924" y="11103"/>
                  </a:cubicBezTo>
                  <a:cubicBezTo>
                    <a:pt x="3211350" y="7859"/>
                    <a:pt x="3216952" y="4157"/>
                    <a:pt x="3222732" y="0"/>
                  </a:cubicBezTo>
                  <a:close/>
                  <a:moveTo>
                    <a:pt x="2828037" y="0"/>
                  </a:moveTo>
                  <a:lnTo>
                    <a:pt x="2842943" y="0"/>
                  </a:lnTo>
                  <a:lnTo>
                    <a:pt x="2842943" y="222980"/>
                  </a:lnTo>
                  <a:lnTo>
                    <a:pt x="2807655" y="222980"/>
                  </a:lnTo>
                  <a:lnTo>
                    <a:pt x="2807655" y="43196"/>
                  </a:lnTo>
                  <a:cubicBezTo>
                    <a:pt x="2801267" y="47760"/>
                    <a:pt x="2794397" y="51638"/>
                    <a:pt x="2787046" y="54832"/>
                  </a:cubicBezTo>
                  <a:cubicBezTo>
                    <a:pt x="2779694" y="58027"/>
                    <a:pt x="2771303" y="60840"/>
                    <a:pt x="2761873" y="63274"/>
                  </a:cubicBezTo>
                  <a:lnTo>
                    <a:pt x="2761873" y="33158"/>
                  </a:lnTo>
                  <a:cubicBezTo>
                    <a:pt x="2767754" y="31232"/>
                    <a:pt x="2773433" y="29203"/>
                    <a:pt x="2778908" y="27074"/>
                  </a:cubicBezTo>
                  <a:cubicBezTo>
                    <a:pt x="2784384" y="24945"/>
                    <a:pt x="2789783" y="22561"/>
                    <a:pt x="2795107" y="19925"/>
                  </a:cubicBezTo>
                  <a:cubicBezTo>
                    <a:pt x="2800431" y="17289"/>
                    <a:pt x="2805805" y="14348"/>
                    <a:pt x="2811229" y="11103"/>
                  </a:cubicBezTo>
                  <a:cubicBezTo>
                    <a:pt x="2816655" y="7859"/>
                    <a:pt x="2822257" y="4157"/>
                    <a:pt x="2828037" y="0"/>
                  </a:cubicBezTo>
                  <a:close/>
                  <a:moveTo>
                    <a:pt x="2677443" y="0"/>
                  </a:moveTo>
                  <a:lnTo>
                    <a:pt x="2692349" y="0"/>
                  </a:lnTo>
                  <a:lnTo>
                    <a:pt x="2692349" y="222980"/>
                  </a:lnTo>
                  <a:lnTo>
                    <a:pt x="2657061" y="222980"/>
                  </a:lnTo>
                  <a:lnTo>
                    <a:pt x="2657061" y="43196"/>
                  </a:lnTo>
                  <a:cubicBezTo>
                    <a:pt x="2650673" y="47760"/>
                    <a:pt x="2643803" y="51638"/>
                    <a:pt x="2636452" y="54832"/>
                  </a:cubicBezTo>
                  <a:cubicBezTo>
                    <a:pt x="2629100" y="58027"/>
                    <a:pt x="2620709" y="60840"/>
                    <a:pt x="2611279" y="63274"/>
                  </a:cubicBezTo>
                  <a:lnTo>
                    <a:pt x="2611279" y="33158"/>
                  </a:lnTo>
                  <a:cubicBezTo>
                    <a:pt x="2617160" y="31232"/>
                    <a:pt x="2622839" y="29203"/>
                    <a:pt x="2628314" y="27074"/>
                  </a:cubicBezTo>
                  <a:cubicBezTo>
                    <a:pt x="2633790" y="24945"/>
                    <a:pt x="2639189" y="22561"/>
                    <a:pt x="2644513" y="19925"/>
                  </a:cubicBezTo>
                  <a:cubicBezTo>
                    <a:pt x="2649837" y="17289"/>
                    <a:pt x="2655211" y="14348"/>
                    <a:pt x="2660635" y="11103"/>
                  </a:cubicBezTo>
                  <a:cubicBezTo>
                    <a:pt x="2666061" y="7859"/>
                    <a:pt x="2671663" y="4157"/>
                    <a:pt x="2677443" y="0"/>
                  </a:cubicBezTo>
                  <a:close/>
                  <a:moveTo>
                    <a:pt x="2544118" y="0"/>
                  </a:moveTo>
                  <a:lnTo>
                    <a:pt x="2559024" y="0"/>
                  </a:lnTo>
                  <a:lnTo>
                    <a:pt x="2559024" y="222980"/>
                  </a:lnTo>
                  <a:lnTo>
                    <a:pt x="2523736" y="222980"/>
                  </a:lnTo>
                  <a:lnTo>
                    <a:pt x="2523736" y="43196"/>
                  </a:lnTo>
                  <a:cubicBezTo>
                    <a:pt x="2517348" y="47760"/>
                    <a:pt x="2510478" y="51638"/>
                    <a:pt x="2503127" y="54832"/>
                  </a:cubicBezTo>
                  <a:cubicBezTo>
                    <a:pt x="2495775" y="58027"/>
                    <a:pt x="2487384" y="60840"/>
                    <a:pt x="2477954" y="63274"/>
                  </a:cubicBezTo>
                  <a:lnTo>
                    <a:pt x="2477954" y="33158"/>
                  </a:lnTo>
                  <a:cubicBezTo>
                    <a:pt x="2483835" y="31232"/>
                    <a:pt x="2489514" y="29203"/>
                    <a:pt x="2494989" y="27074"/>
                  </a:cubicBezTo>
                  <a:cubicBezTo>
                    <a:pt x="2500465" y="24945"/>
                    <a:pt x="2505864" y="22561"/>
                    <a:pt x="2511188" y="19925"/>
                  </a:cubicBezTo>
                  <a:cubicBezTo>
                    <a:pt x="2516512" y="17289"/>
                    <a:pt x="2521886" y="14348"/>
                    <a:pt x="2527310" y="11103"/>
                  </a:cubicBezTo>
                  <a:cubicBezTo>
                    <a:pt x="2532736" y="7859"/>
                    <a:pt x="2538338" y="4157"/>
                    <a:pt x="2544118" y="0"/>
                  </a:cubicBezTo>
                  <a:close/>
                  <a:moveTo>
                    <a:pt x="1790454" y="0"/>
                  </a:moveTo>
                  <a:lnTo>
                    <a:pt x="1805360" y="0"/>
                  </a:lnTo>
                  <a:lnTo>
                    <a:pt x="1805360" y="222980"/>
                  </a:lnTo>
                  <a:lnTo>
                    <a:pt x="1770072" y="222980"/>
                  </a:lnTo>
                  <a:lnTo>
                    <a:pt x="1770072" y="43196"/>
                  </a:lnTo>
                  <a:cubicBezTo>
                    <a:pt x="1763685" y="47760"/>
                    <a:pt x="1756814" y="51638"/>
                    <a:pt x="1749463" y="54832"/>
                  </a:cubicBezTo>
                  <a:cubicBezTo>
                    <a:pt x="1742111" y="58027"/>
                    <a:pt x="1733720" y="60840"/>
                    <a:pt x="1724290" y="63274"/>
                  </a:cubicBezTo>
                  <a:lnTo>
                    <a:pt x="1724290" y="33158"/>
                  </a:lnTo>
                  <a:cubicBezTo>
                    <a:pt x="1730171" y="31232"/>
                    <a:pt x="1735850" y="29203"/>
                    <a:pt x="1741325" y="27074"/>
                  </a:cubicBezTo>
                  <a:cubicBezTo>
                    <a:pt x="1746801" y="24945"/>
                    <a:pt x="1752201" y="22561"/>
                    <a:pt x="1757524" y="19925"/>
                  </a:cubicBezTo>
                  <a:cubicBezTo>
                    <a:pt x="1762848" y="17289"/>
                    <a:pt x="1768222" y="14348"/>
                    <a:pt x="1773647" y="11103"/>
                  </a:cubicBezTo>
                  <a:cubicBezTo>
                    <a:pt x="1779072" y="7859"/>
                    <a:pt x="1784674" y="4157"/>
                    <a:pt x="1790454" y="0"/>
                  </a:cubicBezTo>
                  <a:close/>
                  <a:moveTo>
                    <a:pt x="1637062" y="0"/>
                  </a:moveTo>
                  <a:lnTo>
                    <a:pt x="1651968" y="0"/>
                  </a:lnTo>
                  <a:lnTo>
                    <a:pt x="1651968" y="222980"/>
                  </a:lnTo>
                  <a:lnTo>
                    <a:pt x="1616680" y="222980"/>
                  </a:lnTo>
                  <a:lnTo>
                    <a:pt x="1616680" y="43196"/>
                  </a:lnTo>
                  <a:cubicBezTo>
                    <a:pt x="1610292" y="47760"/>
                    <a:pt x="1603422" y="51638"/>
                    <a:pt x="1596071" y="54832"/>
                  </a:cubicBezTo>
                  <a:cubicBezTo>
                    <a:pt x="1588719" y="58027"/>
                    <a:pt x="1580328" y="60840"/>
                    <a:pt x="1570898" y="63274"/>
                  </a:cubicBezTo>
                  <a:lnTo>
                    <a:pt x="1570898" y="33158"/>
                  </a:lnTo>
                  <a:cubicBezTo>
                    <a:pt x="1576779" y="31232"/>
                    <a:pt x="1582458" y="29203"/>
                    <a:pt x="1587933" y="27074"/>
                  </a:cubicBezTo>
                  <a:cubicBezTo>
                    <a:pt x="1593409" y="24945"/>
                    <a:pt x="1598809" y="22561"/>
                    <a:pt x="1604132" y="19925"/>
                  </a:cubicBezTo>
                  <a:cubicBezTo>
                    <a:pt x="1609456" y="17289"/>
                    <a:pt x="1614830" y="14348"/>
                    <a:pt x="1620255" y="11103"/>
                  </a:cubicBezTo>
                  <a:cubicBezTo>
                    <a:pt x="1625680" y="7859"/>
                    <a:pt x="1631282" y="4157"/>
                    <a:pt x="1637062" y="0"/>
                  </a:cubicBezTo>
                  <a:close/>
                  <a:moveTo>
                    <a:pt x="1342993" y="0"/>
                  </a:moveTo>
                  <a:lnTo>
                    <a:pt x="1357899" y="0"/>
                  </a:lnTo>
                  <a:lnTo>
                    <a:pt x="1357899" y="222980"/>
                  </a:lnTo>
                  <a:lnTo>
                    <a:pt x="1322611" y="222980"/>
                  </a:lnTo>
                  <a:lnTo>
                    <a:pt x="1322611" y="43196"/>
                  </a:lnTo>
                  <a:cubicBezTo>
                    <a:pt x="1316223" y="47760"/>
                    <a:pt x="1309353" y="51638"/>
                    <a:pt x="1302002" y="54832"/>
                  </a:cubicBezTo>
                  <a:cubicBezTo>
                    <a:pt x="1294650" y="58027"/>
                    <a:pt x="1286259" y="60840"/>
                    <a:pt x="1276829" y="63274"/>
                  </a:cubicBezTo>
                  <a:lnTo>
                    <a:pt x="1276829" y="33158"/>
                  </a:lnTo>
                  <a:cubicBezTo>
                    <a:pt x="1282710" y="31232"/>
                    <a:pt x="1288389" y="29203"/>
                    <a:pt x="1293864" y="27074"/>
                  </a:cubicBezTo>
                  <a:cubicBezTo>
                    <a:pt x="1299340" y="24945"/>
                    <a:pt x="1304740" y="22561"/>
                    <a:pt x="1310063" y="19925"/>
                  </a:cubicBezTo>
                  <a:cubicBezTo>
                    <a:pt x="1315387" y="17289"/>
                    <a:pt x="1320761" y="14348"/>
                    <a:pt x="1326186" y="11103"/>
                  </a:cubicBezTo>
                  <a:cubicBezTo>
                    <a:pt x="1331611" y="7859"/>
                    <a:pt x="1337213" y="4157"/>
                    <a:pt x="1342993" y="0"/>
                  </a:cubicBezTo>
                  <a:close/>
                  <a:moveTo>
                    <a:pt x="967854" y="0"/>
                  </a:moveTo>
                  <a:lnTo>
                    <a:pt x="982760" y="0"/>
                  </a:lnTo>
                  <a:lnTo>
                    <a:pt x="982760" y="222980"/>
                  </a:lnTo>
                  <a:lnTo>
                    <a:pt x="947472" y="222980"/>
                  </a:lnTo>
                  <a:lnTo>
                    <a:pt x="947472" y="43196"/>
                  </a:lnTo>
                  <a:cubicBezTo>
                    <a:pt x="941084" y="47760"/>
                    <a:pt x="934214" y="51638"/>
                    <a:pt x="926863" y="54832"/>
                  </a:cubicBezTo>
                  <a:cubicBezTo>
                    <a:pt x="919511" y="58027"/>
                    <a:pt x="911120" y="60840"/>
                    <a:pt x="901690" y="63274"/>
                  </a:cubicBezTo>
                  <a:lnTo>
                    <a:pt x="901690" y="33158"/>
                  </a:lnTo>
                  <a:cubicBezTo>
                    <a:pt x="907571" y="31232"/>
                    <a:pt x="913250" y="29203"/>
                    <a:pt x="918725" y="27074"/>
                  </a:cubicBezTo>
                  <a:cubicBezTo>
                    <a:pt x="924201" y="24945"/>
                    <a:pt x="929601" y="22561"/>
                    <a:pt x="934924" y="19925"/>
                  </a:cubicBezTo>
                  <a:cubicBezTo>
                    <a:pt x="940248" y="17289"/>
                    <a:pt x="945622" y="14348"/>
                    <a:pt x="951047" y="11103"/>
                  </a:cubicBezTo>
                  <a:cubicBezTo>
                    <a:pt x="956472" y="7859"/>
                    <a:pt x="962074" y="4157"/>
                    <a:pt x="967854" y="0"/>
                  </a:cubicBezTo>
                  <a:close/>
                  <a:moveTo>
                    <a:pt x="818997" y="0"/>
                  </a:moveTo>
                  <a:lnTo>
                    <a:pt x="833903" y="0"/>
                  </a:lnTo>
                  <a:lnTo>
                    <a:pt x="833903" y="222980"/>
                  </a:lnTo>
                  <a:lnTo>
                    <a:pt x="798615" y="222980"/>
                  </a:lnTo>
                  <a:lnTo>
                    <a:pt x="798615" y="43196"/>
                  </a:lnTo>
                  <a:cubicBezTo>
                    <a:pt x="792227" y="47760"/>
                    <a:pt x="785357" y="51638"/>
                    <a:pt x="778006" y="54832"/>
                  </a:cubicBezTo>
                  <a:cubicBezTo>
                    <a:pt x="770654" y="58027"/>
                    <a:pt x="762263" y="60840"/>
                    <a:pt x="752833" y="63274"/>
                  </a:cubicBezTo>
                  <a:lnTo>
                    <a:pt x="752833" y="33158"/>
                  </a:lnTo>
                  <a:cubicBezTo>
                    <a:pt x="758714" y="31232"/>
                    <a:pt x="764393" y="29203"/>
                    <a:pt x="769868" y="27074"/>
                  </a:cubicBezTo>
                  <a:cubicBezTo>
                    <a:pt x="775344" y="24945"/>
                    <a:pt x="780744" y="22561"/>
                    <a:pt x="786067" y="19925"/>
                  </a:cubicBezTo>
                  <a:cubicBezTo>
                    <a:pt x="791391" y="17289"/>
                    <a:pt x="796765" y="14348"/>
                    <a:pt x="802190" y="11103"/>
                  </a:cubicBezTo>
                  <a:cubicBezTo>
                    <a:pt x="807615" y="7859"/>
                    <a:pt x="813217" y="4157"/>
                    <a:pt x="818997" y="0"/>
                  </a:cubicBezTo>
                  <a:close/>
                  <a:moveTo>
                    <a:pt x="670140" y="0"/>
                  </a:moveTo>
                  <a:lnTo>
                    <a:pt x="685046" y="0"/>
                  </a:lnTo>
                  <a:lnTo>
                    <a:pt x="685046" y="222980"/>
                  </a:lnTo>
                  <a:lnTo>
                    <a:pt x="649758" y="222980"/>
                  </a:lnTo>
                  <a:lnTo>
                    <a:pt x="649758" y="43196"/>
                  </a:lnTo>
                  <a:cubicBezTo>
                    <a:pt x="643370" y="47760"/>
                    <a:pt x="636500" y="51638"/>
                    <a:pt x="629149" y="54832"/>
                  </a:cubicBezTo>
                  <a:cubicBezTo>
                    <a:pt x="621797" y="58027"/>
                    <a:pt x="613406" y="60840"/>
                    <a:pt x="603976" y="63274"/>
                  </a:cubicBezTo>
                  <a:lnTo>
                    <a:pt x="603976" y="33158"/>
                  </a:lnTo>
                  <a:cubicBezTo>
                    <a:pt x="609857" y="31232"/>
                    <a:pt x="615536" y="29203"/>
                    <a:pt x="621011" y="27074"/>
                  </a:cubicBezTo>
                  <a:cubicBezTo>
                    <a:pt x="626487" y="24945"/>
                    <a:pt x="631887" y="22561"/>
                    <a:pt x="637210" y="19925"/>
                  </a:cubicBezTo>
                  <a:cubicBezTo>
                    <a:pt x="642534" y="17289"/>
                    <a:pt x="647908" y="14348"/>
                    <a:pt x="653333" y="11103"/>
                  </a:cubicBezTo>
                  <a:cubicBezTo>
                    <a:pt x="658758" y="7859"/>
                    <a:pt x="664360" y="4157"/>
                    <a:pt x="670140" y="0"/>
                  </a:cubicBezTo>
                  <a:close/>
                  <a:moveTo>
                    <a:pt x="521283" y="0"/>
                  </a:moveTo>
                  <a:lnTo>
                    <a:pt x="536189" y="0"/>
                  </a:lnTo>
                  <a:lnTo>
                    <a:pt x="536189" y="222980"/>
                  </a:lnTo>
                  <a:lnTo>
                    <a:pt x="500901" y="222980"/>
                  </a:lnTo>
                  <a:lnTo>
                    <a:pt x="500901" y="43196"/>
                  </a:lnTo>
                  <a:cubicBezTo>
                    <a:pt x="494513" y="47760"/>
                    <a:pt x="487643" y="51638"/>
                    <a:pt x="480292" y="54832"/>
                  </a:cubicBezTo>
                  <a:cubicBezTo>
                    <a:pt x="472940" y="58027"/>
                    <a:pt x="464549" y="60840"/>
                    <a:pt x="455119" y="63274"/>
                  </a:cubicBezTo>
                  <a:lnTo>
                    <a:pt x="455119" y="33158"/>
                  </a:lnTo>
                  <a:cubicBezTo>
                    <a:pt x="461000" y="31232"/>
                    <a:pt x="466679" y="29203"/>
                    <a:pt x="472154" y="27074"/>
                  </a:cubicBezTo>
                  <a:cubicBezTo>
                    <a:pt x="477630" y="24945"/>
                    <a:pt x="483030" y="22561"/>
                    <a:pt x="488353" y="19925"/>
                  </a:cubicBezTo>
                  <a:cubicBezTo>
                    <a:pt x="493677" y="17289"/>
                    <a:pt x="499051" y="14348"/>
                    <a:pt x="504476" y="11103"/>
                  </a:cubicBezTo>
                  <a:cubicBezTo>
                    <a:pt x="509901" y="7859"/>
                    <a:pt x="515503" y="4157"/>
                    <a:pt x="521283" y="0"/>
                  </a:cubicBezTo>
                  <a:close/>
                  <a:moveTo>
                    <a:pt x="311869" y="0"/>
                  </a:moveTo>
                  <a:cubicBezTo>
                    <a:pt x="359313" y="0"/>
                    <a:pt x="383036" y="36862"/>
                    <a:pt x="383036" y="110587"/>
                  </a:cubicBezTo>
                  <a:cubicBezTo>
                    <a:pt x="383036" y="147099"/>
                    <a:pt x="376341" y="174959"/>
                    <a:pt x="362950" y="194167"/>
                  </a:cubicBezTo>
                  <a:cubicBezTo>
                    <a:pt x="349559" y="213375"/>
                    <a:pt x="330827" y="222980"/>
                    <a:pt x="306753" y="222980"/>
                  </a:cubicBezTo>
                  <a:cubicBezTo>
                    <a:pt x="284285" y="222980"/>
                    <a:pt x="266756" y="213802"/>
                    <a:pt x="254168" y="195446"/>
                  </a:cubicBezTo>
                  <a:cubicBezTo>
                    <a:pt x="241579" y="177090"/>
                    <a:pt x="235285" y="150559"/>
                    <a:pt x="235285" y="115854"/>
                  </a:cubicBezTo>
                  <a:cubicBezTo>
                    <a:pt x="235285" y="77737"/>
                    <a:pt x="241855" y="48899"/>
                    <a:pt x="254995" y="29339"/>
                  </a:cubicBezTo>
                  <a:cubicBezTo>
                    <a:pt x="268136" y="9780"/>
                    <a:pt x="287093" y="0"/>
                    <a:pt x="311869" y="0"/>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p:cNvSpPr/>
            <p:nvPr/>
          </p:nvSpPr>
          <p:spPr>
            <a:xfrm>
              <a:off x="257711" y="68248"/>
              <a:ext cx="11685910" cy="6078415"/>
            </a:xfrm>
            <a:custGeom>
              <a:avLst/>
              <a:gdLst>
                <a:gd name="connsiteX0" fmla="*/ 8150891 w 11685910"/>
                <a:gd name="connsiteY0" fmla="*/ 5855435 h 6078415"/>
                <a:gd name="connsiteX1" fmla="*/ 8195740 w 11685910"/>
                <a:gd name="connsiteY1" fmla="*/ 5894457 h 6078415"/>
                <a:gd name="connsiteX2" fmla="*/ 8195740 w 11685910"/>
                <a:gd name="connsiteY2" fmla="*/ 5930817 h 6078415"/>
                <a:gd name="connsiteX3" fmla="*/ 8215378 w 11685910"/>
                <a:gd name="connsiteY3" fmla="*/ 5957677 h 6078415"/>
                <a:gd name="connsiteX4" fmla="*/ 8215378 w 11685910"/>
                <a:gd name="connsiteY4" fmla="*/ 5976174 h 6078415"/>
                <a:gd name="connsiteX5" fmla="*/ 8195740 w 11685910"/>
                <a:gd name="connsiteY5" fmla="*/ 6002526 h 6078415"/>
                <a:gd name="connsiteX6" fmla="*/ 8195740 w 11685910"/>
                <a:gd name="connsiteY6" fmla="*/ 6039901 h 6078415"/>
                <a:gd name="connsiteX7" fmla="*/ 8150891 w 11685910"/>
                <a:gd name="connsiteY7" fmla="*/ 6078415 h 6078415"/>
                <a:gd name="connsiteX8" fmla="*/ 8150891 w 11685910"/>
                <a:gd name="connsiteY8" fmla="*/ 6058905 h 6078415"/>
                <a:gd name="connsiteX9" fmla="*/ 8166538 w 11685910"/>
                <a:gd name="connsiteY9" fmla="*/ 6052823 h 6078415"/>
                <a:gd name="connsiteX10" fmla="*/ 8171162 w 11685910"/>
                <a:gd name="connsiteY10" fmla="*/ 6033566 h 6078415"/>
                <a:gd name="connsiteX11" fmla="*/ 8171162 w 11685910"/>
                <a:gd name="connsiteY11" fmla="*/ 5998219 h 6078415"/>
                <a:gd name="connsiteX12" fmla="*/ 8196121 w 11685910"/>
                <a:gd name="connsiteY12" fmla="*/ 5966925 h 6078415"/>
                <a:gd name="connsiteX13" fmla="*/ 8196121 w 11685910"/>
                <a:gd name="connsiteY13" fmla="*/ 5966545 h 6078415"/>
                <a:gd name="connsiteX14" fmla="*/ 8171162 w 11685910"/>
                <a:gd name="connsiteY14" fmla="*/ 5934999 h 6078415"/>
                <a:gd name="connsiteX15" fmla="*/ 8171162 w 11685910"/>
                <a:gd name="connsiteY15" fmla="*/ 5899271 h 6078415"/>
                <a:gd name="connsiteX16" fmla="*/ 8150891 w 11685910"/>
                <a:gd name="connsiteY16" fmla="*/ 5875073 h 6078415"/>
                <a:gd name="connsiteX17" fmla="*/ 8133407 w 11685910"/>
                <a:gd name="connsiteY17" fmla="*/ 5855435 h 6078415"/>
                <a:gd name="connsiteX18" fmla="*/ 8133407 w 11685910"/>
                <a:gd name="connsiteY18" fmla="*/ 5875073 h 6078415"/>
                <a:gd name="connsiteX19" fmla="*/ 8113263 w 11685910"/>
                <a:gd name="connsiteY19" fmla="*/ 5899271 h 6078415"/>
                <a:gd name="connsiteX20" fmla="*/ 8113263 w 11685910"/>
                <a:gd name="connsiteY20" fmla="*/ 5934999 h 6078415"/>
                <a:gd name="connsiteX21" fmla="*/ 8088050 w 11685910"/>
                <a:gd name="connsiteY21" fmla="*/ 5966545 h 6078415"/>
                <a:gd name="connsiteX22" fmla="*/ 8088050 w 11685910"/>
                <a:gd name="connsiteY22" fmla="*/ 5966925 h 6078415"/>
                <a:gd name="connsiteX23" fmla="*/ 8113263 w 11685910"/>
                <a:gd name="connsiteY23" fmla="*/ 5998219 h 6078415"/>
                <a:gd name="connsiteX24" fmla="*/ 8113263 w 11685910"/>
                <a:gd name="connsiteY24" fmla="*/ 6033566 h 6078415"/>
                <a:gd name="connsiteX25" fmla="*/ 8117760 w 11685910"/>
                <a:gd name="connsiteY25" fmla="*/ 6052886 h 6078415"/>
                <a:gd name="connsiteX26" fmla="*/ 8133407 w 11685910"/>
                <a:gd name="connsiteY26" fmla="*/ 6058905 h 6078415"/>
                <a:gd name="connsiteX27" fmla="*/ 8133407 w 11685910"/>
                <a:gd name="connsiteY27" fmla="*/ 6078415 h 6078415"/>
                <a:gd name="connsiteX28" fmla="*/ 8088304 w 11685910"/>
                <a:gd name="connsiteY28" fmla="*/ 6039901 h 6078415"/>
                <a:gd name="connsiteX29" fmla="*/ 8088304 w 11685910"/>
                <a:gd name="connsiteY29" fmla="*/ 6002526 h 6078415"/>
                <a:gd name="connsiteX30" fmla="*/ 8068540 w 11685910"/>
                <a:gd name="connsiteY30" fmla="*/ 5976174 h 6078415"/>
                <a:gd name="connsiteX31" fmla="*/ 8068540 w 11685910"/>
                <a:gd name="connsiteY31" fmla="*/ 5957677 h 6078415"/>
                <a:gd name="connsiteX32" fmla="*/ 8088304 w 11685910"/>
                <a:gd name="connsiteY32" fmla="*/ 5930817 h 6078415"/>
                <a:gd name="connsiteX33" fmla="*/ 8088304 w 11685910"/>
                <a:gd name="connsiteY33" fmla="*/ 5894457 h 6078415"/>
                <a:gd name="connsiteX34" fmla="*/ 8133407 w 11685910"/>
                <a:gd name="connsiteY34" fmla="*/ 5855435 h 6078415"/>
                <a:gd name="connsiteX35" fmla="*/ 11191247 w 11685910"/>
                <a:gd name="connsiteY35" fmla="*/ 5500304 h 6078415"/>
                <a:gd name="connsiteX36" fmla="*/ 11236096 w 11685910"/>
                <a:gd name="connsiteY36" fmla="*/ 5539326 h 6078415"/>
                <a:gd name="connsiteX37" fmla="*/ 11236096 w 11685910"/>
                <a:gd name="connsiteY37" fmla="*/ 5575686 h 6078415"/>
                <a:gd name="connsiteX38" fmla="*/ 11255734 w 11685910"/>
                <a:gd name="connsiteY38" fmla="*/ 5602546 h 6078415"/>
                <a:gd name="connsiteX39" fmla="*/ 11255734 w 11685910"/>
                <a:gd name="connsiteY39" fmla="*/ 5621043 h 6078415"/>
                <a:gd name="connsiteX40" fmla="*/ 11236096 w 11685910"/>
                <a:gd name="connsiteY40" fmla="*/ 5647395 h 6078415"/>
                <a:gd name="connsiteX41" fmla="*/ 11236096 w 11685910"/>
                <a:gd name="connsiteY41" fmla="*/ 5684770 h 6078415"/>
                <a:gd name="connsiteX42" fmla="*/ 11191247 w 11685910"/>
                <a:gd name="connsiteY42" fmla="*/ 5723284 h 6078415"/>
                <a:gd name="connsiteX43" fmla="*/ 11191247 w 11685910"/>
                <a:gd name="connsiteY43" fmla="*/ 5703774 h 6078415"/>
                <a:gd name="connsiteX44" fmla="*/ 11206894 w 11685910"/>
                <a:gd name="connsiteY44" fmla="*/ 5697692 h 6078415"/>
                <a:gd name="connsiteX45" fmla="*/ 11211518 w 11685910"/>
                <a:gd name="connsiteY45" fmla="*/ 5678435 h 6078415"/>
                <a:gd name="connsiteX46" fmla="*/ 11211518 w 11685910"/>
                <a:gd name="connsiteY46" fmla="*/ 5643088 h 6078415"/>
                <a:gd name="connsiteX47" fmla="*/ 11236477 w 11685910"/>
                <a:gd name="connsiteY47" fmla="*/ 5611794 h 6078415"/>
                <a:gd name="connsiteX48" fmla="*/ 11236477 w 11685910"/>
                <a:gd name="connsiteY48" fmla="*/ 5611414 h 6078415"/>
                <a:gd name="connsiteX49" fmla="*/ 11211518 w 11685910"/>
                <a:gd name="connsiteY49" fmla="*/ 5579868 h 6078415"/>
                <a:gd name="connsiteX50" fmla="*/ 11211518 w 11685910"/>
                <a:gd name="connsiteY50" fmla="*/ 5544140 h 6078415"/>
                <a:gd name="connsiteX51" fmla="*/ 11191247 w 11685910"/>
                <a:gd name="connsiteY51" fmla="*/ 5519942 h 6078415"/>
                <a:gd name="connsiteX52" fmla="*/ 11173763 w 11685910"/>
                <a:gd name="connsiteY52" fmla="*/ 5500304 h 6078415"/>
                <a:gd name="connsiteX53" fmla="*/ 11173763 w 11685910"/>
                <a:gd name="connsiteY53" fmla="*/ 5519942 h 6078415"/>
                <a:gd name="connsiteX54" fmla="*/ 11153619 w 11685910"/>
                <a:gd name="connsiteY54" fmla="*/ 5544140 h 6078415"/>
                <a:gd name="connsiteX55" fmla="*/ 11153619 w 11685910"/>
                <a:gd name="connsiteY55" fmla="*/ 5579868 h 6078415"/>
                <a:gd name="connsiteX56" fmla="*/ 11128407 w 11685910"/>
                <a:gd name="connsiteY56" fmla="*/ 5611414 h 6078415"/>
                <a:gd name="connsiteX57" fmla="*/ 11128407 w 11685910"/>
                <a:gd name="connsiteY57" fmla="*/ 5611794 h 6078415"/>
                <a:gd name="connsiteX58" fmla="*/ 11153619 w 11685910"/>
                <a:gd name="connsiteY58" fmla="*/ 5643088 h 6078415"/>
                <a:gd name="connsiteX59" fmla="*/ 11153619 w 11685910"/>
                <a:gd name="connsiteY59" fmla="*/ 5678435 h 6078415"/>
                <a:gd name="connsiteX60" fmla="*/ 11158117 w 11685910"/>
                <a:gd name="connsiteY60" fmla="*/ 5697755 h 6078415"/>
                <a:gd name="connsiteX61" fmla="*/ 11173763 w 11685910"/>
                <a:gd name="connsiteY61" fmla="*/ 5703774 h 6078415"/>
                <a:gd name="connsiteX62" fmla="*/ 11173763 w 11685910"/>
                <a:gd name="connsiteY62" fmla="*/ 5723284 h 6078415"/>
                <a:gd name="connsiteX63" fmla="*/ 11128660 w 11685910"/>
                <a:gd name="connsiteY63" fmla="*/ 5684770 h 6078415"/>
                <a:gd name="connsiteX64" fmla="*/ 11128660 w 11685910"/>
                <a:gd name="connsiteY64" fmla="*/ 5647395 h 6078415"/>
                <a:gd name="connsiteX65" fmla="*/ 11108896 w 11685910"/>
                <a:gd name="connsiteY65" fmla="*/ 5621043 h 6078415"/>
                <a:gd name="connsiteX66" fmla="*/ 11108896 w 11685910"/>
                <a:gd name="connsiteY66" fmla="*/ 5602546 h 6078415"/>
                <a:gd name="connsiteX67" fmla="*/ 11128660 w 11685910"/>
                <a:gd name="connsiteY67" fmla="*/ 5575686 h 6078415"/>
                <a:gd name="connsiteX68" fmla="*/ 11128660 w 11685910"/>
                <a:gd name="connsiteY68" fmla="*/ 5539326 h 6078415"/>
                <a:gd name="connsiteX69" fmla="*/ 11173763 w 11685910"/>
                <a:gd name="connsiteY69" fmla="*/ 5500304 h 6078415"/>
                <a:gd name="connsiteX70" fmla="*/ 8150891 w 11685910"/>
                <a:gd name="connsiteY70" fmla="*/ 5500304 h 6078415"/>
                <a:gd name="connsiteX71" fmla="*/ 8195740 w 11685910"/>
                <a:gd name="connsiteY71" fmla="*/ 5539326 h 6078415"/>
                <a:gd name="connsiteX72" fmla="*/ 8195740 w 11685910"/>
                <a:gd name="connsiteY72" fmla="*/ 5575686 h 6078415"/>
                <a:gd name="connsiteX73" fmla="*/ 8215378 w 11685910"/>
                <a:gd name="connsiteY73" fmla="*/ 5602546 h 6078415"/>
                <a:gd name="connsiteX74" fmla="*/ 8215378 w 11685910"/>
                <a:gd name="connsiteY74" fmla="*/ 5621043 h 6078415"/>
                <a:gd name="connsiteX75" fmla="*/ 8195740 w 11685910"/>
                <a:gd name="connsiteY75" fmla="*/ 5647395 h 6078415"/>
                <a:gd name="connsiteX76" fmla="*/ 8195740 w 11685910"/>
                <a:gd name="connsiteY76" fmla="*/ 5684770 h 6078415"/>
                <a:gd name="connsiteX77" fmla="*/ 8150891 w 11685910"/>
                <a:gd name="connsiteY77" fmla="*/ 5723284 h 6078415"/>
                <a:gd name="connsiteX78" fmla="*/ 8150891 w 11685910"/>
                <a:gd name="connsiteY78" fmla="*/ 5703774 h 6078415"/>
                <a:gd name="connsiteX79" fmla="*/ 8166538 w 11685910"/>
                <a:gd name="connsiteY79" fmla="*/ 5697692 h 6078415"/>
                <a:gd name="connsiteX80" fmla="*/ 8171162 w 11685910"/>
                <a:gd name="connsiteY80" fmla="*/ 5678435 h 6078415"/>
                <a:gd name="connsiteX81" fmla="*/ 8171162 w 11685910"/>
                <a:gd name="connsiteY81" fmla="*/ 5643088 h 6078415"/>
                <a:gd name="connsiteX82" fmla="*/ 8196121 w 11685910"/>
                <a:gd name="connsiteY82" fmla="*/ 5611794 h 6078415"/>
                <a:gd name="connsiteX83" fmla="*/ 8196121 w 11685910"/>
                <a:gd name="connsiteY83" fmla="*/ 5611414 h 6078415"/>
                <a:gd name="connsiteX84" fmla="*/ 8171162 w 11685910"/>
                <a:gd name="connsiteY84" fmla="*/ 5579868 h 6078415"/>
                <a:gd name="connsiteX85" fmla="*/ 8171162 w 11685910"/>
                <a:gd name="connsiteY85" fmla="*/ 5544140 h 6078415"/>
                <a:gd name="connsiteX86" fmla="*/ 8150891 w 11685910"/>
                <a:gd name="connsiteY86" fmla="*/ 5519942 h 6078415"/>
                <a:gd name="connsiteX87" fmla="*/ 8133407 w 11685910"/>
                <a:gd name="connsiteY87" fmla="*/ 5500304 h 6078415"/>
                <a:gd name="connsiteX88" fmla="*/ 8133407 w 11685910"/>
                <a:gd name="connsiteY88" fmla="*/ 5519942 h 6078415"/>
                <a:gd name="connsiteX89" fmla="*/ 8113263 w 11685910"/>
                <a:gd name="connsiteY89" fmla="*/ 5544140 h 6078415"/>
                <a:gd name="connsiteX90" fmla="*/ 8113263 w 11685910"/>
                <a:gd name="connsiteY90" fmla="*/ 5579868 h 6078415"/>
                <a:gd name="connsiteX91" fmla="*/ 8088050 w 11685910"/>
                <a:gd name="connsiteY91" fmla="*/ 5611414 h 6078415"/>
                <a:gd name="connsiteX92" fmla="*/ 8088050 w 11685910"/>
                <a:gd name="connsiteY92" fmla="*/ 5611794 h 6078415"/>
                <a:gd name="connsiteX93" fmla="*/ 8113263 w 11685910"/>
                <a:gd name="connsiteY93" fmla="*/ 5643088 h 6078415"/>
                <a:gd name="connsiteX94" fmla="*/ 8113263 w 11685910"/>
                <a:gd name="connsiteY94" fmla="*/ 5678435 h 6078415"/>
                <a:gd name="connsiteX95" fmla="*/ 8117760 w 11685910"/>
                <a:gd name="connsiteY95" fmla="*/ 5697755 h 6078415"/>
                <a:gd name="connsiteX96" fmla="*/ 8133407 w 11685910"/>
                <a:gd name="connsiteY96" fmla="*/ 5703774 h 6078415"/>
                <a:gd name="connsiteX97" fmla="*/ 8133407 w 11685910"/>
                <a:gd name="connsiteY97" fmla="*/ 5723284 h 6078415"/>
                <a:gd name="connsiteX98" fmla="*/ 8088304 w 11685910"/>
                <a:gd name="connsiteY98" fmla="*/ 5684770 h 6078415"/>
                <a:gd name="connsiteX99" fmla="*/ 8088304 w 11685910"/>
                <a:gd name="connsiteY99" fmla="*/ 5647395 h 6078415"/>
                <a:gd name="connsiteX100" fmla="*/ 8068540 w 11685910"/>
                <a:gd name="connsiteY100" fmla="*/ 5621043 h 6078415"/>
                <a:gd name="connsiteX101" fmla="*/ 8068540 w 11685910"/>
                <a:gd name="connsiteY101" fmla="*/ 5602546 h 6078415"/>
                <a:gd name="connsiteX102" fmla="*/ 8088304 w 11685910"/>
                <a:gd name="connsiteY102" fmla="*/ 5575686 h 6078415"/>
                <a:gd name="connsiteX103" fmla="*/ 8088304 w 11685910"/>
                <a:gd name="connsiteY103" fmla="*/ 5539326 h 6078415"/>
                <a:gd name="connsiteX104" fmla="*/ 8133407 w 11685910"/>
                <a:gd name="connsiteY104" fmla="*/ 5500304 h 6078415"/>
                <a:gd name="connsiteX105" fmla="*/ 11191247 w 11685910"/>
                <a:gd name="connsiteY105" fmla="*/ 5162674 h 6078415"/>
                <a:gd name="connsiteX106" fmla="*/ 11236096 w 11685910"/>
                <a:gd name="connsiteY106" fmla="*/ 5201695 h 6078415"/>
                <a:gd name="connsiteX107" fmla="*/ 11236096 w 11685910"/>
                <a:gd name="connsiteY107" fmla="*/ 5238056 h 6078415"/>
                <a:gd name="connsiteX108" fmla="*/ 11255734 w 11685910"/>
                <a:gd name="connsiteY108" fmla="*/ 5264915 h 6078415"/>
                <a:gd name="connsiteX109" fmla="*/ 11255734 w 11685910"/>
                <a:gd name="connsiteY109" fmla="*/ 5283412 h 6078415"/>
                <a:gd name="connsiteX110" fmla="*/ 11236096 w 11685910"/>
                <a:gd name="connsiteY110" fmla="*/ 5309765 h 6078415"/>
                <a:gd name="connsiteX111" fmla="*/ 11236096 w 11685910"/>
                <a:gd name="connsiteY111" fmla="*/ 5347139 h 6078415"/>
                <a:gd name="connsiteX112" fmla="*/ 11191247 w 11685910"/>
                <a:gd name="connsiteY112" fmla="*/ 5385654 h 6078415"/>
                <a:gd name="connsiteX113" fmla="*/ 11191247 w 11685910"/>
                <a:gd name="connsiteY113" fmla="*/ 5366143 h 6078415"/>
                <a:gd name="connsiteX114" fmla="*/ 11206894 w 11685910"/>
                <a:gd name="connsiteY114" fmla="*/ 5360062 h 6078415"/>
                <a:gd name="connsiteX115" fmla="*/ 11211518 w 11685910"/>
                <a:gd name="connsiteY115" fmla="*/ 5340805 h 6078415"/>
                <a:gd name="connsiteX116" fmla="*/ 11211518 w 11685910"/>
                <a:gd name="connsiteY116" fmla="*/ 5305457 h 6078415"/>
                <a:gd name="connsiteX117" fmla="*/ 11236477 w 11685910"/>
                <a:gd name="connsiteY117" fmla="*/ 5274164 h 6078415"/>
                <a:gd name="connsiteX118" fmla="*/ 11236477 w 11685910"/>
                <a:gd name="connsiteY118" fmla="*/ 5273784 h 6078415"/>
                <a:gd name="connsiteX119" fmla="*/ 11211518 w 11685910"/>
                <a:gd name="connsiteY119" fmla="*/ 5242237 h 6078415"/>
                <a:gd name="connsiteX120" fmla="*/ 11211518 w 11685910"/>
                <a:gd name="connsiteY120" fmla="*/ 5206510 h 6078415"/>
                <a:gd name="connsiteX121" fmla="*/ 11191247 w 11685910"/>
                <a:gd name="connsiteY121" fmla="*/ 5182311 h 6078415"/>
                <a:gd name="connsiteX122" fmla="*/ 11173763 w 11685910"/>
                <a:gd name="connsiteY122" fmla="*/ 5162674 h 6078415"/>
                <a:gd name="connsiteX123" fmla="*/ 11173763 w 11685910"/>
                <a:gd name="connsiteY123" fmla="*/ 5182311 h 6078415"/>
                <a:gd name="connsiteX124" fmla="*/ 11153619 w 11685910"/>
                <a:gd name="connsiteY124" fmla="*/ 5206510 h 6078415"/>
                <a:gd name="connsiteX125" fmla="*/ 11153619 w 11685910"/>
                <a:gd name="connsiteY125" fmla="*/ 5242237 h 6078415"/>
                <a:gd name="connsiteX126" fmla="*/ 11128407 w 11685910"/>
                <a:gd name="connsiteY126" fmla="*/ 5273784 h 6078415"/>
                <a:gd name="connsiteX127" fmla="*/ 11128407 w 11685910"/>
                <a:gd name="connsiteY127" fmla="*/ 5274164 h 6078415"/>
                <a:gd name="connsiteX128" fmla="*/ 11153619 w 11685910"/>
                <a:gd name="connsiteY128" fmla="*/ 5305457 h 6078415"/>
                <a:gd name="connsiteX129" fmla="*/ 11153619 w 11685910"/>
                <a:gd name="connsiteY129" fmla="*/ 5340805 h 6078415"/>
                <a:gd name="connsiteX130" fmla="*/ 11158117 w 11685910"/>
                <a:gd name="connsiteY130" fmla="*/ 5360125 h 6078415"/>
                <a:gd name="connsiteX131" fmla="*/ 11173763 w 11685910"/>
                <a:gd name="connsiteY131" fmla="*/ 5366143 h 6078415"/>
                <a:gd name="connsiteX132" fmla="*/ 11173763 w 11685910"/>
                <a:gd name="connsiteY132" fmla="*/ 5385654 h 6078415"/>
                <a:gd name="connsiteX133" fmla="*/ 11128660 w 11685910"/>
                <a:gd name="connsiteY133" fmla="*/ 5347139 h 6078415"/>
                <a:gd name="connsiteX134" fmla="*/ 11128660 w 11685910"/>
                <a:gd name="connsiteY134" fmla="*/ 5309765 h 6078415"/>
                <a:gd name="connsiteX135" fmla="*/ 11108896 w 11685910"/>
                <a:gd name="connsiteY135" fmla="*/ 5283412 h 6078415"/>
                <a:gd name="connsiteX136" fmla="*/ 11108896 w 11685910"/>
                <a:gd name="connsiteY136" fmla="*/ 5264915 h 6078415"/>
                <a:gd name="connsiteX137" fmla="*/ 11128660 w 11685910"/>
                <a:gd name="connsiteY137" fmla="*/ 5238056 h 6078415"/>
                <a:gd name="connsiteX138" fmla="*/ 11128660 w 11685910"/>
                <a:gd name="connsiteY138" fmla="*/ 5201695 h 6078415"/>
                <a:gd name="connsiteX139" fmla="*/ 11173763 w 11685910"/>
                <a:gd name="connsiteY139" fmla="*/ 5162674 h 6078415"/>
                <a:gd name="connsiteX140" fmla="*/ 8150891 w 11685910"/>
                <a:gd name="connsiteY140" fmla="*/ 5162674 h 6078415"/>
                <a:gd name="connsiteX141" fmla="*/ 8195740 w 11685910"/>
                <a:gd name="connsiteY141" fmla="*/ 5201696 h 6078415"/>
                <a:gd name="connsiteX142" fmla="*/ 8195740 w 11685910"/>
                <a:gd name="connsiteY142" fmla="*/ 5238056 h 6078415"/>
                <a:gd name="connsiteX143" fmla="*/ 8215378 w 11685910"/>
                <a:gd name="connsiteY143" fmla="*/ 5264916 h 6078415"/>
                <a:gd name="connsiteX144" fmla="*/ 8215378 w 11685910"/>
                <a:gd name="connsiteY144" fmla="*/ 5283413 h 6078415"/>
                <a:gd name="connsiteX145" fmla="*/ 8195740 w 11685910"/>
                <a:gd name="connsiteY145" fmla="*/ 5309765 h 6078415"/>
                <a:gd name="connsiteX146" fmla="*/ 8195740 w 11685910"/>
                <a:gd name="connsiteY146" fmla="*/ 5347140 h 6078415"/>
                <a:gd name="connsiteX147" fmla="*/ 8150891 w 11685910"/>
                <a:gd name="connsiteY147" fmla="*/ 5385654 h 6078415"/>
                <a:gd name="connsiteX148" fmla="*/ 8150891 w 11685910"/>
                <a:gd name="connsiteY148" fmla="*/ 5366144 h 6078415"/>
                <a:gd name="connsiteX149" fmla="*/ 8166538 w 11685910"/>
                <a:gd name="connsiteY149" fmla="*/ 5360062 h 6078415"/>
                <a:gd name="connsiteX150" fmla="*/ 8171162 w 11685910"/>
                <a:gd name="connsiteY150" fmla="*/ 5340805 h 6078415"/>
                <a:gd name="connsiteX151" fmla="*/ 8171162 w 11685910"/>
                <a:gd name="connsiteY151" fmla="*/ 5305458 h 6078415"/>
                <a:gd name="connsiteX152" fmla="*/ 8196121 w 11685910"/>
                <a:gd name="connsiteY152" fmla="*/ 5274164 h 6078415"/>
                <a:gd name="connsiteX153" fmla="*/ 8196121 w 11685910"/>
                <a:gd name="connsiteY153" fmla="*/ 5273784 h 6078415"/>
                <a:gd name="connsiteX154" fmla="*/ 8171162 w 11685910"/>
                <a:gd name="connsiteY154" fmla="*/ 5242238 h 6078415"/>
                <a:gd name="connsiteX155" fmla="*/ 8171162 w 11685910"/>
                <a:gd name="connsiteY155" fmla="*/ 5206510 h 6078415"/>
                <a:gd name="connsiteX156" fmla="*/ 8150891 w 11685910"/>
                <a:gd name="connsiteY156" fmla="*/ 5182312 h 6078415"/>
                <a:gd name="connsiteX157" fmla="*/ 8133407 w 11685910"/>
                <a:gd name="connsiteY157" fmla="*/ 5162674 h 6078415"/>
                <a:gd name="connsiteX158" fmla="*/ 8133407 w 11685910"/>
                <a:gd name="connsiteY158" fmla="*/ 5182312 h 6078415"/>
                <a:gd name="connsiteX159" fmla="*/ 8113263 w 11685910"/>
                <a:gd name="connsiteY159" fmla="*/ 5206510 h 6078415"/>
                <a:gd name="connsiteX160" fmla="*/ 8113263 w 11685910"/>
                <a:gd name="connsiteY160" fmla="*/ 5242238 h 6078415"/>
                <a:gd name="connsiteX161" fmla="*/ 8088050 w 11685910"/>
                <a:gd name="connsiteY161" fmla="*/ 5273784 h 6078415"/>
                <a:gd name="connsiteX162" fmla="*/ 8088050 w 11685910"/>
                <a:gd name="connsiteY162" fmla="*/ 5274164 h 6078415"/>
                <a:gd name="connsiteX163" fmla="*/ 8113263 w 11685910"/>
                <a:gd name="connsiteY163" fmla="*/ 5305458 h 6078415"/>
                <a:gd name="connsiteX164" fmla="*/ 8113263 w 11685910"/>
                <a:gd name="connsiteY164" fmla="*/ 5340805 h 6078415"/>
                <a:gd name="connsiteX165" fmla="*/ 8117760 w 11685910"/>
                <a:gd name="connsiteY165" fmla="*/ 5360125 h 6078415"/>
                <a:gd name="connsiteX166" fmla="*/ 8133407 w 11685910"/>
                <a:gd name="connsiteY166" fmla="*/ 5366144 h 6078415"/>
                <a:gd name="connsiteX167" fmla="*/ 8133407 w 11685910"/>
                <a:gd name="connsiteY167" fmla="*/ 5385654 h 6078415"/>
                <a:gd name="connsiteX168" fmla="*/ 8088304 w 11685910"/>
                <a:gd name="connsiteY168" fmla="*/ 5347140 h 6078415"/>
                <a:gd name="connsiteX169" fmla="*/ 8088304 w 11685910"/>
                <a:gd name="connsiteY169" fmla="*/ 5309765 h 6078415"/>
                <a:gd name="connsiteX170" fmla="*/ 8068540 w 11685910"/>
                <a:gd name="connsiteY170" fmla="*/ 5283413 h 6078415"/>
                <a:gd name="connsiteX171" fmla="*/ 8068540 w 11685910"/>
                <a:gd name="connsiteY171" fmla="*/ 5264916 h 6078415"/>
                <a:gd name="connsiteX172" fmla="*/ 8088304 w 11685910"/>
                <a:gd name="connsiteY172" fmla="*/ 5238056 h 6078415"/>
                <a:gd name="connsiteX173" fmla="*/ 8088304 w 11685910"/>
                <a:gd name="connsiteY173" fmla="*/ 5201696 h 6078415"/>
                <a:gd name="connsiteX174" fmla="*/ 8133407 w 11685910"/>
                <a:gd name="connsiteY174" fmla="*/ 5162674 h 6078415"/>
                <a:gd name="connsiteX175" fmla="*/ 5096170 w 11685910"/>
                <a:gd name="connsiteY175" fmla="*/ 5162674 h 6078415"/>
                <a:gd name="connsiteX176" fmla="*/ 5141019 w 11685910"/>
                <a:gd name="connsiteY176" fmla="*/ 5201696 h 6078415"/>
                <a:gd name="connsiteX177" fmla="*/ 5141019 w 11685910"/>
                <a:gd name="connsiteY177" fmla="*/ 5238056 h 6078415"/>
                <a:gd name="connsiteX178" fmla="*/ 5160658 w 11685910"/>
                <a:gd name="connsiteY178" fmla="*/ 5264916 h 6078415"/>
                <a:gd name="connsiteX179" fmla="*/ 5160658 w 11685910"/>
                <a:gd name="connsiteY179" fmla="*/ 5283413 h 6078415"/>
                <a:gd name="connsiteX180" fmla="*/ 5141019 w 11685910"/>
                <a:gd name="connsiteY180" fmla="*/ 5309765 h 6078415"/>
                <a:gd name="connsiteX181" fmla="*/ 5141019 w 11685910"/>
                <a:gd name="connsiteY181" fmla="*/ 5347140 h 6078415"/>
                <a:gd name="connsiteX182" fmla="*/ 5096170 w 11685910"/>
                <a:gd name="connsiteY182" fmla="*/ 5385654 h 6078415"/>
                <a:gd name="connsiteX183" fmla="*/ 5096170 w 11685910"/>
                <a:gd name="connsiteY183" fmla="*/ 5366144 h 6078415"/>
                <a:gd name="connsiteX184" fmla="*/ 5111817 w 11685910"/>
                <a:gd name="connsiteY184" fmla="*/ 5360062 h 6078415"/>
                <a:gd name="connsiteX185" fmla="*/ 5116441 w 11685910"/>
                <a:gd name="connsiteY185" fmla="*/ 5340805 h 6078415"/>
                <a:gd name="connsiteX186" fmla="*/ 5116441 w 11685910"/>
                <a:gd name="connsiteY186" fmla="*/ 5305458 h 6078415"/>
                <a:gd name="connsiteX187" fmla="*/ 5141399 w 11685910"/>
                <a:gd name="connsiteY187" fmla="*/ 5274164 h 6078415"/>
                <a:gd name="connsiteX188" fmla="*/ 5141399 w 11685910"/>
                <a:gd name="connsiteY188" fmla="*/ 5273784 h 6078415"/>
                <a:gd name="connsiteX189" fmla="*/ 5116441 w 11685910"/>
                <a:gd name="connsiteY189" fmla="*/ 5242238 h 6078415"/>
                <a:gd name="connsiteX190" fmla="*/ 5116441 w 11685910"/>
                <a:gd name="connsiteY190" fmla="*/ 5206510 h 6078415"/>
                <a:gd name="connsiteX191" fmla="*/ 5096170 w 11685910"/>
                <a:gd name="connsiteY191" fmla="*/ 5182312 h 6078415"/>
                <a:gd name="connsiteX192" fmla="*/ 5078686 w 11685910"/>
                <a:gd name="connsiteY192" fmla="*/ 5162674 h 6078415"/>
                <a:gd name="connsiteX193" fmla="*/ 5078686 w 11685910"/>
                <a:gd name="connsiteY193" fmla="*/ 5182312 h 6078415"/>
                <a:gd name="connsiteX194" fmla="*/ 5058542 w 11685910"/>
                <a:gd name="connsiteY194" fmla="*/ 5206510 h 6078415"/>
                <a:gd name="connsiteX195" fmla="*/ 5058542 w 11685910"/>
                <a:gd name="connsiteY195" fmla="*/ 5242238 h 6078415"/>
                <a:gd name="connsiteX196" fmla="*/ 5033329 w 11685910"/>
                <a:gd name="connsiteY196" fmla="*/ 5273784 h 6078415"/>
                <a:gd name="connsiteX197" fmla="*/ 5033329 w 11685910"/>
                <a:gd name="connsiteY197" fmla="*/ 5274164 h 6078415"/>
                <a:gd name="connsiteX198" fmla="*/ 5058542 w 11685910"/>
                <a:gd name="connsiteY198" fmla="*/ 5305458 h 6078415"/>
                <a:gd name="connsiteX199" fmla="*/ 5058542 w 11685910"/>
                <a:gd name="connsiteY199" fmla="*/ 5340805 h 6078415"/>
                <a:gd name="connsiteX200" fmla="*/ 5063039 w 11685910"/>
                <a:gd name="connsiteY200" fmla="*/ 5360125 h 6078415"/>
                <a:gd name="connsiteX201" fmla="*/ 5078686 w 11685910"/>
                <a:gd name="connsiteY201" fmla="*/ 5366144 h 6078415"/>
                <a:gd name="connsiteX202" fmla="*/ 5078686 w 11685910"/>
                <a:gd name="connsiteY202" fmla="*/ 5385654 h 6078415"/>
                <a:gd name="connsiteX203" fmla="*/ 5033583 w 11685910"/>
                <a:gd name="connsiteY203" fmla="*/ 5347140 h 6078415"/>
                <a:gd name="connsiteX204" fmla="*/ 5033583 w 11685910"/>
                <a:gd name="connsiteY204" fmla="*/ 5309765 h 6078415"/>
                <a:gd name="connsiteX205" fmla="*/ 5013819 w 11685910"/>
                <a:gd name="connsiteY205" fmla="*/ 5283413 h 6078415"/>
                <a:gd name="connsiteX206" fmla="*/ 5013819 w 11685910"/>
                <a:gd name="connsiteY206" fmla="*/ 5264916 h 6078415"/>
                <a:gd name="connsiteX207" fmla="*/ 5033583 w 11685910"/>
                <a:gd name="connsiteY207" fmla="*/ 5238056 h 6078415"/>
                <a:gd name="connsiteX208" fmla="*/ 5033583 w 11685910"/>
                <a:gd name="connsiteY208" fmla="*/ 5201696 h 6078415"/>
                <a:gd name="connsiteX209" fmla="*/ 5078686 w 11685910"/>
                <a:gd name="connsiteY209" fmla="*/ 5162674 h 6078415"/>
                <a:gd name="connsiteX210" fmla="*/ 11191247 w 11685910"/>
                <a:gd name="connsiteY210" fmla="*/ 4849604 h 6078415"/>
                <a:gd name="connsiteX211" fmla="*/ 11236096 w 11685910"/>
                <a:gd name="connsiteY211" fmla="*/ 4888625 h 6078415"/>
                <a:gd name="connsiteX212" fmla="*/ 11236096 w 11685910"/>
                <a:gd name="connsiteY212" fmla="*/ 4924986 h 6078415"/>
                <a:gd name="connsiteX213" fmla="*/ 11255734 w 11685910"/>
                <a:gd name="connsiteY213" fmla="*/ 4951845 h 6078415"/>
                <a:gd name="connsiteX214" fmla="*/ 11255734 w 11685910"/>
                <a:gd name="connsiteY214" fmla="*/ 4970342 h 6078415"/>
                <a:gd name="connsiteX215" fmla="*/ 11236096 w 11685910"/>
                <a:gd name="connsiteY215" fmla="*/ 4996695 h 6078415"/>
                <a:gd name="connsiteX216" fmla="*/ 11236096 w 11685910"/>
                <a:gd name="connsiteY216" fmla="*/ 5034069 h 6078415"/>
                <a:gd name="connsiteX217" fmla="*/ 11191247 w 11685910"/>
                <a:gd name="connsiteY217" fmla="*/ 5072584 h 6078415"/>
                <a:gd name="connsiteX218" fmla="*/ 11191247 w 11685910"/>
                <a:gd name="connsiteY218" fmla="*/ 5053073 h 6078415"/>
                <a:gd name="connsiteX219" fmla="*/ 11206894 w 11685910"/>
                <a:gd name="connsiteY219" fmla="*/ 5046992 h 6078415"/>
                <a:gd name="connsiteX220" fmla="*/ 11211518 w 11685910"/>
                <a:gd name="connsiteY220" fmla="*/ 5027735 h 6078415"/>
                <a:gd name="connsiteX221" fmla="*/ 11211518 w 11685910"/>
                <a:gd name="connsiteY221" fmla="*/ 4992387 h 6078415"/>
                <a:gd name="connsiteX222" fmla="*/ 11236477 w 11685910"/>
                <a:gd name="connsiteY222" fmla="*/ 4961094 h 6078415"/>
                <a:gd name="connsiteX223" fmla="*/ 11236477 w 11685910"/>
                <a:gd name="connsiteY223" fmla="*/ 4960714 h 6078415"/>
                <a:gd name="connsiteX224" fmla="*/ 11211518 w 11685910"/>
                <a:gd name="connsiteY224" fmla="*/ 4929167 h 6078415"/>
                <a:gd name="connsiteX225" fmla="*/ 11211518 w 11685910"/>
                <a:gd name="connsiteY225" fmla="*/ 4893440 h 6078415"/>
                <a:gd name="connsiteX226" fmla="*/ 11191247 w 11685910"/>
                <a:gd name="connsiteY226" fmla="*/ 4869241 h 6078415"/>
                <a:gd name="connsiteX227" fmla="*/ 11173763 w 11685910"/>
                <a:gd name="connsiteY227" fmla="*/ 4849604 h 6078415"/>
                <a:gd name="connsiteX228" fmla="*/ 11173763 w 11685910"/>
                <a:gd name="connsiteY228" fmla="*/ 4869241 h 6078415"/>
                <a:gd name="connsiteX229" fmla="*/ 11153619 w 11685910"/>
                <a:gd name="connsiteY229" fmla="*/ 4893440 h 6078415"/>
                <a:gd name="connsiteX230" fmla="*/ 11153619 w 11685910"/>
                <a:gd name="connsiteY230" fmla="*/ 4929167 h 6078415"/>
                <a:gd name="connsiteX231" fmla="*/ 11128407 w 11685910"/>
                <a:gd name="connsiteY231" fmla="*/ 4960714 h 6078415"/>
                <a:gd name="connsiteX232" fmla="*/ 11128407 w 11685910"/>
                <a:gd name="connsiteY232" fmla="*/ 4961094 h 6078415"/>
                <a:gd name="connsiteX233" fmla="*/ 11153619 w 11685910"/>
                <a:gd name="connsiteY233" fmla="*/ 4992387 h 6078415"/>
                <a:gd name="connsiteX234" fmla="*/ 11153619 w 11685910"/>
                <a:gd name="connsiteY234" fmla="*/ 5027735 h 6078415"/>
                <a:gd name="connsiteX235" fmla="*/ 11158117 w 11685910"/>
                <a:gd name="connsiteY235" fmla="*/ 5047055 h 6078415"/>
                <a:gd name="connsiteX236" fmla="*/ 11173763 w 11685910"/>
                <a:gd name="connsiteY236" fmla="*/ 5053073 h 6078415"/>
                <a:gd name="connsiteX237" fmla="*/ 11173763 w 11685910"/>
                <a:gd name="connsiteY237" fmla="*/ 5072584 h 6078415"/>
                <a:gd name="connsiteX238" fmla="*/ 11128660 w 11685910"/>
                <a:gd name="connsiteY238" fmla="*/ 5034069 h 6078415"/>
                <a:gd name="connsiteX239" fmla="*/ 11128660 w 11685910"/>
                <a:gd name="connsiteY239" fmla="*/ 4996695 h 6078415"/>
                <a:gd name="connsiteX240" fmla="*/ 11108896 w 11685910"/>
                <a:gd name="connsiteY240" fmla="*/ 4970342 h 6078415"/>
                <a:gd name="connsiteX241" fmla="*/ 11108896 w 11685910"/>
                <a:gd name="connsiteY241" fmla="*/ 4951845 h 6078415"/>
                <a:gd name="connsiteX242" fmla="*/ 11128660 w 11685910"/>
                <a:gd name="connsiteY242" fmla="*/ 4924986 h 6078415"/>
                <a:gd name="connsiteX243" fmla="*/ 11128660 w 11685910"/>
                <a:gd name="connsiteY243" fmla="*/ 4888625 h 6078415"/>
                <a:gd name="connsiteX244" fmla="*/ 11173763 w 11685910"/>
                <a:gd name="connsiteY244" fmla="*/ 4849604 h 6078415"/>
                <a:gd name="connsiteX245" fmla="*/ 8150891 w 11685910"/>
                <a:gd name="connsiteY245" fmla="*/ 4849604 h 6078415"/>
                <a:gd name="connsiteX246" fmla="*/ 8195740 w 11685910"/>
                <a:gd name="connsiteY246" fmla="*/ 4888626 h 6078415"/>
                <a:gd name="connsiteX247" fmla="*/ 8195740 w 11685910"/>
                <a:gd name="connsiteY247" fmla="*/ 4924986 h 6078415"/>
                <a:gd name="connsiteX248" fmla="*/ 8215378 w 11685910"/>
                <a:gd name="connsiteY248" fmla="*/ 4951846 h 6078415"/>
                <a:gd name="connsiteX249" fmla="*/ 8215378 w 11685910"/>
                <a:gd name="connsiteY249" fmla="*/ 4970343 h 6078415"/>
                <a:gd name="connsiteX250" fmla="*/ 8195740 w 11685910"/>
                <a:gd name="connsiteY250" fmla="*/ 4996695 h 6078415"/>
                <a:gd name="connsiteX251" fmla="*/ 8195740 w 11685910"/>
                <a:gd name="connsiteY251" fmla="*/ 5034070 h 6078415"/>
                <a:gd name="connsiteX252" fmla="*/ 8150891 w 11685910"/>
                <a:gd name="connsiteY252" fmla="*/ 5072584 h 6078415"/>
                <a:gd name="connsiteX253" fmla="*/ 8150891 w 11685910"/>
                <a:gd name="connsiteY253" fmla="*/ 5053074 h 6078415"/>
                <a:gd name="connsiteX254" fmla="*/ 8166538 w 11685910"/>
                <a:gd name="connsiteY254" fmla="*/ 5046992 h 6078415"/>
                <a:gd name="connsiteX255" fmla="*/ 8171162 w 11685910"/>
                <a:gd name="connsiteY255" fmla="*/ 5027735 h 6078415"/>
                <a:gd name="connsiteX256" fmla="*/ 8171162 w 11685910"/>
                <a:gd name="connsiteY256" fmla="*/ 4992388 h 6078415"/>
                <a:gd name="connsiteX257" fmla="*/ 8196121 w 11685910"/>
                <a:gd name="connsiteY257" fmla="*/ 4961094 h 6078415"/>
                <a:gd name="connsiteX258" fmla="*/ 8196121 w 11685910"/>
                <a:gd name="connsiteY258" fmla="*/ 4960714 h 6078415"/>
                <a:gd name="connsiteX259" fmla="*/ 8171162 w 11685910"/>
                <a:gd name="connsiteY259" fmla="*/ 4929168 h 6078415"/>
                <a:gd name="connsiteX260" fmla="*/ 8171162 w 11685910"/>
                <a:gd name="connsiteY260" fmla="*/ 4893440 h 6078415"/>
                <a:gd name="connsiteX261" fmla="*/ 8150891 w 11685910"/>
                <a:gd name="connsiteY261" fmla="*/ 4869242 h 6078415"/>
                <a:gd name="connsiteX262" fmla="*/ 8133407 w 11685910"/>
                <a:gd name="connsiteY262" fmla="*/ 4849604 h 6078415"/>
                <a:gd name="connsiteX263" fmla="*/ 8133407 w 11685910"/>
                <a:gd name="connsiteY263" fmla="*/ 4869242 h 6078415"/>
                <a:gd name="connsiteX264" fmla="*/ 8113263 w 11685910"/>
                <a:gd name="connsiteY264" fmla="*/ 4893440 h 6078415"/>
                <a:gd name="connsiteX265" fmla="*/ 8113263 w 11685910"/>
                <a:gd name="connsiteY265" fmla="*/ 4929168 h 6078415"/>
                <a:gd name="connsiteX266" fmla="*/ 8088050 w 11685910"/>
                <a:gd name="connsiteY266" fmla="*/ 4960714 h 6078415"/>
                <a:gd name="connsiteX267" fmla="*/ 8088050 w 11685910"/>
                <a:gd name="connsiteY267" fmla="*/ 4961094 h 6078415"/>
                <a:gd name="connsiteX268" fmla="*/ 8113263 w 11685910"/>
                <a:gd name="connsiteY268" fmla="*/ 4992388 h 6078415"/>
                <a:gd name="connsiteX269" fmla="*/ 8113263 w 11685910"/>
                <a:gd name="connsiteY269" fmla="*/ 5027735 h 6078415"/>
                <a:gd name="connsiteX270" fmla="*/ 8117760 w 11685910"/>
                <a:gd name="connsiteY270" fmla="*/ 5047055 h 6078415"/>
                <a:gd name="connsiteX271" fmla="*/ 8133407 w 11685910"/>
                <a:gd name="connsiteY271" fmla="*/ 5053074 h 6078415"/>
                <a:gd name="connsiteX272" fmla="*/ 8133407 w 11685910"/>
                <a:gd name="connsiteY272" fmla="*/ 5072584 h 6078415"/>
                <a:gd name="connsiteX273" fmla="*/ 8088304 w 11685910"/>
                <a:gd name="connsiteY273" fmla="*/ 5034070 h 6078415"/>
                <a:gd name="connsiteX274" fmla="*/ 8088304 w 11685910"/>
                <a:gd name="connsiteY274" fmla="*/ 4996695 h 6078415"/>
                <a:gd name="connsiteX275" fmla="*/ 8068540 w 11685910"/>
                <a:gd name="connsiteY275" fmla="*/ 4970343 h 6078415"/>
                <a:gd name="connsiteX276" fmla="*/ 8068540 w 11685910"/>
                <a:gd name="connsiteY276" fmla="*/ 4951846 h 6078415"/>
                <a:gd name="connsiteX277" fmla="*/ 8088304 w 11685910"/>
                <a:gd name="connsiteY277" fmla="*/ 4924986 h 6078415"/>
                <a:gd name="connsiteX278" fmla="*/ 8088304 w 11685910"/>
                <a:gd name="connsiteY278" fmla="*/ 4888626 h 6078415"/>
                <a:gd name="connsiteX279" fmla="*/ 8133407 w 11685910"/>
                <a:gd name="connsiteY279" fmla="*/ 4849604 h 6078415"/>
                <a:gd name="connsiteX280" fmla="*/ 5096170 w 11685910"/>
                <a:gd name="connsiteY280" fmla="*/ 4849604 h 6078415"/>
                <a:gd name="connsiteX281" fmla="*/ 5141019 w 11685910"/>
                <a:gd name="connsiteY281" fmla="*/ 4888626 h 6078415"/>
                <a:gd name="connsiteX282" fmla="*/ 5141019 w 11685910"/>
                <a:gd name="connsiteY282" fmla="*/ 4924986 h 6078415"/>
                <a:gd name="connsiteX283" fmla="*/ 5160658 w 11685910"/>
                <a:gd name="connsiteY283" fmla="*/ 4951846 h 6078415"/>
                <a:gd name="connsiteX284" fmla="*/ 5160658 w 11685910"/>
                <a:gd name="connsiteY284" fmla="*/ 4970343 h 6078415"/>
                <a:gd name="connsiteX285" fmla="*/ 5141019 w 11685910"/>
                <a:gd name="connsiteY285" fmla="*/ 4996695 h 6078415"/>
                <a:gd name="connsiteX286" fmla="*/ 5141019 w 11685910"/>
                <a:gd name="connsiteY286" fmla="*/ 5034070 h 6078415"/>
                <a:gd name="connsiteX287" fmla="*/ 5096170 w 11685910"/>
                <a:gd name="connsiteY287" fmla="*/ 5072584 h 6078415"/>
                <a:gd name="connsiteX288" fmla="*/ 5096170 w 11685910"/>
                <a:gd name="connsiteY288" fmla="*/ 5053074 h 6078415"/>
                <a:gd name="connsiteX289" fmla="*/ 5111817 w 11685910"/>
                <a:gd name="connsiteY289" fmla="*/ 5046992 h 6078415"/>
                <a:gd name="connsiteX290" fmla="*/ 5116441 w 11685910"/>
                <a:gd name="connsiteY290" fmla="*/ 5027735 h 6078415"/>
                <a:gd name="connsiteX291" fmla="*/ 5116441 w 11685910"/>
                <a:gd name="connsiteY291" fmla="*/ 4992388 h 6078415"/>
                <a:gd name="connsiteX292" fmla="*/ 5141399 w 11685910"/>
                <a:gd name="connsiteY292" fmla="*/ 4961094 h 6078415"/>
                <a:gd name="connsiteX293" fmla="*/ 5141399 w 11685910"/>
                <a:gd name="connsiteY293" fmla="*/ 4960714 h 6078415"/>
                <a:gd name="connsiteX294" fmla="*/ 5116441 w 11685910"/>
                <a:gd name="connsiteY294" fmla="*/ 4929168 h 6078415"/>
                <a:gd name="connsiteX295" fmla="*/ 5116441 w 11685910"/>
                <a:gd name="connsiteY295" fmla="*/ 4893440 h 6078415"/>
                <a:gd name="connsiteX296" fmla="*/ 5096170 w 11685910"/>
                <a:gd name="connsiteY296" fmla="*/ 4869242 h 6078415"/>
                <a:gd name="connsiteX297" fmla="*/ 5078686 w 11685910"/>
                <a:gd name="connsiteY297" fmla="*/ 4849604 h 6078415"/>
                <a:gd name="connsiteX298" fmla="*/ 5078686 w 11685910"/>
                <a:gd name="connsiteY298" fmla="*/ 4869242 h 6078415"/>
                <a:gd name="connsiteX299" fmla="*/ 5058542 w 11685910"/>
                <a:gd name="connsiteY299" fmla="*/ 4893440 h 6078415"/>
                <a:gd name="connsiteX300" fmla="*/ 5058542 w 11685910"/>
                <a:gd name="connsiteY300" fmla="*/ 4929168 h 6078415"/>
                <a:gd name="connsiteX301" fmla="*/ 5033329 w 11685910"/>
                <a:gd name="connsiteY301" fmla="*/ 4960714 h 6078415"/>
                <a:gd name="connsiteX302" fmla="*/ 5033329 w 11685910"/>
                <a:gd name="connsiteY302" fmla="*/ 4961094 h 6078415"/>
                <a:gd name="connsiteX303" fmla="*/ 5058542 w 11685910"/>
                <a:gd name="connsiteY303" fmla="*/ 4992388 h 6078415"/>
                <a:gd name="connsiteX304" fmla="*/ 5058542 w 11685910"/>
                <a:gd name="connsiteY304" fmla="*/ 5027735 h 6078415"/>
                <a:gd name="connsiteX305" fmla="*/ 5063039 w 11685910"/>
                <a:gd name="connsiteY305" fmla="*/ 5047055 h 6078415"/>
                <a:gd name="connsiteX306" fmla="*/ 5078686 w 11685910"/>
                <a:gd name="connsiteY306" fmla="*/ 5053074 h 6078415"/>
                <a:gd name="connsiteX307" fmla="*/ 5078686 w 11685910"/>
                <a:gd name="connsiteY307" fmla="*/ 5072584 h 6078415"/>
                <a:gd name="connsiteX308" fmla="*/ 5033583 w 11685910"/>
                <a:gd name="connsiteY308" fmla="*/ 5034070 h 6078415"/>
                <a:gd name="connsiteX309" fmla="*/ 5033583 w 11685910"/>
                <a:gd name="connsiteY309" fmla="*/ 4996695 h 6078415"/>
                <a:gd name="connsiteX310" fmla="*/ 5013819 w 11685910"/>
                <a:gd name="connsiteY310" fmla="*/ 4970343 h 6078415"/>
                <a:gd name="connsiteX311" fmla="*/ 5013819 w 11685910"/>
                <a:gd name="connsiteY311" fmla="*/ 4951846 h 6078415"/>
                <a:gd name="connsiteX312" fmla="*/ 5033583 w 11685910"/>
                <a:gd name="connsiteY312" fmla="*/ 4924986 h 6078415"/>
                <a:gd name="connsiteX313" fmla="*/ 5033583 w 11685910"/>
                <a:gd name="connsiteY313" fmla="*/ 4888626 h 6078415"/>
                <a:gd name="connsiteX314" fmla="*/ 5078686 w 11685910"/>
                <a:gd name="connsiteY314" fmla="*/ 4849604 h 6078415"/>
                <a:gd name="connsiteX315" fmla="*/ 2067894 w 11685910"/>
                <a:gd name="connsiteY315" fmla="*/ 4849604 h 6078415"/>
                <a:gd name="connsiteX316" fmla="*/ 2112743 w 11685910"/>
                <a:gd name="connsiteY316" fmla="*/ 4888626 h 6078415"/>
                <a:gd name="connsiteX317" fmla="*/ 2112743 w 11685910"/>
                <a:gd name="connsiteY317" fmla="*/ 4924986 h 6078415"/>
                <a:gd name="connsiteX318" fmla="*/ 2132381 w 11685910"/>
                <a:gd name="connsiteY318" fmla="*/ 4951846 h 6078415"/>
                <a:gd name="connsiteX319" fmla="*/ 2132381 w 11685910"/>
                <a:gd name="connsiteY319" fmla="*/ 4970343 h 6078415"/>
                <a:gd name="connsiteX320" fmla="*/ 2112743 w 11685910"/>
                <a:gd name="connsiteY320" fmla="*/ 4996695 h 6078415"/>
                <a:gd name="connsiteX321" fmla="*/ 2112743 w 11685910"/>
                <a:gd name="connsiteY321" fmla="*/ 5034070 h 6078415"/>
                <a:gd name="connsiteX322" fmla="*/ 2067894 w 11685910"/>
                <a:gd name="connsiteY322" fmla="*/ 5072584 h 6078415"/>
                <a:gd name="connsiteX323" fmla="*/ 2067894 w 11685910"/>
                <a:gd name="connsiteY323" fmla="*/ 5053074 h 6078415"/>
                <a:gd name="connsiteX324" fmla="*/ 2083541 w 11685910"/>
                <a:gd name="connsiteY324" fmla="*/ 5046992 h 6078415"/>
                <a:gd name="connsiteX325" fmla="*/ 2088165 w 11685910"/>
                <a:gd name="connsiteY325" fmla="*/ 5027735 h 6078415"/>
                <a:gd name="connsiteX326" fmla="*/ 2088165 w 11685910"/>
                <a:gd name="connsiteY326" fmla="*/ 4992388 h 6078415"/>
                <a:gd name="connsiteX327" fmla="*/ 2113123 w 11685910"/>
                <a:gd name="connsiteY327" fmla="*/ 4961094 h 6078415"/>
                <a:gd name="connsiteX328" fmla="*/ 2113123 w 11685910"/>
                <a:gd name="connsiteY328" fmla="*/ 4960714 h 6078415"/>
                <a:gd name="connsiteX329" fmla="*/ 2088165 w 11685910"/>
                <a:gd name="connsiteY329" fmla="*/ 4929168 h 6078415"/>
                <a:gd name="connsiteX330" fmla="*/ 2088165 w 11685910"/>
                <a:gd name="connsiteY330" fmla="*/ 4893440 h 6078415"/>
                <a:gd name="connsiteX331" fmla="*/ 2067894 w 11685910"/>
                <a:gd name="connsiteY331" fmla="*/ 4869242 h 6078415"/>
                <a:gd name="connsiteX332" fmla="*/ 2050410 w 11685910"/>
                <a:gd name="connsiteY332" fmla="*/ 4849604 h 6078415"/>
                <a:gd name="connsiteX333" fmla="*/ 2050410 w 11685910"/>
                <a:gd name="connsiteY333" fmla="*/ 4869242 h 6078415"/>
                <a:gd name="connsiteX334" fmla="*/ 2030266 w 11685910"/>
                <a:gd name="connsiteY334" fmla="*/ 4893440 h 6078415"/>
                <a:gd name="connsiteX335" fmla="*/ 2030266 w 11685910"/>
                <a:gd name="connsiteY335" fmla="*/ 4929168 h 6078415"/>
                <a:gd name="connsiteX336" fmla="*/ 2005053 w 11685910"/>
                <a:gd name="connsiteY336" fmla="*/ 4960714 h 6078415"/>
                <a:gd name="connsiteX337" fmla="*/ 2005053 w 11685910"/>
                <a:gd name="connsiteY337" fmla="*/ 4961094 h 6078415"/>
                <a:gd name="connsiteX338" fmla="*/ 2030266 w 11685910"/>
                <a:gd name="connsiteY338" fmla="*/ 4992388 h 6078415"/>
                <a:gd name="connsiteX339" fmla="*/ 2030266 w 11685910"/>
                <a:gd name="connsiteY339" fmla="*/ 5027735 h 6078415"/>
                <a:gd name="connsiteX340" fmla="*/ 2034764 w 11685910"/>
                <a:gd name="connsiteY340" fmla="*/ 5047055 h 6078415"/>
                <a:gd name="connsiteX341" fmla="*/ 2050410 w 11685910"/>
                <a:gd name="connsiteY341" fmla="*/ 5053074 h 6078415"/>
                <a:gd name="connsiteX342" fmla="*/ 2050410 w 11685910"/>
                <a:gd name="connsiteY342" fmla="*/ 5072584 h 6078415"/>
                <a:gd name="connsiteX343" fmla="*/ 2005307 w 11685910"/>
                <a:gd name="connsiteY343" fmla="*/ 5034070 h 6078415"/>
                <a:gd name="connsiteX344" fmla="*/ 2005307 w 11685910"/>
                <a:gd name="connsiteY344" fmla="*/ 4996695 h 6078415"/>
                <a:gd name="connsiteX345" fmla="*/ 1985542 w 11685910"/>
                <a:gd name="connsiteY345" fmla="*/ 4970343 h 6078415"/>
                <a:gd name="connsiteX346" fmla="*/ 1985542 w 11685910"/>
                <a:gd name="connsiteY346" fmla="*/ 4951846 h 6078415"/>
                <a:gd name="connsiteX347" fmla="*/ 2005307 w 11685910"/>
                <a:gd name="connsiteY347" fmla="*/ 4924986 h 6078415"/>
                <a:gd name="connsiteX348" fmla="*/ 2005307 w 11685910"/>
                <a:gd name="connsiteY348" fmla="*/ 4888626 h 6078415"/>
                <a:gd name="connsiteX349" fmla="*/ 2050410 w 11685910"/>
                <a:gd name="connsiteY349" fmla="*/ 4849604 h 6078415"/>
                <a:gd name="connsiteX350" fmla="*/ 11192939 w 11685910"/>
                <a:gd name="connsiteY350" fmla="*/ 4509400 h 6078415"/>
                <a:gd name="connsiteX351" fmla="*/ 11237788 w 11685910"/>
                <a:gd name="connsiteY351" fmla="*/ 4548421 h 6078415"/>
                <a:gd name="connsiteX352" fmla="*/ 11237788 w 11685910"/>
                <a:gd name="connsiteY352" fmla="*/ 4584782 h 6078415"/>
                <a:gd name="connsiteX353" fmla="*/ 11257426 w 11685910"/>
                <a:gd name="connsiteY353" fmla="*/ 4611641 h 6078415"/>
                <a:gd name="connsiteX354" fmla="*/ 11257426 w 11685910"/>
                <a:gd name="connsiteY354" fmla="*/ 4630138 h 6078415"/>
                <a:gd name="connsiteX355" fmla="*/ 11237788 w 11685910"/>
                <a:gd name="connsiteY355" fmla="*/ 4656491 h 6078415"/>
                <a:gd name="connsiteX356" fmla="*/ 11237788 w 11685910"/>
                <a:gd name="connsiteY356" fmla="*/ 4693865 h 6078415"/>
                <a:gd name="connsiteX357" fmla="*/ 11192939 w 11685910"/>
                <a:gd name="connsiteY357" fmla="*/ 4732380 h 6078415"/>
                <a:gd name="connsiteX358" fmla="*/ 11192939 w 11685910"/>
                <a:gd name="connsiteY358" fmla="*/ 4712869 h 6078415"/>
                <a:gd name="connsiteX359" fmla="*/ 11208586 w 11685910"/>
                <a:gd name="connsiteY359" fmla="*/ 4706788 h 6078415"/>
                <a:gd name="connsiteX360" fmla="*/ 11213210 w 11685910"/>
                <a:gd name="connsiteY360" fmla="*/ 4687531 h 6078415"/>
                <a:gd name="connsiteX361" fmla="*/ 11213210 w 11685910"/>
                <a:gd name="connsiteY361" fmla="*/ 4652183 h 6078415"/>
                <a:gd name="connsiteX362" fmla="*/ 11238169 w 11685910"/>
                <a:gd name="connsiteY362" fmla="*/ 4620890 h 6078415"/>
                <a:gd name="connsiteX363" fmla="*/ 11238169 w 11685910"/>
                <a:gd name="connsiteY363" fmla="*/ 4620510 h 6078415"/>
                <a:gd name="connsiteX364" fmla="*/ 11213210 w 11685910"/>
                <a:gd name="connsiteY364" fmla="*/ 4588963 h 6078415"/>
                <a:gd name="connsiteX365" fmla="*/ 11213210 w 11685910"/>
                <a:gd name="connsiteY365" fmla="*/ 4553236 h 6078415"/>
                <a:gd name="connsiteX366" fmla="*/ 11192939 w 11685910"/>
                <a:gd name="connsiteY366" fmla="*/ 4529037 h 6078415"/>
                <a:gd name="connsiteX367" fmla="*/ 11175455 w 11685910"/>
                <a:gd name="connsiteY367" fmla="*/ 4509400 h 6078415"/>
                <a:gd name="connsiteX368" fmla="*/ 11175455 w 11685910"/>
                <a:gd name="connsiteY368" fmla="*/ 4529037 h 6078415"/>
                <a:gd name="connsiteX369" fmla="*/ 11155311 w 11685910"/>
                <a:gd name="connsiteY369" fmla="*/ 4553236 h 6078415"/>
                <a:gd name="connsiteX370" fmla="*/ 11155311 w 11685910"/>
                <a:gd name="connsiteY370" fmla="*/ 4588963 h 6078415"/>
                <a:gd name="connsiteX371" fmla="*/ 11130099 w 11685910"/>
                <a:gd name="connsiteY371" fmla="*/ 4620510 h 6078415"/>
                <a:gd name="connsiteX372" fmla="*/ 11130099 w 11685910"/>
                <a:gd name="connsiteY372" fmla="*/ 4620890 h 6078415"/>
                <a:gd name="connsiteX373" fmla="*/ 11155311 w 11685910"/>
                <a:gd name="connsiteY373" fmla="*/ 4652183 h 6078415"/>
                <a:gd name="connsiteX374" fmla="*/ 11155311 w 11685910"/>
                <a:gd name="connsiteY374" fmla="*/ 4687531 h 6078415"/>
                <a:gd name="connsiteX375" fmla="*/ 11159809 w 11685910"/>
                <a:gd name="connsiteY375" fmla="*/ 4706851 h 6078415"/>
                <a:gd name="connsiteX376" fmla="*/ 11175455 w 11685910"/>
                <a:gd name="connsiteY376" fmla="*/ 4712869 h 6078415"/>
                <a:gd name="connsiteX377" fmla="*/ 11175455 w 11685910"/>
                <a:gd name="connsiteY377" fmla="*/ 4732380 h 6078415"/>
                <a:gd name="connsiteX378" fmla="*/ 11130352 w 11685910"/>
                <a:gd name="connsiteY378" fmla="*/ 4693865 h 6078415"/>
                <a:gd name="connsiteX379" fmla="*/ 11130352 w 11685910"/>
                <a:gd name="connsiteY379" fmla="*/ 4656491 h 6078415"/>
                <a:gd name="connsiteX380" fmla="*/ 11110588 w 11685910"/>
                <a:gd name="connsiteY380" fmla="*/ 4630138 h 6078415"/>
                <a:gd name="connsiteX381" fmla="*/ 11110588 w 11685910"/>
                <a:gd name="connsiteY381" fmla="*/ 4611641 h 6078415"/>
                <a:gd name="connsiteX382" fmla="*/ 11130352 w 11685910"/>
                <a:gd name="connsiteY382" fmla="*/ 4584782 h 6078415"/>
                <a:gd name="connsiteX383" fmla="*/ 11130352 w 11685910"/>
                <a:gd name="connsiteY383" fmla="*/ 4548421 h 6078415"/>
                <a:gd name="connsiteX384" fmla="*/ 11175455 w 11685910"/>
                <a:gd name="connsiteY384" fmla="*/ 4509400 h 6078415"/>
                <a:gd name="connsiteX385" fmla="*/ 8152583 w 11685910"/>
                <a:gd name="connsiteY385" fmla="*/ 4509400 h 6078415"/>
                <a:gd name="connsiteX386" fmla="*/ 8197432 w 11685910"/>
                <a:gd name="connsiteY386" fmla="*/ 4548422 h 6078415"/>
                <a:gd name="connsiteX387" fmla="*/ 8197432 w 11685910"/>
                <a:gd name="connsiteY387" fmla="*/ 4584782 h 6078415"/>
                <a:gd name="connsiteX388" fmla="*/ 8217070 w 11685910"/>
                <a:gd name="connsiteY388" fmla="*/ 4611642 h 6078415"/>
                <a:gd name="connsiteX389" fmla="*/ 8217070 w 11685910"/>
                <a:gd name="connsiteY389" fmla="*/ 4630139 h 6078415"/>
                <a:gd name="connsiteX390" fmla="*/ 8197432 w 11685910"/>
                <a:gd name="connsiteY390" fmla="*/ 4656491 h 6078415"/>
                <a:gd name="connsiteX391" fmla="*/ 8197432 w 11685910"/>
                <a:gd name="connsiteY391" fmla="*/ 4693866 h 6078415"/>
                <a:gd name="connsiteX392" fmla="*/ 8152583 w 11685910"/>
                <a:gd name="connsiteY392" fmla="*/ 4732380 h 6078415"/>
                <a:gd name="connsiteX393" fmla="*/ 8152583 w 11685910"/>
                <a:gd name="connsiteY393" fmla="*/ 4712870 h 6078415"/>
                <a:gd name="connsiteX394" fmla="*/ 8168230 w 11685910"/>
                <a:gd name="connsiteY394" fmla="*/ 4706788 h 6078415"/>
                <a:gd name="connsiteX395" fmla="*/ 8172854 w 11685910"/>
                <a:gd name="connsiteY395" fmla="*/ 4687531 h 6078415"/>
                <a:gd name="connsiteX396" fmla="*/ 8172854 w 11685910"/>
                <a:gd name="connsiteY396" fmla="*/ 4652184 h 6078415"/>
                <a:gd name="connsiteX397" fmla="*/ 8197813 w 11685910"/>
                <a:gd name="connsiteY397" fmla="*/ 4620890 h 6078415"/>
                <a:gd name="connsiteX398" fmla="*/ 8197813 w 11685910"/>
                <a:gd name="connsiteY398" fmla="*/ 4620510 h 6078415"/>
                <a:gd name="connsiteX399" fmla="*/ 8172854 w 11685910"/>
                <a:gd name="connsiteY399" fmla="*/ 4588964 h 6078415"/>
                <a:gd name="connsiteX400" fmla="*/ 8172854 w 11685910"/>
                <a:gd name="connsiteY400" fmla="*/ 4553236 h 6078415"/>
                <a:gd name="connsiteX401" fmla="*/ 8152583 w 11685910"/>
                <a:gd name="connsiteY401" fmla="*/ 4529038 h 6078415"/>
                <a:gd name="connsiteX402" fmla="*/ 8135099 w 11685910"/>
                <a:gd name="connsiteY402" fmla="*/ 4509400 h 6078415"/>
                <a:gd name="connsiteX403" fmla="*/ 8135099 w 11685910"/>
                <a:gd name="connsiteY403" fmla="*/ 4529038 h 6078415"/>
                <a:gd name="connsiteX404" fmla="*/ 8114955 w 11685910"/>
                <a:gd name="connsiteY404" fmla="*/ 4553236 h 6078415"/>
                <a:gd name="connsiteX405" fmla="*/ 8114955 w 11685910"/>
                <a:gd name="connsiteY405" fmla="*/ 4588964 h 6078415"/>
                <a:gd name="connsiteX406" fmla="*/ 8089742 w 11685910"/>
                <a:gd name="connsiteY406" fmla="*/ 4620510 h 6078415"/>
                <a:gd name="connsiteX407" fmla="*/ 8089742 w 11685910"/>
                <a:gd name="connsiteY407" fmla="*/ 4620890 h 6078415"/>
                <a:gd name="connsiteX408" fmla="*/ 8114955 w 11685910"/>
                <a:gd name="connsiteY408" fmla="*/ 4652184 h 6078415"/>
                <a:gd name="connsiteX409" fmla="*/ 8114955 w 11685910"/>
                <a:gd name="connsiteY409" fmla="*/ 4687531 h 6078415"/>
                <a:gd name="connsiteX410" fmla="*/ 8119452 w 11685910"/>
                <a:gd name="connsiteY410" fmla="*/ 4706851 h 6078415"/>
                <a:gd name="connsiteX411" fmla="*/ 8135099 w 11685910"/>
                <a:gd name="connsiteY411" fmla="*/ 4712870 h 6078415"/>
                <a:gd name="connsiteX412" fmla="*/ 8135099 w 11685910"/>
                <a:gd name="connsiteY412" fmla="*/ 4732380 h 6078415"/>
                <a:gd name="connsiteX413" fmla="*/ 8089996 w 11685910"/>
                <a:gd name="connsiteY413" fmla="*/ 4693866 h 6078415"/>
                <a:gd name="connsiteX414" fmla="*/ 8089996 w 11685910"/>
                <a:gd name="connsiteY414" fmla="*/ 4656491 h 6078415"/>
                <a:gd name="connsiteX415" fmla="*/ 8070232 w 11685910"/>
                <a:gd name="connsiteY415" fmla="*/ 4630139 h 6078415"/>
                <a:gd name="connsiteX416" fmla="*/ 8070232 w 11685910"/>
                <a:gd name="connsiteY416" fmla="*/ 4611642 h 6078415"/>
                <a:gd name="connsiteX417" fmla="*/ 8089996 w 11685910"/>
                <a:gd name="connsiteY417" fmla="*/ 4584782 h 6078415"/>
                <a:gd name="connsiteX418" fmla="*/ 8089996 w 11685910"/>
                <a:gd name="connsiteY418" fmla="*/ 4548422 h 6078415"/>
                <a:gd name="connsiteX419" fmla="*/ 8135099 w 11685910"/>
                <a:gd name="connsiteY419" fmla="*/ 4509400 h 6078415"/>
                <a:gd name="connsiteX420" fmla="*/ 5097862 w 11685910"/>
                <a:gd name="connsiteY420" fmla="*/ 4509400 h 6078415"/>
                <a:gd name="connsiteX421" fmla="*/ 5142711 w 11685910"/>
                <a:gd name="connsiteY421" fmla="*/ 4548422 h 6078415"/>
                <a:gd name="connsiteX422" fmla="*/ 5142711 w 11685910"/>
                <a:gd name="connsiteY422" fmla="*/ 4584782 h 6078415"/>
                <a:gd name="connsiteX423" fmla="*/ 5162349 w 11685910"/>
                <a:gd name="connsiteY423" fmla="*/ 4611642 h 6078415"/>
                <a:gd name="connsiteX424" fmla="*/ 5162349 w 11685910"/>
                <a:gd name="connsiteY424" fmla="*/ 4630139 h 6078415"/>
                <a:gd name="connsiteX425" fmla="*/ 5142711 w 11685910"/>
                <a:gd name="connsiteY425" fmla="*/ 4656491 h 6078415"/>
                <a:gd name="connsiteX426" fmla="*/ 5142711 w 11685910"/>
                <a:gd name="connsiteY426" fmla="*/ 4693866 h 6078415"/>
                <a:gd name="connsiteX427" fmla="*/ 5097862 w 11685910"/>
                <a:gd name="connsiteY427" fmla="*/ 4732380 h 6078415"/>
                <a:gd name="connsiteX428" fmla="*/ 5097862 w 11685910"/>
                <a:gd name="connsiteY428" fmla="*/ 4712870 h 6078415"/>
                <a:gd name="connsiteX429" fmla="*/ 5113508 w 11685910"/>
                <a:gd name="connsiteY429" fmla="*/ 4706788 h 6078415"/>
                <a:gd name="connsiteX430" fmla="*/ 5118133 w 11685910"/>
                <a:gd name="connsiteY430" fmla="*/ 4687531 h 6078415"/>
                <a:gd name="connsiteX431" fmla="*/ 5118133 w 11685910"/>
                <a:gd name="connsiteY431" fmla="*/ 4652184 h 6078415"/>
                <a:gd name="connsiteX432" fmla="*/ 5143092 w 11685910"/>
                <a:gd name="connsiteY432" fmla="*/ 4620890 h 6078415"/>
                <a:gd name="connsiteX433" fmla="*/ 5143092 w 11685910"/>
                <a:gd name="connsiteY433" fmla="*/ 4620510 h 6078415"/>
                <a:gd name="connsiteX434" fmla="*/ 5118133 w 11685910"/>
                <a:gd name="connsiteY434" fmla="*/ 4588964 h 6078415"/>
                <a:gd name="connsiteX435" fmla="*/ 5118133 w 11685910"/>
                <a:gd name="connsiteY435" fmla="*/ 4553236 h 6078415"/>
                <a:gd name="connsiteX436" fmla="*/ 5097862 w 11685910"/>
                <a:gd name="connsiteY436" fmla="*/ 4529038 h 6078415"/>
                <a:gd name="connsiteX437" fmla="*/ 5080378 w 11685910"/>
                <a:gd name="connsiteY437" fmla="*/ 4509400 h 6078415"/>
                <a:gd name="connsiteX438" fmla="*/ 5080378 w 11685910"/>
                <a:gd name="connsiteY438" fmla="*/ 4529038 h 6078415"/>
                <a:gd name="connsiteX439" fmla="*/ 5060234 w 11685910"/>
                <a:gd name="connsiteY439" fmla="*/ 4553236 h 6078415"/>
                <a:gd name="connsiteX440" fmla="*/ 5060234 w 11685910"/>
                <a:gd name="connsiteY440" fmla="*/ 4588964 h 6078415"/>
                <a:gd name="connsiteX441" fmla="*/ 5035021 w 11685910"/>
                <a:gd name="connsiteY441" fmla="*/ 4620510 h 6078415"/>
                <a:gd name="connsiteX442" fmla="*/ 5035021 w 11685910"/>
                <a:gd name="connsiteY442" fmla="*/ 4620890 h 6078415"/>
                <a:gd name="connsiteX443" fmla="*/ 5060234 w 11685910"/>
                <a:gd name="connsiteY443" fmla="*/ 4652184 h 6078415"/>
                <a:gd name="connsiteX444" fmla="*/ 5060234 w 11685910"/>
                <a:gd name="connsiteY444" fmla="*/ 4687531 h 6078415"/>
                <a:gd name="connsiteX445" fmla="*/ 5064731 w 11685910"/>
                <a:gd name="connsiteY445" fmla="*/ 4706851 h 6078415"/>
                <a:gd name="connsiteX446" fmla="*/ 5080378 w 11685910"/>
                <a:gd name="connsiteY446" fmla="*/ 4712870 h 6078415"/>
                <a:gd name="connsiteX447" fmla="*/ 5080378 w 11685910"/>
                <a:gd name="connsiteY447" fmla="*/ 4732380 h 6078415"/>
                <a:gd name="connsiteX448" fmla="*/ 5035275 w 11685910"/>
                <a:gd name="connsiteY448" fmla="*/ 4693866 h 6078415"/>
                <a:gd name="connsiteX449" fmla="*/ 5035275 w 11685910"/>
                <a:gd name="connsiteY449" fmla="*/ 4656491 h 6078415"/>
                <a:gd name="connsiteX450" fmla="*/ 5015511 w 11685910"/>
                <a:gd name="connsiteY450" fmla="*/ 4630139 h 6078415"/>
                <a:gd name="connsiteX451" fmla="*/ 5015511 w 11685910"/>
                <a:gd name="connsiteY451" fmla="*/ 4611642 h 6078415"/>
                <a:gd name="connsiteX452" fmla="*/ 5035275 w 11685910"/>
                <a:gd name="connsiteY452" fmla="*/ 4584782 h 6078415"/>
                <a:gd name="connsiteX453" fmla="*/ 5035275 w 11685910"/>
                <a:gd name="connsiteY453" fmla="*/ 4548422 h 6078415"/>
                <a:gd name="connsiteX454" fmla="*/ 5080378 w 11685910"/>
                <a:gd name="connsiteY454" fmla="*/ 4509400 h 6078415"/>
                <a:gd name="connsiteX455" fmla="*/ 2069587 w 11685910"/>
                <a:gd name="connsiteY455" fmla="*/ 4509400 h 6078415"/>
                <a:gd name="connsiteX456" fmla="*/ 2114436 w 11685910"/>
                <a:gd name="connsiteY456" fmla="*/ 4548422 h 6078415"/>
                <a:gd name="connsiteX457" fmla="*/ 2114436 w 11685910"/>
                <a:gd name="connsiteY457" fmla="*/ 4584782 h 6078415"/>
                <a:gd name="connsiteX458" fmla="*/ 2134073 w 11685910"/>
                <a:gd name="connsiteY458" fmla="*/ 4611642 h 6078415"/>
                <a:gd name="connsiteX459" fmla="*/ 2134073 w 11685910"/>
                <a:gd name="connsiteY459" fmla="*/ 4630139 h 6078415"/>
                <a:gd name="connsiteX460" fmla="*/ 2114436 w 11685910"/>
                <a:gd name="connsiteY460" fmla="*/ 4656491 h 6078415"/>
                <a:gd name="connsiteX461" fmla="*/ 2114436 w 11685910"/>
                <a:gd name="connsiteY461" fmla="*/ 4693866 h 6078415"/>
                <a:gd name="connsiteX462" fmla="*/ 2069587 w 11685910"/>
                <a:gd name="connsiteY462" fmla="*/ 4732380 h 6078415"/>
                <a:gd name="connsiteX463" fmla="*/ 2069587 w 11685910"/>
                <a:gd name="connsiteY463" fmla="*/ 4712870 h 6078415"/>
                <a:gd name="connsiteX464" fmla="*/ 2085232 w 11685910"/>
                <a:gd name="connsiteY464" fmla="*/ 4706788 h 6078415"/>
                <a:gd name="connsiteX465" fmla="*/ 2089857 w 11685910"/>
                <a:gd name="connsiteY465" fmla="*/ 4687531 h 6078415"/>
                <a:gd name="connsiteX466" fmla="*/ 2089857 w 11685910"/>
                <a:gd name="connsiteY466" fmla="*/ 4652184 h 6078415"/>
                <a:gd name="connsiteX467" fmla="*/ 2114816 w 11685910"/>
                <a:gd name="connsiteY467" fmla="*/ 4620890 h 6078415"/>
                <a:gd name="connsiteX468" fmla="*/ 2114816 w 11685910"/>
                <a:gd name="connsiteY468" fmla="*/ 4620510 h 6078415"/>
                <a:gd name="connsiteX469" fmla="*/ 2089857 w 11685910"/>
                <a:gd name="connsiteY469" fmla="*/ 4588964 h 6078415"/>
                <a:gd name="connsiteX470" fmla="*/ 2089857 w 11685910"/>
                <a:gd name="connsiteY470" fmla="*/ 4553236 h 6078415"/>
                <a:gd name="connsiteX471" fmla="*/ 2069587 w 11685910"/>
                <a:gd name="connsiteY471" fmla="*/ 4529038 h 6078415"/>
                <a:gd name="connsiteX472" fmla="*/ 2052102 w 11685910"/>
                <a:gd name="connsiteY472" fmla="*/ 4509400 h 6078415"/>
                <a:gd name="connsiteX473" fmla="*/ 2052102 w 11685910"/>
                <a:gd name="connsiteY473" fmla="*/ 4529038 h 6078415"/>
                <a:gd name="connsiteX474" fmla="*/ 2031958 w 11685910"/>
                <a:gd name="connsiteY474" fmla="*/ 4553236 h 6078415"/>
                <a:gd name="connsiteX475" fmla="*/ 2031958 w 11685910"/>
                <a:gd name="connsiteY475" fmla="*/ 4588964 h 6078415"/>
                <a:gd name="connsiteX476" fmla="*/ 2006745 w 11685910"/>
                <a:gd name="connsiteY476" fmla="*/ 4620510 h 6078415"/>
                <a:gd name="connsiteX477" fmla="*/ 2006745 w 11685910"/>
                <a:gd name="connsiteY477" fmla="*/ 4620890 h 6078415"/>
                <a:gd name="connsiteX478" fmla="*/ 2031958 w 11685910"/>
                <a:gd name="connsiteY478" fmla="*/ 4652184 h 6078415"/>
                <a:gd name="connsiteX479" fmla="*/ 2031958 w 11685910"/>
                <a:gd name="connsiteY479" fmla="*/ 4687531 h 6078415"/>
                <a:gd name="connsiteX480" fmla="*/ 2036456 w 11685910"/>
                <a:gd name="connsiteY480" fmla="*/ 4706851 h 6078415"/>
                <a:gd name="connsiteX481" fmla="*/ 2052102 w 11685910"/>
                <a:gd name="connsiteY481" fmla="*/ 4712870 h 6078415"/>
                <a:gd name="connsiteX482" fmla="*/ 2052102 w 11685910"/>
                <a:gd name="connsiteY482" fmla="*/ 4732380 h 6078415"/>
                <a:gd name="connsiteX483" fmla="*/ 2006999 w 11685910"/>
                <a:gd name="connsiteY483" fmla="*/ 4693866 h 6078415"/>
                <a:gd name="connsiteX484" fmla="*/ 2006999 w 11685910"/>
                <a:gd name="connsiteY484" fmla="*/ 4656491 h 6078415"/>
                <a:gd name="connsiteX485" fmla="*/ 1987235 w 11685910"/>
                <a:gd name="connsiteY485" fmla="*/ 4630139 h 6078415"/>
                <a:gd name="connsiteX486" fmla="*/ 1987235 w 11685910"/>
                <a:gd name="connsiteY486" fmla="*/ 4611642 h 6078415"/>
                <a:gd name="connsiteX487" fmla="*/ 2006999 w 11685910"/>
                <a:gd name="connsiteY487" fmla="*/ 4584782 h 6078415"/>
                <a:gd name="connsiteX488" fmla="*/ 2006999 w 11685910"/>
                <a:gd name="connsiteY488" fmla="*/ 4548422 h 6078415"/>
                <a:gd name="connsiteX489" fmla="*/ 2052102 w 11685910"/>
                <a:gd name="connsiteY489" fmla="*/ 4509400 h 6078415"/>
                <a:gd name="connsiteX490" fmla="*/ 11194631 w 11685910"/>
                <a:gd name="connsiteY490" fmla="*/ 4169195 h 6078415"/>
                <a:gd name="connsiteX491" fmla="*/ 11239480 w 11685910"/>
                <a:gd name="connsiteY491" fmla="*/ 4208216 h 6078415"/>
                <a:gd name="connsiteX492" fmla="*/ 11239480 w 11685910"/>
                <a:gd name="connsiteY492" fmla="*/ 4244577 h 6078415"/>
                <a:gd name="connsiteX493" fmla="*/ 11259118 w 11685910"/>
                <a:gd name="connsiteY493" fmla="*/ 4271436 h 6078415"/>
                <a:gd name="connsiteX494" fmla="*/ 11259118 w 11685910"/>
                <a:gd name="connsiteY494" fmla="*/ 4289933 h 6078415"/>
                <a:gd name="connsiteX495" fmla="*/ 11239480 w 11685910"/>
                <a:gd name="connsiteY495" fmla="*/ 4316286 h 6078415"/>
                <a:gd name="connsiteX496" fmla="*/ 11239480 w 11685910"/>
                <a:gd name="connsiteY496" fmla="*/ 4353660 h 6078415"/>
                <a:gd name="connsiteX497" fmla="*/ 11194631 w 11685910"/>
                <a:gd name="connsiteY497" fmla="*/ 4392175 h 6078415"/>
                <a:gd name="connsiteX498" fmla="*/ 11194631 w 11685910"/>
                <a:gd name="connsiteY498" fmla="*/ 4372664 h 6078415"/>
                <a:gd name="connsiteX499" fmla="*/ 11210278 w 11685910"/>
                <a:gd name="connsiteY499" fmla="*/ 4366583 h 6078415"/>
                <a:gd name="connsiteX500" fmla="*/ 11214902 w 11685910"/>
                <a:gd name="connsiteY500" fmla="*/ 4347326 h 6078415"/>
                <a:gd name="connsiteX501" fmla="*/ 11214902 w 11685910"/>
                <a:gd name="connsiteY501" fmla="*/ 4311978 h 6078415"/>
                <a:gd name="connsiteX502" fmla="*/ 11239861 w 11685910"/>
                <a:gd name="connsiteY502" fmla="*/ 4280685 h 6078415"/>
                <a:gd name="connsiteX503" fmla="*/ 11239861 w 11685910"/>
                <a:gd name="connsiteY503" fmla="*/ 4280305 h 6078415"/>
                <a:gd name="connsiteX504" fmla="*/ 11214902 w 11685910"/>
                <a:gd name="connsiteY504" fmla="*/ 4248758 h 6078415"/>
                <a:gd name="connsiteX505" fmla="*/ 11214902 w 11685910"/>
                <a:gd name="connsiteY505" fmla="*/ 4213031 h 6078415"/>
                <a:gd name="connsiteX506" fmla="*/ 11194631 w 11685910"/>
                <a:gd name="connsiteY506" fmla="*/ 4188832 h 6078415"/>
                <a:gd name="connsiteX507" fmla="*/ 11177147 w 11685910"/>
                <a:gd name="connsiteY507" fmla="*/ 4169195 h 6078415"/>
                <a:gd name="connsiteX508" fmla="*/ 11177147 w 11685910"/>
                <a:gd name="connsiteY508" fmla="*/ 4188832 h 6078415"/>
                <a:gd name="connsiteX509" fmla="*/ 11157003 w 11685910"/>
                <a:gd name="connsiteY509" fmla="*/ 4213031 h 6078415"/>
                <a:gd name="connsiteX510" fmla="*/ 11157003 w 11685910"/>
                <a:gd name="connsiteY510" fmla="*/ 4248758 h 6078415"/>
                <a:gd name="connsiteX511" fmla="*/ 11131791 w 11685910"/>
                <a:gd name="connsiteY511" fmla="*/ 4280305 h 6078415"/>
                <a:gd name="connsiteX512" fmla="*/ 11131791 w 11685910"/>
                <a:gd name="connsiteY512" fmla="*/ 4280685 h 6078415"/>
                <a:gd name="connsiteX513" fmla="*/ 11157003 w 11685910"/>
                <a:gd name="connsiteY513" fmla="*/ 4311978 h 6078415"/>
                <a:gd name="connsiteX514" fmla="*/ 11157003 w 11685910"/>
                <a:gd name="connsiteY514" fmla="*/ 4347326 h 6078415"/>
                <a:gd name="connsiteX515" fmla="*/ 11161501 w 11685910"/>
                <a:gd name="connsiteY515" fmla="*/ 4366646 h 6078415"/>
                <a:gd name="connsiteX516" fmla="*/ 11177147 w 11685910"/>
                <a:gd name="connsiteY516" fmla="*/ 4372664 h 6078415"/>
                <a:gd name="connsiteX517" fmla="*/ 11177147 w 11685910"/>
                <a:gd name="connsiteY517" fmla="*/ 4392175 h 6078415"/>
                <a:gd name="connsiteX518" fmla="*/ 11132044 w 11685910"/>
                <a:gd name="connsiteY518" fmla="*/ 4353660 h 6078415"/>
                <a:gd name="connsiteX519" fmla="*/ 11132044 w 11685910"/>
                <a:gd name="connsiteY519" fmla="*/ 4316286 h 6078415"/>
                <a:gd name="connsiteX520" fmla="*/ 11112280 w 11685910"/>
                <a:gd name="connsiteY520" fmla="*/ 4289933 h 6078415"/>
                <a:gd name="connsiteX521" fmla="*/ 11112280 w 11685910"/>
                <a:gd name="connsiteY521" fmla="*/ 4271436 h 6078415"/>
                <a:gd name="connsiteX522" fmla="*/ 11132044 w 11685910"/>
                <a:gd name="connsiteY522" fmla="*/ 4244577 h 6078415"/>
                <a:gd name="connsiteX523" fmla="*/ 11132044 w 11685910"/>
                <a:gd name="connsiteY523" fmla="*/ 4208216 h 6078415"/>
                <a:gd name="connsiteX524" fmla="*/ 11177147 w 11685910"/>
                <a:gd name="connsiteY524" fmla="*/ 4169195 h 6078415"/>
                <a:gd name="connsiteX525" fmla="*/ 8154275 w 11685910"/>
                <a:gd name="connsiteY525" fmla="*/ 4169195 h 6078415"/>
                <a:gd name="connsiteX526" fmla="*/ 8199124 w 11685910"/>
                <a:gd name="connsiteY526" fmla="*/ 4208217 h 6078415"/>
                <a:gd name="connsiteX527" fmla="*/ 8199124 w 11685910"/>
                <a:gd name="connsiteY527" fmla="*/ 4244577 h 6078415"/>
                <a:gd name="connsiteX528" fmla="*/ 8218762 w 11685910"/>
                <a:gd name="connsiteY528" fmla="*/ 4271437 h 6078415"/>
                <a:gd name="connsiteX529" fmla="*/ 8218762 w 11685910"/>
                <a:gd name="connsiteY529" fmla="*/ 4289934 h 6078415"/>
                <a:gd name="connsiteX530" fmla="*/ 8199124 w 11685910"/>
                <a:gd name="connsiteY530" fmla="*/ 4316286 h 6078415"/>
                <a:gd name="connsiteX531" fmla="*/ 8199124 w 11685910"/>
                <a:gd name="connsiteY531" fmla="*/ 4353661 h 6078415"/>
                <a:gd name="connsiteX532" fmla="*/ 8154275 w 11685910"/>
                <a:gd name="connsiteY532" fmla="*/ 4392175 h 6078415"/>
                <a:gd name="connsiteX533" fmla="*/ 8154275 w 11685910"/>
                <a:gd name="connsiteY533" fmla="*/ 4372665 h 6078415"/>
                <a:gd name="connsiteX534" fmla="*/ 8169922 w 11685910"/>
                <a:gd name="connsiteY534" fmla="*/ 4366583 h 6078415"/>
                <a:gd name="connsiteX535" fmla="*/ 8174546 w 11685910"/>
                <a:gd name="connsiteY535" fmla="*/ 4347326 h 6078415"/>
                <a:gd name="connsiteX536" fmla="*/ 8174546 w 11685910"/>
                <a:gd name="connsiteY536" fmla="*/ 4311979 h 6078415"/>
                <a:gd name="connsiteX537" fmla="*/ 8199505 w 11685910"/>
                <a:gd name="connsiteY537" fmla="*/ 4280685 h 6078415"/>
                <a:gd name="connsiteX538" fmla="*/ 8199505 w 11685910"/>
                <a:gd name="connsiteY538" fmla="*/ 4280305 h 6078415"/>
                <a:gd name="connsiteX539" fmla="*/ 8174546 w 11685910"/>
                <a:gd name="connsiteY539" fmla="*/ 4248759 h 6078415"/>
                <a:gd name="connsiteX540" fmla="*/ 8174546 w 11685910"/>
                <a:gd name="connsiteY540" fmla="*/ 4213031 h 6078415"/>
                <a:gd name="connsiteX541" fmla="*/ 8154275 w 11685910"/>
                <a:gd name="connsiteY541" fmla="*/ 4188833 h 6078415"/>
                <a:gd name="connsiteX542" fmla="*/ 8136791 w 11685910"/>
                <a:gd name="connsiteY542" fmla="*/ 4169195 h 6078415"/>
                <a:gd name="connsiteX543" fmla="*/ 8136791 w 11685910"/>
                <a:gd name="connsiteY543" fmla="*/ 4188833 h 6078415"/>
                <a:gd name="connsiteX544" fmla="*/ 8116647 w 11685910"/>
                <a:gd name="connsiteY544" fmla="*/ 4213031 h 6078415"/>
                <a:gd name="connsiteX545" fmla="*/ 8116647 w 11685910"/>
                <a:gd name="connsiteY545" fmla="*/ 4248759 h 6078415"/>
                <a:gd name="connsiteX546" fmla="*/ 8091434 w 11685910"/>
                <a:gd name="connsiteY546" fmla="*/ 4280305 h 6078415"/>
                <a:gd name="connsiteX547" fmla="*/ 8091434 w 11685910"/>
                <a:gd name="connsiteY547" fmla="*/ 4280685 h 6078415"/>
                <a:gd name="connsiteX548" fmla="*/ 8116647 w 11685910"/>
                <a:gd name="connsiteY548" fmla="*/ 4311979 h 6078415"/>
                <a:gd name="connsiteX549" fmla="*/ 8116647 w 11685910"/>
                <a:gd name="connsiteY549" fmla="*/ 4347326 h 6078415"/>
                <a:gd name="connsiteX550" fmla="*/ 8121144 w 11685910"/>
                <a:gd name="connsiteY550" fmla="*/ 4366646 h 6078415"/>
                <a:gd name="connsiteX551" fmla="*/ 8136791 w 11685910"/>
                <a:gd name="connsiteY551" fmla="*/ 4372665 h 6078415"/>
                <a:gd name="connsiteX552" fmla="*/ 8136791 w 11685910"/>
                <a:gd name="connsiteY552" fmla="*/ 4392175 h 6078415"/>
                <a:gd name="connsiteX553" fmla="*/ 8091688 w 11685910"/>
                <a:gd name="connsiteY553" fmla="*/ 4353661 h 6078415"/>
                <a:gd name="connsiteX554" fmla="*/ 8091688 w 11685910"/>
                <a:gd name="connsiteY554" fmla="*/ 4316286 h 6078415"/>
                <a:gd name="connsiteX555" fmla="*/ 8071924 w 11685910"/>
                <a:gd name="connsiteY555" fmla="*/ 4289934 h 6078415"/>
                <a:gd name="connsiteX556" fmla="*/ 8071924 w 11685910"/>
                <a:gd name="connsiteY556" fmla="*/ 4271437 h 6078415"/>
                <a:gd name="connsiteX557" fmla="*/ 8091688 w 11685910"/>
                <a:gd name="connsiteY557" fmla="*/ 4244577 h 6078415"/>
                <a:gd name="connsiteX558" fmla="*/ 8091688 w 11685910"/>
                <a:gd name="connsiteY558" fmla="*/ 4208217 h 6078415"/>
                <a:gd name="connsiteX559" fmla="*/ 8136791 w 11685910"/>
                <a:gd name="connsiteY559" fmla="*/ 4169195 h 6078415"/>
                <a:gd name="connsiteX560" fmla="*/ 5099554 w 11685910"/>
                <a:gd name="connsiteY560" fmla="*/ 4169195 h 6078415"/>
                <a:gd name="connsiteX561" fmla="*/ 5144404 w 11685910"/>
                <a:gd name="connsiteY561" fmla="*/ 4208217 h 6078415"/>
                <a:gd name="connsiteX562" fmla="*/ 5144404 w 11685910"/>
                <a:gd name="connsiteY562" fmla="*/ 4244577 h 6078415"/>
                <a:gd name="connsiteX563" fmla="*/ 5164041 w 11685910"/>
                <a:gd name="connsiteY563" fmla="*/ 4271437 h 6078415"/>
                <a:gd name="connsiteX564" fmla="*/ 5164041 w 11685910"/>
                <a:gd name="connsiteY564" fmla="*/ 4289934 h 6078415"/>
                <a:gd name="connsiteX565" fmla="*/ 5144404 w 11685910"/>
                <a:gd name="connsiteY565" fmla="*/ 4316286 h 6078415"/>
                <a:gd name="connsiteX566" fmla="*/ 5144404 w 11685910"/>
                <a:gd name="connsiteY566" fmla="*/ 4353661 h 6078415"/>
                <a:gd name="connsiteX567" fmla="*/ 5099554 w 11685910"/>
                <a:gd name="connsiteY567" fmla="*/ 4392175 h 6078415"/>
                <a:gd name="connsiteX568" fmla="*/ 5099554 w 11685910"/>
                <a:gd name="connsiteY568" fmla="*/ 4372665 h 6078415"/>
                <a:gd name="connsiteX569" fmla="*/ 5115200 w 11685910"/>
                <a:gd name="connsiteY569" fmla="*/ 4366583 h 6078415"/>
                <a:gd name="connsiteX570" fmla="*/ 5119826 w 11685910"/>
                <a:gd name="connsiteY570" fmla="*/ 4347326 h 6078415"/>
                <a:gd name="connsiteX571" fmla="*/ 5119826 w 11685910"/>
                <a:gd name="connsiteY571" fmla="*/ 4311979 h 6078415"/>
                <a:gd name="connsiteX572" fmla="*/ 5144783 w 11685910"/>
                <a:gd name="connsiteY572" fmla="*/ 4280685 h 6078415"/>
                <a:gd name="connsiteX573" fmla="*/ 5144783 w 11685910"/>
                <a:gd name="connsiteY573" fmla="*/ 4280305 h 6078415"/>
                <a:gd name="connsiteX574" fmla="*/ 5119826 w 11685910"/>
                <a:gd name="connsiteY574" fmla="*/ 4248759 h 6078415"/>
                <a:gd name="connsiteX575" fmla="*/ 5119826 w 11685910"/>
                <a:gd name="connsiteY575" fmla="*/ 4213031 h 6078415"/>
                <a:gd name="connsiteX576" fmla="*/ 5099554 w 11685910"/>
                <a:gd name="connsiteY576" fmla="*/ 4188833 h 6078415"/>
                <a:gd name="connsiteX577" fmla="*/ 5082070 w 11685910"/>
                <a:gd name="connsiteY577" fmla="*/ 4169195 h 6078415"/>
                <a:gd name="connsiteX578" fmla="*/ 5082070 w 11685910"/>
                <a:gd name="connsiteY578" fmla="*/ 4188833 h 6078415"/>
                <a:gd name="connsiteX579" fmla="*/ 5061927 w 11685910"/>
                <a:gd name="connsiteY579" fmla="*/ 4213031 h 6078415"/>
                <a:gd name="connsiteX580" fmla="*/ 5061927 w 11685910"/>
                <a:gd name="connsiteY580" fmla="*/ 4248759 h 6078415"/>
                <a:gd name="connsiteX581" fmla="*/ 5036713 w 11685910"/>
                <a:gd name="connsiteY581" fmla="*/ 4280305 h 6078415"/>
                <a:gd name="connsiteX582" fmla="*/ 5036713 w 11685910"/>
                <a:gd name="connsiteY582" fmla="*/ 4280685 h 6078415"/>
                <a:gd name="connsiteX583" fmla="*/ 5061927 w 11685910"/>
                <a:gd name="connsiteY583" fmla="*/ 4311979 h 6078415"/>
                <a:gd name="connsiteX584" fmla="*/ 5061927 w 11685910"/>
                <a:gd name="connsiteY584" fmla="*/ 4347326 h 6078415"/>
                <a:gd name="connsiteX585" fmla="*/ 5066423 w 11685910"/>
                <a:gd name="connsiteY585" fmla="*/ 4366646 h 6078415"/>
                <a:gd name="connsiteX586" fmla="*/ 5082070 w 11685910"/>
                <a:gd name="connsiteY586" fmla="*/ 4372665 h 6078415"/>
                <a:gd name="connsiteX587" fmla="*/ 5082070 w 11685910"/>
                <a:gd name="connsiteY587" fmla="*/ 4392175 h 6078415"/>
                <a:gd name="connsiteX588" fmla="*/ 5036967 w 11685910"/>
                <a:gd name="connsiteY588" fmla="*/ 4353661 h 6078415"/>
                <a:gd name="connsiteX589" fmla="*/ 5036967 w 11685910"/>
                <a:gd name="connsiteY589" fmla="*/ 4316286 h 6078415"/>
                <a:gd name="connsiteX590" fmla="*/ 5017204 w 11685910"/>
                <a:gd name="connsiteY590" fmla="*/ 4289934 h 6078415"/>
                <a:gd name="connsiteX591" fmla="*/ 5017204 w 11685910"/>
                <a:gd name="connsiteY591" fmla="*/ 4271437 h 6078415"/>
                <a:gd name="connsiteX592" fmla="*/ 5036967 w 11685910"/>
                <a:gd name="connsiteY592" fmla="*/ 4244577 h 6078415"/>
                <a:gd name="connsiteX593" fmla="*/ 5036967 w 11685910"/>
                <a:gd name="connsiteY593" fmla="*/ 4208217 h 6078415"/>
                <a:gd name="connsiteX594" fmla="*/ 5082070 w 11685910"/>
                <a:gd name="connsiteY594" fmla="*/ 4169195 h 6078415"/>
                <a:gd name="connsiteX595" fmla="*/ 2071278 w 11685910"/>
                <a:gd name="connsiteY595" fmla="*/ 4169195 h 6078415"/>
                <a:gd name="connsiteX596" fmla="*/ 2116128 w 11685910"/>
                <a:gd name="connsiteY596" fmla="*/ 4208217 h 6078415"/>
                <a:gd name="connsiteX597" fmla="*/ 2116128 w 11685910"/>
                <a:gd name="connsiteY597" fmla="*/ 4244577 h 6078415"/>
                <a:gd name="connsiteX598" fmla="*/ 2135765 w 11685910"/>
                <a:gd name="connsiteY598" fmla="*/ 4271437 h 6078415"/>
                <a:gd name="connsiteX599" fmla="*/ 2135765 w 11685910"/>
                <a:gd name="connsiteY599" fmla="*/ 4289934 h 6078415"/>
                <a:gd name="connsiteX600" fmla="*/ 2116128 w 11685910"/>
                <a:gd name="connsiteY600" fmla="*/ 4316286 h 6078415"/>
                <a:gd name="connsiteX601" fmla="*/ 2116128 w 11685910"/>
                <a:gd name="connsiteY601" fmla="*/ 4353661 h 6078415"/>
                <a:gd name="connsiteX602" fmla="*/ 2071278 w 11685910"/>
                <a:gd name="connsiteY602" fmla="*/ 4392175 h 6078415"/>
                <a:gd name="connsiteX603" fmla="*/ 2071278 w 11685910"/>
                <a:gd name="connsiteY603" fmla="*/ 4372665 h 6078415"/>
                <a:gd name="connsiteX604" fmla="*/ 2086925 w 11685910"/>
                <a:gd name="connsiteY604" fmla="*/ 4366583 h 6078415"/>
                <a:gd name="connsiteX605" fmla="*/ 2091548 w 11685910"/>
                <a:gd name="connsiteY605" fmla="*/ 4347326 h 6078415"/>
                <a:gd name="connsiteX606" fmla="*/ 2091548 w 11685910"/>
                <a:gd name="connsiteY606" fmla="*/ 4311979 h 6078415"/>
                <a:gd name="connsiteX607" fmla="*/ 2116508 w 11685910"/>
                <a:gd name="connsiteY607" fmla="*/ 4280685 h 6078415"/>
                <a:gd name="connsiteX608" fmla="*/ 2116508 w 11685910"/>
                <a:gd name="connsiteY608" fmla="*/ 4280305 h 6078415"/>
                <a:gd name="connsiteX609" fmla="*/ 2091548 w 11685910"/>
                <a:gd name="connsiteY609" fmla="*/ 4248759 h 6078415"/>
                <a:gd name="connsiteX610" fmla="*/ 2091548 w 11685910"/>
                <a:gd name="connsiteY610" fmla="*/ 4213031 h 6078415"/>
                <a:gd name="connsiteX611" fmla="*/ 2071278 w 11685910"/>
                <a:gd name="connsiteY611" fmla="*/ 4188833 h 6078415"/>
                <a:gd name="connsiteX612" fmla="*/ 2053794 w 11685910"/>
                <a:gd name="connsiteY612" fmla="*/ 4169195 h 6078415"/>
                <a:gd name="connsiteX613" fmla="*/ 2053794 w 11685910"/>
                <a:gd name="connsiteY613" fmla="*/ 4188833 h 6078415"/>
                <a:gd name="connsiteX614" fmla="*/ 2033650 w 11685910"/>
                <a:gd name="connsiteY614" fmla="*/ 4213031 h 6078415"/>
                <a:gd name="connsiteX615" fmla="*/ 2033650 w 11685910"/>
                <a:gd name="connsiteY615" fmla="*/ 4248759 h 6078415"/>
                <a:gd name="connsiteX616" fmla="*/ 2008437 w 11685910"/>
                <a:gd name="connsiteY616" fmla="*/ 4280305 h 6078415"/>
                <a:gd name="connsiteX617" fmla="*/ 2008437 w 11685910"/>
                <a:gd name="connsiteY617" fmla="*/ 4280685 h 6078415"/>
                <a:gd name="connsiteX618" fmla="*/ 2033650 w 11685910"/>
                <a:gd name="connsiteY618" fmla="*/ 4311979 h 6078415"/>
                <a:gd name="connsiteX619" fmla="*/ 2033650 w 11685910"/>
                <a:gd name="connsiteY619" fmla="*/ 4347326 h 6078415"/>
                <a:gd name="connsiteX620" fmla="*/ 2038148 w 11685910"/>
                <a:gd name="connsiteY620" fmla="*/ 4366646 h 6078415"/>
                <a:gd name="connsiteX621" fmla="*/ 2053794 w 11685910"/>
                <a:gd name="connsiteY621" fmla="*/ 4372665 h 6078415"/>
                <a:gd name="connsiteX622" fmla="*/ 2053794 w 11685910"/>
                <a:gd name="connsiteY622" fmla="*/ 4392175 h 6078415"/>
                <a:gd name="connsiteX623" fmla="*/ 2008691 w 11685910"/>
                <a:gd name="connsiteY623" fmla="*/ 4353661 h 6078415"/>
                <a:gd name="connsiteX624" fmla="*/ 2008691 w 11685910"/>
                <a:gd name="connsiteY624" fmla="*/ 4316286 h 6078415"/>
                <a:gd name="connsiteX625" fmla="*/ 1988926 w 11685910"/>
                <a:gd name="connsiteY625" fmla="*/ 4289934 h 6078415"/>
                <a:gd name="connsiteX626" fmla="*/ 1988926 w 11685910"/>
                <a:gd name="connsiteY626" fmla="*/ 4271437 h 6078415"/>
                <a:gd name="connsiteX627" fmla="*/ 2008691 w 11685910"/>
                <a:gd name="connsiteY627" fmla="*/ 4244577 h 6078415"/>
                <a:gd name="connsiteX628" fmla="*/ 2008691 w 11685910"/>
                <a:gd name="connsiteY628" fmla="*/ 4208217 h 6078415"/>
                <a:gd name="connsiteX629" fmla="*/ 2053794 w 11685910"/>
                <a:gd name="connsiteY629" fmla="*/ 4169195 h 6078415"/>
                <a:gd name="connsiteX630" fmla="*/ 11196323 w 11685910"/>
                <a:gd name="connsiteY630" fmla="*/ 3828990 h 6078415"/>
                <a:gd name="connsiteX631" fmla="*/ 11241172 w 11685910"/>
                <a:gd name="connsiteY631" fmla="*/ 3868011 h 6078415"/>
                <a:gd name="connsiteX632" fmla="*/ 11241172 w 11685910"/>
                <a:gd name="connsiteY632" fmla="*/ 3904372 h 6078415"/>
                <a:gd name="connsiteX633" fmla="*/ 11260810 w 11685910"/>
                <a:gd name="connsiteY633" fmla="*/ 3931231 h 6078415"/>
                <a:gd name="connsiteX634" fmla="*/ 11260810 w 11685910"/>
                <a:gd name="connsiteY634" fmla="*/ 3949728 h 6078415"/>
                <a:gd name="connsiteX635" fmla="*/ 11241172 w 11685910"/>
                <a:gd name="connsiteY635" fmla="*/ 3976081 h 6078415"/>
                <a:gd name="connsiteX636" fmla="*/ 11241172 w 11685910"/>
                <a:gd name="connsiteY636" fmla="*/ 4013455 h 6078415"/>
                <a:gd name="connsiteX637" fmla="*/ 11196323 w 11685910"/>
                <a:gd name="connsiteY637" fmla="*/ 4051970 h 6078415"/>
                <a:gd name="connsiteX638" fmla="*/ 11196323 w 11685910"/>
                <a:gd name="connsiteY638" fmla="*/ 4032459 h 6078415"/>
                <a:gd name="connsiteX639" fmla="*/ 11211970 w 11685910"/>
                <a:gd name="connsiteY639" fmla="*/ 4026378 h 6078415"/>
                <a:gd name="connsiteX640" fmla="*/ 11216594 w 11685910"/>
                <a:gd name="connsiteY640" fmla="*/ 4007121 h 6078415"/>
                <a:gd name="connsiteX641" fmla="*/ 11216594 w 11685910"/>
                <a:gd name="connsiteY641" fmla="*/ 3971773 h 6078415"/>
                <a:gd name="connsiteX642" fmla="*/ 11241553 w 11685910"/>
                <a:gd name="connsiteY642" fmla="*/ 3940480 h 6078415"/>
                <a:gd name="connsiteX643" fmla="*/ 11241553 w 11685910"/>
                <a:gd name="connsiteY643" fmla="*/ 3940100 h 6078415"/>
                <a:gd name="connsiteX644" fmla="*/ 11216594 w 11685910"/>
                <a:gd name="connsiteY644" fmla="*/ 3908553 h 6078415"/>
                <a:gd name="connsiteX645" fmla="*/ 11216594 w 11685910"/>
                <a:gd name="connsiteY645" fmla="*/ 3872826 h 6078415"/>
                <a:gd name="connsiteX646" fmla="*/ 11196323 w 11685910"/>
                <a:gd name="connsiteY646" fmla="*/ 3848627 h 6078415"/>
                <a:gd name="connsiteX647" fmla="*/ 11178839 w 11685910"/>
                <a:gd name="connsiteY647" fmla="*/ 3828990 h 6078415"/>
                <a:gd name="connsiteX648" fmla="*/ 11178839 w 11685910"/>
                <a:gd name="connsiteY648" fmla="*/ 3848627 h 6078415"/>
                <a:gd name="connsiteX649" fmla="*/ 11158695 w 11685910"/>
                <a:gd name="connsiteY649" fmla="*/ 3872826 h 6078415"/>
                <a:gd name="connsiteX650" fmla="*/ 11158695 w 11685910"/>
                <a:gd name="connsiteY650" fmla="*/ 3908553 h 6078415"/>
                <a:gd name="connsiteX651" fmla="*/ 11133483 w 11685910"/>
                <a:gd name="connsiteY651" fmla="*/ 3940100 h 6078415"/>
                <a:gd name="connsiteX652" fmla="*/ 11133483 w 11685910"/>
                <a:gd name="connsiteY652" fmla="*/ 3940480 h 6078415"/>
                <a:gd name="connsiteX653" fmla="*/ 11158695 w 11685910"/>
                <a:gd name="connsiteY653" fmla="*/ 3971773 h 6078415"/>
                <a:gd name="connsiteX654" fmla="*/ 11158695 w 11685910"/>
                <a:gd name="connsiteY654" fmla="*/ 4007121 h 6078415"/>
                <a:gd name="connsiteX655" fmla="*/ 11163193 w 11685910"/>
                <a:gd name="connsiteY655" fmla="*/ 4026441 h 6078415"/>
                <a:gd name="connsiteX656" fmla="*/ 11178839 w 11685910"/>
                <a:gd name="connsiteY656" fmla="*/ 4032459 h 6078415"/>
                <a:gd name="connsiteX657" fmla="*/ 11178839 w 11685910"/>
                <a:gd name="connsiteY657" fmla="*/ 4051970 h 6078415"/>
                <a:gd name="connsiteX658" fmla="*/ 11133736 w 11685910"/>
                <a:gd name="connsiteY658" fmla="*/ 4013455 h 6078415"/>
                <a:gd name="connsiteX659" fmla="*/ 11133736 w 11685910"/>
                <a:gd name="connsiteY659" fmla="*/ 3976081 h 6078415"/>
                <a:gd name="connsiteX660" fmla="*/ 11113972 w 11685910"/>
                <a:gd name="connsiteY660" fmla="*/ 3949728 h 6078415"/>
                <a:gd name="connsiteX661" fmla="*/ 11113972 w 11685910"/>
                <a:gd name="connsiteY661" fmla="*/ 3931231 h 6078415"/>
                <a:gd name="connsiteX662" fmla="*/ 11133736 w 11685910"/>
                <a:gd name="connsiteY662" fmla="*/ 3904372 h 6078415"/>
                <a:gd name="connsiteX663" fmla="*/ 11133736 w 11685910"/>
                <a:gd name="connsiteY663" fmla="*/ 3868011 h 6078415"/>
                <a:gd name="connsiteX664" fmla="*/ 11178839 w 11685910"/>
                <a:gd name="connsiteY664" fmla="*/ 3828990 h 6078415"/>
                <a:gd name="connsiteX665" fmla="*/ 8155967 w 11685910"/>
                <a:gd name="connsiteY665" fmla="*/ 3828990 h 6078415"/>
                <a:gd name="connsiteX666" fmla="*/ 8200816 w 11685910"/>
                <a:gd name="connsiteY666" fmla="*/ 3868012 h 6078415"/>
                <a:gd name="connsiteX667" fmla="*/ 8200816 w 11685910"/>
                <a:gd name="connsiteY667" fmla="*/ 3904372 h 6078415"/>
                <a:gd name="connsiteX668" fmla="*/ 8220454 w 11685910"/>
                <a:gd name="connsiteY668" fmla="*/ 3931232 h 6078415"/>
                <a:gd name="connsiteX669" fmla="*/ 8220454 w 11685910"/>
                <a:gd name="connsiteY669" fmla="*/ 3949729 h 6078415"/>
                <a:gd name="connsiteX670" fmla="*/ 8200816 w 11685910"/>
                <a:gd name="connsiteY670" fmla="*/ 3976081 h 6078415"/>
                <a:gd name="connsiteX671" fmla="*/ 8200816 w 11685910"/>
                <a:gd name="connsiteY671" fmla="*/ 4013456 h 6078415"/>
                <a:gd name="connsiteX672" fmla="*/ 8155967 w 11685910"/>
                <a:gd name="connsiteY672" fmla="*/ 4051970 h 6078415"/>
                <a:gd name="connsiteX673" fmla="*/ 8155967 w 11685910"/>
                <a:gd name="connsiteY673" fmla="*/ 4032459 h 6078415"/>
                <a:gd name="connsiteX674" fmla="*/ 8171614 w 11685910"/>
                <a:gd name="connsiteY674" fmla="*/ 4026378 h 6078415"/>
                <a:gd name="connsiteX675" fmla="*/ 8176238 w 11685910"/>
                <a:gd name="connsiteY675" fmla="*/ 4007121 h 6078415"/>
                <a:gd name="connsiteX676" fmla="*/ 8176238 w 11685910"/>
                <a:gd name="connsiteY676" fmla="*/ 3971774 h 6078415"/>
                <a:gd name="connsiteX677" fmla="*/ 8201197 w 11685910"/>
                <a:gd name="connsiteY677" fmla="*/ 3940480 h 6078415"/>
                <a:gd name="connsiteX678" fmla="*/ 8201197 w 11685910"/>
                <a:gd name="connsiteY678" fmla="*/ 3940100 h 6078415"/>
                <a:gd name="connsiteX679" fmla="*/ 8176238 w 11685910"/>
                <a:gd name="connsiteY679" fmla="*/ 3908553 h 6078415"/>
                <a:gd name="connsiteX680" fmla="*/ 8176238 w 11685910"/>
                <a:gd name="connsiteY680" fmla="*/ 3872826 h 6078415"/>
                <a:gd name="connsiteX681" fmla="*/ 8155967 w 11685910"/>
                <a:gd name="connsiteY681" fmla="*/ 3848628 h 6078415"/>
                <a:gd name="connsiteX682" fmla="*/ 8138483 w 11685910"/>
                <a:gd name="connsiteY682" fmla="*/ 3828990 h 6078415"/>
                <a:gd name="connsiteX683" fmla="*/ 8138483 w 11685910"/>
                <a:gd name="connsiteY683" fmla="*/ 3848628 h 6078415"/>
                <a:gd name="connsiteX684" fmla="*/ 8118339 w 11685910"/>
                <a:gd name="connsiteY684" fmla="*/ 3872826 h 6078415"/>
                <a:gd name="connsiteX685" fmla="*/ 8118339 w 11685910"/>
                <a:gd name="connsiteY685" fmla="*/ 3908553 h 6078415"/>
                <a:gd name="connsiteX686" fmla="*/ 8093126 w 11685910"/>
                <a:gd name="connsiteY686" fmla="*/ 3940100 h 6078415"/>
                <a:gd name="connsiteX687" fmla="*/ 8093126 w 11685910"/>
                <a:gd name="connsiteY687" fmla="*/ 3940480 h 6078415"/>
                <a:gd name="connsiteX688" fmla="*/ 8118339 w 11685910"/>
                <a:gd name="connsiteY688" fmla="*/ 3971774 h 6078415"/>
                <a:gd name="connsiteX689" fmla="*/ 8118339 w 11685910"/>
                <a:gd name="connsiteY689" fmla="*/ 4007121 h 6078415"/>
                <a:gd name="connsiteX690" fmla="*/ 8122836 w 11685910"/>
                <a:gd name="connsiteY690" fmla="*/ 4026441 h 6078415"/>
                <a:gd name="connsiteX691" fmla="*/ 8138483 w 11685910"/>
                <a:gd name="connsiteY691" fmla="*/ 4032459 h 6078415"/>
                <a:gd name="connsiteX692" fmla="*/ 8138483 w 11685910"/>
                <a:gd name="connsiteY692" fmla="*/ 4051970 h 6078415"/>
                <a:gd name="connsiteX693" fmla="*/ 8093380 w 11685910"/>
                <a:gd name="connsiteY693" fmla="*/ 4013456 h 6078415"/>
                <a:gd name="connsiteX694" fmla="*/ 8093380 w 11685910"/>
                <a:gd name="connsiteY694" fmla="*/ 3976081 h 6078415"/>
                <a:gd name="connsiteX695" fmla="*/ 8073616 w 11685910"/>
                <a:gd name="connsiteY695" fmla="*/ 3949729 h 6078415"/>
                <a:gd name="connsiteX696" fmla="*/ 8073616 w 11685910"/>
                <a:gd name="connsiteY696" fmla="*/ 3931232 h 6078415"/>
                <a:gd name="connsiteX697" fmla="*/ 8093380 w 11685910"/>
                <a:gd name="connsiteY697" fmla="*/ 3904372 h 6078415"/>
                <a:gd name="connsiteX698" fmla="*/ 8093380 w 11685910"/>
                <a:gd name="connsiteY698" fmla="*/ 3868012 h 6078415"/>
                <a:gd name="connsiteX699" fmla="*/ 8138483 w 11685910"/>
                <a:gd name="connsiteY699" fmla="*/ 3828990 h 6078415"/>
                <a:gd name="connsiteX700" fmla="*/ 5101246 w 11685910"/>
                <a:gd name="connsiteY700" fmla="*/ 3828990 h 6078415"/>
                <a:gd name="connsiteX701" fmla="*/ 5146095 w 11685910"/>
                <a:gd name="connsiteY701" fmla="*/ 3868012 h 6078415"/>
                <a:gd name="connsiteX702" fmla="*/ 5146095 w 11685910"/>
                <a:gd name="connsiteY702" fmla="*/ 3904372 h 6078415"/>
                <a:gd name="connsiteX703" fmla="*/ 5165734 w 11685910"/>
                <a:gd name="connsiteY703" fmla="*/ 3931232 h 6078415"/>
                <a:gd name="connsiteX704" fmla="*/ 5165734 w 11685910"/>
                <a:gd name="connsiteY704" fmla="*/ 3949729 h 6078415"/>
                <a:gd name="connsiteX705" fmla="*/ 5146095 w 11685910"/>
                <a:gd name="connsiteY705" fmla="*/ 3976081 h 6078415"/>
                <a:gd name="connsiteX706" fmla="*/ 5146095 w 11685910"/>
                <a:gd name="connsiteY706" fmla="*/ 4013456 h 6078415"/>
                <a:gd name="connsiteX707" fmla="*/ 5101246 w 11685910"/>
                <a:gd name="connsiteY707" fmla="*/ 4051970 h 6078415"/>
                <a:gd name="connsiteX708" fmla="*/ 5101246 w 11685910"/>
                <a:gd name="connsiteY708" fmla="*/ 4032459 h 6078415"/>
                <a:gd name="connsiteX709" fmla="*/ 5116893 w 11685910"/>
                <a:gd name="connsiteY709" fmla="*/ 4026378 h 6078415"/>
                <a:gd name="connsiteX710" fmla="*/ 5121517 w 11685910"/>
                <a:gd name="connsiteY710" fmla="*/ 4007121 h 6078415"/>
                <a:gd name="connsiteX711" fmla="*/ 5121517 w 11685910"/>
                <a:gd name="connsiteY711" fmla="*/ 3971774 h 6078415"/>
                <a:gd name="connsiteX712" fmla="*/ 5146475 w 11685910"/>
                <a:gd name="connsiteY712" fmla="*/ 3940480 h 6078415"/>
                <a:gd name="connsiteX713" fmla="*/ 5146475 w 11685910"/>
                <a:gd name="connsiteY713" fmla="*/ 3940100 h 6078415"/>
                <a:gd name="connsiteX714" fmla="*/ 5121517 w 11685910"/>
                <a:gd name="connsiteY714" fmla="*/ 3908553 h 6078415"/>
                <a:gd name="connsiteX715" fmla="*/ 5121517 w 11685910"/>
                <a:gd name="connsiteY715" fmla="*/ 3872826 h 6078415"/>
                <a:gd name="connsiteX716" fmla="*/ 5101246 w 11685910"/>
                <a:gd name="connsiteY716" fmla="*/ 3848628 h 6078415"/>
                <a:gd name="connsiteX717" fmla="*/ 5083763 w 11685910"/>
                <a:gd name="connsiteY717" fmla="*/ 3828990 h 6078415"/>
                <a:gd name="connsiteX718" fmla="*/ 5083763 w 11685910"/>
                <a:gd name="connsiteY718" fmla="*/ 3848628 h 6078415"/>
                <a:gd name="connsiteX719" fmla="*/ 5063618 w 11685910"/>
                <a:gd name="connsiteY719" fmla="*/ 3872826 h 6078415"/>
                <a:gd name="connsiteX720" fmla="*/ 5063618 w 11685910"/>
                <a:gd name="connsiteY720" fmla="*/ 3908553 h 6078415"/>
                <a:gd name="connsiteX721" fmla="*/ 5038405 w 11685910"/>
                <a:gd name="connsiteY721" fmla="*/ 3940100 h 6078415"/>
                <a:gd name="connsiteX722" fmla="*/ 5038405 w 11685910"/>
                <a:gd name="connsiteY722" fmla="*/ 3940480 h 6078415"/>
                <a:gd name="connsiteX723" fmla="*/ 5063618 w 11685910"/>
                <a:gd name="connsiteY723" fmla="*/ 3971774 h 6078415"/>
                <a:gd name="connsiteX724" fmla="*/ 5063618 w 11685910"/>
                <a:gd name="connsiteY724" fmla="*/ 4007121 h 6078415"/>
                <a:gd name="connsiteX725" fmla="*/ 5068115 w 11685910"/>
                <a:gd name="connsiteY725" fmla="*/ 4026441 h 6078415"/>
                <a:gd name="connsiteX726" fmla="*/ 5083763 w 11685910"/>
                <a:gd name="connsiteY726" fmla="*/ 4032459 h 6078415"/>
                <a:gd name="connsiteX727" fmla="*/ 5083763 w 11685910"/>
                <a:gd name="connsiteY727" fmla="*/ 4051970 h 6078415"/>
                <a:gd name="connsiteX728" fmla="*/ 5038659 w 11685910"/>
                <a:gd name="connsiteY728" fmla="*/ 4013456 h 6078415"/>
                <a:gd name="connsiteX729" fmla="*/ 5038659 w 11685910"/>
                <a:gd name="connsiteY729" fmla="*/ 3976081 h 6078415"/>
                <a:gd name="connsiteX730" fmla="*/ 5018895 w 11685910"/>
                <a:gd name="connsiteY730" fmla="*/ 3949729 h 6078415"/>
                <a:gd name="connsiteX731" fmla="*/ 5018895 w 11685910"/>
                <a:gd name="connsiteY731" fmla="*/ 3931232 h 6078415"/>
                <a:gd name="connsiteX732" fmla="*/ 5038659 w 11685910"/>
                <a:gd name="connsiteY732" fmla="*/ 3904372 h 6078415"/>
                <a:gd name="connsiteX733" fmla="*/ 5038659 w 11685910"/>
                <a:gd name="connsiteY733" fmla="*/ 3868012 h 6078415"/>
                <a:gd name="connsiteX734" fmla="*/ 5083763 w 11685910"/>
                <a:gd name="connsiteY734" fmla="*/ 3828990 h 6078415"/>
                <a:gd name="connsiteX735" fmla="*/ 2072970 w 11685910"/>
                <a:gd name="connsiteY735" fmla="*/ 3828990 h 6078415"/>
                <a:gd name="connsiteX736" fmla="*/ 2117820 w 11685910"/>
                <a:gd name="connsiteY736" fmla="*/ 3868012 h 6078415"/>
                <a:gd name="connsiteX737" fmla="*/ 2117820 w 11685910"/>
                <a:gd name="connsiteY737" fmla="*/ 3904372 h 6078415"/>
                <a:gd name="connsiteX738" fmla="*/ 2137457 w 11685910"/>
                <a:gd name="connsiteY738" fmla="*/ 3931232 h 6078415"/>
                <a:gd name="connsiteX739" fmla="*/ 2137457 w 11685910"/>
                <a:gd name="connsiteY739" fmla="*/ 3949729 h 6078415"/>
                <a:gd name="connsiteX740" fmla="*/ 2117820 w 11685910"/>
                <a:gd name="connsiteY740" fmla="*/ 3976081 h 6078415"/>
                <a:gd name="connsiteX741" fmla="*/ 2117820 w 11685910"/>
                <a:gd name="connsiteY741" fmla="*/ 4013456 h 6078415"/>
                <a:gd name="connsiteX742" fmla="*/ 2072970 w 11685910"/>
                <a:gd name="connsiteY742" fmla="*/ 4051970 h 6078415"/>
                <a:gd name="connsiteX743" fmla="*/ 2072970 w 11685910"/>
                <a:gd name="connsiteY743" fmla="*/ 4032459 h 6078415"/>
                <a:gd name="connsiteX744" fmla="*/ 2088617 w 11685910"/>
                <a:gd name="connsiteY744" fmla="*/ 4026378 h 6078415"/>
                <a:gd name="connsiteX745" fmla="*/ 2093241 w 11685910"/>
                <a:gd name="connsiteY745" fmla="*/ 4007121 h 6078415"/>
                <a:gd name="connsiteX746" fmla="*/ 2093241 w 11685910"/>
                <a:gd name="connsiteY746" fmla="*/ 3971774 h 6078415"/>
                <a:gd name="connsiteX747" fmla="*/ 2118200 w 11685910"/>
                <a:gd name="connsiteY747" fmla="*/ 3940480 h 6078415"/>
                <a:gd name="connsiteX748" fmla="*/ 2118200 w 11685910"/>
                <a:gd name="connsiteY748" fmla="*/ 3940100 h 6078415"/>
                <a:gd name="connsiteX749" fmla="*/ 2093241 w 11685910"/>
                <a:gd name="connsiteY749" fmla="*/ 3908553 h 6078415"/>
                <a:gd name="connsiteX750" fmla="*/ 2093241 w 11685910"/>
                <a:gd name="connsiteY750" fmla="*/ 3872826 h 6078415"/>
                <a:gd name="connsiteX751" fmla="*/ 2072970 w 11685910"/>
                <a:gd name="connsiteY751" fmla="*/ 3848628 h 6078415"/>
                <a:gd name="connsiteX752" fmla="*/ 2055487 w 11685910"/>
                <a:gd name="connsiteY752" fmla="*/ 3828990 h 6078415"/>
                <a:gd name="connsiteX753" fmla="*/ 2055487 w 11685910"/>
                <a:gd name="connsiteY753" fmla="*/ 3848628 h 6078415"/>
                <a:gd name="connsiteX754" fmla="*/ 2035342 w 11685910"/>
                <a:gd name="connsiteY754" fmla="*/ 3872826 h 6078415"/>
                <a:gd name="connsiteX755" fmla="*/ 2035342 w 11685910"/>
                <a:gd name="connsiteY755" fmla="*/ 3908553 h 6078415"/>
                <a:gd name="connsiteX756" fmla="*/ 2010130 w 11685910"/>
                <a:gd name="connsiteY756" fmla="*/ 3940100 h 6078415"/>
                <a:gd name="connsiteX757" fmla="*/ 2010130 w 11685910"/>
                <a:gd name="connsiteY757" fmla="*/ 3940480 h 6078415"/>
                <a:gd name="connsiteX758" fmla="*/ 2035342 w 11685910"/>
                <a:gd name="connsiteY758" fmla="*/ 3971774 h 6078415"/>
                <a:gd name="connsiteX759" fmla="*/ 2035342 w 11685910"/>
                <a:gd name="connsiteY759" fmla="*/ 4007121 h 6078415"/>
                <a:gd name="connsiteX760" fmla="*/ 2039840 w 11685910"/>
                <a:gd name="connsiteY760" fmla="*/ 4026441 h 6078415"/>
                <a:gd name="connsiteX761" fmla="*/ 2055487 w 11685910"/>
                <a:gd name="connsiteY761" fmla="*/ 4032459 h 6078415"/>
                <a:gd name="connsiteX762" fmla="*/ 2055487 w 11685910"/>
                <a:gd name="connsiteY762" fmla="*/ 4051970 h 6078415"/>
                <a:gd name="connsiteX763" fmla="*/ 2010383 w 11685910"/>
                <a:gd name="connsiteY763" fmla="*/ 4013456 h 6078415"/>
                <a:gd name="connsiteX764" fmla="*/ 2010383 w 11685910"/>
                <a:gd name="connsiteY764" fmla="*/ 3976081 h 6078415"/>
                <a:gd name="connsiteX765" fmla="*/ 1990618 w 11685910"/>
                <a:gd name="connsiteY765" fmla="*/ 3949729 h 6078415"/>
                <a:gd name="connsiteX766" fmla="*/ 1990618 w 11685910"/>
                <a:gd name="connsiteY766" fmla="*/ 3931232 h 6078415"/>
                <a:gd name="connsiteX767" fmla="*/ 2010383 w 11685910"/>
                <a:gd name="connsiteY767" fmla="*/ 3904372 h 6078415"/>
                <a:gd name="connsiteX768" fmla="*/ 2010383 w 11685910"/>
                <a:gd name="connsiteY768" fmla="*/ 3868012 h 6078415"/>
                <a:gd name="connsiteX769" fmla="*/ 2055487 w 11685910"/>
                <a:gd name="connsiteY769" fmla="*/ 3828990 h 6078415"/>
                <a:gd name="connsiteX770" fmla="*/ 11198015 w 11685910"/>
                <a:gd name="connsiteY770" fmla="*/ 3488785 h 6078415"/>
                <a:gd name="connsiteX771" fmla="*/ 11242864 w 11685910"/>
                <a:gd name="connsiteY771" fmla="*/ 3527806 h 6078415"/>
                <a:gd name="connsiteX772" fmla="*/ 11242864 w 11685910"/>
                <a:gd name="connsiteY772" fmla="*/ 3564167 h 6078415"/>
                <a:gd name="connsiteX773" fmla="*/ 11262502 w 11685910"/>
                <a:gd name="connsiteY773" fmla="*/ 3591026 h 6078415"/>
                <a:gd name="connsiteX774" fmla="*/ 11262502 w 11685910"/>
                <a:gd name="connsiteY774" fmla="*/ 3609523 h 6078415"/>
                <a:gd name="connsiteX775" fmla="*/ 11242864 w 11685910"/>
                <a:gd name="connsiteY775" fmla="*/ 3635876 h 6078415"/>
                <a:gd name="connsiteX776" fmla="*/ 11242864 w 11685910"/>
                <a:gd name="connsiteY776" fmla="*/ 3673250 h 6078415"/>
                <a:gd name="connsiteX777" fmla="*/ 11198015 w 11685910"/>
                <a:gd name="connsiteY777" fmla="*/ 3711765 h 6078415"/>
                <a:gd name="connsiteX778" fmla="*/ 11198015 w 11685910"/>
                <a:gd name="connsiteY778" fmla="*/ 3692254 h 6078415"/>
                <a:gd name="connsiteX779" fmla="*/ 11213662 w 11685910"/>
                <a:gd name="connsiteY779" fmla="*/ 3686173 h 6078415"/>
                <a:gd name="connsiteX780" fmla="*/ 11218286 w 11685910"/>
                <a:gd name="connsiteY780" fmla="*/ 3666916 h 6078415"/>
                <a:gd name="connsiteX781" fmla="*/ 11218286 w 11685910"/>
                <a:gd name="connsiteY781" fmla="*/ 3631568 h 6078415"/>
                <a:gd name="connsiteX782" fmla="*/ 11243245 w 11685910"/>
                <a:gd name="connsiteY782" fmla="*/ 3600275 h 6078415"/>
                <a:gd name="connsiteX783" fmla="*/ 11243245 w 11685910"/>
                <a:gd name="connsiteY783" fmla="*/ 3599895 h 6078415"/>
                <a:gd name="connsiteX784" fmla="*/ 11218286 w 11685910"/>
                <a:gd name="connsiteY784" fmla="*/ 3568348 h 6078415"/>
                <a:gd name="connsiteX785" fmla="*/ 11218286 w 11685910"/>
                <a:gd name="connsiteY785" fmla="*/ 3532621 h 6078415"/>
                <a:gd name="connsiteX786" fmla="*/ 11198015 w 11685910"/>
                <a:gd name="connsiteY786" fmla="*/ 3508422 h 6078415"/>
                <a:gd name="connsiteX787" fmla="*/ 11180531 w 11685910"/>
                <a:gd name="connsiteY787" fmla="*/ 3488785 h 6078415"/>
                <a:gd name="connsiteX788" fmla="*/ 11180531 w 11685910"/>
                <a:gd name="connsiteY788" fmla="*/ 3508422 h 6078415"/>
                <a:gd name="connsiteX789" fmla="*/ 11160387 w 11685910"/>
                <a:gd name="connsiteY789" fmla="*/ 3532621 h 6078415"/>
                <a:gd name="connsiteX790" fmla="*/ 11160387 w 11685910"/>
                <a:gd name="connsiteY790" fmla="*/ 3568348 h 6078415"/>
                <a:gd name="connsiteX791" fmla="*/ 11135175 w 11685910"/>
                <a:gd name="connsiteY791" fmla="*/ 3599895 h 6078415"/>
                <a:gd name="connsiteX792" fmla="*/ 11135175 w 11685910"/>
                <a:gd name="connsiteY792" fmla="*/ 3600275 h 6078415"/>
                <a:gd name="connsiteX793" fmla="*/ 11160387 w 11685910"/>
                <a:gd name="connsiteY793" fmla="*/ 3631568 h 6078415"/>
                <a:gd name="connsiteX794" fmla="*/ 11160387 w 11685910"/>
                <a:gd name="connsiteY794" fmla="*/ 3666916 h 6078415"/>
                <a:gd name="connsiteX795" fmla="*/ 11164885 w 11685910"/>
                <a:gd name="connsiteY795" fmla="*/ 3686236 h 6078415"/>
                <a:gd name="connsiteX796" fmla="*/ 11180531 w 11685910"/>
                <a:gd name="connsiteY796" fmla="*/ 3692254 h 6078415"/>
                <a:gd name="connsiteX797" fmla="*/ 11180531 w 11685910"/>
                <a:gd name="connsiteY797" fmla="*/ 3711765 h 6078415"/>
                <a:gd name="connsiteX798" fmla="*/ 11135428 w 11685910"/>
                <a:gd name="connsiteY798" fmla="*/ 3673250 h 6078415"/>
                <a:gd name="connsiteX799" fmla="*/ 11135428 w 11685910"/>
                <a:gd name="connsiteY799" fmla="*/ 3635876 h 6078415"/>
                <a:gd name="connsiteX800" fmla="*/ 11115664 w 11685910"/>
                <a:gd name="connsiteY800" fmla="*/ 3609523 h 6078415"/>
                <a:gd name="connsiteX801" fmla="*/ 11115664 w 11685910"/>
                <a:gd name="connsiteY801" fmla="*/ 3591026 h 6078415"/>
                <a:gd name="connsiteX802" fmla="*/ 11135428 w 11685910"/>
                <a:gd name="connsiteY802" fmla="*/ 3564167 h 6078415"/>
                <a:gd name="connsiteX803" fmla="*/ 11135428 w 11685910"/>
                <a:gd name="connsiteY803" fmla="*/ 3527806 h 6078415"/>
                <a:gd name="connsiteX804" fmla="*/ 11180531 w 11685910"/>
                <a:gd name="connsiteY804" fmla="*/ 3488785 h 6078415"/>
                <a:gd name="connsiteX805" fmla="*/ 8157659 w 11685910"/>
                <a:gd name="connsiteY805" fmla="*/ 3488785 h 6078415"/>
                <a:gd name="connsiteX806" fmla="*/ 8202508 w 11685910"/>
                <a:gd name="connsiteY806" fmla="*/ 3527807 h 6078415"/>
                <a:gd name="connsiteX807" fmla="*/ 8202508 w 11685910"/>
                <a:gd name="connsiteY807" fmla="*/ 3564167 h 6078415"/>
                <a:gd name="connsiteX808" fmla="*/ 8222146 w 11685910"/>
                <a:gd name="connsiteY808" fmla="*/ 3591027 h 6078415"/>
                <a:gd name="connsiteX809" fmla="*/ 8222146 w 11685910"/>
                <a:gd name="connsiteY809" fmla="*/ 3609524 h 6078415"/>
                <a:gd name="connsiteX810" fmla="*/ 8202508 w 11685910"/>
                <a:gd name="connsiteY810" fmla="*/ 3635876 h 6078415"/>
                <a:gd name="connsiteX811" fmla="*/ 8202508 w 11685910"/>
                <a:gd name="connsiteY811" fmla="*/ 3673251 h 6078415"/>
                <a:gd name="connsiteX812" fmla="*/ 8157659 w 11685910"/>
                <a:gd name="connsiteY812" fmla="*/ 3711765 h 6078415"/>
                <a:gd name="connsiteX813" fmla="*/ 8157659 w 11685910"/>
                <a:gd name="connsiteY813" fmla="*/ 3692254 h 6078415"/>
                <a:gd name="connsiteX814" fmla="*/ 8173306 w 11685910"/>
                <a:gd name="connsiteY814" fmla="*/ 3686173 h 6078415"/>
                <a:gd name="connsiteX815" fmla="*/ 8177930 w 11685910"/>
                <a:gd name="connsiteY815" fmla="*/ 3666916 h 6078415"/>
                <a:gd name="connsiteX816" fmla="*/ 8177930 w 11685910"/>
                <a:gd name="connsiteY816" fmla="*/ 3631569 h 6078415"/>
                <a:gd name="connsiteX817" fmla="*/ 8202889 w 11685910"/>
                <a:gd name="connsiteY817" fmla="*/ 3600275 h 6078415"/>
                <a:gd name="connsiteX818" fmla="*/ 8202889 w 11685910"/>
                <a:gd name="connsiteY818" fmla="*/ 3599895 h 6078415"/>
                <a:gd name="connsiteX819" fmla="*/ 8177930 w 11685910"/>
                <a:gd name="connsiteY819" fmla="*/ 3568348 h 6078415"/>
                <a:gd name="connsiteX820" fmla="*/ 8177930 w 11685910"/>
                <a:gd name="connsiteY820" fmla="*/ 3532621 h 6078415"/>
                <a:gd name="connsiteX821" fmla="*/ 8157659 w 11685910"/>
                <a:gd name="connsiteY821" fmla="*/ 3508423 h 6078415"/>
                <a:gd name="connsiteX822" fmla="*/ 8140175 w 11685910"/>
                <a:gd name="connsiteY822" fmla="*/ 3488785 h 6078415"/>
                <a:gd name="connsiteX823" fmla="*/ 8140175 w 11685910"/>
                <a:gd name="connsiteY823" fmla="*/ 3508423 h 6078415"/>
                <a:gd name="connsiteX824" fmla="*/ 8120031 w 11685910"/>
                <a:gd name="connsiteY824" fmla="*/ 3532621 h 6078415"/>
                <a:gd name="connsiteX825" fmla="*/ 8120031 w 11685910"/>
                <a:gd name="connsiteY825" fmla="*/ 3568348 h 6078415"/>
                <a:gd name="connsiteX826" fmla="*/ 8094818 w 11685910"/>
                <a:gd name="connsiteY826" fmla="*/ 3599895 h 6078415"/>
                <a:gd name="connsiteX827" fmla="*/ 8094818 w 11685910"/>
                <a:gd name="connsiteY827" fmla="*/ 3600275 h 6078415"/>
                <a:gd name="connsiteX828" fmla="*/ 8120031 w 11685910"/>
                <a:gd name="connsiteY828" fmla="*/ 3631569 h 6078415"/>
                <a:gd name="connsiteX829" fmla="*/ 8120031 w 11685910"/>
                <a:gd name="connsiteY829" fmla="*/ 3666916 h 6078415"/>
                <a:gd name="connsiteX830" fmla="*/ 8124528 w 11685910"/>
                <a:gd name="connsiteY830" fmla="*/ 3686236 h 6078415"/>
                <a:gd name="connsiteX831" fmla="*/ 8140175 w 11685910"/>
                <a:gd name="connsiteY831" fmla="*/ 3692254 h 6078415"/>
                <a:gd name="connsiteX832" fmla="*/ 8140175 w 11685910"/>
                <a:gd name="connsiteY832" fmla="*/ 3711765 h 6078415"/>
                <a:gd name="connsiteX833" fmla="*/ 8095072 w 11685910"/>
                <a:gd name="connsiteY833" fmla="*/ 3673251 h 6078415"/>
                <a:gd name="connsiteX834" fmla="*/ 8095072 w 11685910"/>
                <a:gd name="connsiteY834" fmla="*/ 3635876 h 6078415"/>
                <a:gd name="connsiteX835" fmla="*/ 8075308 w 11685910"/>
                <a:gd name="connsiteY835" fmla="*/ 3609524 h 6078415"/>
                <a:gd name="connsiteX836" fmla="*/ 8075308 w 11685910"/>
                <a:gd name="connsiteY836" fmla="*/ 3591027 h 6078415"/>
                <a:gd name="connsiteX837" fmla="*/ 8095072 w 11685910"/>
                <a:gd name="connsiteY837" fmla="*/ 3564167 h 6078415"/>
                <a:gd name="connsiteX838" fmla="*/ 8095072 w 11685910"/>
                <a:gd name="connsiteY838" fmla="*/ 3527807 h 6078415"/>
                <a:gd name="connsiteX839" fmla="*/ 8140175 w 11685910"/>
                <a:gd name="connsiteY839" fmla="*/ 3488785 h 6078415"/>
                <a:gd name="connsiteX840" fmla="*/ 5102938 w 11685910"/>
                <a:gd name="connsiteY840" fmla="*/ 3488785 h 6078415"/>
                <a:gd name="connsiteX841" fmla="*/ 5147787 w 11685910"/>
                <a:gd name="connsiteY841" fmla="*/ 3527807 h 6078415"/>
                <a:gd name="connsiteX842" fmla="*/ 5147787 w 11685910"/>
                <a:gd name="connsiteY842" fmla="*/ 3564167 h 6078415"/>
                <a:gd name="connsiteX843" fmla="*/ 5167425 w 11685910"/>
                <a:gd name="connsiteY843" fmla="*/ 3591027 h 6078415"/>
                <a:gd name="connsiteX844" fmla="*/ 5167425 w 11685910"/>
                <a:gd name="connsiteY844" fmla="*/ 3609524 h 6078415"/>
                <a:gd name="connsiteX845" fmla="*/ 5147787 w 11685910"/>
                <a:gd name="connsiteY845" fmla="*/ 3635876 h 6078415"/>
                <a:gd name="connsiteX846" fmla="*/ 5147787 w 11685910"/>
                <a:gd name="connsiteY846" fmla="*/ 3673251 h 6078415"/>
                <a:gd name="connsiteX847" fmla="*/ 5102938 w 11685910"/>
                <a:gd name="connsiteY847" fmla="*/ 3711765 h 6078415"/>
                <a:gd name="connsiteX848" fmla="*/ 5102938 w 11685910"/>
                <a:gd name="connsiteY848" fmla="*/ 3692254 h 6078415"/>
                <a:gd name="connsiteX849" fmla="*/ 5118584 w 11685910"/>
                <a:gd name="connsiteY849" fmla="*/ 3686173 h 6078415"/>
                <a:gd name="connsiteX850" fmla="*/ 5123209 w 11685910"/>
                <a:gd name="connsiteY850" fmla="*/ 3666916 h 6078415"/>
                <a:gd name="connsiteX851" fmla="*/ 5123209 w 11685910"/>
                <a:gd name="connsiteY851" fmla="*/ 3631569 h 6078415"/>
                <a:gd name="connsiteX852" fmla="*/ 5148167 w 11685910"/>
                <a:gd name="connsiteY852" fmla="*/ 3600275 h 6078415"/>
                <a:gd name="connsiteX853" fmla="*/ 5148167 w 11685910"/>
                <a:gd name="connsiteY853" fmla="*/ 3599895 h 6078415"/>
                <a:gd name="connsiteX854" fmla="*/ 5123209 w 11685910"/>
                <a:gd name="connsiteY854" fmla="*/ 3568348 h 6078415"/>
                <a:gd name="connsiteX855" fmla="*/ 5123209 w 11685910"/>
                <a:gd name="connsiteY855" fmla="*/ 3532621 h 6078415"/>
                <a:gd name="connsiteX856" fmla="*/ 5102938 w 11685910"/>
                <a:gd name="connsiteY856" fmla="*/ 3508423 h 6078415"/>
                <a:gd name="connsiteX857" fmla="*/ 5085454 w 11685910"/>
                <a:gd name="connsiteY857" fmla="*/ 3488785 h 6078415"/>
                <a:gd name="connsiteX858" fmla="*/ 5085454 w 11685910"/>
                <a:gd name="connsiteY858" fmla="*/ 3508423 h 6078415"/>
                <a:gd name="connsiteX859" fmla="*/ 5065310 w 11685910"/>
                <a:gd name="connsiteY859" fmla="*/ 3532621 h 6078415"/>
                <a:gd name="connsiteX860" fmla="*/ 5065310 w 11685910"/>
                <a:gd name="connsiteY860" fmla="*/ 3568348 h 6078415"/>
                <a:gd name="connsiteX861" fmla="*/ 5040097 w 11685910"/>
                <a:gd name="connsiteY861" fmla="*/ 3599895 h 6078415"/>
                <a:gd name="connsiteX862" fmla="*/ 5040097 w 11685910"/>
                <a:gd name="connsiteY862" fmla="*/ 3600275 h 6078415"/>
                <a:gd name="connsiteX863" fmla="*/ 5065310 w 11685910"/>
                <a:gd name="connsiteY863" fmla="*/ 3631569 h 6078415"/>
                <a:gd name="connsiteX864" fmla="*/ 5065310 w 11685910"/>
                <a:gd name="connsiteY864" fmla="*/ 3666916 h 6078415"/>
                <a:gd name="connsiteX865" fmla="*/ 5069807 w 11685910"/>
                <a:gd name="connsiteY865" fmla="*/ 3686236 h 6078415"/>
                <a:gd name="connsiteX866" fmla="*/ 5085454 w 11685910"/>
                <a:gd name="connsiteY866" fmla="*/ 3692254 h 6078415"/>
                <a:gd name="connsiteX867" fmla="*/ 5085454 w 11685910"/>
                <a:gd name="connsiteY867" fmla="*/ 3711765 h 6078415"/>
                <a:gd name="connsiteX868" fmla="*/ 5040351 w 11685910"/>
                <a:gd name="connsiteY868" fmla="*/ 3673251 h 6078415"/>
                <a:gd name="connsiteX869" fmla="*/ 5040351 w 11685910"/>
                <a:gd name="connsiteY869" fmla="*/ 3635876 h 6078415"/>
                <a:gd name="connsiteX870" fmla="*/ 5020587 w 11685910"/>
                <a:gd name="connsiteY870" fmla="*/ 3609524 h 6078415"/>
                <a:gd name="connsiteX871" fmla="*/ 5020587 w 11685910"/>
                <a:gd name="connsiteY871" fmla="*/ 3591027 h 6078415"/>
                <a:gd name="connsiteX872" fmla="*/ 5040351 w 11685910"/>
                <a:gd name="connsiteY872" fmla="*/ 3564167 h 6078415"/>
                <a:gd name="connsiteX873" fmla="*/ 5040351 w 11685910"/>
                <a:gd name="connsiteY873" fmla="*/ 3527807 h 6078415"/>
                <a:gd name="connsiteX874" fmla="*/ 5085454 w 11685910"/>
                <a:gd name="connsiteY874" fmla="*/ 3488785 h 6078415"/>
                <a:gd name="connsiteX875" fmla="*/ 2074663 w 11685910"/>
                <a:gd name="connsiteY875" fmla="*/ 3488785 h 6078415"/>
                <a:gd name="connsiteX876" fmla="*/ 2119512 w 11685910"/>
                <a:gd name="connsiteY876" fmla="*/ 3527807 h 6078415"/>
                <a:gd name="connsiteX877" fmla="*/ 2119512 w 11685910"/>
                <a:gd name="connsiteY877" fmla="*/ 3564167 h 6078415"/>
                <a:gd name="connsiteX878" fmla="*/ 2139149 w 11685910"/>
                <a:gd name="connsiteY878" fmla="*/ 3591027 h 6078415"/>
                <a:gd name="connsiteX879" fmla="*/ 2139149 w 11685910"/>
                <a:gd name="connsiteY879" fmla="*/ 3609524 h 6078415"/>
                <a:gd name="connsiteX880" fmla="*/ 2119512 w 11685910"/>
                <a:gd name="connsiteY880" fmla="*/ 3635876 h 6078415"/>
                <a:gd name="connsiteX881" fmla="*/ 2119512 w 11685910"/>
                <a:gd name="connsiteY881" fmla="*/ 3673251 h 6078415"/>
                <a:gd name="connsiteX882" fmla="*/ 2074663 w 11685910"/>
                <a:gd name="connsiteY882" fmla="*/ 3711765 h 6078415"/>
                <a:gd name="connsiteX883" fmla="*/ 2074663 w 11685910"/>
                <a:gd name="connsiteY883" fmla="*/ 3692254 h 6078415"/>
                <a:gd name="connsiteX884" fmla="*/ 2090309 w 11685910"/>
                <a:gd name="connsiteY884" fmla="*/ 3686173 h 6078415"/>
                <a:gd name="connsiteX885" fmla="*/ 2094934 w 11685910"/>
                <a:gd name="connsiteY885" fmla="*/ 3666916 h 6078415"/>
                <a:gd name="connsiteX886" fmla="*/ 2094934 w 11685910"/>
                <a:gd name="connsiteY886" fmla="*/ 3631569 h 6078415"/>
                <a:gd name="connsiteX887" fmla="*/ 2119892 w 11685910"/>
                <a:gd name="connsiteY887" fmla="*/ 3600275 h 6078415"/>
                <a:gd name="connsiteX888" fmla="*/ 2119892 w 11685910"/>
                <a:gd name="connsiteY888" fmla="*/ 3599895 h 6078415"/>
                <a:gd name="connsiteX889" fmla="*/ 2094934 w 11685910"/>
                <a:gd name="connsiteY889" fmla="*/ 3568348 h 6078415"/>
                <a:gd name="connsiteX890" fmla="*/ 2094934 w 11685910"/>
                <a:gd name="connsiteY890" fmla="*/ 3532621 h 6078415"/>
                <a:gd name="connsiteX891" fmla="*/ 2074663 w 11685910"/>
                <a:gd name="connsiteY891" fmla="*/ 3508423 h 6078415"/>
                <a:gd name="connsiteX892" fmla="*/ 2057179 w 11685910"/>
                <a:gd name="connsiteY892" fmla="*/ 3488785 h 6078415"/>
                <a:gd name="connsiteX893" fmla="*/ 2057179 w 11685910"/>
                <a:gd name="connsiteY893" fmla="*/ 3508423 h 6078415"/>
                <a:gd name="connsiteX894" fmla="*/ 2037034 w 11685910"/>
                <a:gd name="connsiteY894" fmla="*/ 3532621 h 6078415"/>
                <a:gd name="connsiteX895" fmla="*/ 2037034 w 11685910"/>
                <a:gd name="connsiteY895" fmla="*/ 3568348 h 6078415"/>
                <a:gd name="connsiteX896" fmla="*/ 2011822 w 11685910"/>
                <a:gd name="connsiteY896" fmla="*/ 3599895 h 6078415"/>
                <a:gd name="connsiteX897" fmla="*/ 2011822 w 11685910"/>
                <a:gd name="connsiteY897" fmla="*/ 3600275 h 6078415"/>
                <a:gd name="connsiteX898" fmla="*/ 2037034 w 11685910"/>
                <a:gd name="connsiteY898" fmla="*/ 3631569 h 6078415"/>
                <a:gd name="connsiteX899" fmla="*/ 2037034 w 11685910"/>
                <a:gd name="connsiteY899" fmla="*/ 3666916 h 6078415"/>
                <a:gd name="connsiteX900" fmla="*/ 2041532 w 11685910"/>
                <a:gd name="connsiteY900" fmla="*/ 3686236 h 6078415"/>
                <a:gd name="connsiteX901" fmla="*/ 2057179 w 11685910"/>
                <a:gd name="connsiteY901" fmla="*/ 3692254 h 6078415"/>
                <a:gd name="connsiteX902" fmla="*/ 2057179 w 11685910"/>
                <a:gd name="connsiteY902" fmla="*/ 3711765 h 6078415"/>
                <a:gd name="connsiteX903" fmla="*/ 2012076 w 11685910"/>
                <a:gd name="connsiteY903" fmla="*/ 3673251 h 6078415"/>
                <a:gd name="connsiteX904" fmla="*/ 2012076 w 11685910"/>
                <a:gd name="connsiteY904" fmla="*/ 3635876 h 6078415"/>
                <a:gd name="connsiteX905" fmla="*/ 1992310 w 11685910"/>
                <a:gd name="connsiteY905" fmla="*/ 3609524 h 6078415"/>
                <a:gd name="connsiteX906" fmla="*/ 1992310 w 11685910"/>
                <a:gd name="connsiteY906" fmla="*/ 3591027 h 6078415"/>
                <a:gd name="connsiteX907" fmla="*/ 2012076 w 11685910"/>
                <a:gd name="connsiteY907" fmla="*/ 3564167 h 6078415"/>
                <a:gd name="connsiteX908" fmla="*/ 2012076 w 11685910"/>
                <a:gd name="connsiteY908" fmla="*/ 3527807 h 6078415"/>
                <a:gd name="connsiteX909" fmla="*/ 2057179 w 11685910"/>
                <a:gd name="connsiteY909" fmla="*/ 3488785 h 6078415"/>
                <a:gd name="connsiteX910" fmla="*/ 11198015 w 11685910"/>
                <a:gd name="connsiteY910" fmla="*/ 3115795 h 6078415"/>
                <a:gd name="connsiteX911" fmla="*/ 11242864 w 11685910"/>
                <a:gd name="connsiteY911" fmla="*/ 3154817 h 6078415"/>
                <a:gd name="connsiteX912" fmla="*/ 11242864 w 11685910"/>
                <a:gd name="connsiteY912" fmla="*/ 3191177 h 6078415"/>
                <a:gd name="connsiteX913" fmla="*/ 11262502 w 11685910"/>
                <a:gd name="connsiteY913" fmla="*/ 3218037 h 6078415"/>
                <a:gd name="connsiteX914" fmla="*/ 11262502 w 11685910"/>
                <a:gd name="connsiteY914" fmla="*/ 3236534 h 6078415"/>
                <a:gd name="connsiteX915" fmla="*/ 11242864 w 11685910"/>
                <a:gd name="connsiteY915" fmla="*/ 3262886 h 6078415"/>
                <a:gd name="connsiteX916" fmla="*/ 11242864 w 11685910"/>
                <a:gd name="connsiteY916" fmla="*/ 3300261 h 6078415"/>
                <a:gd name="connsiteX917" fmla="*/ 11198015 w 11685910"/>
                <a:gd name="connsiteY917" fmla="*/ 3338775 h 6078415"/>
                <a:gd name="connsiteX918" fmla="*/ 11198015 w 11685910"/>
                <a:gd name="connsiteY918" fmla="*/ 3319264 h 6078415"/>
                <a:gd name="connsiteX919" fmla="*/ 11213662 w 11685910"/>
                <a:gd name="connsiteY919" fmla="*/ 3313183 h 6078415"/>
                <a:gd name="connsiteX920" fmla="*/ 11218286 w 11685910"/>
                <a:gd name="connsiteY920" fmla="*/ 3293926 h 6078415"/>
                <a:gd name="connsiteX921" fmla="*/ 11218286 w 11685910"/>
                <a:gd name="connsiteY921" fmla="*/ 3258579 h 6078415"/>
                <a:gd name="connsiteX922" fmla="*/ 11243245 w 11685910"/>
                <a:gd name="connsiteY922" fmla="*/ 3227285 h 6078415"/>
                <a:gd name="connsiteX923" fmla="*/ 11243245 w 11685910"/>
                <a:gd name="connsiteY923" fmla="*/ 3226905 h 6078415"/>
                <a:gd name="connsiteX924" fmla="*/ 11218286 w 11685910"/>
                <a:gd name="connsiteY924" fmla="*/ 3195358 h 6078415"/>
                <a:gd name="connsiteX925" fmla="*/ 11218286 w 11685910"/>
                <a:gd name="connsiteY925" fmla="*/ 3159631 h 6078415"/>
                <a:gd name="connsiteX926" fmla="*/ 11198015 w 11685910"/>
                <a:gd name="connsiteY926" fmla="*/ 3135433 h 6078415"/>
                <a:gd name="connsiteX927" fmla="*/ 11180531 w 11685910"/>
                <a:gd name="connsiteY927" fmla="*/ 3115795 h 6078415"/>
                <a:gd name="connsiteX928" fmla="*/ 11180531 w 11685910"/>
                <a:gd name="connsiteY928" fmla="*/ 3135433 h 6078415"/>
                <a:gd name="connsiteX929" fmla="*/ 11160387 w 11685910"/>
                <a:gd name="connsiteY929" fmla="*/ 3159631 h 6078415"/>
                <a:gd name="connsiteX930" fmla="*/ 11160387 w 11685910"/>
                <a:gd name="connsiteY930" fmla="*/ 3195358 h 6078415"/>
                <a:gd name="connsiteX931" fmla="*/ 11135175 w 11685910"/>
                <a:gd name="connsiteY931" fmla="*/ 3226905 h 6078415"/>
                <a:gd name="connsiteX932" fmla="*/ 11135175 w 11685910"/>
                <a:gd name="connsiteY932" fmla="*/ 3227285 h 6078415"/>
                <a:gd name="connsiteX933" fmla="*/ 11160387 w 11685910"/>
                <a:gd name="connsiteY933" fmla="*/ 3258579 h 6078415"/>
                <a:gd name="connsiteX934" fmla="*/ 11160387 w 11685910"/>
                <a:gd name="connsiteY934" fmla="*/ 3293926 h 6078415"/>
                <a:gd name="connsiteX935" fmla="*/ 11164885 w 11685910"/>
                <a:gd name="connsiteY935" fmla="*/ 3313246 h 6078415"/>
                <a:gd name="connsiteX936" fmla="*/ 11180531 w 11685910"/>
                <a:gd name="connsiteY936" fmla="*/ 3319264 h 6078415"/>
                <a:gd name="connsiteX937" fmla="*/ 11180531 w 11685910"/>
                <a:gd name="connsiteY937" fmla="*/ 3338775 h 6078415"/>
                <a:gd name="connsiteX938" fmla="*/ 11135428 w 11685910"/>
                <a:gd name="connsiteY938" fmla="*/ 3300261 h 6078415"/>
                <a:gd name="connsiteX939" fmla="*/ 11135428 w 11685910"/>
                <a:gd name="connsiteY939" fmla="*/ 3262886 h 6078415"/>
                <a:gd name="connsiteX940" fmla="*/ 11115664 w 11685910"/>
                <a:gd name="connsiteY940" fmla="*/ 3236534 h 6078415"/>
                <a:gd name="connsiteX941" fmla="*/ 11115664 w 11685910"/>
                <a:gd name="connsiteY941" fmla="*/ 3218037 h 6078415"/>
                <a:gd name="connsiteX942" fmla="*/ 11135428 w 11685910"/>
                <a:gd name="connsiteY942" fmla="*/ 3191177 h 6078415"/>
                <a:gd name="connsiteX943" fmla="*/ 11135428 w 11685910"/>
                <a:gd name="connsiteY943" fmla="*/ 3154817 h 6078415"/>
                <a:gd name="connsiteX944" fmla="*/ 11180531 w 11685910"/>
                <a:gd name="connsiteY944" fmla="*/ 3115795 h 6078415"/>
                <a:gd name="connsiteX945" fmla="*/ 8139350 w 11685910"/>
                <a:gd name="connsiteY945" fmla="*/ 3115795 h 6078415"/>
                <a:gd name="connsiteX946" fmla="*/ 8184199 w 11685910"/>
                <a:gd name="connsiteY946" fmla="*/ 3154817 h 6078415"/>
                <a:gd name="connsiteX947" fmla="*/ 8184199 w 11685910"/>
                <a:gd name="connsiteY947" fmla="*/ 3191177 h 6078415"/>
                <a:gd name="connsiteX948" fmla="*/ 8203837 w 11685910"/>
                <a:gd name="connsiteY948" fmla="*/ 3218037 h 6078415"/>
                <a:gd name="connsiteX949" fmla="*/ 8203837 w 11685910"/>
                <a:gd name="connsiteY949" fmla="*/ 3236534 h 6078415"/>
                <a:gd name="connsiteX950" fmla="*/ 8184199 w 11685910"/>
                <a:gd name="connsiteY950" fmla="*/ 3262886 h 6078415"/>
                <a:gd name="connsiteX951" fmla="*/ 8184199 w 11685910"/>
                <a:gd name="connsiteY951" fmla="*/ 3300261 h 6078415"/>
                <a:gd name="connsiteX952" fmla="*/ 8139350 w 11685910"/>
                <a:gd name="connsiteY952" fmla="*/ 3338775 h 6078415"/>
                <a:gd name="connsiteX953" fmla="*/ 8139350 w 11685910"/>
                <a:gd name="connsiteY953" fmla="*/ 3319264 h 6078415"/>
                <a:gd name="connsiteX954" fmla="*/ 8154997 w 11685910"/>
                <a:gd name="connsiteY954" fmla="*/ 3313183 h 6078415"/>
                <a:gd name="connsiteX955" fmla="*/ 8159621 w 11685910"/>
                <a:gd name="connsiteY955" fmla="*/ 3293926 h 6078415"/>
                <a:gd name="connsiteX956" fmla="*/ 8159621 w 11685910"/>
                <a:gd name="connsiteY956" fmla="*/ 3258579 h 6078415"/>
                <a:gd name="connsiteX957" fmla="*/ 8184580 w 11685910"/>
                <a:gd name="connsiteY957" fmla="*/ 3227285 h 6078415"/>
                <a:gd name="connsiteX958" fmla="*/ 8184580 w 11685910"/>
                <a:gd name="connsiteY958" fmla="*/ 3226905 h 6078415"/>
                <a:gd name="connsiteX959" fmla="*/ 8159621 w 11685910"/>
                <a:gd name="connsiteY959" fmla="*/ 3195358 h 6078415"/>
                <a:gd name="connsiteX960" fmla="*/ 8159621 w 11685910"/>
                <a:gd name="connsiteY960" fmla="*/ 3159631 h 6078415"/>
                <a:gd name="connsiteX961" fmla="*/ 8139350 w 11685910"/>
                <a:gd name="connsiteY961" fmla="*/ 3135433 h 6078415"/>
                <a:gd name="connsiteX962" fmla="*/ 8121866 w 11685910"/>
                <a:gd name="connsiteY962" fmla="*/ 3115795 h 6078415"/>
                <a:gd name="connsiteX963" fmla="*/ 8121866 w 11685910"/>
                <a:gd name="connsiteY963" fmla="*/ 3135433 h 6078415"/>
                <a:gd name="connsiteX964" fmla="*/ 8101722 w 11685910"/>
                <a:gd name="connsiteY964" fmla="*/ 3159631 h 6078415"/>
                <a:gd name="connsiteX965" fmla="*/ 8101722 w 11685910"/>
                <a:gd name="connsiteY965" fmla="*/ 3195358 h 6078415"/>
                <a:gd name="connsiteX966" fmla="*/ 8076510 w 11685910"/>
                <a:gd name="connsiteY966" fmla="*/ 3226905 h 6078415"/>
                <a:gd name="connsiteX967" fmla="*/ 8076510 w 11685910"/>
                <a:gd name="connsiteY967" fmla="*/ 3227285 h 6078415"/>
                <a:gd name="connsiteX968" fmla="*/ 8101722 w 11685910"/>
                <a:gd name="connsiteY968" fmla="*/ 3258579 h 6078415"/>
                <a:gd name="connsiteX969" fmla="*/ 8101722 w 11685910"/>
                <a:gd name="connsiteY969" fmla="*/ 3293926 h 6078415"/>
                <a:gd name="connsiteX970" fmla="*/ 8106220 w 11685910"/>
                <a:gd name="connsiteY970" fmla="*/ 3313246 h 6078415"/>
                <a:gd name="connsiteX971" fmla="*/ 8121866 w 11685910"/>
                <a:gd name="connsiteY971" fmla="*/ 3319264 h 6078415"/>
                <a:gd name="connsiteX972" fmla="*/ 8121866 w 11685910"/>
                <a:gd name="connsiteY972" fmla="*/ 3338775 h 6078415"/>
                <a:gd name="connsiteX973" fmla="*/ 8076764 w 11685910"/>
                <a:gd name="connsiteY973" fmla="*/ 3300261 h 6078415"/>
                <a:gd name="connsiteX974" fmla="*/ 8076764 w 11685910"/>
                <a:gd name="connsiteY974" fmla="*/ 3262886 h 6078415"/>
                <a:gd name="connsiteX975" fmla="*/ 8056999 w 11685910"/>
                <a:gd name="connsiteY975" fmla="*/ 3236534 h 6078415"/>
                <a:gd name="connsiteX976" fmla="*/ 8056999 w 11685910"/>
                <a:gd name="connsiteY976" fmla="*/ 3218037 h 6078415"/>
                <a:gd name="connsiteX977" fmla="*/ 8076764 w 11685910"/>
                <a:gd name="connsiteY977" fmla="*/ 3191177 h 6078415"/>
                <a:gd name="connsiteX978" fmla="*/ 8076764 w 11685910"/>
                <a:gd name="connsiteY978" fmla="*/ 3154817 h 6078415"/>
                <a:gd name="connsiteX979" fmla="*/ 8121866 w 11685910"/>
                <a:gd name="connsiteY979" fmla="*/ 3115795 h 6078415"/>
                <a:gd name="connsiteX980" fmla="*/ 5133348 w 11685910"/>
                <a:gd name="connsiteY980" fmla="*/ 3115795 h 6078415"/>
                <a:gd name="connsiteX981" fmla="*/ 5178199 w 11685910"/>
                <a:gd name="connsiteY981" fmla="*/ 3154817 h 6078415"/>
                <a:gd name="connsiteX982" fmla="*/ 5178199 w 11685910"/>
                <a:gd name="connsiteY982" fmla="*/ 3191177 h 6078415"/>
                <a:gd name="connsiteX983" fmla="*/ 5197835 w 11685910"/>
                <a:gd name="connsiteY983" fmla="*/ 3218037 h 6078415"/>
                <a:gd name="connsiteX984" fmla="*/ 5197835 w 11685910"/>
                <a:gd name="connsiteY984" fmla="*/ 3236534 h 6078415"/>
                <a:gd name="connsiteX985" fmla="*/ 5178199 w 11685910"/>
                <a:gd name="connsiteY985" fmla="*/ 3262886 h 6078415"/>
                <a:gd name="connsiteX986" fmla="*/ 5178199 w 11685910"/>
                <a:gd name="connsiteY986" fmla="*/ 3300261 h 6078415"/>
                <a:gd name="connsiteX987" fmla="*/ 5133348 w 11685910"/>
                <a:gd name="connsiteY987" fmla="*/ 3338775 h 6078415"/>
                <a:gd name="connsiteX988" fmla="*/ 5133348 w 11685910"/>
                <a:gd name="connsiteY988" fmla="*/ 3319264 h 6078415"/>
                <a:gd name="connsiteX989" fmla="*/ 5148996 w 11685910"/>
                <a:gd name="connsiteY989" fmla="*/ 3313183 h 6078415"/>
                <a:gd name="connsiteX990" fmla="*/ 5153619 w 11685910"/>
                <a:gd name="connsiteY990" fmla="*/ 3293926 h 6078415"/>
                <a:gd name="connsiteX991" fmla="*/ 5153619 w 11685910"/>
                <a:gd name="connsiteY991" fmla="*/ 3258579 h 6078415"/>
                <a:gd name="connsiteX992" fmla="*/ 5178578 w 11685910"/>
                <a:gd name="connsiteY992" fmla="*/ 3227285 h 6078415"/>
                <a:gd name="connsiteX993" fmla="*/ 5178578 w 11685910"/>
                <a:gd name="connsiteY993" fmla="*/ 3226905 h 6078415"/>
                <a:gd name="connsiteX994" fmla="*/ 5153619 w 11685910"/>
                <a:gd name="connsiteY994" fmla="*/ 3195358 h 6078415"/>
                <a:gd name="connsiteX995" fmla="*/ 5153619 w 11685910"/>
                <a:gd name="connsiteY995" fmla="*/ 3159631 h 6078415"/>
                <a:gd name="connsiteX996" fmla="*/ 5133348 w 11685910"/>
                <a:gd name="connsiteY996" fmla="*/ 3135433 h 6078415"/>
                <a:gd name="connsiteX997" fmla="*/ 5115864 w 11685910"/>
                <a:gd name="connsiteY997" fmla="*/ 3115795 h 6078415"/>
                <a:gd name="connsiteX998" fmla="*/ 5115864 w 11685910"/>
                <a:gd name="connsiteY998" fmla="*/ 3135433 h 6078415"/>
                <a:gd name="connsiteX999" fmla="*/ 5095720 w 11685910"/>
                <a:gd name="connsiteY999" fmla="*/ 3159631 h 6078415"/>
                <a:gd name="connsiteX1000" fmla="*/ 5095720 w 11685910"/>
                <a:gd name="connsiteY1000" fmla="*/ 3195358 h 6078415"/>
                <a:gd name="connsiteX1001" fmla="*/ 5070509 w 11685910"/>
                <a:gd name="connsiteY1001" fmla="*/ 3226905 h 6078415"/>
                <a:gd name="connsiteX1002" fmla="*/ 5070509 w 11685910"/>
                <a:gd name="connsiteY1002" fmla="*/ 3227285 h 6078415"/>
                <a:gd name="connsiteX1003" fmla="*/ 5095720 w 11685910"/>
                <a:gd name="connsiteY1003" fmla="*/ 3258579 h 6078415"/>
                <a:gd name="connsiteX1004" fmla="*/ 5095720 w 11685910"/>
                <a:gd name="connsiteY1004" fmla="*/ 3293926 h 6078415"/>
                <a:gd name="connsiteX1005" fmla="*/ 5100219 w 11685910"/>
                <a:gd name="connsiteY1005" fmla="*/ 3313246 h 6078415"/>
                <a:gd name="connsiteX1006" fmla="*/ 5115864 w 11685910"/>
                <a:gd name="connsiteY1006" fmla="*/ 3319264 h 6078415"/>
                <a:gd name="connsiteX1007" fmla="*/ 5115864 w 11685910"/>
                <a:gd name="connsiteY1007" fmla="*/ 3338775 h 6078415"/>
                <a:gd name="connsiteX1008" fmla="*/ 5070762 w 11685910"/>
                <a:gd name="connsiteY1008" fmla="*/ 3300261 h 6078415"/>
                <a:gd name="connsiteX1009" fmla="*/ 5070762 w 11685910"/>
                <a:gd name="connsiteY1009" fmla="*/ 3262886 h 6078415"/>
                <a:gd name="connsiteX1010" fmla="*/ 5050997 w 11685910"/>
                <a:gd name="connsiteY1010" fmla="*/ 3236534 h 6078415"/>
                <a:gd name="connsiteX1011" fmla="*/ 5050997 w 11685910"/>
                <a:gd name="connsiteY1011" fmla="*/ 3218037 h 6078415"/>
                <a:gd name="connsiteX1012" fmla="*/ 5070762 w 11685910"/>
                <a:gd name="connsiteY1012" fmla="*/ 3191177 h 6078415"/>
                <a:gd name="connsiteX1013" fmla="*/ 5070762 w 11685910"/>
                <a:gd name="connsiteY1013" fmla="*/ 3154817 h 6078415"/>
                <a:gd name="connsiteX1014" fmla="*/ 5115864 w 11685910"/>
                <a:gd name="connsiteY1014" fmla="*/ 3115795 h 6078415"/>
                <a:gd name="connsiteX1015" fmla="*/ 2074662 w 11685910"/>
                <a:gd name="connsiteY1015" fmla="*/ 3115795 h 6078415"/>
                <a:gd name="connsiteX1016" fmla="*/ 2119511 w 11685910"/>
                <a:gd name="connsiteY1016" fmla="*/ 3154817 h 6078415"/>
                <a:gd name="connsiteX1017" fmla="*/ 2119511 w 11685910"/>
                <a:gd name="connsiteY1017" fmla="*/ 3191177 h 6078415"/>
                <a:gd name="connsiteX1018" fmla="*/ 2139149 w 11685910"/>
                <a:gd name="connsiteY1018" fmla="*/ 3218037 h 6078415"/>
                <a:gd name="connsiteX1019" fmla="*/ 2139149 w 11685910"/>
                <a:gd name="connsiteY1019" fmla="*/ 3236534 h 6078415"/>
                <a:gd name="connsiteX1020" fmla="*/ 2119511 w 11685910"/>
                <a:gd name="connsiteY1020" fmla="*/ 3262886 h 6078415"/>
                <a:gd name="connsiteX1021" fmla="*/ 2119511 w 11685910"/>
                <a:gd name="connsiteY1021" fmla="*/ 3300261 h 6078415"/>
                <a:gd name="connsiteX1022" fmla="*/ 2074662 w 11685910"/>
                <a:gd name="connsiteY1022" fmla="*/ 3338775 h 6078415"/>
                <a:gd name="connsiteX1023" fmla="*/ 2074662 w 11685910"/>
                <a:gd name="connsiteY1023" fmla="*/ 3319264 h 6078415"/>
                <a:gd name="connsiteX1024" fmla="*/ 2090309 w 11685910"/>
                <a:gd name="connsiteY1024" fmla="*/ 3313183 h 6078415"/>
                <a:gd name="connsiteX1025" fmla="*/ 2094933 w 11685910"/>
                <a:gd name="connsiteY1025" fmla="*/ 3293926 h 6078415"/>
                <a:gd name="connsiteX1026" fmla="*/ 2094933 w 11685910"/>
                <a:gd name="connsiteY1026" fmla="*/ 3258579 h 6078415"/>
                <a:gd name="connsiteX1027" fmla="*/ 2119891 w 11685910"/>
                <a:gd name="connsiteY1027" fmla="*/ 3227285 h 6078415"/>
                <a:gd name="connsiteX1028" fmla="*/ 2119891 w 11685910"/>
                <a:gd name="connsiteY1028" fmla="*/ 3226905 h 6078415"/>
                <a:gd name="connsiteX1029" fmla="*/ 2094933 w 11685910"/>
                <a:gd name="connsiteY1029" fmla="*/ 3195358 h 6078415"/>
                <a:gd name="connsiteX1030" fmla="*/ 2094933 w 11685910"/>
                <a:gd name="connsiteY1030" fmla="*/ 3159631 h 6078415"/>
                <a:gd name="connsiteX1031" fmla="*/ 2074662 w 11685910"/>
                <a:gd name="connsiteY1031" fmla="*/ 3135433 h 6078415"/>
                <a:gd name="connsiteX1032" fmla="*/ 2057178 w 11685910"/>
                <a:gd name="connsiteY1032" fmla="*/ 3115795 h 6078415"/>
                <a:gd name="connsiteX1033" fmla="*/ 2057178 w 11685910"/>
                <a:gd name="connsiteY1033" fmla="*/ 3135433 h 6078415"/>
                <a:gd name="connsiteX1034" fmla="*/ 2037034 w 11685910"/>
                <a:gd name="connsiteY1034" fmla="*/ 3159631 h 6078415"/>
                <a:gd name="connsiteX1035" fmla="*/ 2037034 w 11685910"/>
                <a:gd name="connsiteY1035" fmla="*/ 3195358 h 6078415"/>
                <a:gd name="connsiteX1036" fmla="*/ 2011822 w 11685910"/>
                <a:gd name="connsiteY1036" fmla="*/ 3226905 h 6078415"/>
                <a:gd name="connsiteX1037" fmla="*/ 2011822 w 11685910"/>
                <a:gd name="connsiteY1037" fmla="*/ 3227285 h 6078415"/>
                <a:gd name="connsiteX1038" fmla="*/ 2037034 w 11685910"/>
                <a:gd name="connsiteY1038" fmla="*/ 3258579 h 6078415"/>
                <a:gd name="connsiteX1039" fmla="*/ 2037034 w 11685910"/>
                <a:gd name="connsiteY1039" fmla="*/ 3293926 h 6078415"/>
                <a:gd name="connsiteX1040" fmla="*/ 2041532 w 11685910"/>
                <a:gd name="connsiteY1040" fmla="*/ 3313246 h 6078415"/>
                <a:gd name="connsiteX1041" fmla="*/ 2057178 w 11685910"/>
                <a:gd name="connsiteY1041" fmla="*/ 3319264 h 6078415"/>
                <a:gd name="connsiteX1042" fmla="*/ 2057178 w 11685910"/>
                <a:gd name="connsiteY1042" fmla="*/ 3338775 h 6078415"/>
                <a:gd name="connsiteX1043" fmla="*/ 2012076 w 11685910"/>
                <a:gd name="connsiteY1043" fmla="*/ 3300261 h 6078415"/>
                <a:gd name="connsiteX1044" fmla="*/ 2012076 w 11685910"/>
                <a:gd name="connsiteY1044" fmla="*/ 3262886 h 6078415"/>
                <a:gd name="connsiteX1045" fmla="*/ 1992310 w 11685910"/>
                <a:gd name="connsiteY1045" fmla="*/ 3236534 h 6078415"/>
                <a:gd name="connsiteX1046" fmla="*/ 1992310 w 11685910"/>
                <a:gd name="connsiteY1046" fmla="*/ 3218037 h 6078415"/>
                <a:gd name="connsiteX1047" fmla="*/ 2012076 w 11685910"/>
                <a:gd name="connsiteY1047" fmla="*/ 3191177 h 6078415"/>
                <a:gd name="connsiteX1048" fmla="*/ 2012076 w 11685910"/>
                <a:gd name="connsiteY1048" fmla="*/ 3154817 h 6078415"/>
                <a:gd name="connsiteX1049" fmla="*/ 2057178 w 11685910"/>
                <a:gd name="connsiteY1049" fmla="*/ 3115795 h 6078415"/>
                <a:gd name="connsiteX1050" fmla="*/ 6225654 w 11685910"/>
                <a:gd name="connsiteY1050" fmla="*/ 2984201 h 6078415"/>
                <a:gd name="connsiteX1051" fmla="*/ 6202463 w 11685910"/>
                <a:gd name="connsiteY1051" fmla="*/ 3023448 h 6078415"/>
                <a:gd name="connsiteX1052" fmla="*/ 6218875 w 11685910"/>
                <a:gd name="connsiteY1052" fmla="*/ 3026838 h 6078415"/>
                <a:gd name="connsiteX1053" fmla="*/ 6235287 w 11685910"/>
                <a:gd name="connsiteY1053" fmla="*/ 3023270 h 6078415"/>
                <a:gd name="connsiteX1054" fmla="*/ 6232344 w 11685910"/>
                <a:gd name="connsiteY1054" fmla="*/ 3013815 h 6078415"/>
                <a:gd name="connsiteX1055" fmla="*/ 6233325 w 11685910"/>
                <a:gd name="connsiteY1055" fmla="*/ 3000614 h 6078415"/>
                <a:gd name="connsiteX1056" fmla="*/ 6225654 w 11685910"/>
                <a:gd name="connsiteY1056" fmla="*/ 2984201 h 6078415"/>
                <a:gd name="connsiteX1057" fmla="*/ 6065633 w 11685910"/>
                <a:gd name="connsiteY1057" fmla="*/ 2967789 h 6078415"/>
                <a:gd name="connsiteX1058" fmla="*/ 6051986 w 11685910"/>
                <a:gd name="connsiteY1058" fmla="*/ 2988037 h 6078415"/>
                <a:gd name="connsiteX1059" fmla="*/ 6073482 w 11685910"/>
                <a:gd name="connsiteY1059" fmla="*/ 3009623 h 6078415"/>
                <a:gd name="connsiteX1060" fmla="*/ 6082402 w 11685910"/>
                <a:gd name="connsiteY1060" fmla="*/ 3002398 h 6078415"/>
                <a:gd name="connsiteX1061" fmla="*/ 6065633 w 11685910"/>
                <a:gd name="connsiteY1061" fmla="*/ 2967789 h 6078415"/>
                <a:gd name="connsiteX1062" fmla="*/ 6049245 w 11685910"/>
                <a:gd name="connsiteY1062" fmla="*/ 2899498 h 6078415"/>
                <a:gd name="connsiteX1063" fmla="*/ 6049044 w 11685910"/>
                <a:gd name="connsiteY1063" fmla="*/ 2901015 h 6078415"/>
                <a:gd name="connsiteX1064" fmla="*/ 6048978 w 11685910"/>
                <a:gd name="connsiteY1064" fmla="*/ 2899755 h 6078415"/>
                <a:gd name="connsiteX1065" fmla="*/ 6251165 w 11685910"/>
                <a:gd name="connsiteY1065" fmla="*/ 2872303 h 6078415"/>
                <a:gd name="connsiteX1066" fmla="*/ 6247173 w 11685910"/>
                <a:gd name="connsiteY1066" fmla="*/ 2875157 h 6078415"/>
                <a:gd name="connsiteX1067" fmla="*/ 6254095 w 11685910"/>
                <a:gd name="connsiteY1067" fmla="*/ 2883528 h 6078415"/>
                <a:gd name="connsiteX1068" fmla="*/ 6260976 w 11685910"/>
                <a:gd name="connsiteY1068" fmla="*/ 2881802 h 6078415"/>
                <a:gd name="connsiteX1069" fmla="*/ 6234752 w 11685910"/>
                <a:gd name="connsiteY1069" fmla="*/ 2900980 h 6078415"/>
                <a:gd name="connsiteX1070" fmla="*/ 6239769 w 11685910"/>
                <a:gd name="connsiteY1070" fmla="*/ 2893357 h 6078415"/>
                <a:gd name="connsiteX1071" fmla="*/ 6231987 w 11685910"/>
                <a:gd name="connsiteY1071" fmla="*/ 2886396 h 6078415"/>
                <a:gd name="connsiteX1072" fmla="*/ 6227170 w 11685910"/>
                <a:gd name="connsiteY1072" fmla="*/ 2890455 h 6078415"/>
                <a:gd name="connsiteX1073" fmla="*/ 6251165 w 11685910"/>
                <a:gd name="connsiteY1073" fmla="*/ 2872303 h 6078415"/>
                <a:gd name="connsiteX1074" fmla="*/ 6224596 w 11685910"/>
                <a:gd name="connsiteY1074" fmla="*/ 2855891 h 6078415"/>
                <a:gd name="connsiteX1075" fmla="*/ 6226880 w 11685910"/>
                <a:gd name="connsiteY1075" fmla="*/ 2855928 h 6078415"/>
                <a:gd name="connsiteX1076" fmla="*/ 6235020 w 11685910"/>
                <a:gd name="connsiteY1076" fmla="*/ 2857184 h 6078415"/>
                <a:gd name="connsiteX1077" fmla="*/ 6216110 w 11685910"/>
                <a:gd name="connsiteY1077" fmla="*/ 2876094 h 6078415"/>
                <a:gd name="connsiteX1078" fmla="*/ 6224596 w 11685910"/>
                <a:gd name="connsiteY1078" fmla="*/ 2855891 h 6078415"/>
                <a:gd name="connsiteX1079" fmla="*/ 6327199 w 11685910"/>
                <a:gd name="connsiteY1079" fmla="*/ 2833814 h 6078415"/>
                <a:gd name="connsiteX1080" fmla="*/ 6319002 w 11685910"/>
                <a:gd name="connsiteY1080" fmla="*/ 2847735 h 6078415"/>
                <a:gd name="connsiteX1081" fmla="*/ 6306826 w 11685910"/>
                <a:gd name="connsiteY1081" fmla="*/ 2849726 h 6078415"/>
                <a:gd name="connsiteX1082" fmla="*/ 6317967 w 11685910"/>
                <a:gd name="connsiteY1082" fmla="*/ 2843097 h 6078415"/>
                <a:gd name="connsiteX1083" fmla="*/ 6327199 w 11685910"/>
                <a:gd name="connsiteY1083" fmla="*/ 2833814 h 6078415"/>
                <a:gd name="connsiteX1084" fmla="*/ 6223262 w 11685910"/>
                <a:gd name="connsiteY1084" fmla="*/ 2814809 h 6078415"/>
                <a:gd name="connsiteX1085" fmla="*/ 6229125 w 11685910"/>
                <a:gd name="connsiteY1085" fmla="*/ 2815323 h 6078415"/>
                <a:gd name="connsiteX1086" fmla="*/ 6272110 w 11685910"/>
                <a:gd name="connsiteY1086" fmla="*/ 2844543 h 6078415"/>
                <a:gd name="connsiteX1087" fmla="*/ 6289981 w 11685910"/>
                <a:gd name="connsiteY1087" fmla="*/ 2865553 h 6078415"/>
                <a:gd name="connsiteX1088" fmla="*/ 6286841 w 11685910"/>
                <a:gd name="connsiteY1088" fmla="*/ 2873280 h 6078415"/>
                <a:gd name="connsiteX1089" fmla="*/ 6299867 w 11685910"/>
                <a:gd name="connsiteY1089" fmla="*/ 2883317 h 6078415"/>
                <a:gd name="connsiteX1090" fmla="*/ 6298191 w 11685910"/>
                <a:gd name="connsiteY1090" fmla="*/ 2846234 h 6078415"/>
                <a:gd name="connsiteX1091" fmla="*/ 6313405 w 11685910"/>
                <a:gd name="connsiteY1091" fmla="*/ 2836574 h 6078415"/>
                <a:gd name="connsiteX1092" fmla="*/ 6325238 w 11685910"/>
                <a:gd name="connsiteY1092" fmla="*/ 2825466 h 6078415"/>
                <a:gd name="connsiteX1093" fmla="*/ 6347938 w 11685910"/>
                <a:gd name="connsiteY1093" fmla="*/ 2887528 h 6078415"/>
                <a:gd name="connsiteX1094" fmla="*/ 6310507 w 11685910"/>
                <a:gd name="connsiteY1094" fmla="*/ 2955387 h 6078415"/>
                <a:gd name="connsiteX1095" fmla="*/ 6278696 w 11685910"/>
                <a:gd name="connsiteY1095" fmla="*/ 2956100 h 6078415"/>
                <a:gd name="connsiteX1096" fmla="*/ 6274716 w 11685910"/>
                <a:gd name="connsiteY1096" fmla="*/ 2954714 h 6078415"/>
                <a:gd name="connsiteX1097" fmla="*/ 6274239 w 11685910"/>
                <a:gd name="connsiteY1097" fmla="*/ 2956975 h 6078415"/>
                <a:gd name="connsiteX1098" fmla="*/ 6249652 w 11685910"/>
                <a:gd name="connsiteY1098" fmla="*/ 2976879 h 6078415"/>
                <a:gd name="connsiteX1099" fmla="*/ 6228159 w 11685910"/>
                <a:gd name="connsiteY1099" fmla="*/ 2967220 h 6078415"/>
                <a:gd name="connsiteX1100" fmla="*/ 6227193 w 11685910"/>
                <a:gd name="connsiteY1100" fmla="*/ 2979777 h 6078415"/>
                <a:gd name="connsiteX1101" fmla="*/ 6236853 w 11685910"/>
                <a:gd name="connsiteY1101" fmla="*/ 3000303 h 6078415"/>
                <a:gd name="connsiteX1102" fmla="*/ 6236370 w 11685910"/>
                <a:gd name="connsiteY1102" fmla="*/ 3011412 h 6078415"/>
                <a:gd name="connsiteX1103" fmla="*/ 6238543 w 11685910"/>
                <a:gd name="connsiteY1103" fmla="*/ 3025177 h 6078415"/>
                <a:gd name="connsiteX1104" fmla="*/ 6222605 w 11685910"/>
                <a:gd name="connsiteY1104" fmla="*/ 3030973 h 6078415"/>
                <a:gd name="connsiteX1105" fmla="*/ 6197731 w 11685910"/>
                <a:gd name="connsiteY1105" fmla="*/ 3025660 h 6078415"/>
                <a:gd name="connsiteX1106" fmla="*/ 6196972 w 11685910"/>
                <a:gd name="connsiteY1106" fmla="*/ 3021206 h 6078415"/>
                <a:gd name="connsiteX1107" fmla="*/ 6196932 w 11685910"/>
                <a:gd name="connsiteY1107" fmla="*/ 3019861 h 6078415"/>
                <a:gd name="connsiteX1108" fmla="*/ 6193193 w 11685910"/>
                <a:gd name="connsiteY1108" fmla="*/ 3023405 h 6078415"/>
                <a:gd name="connsiteX1109" fmla="*/ 6169719 w 11685910"/>
                <a:gd name="connsiteY1109" fmla="*/ 3037734 h 6078415"/>
                <a:gd name="connsiteX1110" fmla="*/ 6146294 w 11685910"/>
                <a:gd name="connsiteY1110" fmla="*/ 3009480 h 6078415"/>
                <a:gd name="connsiteX1111" fmla="*/ 6157161 w 11685910"/>
                <a:gd name="connsiteY1111" fmla="*/ 2997647 h 6078415"/>
                <a:gd name="connsiteX1112" fmla="*/ 6132288 w 11685910"/>
                <a:gd name="connsiteY1112" fmla="*/ 2995232 h 6078415"/>
                <a:gd name="connsiteX1113" fmla="*/ 6131322 w 11685910"/>
                <a:gd name="connsiteY1113" fmla="*/ 3006099 h 6078415"/>
                <a:gd name="connsiteX1114" fmla="*/ 6125043 w 11685910"/>
                <a:gd name="connsiteY1114" fmla="*/ 3016725 h 6078415"/>
                <a:gd name="connsiteX1115" fmla="*/ 6119972 w 11685910"/>
                <a:gd name="connsiteY1115" fmla="*/ 3035802 h 6078415"/>
                <a:gd name="connsiteX1116" fmla="*/ 6079884 w 11685910"/>
                <a:gd name="connsiteY1116" fmla="*/ 3027350 h 6078415"/>
                <a:gd name="connsiteX1117" fmla="*/ 6080850 w 11685910"/>
                <a:gd name="connsiteY1117" fmla="*/ 3013344 h 6078415"/>
                <a:gd name="connsiteX1118" fmla="*/ 6071191 w 11685910"/>
                <a:gd name="connsiteY1118" fmla="*/ 3015276 h 6078415"/>
                <a:gd name="connsiteX1119" fmla="*/ 6046076 w 11685910"/>
                <a:gd name="connsiteY1119" fmla="*/ 2989436 h 6078415"/>
                <a:gd name="connsiteX1120" fmla="*/ 6061290 w 11685910"/>
                <a:gd name="connsiteY1120" fmla="*/ 2962873 h 6078415"/>
                <a:gd name="connsiteX1121" fmla="*/ 6062739 w 11685910"/>
                <a:gd name="connsiteY1121" fmla="*/ 2936309 h 6078415"/>
                <a:gd name="connsiteX1122" fmla="*/ 6047283 w 11685910"/>
                <a:gd name="connsiteY1122" fmla="*/ 2914333 h 6078415"/>
                <a:gd name="connsiteX1123" fmla="*/ 6049044 w 11685910"/>
                <a:gd name="connsiteY1123" fmla="*/ 2901015 h 6078415"/>
                <a:gd name="connsiteX1124" fmla="*/ 6049503 w 11685910"/>
                <a:gd name="connsiteY1124" fmla="*/ 2909735 h 6078415"/>
                <a:gd name="connsiteX1125" fmla="*/ 6050326 w 11685910"/>
                <a:gd name="connsiteY1125" fmla="*/ 2910131 h 6078415"/>
                <a:gd name="connsiteX1126" fmla="*/ 6050449 w 11685910"/>
                <a:gd name="connsiteY1126" fmla="*/ 2911305 h 6078415"/>
                <a:gd name="connsiteX1127" fmla="*/ 6070004 w 11685910"/>
                <a:gd name="connsiteY1127" fmla="*/ 2925152 h 6078415"/>
                <a:gd name="connsiteX1128" fmla="*/ 6088227 w 11685910"/>
                <a:gd name="connsiteY1128" fmla="*/ 2995782 h 6078415"/>
                <a:gd name="connsiteX1129" fmla="*/ 6089189 w 11685910"/>
                <a:gd name="connsiteY1129" fmla="*/ 2997632 h 6078415"/>
                <a:gd name="connsiteX1130" fmla="*/ 6089155 w 11685910"/>
                <a:gd name="connsiteY1130" fmla="*/ 2998499 h 6078415"/>
                <a:gd name="connsiteX1131" fmla="*/ 6087754 w 11685910"/>
                <a:gd name="connsiteY1131" fmla="*/ 3011942 h 6078415"/>
                <a:gd name="connsiteX1132" fmla="*/ 6084454 w 11685910"/>
                <a:gd name="connsiteY1132" fmla="*/ 3023270 h 6078415"/>
                <a:gd name="connsiteX1133" fmla="*/ 6118617 w 11685910"/>
                <a:gd name="connsiteY1133" fmla="*/ 3029871 h 6078415"/>
                <a:gd name="connsiteX1134" fmla="*/ 6119776 w 11685910"/>
                <a:gd name="connsiteY1134" fmla="*/ 3018988 h 6078415"/>
                <a:gd name="connsiteX1135" fmla="*/ 6126377 w 11685910"/>
                <a:gd name="connsiteY1135" fmla="*/ 3004806 h 6078415"/>
                <a:gd name="connsiteX1136" fmla="*/ 6126656 w 11685910"/>
                <a:gd name="connsiteY1136" fmla="*/ 2989698 h 6078415"/>
                <a:gd name="connsiteX1137" fmla="*/ 6126448 w 11685910"/>
                <a:gd name="connsiteY1137" fmla="*/ 2984019 h 6078415"/>
                <a:gd name="connsiteX1138" fmla="*/ 6128036 w 11685910"/>
                <a:gd name="connsiteY1138" fmla="*/ 2985869 h 6078415"/>
                <a:gd name="connsiteX1139" fmla="*/ 6167408 w 11685910"/>
                <a:gd name="connsiteY1139" fmla="*/ 2983666 h 6078415"/>
                <a:gd name="connsiteX1140" fmla="*/ 6168300 w 11685910"/>
                <a:gd name="connsiteY1140" fmla="*/ 2997403 h 6078415"/>
                <a:gd name="connsiteX1141" fmla="*/ 6151263 w 11685910"/>
                <a:gd name="connsiteY1141" fmla="*/ 3010069 h 6078415"/>
                <a:gd name="connsiteX1142" fmla="*/ 6170173 w 11685910"/>
                <a:gd name="connsiteY1142" fmla="*/ 3032992 h 6078415"/>
                <a:gd name="connsiteX1143" fmla="*/ 6205228 w 11685910"/>
                <a:gd name="connsiteY1143" fmla="*/ 3005252 h 6078415"/>
                <a:gd name="connsiteX1144" fmla="*/ 6224316 w 11685910"/>
                <a:gd name="connsiteY1144" fmla="*/ 2963418 h 6078415"/>
                <a:gd name="connsiteX1145" fmla="*/ 6207453 w 11685910"/>
                <a:gd name="connsiteY1145" fmla="*/ 2945155 h 6078415"/>
                <a:gd name="connsiteX1146" fmla="*/ 6207259 w 11685910"/>
                <a:gd name="connsiteY1146" fmla="*/ 2944647 h 6078415"/>
                <a:gd name="connsiteX1147" fmla="*/ 6209877 w 11685910"/>
                <a:gd name="connsiteY1147" fmla="*/ 2946295 h 6078415"/>
                <a:gd name="connsiteX1148" fmla="*/ 6229044 w 11685910"/>
                <a:gd name="connsiteY1148" fmla="*/ 2956907 h 6078415"/>
                <a:gd name="connsiteX1149" fmla="*/ 6250362 w 11685910"/>
                <a:gd name="connsiteY1149" fmla="*/ 2971357 h 6078415"/>
                <a:gd name="connsiteX1150" fmla="*/ 6271323 w 11685910"/>
                <a:gd name="connsiteY1150" fmla="*/ 2952982 h 6078415"/>
                <a:gd name="connsiteX1151" fmla="*/ 6268023 w 11685910"/>
                <a:gd name="connsiteY1151" fmla="*/ 2952715 h 6078415"/>
                <a:gd name="connsiteX1152" fmla="*/ 6240230 w 11685910"/>
                <a:gd name="connsiteY1152" fmla="*/ 2930567 h 6078415"/>
                <a:gd name="connsiteX1153" fmla="*/ 6241155 w 11685910"/>
                <a:gd name="connsiteY1153" fmla="*/ 2925791 h 6078415"/>
                <a:gd name="connsiteX1154" fmla="*/ 6242907 w 11685910"/>
                <a:gd name="connsiteY1154" fmla="*/ 2927701 h 6078415"/>
                <a:gd name="connsiteX1155" fmla="*/ 6314674 w 11685910"/>
                <a:gd name="connsiteY1155" fmla="*/ 2945846 h 6078415"/>
                <a:gd name="connsiteX1156" fmla="*/ 6326537 w 11685910"/>
                <a:gd name="connsiteY1156" fmla="*/ 2828730 h 6078415"/>
                <a:gd name="connsiteX1157" fmla="*/ 6317260 w 11685910"/>
                <a:gd name="connsiteY1157" fmla="*/ 2839434 h 6078415"/>
                <a:gd name="connsiteX1158" fmla="*/ 6303702 w 11685910"/>
                <a:gd name="connsiteY1158" fmla="*/ 2846302 h 6078415"/>
                <a:gd name="connsiteX1159" fmla="*/ 6295225 w 11685910"/>
                <a:gd name="connsiteY1159" fmla="*/ 2907097 h 6078415"/>
                <a:gd name="connsiteX1160" fmla="*/ 6293745 w 11685910"/>
                <a:gd name="connsiteY1160" fmla="*/ 2908265 h 6078415"/>
                <a:gd name="connsiteX1161" fmla="*/ 6294056 w 11685910"/>
                <a:gd name="connsiteY1161" fmla="*/ 2907664 h 6078415"/>
                <a:gd name="connsiteX1162" fmla="*/ 6297280 w 11685910"/>
                <a:gd name="connsiteY1162" fmla="*/ 2888582 h 6078415"/>
                <a:gd name="connsiteX1163" fmla="*/ 6284703 w 11685910"/>
                <a:gd name="connsiteY1163" fmla="*/ 2890990 h 6078415"/>
                <a:gd name="connsiteX1164" fmla="*/ 6286041 w 11685910"/>
                <a:gd name="connsiteY1164" fmla="*/ 2880554 h 6078415"/>
                <a:gd name="connsiteX1165" fmla="*/ 6274267 w 11685910"/>
                <a:gd name="connsiteY1165" fmla="*/ 2880464 h 6078415"/>
                <a:gd name="connsiteX1166" fmla="*/ 6277656 w 11685910"/>
                <a:gd name="connsiteY1166" fmla="*/ 2872704 h 6078415"/>
                <a:gd name="connsiteX1167" fmla="*/ 6270849 w 11685910"/>
                <a:gd name="connsiteY1167" fmla="*/ 2869560 h 6078415"/>
                <a:gd name="connsiteX1168" fmla="*/ 6268963 w 11685910"/>
                <a:gd name="connsiteY1168" fmla="*/ 2869573 h 6078415"/>
                <a:gd name="connsiteX1169" fmla="*/ 6270514 w 11685910"/>
                <a:gd name="connsiteY1169" fmla="*/ 2869016 h 6078415"/>
                <a:gd name="connsiteX1170" fmla="*/ 6272840 w 11685910"/>
                <a:gd name="connsiteY1170" fmla="*/ 2868334 h 6078415"/>
                <a:gd name="connsiteX1171" fmla="*/ 6284079 w 11685910"/>
                <a:gd name="connsiteY1171" fmla="*/ 2865747 h 6078415"/>
                <a:gd name="connsiteX1172" fmla="*/ 6272661 w 11685910"/>
                <a:gd name="connsiteY1172" fmla="*/ 2851208 h 6078415"/>
                <a:gd name="connsiteX1173" fmla="*/ 6260762 w 11685910"/>
                <a:gd name="connsiteY1173" fmla="*/ 2849748 h 6078415"/>
                <a:gd name="connsiteX1174" fmla="*/ 6259663 w 11685910"/>
                <a:gd name="connsiteY1174" fmla="*/ 2849690 h 6078415"/>
                <a:gd name="connsiteX1175" fmla="*/ 6259672 w 11685910"/>
                <a:gd name="connsiteY1175" fmla="*/ 2849666 h 6078415"/>
                <a:gd name="connsiteX1176" fmla="*/ 6267399 w 11685910"/>
                <a:gd name="connsiteY1176" fmla="*/ 2847283 h 6078415"/>
                <a:gd name="connsiteX1177" fmla="*/ 6225030 w 11685910"/>
                <a:gd name="connsiteY1177" fmla="*/ 2821327 h 6078415"/>
                <a:gd name="connsiteX1178" fmla="*/ 6174900 w 11685910"/>
                <a:gd name="connsiteY1178" fmla="*/ 2844786 h 6078415"/>
                <a:gd name="connsiteX1179" fmla="*/ 6189037 w 11685910"/>
                <a:gd name="connsiteY1179" fmla="*/ 2845110 h 6078415"/>
                <a:gd name="connsiteX1180" fmla="*/ 6189610 w 11685910"/>
                <a:gd name="connsiteY1180" fmla="*/ 2845193 h 6078415"/>
                <a:gd name="connsiteX1181" fmla="*/ 6187216 w 11685910"/>
                <a:gd name="connsiteY1181" fmla="*/ 2845844 h 6078415"/>
                <a:gd name="connsiteX1182" fmla="*/ 6162783 w 11685910"/>
                <a:gd name="connsiteY1182" fmla="*/ 2850926 h 6078415"/>
                <a:gd name="connsiteX1183" fmla="*/ 6116620 w 11685910"/>
                <a:gd name="connsiteY1183" fmla="*/ 2910805 h 6078415"/>
                <a:gd name="connsiteX1184" fmla="*/ 6130507 w 11685910"/>
                <a:gd name="connsiteY1184" fmla="*/ 2932769 h 6078415"/>
                <a:gd name="connsiteX1185" fmla="*/ 6144916 w 11685910"/>
                <a:gd name="connsiteY1185" fmla="*/ 2916343 h 6078415"/>
                <a:gd name="connsiteX1186" fmla="*/ 6128058 w 11685910"/>
                <a:gd name="connsiteY1186" fmla="*/ 2951212 h 6078415"/>
                <a:gd name="connsiteX1187" fmla="*/ 6143880 w 11685910"/>
                <a:gd name="connsiteY1187" fmla="*/ 2960530 h 6078415"/>
                <a:gd name="connsiteX1188" fmla="*/ 6170852 w 11685910"/>
                <a:gd name="connsiteY1188" fmla="*/ 2947177 h 6078415"/>
                <a:gd name="connsiteX1189" fmla="*/ 6188143 w 11685910"/>
                <a:gd name="connsiteY1189" fmla="*/ 2945448 h 6078415"/>
                <a:gd name="connsiteX1190" fmla="*/ 6194339 w 11685910"/>
                <a:gd name="connsiteY1190" fmla="*/ 2876862 h 6078415"/>
                <a:gd name="connsiteX1191" fmla="*/ 6195059 w 11685910"/>
                <a:gd name="connsiteY1191" fmla="*/ 2954238 h 6078415"/>
                <a:gd name="connsiteX1192" fmla="*/ 6192966 w 11685910"/>
                <a:gd name="connsiteY1192" fmla="*/ 2953895 h 6078415"/>
                <a:gd name="connsiteX1193" fmla="*/ 6190315 w 11685910"/>
                <a:gd name="connsiteY1193" fmla="*/ 2953217 h 6078415"/>
                <a:gd name="connsiteX1194" fmla="*/ 6187599 w 11685910"/>
                <a:gd name="connsiteY1194" fmla="*/ 2952793 h 6078415"/>
                <a:gd name="connsiteX1195" fmla="*/ 6186838 w 11685910"/>
                <a:gd name="connsiteY1195" fmla="*/ 2952617 h 6078415"/>
                <a:gd name="connsiteX1196" fmla="*/ 6180113 w 11685910"/>
                <a:gd name="connsiteY1196" fmla="*/ 2952389 h 6078415"/>
                <a:gd name="connsiteX1197" fmla="*/ 6179134 w 11685910"/>
                <a:gd name="connsiteY1197" fmla="*/ 2952617 h 6078415"/>
                <a:gd name="connsiteX1198" fmla="*/ 6178542 w 11685910"/>
                <a:gd name="connsiteY1198" fmla="*/ 2952669 h 6078415"/>
                <a:gd name="connsiteX1199" fmla="*/ 6139578 w 11685910"/>
                <a:gd name="connsiteY1199" fmla="*/ 2968503 h 6078415"/>
                <a:gd name="connsiteX1200" fmla="*/ 6117388 w 11685910"/>
                <a:gd name="connsiteY1200" fmla="*/ 2950903 h 6078415"/>
                <a:gd name="connsiteX1201" fmla="*/ 6116933 w 11685910"/>
                <a:gd name="connsiteY1201" fmla="*/ 2950314 h 6078415"/>
                <a:gd name="connsiteX1202" fmla="*/ 6118644 w 11685910"/>
                <a:gd name="connsiteY1202" fmla="*/ 2947455 h 6078415"/>
                <a:gd name="connsiteX1203" fmla="*/ 6124682 w 11685910"/>
                <a:gd name="connsiteY1203" fmla="*/ 2938711 h 6078415"/>
                <a:gd name="connsiteX1204" fmla="*/ 6107734 w 11685910"/>
                <a:gd name="connsiteY1204" fmla="*/ 2911862 h 6078415"/>
                <a:gd name="connsiteX1205" fmla="*/ 6137794 w 11685910"/>
                <a:gd name="connsiteY1205" fmla="*/ 2866014 h 6078415"/>
                <a:gd name="connsiteX1206" fmla="*/ 6058278 w 11685910"/>
                <a:gd name="connsiteY1206" fmla="*/ 2913077 h 6078415"/>
                <a:gd name="connsiteX1207" fmla="*/ 6054677 w 11685910"/>
                <a:gd name="connsiteY1207" fmla="*/ 2909836 h 6078415"/>
                <a:gd name="connsiteX1208" fmla="*/ 6055730 w 11685910"/>
                <a:gd name="connsiteY1208" fmla="*/ 2909245 h 6078415"/>
                <a:gd name="connsiteX1209" fmla="*/ 6059657 w 11685910"/>
                <a:gd name="connsiteY1209" fmla="*/ 2889473 h 6078415"/>
                <a:gd name="connsiteX1210" fmla="*/ 6049245 w 11685910"/>
                <a:gd name="connsiteY1210" fmla="*/ 2899498 h 6078415"/>
                <a:gd name="connsiteX1211" fmla="*/ 6050151 w 11685910"/>
                <a:gd name="connsiteY1211" fmla="*/ 2892645 h 6078415"/>
                <a:gd name="connsiteX1212" fmla="*/ 6063705 w 11685910"/>
                <a:gd name="connsiteY1212" fmla="*/ 2884147 h 6078415"/>
                <a:gd name="connsiteX1213" fmla="*/ 6063705 w 11685910"/>
                <a:gd name="connsiteY1213" fmla="*/ 2907813 h 6078415"/>
                <a:gd name="connsiteX1214" fmla="*/ 6139532 w 11685910"/>
                <a:gd name="connsiteY1214" fmla="*/ 2859757 h 6078415"/>
                <a:gd name="connsiteX1215" fmla="*/ 6161991 w 11685910"/>
                <a:gd name="connsiteY1215" fmla="*/ 2843336 h 6078415"/>
                <a:gd name="connsiteX1216" fmla="*/ 6167986 w 11685910"/>
                <a:gd name="connsiteY1216" fmla="*/ 2842707 h 6078415"/>
                <a:gd name="connsiteX1217" fmla="*/ 6168681 w 11685910"/>
                <a:gd name="connsiteY1217" fmla="*/ 2841220 h 6078415"/>
                <a:gd name="connsiteX1218" fmla="*/ 6187831 w 11685910"/>
                <a:gd name="connsiteY1218" fmla="*/ 2822809 h 6078415"/>
                <a:gd name="connsiteX1219" fmla="*/ 6223262 w 11685910"/>
                <a:gd name="connsiteY1219" fmla="*/ 2814809 h 6078415"/>
                <a:gd name="connsiteX1220" fmla="*/ 11472799 w 11685910"/>
                <a:gd name="connsiteY1220" fmla="*/ 2814763 h 6078415"/>
                <a:gd name="connsiteX1221" fmla="*/ 11517648 w 11685910"/>
                <a:gd name="connsiteY1221" fmla="*/ 2853785 h 6078415"/>
                <a:gd name="connsiteX1222" fmla="*/ 11517648 w 11685910"/>
                <a:gd name="connsiteY1222" fmla="*/ 2890145 h 6078415"/>
                <a:gd name="connsiteX1223" fmla="*/ 11537286 w 11685910"/>
                <a:gd name="connsiteY1223" fmla="*/ 2917005 h 6078415"/>
                <a:gd name="connsiteX1224" fmla="*/ 11537286 w 11685910"/>
                <a:gd name="connsiteY1224" fmla="*/ 2935502 h 6078415"/>
                <a:gd name="connsiteX1225" fmla="*/ 11517648 w 11685910"/>
                <a:gd name="connsiteY1225" fmla="*/ 2961854 h 6078415"/>
                <a:gd name="connsiteX1226" fmla="*/ 11517648 w 11685910"/>
                <a:gd name="connsiteY1226" fmla="*/ 2999229 h 6078415"/>
                <a:gd name="connsiteX1227" fmla="*/ 11472799 w 11685910"/>
                <a:gd name="connsiteY1227" fmla="*/ 3037743 h 6078415"/>
                <a:gd name="connsiteX1228" fmla="*/ 11472799 w 11685910"/>
                <a:gd name="connsiteY1228" fmla="*/ 3018232 h 6078415"/>
                <a:gd name="connsiteX1229" fmla="*/ 11488446 w 11685910"/>
                <a:gd name="connsiteY1229" fmla="*/ 3012151 h 6078415"/>
                <a:gd name="connsiteX1230" fmla="*/ 11493070 w 11685910"/>
                <a:gd name="connsiteY1230" fmla="*/ 2992894 h 6078415"/>
                <a:gd name="connsiteX1231" fmla="*/ 11493070 w 11685910"/>
                <a:gd name="connsiteY1231" fmla="*/ 2957547 h 6078415"/>
                <a:gd name="connsiteX1232" fmla="*/ 11518029 w 11685910"/>
                <a:gd name="connsiteY1232" fmla="*/ 2926253 h 6078415"/>
                <a:gd name="connsiteX1233" fmla="*/ 11518029 w 11685910"/>
                <a:gd name="connsiteY1233" fmla="*/ 2925873 h 6078415"/>
                <a:gd name="connsiteX1234" fmla="*/ 11493070 w 11685910"/>
                <a:gd name="connsiteY1234" fmla="*/ 2894326 h 6078415"/>
                <a:gd name="connsiteX1235" fmla="*/ 11493070 w 11685910"/>
                <a:gd name="connsiteY1235" fmla="*/ 2858599 h 6078415"/>
                <a:gd name="connsiteX1236" fmla="*/ 11472799 w 11685910"/>
                <a:gd name="connsiteY1236" fmla="*/ 2834401 h 6078415"/>
                <a:gd name="connsiteX1237" fmla="*/ 11455315 w 11685910"/>
                <a:gd name="connsiteY1237" fmla="*/ 2814763 h 6078415"/>
                <a:gd name="connsiteX1238" fmla="*/ 11455315 w 11685910"/>
                <a:gd name="connsiteY1238" fmla="*/ 2834401 h 6078415"/>
                <a:gd name="connsiteX1239" fmla="*/ 11435171 w 11685910"/>
                <a:gd name="connsiteY1239" fmla="*/ 2858599 h 6078415"/>
                <a:gd name="connsiteX1240" fmla="*/ 11435171 w 11685910"/>
                <a:gd name="connsiteY1240" fmla="*/ 2894326 h 6078415"/>
                <a:gd name="connsiteX1241" fmla="*/ 11409959 w 11685910"/>
                <a:gd name="connsiteY1241" fmla="*/ 2925873 h 6078415"/>
                <a:gd name="connsiteX1242" fmla="*/ 11409959 w 11685910"/>
                <a:gd name="connsiteY1242" fmla="*/ 2926253 h 6078415"/>
                <a:gd name="connsiteX1243" fmla="*/ 11435171 w 11685910"/>
                <a:gd name="connsiteY1243" fmla="*/ 2957547 h 6078415"/>
                <a:gd name="connsiteX1244" fmla="*/ 11435171 w 11685910"/>
                <a:gd name="connsiteY1244" fmla="*/ 2992894 h 6078415"/>
                <a:gd name="connsiteX1245" fmla="*/ 11439669 w 11685910"/>
                <a:gd name="connsiteY1245" fmla="*/ 3012214 h 6078415"/>
                <a:gd name="connsiteX1246" fmla="*/ 11455315 w 11685910"/>
                <a:gd name="connsiteY1246" fmla="*/ 3018232 h 6078415"/>
                <a:gd name="connsiteX1247" fmla="*/ 11455315 w 11685910"/>
                <a:gd name="connsiteY1247" fmla="*/ 3037743 h 6078415"/>
                <a:gd name="connsiteX1248" fmla="*/ 11410212 w 11685910"/>
                <a:gd name="connsiteY1248" fmla="*/ 2999229 h 6078415"/>
                <a:gd name="connsiteX1249" fmla="*/ 11410212 w 11685910"/>
                <a:gd name="connsiteY1249" fmla="*/ 2961854 h 6078415"/>
                <a:gd name="connsiteX1250" fmla="*/ 11390448 w 11685910"/>
                <a:gd name="connsiteY1250" fmla="*/ 2935502 h 6078415"/>
                <a:gd name="connsiteX1251" fmla="*/ 11390448 w 11685910"/>
                <a:gd name="connsiteY1251" fmla="*/ 2917005 h 6078415"/>
                <a:gd name="connsiteX1252" fmla="*/ 11410212 w 11685910"/>
                <a:gd name="connsiteY1252" fmla="*/ 2890145 h 6078415"/>
                <a:gd name="connsiteX1253" fmla="*/ 11410212 w 11685910"/>
                <a:gd name="connsiteY1253" fmla="*/ 2853785 h 6078415"/>
                <a:gd name="connsiteX1254" fmla="*/ 11455315 w 11685910"/>
                <a:gd name="connsiteY1254" fmla="*/ 2814763 h 6078415"/>
                <a:gd name="connsiteX1255" fmla="*/ 7307218 w 11685910"/>
                <a:gd name="connsiteY1255" fmla="*/ 2814763 h 6078415"/>
                <a:gd name="connsiteX1256" fmla="*/ 7352068 w 11685910"/>
                <a:gd name="connsiteY1256" fmla="*/ 2853785 h 6078415"/>
                <a:gd name="connsiteX1257" fmla="*/ 7352068 w 11685910"/>
                <a:gd name="connsiteY1257" fmla="*/ 2890145 h 6078415"/>
                <a:gd name="connsiteX1258" fmla="*/ 7371705 w 11685910"/>
                <a:gd name="connsiteY1258" fmla="*/ 2917005 h 6078415"/>
                <a:gd name="connsiteX1259" fmla="*/ 7371705 w 11685910"/>
                <a:gd name="connsiteY1259" fmla="*/ 2935502 h 6078415"/>
                <a:gd name="connsiteX1260" fmla="*/ 7352068 w 11685910"/>
                <a:gd name="connsiteY1260" fmla="*/ 2961854 h 6078415"/>
                <a:gd name="connsiteX1261" fmla="*/ 7352068 w 11685910"/>
                <a:gd name="connsiteY1261" fmla="*/ 2999229 h 6078415"/>
                <a:gd name="connsiteX1262" fmla="*/ 7307218 w 11685910"/>
                <a:gd name="connsiteY1262" fmla="*/ 3037743 h 6078415"/>
                <a:gd name="connsiteX1263" fmla="*/ 7307218 w 11685910"/>
                <a:gd name="connsiteY1263" fmla="*/ 3018232 h 6078415"/>
                <a:gd name="connsiteX1264" fmla="*/ 7322865 w 11685910"/>
                <a:gd name="connsiteY1264" fmla="*/ 3012151 h 6078415"/>
                <a:gd name="connsiteX1265" fmla="*/ 7327489 w 11685910"/>
                <a:gd name="connsiteY1265" fmla="*/ 2992894 h 6078415"/>
                <a:gd name="connsiteX1266" fmla="*/ 7327489 w 11685910"/>
                <a:gd name="connsiteY1266" fmla="*/ 2957547 h 6078415"/>
                <a:gd name="connsiteX1267" fmla="*/ 7352448 w 11685910"/>
                <a:gd name="connsiteY1267" fmla="*/ 2926253 h 6078415"/>
                <a:gd name="connsiteX1268" fmla="*/ 7352448 w 11685910"/>
                <a:gd name="connsiteY1268" fmla="*/ 2925873 h 6078415"/>
                <a:gd name="connsiteX1269" fmla="*/ 7327489 w 11685910"/>
                <a:gd name="connsiteY1269" fmla="*/ 2894326 h 6078415"/>
                <a:gd name="connsiteX1270" fmla="*/ 7327489 w 11685910"/>
                <a:gd name="connsiteY1270" fmla="*/ 2858599 h 6078415"/>
                <a:gd name="connsiteX1271" fmla="*/ 7307218 w 11685910"/>
                <a:gd name="connsiteY1271" fmla="*/ 2834401 h 6078415"/>
                <a:gd name="connsiteX1272" fmla="*/ 7289734 w 11685910"/>
                <a:gd name="connsiteY1272" fmla="*/ 2814763 h 6078415"/>
                <a:gd name="connsiteX1273" fmla="*/ 7289734 w 11685910"/>
                <a:gd name="connsiteY1273" fmla="*/ 2834401 h 6078415"/>
                <a:gd name="connsiteX1274" fmla="*/ 7269590 w 11685910"/>
                <a:gd name="connsiteY1274" fmla="*/ 2858599 h 6078415"/>
                <a:gd name="connsiteX1275" fmla="*/ 7269590 w 11685910"/>
                <a:gd name="connsiteY1275" fmla="*/ 2894326 h 6078415"/>
                <a:gd name="connsiteX1276" fmla="*/ 7244378 w 11685910"/>
                <a:gd name="connsiteY1276" fmla="*/ 2925873 h 6078415"/>
                <a:gd name="connsiteX1277" fmla="*/ 7244378 w 11685910"/>
                <a:gd name="connsiteY1277" fmla="*/ 2926253 h 6078415"/>
                <a:gd name="connsiteX1278" fmla="*/ 7269590 w 11685910"/>
                <a:gd name="connsiteY1278" fmla="*/ 2957547 h 6078415"/>
                <a:gd name="connsiteX1279" fmla="*/ 7269590 w 11685910"/>
                <a:gd name="connsiteY1279" fmla="*/ 2992894 h 6078415"/>
                <a:gd name="connsiteX1280" fmla="*/ 7274088 w 11685910"/>
                <a:gd name="connsiteY1280" fmla="*/ 3012214 h 6078415"/>
                <a:gd name="connsiteX1281" fmla="*/ 7289734 w 11685910"/>
                <a:gd name="connsiteY1281" fmla="*/ 3018232 h 6078415"/>
                <a:gd name="connsiteX1282" fmla="*/ 7289734 w 11685910"/>
                <a:gd name="connsiteY1282" fmla="*/ 3037743 h 6078415"/>
                <a:gd name="connsiteX1283" fmla="*/ 7244632 w 11685910"/>
                <a:gd name="connsiteY1283" fmla="*/ 2999229 h 6078415"/>
                <a:gd name="connsiteX1284" fmla="*/ 7244632 w 11685910"/>
                <a:gd name="connsiteY1284" fmla="*/ 2961854 h 6078415"/>
                <a:gd name="connsiteX1285" fmla="*/ 7224867 w 11685910"/>
                <a:gd name="connsiteY1285" fmla="*/ 2935502 h 6078415"/>
                <a:gd name="connsiteX1286" fmla="*/ 7224867 w 11685910"/>
                <a:gd name="connsiteY1286" fmla="*/ 2917005 h 6078415"/>
                <a:gd name="connsiteX1287" fmla="*/ 7244632 w 11685910"/>
                <a:gd name="connsiteY1287" fmla="*/ 2890145 h 6078415"/>
                <a:gd name="connsiteX1288" fmla="*/ 7244632 w 11685910"/>
                <a:gd name="connsiteY1288" fmla="*/ 2853785 h 6078415"/>
                <a:gd name="connsiteX1289" fmla="*/ 7289734 w 11685910"/>
                <a:gd name="connsiteY1289" fmla="*/ 2814763 h 6078415"/>
                <a:gd name="connsiteX1290" fmla="*/ 1251166 w 11685910"/>
                <a:gd name="connsiteY1290" fmla="*/ 2814763 h 6078415"/>
                <a:gd name="connsiteX1291" fmla="*/ 1296015 w 11685910"/>
                <a:gd name="connsiteY1291" fmla="*/ 2853785 h 6078415"/>
                <a:gd name="connsiteX1292" fmla="*/ 1296015 w 11685910"/>
                <a:gd name="connsiteY1292" fmla="*/ 2890145 h 6078415"/>
                <a:gd name="connsiteX1293" fmla="*/ 1315652 w 11685910"/>
                <a:gd name="connsiteY1293" fmla="*/ 2917005 h 6078415"/>
                <a:gd name="connsiteX1294" fmla="*/ 1315652 w 11685910"/>
                <a:gd name="connsiteY1294" fmla="*/ 2935502 h 6078415"/>
                <a:gd name="connsiteX1295" fmla="*/ 1296015 w 11685910"/>
                <a:gd name="connsiteY1295" fmla="*/ 2961854 h 6078415"/>
                <a:gd name="connsiteX1296" fmla="*/ 1296015 w 11685910"/>
                <a:gd name="connsiteY1296" fmla="*/ 2999229 h 6078415"/>
                <a:gd name="connsiteX1297" fmla="*/ 1251166 w 11685910"/>
                <a:gd name="connsiteY1297" fmla="*/ 3037743 h 6078415"/>
                <a:gd name="connsiteX1298" fmla="*/ 1251166 w 11685910"/>
                <a:gd name="connsiteY1298" fmla="*/ 3018232 h 6078415"/>
                <a:gd name="connsiteX1299" fmla="*/ 1266812 w 11685910"/>
                <a:gd name="connsiteY1299" fmla="*/ 3012151 h 6078415"/>
                <a:gd name="connsiteX1300" fmla="*/ 1271436 w 11685910"/>
                <a:gd name="connsiteY1300" fmla="*/ 2992894 h 6078415"/>
                <a:gd name="connsiteX1301" fmla="*/ 1271436 w 11685910"/>
                <a:gd name="connsiteY1301" fmla="*/ 2957547 h 6078415"/>
                <a:gd name="connsiteX1302" fmla="*/ 1296395 w 11685910"/>
                <a:gd name="connsiteY1302" fmla="*/ 2926253 h 6078415"/>
                <a:gd name="connsiteX1303" fmla="*/ 1296395 w 11685910"/>
                <a:gd name="connsiteY1303" fmla="*/ 2925873 h 6078415"/>
                <a:gd name="connsiteX1304" fmla="*/ 1271436 w 11685910"/>
                <a:gd name="connsiteY1304" fmla="*/ 2894326 h 6078415"/>
                <a:gd name="connsiteX1305" fmla="*/ 1271436 w 11685910"/>
                <a:gd name="connsiteY1305" fmla="*/ 2858599 h 6078415"/>
                <a:gd name="connsiteX1306" fmla="*/ 1251166 w 11685910"/>
                <a:gd name="connsiteY1306" fmla="*/ 2834401 h 6078415"/>
                <a:gd name="connsiteX1307" fmla="*/ 1233681 w 11685910"/>
                <a:gd name="connsiteY1307" fmla="*/ 2814763 h 6078415"/>
                <a:gd name="connsiteX1308" fmla="*/ 1233681 w 11685910"/>
                <a:gd name="connsiteY1308" fmla="*/ 2834401 h 6078415"/>
                <a:gd name="connsiteX1309" fmla="*/ 1213537 w 11685910"/>
                <a:gd name="connsiteY1309" fmla="*/ 2858599 h 6078415"/>
                <a:gd name="connsiteX1310" fmla="*/ 1213537 w 11685910"/>
                <a:gd name="connsiteY1310" fmla="*/ 2894326 h 6078415"/>
                <a:gd name="connsiteX1311" fmla="*/ 1188325 w 11685910"/>
                <a:gd name="connsiteY1311" fmla="*/ 2925873 h 6078415"/>
                <a:gd name="connsiteX1312" fmla="*/ 1188325 w 11685910"/>
                <a:gd name="connsiteY1312" fmla="*/ 2926253 h 6078415"/>
                <a:gd name="connsiteX1313" fmla="*/ 1213537 w 11685910"/>
                <a:gd name="connsiteY1313" fmla="*/ 2957547 h 6078415"/>
                <a:gd name="connsiteX1314" fmla="*/ 1213537 w 11685910"/>
                <a:gd name="connsiteY1314" fmla="*/ 2992894 h 6078415"/>
                <a:gd name="connsiteX1315" fmla="*/ 1218035 w 11685910"/>
                <a:gd name="connsiteY1315" fmla="*/ 3012214 h 6078415"/>
                <a:gd name="connsiteX1316" fmla="*/ 1233681 w 11685910"/>
                <a:gd name="connsiteY1316" fmla="*/ 3018232 h 6078415"/>
                <a:gd name="connsiteX1317" fmla="*/ 1233681 w 11685910"/>
                <a:gd name="connsiteY1317" fmla="*/ 3037743 h 6078415"/>
                <a:gd name="connsiteX1318" fmla="*/ 1188579 w 11685910"/>
                <a:gd name="connsiteY1318" fmla="*/ 2999229 h 6078415"/>
                <a:gd name="connsiteX1319" fmla="*/ 1188579 w 11685910"/>
                <a:gd name="connsiteY1319" fmla="*/ 2961854 h 6078415"/>
                <a:gd name="connsiteX1320" fmla="*/ 1168814 w 11685910"/>
                <a:gd name="connsiteY1320" fmla="*/ 2935502 h 6078415"/>
                <a:gd name="connsiteX1321" fmla="*/ 1168814 w 11685910"/>
                <a:gd name="connsiteY1321" fmla="*/ 2917005 h 6078415"/>
                <a:gd name="connsiteX1322" fmla="*/ 1188579 w 11685910"/>
                <a:gd name="connsiteY1322" fmla="*/ 2890145 h 6078415"/>
                <a:gd name="connsiteX1323" fmla="*/ 1188579 w 11685910"/>
                <a:gd name="connsiteY1323" fmla="*/ 2853785 h 6078415"/>
                <a:gd name="connsiteX1324" fmla="*/ 1233681 w 11685910"/>
                <a:gd name="connsiteY1324" fmla="*/ 2814763 h 6078415"/>
                <a:gd name="connsiteX1325" fmla="*/ 11609322 w 11685910"/>
                <a:gd name="connsiteY1325" fmla="*/ 2486370 h 6078415"/>
                <a:gd name="connsiteX1326" fmla="*/ 11654171 w 11685910"/>
                <a:gd name="connsiteY1326" fmla="*/ 2525391 h 6078415"/>
                <a:gd name="connsiteX1327" fmla="*/ 11654171 w 11685910"/>
                <a:gd name="connsiteY1327" fmla="*/ 2561752 h 6078415"/>
                <a:gd name="connsiteX1328" fmla="*/ 11673809 w 11685910"/>
                <a:gd name="connsiteY1328" fmla="*/ 2588613 h 6078415"/>
                <a:gd name="connsiteX1329" fmla="*/ 11673809 w 11685910"/>
                <a:gd name="connsiteY1329" fmla="*/ 2607108 h 6078415"/>
                <a:gd name="connsiteX1330" fmla="*/ 11654171 w 11685910"/>
                <a:gd name="connsiteY1330" fmla="*/ 2633461 h 6078415"/>
                <a:gd name="connsiteX1331" fmla="*/ 11654171 w 11685910"/>
                <a:gd name="connsiteY1331" fmla="*/ 2670836 h 6078415"/>
                <a:gd name="connsiteX1332" fmla="*/ 11609322 w 11685910"/>
                <a:gd name="connsiteY1332" fmla="*/ 2709350 h 6078415"/>
                <a:gd name="connsiteX1333" fmla="*/ 11609322 w 11685910"/>
                <a:gd name="connsiteY1333" fmla="*/ 2689839 h 6078415"/>
                <a:gd name="connsiteX1334" fmla="*/ 11624969 w 11685910"/>
                <a:gd name="connsiteY1334" fmla="*/ 2683758 h 6078415"/>
                <a:gd name="connsiteX1335" fmla="*/ 11629593 w 11685910"/>
                <a:gd name="connsiteY1335" fmla="*/ 2664501 h 6078415"/>
                <a:gd name="connsiteX1336" fmla="*/ 11629593 w 11685910"/>
                <a:gd name="connsiteY1336" fmla="*/ 2629153 h 6078415"/>
                <a:gd name="connsiteX1337" fmla="*/ 11654552 w 11685910"/>
                <a:gd name="connsiteY1337" fmla="*/ 2597860 h 6078415"/>
                <a:gd name="connsiteX1338" fmla="*/ 11654552 w 11685910"/>
                <a:gd name="connsiteY1338" fmla="*/ 2597480 h 6078415"/>
                <a:gd name="connsiteX1339" fmla="*/ 11629593 w 11685910"/>
                <a:gd name="connsiteY1339" fmla="*/ 2565934 h 6078415"/>
                <a:gd name="connsiteX1340" fmla="*/ 11629593 w 11685910"/>
                <a:gd name="connsiteY1340" fmla="*/ 2530206 h 6078415"/>
                <a:gd name="connsiteX1341" fmla="*/ 11609322 w 11685910"/>
                <a:gd name="connsiteY1341" fmla="*/ 2506008 h 6078415"/>
                <a:gd name="connsiteX1342" fmla="*/ 11591838 w 11685910"/>
                <a:gd name="connsiteY1342" fmla="*/ 2486370 h 6078415"/>
                <a:gd name="connsiteX1343" fmla="*/ 11591838 w 11685910"/>
                <a:gd name="connsiteY1343" fmla="*/ 2506008 h 6078415"/>
                <a:gd name="connsiteX1344" fmla="*/ 11571694 w 11685910"/>
                <a:gd name="connsiteY1344" fmla="*/ 2530206 h 6078415"/>
                <a:gd name="connsiteX1345" fmla="*/ 11571694 w 11685910"/>
                <a:gd name="connsiteY1345" fmla="*/ 2565934 h 6078415"/>
                <a:gd name="connsiteX1346" fmla="*/ 11546482 w 11685910"/>
                <a:gd name="connsiteY1346" fmla="*/ 2597480 h 6078415"/>
                <a:gd name="connsiteX1347" fmla="*/ 11546482 w 11685910"/>
                <a:gd name="connsiteY1347" fmla="*/ 2597860 h 6078415"/>
                <a:gd name="connsiteX1348" fmla="*/ 11571694 w 11685910"/>
                <a:gd name="connsiteY1348" fmla="*/ 2629153 h 6078415"/>
                <a:gd name="connsiteX1349" fmla="*/ 11571694 w 11685910"/>
                <a:gd name="connsiteY1349" fmla="*/ 2664501 h 6078415"/>
                <a:gd name="connsiteX1350" fmla="*/ 11576192 w 11685910"/>
                <a:gd name="connsiteY1350" fmla="*/ 2683821 h 6078415"/>
                <a:gd name="connsiteX1351" fmla="*/ 11591838 w 11685910"/>
                <a:gd name="connsiteY1351" fmla="*/ 2689839 h 6078415"/>
                <a:gd name="connsiteX1352" fmla="*/ 11591838 w 11685910"/>
                <a:gd name="connsiteY1352" fmla="*/ 2709350 h 6078415"/>
                <a:gd name="connsiteX1353" fmla="*/ 11546735 w 11685910"/>
                <a:gd name="connsiteY1353" fmla="*/ 2670836 h 6078415"/>
                <a:gd name="connsiteX1354" fmla="*/ 11546735 w 11685910"/>
                <a:gd name="connsiteY1354" fmla="*/ 2633461 h 6078415"/>
                <a:gd name="connsiteX1355" fmla="*/ 11526971 w 11685910"/>
                <a:gd name="connsiteY1355" fmla="*/ 2607108 h 6078415"/>
                <a:gd name="connsiteX1356" fmla="*/ 11526971 w 11685910"/>
                <a:gd name="connsiteY1356" fmla="*/ 2588613 h 6078415"/>
                <a:gd name="connsiteX1357" fmla="*/ 11546735 w 11685910"/>
                <a:gd name="connsiteY1357" fmla="*/ 2561752 h 6078415"/>
                <a:gd name="connsiteX1358" fmla="*/ 11546735 w 11685910"/>
                <a:gd name="connsiteY1358" fmla="*/ 2525391 h 6078415"/>
                <a:gd name="connsiteX1359" fmla="*/ 11591838 w 11685910"/>
                <a:gd name="connsiteY1359" fmla="*/ 2486370 h 6078415"/>
                <a:gd name="connsiteX1360" fmla="*/ 10935299 w 11685910"/>
                <a:gd name="connsiteY1360" fmla="*/ 2486370 h 6078415"/>
                <a:gd name="connsiteX1361" fmla="*/ 10980148 w 11685910"/>
                <a:gd name="connsiteY1361" fmla="*/ 2525391 h 6078415"/>
                <a:gd name="connsiteX1362" fmla="*/ 10980148 w 11685910"/>
                <a:gd name="connsiteY1362" fmla="*/ 2561752 h 6078415"/>
                <a:gd name="connsiteX1363" fmla="*/ 10999786 w 11685910"/>
                <a:gd name="connsiteY1363" fmla="*/ 2588613 h 6078415"/>
                <a:gd name="connsiteX1364" fmla="*/ 10999786 w 11685910"/>
                <a:gd name="connsiteY1364" fmla="*/ 2607108 h 6078415"/>
                <a:gd name="connsiteX1365" fmla="*/ 10980148 w 11685910"/>
                <a:gd name="connsiteY1365" fmla="*/ 2633461 h 6078415"/>
                <a:gd name="connsiteX1366" fmla="*/ 10980148 w 11685910"/>
                <a:gd name="connsiteY1366" fmla="*/ 2670836 h 6078415"/>
                <a:gd name="connsiteX1367" fmla="*/ 10935299 w 11685910"/>
                <a:gd name="connsiteY1367" fmla="*/ 2709350 h 6078415"/>
                <a:gd name="connsiteX1368" fmla="*/ 10935299 w 11685910"/>
                <a:gd name="connsiteY1368" fmla="*/ 2689839 h 6078415"/>
                <a:gd name="connsiteX1369" fmla="*/ 10950946 w 11685910"/>
                <a:gd name="connsiteY1369" fmla="*/ 2683758 h 6078415"/>
                <a:gd name="connsiteX1370" fmla="*/ 10955570 w 11685910"/>
                <a:gd name="connsiteY1370" fmla="*/ 2664501 h 6078415"/>
                <a:gd name="connsiteX1371" fmla="*/ 10955570 w 11685910"/>
                <a:gd name="connsiteY1371" fmla="*/ 2629153 h 6078415"/>
                <a:gd name="connsiteX1372" fmla="*/ 10980529 w 11685910"/>
                <a:gd name="connsiteY1372" fmla="*/ 2597860 h 6078415"/>
                <a:gd name="connsiteX1373" fmla="*/ 10980529 w 11685910"/>
                <a:gd name="connsiteY1373" fmla="*/ 2597480 h 6078415"/>
                <a:gd name="connsiteX1374" fmla="*/ 10955570 w 11685910"/>
                <a:gd name="connsiteY1374" fmla="*/ 2565934 h 6078415"/>
                <a:gd name="connsiteX1375" fmla="*/ 10955570 w 11685910"/>
                <a:gd name="connsiteY1375" fmla="*/ 2530206 h 6078415"/>
                <a:gd name="connsiteX1376" fmla="*/ 10935299 w 11685910"/>
                <a:gd name="connsiteY1376" fmla="*/ 2506008 h 6078415"/>
                <a:gd name="connsiteX1377" fmla="*/ 10917815 w 11685910"/>
                <a:gd name="connsiteY1377" fmla="*/ 2486370 h 6078415"/>
                <a:gd name="connsiteX1378" fmla="*/ 10917815 w 11685910"/>
                <a:gd name="connsiteY1378" fmla="*/ 2506008 h 6078415"/>
                <a:gd name="connsiteX1379" fmla="*/ 10897671 w 11685910"/>
                <a:gd name="connsiteY1379" fmla="*/ 2530206 h 6078415"/>
                <a:gd name="connsiteX1380" fmla="*/ 10897671 w 11685910"/>
                <a:gd name="connsiteY1380" fmla="*/ 2565934 h 6078415"/>
                <a:gd name="connsiteX1381" fmla="*/ 10872459 w 11685910"/>
                <a:gd name="connsiteY1381" fmla="*/ 2597480 h 6078415"/>
                <a:gd name="connsiteX1382" fmla="*/ 10872459 w 11685910"/>
                <a:gd name="connsiteY1382" fmla="*/ 2597860 h 6078415"/>
                <a:gd name="connsiteX1383" fmla="*/ 10897671 w 11685910"/>
                <a:gd name="connsiteY1383" fmla="*/ 2629153 h 6078415"/>
                <a:gd name="connsiteX1384" fmla="*/ 10897671 w 11685910"/>
                <a:gd name="connsiteY1384" fmla="*/ 2664501 h 6078415"/>
                <a:gd name="connsiteX1385" fmla="*/ 10902169 w 11685910"/>
                <a:gd name="connsiteY1385" fmla="*/ 2683821 h 6078415"/>
                <a:gd name="connsiteX1386" fmla="*/ 10917815 w 11685910"/>
                <a:gd name="connsiteY1386" fmla="*/ 2689839 h 6078415"/>
                <a:gd name="connsiteX1387" fmla="*/ 10917815 w 11685910"/>
                <a:gd name="connsiteY1387" fmla="*/ 2709350 h 6078415"/>
                <a:gd name="connsiteX1388" fmla="*/ 10872712 w 11685910"/>
                <a:gd name="connsiteY1388" fmla="*/ 2670836 h 6078415"/>
                <a:gd name="connsiteX1389" fmla="*/ 10872712 w 11685910"/>
                <a:gd name="connsiteY1389" fmla="*/ 2633461 h 6078415"/>
                <a:gd name="connsiteX1390" fmla="*/ 10852948 w 11685910"/>
                <a:gd name="connsiteY1390" fmla="*/ 2607108 h 6078415"/>
                <a:gd name="connsiteX1391" fmla="*/ 10852948 w 11685910"/>
                <a:gd name="connsiteY1391" fmla="*/ 2588613 h 6078415"/>
                <a:gd name="connsiteX1392" fmla="*/ 10872712 w 11685910"/>
                <a:gd name="connsiteY1392" fmla="*/ 2561752 h 6078415"/>
                <a:gd name="connsiteX1393" fmla="*/ 10872712 w 11685910"/>
                <a:gd name="connsiteY1393" fmla="*/ 2525391 h 6078415"/>
                <a:gd name="connsiteX1394" fmla="*/ 10917815 w 11685910"/>
                <a:gd name="connsiteY1394" fmla="*/ 2486370 h 6078415"/>
                <a:gd name="connsiteX1395" fmla="*/ 9736849 w 11685910"/>
                <a:gd name="connsiteY1395" fmla="*/ 2486370 h 6078415"/>
                <a:gd name="connsiteX1396" fmla="*/ 9781698 w 11685910"/>
                <a:gd name="connsiteY1396" fmla="*/ 2525391 h 6078415"/>
                <a:gd name="connsiteX1397" fmla="*/ 9781698 w 11685910"/>
                <a:gd name="connsiteY1397" fmla="*/ 2561752 h 6078415"/>
                <a:gd name="connsiteX1398" fmla="*/ 9801336 w 11685910"/>
                <a:gd name="connsiteY1398" fmla="*/ 2588613 h 6078415"/>
                <a:gd name="connsiteX1399" fmla="*/ 9801336 w 11685910"/>
                <a:gd name="connsiteY1399" fmla="*/ 2607108 h 6078415"/>
                <a:gd name="connsiteX1400" fmla="*/ 9781698 w 11685910"/>
                <a:gd name="connsiteY1400" fmla="*/ 2633461 h 6078415"/>
                <a:gd name="connsiteX1401" fmla="*/ 9781698 w 11685910"/>
                <a:gd name="connsiteY1401" fmla="*/ 2670836 h 6078415"/>
                <a:gd name="connsiteX1402" fmla="*/ 9736849 w 11685910"/>
                <a:gd name="connsiteY1402" fmla="*/ 2709350 h 6078415"/>
                <a:gd name="connsiteX1403" fmla="*/ 9736849 w 11685910"/>
                <a:gd name="connsiteY1403" fmla="*/ 2689839 h 6078415"/>
                <a:gd name="connsiteX1404" fmla="*/ 9752496 w 11685910"/>
                <a:gd name="connsiteY1404" fmla="*/ 2683758 h 6078415"/>
                <a:gd name="connsiteX1405" fmla="*/ 9757120 w 11685910"/>
                <a:gd name="connsiteY1405" fmla="*/ 2664501 h 6078415"/>
                <a:gd name="connsiteX1406" fmla="*/ 9757120 w 11685910"/>
                <a:gd name="connsiteY1406" fmla="*/ 2629153 h 6078415"/>
                <a:gd name="connsiteX1407" fmla="*/ 9782079 w 11685910"/>
                <a:gd name="connsiteY1407" fmla="*/ 2597860 h 6078415"/>
                <a:gd name="connsiteX1408" fmla="*/ 9782079 w 11685910"/>
                <a:gd name="connsiteY1408" fmla="*/ 2597480 h 6078415"/>
                <a:gd name="connsiteX1409" fmla="*/ 9757120 w 11685910"/>
                <a:gd name="connsiteY1409" fmla="*/ 2565934 h 6078415"/>
                <a:gd name="connsiteX1410" fmla="*/ 9757120 w 11685910"/>
                <a:gd name="connsiteY1410" fmla="*/ 2530206 h 6078415"/>
                <a:gd name="connsiteX1411" fmla="*/ 9736849 w 11685910"/>
                <a:gd name="connsiteY1411" fmla="*/ 2506008 h 6078415"/>
                <a:gd name="connsiteX1412" fmla="*/ 9719365 w 11685910"/>
                <a:gd name="connsiteY1412" fmla="*/ 2486370 h 6078415"/>
                <a:gd name="connsiteX1413" fmla="*/ 9719365 w 11685910"/>
                <a:gd name="connsiteY1413" fmla="*/ 2506008 h 6078415"/>
                <a:gd name="connsiteX1414" fmla="*/ 9699221 w 11685910"/>
                <a:gd name="connsiteY1414" fmla="*/ 2530206 h 6078415"/>
                <a:gd name="connsiteX1415" fmla="*/ 9699221 w 11685910"/>
                <a:gd name="connsiteY1415" fmla="*/ 2565934 h 6078415"/>
                <a:gd name="connsiteX1416" fmla="*/ 9674009 w 11685910"/>
                <a:gd name="connsiteY1416" fmla="*/ 2597480 h 6078415"/>
                <a:gd name="connsiteX1417" fmla="*/ 9674009 w 11685910"/>
                <a:gd name="connsiteY1417" fmla="*/ 2597860 h 6078415"/>
                <a:gd name="connsiteX1418" fmla="*/ 9699221 w 11685910"/>
                <a:gd name="connsiteY1418" fmla="*/ 2629153 h 6078415"/>
                <a:gd name="connsiteX1419" fmla="*/ 9699221 w 11685910"/>
                <a:gd name="connsiteY1419" fmla="*/ 2664501 h 6078415"/>
                <a:gd name="connsiteX1420" fmla="*/ 9703719 w 11685910"/>
                <a:gd name="connsiteY1420" fmla="*/ 2683821 h 6078415"/>
                <a:gd name="connsiteX1421" fmla="*/ 9719365 w 11685910"/>
                <a:gd name="connsiteY1421" fmla="*/ 2689839 h 6078415"/>
                <a:gd name="connsiteX1422" fmla="*/ 9719365 w 11685910"/>
                <a:gd name="connsiteY1422" fmla="*/ 2709350 h 6078415"/>
                <a:gd name="connsiteX1423" fmla="*/ 9674262 w 11685910"/>
                <a:gd name="connsiteY1423" fmla="*/ 2670836 h 6078415"/>
                <a:gd name="connsiteX1424" fmla="*/ 9674262 w 11685910"/>
                <a:gd name="connsiteY1424" fmla="*/ 2633461 h 6078415"/>
                <a:gd name="connsiteX1425" fmla="*/ 9654498 w 11685910"/>
                <a:gd name="connsiteY1425" fmla="*/ 2607108 h 6078415"/>
                <a:gd name="connsiteX1426" fmla="*/ 9654498 w 11685910"/>
                <a:gd name="connsiteY1426" fmla="*/ 2588613 h 6078415"/>
                <a:gd name="connsiteX1427" fmla="*/ 9674262 w 11685910"/>
                <a:gd name="connsiteY1427" fmla="*/ 2561752 h 6078415"/>
                <a:gd name="connsiteX1428" fmla="*/ 9674262 w 11685910"/>
                <a:gd name="connsiteY1428" fmla="*/ 2525391 h 6078415"/>
                <a:gd name="connsiteX1429" fmla="*/ 9719365 w 11685910"/>
                <a:gd name="connsiteY1429" fmla="*/ 2486370 h 6078415"/>
                <a:gd name="connsiteX1430" fmla="*/ 8112647 w 11685910"/>
                <a:gd name="connsiteY1430" fmla="*/ 2486370 h 6078415"/>
                <a:gd name="connsiteX1431" fmla="*/ 8157496 w 11685910"/>
                <a:gd name="connsiteY1431" fmla="*/ 2525391 h 6078415"/>
                <a:gd name="connsiteX1432" fmla="*/ 8157496 w 11685910"/>
                <a:gd name="connsiteY1432" fmla="*/ 2561752 h 6078415"/>
                <a:gd name="connsiteX1433" fmla="*/ 8177134 w 11685910"/>
                <a:gd name="connsiteY1433" fmla="*/ 2588613 h 6078415"/>
                <a:gd name="connsiteX1434" fmla="*/ 8177134 w 11685910"/>
                <a:gd name="connsiteY1434" fmla="*/ 2607108 h 6078415"/>
                <a:gd name="connsiteX1435" fmla="*/ 8157496 w 11685910"/>
                <a:gd name="connsiteY1435" fmla="*/ 2633461 h 6078415"/>
                <a:gd name="connsiteX1436" fmla="*/ 8157496 w 11685910"/>
                <a:gd name="connsiteY1436" fmla="*/ 2670836 h 6078415"/>
                <a:gd name="connsiteX1437" fmla="*/ 8112647 w 11685910"/>
                <a:gd name="connsiteY1437" fmla="*/ 2709350 h 6078415"/>
                <a:gd name="connsiteX1438" fmla="*/ 8112647 w 11685910"/>
                <a:gd name="connsiteY1438" fmla="*/ 2689839 h 6078415"/>
                <a:gd name="connsiteX1439" fmla="*/ 8128294 w 11685910"/>
                <a:gd name="connsiteY1439" fmla="*/ 2683758 h 6078415"/>
                <a:gd name="connsiteX1440" fmla="*/ 8132918 w 11685910"/>
                <a:gd name="connsiteY1440" fmla="*/ 2664501 h 6078415"/>
                <a:gd name="connsiteX1441" fmla="*/ 8132918 w 11685910"/>
                <a:gd name="connsiteY1441" fmla="*/ 2629153 h 6078415"/>
                <a:gd name="connsiteX1442" fmla="*/ 8157877 w 11685910"/>
                <a:gd name="connsiteY1442" fmla="*/ 2597860 h 6078415"/>
                <a:gd name="connsiteX1443" fmla="*/ 8157877 w 11685910"/>
                <a:gd name="connsiteY1443" fmla="*/ 2597480 h 6078415"/>
                <a:gd name="connsiteX1444" fmla="*/ 8132918 w 11685910"/>
                <a:gd name="connsiteY1444" fmla="*/ 2565934 h 6078415"/>
                <a:gd name="connsiteX1445" fmla="*/ 8132918 w 11685910"/>
                <a:gd name="connsiteY1445" fmla="*/ 2530206 h 6078415"/>
                <a:gd name="connsiteX1446" fmla="*/ 8112647 w 11685910"/>
                <a:gd name="connsiteY1446" fmla="*/ 2506008 h 6078415"/>
                <a:gd name="connsiteX1447" fmla="*/ 8095163 w 11685910"/>
                <a:gd name="connsiteY1447" fmla="*/ 2486370 h 6078415"/>
                <a:gd name="connsiteX1448" fmla="*/ 8095163 w 11685910"/>
                <a:gd name="connsiteY1448" fmla="*/ 2506008 h 6078415"/>
                <a:gd name="connsiteX1449" fmla="*/ 8075019 w 11685910"/>
                <a:gd name="connsiteY1449" fmla="*/ 2530206 h 6078415"/>
                <a:gd name="connsiteX1450" fmla="*/ 8075019 w 11685910"/>
                <a:gd name="connsiteY1450" fmla="*/ 2565934 h 6078415"/>
                <a:gd name="connsiteX1451" fmla="*/ 8049807 w 11685910"/>
                <a:gd name="connsiteY1451" fmla="*/ 2597480 h 6078415"/>
                <a:gd name="connsiteX1452" fmla="*/ 8049807 w 11685910"/>
                <a:gd name="connsiteY1452" fmla="*/ 2597860 h 6078415"/>
                <a:gd name="connsiteX1453" fmla="*/ 8075019 w 11685910"/>
                <a:gd name="connsiteY1453" fmla="*/ 2629153 h 6078415"/>
                <a:gd name="connsiteX1454" fmla="*/ 8075019 w 11685910"/>
                <a:gd name="connsiteY1454" fmla="*/ 2664501 h 6078415"/>
                <a:gd name="connsiteX1455" fmla="*/ 8079517 w 11685910"/>
                <a:gd name="connsiteY1455" fmla="*/ 2683821 h 6078415"/>
                <a:gd name="connsiteX1456" fmla="*/ 8095163 w 11685910"/>
                <a:gd name="connsiteY1456" fmla="*/ 2689839 h 6078415"/>
                <a:gd name="connsiteX1457" fmla="*/ 8095163 w 11685910"/>
                <a:gd name="connsiteY1457" fmla="*/ 2709350 h 6078415"/>
                <a:gd name="connsiteX1458" fmla="*/ 8050061 w 11685910"/>
                <a:gd name="connsiteY1458" fmla="*/ 2670836 h 6078415"/>
                <a:gd name="connsiteX1459" fmla="*/ 8050061 w 11685910"/>
                <a:gd name="connsiteY1459" fmla="*/ 2633461 h 6078415"/>
                <a:gd name="connsiteX1460" fmla="*/ 8030296 w 11685910"/>
                <a:gd name="connsiteY1460" fmla="*/ 2607108 h 6078415"/>
                <a:gd name="connsiteX1461" fmla="*/ 8030296 w 11685910"/>
                <a:gd name="connsiteY1461" fmla="*/ 2588613 h 6078415"/>
                <a:gd name="connsiteX1462" fmla="*/ 8050061 w 11685910"/>
                <a:gd name="connsiteY1462" fmla="*/ 2561752 h 6078415"/>
                <a:gd name="connsiteX1463" fmla="*/ 8050061 w 11685910"/>
                <a:gd name="connsiteY1463" fmla="*/ 2525391 h 6078415"/>
                <a:gd name="connsiteX1464" fmla="*/ 8095163 w 11685910"/>
                <a:gd name="connsiteY1464" fmla="*/ 2486370 h 6078415"/>
                <a:gd name="connsiteX1465" fmla="*/ 5536938 w 11685910"/>
                <a:gd name="connsiteY1465" fmla="*/ 2486370 h 6078415"/>
                <a:gd name="connsiteX1466" fmla="*/ 5581787 w 11685910"/>
                <a:gd name="connsiteY1466" fmla="*/ 2525391 h 6078415"/>
                <a:gd name="connsiteX1467" fmla="*/ 5581787 w 11685910"/>
                <a:gd name="connsiteY1467" fmla="*/ 2561752 h 6078415"/>
                <a:gd name="connsiteX1468" fmla="*/ 5601425 w 11685910"/>
                <a:gd name="connsiteY1468" fmla="*/ 2588613 h 6078415"/>
                <a:gd name="connsiteX1469" fmla="*/ 5601425 w 11685910"/>
                <a:gd name="connsiteY1469" fmla="*/ 2607108 h 6078415"/>
                <a:gd name="connsiteX1470" fmla="*/ 5581787 w 11685910"/>
                <a:gd name="connsiteY1470" fmla="*/ 2633461 h 6078415"/>
                <a:gd name="connsiteX1471" fmla="*/ 5581787 w 11685910"/>
                <a:gd name="connsiteY1471" fmla="*/ 2670836 h 6078415"/>
                <a:gd name="connsiteX1472" fmla="*/ 5536938 w 11685910"/>
                <a:gd name="connsiteY1472" fmla="*/ 2709350 h 6078415"/>
                <a:gd name="connsiteX1473" fmla="*/ 5536938 w 11685910"/>
                <a:gd name="connsiteY1473" fmla="*/ 2689839 h 6078415"/>
                <a:gd name="connsiteX1474" fmla="*/ 5552584 w 11685910"/>
                <a:gd name="connsiteY1474" fmla="*/ 2683758 h 6078415"/>
                <a:gd name="connsiteX1475" fmla="*/ 5557209 w 11685910"/>
                <a:gd name="connsiteY1475" fmla="*/ 2664501 h 6078415"/>
                <a:gd name="connsiteX1476" fmla="*/ 5557209 w 11685910"/>
                <a:gd name="connsiteY1476" fmla="*/ 2629153 h 6078415"/>
                <a:gd name="connsiteX1477" fmla="*/ 5582167 w 11685910"/>
                <a:gd name="connsiteY1477" fmla="*/ 2597860 h 6078415"/>
                <a:gd name="connsiteX1478" fmla="*/ 5582167 w 11685910"/>
                <a:gd name="connsiteY1478" fmla="*/ 2597480 h 6078415"/>
                <a:gd name="connsiteX1479" fmla="*/ 5557209 w 11685910"/>
                <a:gd name="connsiteY1479" fmla="*/ 2565934 h 6078415"/>
                <a:gd name="connsiteX1480" fmla="*/ 5557209 w 11685910"/>
                <a:gd name="connsiteY1480" fmla="*/ 2530206 h 6078415"/>
                <a:gd name="connsiteX1481" fmla="*/ 5536938 w 11685910"/>
                <a:gd name="connsiteY1481" fmla="*/ 2506008 h 6078415"/>
                <a:gd name="connsiteX1482" fmla="*/ 5519454 w 11685910"/>
                <a:gd name="connsiteY1482" fmla="*/ 2486370 h 6078415"/>
                <a:gd name="connsiteX1483" fmla="*/ 5519454 w 11685910"/>
                <a:gd name="connsiteY1483" fmla="*/ 2506008 h 6078415"/>
                <a:gd name="connsiteX1484" fmla="*/ 5499311 w 11685910"/>
                <a:gd name="connsiteY1484" fmla="*/ 2530206 h 6078415"/>
                <a:gd name="connsiteX1485" fmla="*/ 5499311 w 11685910"/>
                <a:gd name="connsiteY1485" fmla="*/ 2565934 h 6078415"/>
                <a:gd name="connsiteX1486" fmla="*/ 5474097 w 11685910"/>
                <a:gd name="connsiteY1486" fmla="*/ 2597480 h 6078415"/>
                <a:gd name="connsiteX1487" fmla="*/ 5474097 w 11685910"/>
                <a:gd name="connsiteY1487" fmla="*/ 2597860 h 6078415"/>
                <a:gd name="connsiteX1488" fmla="*/ 5499311 w 11685910"/>
                <a:gd name="connsiteY1488" fmla="*/ 2629153 h 6078415"/>
                <a:gd name="connsiteX1489" fmla="*/ 5499311 w 11685910"/>
                <a:gd name="connsiteY1489" fmla="*/ 2664501 h 6078415"/>
                <a:gd name="connsiteX1490" fmla="*/ 5503807 w 11685910"/>
                <a:gd name="connsiteY1490" fmla="*/ 2683821 h 6078415"/>
                <a:gd name="connsiteX1491" fmla="*/ 5519454 w 11685910"/>
                <a:gd name="connsiteY1491" fmla="*/ 2689839 h 6078415"/>
                <a:gd name="connsiteX1492" fmla="*/ 5519454 w 11685910"/>
                <a:gd name="connsiteY1492" fmla="*/ 2709350 h 6078415"/>
                <a:gd name="connsiteX1493" fmla="*/ 5474352 w 11685910"/>
                <a:gd name="connsiteY1493" fmla="*/ 2670836 h 6078415"/>
                <a:gd name="connsiteX1494" fmla="*/ 5474352 w 11685910"/>
                <a:gd name="connsiteY1494" fmla="*/ 2633461 h 6078415"/>
                <a:gd name="connsiteX1495" fmla="*/ 5454588 w 11685910"/>
                <a:gd name="connsiteY1495" fmla="*/ 2607108 h 6078415"/>
                <a:gd name="connsiteX1496" fmla="*/ 5454588 w 11685910"/>
                <a:gd name="connsiteY1496" fmla="*/ 2588613 h 6078415"/>
                <a:gd name="connsiteX1497" fmla="*/ 5474352 w 11685910"/>
                <a:gd name="connsiteY1497" fmla="*/ 2561752 h 6078415"/>
                <a:gd name="connsiteX1498" fmla="*/ 5474352 w 11685910"/>
                <a:gd name="connsiteY1498" fmla="*/ 2525391 h 6078415"/>
                <a:gd name="connsiteX1499" fmla="*/ 5519454 w 11685910"/>
                <a:gd name="connsiteY1499" fmla="*/ 2486370 h 6078415"/>
                <a:gd name="connsiteX1500" fmla="*/ 4870836 w 11685910"/>
                <a:gd name="connsiteY1500" fmla="*/ 2486370 h 6078415"/>
                <a:gd name="connsiteX1501" fmla="*/ 4915686 w 11685910"/>
                <a:gd name="connsiteY1501" fmla="*/ 2525391 h 6078415"/>
                <a:gd name="connsiteX1502" fmla="*/ 4915686 w 11685910"/>
                <a:gd name="connsiteY1502" fmla="*/ 2561752 h 6078415"/>
                <a:gd name="connsiteX1503" fmla="*/ 4935324 w 11685910"/>
                <a:gd name="connsiteY1503" fmla="*/ 2588613 h 6078415"/>
                <a:gd name="connsiteX1504" fmla="*/ 4935324 w 11685910"/>
                <a:gd name="connsiteY1504" fmla="*/ 2607108 h 6078415"/>
                <a:gd name="connsiteX1505" fmla="*/ 4915686 w 11685910"/>
                <a:gd name="connsiteY1505" fmla="*/ 2633461 h 6078415"/>
                <a:gd name="connsiteX1506" fmla="*/ 4915686 w 11685910"/>
                <a:gd name="connsiteY1506" fmla="*/ 2670836 h 6078415"/>
                <a:gd name="connsiteX1507" fmla="*/ 4870836 w 11685910"/>
                <a:gd name="connsiteY1507" fmla="*/ 2709350 h 6078415"/>
                <a:gd name="connsiteX1508" fmla="*/ 4870836 w 11685910"/>
                <a:gd name="connsiteY1508" fmla="*/ 2689839 h 6078415"/>
                <a:gd name="connsiteX1509" fmla="*/ 4886482 w 11685910"/>
                <a:gd name="connsiteY1509" fmla="*/ 2683758 h 6078415"/>
                <a:gd name="connsiteX1510" fmla="*/ 4891108 w 11685910"/>
                <a:gd name="connsiteY1510" fmla="*/ 2664501 h 6078415"/>
                <a:gd name="connsiteX1511" fmla="*/ 4891108 w 11685910"/>
                <a:gd name="connsiteY1511" fmla="*/ 2629153 h 6078415"/>
                <a:gd name="connsiteX1512" fmla="*/ 4916065 w 11685910"/>
                <a:gd name="connsiteY1512" fmla="*/ 2597860 h 6078415"/>
                <a:gd name="connsiteX1513" fmla="*/ 4916065 w 11685910"/>
                <a:gd name="connsiteY1513" fmla="*/ 2597480 h 6078415"/>
                <a:gd name="connsiteX1514" fmla="*/ 4891108 w 11685910"/>
                <a:gd name="connsiteY1514" fmla="*/ 2565934 h 6078415"/>
                <a:gd name="connsiteX1515" fmla="*/ 4891108 w 11685910"/>
                <a:gd name="connsiteY1515" fmla="*/ 2530206 h 6078415"/>
                <a:gd name="connsiteX1516" fmla="*/ 4870836 w 11685910"/>
                <a:gd name="connsiteY1516" fmla="*/ 2506008 h 6078415"/>
                <a:gd name="connsiteX1517" fmla="*/ 4853353 w 11685910"/>
                <a:gd name="connsiteY1517" fmla="*/ 2486370 h 6078415"/>
                <a:gd name="connsiteX1518" fmla="*/ 4853353 w 11685910"/>
                <a:gd name="connsiteY1518" fmla="*/ 2506008 h 6078415"/>
                <a:gd name="connsiteX1519" fmla="*/ 4833208 w 11685910"/>
                <a:gd name="connsiteY1519" fmla="*/ 2530206 h 6078415"/>
                <a:gd name="connsiteX1520" fmla="*/ 4833208 w 11685910"/>
                <a:gd name="connsiteY1520" fmla="*/ 2565934 h 6078415"/>
                <a:gd name="connsiteX1521" fmla="*/ 4807996 w 11685910"/>
                <a:gd name="connsiteY1521" fmla="*/ 2597480 h 6078415"/>
                <a:gd name="connsiteX1522" fmla="*/ 4807996 w 11685910"/>
                <a:gd name="connsiteY1522" fmla="*/ 2597860 h 6078415"/>
                <a:gd name="connsiteX1523" fmla="*/ 4833208 w 11685910"/>
                <a:gd name="connsiteY1523" fmla="*/ 2629153 h 6078415"/>
                <a:gd name="connsiteX1524" fmla="*/ 4833208 w 11685910"/>
                <a:gd name="connsiteY1524" fmla="*/ 2664501 h 6078415"/>
                <a:gd name="connsiteX1525" fmla="*/ 4837705 w 11685910"/>
                <a:gd name="connsiteY1525" fmla="*/ 2683821 h 6078415"/>
                <a:gd name="connsiteX1526" fmla="*/ 4853353 w 11685910"/>
                <a:gd name="connsiteY1526" fmla="*/ 2689839 h 6078415"/>
                <a:gd name="connsiteX1527" fmla="*/ 4853353 w 11685910"/>
                <a:gd name="connsiteY1527" fmla="*/ 2709350 h 6078415"/>
                <a:gd name="connsiteX1528" fmla="*/ 4808250 w 11685910"/>
                <a:gd name="connsiteY1528" fmla="*/ 2670836 h 6078415"/>
                <a:gd name="connsiteX1529" fmla="*/ 4808250 w 11685910"/>
                <a:gd name="connsiteY1529" fmla="*/ 2633461 h 6078415"/>
                <a:gd name="connsiteX1530" fmla="*/ 4788486 w 11685910"/>
                <a:gd name="connsiteY1530" fmla="*/ 2607108 h 6078415"/>
                <a:gd name="connsiteX1531" fmla="*/ 4788486 w 11685910"/>
                <a:gd name="connsiteY1531" fmla="*/ 2588613 h 6078415"/>
                <a:gd name="connsiteX1532" fmla="*/ 4808250 w 11685910"/>
                <a:gd name="connsiteY1532" fmla="*/ 2561752 h 6078415"/>
                <a:gd name="connsiteX1533" fmla="*/ 4808250 w 11685910"/>
                <a:gd name="connsiteY1533" fmla="*/ 2525391 h 6078415"/>
                <a:gd name="connsiteX1534" fmla="*/ 4853353 w 11685910"/>
                <a:gd name="connsiteY1534" fmla="*/ 2486370 h 6078415"/>
                <a:gd name="connsiteX1535" fmla="*/ 2046291 w 11685910"/>
                <a:gd name="connsiteY1535" fmla="*/ 2486370 h 6078415"/>
                <a:gd name="connsiteX1536" fmla="*/ 2091141 w 11685910"/>
                <a:gd name="connsiteY1536" fmla="*/ 2525391 h 6078415"/>
                <a:gd name="connsiteX1537" fmla="*/ 2091141 w 11685910"/>
                <a:gd name="connsiteY1537" fmla="*/ 2561752 h 6078415"/>
                <a:gd name="connsiteX1538" fmla="*/ 2110778 w 11685910"/>
                <a:gd name="connsiteY1538" fmla="*/ 2588613 h 6078415"/>
                <a:gd name="connsiteX1539" fmla="*/ 2110778 w 11685910"/>
                <a:gd name="connsiteY1539" fmla="*/ 2607108 h 6078415"/>
                <a:gd name="connsiteX1540" fmla="*/ 2091141 w 11685910"/>
                <a:gd name="connsiteY1540" fmla="*/ 2633461 h 6078415"/>
                <a:gd name="connsiteX1541" fmla="*/ 2091141 w 11685910"/>
                <a:gd name="connsiteY1541" fmla="*/ 2670836 h 6078415"/>
                <a:gd name="connsiteX1542" fmla="*/ 2046291 w 11685910"/>
                <a:gd name="connsiteY1542" fmla="*/ 2709350 h 6078415"/>
                <a:gd name="connsiteX1543" fmla="*/ 2046291 w 11685910"/>
                <a:gd name="connsiteY1543" fmla="*/ 2689839 h 6078415"/>
                <a:gd name="connsiteX1544" fmla="*/ 2061938 w 11685910"/>
                <a:gd name="connsiteY1544" fmla="*/ 2683758 h 6078415"/>
                <a:gd name="connsiteX1545" fmla="*/ 2066562 w 11685910"/>
                <a:gd name="connsiteY1545" fmla="*/ 2664501 h 6078415"/>
                <a:gd name="connsiteX1546" fmla="*/ 2066562 w 11685910"/>
                <a:gd name="connsiteY1546" fmla="*/ 2629153 h 6078415"/>
                <a:gd name="connsiteX1547" fmla="*/ 2091521 w 11685910"/>
                <a:gd name="connsiteY1547" fmla="*/ 2597860 h 6078415"/>
                <a:gd name="connsiteX1548" fmla="*/ 2091521 w 11685910"/>
                <a:gd name="connsiteY1548" fmla="*/ 2597480 h 6078415"/>
                <a:gd name="connsiteX1549" fmla="*/ 2066562 w 11685910"/>
                <a:gd name="connsiteY1549" fmla="*/ 2565934 h 6078415"/>
                <a:gd name="connsiteX1550" fmla="*/ 2066562 w 11685910"/>
                <a:gd name="connsiteY1550" fmla="*/ 2530206 h 6078415"/>
                <a:gd name="connsiteX1551" fmla="*/ 2046291 w 11685910"/>
                <a:gd name="connsiteY1551" fmla="*/ 2506008 h 6078415"/>
                <a:gd name="connsiteX1552" fmla="*/ 2028807 w 11685910"/>
                <a:gd name="connsiteY1552" fmla="*/ 2486370 h 6078415"/>
                <a:gd name="connsiteX1553" fmla="*/ 2028807 w 11685910"/>
                <a:gd name="connsiteY1553" fmla="*/ 2506008 h 6078415"/>
                <a:gd name="connsiteX1554" fmla="*/ 2008663 w 11685910"/>
                <a:gd name="connsiteY1554" fmla="*/ 2530206 h 6078415"/>
                <a:gd name="connsiteX1555" fmla="*/ 2008663 w 11685910"/>
                <a:gd name="connsiteY1555" fmla="*/ 2565934 h 6078415"/>
                <a:gd name="connsiteX1556" fmla="*/ 1983451 w 11685910"/>
                <a:gd name="connsiteY1556" fmla="*/ 2597480 h 6078415"/>
                <a:gd name="connsiteX1557" fmla="*/ 1983451 w 11685910"/>
                <a:gd name="connsiteY1557" fmla="*/ 2597860 h 6078415"/>
                <a:gd name="connsiteX1558" fmla="*/ 2008663 w 11685910"/>
                <a:gd name="connsiteY1558" fmla="*/ 2629153 h 6078415"/>
                <a:gd name="connsiteX1559" fmla="*/ 2008663 w 11685910"/>
                <a:gd name="connsiteY1559" fmla="*/ 2664501 h 6078415"/>
                <a:gd name="connsiteX1560" fmla="*/ 2013160 w 11685910"/>
                <a:gd name="connsiteY1560" fmla="*/ 2683821 h 6078415"/>
                <a:gd name="connsiteX1561" fmla="*/ 2028807 w 11685910"/>
                <a:gd name="connsiteY1561" fmla="*/ 2689839 h 6078415"/>
                <a:gd name="connsiteX1562" fmla="*/ 2028807 w 11685910"/>
                <a:gd name="connsiteY1562" fmla="*/ 2709350 h 6078415"/>
                <a:gd name="connsiteX1563" fmla="*/ 1983704 w 11685910"/>
                <a:gd name="connsiteY1563" fmla="*/ 2670836 h 6078415"/>
                <a:gd name="connsiteX1564" fmla="*/ 1983704 w 11685910"/>
                <a:gd name="connsiteY1564" fmla="*/ 2633461 h 6078415"/>
                <a:gd name="connsiteX1565" fmla="*/ 1963940 w 11685910"/>
                <a:gd name="connsiteY1565" fmla="*/ 2607108 h 6078415"/>
                <a:gd name="connsiteX1566" fmla="*/ 1963940 w 11685910"/>
                <a:gd name="connsiteY1566" fmla="*/ 2588613 h 6078415"/>
                <a:gd name="connsiteX1567" fmla="*/ 1983704 w 11685910"/>
                <a:gd name="connsiteY1567" fmla="*/ 2561752 h 6078415"/>
                <a:gd name="connsiteX1568" fmla="*/ 1983704 w 11685910"/>
                <a:gd name="connsiteY1568" fmla="*/ 2525391 h 6078415"/>
                <a:gd name="connsiteX1569" fmla="*/ 2028807 w 11685910"/>
                <a:gd name="connsiteY1569" fmla="*/ 2486370 h 6078415"/>
                <a:gd name="connsiteX1570" fmla="*/ 8995951 w 11685910"/>
                <a:gd name="connsiteY1570" fmla="*/ 2346637 h 6078415"/>
                <a:gd name="connsiteX1571" fmla="*/ 8972602 w 11685910"/>
                <a:gd name="connsiteY1571" fmla="*/ 2386149 h 6078415"/>
                <a:gd name="connsiteX1572" fmla="*/ 8989126 w 11685910"/>
                <a:gd name="connsiteY1572" fmla="*/ 2389562 h 6078415"/>
                <a:gd name="connsiteX1573" fmla="*/ 9005649 w 11685910"/>
                <a:gd name="connsiteY1573" fmla="*/ 2385970 h 6078415"/>
                <a:gd name="connsiteX1574" fmla="*/ 9002686 w 11685910"/>
                <a:gd name="connsiteY1574" fmla="*/ 2376451 h 6078415"/>
                <a:gd name="connsiteX1575" fmla="*/ 9003674 w 11685910"/>
                <a:gd name="connsiteY1575" fmla="*/ 2363160 h 6078415"/>
                <a:gd name="connsiteX1576" fmla="*/ 8995951 w 11685910"/>
                <a:gd name="connsiteY1576" fmla="*/ 2346637 h 6078415"/>
                <a:gd name="connsiteX1577" fmla="*/ 2935214 w 11685910"/>
                <a:gd name="connsiteY1577" fmla="*/ 2346637 h 6078415"/>
                <a:gd name="connsiteX1578" fmla="*/ 2911865 w 11685910"/>
                <a:gd name="connsiteY1578" fmla="*/ 2386149 h 6078415"/>
                <a:gd name="connsiteX1579" fmla="*/ 2928389 w 11685910"/>
                <a:gd name="connsiteY1579" fmla="*/ 2389562 h 6078415"/>
                <a:gd name="connsiteX1580" fmla="*/ 2944912 w 11685910"/>
                <a:gd name="connsiteY1580" fmla="*/ 2385970 h 6078415"/>
                <a:gd name="connsiteX1581" fmla="*/ 2941949 w 11685910"/>
                <a:gd name="connsiteY1581" fmla="*/ 2376451 h 6078415"/>
                <a:gd name="connsiteX1582" fmla="*/ 2942937 w 11685910"/>
                <a:gd name="connsiteY1582" fmla="*/ 2363160 h 6078415"/>
                <a:gd name="connsiteX1583" fmla="*/ 2935214 w 11685910"/>
                <a:gd name="connsiteY1583" fmla="*/ 2346637 h 6078415"/>
                <a:gd name="connsiteX1584" fmla="*/ 8834846 w 11685910"/>
                <a:gd name="connsiteY1584" fmla="*/ 2330113 h 6078415"/>
                <a:gd name="connsiteX1585" fmla="*/ 8821107 w 11685910"/>
                <a:gd name="connsiteY1585" fmla="*/ 2350498 h 6078415"/>
                <a:gd name="connsiteX1586" fmla="*/ 8842749 w 11685910"/>
                <a:gd name="connsiteY1586" fmla="*/ 2372230 h 6078415"/>
                <a:gd name="connsiteX1587" fmla="*/ 8851729 w 11685910"/>
                <a:gd name="connsiteY1587" fmla="*/ 2364956 h 6078415"/>
                <a:gd name="connsiteX1588" fmla="*/ 8834846 w 11685910"/>
                <a:gd name="connsiteY1588" fmla="*/ 2330113 h 6078415"/>
                <a:gd name="connsiteX1589" fmla="*/ 2774110 w 11685910"/>
                <a:gd name="connsiteY1589" fmla="*/ 2330113 h 6078415"/>
                <a:gd name="connsiteX1590" fmla="*/ 2760370 w 11685910"/>
                <a:gd name="connsiteY1590" fmla="*/ 2350498 h 6078415"/>
                <a:gd name="connsiteX1591" fmla="*/ 2782012 w 11685910"/>
                <a:gd name="connsiteY1591" fmla="*/ 2372230 h 6078415"/>
                <a:gd name="connsiteX1592" fmla="*/ 2790992 w 11685910"/>
                <a:gd name="connsiteY1592" fmla="*/ 2364956 h 6078415"/>
                <a:gd name="connsiteX1593" fmla="*/ 2774110 w 11685910"/>
                <a:gd name="connsiteY1593" fmla="*/ 2330113 h 6078415"/>
                <a:gd name="connsiteX1594" fmla="*/ 8818347 w 11685910"/>
                <a:gd name="connsiteY1594" fmla="*/ 2261360 h 6078415"/>
                <a:gd name="connsiteX1595" fmla="*/ 8818145 w 11685910"/>
                <a:gd name="connsiteY1595" fmla="*/ 2262886 h 6078415"/>
                <a:gd name="connsiteX1596" fmla="*/ 8818078 w 11685910"/>
                <a:gd name="connsiteY1596" fmla="*/ 2261618 h 6078415"/>
                <a:gd name="connsiteX1597" fmla="*/ 2757610 w 11685910"/>
                <a:gd name="connsiteY1597" fmla="*/ 2261359 h 6078415"/>
                <a:gd name="connsiteX1598" fmla="*/ 2757408 w 11685910"/>
                <a:gd name="connsiteY1598" fmla="*/ 2262887 h 6078415"/>
                <a:gd name="connsiteX1599" fmla="*/ 2757342 w 11685910"/>
                <a:gd name="connsiteY1599" fmla="*/ 2261618 h 6078415"/>
                <a:gd name="connsiteX1600" fmla="*/ 9021634 w 11685910"/>
                <a:gd name="connsiteY1600" fmla="*/ 2233980 h 6078415"/>
                <a:gd name="connsiteX1601" fmla="*/ 9017615 w 11685910"/>
                <a:gd name="connsiteY1601" fmla="*/ 2236854 h 6078415"/>
                <a:gd name="connsiteX1602" fmla="*/ 9024585 w 11685910"/>
                <a:gd name="connsiteY1602" fmla="*/ 2245282 h 6078415"/>
                <a:gd name="connsiteX1603" fmla="*/ 9031512 w 11685910"/>
                <a:gd name="connsiteY1603" fmla="*/ 2243544 h 6078415"/>
                <a:gd name="connsiteX1604" fmla="*/ 9005111 w 11685910"/>
                <a:gd name="connsiteY1604" fmla="*/ 2262852 h 6078415"/>
                <a:gd name="connsiteX1605" fmla="*/ 9010161 w 11685910"/>
                <a:gd name="connsiteY1605" fmla="*/ 2255177 h 6078415"/>
                <a:gd name="connsiteX1606" fmla="*/ 9002327 w 11685910"/>
                <a:gd name="connsiteY1606" fmla="*/ 2248169 h 6078415"/>
                <a:gd name="connsiteX1607" fmla="*/ 8997477 w 11685910"/>
                <a:gd name="connsiteY1607" fmla="*/ 2252255 h 6078415"/>
                <a:gd name="connsiteX1608" fmla="*/ 9021634 w 11685910"/>
                <a:gd name="connsiteY1608" fmla="*/ 2233980 h 6078415"/>
                <a:gd name="connsiteX1609" fmla="*/ 2960897 w 11685910"/>
                <a:gd name="connsiteY1609" fmla="*/ 2233980 h 6078415"/>
                <a:gd name="connsiteX1610" fmla="*/ 2956879 w 11685910"/>
                <a:gd name="connsiteY1610" fmla="*/ 2236854 h 6078415"/>
                <a:gd name="connsiteX1611" fmla="*/ 2963848 w 11685910"/>
                <a:gd name="connsiteY1611" fmla="*/ 2245282 h 6078415"/>
                <a:gd name="connsiteX1612" fmla="*/ 2970776 w 11685910"/>
                <a:gd name="connsiteY1612" fmla="*/ 2243544 h 6078415"/>
                <a:gd name="connsiteX1613" fmla="*/ 2944374 w 11685910"/>
                <a:gd name="connsiteY1613" fmla="*/ 2262852 h 6078415"/>
                <a:gd name="connsiteX1614" fmla="*/ 2949424 w 11685910"/>
                <a:gd name="connsiteY1614" fmla="*/ 2255177 h 6078415"/>
                <a:gd name="connsiteX1615" fmla="*/ 2941590 w 11685910"/>
                <a:gd name="connsiteY1615" fmla="*/ 2248169 h 6078415"/>
                <a:gd name="connsiteX1616" fmla="*/ 2936741 w 11685910"/>
                <a:gd name="connsiteY1616" fmla="*/ 2252255 h 6078415"/>
                <a:gd name="connsiteX1617" fmla="*/ 2960897 w 11685910"/>
                <a:gd name="connsiteY1617" fmla="*/ 2233980 h 6078415"/>
                <a:gd name="connsiteX1618" fmla="*/ 8994885 w 11685910"/>
                <a:gd name="connsiteY1618" fmla="*/ 2217458 h 6078415"/>
                <a:gd name="connsiteX1619" fmla="*/ 8997186 w 11685910"/>
                <a:gd name="connsiteY1619" fmla="*/ 2217495 h 6078415"/>
                <a:gd name="connsiteX1620" fmla="*/ 9005380 w 11685910"/>
                <a:gd name="connsiteY1620" fmla="*/ 2218759 h 6078415"/>
                <a:gd name="connsiteX1621" fmla="*/ 8986342 w 11685910"/>
                <a:gd name="connsiteY1621" fmla="*/ 2237797 h 6078415"/>
                <a:gd name="connsiteX1622" fmla="*/ 8994885 w 11685910"/>
                <a:gd name="connsiteY1622" fmla="*/ 2217458 h 6078415"/>
                <a:gd name="connsiteX1623" fmla="*/ 2934148 w 11685910"/>
                <a:gd name="connsiteY1623" fmla="*/ 2217458 h 6078415"/>
                <a:gd name="connsiteX1624" fmla="*/ 2936449 w 11685910"/>
                <a:gd name="connsiteY1624" fmla="*/ 2217495 h 6078415"/>
                <a:gd name="connsiteX1625" fmla="*/ 2944643 w 11685910"/>
                <a:gd name="connsiteY1625" fmla="*/ 2218759 h 6078415"/>
                <a:gd name="connsiteX1626" fmla="*/ 2925605 w 11685910"/>
                <a:gd name="connsiteY1626" fmla="*/ 2237797 h 6078415"/>
                <a:gd name="connsiteX1627" fmla="*/ 2934148 w 11685910"/>
                <a:gd name="connsiteY1627" fmla="*/ 2217458 h 6078415"/>
                <a:gd name="connsiteX1628" fmla="*/ 9098183 w 11685910"/>
                <a:gd name="connsiteY1628" fmla="*/ 2195230 h 6078415"/>
                <a:gd name="connsiteX1629" fmla="*/ 9089930 w 11685910"/>
                <a:gd name="connsiteY1629" fmla="*/ 2209246 h 6078415"/>
                <a:gd name="connsiteX1630" fmla="*/ 9077672 w 11685910"/>
                <a:gd name="connsiteY1630" fmla="*/ 2211251 h 6078415"/>
                <a:gd name="connsiteX1631" fmla="*/ 9088889 w 11685910"/>
                <a:gd name="connsiteY1631" fmla="*/ 2204577 h 6078415"/>
                <a:gd name="connsiteX1632" fmla="*/ 9098183 w 11685910"/>
                <a:gd name="connsiteY1632" fmla="*/ 2195230 h 6078415"/>
                <a:gd name="connsiteX1633" fmla="*/ 3037447 w 11685910"/>
                <a:gd name="connsiteY1633" fmla="*/ 2195230 h 6078415"/>
                <a:gd name="connsiteX1634" fmla="*/ 3029193 w 11685910"/>
                <a:gd name="connsiteY1634" fmla="*/ 2209246 h 6078415"/>
                <a:gd name="connsiteX1635" fmla="*/ 3016935 w 11685910"/>
                <a:gd name="connsiteY1635" fmla="*/ 2211251 h 6078415"/>
                <a:gd name="connsiteX1636" fmla="*/ 3028152 w 11685910"/>
                <a:gd name="connsiteY1636" fmla="*/ 2204577 h 6078415"/>
                <a:gd name="connsiteX1637" fmla="*/ 3037447 w 11685910"/>
                <a:gd name="connsiteY1637" fmla="*/ 2195230 h 6078415"/>
                <a:gd name="connsiteX1638" fmla="*/ 10078877 w 11685910"/>
                <a:gd name="connsiteY1638" fmla="*/ 2178594 h 6078415"/>
                <a:gd name="connsiteX1639" fmla="*/ 10133563 w 11685910"/>
                <a:gd name="connsiteY1639" fmla="*/ 2217615 h 6078415"/>
                <a:gd name="connsiteX1640" fmla="*/ 10133563 w 11685910"/>
                <a:gd name="connsiteY1640" fmla="*/ 2253976 h 6078415"/>
                <a:gd name="connsiteX1641" fmla="*/ 10157507 w 11685910"/>
                <a:gd name="connsiteY1641" fmla="*/ 2280836 h 6078415"/>
                <a:gd name="connsiteX1642" fmla="*/ 10157507 w 11685910"/>
                <a:gd name="connsiteY1642" fmla="*/ 2299332 h 6078415"/>
                <a:gd name="connsiteX1643" fmla="*/ 10133563 w 11685910"/>
                <a:gd name="connsiteY1643" fmla="*/ 2325685 h 6078415"/>
                <a:gd name="connsiteX1644" fmla="*/ 10133563 w 11685910"/>
                <a:gd name="connsiteY1644" fmla="*/ 2363060 h 6078415"/>
                <a:gd name="connsiteX1645" fmla="*/ 10078877 w 11685910"/>
                <a:gd name="connsiteY1645" fmla="*/ 2401574 h 6078415"/>
                <a:gd name="connsiteX1646" fmla="*/ 10078877 w 11685910"/>
                <a:gd name="connsiteY1646" fmla="*/ 2382063 h 6078415"/>
                <a:gd name="connsiteX1647" fmla="*/ 10097955 w 11685910"/>
                <a:gd name="connsiteY1647" fmla="*/ 2375982 h 6078415"/>
                <a:gd name="connsiteX1648" fmla="*/ 10103594 w 11685910"/>
                <a:gd name="connsiteY1648" fmla="*/ 2356725 h 6078415"/>
                <a:gd name="connsiteX1649" fmla="*/ 10103594 w 11685910"/>
                <a:gd name="connsiteY1649" fmla="*/ 2321377 h 6078415"/>
                <a:gd name="connsiteX1650" fmla="*/ 10134026 w 11685910"/>
                <a:gd name="connsiteY1650" fmla="*/ 2290084 h 6078415"/>
                <a:gd name="connsiteX1651" fmla="*/ 10134026 w 11685910"/>
                <a:gd name="connsiteY1651" fmla="*/ 2289704 h 6078415"/>
                <a:gd name="connsiteX1652" fmla="*/ 10103594 w 11685910"/>
                <a:gd name="connsiteY1652" fmla="*/ 2258157 h 6078415"/>
                <a:gd name="connsiteX1653" fmla="*/ 10103594 w 11685910"/>
                <a:gd name="connsiteY1653" fmla="*/ 2222430 h 6078415"/>
                <a:gd name="connsiteX1654" fmla="*/ 10078877 w 11685910"/>
                <a:gd name="connsiteY1654" fmla="*/ 2198232 h 6078415"/>
                <a:gd name="connsiteX1655" fmla="*/ 10057558 w 11685910"/>
                <a:gd name="connsiteY1655" fmla="*/ 2178594 h 6078415"/>
                <a:gd name="connsiteX1656" fmla="*/ 10057558 w 11685910"/>
                <a:gd name="connsiteY1656" fmla="*/ 2198232 h 6078415"/>
                <a:gd name="connsiteX1657" fmla="*/ 10032996 w 11685910"/>
                <a:gd name="connsiteY1657" fmla="*/ 2222430 h 6078415"/>
                <a:gd name="connsiteX1658" fmla="*/ 10032996 w 11685910"/>
                <a:gd name="connsiteY1658" fmla="*/ 2258157 h 6078415"/>
                <a:gd name="connsiteX1659" fmla="*/ 10002255 w 11685910"/>
                <a:gd name="connsiteY1659" fmla="*/ 2289704 h 6078415"/>
                <a:gd name="connsiteX1660" fmla="*/ 10002255 w 11685910"/>
                <a:gd name="connsiteY1660" fmla="*/ 2290084 h 6078415"/>
                <a:gd name="connsiteX1661" fmla="*/ 10032996 w 11685910"/>
                <a:gd name="connsiteY1661" fmla="*/ 2321377 h 6078415"/>
                <a:gd name="connsiteX1662" fmla="*/ 10032996 w 11685910"/>
                <a:gd name="connsiteY1662" fmla="*/ 2356725 h 6078415"/>
                <a:gd name="connsiteX1663" fmla="*/ 10038480 w 11685910"/>
                <a:gd name="connsiteY1663" fmla="*/ 2376045 h 6078415"/>
                <a:gd name="connsiteX1664" fmla="*/ 10057558 w 11685910"/>
                <a:gd name="connsiteY1664" fmla="*/ 2382063 h 6078415"/>
                <a:gd name="connsiteX1665" fmla="*/ 10057558 w 11685910"/>
                <a:gd name="connsiteY1665" fmla="*/ 2401574 h 6078415"/>
                <a:gd name="connsiteX1666" fmla="*/ 10002564 w 11685910"/>
                <a:gd name="connsiteY1666" fmla="*/ 2363060 h 6078415"/>
                <a:gd name="connsiteX1667" fmla="*/ 10002564 w 11685910"/>
                <a:gd name="connsiteY1667" fmla="*/ 2325685 h 6078415"/>
                <a:gd name="connsiteX1668" fmla="*/ 9978465 w 11685910"/>
                <a:gd name="connsiteY1668" fmla="*/ 2299332 h 6078415"/>
                <a:gd name="connsiteX1669" fmla="*/ 9978465 w 11685910"/>
                <a:gd name="connsiteY1669" fmla="*/ 2280836 h 6078415"/>
                <a:gd name="connsiteX1670" fmla="*/ 10002564 w 11685910"/>
                <a:gd name="connsiteY1670" fmla="*/ 2253976 h 6078415"/>
                <a:gd name="connsiteX1671" fmla="*/ 10002564 w 11685910"/>
                <a:gd name="connsiteY1671" fmla="*/ 2217615 h 6078415"/>
                <a:gd name="connsiteX1672" fmla="*/ 10057558 w 11685910"/>
                <a:gd name="connsiteY1672" fmla="*/ 2178594 h 6078415"/>
                <a:gd name="connsiteX1673" fmla="*/ 4015651 w 11685910"/>
                <a:gd name="connsiteY1673" fmla="*/ 2178594 h 6078415"/>
                <a:gd name="connsiteX1674" fmla="*/ 4070337 w 11685910"/>
                <a:gd name="connsiteY1674" fmla="*/ 2217615 h 6078415"/>
                <a:gd name="connsiteX1675" fmla="*/ 4070337 w 11685910"/>
                <a:gd name="connsiteY1675" fmla="*/ 2253976 h 6078415"/>
                <a:gd name="connsiteX1676" fmla="*/ 4094281 w 11685910"/>
                <a:gd name="connsiteY1676" fmla="*/ 2280836 h 6078415"/>
                <a:gd name="connsiteX1677" fmla="*/ 4094281 w 11685910"/>
                <a:gd name="connsiteY1677" fmla="*/ 2299332 h 6078415"/>
                <a:gd name="connsiteX1678" fmla="*/ 4070337 w 11685910"/>
                <a:gd name="connsiteY1678" fmla="*/ 2325685 h 6078415"/>
                <a:gd name="connsiteX1679" fmla="*/ 4070337 w 11685910"/>
                <a:gd name="connsiteY1679" fmla="*/ 2363060 h 6078415"/>
                <a:gd name="connsiteX1680" fmla="*/ 4015651 w 11685910"/>
                <a:gd name="connsiteY1680" fmla="*/ 2401574 h 6078415"/>
                <a:gd name="connsiteX1681" fmla="*/ 4015651 w 11685910"/>
                <a:gd name="connsiteY1681" fmla="*/ 2382063 h 6078415"/>
                <a:gd name="connsiteX1682" fmla="*/ 4034729 w 11685910"/>
                <a:gd name="connsiteY1682" fmla="*/ 2375982 h 6078415"/>
                <a:gd name="connsiteX1683" fmla="*/ 4040368 w 11685910"/>
                <a:gd name="connsiteY1683" fmla="*/ 2356725 h 6078415"/>
                <a:gd name="connsiteX1684" fmla="*/ 4040368 w 11685910"/>
                <a:gd name="connsiteY1684" fmla="*/ 2321377 h 6078415"/>
                <a:gd name="connsiteX1685" fmla="*/ 4070800 w 11685910"/>
                <a:gd name="connsiteY1685" fmla="*/ 2290084 h 6078415"/>
                <a:gd name="connsiteX1686" fmla="*/ 4070800 w 11685910"/>
                <a:gd name="connsiteY1686" fmla="*/ 2289704 h 6078415"/>
                <a:gd name="connsiteX1687" fmla="*/ 4040368 w 11685910"/>
                <a:gd name="connsiteY1687" fmla="*/ 2258157 h 6078415"/>
                <a:gd name="connsiteX1688" fmla="*/ 4040368 w 11685910"/>
                <a:gd name="connsiteY1688" fmla="*/ 2222430 h 6078415"/>
                <a:gd name="connsiteX1689" fmla="*/ 4015651 w 11685910"/>
                <a:gd name="connsiteY1689" fmla="*/ 2198232 h 6078415"/>
                <a:gd name="connsiteX1690" fmla="*/ 3994333 w 11685910"/>
                <a:gd name="connsiteY1690" fmla="*/ 2178594 h 6078415"/>
                <a:gd name="connsiteX1691" fmla="*/ 3994333 w 11685910"/>
                <a:gd name="connsiteY1691" fmla="*/ 2198232 h 6078415"/>
                <a:gd name="connsiteX1692" fmla="*/ 3969771 w 11685910"/>
                <a:gd name="connsiteY1692" fmla="*/ 2222430 h 6078415"/>
                <a:gd name="connsiteX1693" fmla="*/ 3969771 w 11685910"/>
                <a:gd name="connsiteY1693" fmla="*/ 2258157 h 6078415"/>
                <a:gd name="connsiteX1694" fmla="*/ 3939029 w 11685910"/>
                <a:gd name="connsiteY1694" fmla="*/ 2289704 h 6078415"/>
                <a:gd name="connsiteX1695" fmla="*/ 3939029 w 11685910"/>
                <a:gd name="connsiteY1695" fmla="*/ 2290084 h 6078415"/>
                <a:gd name="connsiteX1696" fmla="*/ 3969771 w 11685910"/>
                <a:gd name="connsiteY1696" fmla="*/ 2321377 h 6078415"/>
                <a:gd name="connsiteX1697" fmla="*/ 3969771 w 11685910"/>
                <a:gd name="connsiteY1697" fmla="*/ 2356725 h 6078415"/>
                <a:gd name="connsiteX1698" fmla="*/ 3975255 w 11685910"/>
                <a:gd name="connsiteY1698" fmla="*/ 2376045 h 6078415"/>
                <a:gd name="connsiteX1699" fmla="*/ 3994333 w 11685910"/>
                <a:gd name="connsiteY1699" fmla="*/ 2382063 h 6078415"/>
                <a:gd name="connsiteX1700" fmla="*/ 3994333 w 11685910"/>
                <a:gd name="connsiteY1700" fmla="*/ 2401574 h 6078415"/>
                <a:gd name="connsiteX1701" fmla="*/ 3939338 w 11685910"/>
                <a:gd name="connsiteY1701" fmla="*/ 2363060 h 6078415"/>
                <a:gd name="connsiteX1702" fmla="*/ 3939338 w 11685910"/>
                <a:gd name="connsiteY1702" fmla="*/ 2325685 h 6078415"/>
                <a:gd name="connsiteX1703" fmla="*/ 3915239 w 11685910"/>
                <a:gd name="connsiteY1703" fmla="*/ 2299332 h 6078415"/>
                <a:gd name="connsiteX1704" fmla="*/ 3915239 w 11685910"/>
                <a:gd name="connsiteY1704" fmla="*/ 2280836 h 6078415"/>
                <a:gd name="connsiteX1705" fmla="*/ 3939338 w 11685910"/>
                <a:gd name="connsiteY1705" fmla="*/ 2253976 h 6078415"/>
                <a:gd name="connsiteX1706" fmla="*/ 3939338 w 11685910"/>
                <a:gd name="connsiteY1706" fmla="*/ 2217615 h 6078415"/>
                <a:gd name="connsiteX1707" fmla="*/ 3994333 w 11685910"/>
                <a:gd name="connsiteY1707" fmla="*/ 2178594 h 6078415"/>
                <a:gd name="connsiteX1708" fmla="*/ 8993542 w 11685910"/>
                <a:gd name="connsiteY1708" fmla="*/ 2176097 h 6078415"/>
                <a:gd name="connsiteX1709" fmla="*/ 8999446 w 11685910"/>
                <a:gd name="connsiteY1709" fmla="*/ 2176614 h 6078415"/>
                <a:gd name="connsiteX1710" fmla="*/ 9042722 w 11685910"/>
                <a:gd name="connsiteY1710" fmla="*/ 2206032 h 6078415"/>
                <a:gd name="connsiteX1711" fmla="*/ 9060713 w 11685910"/>
                <a:gd name="connsiteY1711" fmla="*/ 2227184 h 6078415"/>
                <a:gd name="connsiteX1712" fmla="*/ 9057552 w 11685910"/>
                <a:gd name="connsiteY1712" fmla="*/ 2234964 h 6078415"/>
                <a:gd name="connsiteX1713" fmla="*/ 9070666 w 11685910"/>
                <a:gd name="connsiteY1713" fmla="*/ 2245069 h 6078415"/>
                <a:gd name="connsiteX1714" fmla="*/ 9068979 w 11685910"/>
                <a:gd name="connsiteY1714" fmla="*/ 2207735 h 6078415"/>
                <a:gd name="connsiteX1715" fmla="*/ 9084296 w 11685910"/>
                <a:gd name="connsiteY1715" fmla="*/ 2198010 h 6078415"/>
                <a:gd name="connsiteX1716" fmla="*/ 9096209 w 11685910"/>
                <a:gd name="connsiteY1716" fmla="*/ 2186826 h 6078415"/>
                <a:gd name="connsiteX1717" fmla="*/ 9119063 w 11685910"/>
                <a:gd name="connsiteY1717" fmla="*/ 2249309 h 6078415"/>
                <a:gd name="connsiteX1718" fmla="*/ 9081379 w 11685910"/>
                <a:gd name="connsiteY1718" fmla="*/ 2317627 h 6078415"/>
                <a:gd name="connsiteX1719" fmla="*/ 9049352 w 11685910"/>
                <a:gd name="connsiteY1719" fmla="*/ 2318345 h 6078415"/>
                <a:gd name="connsiteX1720" fmla="*/ 9045345 w 11685910"/>
                <a:gd name="connsiteY1720" fmla="*/ 2316950 h 6078415"/>
                <a:gd name="connsiteX1721" fmla="*/ 9044865 w 11685910"/>
                <a:gd name="connsiteY1721" fmla="*/ 2319226 h 6078415"/>
                <a:gd name="connsiteX1722" fmla="*/ 9020111 w 11685910"/>
                <a:gd name="connsiteY1722" fmla="*/ 2339265 h 6078415"/>
                <a:gd name="connsiteX1723" fmla="*/ 8998473 w 11685910"/>
                <a:gd name="connsiteY1723" fmla="*/ 2329540 h 6078415"/>
                <a:gd name="connsiteX1724" fmla="*/ 8997500 w 11685910"/>
                <a:gd name="connsiteY1724" fmla="*/ 2342182 h 6078415"/>
                <a:gd name="connsiteX1725" fmla="*/ 9007225 w 11685910"/>
                <a:gd name="connsiteY1725" fmla="*/ 2362848 h 6078415"/>
                <a:gd name="connsiteX1726" fmla="*/ 9006739 w 11685910"/>
                <a:gd name="connsiteY1726" fmla="*/ 2374032 h 6078415"/>
                <a:gd name="connsiteX1727" fmla="*/ 9008927 w 11685910"/>
                <a:gd name="connsiteY1727" fmla="*/ 2387890 h 6078415"/>
                <a:gd name="connsiteX1728" fmla="*/ 8992881 w 11685910"/>
                <a:gd name="connsiteY1728" fmla="*/ 2393725 h 6078415"/>
                <a:gd name="connsiteX1729" fmla="*/ 8967839 w 11685910"/>
                <a:gd name="connsiteY1729" fmla="*/ 2388376 h 6078415"/>
                <a:gd name="connsiteX1730" fmla="*/ 8967075 w 11685910"/>
                <a:gd name="connsiteY1730" fmla="*/ 2383892 h 6078415"/>
                <a:gd name="connsiteX1731" fmla="*/ 8967035 w 11685910"/>
                <a:gd name="connsiteY1731" fmla="*/ 2382538 h 6078415"/>
                <a:gd name="connsiteX1732" fmla="*/ 8963270 w 11685910"/>
                <a:gd name="connsiteY1732" fmla="*/ 2386106 h 6078415"/>
                <a:gd name="connsiteX1733" fmla="*/ 8939637 w 11685910"/>
                <a:gd name="connsiteY1733" fmla="*/ 2400532 h 6078415"/>
                <a:gd name="connsiteX1734" fmla="*/ 8916054 w 11685910"/>
                <a:gd name="connsiteY1734" fmla="*/ 2372087 h 6078415"/>
                <a:gd name="connsiteX1735" fmla="*/ 8926994 w 11685910"/>
                <a:gd name="connsiteY1735" fmla="*/ 2360173 h 6078415"/>
                <a:gd name="connsiteX1736" fmla="*/ 8901952 w 11685910"/>
                <a:gd name="connsiteY1736" fmla="*/ 2357742 h 6078415"/>
                <a:gd name="connsiteX1737" fmla="*/ 8900980 w 11685910"/>
                <a:gd name="connsiteY1737" fmla="*/ 2368683 h 6078415"/>
                <a:gd name="connsiteX1738" fmla="*/ 8894658 w 11685910"/>
                <a:gd name="connsiteY1738" fmla="*/ 2379380 h 6078415"/>
                <a:gd name="connsiteX1739" fmla="*/ 8889553 w 11685910"/>
                <a:gd name="connsiteY1739" fmla="*/ 2398587 h 6078415"/>
                <a:gd name="connsiteX1740" fmla="*/ 8849194 w 11685910"/>
                <a:gd name="connsiteY1740" fmla="*/ 2390078 h 6078415"/>
                <a:gd name="connsiteX1741" fmla="*/ 8850167 w 11685910"/>
                <a:gd name="connsiteY1741" fmla="*/ 2375977 h 6078415"/>
                <a:gd name="connsiteX1742" fmla="*/ 8840442 w 11685910"/>
                <a:gd name="connsiteY1742" fmla="*/ 2377922 h 6078415"/>
                <a:gd name="connsiteX1743" fmla="*/ 8815157 w 11685910"/>
                <a:gd name="connsiteY1743" fmla="*/ 2351907 h 6078415"/>
                <a:gd name="connsiteX1744" fmla="*/ 8830474 w 11685910"/>
                <a:gd name="connsiteY1744" fmla="*/ 2325163 h 6078415"/>
                <a:gd name="connsiteX1745" fmla="*/ 8831932 w 11685910"/>
                <a:gd name="connsiteY1745" fmla="*/ 2298420 h 6078415"/>
                <a:gd name="connsiteX1746" fmla="*/ 8816372 w 11685910"/>
                <a:gd name="connsiteY1746" fmla="*/ 2276296 h 6078415"/>
                <a:gd name="connsiteX1747" fmla="*/ 8818145 w 11685910"/>
                <a:gd name="connsiteY1747" fmla="*/ 2262886 h 6078415"/>
                <a:gd name="connsiteX1748" fmla="*/ 8818607 w 11685910"/>
                <a:gd name="connsiteY1748" fmla="*/ 2271666 h 6078415"/>
                <a:gd name="connsiteX1749" fmla="*/ 8819436 w 11685910"/>
                <a:gd name="connsiteY1749" fmla="*/ 2272064 h 6078415"/>
                <a:gd name="connsiteX1750" fmla="*/ 8819559 w 11685910"/>
                <a:gd name="connsiteY1750" fmla="*/ 2273246 h 6078415"/>
                <a:gd name="connsiteX1751" fmla="*/ 8839247 w 11685910"/>
                <a:gd name="connsiteY1751" fmla="*/ 2287188 h 6078415"/>
                <a:gd name="connsiteX1752" fmla="*/ 8857593 w 11685910"/>
                <a:gd name="connsiteY1752" fmla="*/ 2358296 h 6078415"/>
                <a:gd name="connsiteX1753" fmla="*/ 8858561 w 11685910"/>
                <a:gd name="connsiteY1753" fmla="*/ 2360158 h 6078415"/>
                <a:gd name="connsiteX1754" fmla="*/ 8858527 w 11685910"/>
                <a:gd name="connsiteY1754" fmla="*/ 2361032 h 6078415"/>
                <a:gd name="connsiteX1755" fmla="*/ 8857117 w 11685910"/>
                <a:gd name="connsiteY1755" fmla="*/ 2374565 h 6078415"/>
                <a:gd name="connsiteX1756" fmla="*/ 8853795 w 11685910"/>
                <a:gd name="connsiteY1756" fmla="*/ 2385970 h 6078415"/>
                <a:gd name="connsiteX1757" fmla="*/ 8888189 w 11685910"/>
                <a:gd name="connsiteY1757" fmla="*/ 2392615 h 6078415"/>
                <a:gd name="connsiteX1758" fmla="*/ 8889356 w 11685910"/>
                <a:gd name="connsiteY1758" fmla="*/ 2381659 h 6078415"/>
                <a:gd name="connsiteX1759" fmla="*/ 8896001 w 11685910"/>
                <a:gd name="connsiteY1759" fmla="*/ 2367381 h 6078415"/>
                <a:gd name="connsiteX1760" fmla="*/ 8896282 w 11685910"/>
                <a:gd name="connsiteY1760" fmla="*/ 2352171 h 6078415"/>
                <a:gd name="connsiteX1761" fmla="*/ 8896072 w 11685910"/>
                <a:gd name="connsiteY1761" fmla="*/ 2346453 h 6078415"/>
                <a:gd name="connsiteX1762" fmla="*/ 8897672 w 11685910"/>
                <a:gd name="connsiteY1762" fmla="*/ 2348315 h 6078415"/>
                <a:gd name="connsiteX1763" fmla="*/ 8937310 w 11685910"/>
                <a:gd name="connsiteY1763" fmla="*/ 2346098 h 6078415"/>
                <a:gd name="connsiteX1764" fmla="*/ 8938208 w 11685910"/>
                <a:gd name="connsiteY1764" fmla="*/ 2359927 h 6078415"/>
                <a:gd name="connsiteX1765" fmla="*/ 8921056 w 11685910"/>
                <a:gd name="connsiteY1765" fmla="*/ 2372679 h 6078415"/>
                <a:gd name="connsiteX1766" fmla="*/ 8940094 w 11685910"/>
                <a:gd name="connsiteY1766" fmla="*/ 2395758 h 6078415"/>
                <a:gd name="connsiteX1767" fmla="*/ 8975386 w 11685910"/>
                <a:gd name="connsiteY1767" fmla="*/ 2367830 h 6078415"/>
                <a:gd name="connsiteX1768" fmla="*/ 8994604 w 11685910"/>
                <a:gd name="connsiteY1768" fmla="*/ 2325713 h 6078415"/>
                <a:gd name="connsiteX1769" fmla="*/ 8977626 w 11685910"/>
                <a:gd name="connsiteY1769" fmla="*/ 2307326 h 6078415"/>
                <a:gd name="connsiteX1770" fmla="*/ 8977431 w 11685910"/>
                <a:gd name="connsiteY1770" fmla="*/ 2306814 h 6078415"/>
                <a:gd name="connsiteX1771" fmla="*/ 8980067 w 11685910"/>
                <a:gd name="connsiteY1771" fmla="*/ 2308474 h 6078415"/>
                <a:gd name="connsiteX1772" fmla="*/ 8999363 w 11685910"/>
                <a:gd name="connsiteY1772" fmla="*/ 2319157 h 6078415"/>
                <a:gd name="connsiteX1773" fmla="*/ 9020826 w 11685910"/>
                <a:gd name="connsiteY1773" fmla="*/ 2333705 h 6078415"/>
                <a:gd name="connsiteX1774" fmla="*/ 9041929 w 11685910"/>
                <a:gd name="connsiteY1774" fmla="*/ 2315206 h 6078415"/>
                <a:gd name="connsiteX1775" fmla="*/ 9038607 w 11685910"/>
                <a:gd name="connsiteY1775" fmla="*/ 2314937 h 6078415"/>
                <a:gd name="connsiteX1776" fmla="*/ 9010626 w 11685910"/>
                <a:gd name="connsiteY1776" fmla="*/ 2292639 h 6078415"/>
                <a:gd name="connsiteX1777" fmla="*/ 9011556 w 11685910"/>
                <a:gd name="connsiteY1777" fmla="*/ 2287831 h 6078415"/>
                <a:gd name="connsiteX1778" fmla="*/ 9013320 w 11685910"/>
                <a:gd name="connsiteY1778" fmla="*/ 2289753 h 6078415"/>
                <a:gd name="connsiteX1779" fmla="*/ 9085573 w 11685910"/>
                <a:gd name="connsiteY1779" fmla="*/ 2308022 h 6078415"/>
                <a:gd name="connsiteX1780" fmla="*/ 9097517 w 11685910"/>
                <a:gd name="connsiteY1780" fmla="*/ 2190112 h 6078415"/>
                <a:gd name="connsiteX1781" fmla="*/ 9088177 w 11685910"/>
                <a:gd name="connsiteY1781" fmla="*/ 2200889 h 6078415"/>
                <a:gd name="connsiteX1782" fmla="*/ 9074527 w 11685910"/>
                <a:gd name="connsiteY1782" fmla="*/ 2207803 h 6078415"/>
                <a:gd name="connsiteX1783" fmla="*/ 9065993 w 11685910"/>
                <a:gd name="connsiteY1783" fmla="*/ 2269010 h 6078415"/>
                <a:gd name="connsiteX1784" fmla="*/ 9064502 w 11685910"/>
                <a:gd name="connsiteY1784" fmla="*/ 2270186 h 6078415"/>
                <a:gd name="connsiteX1785" fmla="*/ 9064816 w 11685910"/>
                <a:gd name="connsiteY1785" fmla="*/ 2269581 h 6078415"/>
                <a:gd name="connsiteX1786" fmla="*/ 9068062 w 11685910"/>
                <a:gd name="connsiteY1786" fmla="*/ 2250369 h 6078415"/>
                <a:gd name="connsiteX1787" fmla="*/ 9055400 w 11685910"/>
                <a:gd name="connsiteY1787" fmla="*/ 2252794 h 6078415"/>
                <a:gd name="connsiteX1788" fmla="*/ 9056747 w 11685910"/>
                <a:gd name="connsiteY1788" fmla="*/ 2242287 h 6078415"/>
                <a:gd name="connsiteX1789" fmla="*/ 9044893 w 11685910"/>
                <a:gd name="connsiteY1789" fmla="*/ 2242197 h 6078415"/>
                <a:gd name="connsiteX1790" fmla="*/ 9048305 w 11685910"/>
                <a:gd name="connsiteY1790" fmla="*/ 2234385 h 6078415"/>
                <a:gd name="connsiteX1791" fmla="*/ 9041452 w 11685910"/>
                <a:gd name="connsiteY1791" fmla="*/ 2231219 h 6078415"/>
                <a:gd name="connsiteX1792" fmla="*/ 9039553 w 11685910"/>
                <a:gd name="connsiteY1792" fmla="*/ 2231232 h 6078415"/>
                <a:gd name="connsiteX1793" fmla="*/ 9041115 w 11685910"/>
                <a:gd name="connsiteY1793" fmla="*/ 2230671 h 6078415"/>
                <a:gd name="connsiteX1794" fmla="*/ 9043456 w 11685910"/>
                <a:gd name="connsiteY1794" fmla="*/ 2229984 h 6078415"/>
                <a:gd name="connsiteX1795" fmla="*/ 9054771 w 11685910"/>
                <a:gd name="connsiteY1795" fmla="*/ 2227380 h 6078415"/>
                <a:gd name="connsiteX1796" fmla="*/ 9043276 w 11685910"/>
                <a:gd name="connsiteY1796" fmla="*/ 2212742 h 6078415"/>
                <a:gd name="connsiteX1797" fmla="*/ 9031296 w 11685910"/>
                <a:gd name="connsiteY1797" fmla="*/ 2211273 h 6078415"/>
                <a:gd name="connsiteX1798" fmla="*/ 9030190 w 11685910"/>
                <a:gd name="connsiteY1798" fmla="*/ 2211214 h 6078415"/>
                <a:gd name="connsiteX1799" fmla="*/ 9030199 w 11685910"/>
                <a:gd name="connsiteY1799" fmla="*/ 2211191 h 6078415"/>
                <a:gd name="connsiteX1800" fmla="*/ 9037978 w 11685910"/>
                <a:gd name="connsiteY1800" fmla="*/ 2208791 h 6078415"/>
                <a:gd name="connsiteX1801" fmla="*/ 8995322 w 11685910"/>
                <a:gd name="connsiteY1801" fmla="*/ 2182659 h 6078415"/>
                <a:gd name="connsiteX1802" fmla="*/ 8944854 w 11685910"/>
                <a:gd name="connsiteY1802" fmla="*/ 2206277 h 6078415"/>
                <a:gd name="connsiteX1803" fmla="*/ 8959086 w 11685910"/>
                <a:gd name="connsiteY1803" fmla="*/ 2206604 h 6078415"/>
                <a:gd name="connsiteX1804" fmla="*/ 8959663 w 11685910"/>
                <a:gd name="connsiteY1804" fmla="*/ 2206687 h 6078415"/>
                <a:gd name="connsiteX1805" fmla="*/ 8957253 w 11685910"/>
                <a:gd name="connsiteY1805" fmla="*/ 2207342 h 6078415"/>
                <a:gd name="connsiteX1806" fmla="*/ 8932654 w 11685910"/>
                <a:gd name="connsiteY1806" fmla="*/ 2212459 h 6078415"/>
                <a:gd name="connsiteX1807" fmla="*/ 8886178 w 11685910"/>
                <a:gd name="connsiteY1807" fmla="*/ 2272744 h 6078415"/>
                <a:gd name="connsiteX1808" fmla="*/ 8900160 w 11685910"/>
                <a:gd name="connsiteY1808" fmla="*/ 2294856 h 6078415"/>
                <a:gd name="connsiteX1809" fmla="*/ 8914666 w 11685910"/>
                <a:gd name="connsiteY1809" fmla="*/ 2278318 h 6078415"/>
                <a:gd name="connsiteX1810" fmla="*/ 8897694 w 11685910"/>
                <a:gd name="connsiteY1810" fmla="*/ 2313424 h 6078415"/>
                <a:gd name="connsiteX1811" fmla="*/ 8913623 w 11685910"/>
                <a:gd name="connsiteY1811" fmla="*/ 2322805 h 6078415"/>
                <a:gd name="connsiteX1812" fmla="*/ 8940778 w 11685910"/>
                <a:gd name="connsiteY1812" fmla="*/ 2309362 h 6078415"/>
                <a:gd name="connsiteX1813" fmla="*/ 8958186 w 11685910"/>
                <a:gd name="connsiteY1813" fmla="*/ 2307621 h 6078415"/>
                <a:gd name="connsiteX1814" fmla="*/ 8964423 w 11685910"/>
                <a:gd name="connsiteY1814" fmla="*/ 2238571 h 6078415"/>
                <a:gd name="connsiteX1815" fmla="*/ 8965149 w 11685910"/>
                <a:gd name="connsiteY1815" fmla="*/ 2316470 h 6078415"/>
                <a:gd name="connsiteX1816" fmla="*/ 8963041 w 11685910"/>
                <a:gd name="connsiteY1816" fmla="*/ 2316125 h 6078415"/>
                <a:gd name="connsiteX1817" fmla="*/ 8960372 w 11685910"/>
                <a:gd name="connsiteY1817" fmla="*/ 2315442 h 6078415"/>
                <a:gd name="connsiteX1818" fmla="*/ 8957638 w 11685910"/>
                <a:gd name="connsiteY1818" fmla="*/ 2315016 h 6078415"/>
                <a:gd name="connsiteX1819" fmla="*/ 8956872 w 11685910"/>
                <a:gd name="connsiteY1819" fmla="*/ 2314838 h 6078415"/>
                <a:gd name="connsiteX1820" fmla="*/ 8950101 w 11685910"/>
                <a:gd name="connsiteY1820" fmla="*/ 2314609 h 6078415"/>
                <a:gd name="connsiteX1821" fmla="*/ 8949115 w 11685910"/>
                <a:gd name="connsiteY1821" fmla="*/ 2314839 h 6078415"/>
                <a:gd name="connsiteX1822" fmla="*/ 8948520 w 11685910"/>
                <a:gd name="connsiteY1822" fmla="*/ 2314890 h 6078415"/>
                <a:gd name="connsiteX1823" fmla="*/ 8909292 w 11685910"/>
                <a:gd name="connsiteY1823" fmla="*/ 2330832 h 6078415"/>
                <a:gd name="connsiteX1824" fmla="*/ 8886952 w 11685910"/>
                <a:gd name="connsiteY1824" fmla="*/ 2313113 h 6078415"/>
                <a:gd name="connsiteX1825" fmla="*/ 8886494 w 11685910"/>
                <a:gd name="connsiteY1825" fmla="*/ 2312519 h 6078415"/>
                <a:gd name="connsiteX1826" fmla="*/ 8888216 w 11685910"/>
                <a:gd name="connsiteY1826" fmla="*/ 2309642 h 6078415"/>
                <a:gd name="connsiteX1827" fmla="*/ 8894295 w 11685910"/>
                <a:gd name="connsiteY1827" fmla="*/ 2300838 h 6078415"/>
                <a:gd name="connsiteX1828" fmla="*/ 8877233 w 11685910"/>
                <a:gd name="connsiteY1828" fmla="*/ 2273807 h 6078415"/>
                <a:gd name="connsiteX1829" fmla="*/ 8907496 w 11685910"/>
                <a:gd name="connsiteY1829" fmla="*/ 2227649 h 6078415"/>
                <a:gd name="connsiteX1830" fmla="*/ 8827441 w 11685910"/>
                <a:gd name="connsiteY1830" fmla="*/ 2275031 h 6078415"/>
                <a:gd name="connsiteX1831" fmla="*/ 8823816 w 11685910"/>
                <a:gd name="connsiteY1831" fmla="*/ 2271768 h 6078415"/>
                <a:gd name="connsiteX1832" fmla="*/ 8824876 w 11685910"/>
                <a:gd name="connsiteY1832" fmla="*/ 2271173 h 6078415"/>
                <a:gd name="connsiteX1833" fmla="*/ 8828830 w 11685910"/>
                <a:gd name="connsiteY1833" fmla="*/ 2251267 h 6078415"/>
                <a:gd name="connsiteX1834" fmla="*/ 8818347 w 11685910"/>
                <a:gd name="connsiteY1834" fmla="*/ 2261360 h 6078415"/>
                <a:gd name="connsiteX1835" fmla="*/ 8819259 w 11685910"/>
                <a:gd name="connsiteY1835" fmla="*/ 2254460 h 6078415"/>
                <a:gd name="connsiteX1836" fmla="*/ 8832905 w 11685910"/>
                <a:gd name="connsiteY1836" fmla="*/ 2245905 h 6078415"/>
                <a:gd name="connsiteX1837" fmla="*/ 8832905 w 11685910"/>
                <a:gd name="connsiteY1837" fmla="*/ 2269731 h 6078415"/>
                <a:gd name="connsiteX1838" fmla="*/ 8909246 w 11685910"/>
                <a:gd name="connsiteY1838" fmla="*/ 2221349 h 6078415"/>
                <a:gd name="connsiteX1839" fmla="*/ 8931857 w 11685910"/>
                <a:gd name="connsiteY1839" fmla="*/ 2204817 h 6078415"/>
                <a:gd name="connsiteX1840" fmla="*/ 8937893 w 11685910"/>
                <a:gd name="connsiteY1840" fmla="*/ 2204184 h 6078415"/>
                <a:gd name="connsiteX1841" fmla="*/ 8938592 w 11685910"/>
                <a:gd name="connsiteY1841" fmla="*/ 2202687 h 6078415"/>
                <a:gd name="connsiteX1842" fmla="*/ 8957871 w 11685910"/>
                <a:gd name="connsiteY1842" fmla="*/ 2184151 h 6078415"/>
                <a:gd name="connsiteX1843" fmla="*/ 8993542 w 11685910"/>
                <a:gd name="connsiteY1843" fmla="*/ 2176097 h 6078415"/>
                <a:gd name="connsiteX1844" fmla="*/ 2932806 w 11685910"/>
                <a:gd name="connsiteY1844" fmla="*/ 2176097 h 6078415"/>
                <a:gd name="connsiteX1845" fmla="*/ 2938709 w 11685910"/>
                <a:gd name="connsiteY1845" fmla="*/ 2176614 h 6078415"/>
                <a:gd name="connsiteX1846" fmla="*/ 2981985 w 11685910"/>
                <a:gd name="connsiteY1846" fmla="*/ 2206032 h 6078415"/>
                <a:gd name="connsiteX1847" fmla="*/ 2999976 w 11685910"/>
                <a:gd name="connsiteY1847" fmla="*/ 2227184 h 6078415"/>
                <a:gd name="connsiteX1848" fmla="*/ 2996816 w 11685910"/>
                <a:gd name="connsiteY1848" fmla="*/ 2234964 h 6078415"/>
                <a:gd name="connsiteX1849" fmla="*/ 3009929 w 11685910"/>
                <a:gd name="connsiteY1849" fmla="*/ 2245069 h 6078415"/>
                <a:gd name="connsiteX1850" fmla="*/ 3008243 w 11685910"/>
                <a:gd name="connsiteY1850" fmla="*/ 2207735 h 6078415"/>
                <a:gd name="connsiteX1851" fmla="*/ 3023559 w 11685910"/>
                <a:gd name="connsiteY1851" fmla="*/ 2198010 h 6078415"/>
                <a:gd name="connsiteX1852" fmla="*/ 3035473 w 11685910"/>
                <a:gd name="connsiteY1852" fmla="*/ 2186826 h 6078415"/>
                <a:gd name="connsiteX1853" fmla="*/ 3058326 w 11685910"/>
                <a:gd name="connsiteY1853" fmla="*/ 2249309 h 6078415"/>
                <a:gd name="connsiteX1854" fmla="*/ 3020642 w 11685910"/>
                <a:gd name="connsiteY1854" fmla="*/ 2317627 h 6078415"/>
                <a:gd name="connsiteX1855" fmla="*/ 2988615 w 11685910"/>
                <a:gd name="connsiteY1855" fmla="*/ 2318345 h 6078415"/>
                <a:gd name="connsiteX1856" fmla="*/ 2984609 w 11685910"/>
                <a:gd name="connsiteY1856" fmla="*/ 2316950 h 6078415"/>
                <a:gd name="connsiteX1857" fmla="*/ 2984128 w 11685910"/>
                <a:gd name="connsiteY1857" fmla="*/ 2319226 h 6078415"/>
                <a:gd name="connsiteX1858" fmla="*/ 2959374 w 11685910"/>
                <a:gd name="connsiteY1858" fmla="*/ 2339265 h 6078415"/>
                <a:gd name="connsiteX1859" fmla="*/ 2937736 w 11685910"/>
                <a:gd name="connsiteY1859" fmla="*/ 2329540 h 6078415"/>
                <a:gd name="connsiteX1860" fmla="*/ 2936763 w 11685910"/>
                <a:gd name="connsiteY1860" fmla="*/ 2342182 h 6078415"/>
                <a:gd name="connsiteX1861" fmla="*/ 2946489 w 11685910"/>
                <a:gd name="connsiteY1861" fmla="*/ 2362848 h 6078415"/>
                <a:gd name="connsiteX1862" fmla="*/ 2946002 w 11685910"/>
                <a:gd name="connsiteY1862" fmla="*/ 2374032 h 6078415"/>
                <a:gd name="connsiteX1863" fmla="*/ 2948190 w 11685910"/>
                <a:gd name="connsiteY1863" fmla="*/ 2387890 h 6078415"/>
                <a:gd name="connsiteX1864" fmla="*/ 2932144 w 11685910"/>
                <a:gd name="connsiteY1864" fmla="*/ 2393725 h 6078415"/>
                <a:gd name="connsiteX1865" fmla="*/ 2907102 w 11685910"/>
                <a:gd name="connsiteY1865" fmla="*/ 2388376 h 6078415"/>
                <a:gd name="connsiteX1866" fmla="*/ 2906338 w 11685910"/>
                <a:gd name="connsiteY1866" fmla="*/ 2383892 h 6078415"/>
                <a:gd name="connsiteX1867" fmla="*/ 2906298 w 11685910"/>
                <a:gd name="connsiteY1867" fmla="*/ 2382538 h 6078415"/>
                <a:gd name="connsiteX1868" fmla="*/ 2902533 w 11685910"/>
                <a:gd name="connsiteY1868" fmla="*/ 2386106 h 6078415"/>
                <a:gd name="connsiteX1869" fmla="*/ 2878900 w 11685910"/>
                <a:gd name="connsiteY1869" fmla="*/ 2400532 h 6078415"/>
                <a:gd name="connsiteX1870" fmla="*/ 2855317 w 11685910"/>
                <a:gd name="connsiteY1870" fmla="*/ 2372087 h 6078415"/>
                <a:gd name="connsiteX1871" fmla="*/ 2866257 w 11685910"/>
                <a:gd name="connsiteY1871" fmla="*/ 2360173 h 6078415"/>
                <a:gd name="connsiteX1872" fmla="*/ 2841215 w 11685910"/>
                <a:gd name="connsiteY1872" fmla="*/ 2357742 h 6078415"/>
                <a:gd name="connsiteX1873" fmla="*/ 2840243 w 11685910"/>
                <a:gd name="connsiteY1873" fmla="*/ 2368683 h 6078415"/>
                <a:gd name="connsiteX1874" fmla="*/ 2833922 w 11685910"/>
                <a:gd name="connsiteY1874" fmla="*/ 2379380 h 6078415"/>
                <a:gd name="connsiteX1875" fmla="*/ 2828816 w 11685910"/>
                <a:gd name="connsiteY1875" fmla="*/ 2398587 h 6078415"/>
                <a:gd name="connsiteX1876" fmla="*/ 2788458 w 11685910"/>
                <a:gd name="connsiteY1876" fmla="*/ 2390078 h 6078415"/>
                <a:gd name="connsiteX1877" fmla="*/ 2789430 w 11685910"/>
                <a:gd name="connsiteY1877" fmla="*/ 2375977 h 6078415"/>
                <a:gd name="connsiteX1878" fmla="*/ 2779705 w 11685910"/>
                <a:gd name="connsiteY1878" fmla="*/ 2377922 h 6078415"/>
                <a:gd name="connsiteX1879" fmla="*/ 2754420 w 11685910"/>
                <a:gd name="connsiteY1879" fmla="*/ 2351907 h 6078415"/>
                <a:gd name="connsiteX1880" fmla="*/ 2769737 w 11685910"/>
                <a:gd name="connsiteY1880" fmla="*/ 2325163 h 6078415"/>
                <a:gd name="connsiteX1881" fmla="*/ 2771195 w 11685910"/>
                <a:gd name="connsiteY1881" fmla="*/ 2298420 h 6078415"/>
                <a:gd name="connsiteX1882" fmla="*/ 2755635 w 11685910"/>
                <a:gd name="connsiteY1882" fmla="*/ 2276296 h 6078415"/>
                <a:gd name="connsiteX1883" fmla="*/ 2757408 w 11685910"/>
                <a:gd name="connsiteY1883" fmla="*/ 2262887 h 6078415"/>
                <a:gd name="connsiteX1884" fmla="*/ 2757870 w 11685910"/>
                <a:gd name="connsiteY1884" fmla="*/ 2271666 h 6078415"/>
                <a:gd name="connsiteX1885" fmla="*/ 2758699 w 11685910"/>
                <a:gd name="connsiteY1885" fmla="*/ 2272064 h 6078415"/>
                <a:gd name="connsiteX1886" fmla="*/ 2758822 w 11685910"/>
                <a:gd name="connsiteY1886" fmla="*/ 2273246 h 6078415"/>
                <a:gd name="connsiteX1887" fmla="*/ 2778510 w 11685910"/>
                <a:gd name="connsiteY1887" fmla="*/ 2287188 h 6078415"/>
                <a:gd name="connsiteX1888" fmla="*/ 2796856 w 11685910"/>
                <a:gd name="connsiteY1888" fmla="*/ 2358296 h 6078415"/>
                <a:gd name="connsiteX1889" fmla="*/ 2797825 w 11685910"/>
                <a:gd name="connsiteY1889" fmla="*/ 2360158 h 6078415"/>
                <a:gd name="connsiteX1890" fmla="*/ 2797791 w 11685910"/>
                <a:gd name="connsiteY1890" fmla="*/ 2361032 h 6078415"/>
                <a:gd name="connsiteX1891" fmla="*/ 2796380 w 11685910"/>
                <a:gd name="connsiteY1891" fmla="*/ 2374565 h 6078415"/>
                <a:gd name="connsiteX1892" fmla="*/ 2793058 w 11685910"/>
                <a:gd name="connsiteY1892" fmla="*/ 2385970 h 6078415"/>
                <a:gd name="connsiteX1893" fmla="*/ 2827452 w 11685910"/>
                <a:gd name="connsiteY1893" fmla="*/ 2392615 h 6078415"/>
                <a:gd name="connsiteX1894" fmla="*/ 2828619 w 11685910"/>
                <a:gd name="connsiteY1894" fmla="*/ 2381659 h 6078415"/>
                <a:gd name="connsiteX1895" fmla="*/ 2835265 w 11685910"/>
                <a:gd name="connsiteY1895" fmla="*/ 2367381 h 6078415"/>
                <a:gd name="connsiteX1896" fmla="*/ 2835545 w 11685910"/>
                <a:gd name="connsiteY1896" fmla="*/ 2352171 h 6078415"/>
                <a:gd name="connsiteX1897" fmla="*/ 2835336 w 11685910"/>
                <a:gd name="connsiteY1897" fmla="*/ 2346453 h 6078415"/>
                <a:gd name="connsiteX1898" fmla="*/ 2836935 w 11685910"/>
                <a:gd name="connsiteY1898" fmla="*/ 2348315 h 6078415"/>
                <a:gd name="connsiteX1899" fmla="*/ 2876573 w 11685910"/>
                <a:gd name="connsiteY1899" fmla="*/ 2346098 h 6078415"/>
                <a:gd name="connsiteX1900" fmla="*/ 2877471 w 11685910"/>
                <a:gd name="connsiteY1900" fmla="*/ 2359927 h 6078415"/>
                <a:gd name="connsiteX1901" fmla="*/ 2860319 w 11685910"/>
                <a:gd name="connsiteY1901" fmla="*/ 2372679 h 6078415"/>
                <a:gd name="connsiteX1902" fmla="*/ 2879358 w 11685910"/>
                <a:gd name="connsiteY1902" fmla="*/ 2395758 h 6078415"/>
                <a:gd name="connsiteX1903" fmla="*/ 2914649 w 11685910"/>
                <a:gd name="connsiteY1903" fmla="*/ 2367830 h 6078415"/>
                <a:gd name="connsiteX1904" fmla="*/ 2933867 w 11685910"/>
                <a:gd name="connsiteY1904" fmla="*/ 2325713 h 6078415"/>
                <a:gd name="connsiteX1905" fmla="*/ 2916889 w 11685910"/>
                <a:gd name="connsiteY1905" fmla="*/ 2307326 h 6078415"/>
                <a:gd name="connsiteX1906" fmla="*/ 2916694 w 11685910"/>
                <a:gd name="connsiteY1906" fmla="*/ 2306814 h 6078415"/>
                <a:gd name="connsiteX1907" fmla="*/ 2919331 w 11685910"/>
                <a:gd name="connsiteY1907" fmla="*/ 2308474 h 6078415"/>
                <a:gd name="connsiteX1908" fmla="*/ 2938626 w 11685910"/>
                <a:gd name="connsiteY1908" fmla="*/ 2319157 h 6078415"/>
                <a:gd name="connsiteX1909" fmla="*/ 2960089 w 11685910"/>
                <a:gd name="connsiteY1909" fmla="*/ 2333705 h 6078415"/>
                <a:gd name="connsiteX1910" fmla="*/ 2981193 w 11685910"/>
                <a:gd name="connsiteY1910" fmla="*/ 2315206 h 6078415"/>
                <a:gd name="connsiteX1911" fmla="*/ 2977870 w 11685910"/>
                <a:gd name="connsiteY1911" fmla="*/ 2314937 h 6078415"/>
                <a:gd name="connsiteX1912" fmla="*/ 2949889 w 11685910"/>
                <a:gd name="connsiteY1912" fmla="*/ 2292639 h 6078415"/>
                <a:gd name="connsiteX1913" fmla="*/ 2950820 w 11685910"/>
                <a:gd name="connsiteY1913" fmla="*/ 2287831 h 6078415"/>
                <a:gd name="connsiteX1914" fmla="*/ 2952584 w 11685910"/>
                <a:gd name="connsiteY1914" fmla="*/ 2289753 h 6078415"/>
                <a:gd name="connsiteX1915" fmla="*/ 3024836 w 11685910"/>
                <a:gd name="connsiteY1915" fmla="*/ 2308022 h 6078415"/>
                <a:gd name="connsiteX1916" fmla="*/ 3036780 w 11685910"/>
                <a:gd name="connsiteY1916" fmla="*/ 2190112 h 6078415"/>
                <a:gd name="connsiteX1917" fmla="*/ 3027441 w 11685910"/>
                <a:gd name="connsiteY1917" fmla="*/ 2200889 h 6078415"/>
                <a:gd name="connsiteX1918" fmla="*/ 3013791 w 11685910"/>
                <a:gd name="connsiteY1918" fmla="*/ 2207803 h 6078415"/>
                <a:gd name="connsiteX1919" fmla="*/ 3005256 w 11685910"/>
                <a:gd name="connsiteY1919" fmla="*/ 2269010 h 6078415"/>
                <a:gd name="connsiteX1920" fmla="*/ 3003766 w 11685910"/>
                <a:gd name="connsiteY1920" fmla="*/ 2270186 h 6078415"/>
                <a:gd name="connsiteX1921" fmla="*/ 3004079 w 11685910"/>
                <a:gd name="connsiteY1921" fmla="*/ 2269581 h 6078415"/>
                <a:gd name="connsiteX1922" fmla="*/ 3007325 w 11685910"/>
                <a:gd name="connsiteY1922" fmla="*/ 2250369 h 6078415"/>
                <a:gd name="connsiteX1923" fmla="*/ 2994663 w 11685910"/>
                <a:gd name="connsiteY1923" fmla="*/ 2252794 h 6078415"/>
                <a:gd name="connsiteX1924" fmla="*/ 2996010 w 11685910"/>
                <a:gd name="connsiteY1924" fmla="*/ 2242287 h 6078415"/>
                <a:gd name="connsiteX1925" fmla="*/ 2984156 w 11685910"/>
                <a:gd name="connsiteY1925" fmla="*/ 2242197 h 6078415"/>
                <a:gd name="connsiteX1926" fmla="*/ 2987569 w 11685910"/>
                <a:gd name="connsiteY1926" fmla="*/ 2234385 h 6078415"/>
                <a:gd name="connsiteX1927" fmla="*/ 2980716 w 11685910"/>
                <a:gd name="connsiteY1927" fmla="*/ 2231219 h 6078415"/>
                <a:gd name="connsiteX1928" fmla="*/ 2978816 w 11685910"/>
                <a:gd name="connsiteY1928" fmla="*/ 2231232 h 6078415"/>
                <a:gd name="connsiteX1929" fmla="*/ 2980378 w 11685910"/>
                <a:gd name="connsiteY1929" fmla="*/ 2230671 h 6078415"/>
                <a:gd name="connsiteX1930" fmla="*/ 2982719 w 11685910"/>
                <a:gd name="connsiteY1930" fmla="*/ 2229984 h 6078415"/>
                <a:gd name="connsiteX1931" fmla="*/ 2994034 w 11685910"/>
                <a:gd name="connsiteY1931" fmla="*/ 2227380 h 6078415"/>
                <a:gd name="connsiteX1932" fmla="*/ 2982539 w 11685910"/>
                <a:gd name="connsiteY1932" fmla="*/ 2212742 h 6078415"/>
                <a:gd name="connsiteX1933" fmla="*/ 2970559 w 11685910"/>
                <a:gd name="connsiteY1933" fmla="*/ 2211273 h 6078415"/>
                <a:gd name="connsiteX1934" fmla="*/ 2969453 w 11685910"/>
                <a:gd name="connsiteY1934" fmla="*/ 2211214 h 6078415"/>
                <a:gd name="connsiteX1935" fmla="*/ 2969462 w 11685910"/>
                <a:gd name="connsiteY1935" fmla="*/ 2211191 h 6078415"/>
                <a:gd name="connsiteX1936" fmla="*/ 2977242 w 11685910"/>
                <a:gd name="connsiteY1936" fmla="*/ 2208791 h 6078415"/>
                <a:gd name="connsiteX1937" fmla="*/ 2934585 w 11685910"/>
                <a:gd name="connsiteY1937" fmla="*/ 2182659 h 6078415"/>
                <a:gd name="connsiteX1938" fmla="*/ 2884117 w 11685910"/>
                <a:gd name="connsiteY1938" fmla="*/ 2206277 h 6078415"/>
                <a:gd name="connsiteX1939" fmla="*/ 2898349 w 11685910"/>
                <a:gd name="connsiteY1939" fmla="*/ 2206604 h 6078415"/>
                <a:gd name="connsiteX1940" fmla="*/ 2898926 w 11685910"/>
                <a:gd name="connsiteY1940" fmla="*/ 2206687 h 6078415"/>
                <a:gd name="connsiteX1941" fmla="*/ 2896516 w 11685910"/>
                <a:gd name="connsiteY1941" fmla="*/ 2207342 h 6078415"/>
                <a:gd name="connsiteX1942" fmla="*/ 2871918 w 11685910"/>
                <a:gd name="connsiteY1942" fmla="*/ 2212459 h 6078415"/>
                <a:gd name="connsiteX1943" fmla="*/ 2825442 w 11685910"/>
                <a:gd name="connsiteY1943" fmla="*/ 2272744 h 6078415"/>
                <a:gd name="connsiteX1944" fmla="*/ 2839423 w 11685910"/>
                <a:gd name="connsiteY1944" fmla="*/ 2294856 h 6078415"/>
                <a:gd name="connsiteX1945" fmla="*/ 2853929 w 11685910"/>
                <a:gd name="connsiteY1945" fmla="*/ 2278318 h 6078415"/>
                <a:gd name="connsiteX1946" fmla="*/ 2836957 w 11685910"/>
                <a:gd name="connsiteY1946" fmla="*/ 2313424 h 6078415"/>
                <a:gd name="connsiteX1947" fmla="*/ 2852886 w 11685910"/>
                <a:gd name="connsiteY1947" fmla="*/ 2322805 h 6078415"/>
                <a:gd name="connsiteX1948" fmla="*/ 2880041 w 11685910"/>
                <a:gd name="connsiteY1948" fmla="*/ 2309362 h 6078415"/>
                <a:gd name="connsiteX1949" fmla="*/ 2897449 w 11685910"/>
                <a:gd name="connsiteY1949" fmla="*/ 2307621 h 6078415"/>
                <a:gd name="connsiteX1950" fmla="*/ 2903687 w 11685910"/>
                <a:gd name="connsiteY1950" fmla="*/ 2238571 h 6078415"/>
                <a:gd name="connsiteX1951" fmla="*/ 2904412 w 11685910"/>
                <a:gd name="connsiteY1951" fmla="*/ 2316470 h 6078415"/>
                <a:gd name="connsiteX1952" fmla="*/ 2902304 w 11685910"/>
                <a:gd name="connsiteY1952" fmla="*/ 2316125 h 6078415"/>
                <a:gd name="connsiteX1953" fmla="*/ 2899635 w 11685910"/>
                <a:gd name="connsiteY1953" fmla="*/ 2315442 h 6078415"/>
                <a:gd name="connsiteX1954" fmla="*/ 2896902 w 11685910"/>
                <a:gd name="connsiteY1954" fmla="*/ 2315016 h 6078415"/>
                <a:gd name="connsiteX1955" fmla="*/ 2896135 w 11685910"/>
                <a:gd name="connsiteY1955" fmla="*/ 2314838 h 6078415"/>
                <a:gd name="connsiteX1956" fmla="*/ 2889365 w 11685910"/>
                <a:gd name="connsiteY1956" fmla="*/ 2314609 h 6078415"/>
                <a:gd name="connsiteX1957" fmla="*/ 2888379 w 11685910"/>
                <a:gd name="connsiteY1957" fmla="*/ 2314839 h 6078415"/>
                <a:gd name="connsiteX1958" fmla="*/ 2887783 w 11685910"/>
                <a:gd name="connsiteY1958" fmla="*/ 2314890 h 6078415"/>
                <a:gd name="connsiteX1959" fmla="*/ 2848555 w 11685910"/>
                <a:gd name="connsiteY1959" fmla="*/ 2330832 h 6078415"/>
                <a:gd name="connsiteX1960" fmla="*/ 2826215 w 11685910"/>
                <a:gd name="connsiteY1960" fmla="*/ 2313113 h 6078415"/>
                <a:gd name="connsiteX1961" fmla="*/ 2825757 w 11685910"/>
                <a:gd name="connsiteY1961" fmla="*/ 2312519 h 6078415"/>
                <a:gd name="connsiteX1962" fmla="*/ 2827479 w 11685910"/>
                <a:gd name="connsiteY1962" fmla="*/ 2309642 h 6078415"/>
                <a:gd name="connsiteX1963" fmla="*/ 2833558 w 11685910"/>
                <a:gd name="connsiteY1963" fmla="*/ 2300838 h 6078415"/>
                <a:gd name="connsiteX1964" fmla="*/ 2816496 w 11685910"/>
                <a:gd name="connsiteY1964" fmla="*/ 2273807 h 6078415"/>
                <a:gd name="connsiteX1965" fmla="*/ 2846759 w 11685910"/>
                <a:gd name="connsiteY1965" fmla="*/ 2227649 h 6078415"/>
                <a:gd name="connsiteX1966" fmla="*/ 2766704 w 11685910"/>
                <a:gd name="connsiteY1966" fmla="*/ 2275031 h 6078415"/>
                <a:gd name="connsiteX1967" fmla="*/ 2763080 w 11685910"/>
                <a:gd name="connsiteY1967" fmla="*/ 2271768 h 6078415"/>
                <a:gd name="connsiteX1968" fmla="*/ 2764140 w 11685910"/>
                <a:gd name="connsiteY1968" fmla="*/ 2271173 h 6078415"/>
                <a:gd name="connsiteX1969" fmla="*/ 2768093 w 11685910"/>
                <a:gd name="connsiteY1969" fmla="*/ 2251267 h 6078415"/>
                <a:gd name="connsiteX1970" fmla="*/ 2757610 w 11685910"/>
                <a:gd name="connsiteY1970" fmla="*/ 2261359 h 6078415"/>
                <a:gd name="connsiteX1971" fmla="*/ 2758523 w 11685910"/>
                <a:gd name="connsiteY1971" fmla="*/ 2254460 h 6078415"/>
                <a:gd name="connsiteX1972" fmla="*/ 2772168 w 11685910"/>
                <a:gd name="connsiteY1972" fmla="*/ 2245905 h 6078415"/>
                <a:gd name="connsiteX1973" fmla="*/ 2772168 w 11685910"/>
                <a:gd name="connsiteY1973" fmla="*/ 2269731 h 6078415"/>
                <a:gd name="connsiteX1974" fmla="*/ 2848509 w 11685910"/>
                <a:gd name="connsiteY1974" fmla="*/ 2221349 h 6078415"/>
                <a:gd name="connsiteX1975" fmla="*/ 2871120 w 11685910"/>
                <a:gd name="connsiteY1975" fmla="*/ 2204817 h 6078415"/>
                <a:gd name="connsiteX1976" fmla="*/ 2877156 w 11685910"/>
                <a:gd name="connsiteY1976" fmla="*/ 2204184 h 6078415"/>
                <a:gd name="connsiteX1977" fmla="*/ 2877855 w 11685910"/>
                <a:gd name="connsiteY1977" fmla="*/ 2202687 h 6078415"/>
                <a:gd name="connsiteX1978" fmla="*/ 2897135 w 11685910"/>
                <a:gd name="connsiteY1978" fmla="*/ 2184151 h 6078415"/>
                <a:gd name="connsiteX1979" fmla="*/ 2932806 w 11685910"/>
                <a:gd name="connsiteY1979" fmla="*/ 2176097 h 6078415"/>
                <a:gd name="connsiteX1980" fmla="*/ 11424848 w 11685910"/>
                <a:gd name="connsiteY1980" fmla="*/ 1933898 h 6078415"/>
                <a:gd name="connsiteX1981" fmla="*/ 11414386 w 11685910"/>
                <a:gd name="connsiteY1981" fmla="*/ 1982027 h 6078415"/>
                <a:gd name="connsiteX1982" fmla="*/ 11457109 w 11685910"/>
                <a:gd name="connsiteY1982" fmla="*/ 1982027 h 6078415"/>
                <a:gd name="connsiteX1983" fmla="*/ 11467397 w 11685910"/>
                <a:gd name="connsiteY1983" fmla="*/ 1933898 h 6078415"/>
                <a:gd name="connsiteX1984" fmla="*/ 5360511 w 11685910"/>
                <a:gd name="connsiteY1984" fmla="*/ 1933898 h 6078415"/>
                <a:gd name="connsiteX1985" fmla="*/ 5350048 w 11685910"/>
                <a:gd name="connsiteY1985" fmla="*/ 1982027 h 6078415"/>
                <a:gd name="connsiteX1986" fmla="*/ 5392771 w 11685910"/>
                <a:gd name="connsiteY1986" fmla="*/ 1982027 h 6078415"/>
                <a:gd name="connsiteX1987" fmla="*/ 5403060 w 11685910"/>
                <a:gd name="connsiteY1987" fmla="*/ 1933898 h 6078415"/>
                <a:gd name="connsiteX1988" fmla="*/ 11211940 w 11685910"/>
                <a:gd name="connsiteY1988" fmla="*/ 1847981 h 6078415"/>
                <a:gd name="connsiteX1989" fmla="*/ 11266626 w 11685910"/>
                <a:gd name="connsiteY1989" fmla="*/ 1887002 h 6078415"/>
                <a:gd name="connsiteX1990" fmla="*/ 11266626 w 11685910"/>
                <a:gd name="connsiteY1990" fmla="*/ 1923363 h 6078415"/>
                <a:gd name="connsiteX1991" fmla="*/ 11290570 w 11685910"/>
                <a:gd name="connsiteY1991" fmla="*/ 1950223 h 6078415"/>
                <a:gd name="connsiteX1992" fmla="*/ 11290570 w 11685910"/>
                <a:gd name="connsiteY1992" fmla="*/ 1968719 h 6078415"/>
                <a:gd name="connsiteX1993" fmla="*/ 11266626 w 11685910"/>
                <a:gd name="connsiteY1993" fmla="*/ 1995072 h 6078415"/>
                <a:gd name="connsiteX1994" fmla="*/ 11266626 w 11685910"/>
                <a:gd name="connsiteY1994" fmla="*/ 2032446 h 6078415"/>
                <a:gd name="connsiteX1995" fmla="*/ 11211940 w 11685910"/>
                <a:gd name="connsiteY1995" fmla="*/ 2070961 h 6078415"/>
                <a:gd name="connsiteX1996" fmla="*/ 11211940 w 11685910"/>
                <a:gd name="connsiteY1996" fmla="*/ 2051450 h 6078415"/>
                <a:gd name="connsiteX1997" fmla="*/ 11231018 w 11685910"/>
                <a:gd name="connsiteY1997" fmla="*/ 2045369 h 6078415"/>
                <a:gd name="connsiteX1998" fmla="*/ 11236657 w 11685910"/>
                <a:gd name="connsiteY1998" fmla="*/ 2026112 h 6078415"/>
                <a:gd name="connsiteX1999" fmla="*/ 11236657 w 11685910"/>
                <a:gd name="connsiteY1999" fmla="*/ 1990764 h 6078415"/>
                <a:gd name="connsiteX2000" fmla="*/ 11267089 w 11685910"/>
                <a:gd name="connsiteY2000" fmla="*/ 1959471 h 6078415"/>
                <a:gd name="connsiteX2001" fmla="*/ 11267089 w 11685910"/>
                <a:gd name="connsiteY2001" fmla="*/ 1959091 h 6078415"/>
                <a:gd name="connsiteX2002" fmla="*/ 11236657 w 11685910"/>
                <a:gd name="connsiteY2002" fmla="*/ 1927544 h 6078415"/>
                <a:gd name="connsiteX2003" fmla="*/ 11236657 w 11685910"/>
                <a:gd name="connsiteY2003" fmla="*/ 1891817 h 6078415"/>
                <a:gd name="connsiteX2004" fmla="*/ 11211940 w 11685910"/>
                <a:gd name="connsiteY2004" fmla="*/ 1867619 h 6078415"/>
                <a:gd name="connsiteX2005" fmla="*/ 11190621 w 11685910"/>
                <a:gd name="connsiteY2005" fmla="*/ 1847981 h 6078415"/>
                <a:gd name="connsiteX2006" fmla="*/ 11190621 w 11685910"/>
                <a:gd name="connsiteY2006" fmla="*/ 1867619 h 6078415"/>
                <a:gd name="connsiteX2007" fmla="*/ 11166059 w 11685910"/>
                <a:gd name="connsiteY2007" fmla="*/ 1891817 h 6078415"/>
                <a:gd name="connsiteX2008" fmla="*/ 11166059 w 11685910"/>
                <a:gd name="connsiteY2008" fmla="*/ 1927544 h 6078415"/>
                <a:gd name="connsiteX2009" fmla="*/ 11135318 w 11685910"/>
                <a:gd name="connsiteY2009" fmla="*/ 1959091 h 6078415"/>
                <a:gd name="connsiteX2010" fmla="*/ 11135318 w 11685910"/>
                <a:gd name="connsiteY2010" fmla="*/ 1959471 h 6078415"/>
                <a:gd name="connsiteX2011" fmla="*/ 11166059 w 11685910"/>
                <a:gd name="connsiteY2011" fmla="*/ 1990764 h 6078415"/>
                <a:gd name="connsiteX2012" fmla="*/ 11166059 w 11685910"/>
                <a:gd name="connsiteY2012" fmla="*/ 2026112 h 6078415"/>
                <a:gd name="connsiteX2013" fmla="*/ 11171543 w 11685910"/>
                <a:gd name="connsiteY2013" fmla="*/ 2045433 h 6078415"/>
                <a:gd name="connsiteX2014" fmla="*/ 11190621 w 11685910"/>
                <a:gd name="connsiteY2014" fmla="*/ 2051450 h 6078415"/>
                <a:gd name="connsiteX2015" fmla="*/ 11190621 w 11685910"/>
                <a:gd name="connsiteY2015" fmla="*/ 2070961 h 6078415"/>
                <a:gd name="connsiteX2016" fmla="*/ 11135627 w 11685910"/>
                <a:gd name="connsiteY2016" fmla="*/ 2032446 h 6078415"/>
                <a:gd name="connsiteX2017" fmla="*/ 11135627 w 11685910"/>
                <a:gd name="connsiteY2017" fmla="*/ 1995072 h 6078415"/>
                <a:gd name="connsiteX2018" fmla="*/ 11111528 w 11685910"/>
                <a:gd name="connsiteY2018" fmla="*/ 1968719 h 6078415"/>
                <a:gd name="connsiteX2019" fmla="*/ 11111528 w 11685910"/>
                <a:gd name="connsiteY2019" fmla="*/ 1950223 h 6078415"/>
                <a:gd name="connsiteX2020" fmla="*/ 11135627 w 11685910"/>
                <a:gd name="connsiteY2020" fmla="*/ 1923363 h 6078415"/>
                <a:gd name="connsiteX2021" fmla="*/ 11135627 w 11685910"/>
                <a:gd name="connsiteY2021" fmla="*/ 1887002 h 6078415"/>
                <a:gd name="connsiteX2022" fmla="*/ 11190621 w 11685910"/>
                <a:gd name="connsiteY2022" fmla="*/ 1847981 h 6078415"/>
                <a:gd name="connsiteX2023" fmla="*/ 8161190 w 11685910"/>
                <a:gd name="connsiteY2023" fmla="*/ 1847981 h 6078415"/>
                <a:gd name="connsiteX2024" fmla="*/ 8215876 w 11685910"/>
                <a:gd name="connsiteY2024" fmla="*/ 1887002 h 6078415"/>
                <a:gd name="connsiteX2025" fmla="*/ 8215876 w 11685910"/>
                <a:gd name="connsiteY2025" fmla="*/ 1923363 h 6078415"/>
                <a:gd name="connsiteX2026" fmla="*/ 8239820 w 11685910"/>
                <a:gd name="connsiteY2026" fmla="*/ 1950223 h 6078415"/>
                <a:gd name="connsiteX2027" fmla="*/ 8239820 w 11685910"/>
                <a:gd name="connsiteY2027" fmla="*/ 1968719 h 6078415"/>
                <a:gd name="connsiteX2028" fmla="*/ 8215876 w 11685910"/>
                <a:gd name="connsiteY2028" fmla="*/ 1995072 h 6078415"/>
                <a:gd name="connsiteX2029" fmla="*/ 8215876 w 11685910"/>
                <a:gd name="connsiteY2029" fmla="*/ 2032446 h 6078415"/>
                <a:gd name="connsiteX2030" fmla="*/ 8161190 w 11685910"/>
                <a:gd name="connsiteY2030" fmla="*/ 2070961 h 6078415"/>
                <a:gd name="connsiteX2031" fmla="*/ 8161190 w 11685910"/>
                <a:gd name="connsiteY2031" fmla="*/ 2051450 h 6078415"/>
                <a:gd name="connsiteX2032" fmla="*/ 8180268 w 11685910"/>
                <a:gd name="connsiteY2032" fmla="*/ 2045369 h 6078415"/>
                <a:gd name="connsiteX2033" fmla="*/ 8185907 w 11685910"/>
                <a:gd name="connsiteY2033" fmla="*/ 2026112 h 6078415"/>
                <a:gd name="connsiteX2034" fmla="*/ 8185907 w 11685910"/>
                <a:gd name="connsiteY2034" fmla="*/ 1990764 h 6078415"/>
                <a:gd name="connsiteX2035" fmla="*/ 8216339 w 11685910"/>
                <a:gd name="connsiteY2035" fmla="*/ 1959471 h 6078415"/>
                <a:gd name="connsiteX2036" fmla="*/ 8216339 w 11685910"/>
                <a:gd name="connsiteY2036" fmla="*/ 1959091 h 6078415"/>
                <a:gd name="connsiteX2037" fmla="*/ 8185907 w 11685910"/>
                <a:gd name="connsiteY2037" fmla="*/ 1927544 h 6078415"/>
                <a:gd name="connsiteX2038" fmla="*/ 8185907 w 11685910"/>
                <a:gd name="connsiteY2038" fmla="*/ 1891817 h 6078415"/>
                <a:gd name="connsiteX2039" fmla="*/ 8161190 w 11685910"/>
                <a:gd name="connsiteY2039" fmla="*/ 1867619 h 6078415"/>
                <a:gd name="connsiteX2040" fmla="*/ 8139871 w 11685910"/>
                <a:gd name="connsiteY2040" fmla="*/ 1847981 h 6078415"/>
                <a:gd name="connsiteX2041" fmla="*/ 8139871 w 11685910"/>
                <a:gd name="connsiteY2041" fmla="*/ 1867619 h 6078415"/>
                <a:gd name="connsiteX2042" fmla="*/ 8115310 w 11685910"/>
                <a:gd name="connsiteY2042" fmla="*/ 1891817 h 6078415"/>
                <a:gd name="connsiteX2043" fmla="*/ 8115310 w 11685910"/>
                <a:gd name="connsiteY2043" fmla="*/ 1927544 h 6078415"/>
                <a:gd name="connsiteX2044" fmla="*/ 8084568 w 11685910"/>
                <a:gd name="connsiteY2044" fmla="*/ 1959091 h 6078415"/>
                <a:gd name="connsiteX2045" fmla="*/ 8084568 w 11685910"/>
                <a:gd name="connsiteY2045" fmla="*/ 1959471 h 6078415"/>
                <a:gd name="connsiteX2046" fmla="*/ 8115310 w 11685910"/>
                <a:gd name="connsiteY2046" fmla="*/ 1990764 h 6078415"/>
                <a:gd name="connsiteX2047" fmla="*/ 8115310 w 11685910"/>
                <a:gd name="connsiteY2047" fmla="*/ 2026112 h 6078415"/>
                <a:gd name="connsiteX2048" fmla="*/ 8120793 w 11685910"/>
                <a:gd name="connsiteY2048" fmla="*/ 2045433 h 6078415"/>
                <a:gd name="connsiteX2049" fmla="*/ 8139871 w 11685910"/>
                <a:gd name="connsiteY2049" fmla="*/ 2051450 h 6078415"/>
                <a:gd name="connsiteX2050" fmla="*/ 8139871 w 11685910"/>
                <a:gd name="connsiteY2050" fmla="*/ 2070961 h 6078415"/>
                <a:gd name="connsiteX2051" fmla="*/ 8084877 w 11685910"/>
                <a:gd name="connsiteY2051" fmla="*/ 2032446 h 6078415"/>
                <a:gd name="connsiteX2052" fmla="*/ 8084877 w 11685910"/>
                <a:gd name="connsiteY2052" fmla="*/ 1995072 h 6078415"/>
                <a:gd name="connsiteX2053" fmla="*/ 8060778 w 11685910"/>
                <a:gd name="connsiteY2053" fmla="*/ 1968719 h 6078415"/>
                <a:gd name="connsiteX2054" fmla="*/ 8060778 w 11685910"/>
                <a:gd name="connsiteY2054" fmla="*/ 1950223 h 6078415"/>
                <a:gd name="connsiteX2055" fmla="*/ 8084877 w 11685910"/>
                <a:gd name="connsiteY2055" fmla="*/ 1923363 h 6078415"/>
                <a:gd name="connsiteX2056" fmla="*/ 8084877 w 11685910"/>
                <a:gd name="connsiteY2056" fmla="*/ 1887002 h 6078415"/>
                <a:gd name="connsiteX2057" fmla="*/ 8139871 w 11685910"/>
                <a:gd name="connsiteY2057" fmla="*/ 1847981 h 6078415"/>
                <a:gd name="connsiteX2058" fmla="*/ 5151280 w 11685910"/>
                <a:gd name="connsiteY2058" fmla="*/ 1847981 h 6078415"/>
                <a:gd name="connsiteX2059" fmla="*/ 5205966 w 11685910"/>
                <a:gd name="connsiteY2059" fmla="*/ 1887002 h 6078415"/>
                <a:gd name="connsiteX2060" fmla="*/ 5205966 w 11685910"/>
                <a:gd name="connsiteY2060" fmla="*/ 1923363 h 6078415"/>
                <a:gd name="connsiteX2061" fmla="*/ 5229911 w 11685910"/>
                <a:gd name="connsiteY2061" fmla="*/ 1950223 h 6078415"/>
                <a:gd name="connsiteX2062" fmla="*/ 5229911 w 11685910"/>
                <a:gd name="connsiteY2062" fmla="*/ 1968719 h 6078415"/>
                <a:gd name="connsiteX2063" fmla="*/ 5205966 w 11685910"/>
                <a:gd name="connsiteY2063" fmla="*/ 1995072 h 6078415"/>
                <a:gd name="connsiteX2064" fmla="*/ 5205966 w 11685910"/>
                <a:gd name="connsiteY2064" fmla="*/ 2032446 h 6078415"/>
                <a:gd name="connsiteX2065" fmla="*/ 5151280 w 11685910"/>
                <a:gd name="connsiteY2065" fmla="*/ 2070961 h 6078415"/>
                <a:gd name="connsiteX2066" fmla="*/ 5151280 w 11685910"/>
                <a:gd name="connsiteY2066" fmla="*/ 2051450 h 6078415"/>
                <a:gd name="connsiteX2067" fmla="*/ 5170358 w 11685910"/>
                <a:gd name="connsiteY2067" fmla="*/ 2045369 h 6078415"/>
                <a:gd name="connsiteX2068" fmla="*/ 5175999 w 11685910"/>
                <a:gd name="connsiteY2068" fmla="*/ 2026112 h 6078415"/>
                <a:gd name="connsiteX2069" fmla="*/ 5175999 w 11685910"/>
                <a:gd name="connsiteY2069" fmla="*/ 1990764 h 6078415"/>
                <a:gd name="connsiteX2070" fmla="*/ 5206429 w 11685910"/>
                <a:gd name="connsiteY2070" fmla="*/ 1959471 h 6078415"/>
                <a:gd name="connsiteX2071" fmla="*/ 5206429 w 11685910"/>
                <a:gd name="connsiteY2071" fmla="*/ 1959091 h 6078415"/>
                <a:gd name="connsiteX2072" fmla="*/ 5175999 w 11685910"/>
                <a:gd name="connsiteY2072" fmla="*/ 1927544 h 6078415"/>
                <a:gd name="connsiteX2073" fmla="*/ 5175999 w 11685910"/>
                <a:gd name="connsiteY2073" fmla="*/ 1891817 h 6078415"/>
                <a:gd name="connsiteX2074" fmla="*/ 5151280 w 11685910"/>
                <a:gd name="connsiteY2074" fmla="*/ 1867619 h 6078415"/>
                <a:gd name="connsiteX2075" fmla="*/ 5129963 w 11685910"/>
                <a:gd name="connsiteY2075" fmla="*/ 1847981 h 6078415"/>
                <a:gd name="connsiteX2076" fmla="*/ 5129963 w 11685910"/>
                <a:gd name="connsiteY2076" fmla="*/ 1867619 h 6078415"/>
                <a:gd name="connsiteX2077" fmla="*/ 5105400 w 11685910"/>
                <a:gd name="connsiteY2077" fmla="*/ 1891817 h 6078415"/>
                <a:gd name="connsiteX2078" fmla="*/ 5105400 w 11685910"/>
                <a:gd name="connsiteY2078" fmla="*/ 1927544 h 6078415"/>
                <a:gd name="connsiteX2079" fmla="*/ 5074658 w 11685910"/>
                <a:gd name="connsiteY2079" fmla="*/ 1959091 h 6078415"/>
                <a:gd name="connsiteX2080" fmla="*/ 5074658 w 11685910"/>
                <a:gd name="connsiteY2080" fmla="*/ 1959471 h 6078415"/>
                <a:gd name="connsiteX2081" fmla="*/ 5105400 w 11685910"/>
                <a:gd name="connsiteY2081" fmla="*/ 1990764 h 6078415"/>
                <a:gd name="connsiteX2082" fmla="*/ 5105400 w 11685910"/>
                <a:gd name="connsiteY2082" fmla="*/ 2026112 h 6078415"/>
                <a:gd name="connsiteX2083" fmla="*/ 5110885 w 11685910"/>
                <a:gd name="connsiteY2083" fmla="*/ 2045433 h 6078415"/>
                <a:gd name="connsiteX2084" fmla="*/ 5129963 w 11685910"/>
                <a:gd name="connsiteY2084" fmla="*/ 2051450 h 6078415"/>
                <a:gd name="connsiteX2085" fmla="*/ 5129963 w 11685910"/>
                <a:gd name="connsiteY2085" fmla="*/ 2070961 h 6078415"/>
                <a:gd name="connsiteX2086" fmla="*/ 5074967 w 11685910"/>
                <a:gd name="connsiteY2086" fmla="*/ 2032446 h 6078415"/>
                <a:gd name="connsiteX2087" fmla="*/ 5074967 w 11685910"/>
                <a:gd name="connsiteY2087" fmla="*/ 1995072 h 6078415"/>
                <a:gd name="connsiteX2088" fmla="*/ 5050869 w 11685910"/>
                <a:gd name="connsiteY2088" fmla="*/ 1968719 h 6078415"/>
                <a:gd name="connsiteX2089" fmla="*/ 5050869 w 11685910"/>
                <a:gd name="connsiteY2089" fmla="*/ 1950223 h 6078415"/>
                <a:gd name="connsiteX2090" fmla="*/ 5074967 w 11685910"/>
                <a:gd name="connsiteY2090" fmla="*/ 1923363 h 6078415"/>
                <a:gd name="connsiteX2091" fmla="*/ 5074967 w 11685910"/>
                <a:gd name="connsiteY2091" fmla="*/ 1887002 h 6078415"/>
                <a:gd name="connsiteX2092" fmla="*/ 5129963 w 11685910"/>
                <a:gd name="connsiteY2092" fmla="*/ 1847981 h 6078415"/>
                <a:gd name="connsiteX2093" fmla="*/ 2097668 w 11685910"/>
                <a:gd name="connsiteY2093" fmla="*/ 1847981 h 6078415"/>
                <a:gd name="connsiteX2094" fmla="*/ 2152352 w 11685910"/>
                <a:gd name="connsiteY2094" fmla="*/ 1887002 h 6078415"/>
                <a:gd name="connsiteX2095" fmla="*/ 2152352 w 11685910"/>
                <a:gd name="connsiteY2095" fmla="*/ 1923363 h 6078415"/>
                <a:gd name="connsiteX2096" fmla="*/ 2176297 w 11685910"/>
                <a:gd name="connsiteY2096" fmla="*/ 1950223 h 6078415"/>
                <a:gd name="connsiteX2097" fmla="*/ 2176297 w 11685910"/>
                <a:gd name="connsiteY2097" fmla="*/ 1968719 h 6078415"/>
                <a:gd name="connsiteX2098" fmla="*/ 2152352 w 11685910"/>
                <a:gd name="connsiteY2098" fmla="*/ 1995072 h 6078415"/>
                <a:gd name="connsiteX2099" fmla="*/ 2152352 w 11685910"/>
                <a:gd name="connsiteY2099" fmla="*/ 2032446 h 6078415"/>
                <a:gd name="connsiteX2100" fmla="*/ 2097668 w 11685910"/>
                <a:gd name="connsiteY2100" fmla="*/ 2070961 h 6078415"/>
                <a:gd name="connsiteX2101" fmla="*/ 2097668 w 11685910"/>
                <a:gd name="connsiteY2101" fmla="*/ 2051450 h 6078415"/>
                <a:gd name="connsiteX2102" fmla="*/ 2116745 w 11685910"/>
                <a:gd name="connsiteY2102" fmla="*/ 2045369 h 6078415"/>
                <a:gd name="connsiteX2103" fmla="*/ 2122383 w 11685910"/>
                <a:gd name="connsiteY2103" fmla="*/ 2026112 h 6078415"/>
                <a:gd name="connsiteX2104" fmla="*/ 2122383 w 11685910"/>
                <a:gd name="connsiteY2104" fmla="*/ 1990764 h 6078415"/>
                <a:gd name="connsiteX2105" fmla="*/ 2152815 w 11685910"/>
                <a:gd name="connsiteY2105" fmla="*/ 1959471 h 6078415"/>
                <a:gd name="connsiteX2106" fmla="*/ 2152815 w 11685910"/>
                <a:gd name="connsiteY2106" fmla="*/ 1959091 h 6078415"/>
                <a:gd name="connsiteX2107" fmla="*/ 2122383 w 11685910"/>
                <a:gd name="connsiteY2107" fmla="*/ 1927544 h 6078415"/>
                <a:gd name="connsiteX2108" fmla="*/ 2122383 w 11685910"/>
                <a:gd name="connsiteY2108" fmla="*/ 1891817 h 6078415"/>
                <a:gd name="connsiteX2109" fmla="*/ 2097668 w 11685910"/>
                <a:gd name="connsiteY2109" fmla="*/ 1867619 h 6078415"/>
                <a:gd name="connsiteX2110" fmla="*/ 2076347 w 11685910"/>
                <a:gd name="connsiteY2110" fmla="*/ 1847981 h 6078415"/>
                <a:gd name="connsiteX2111" fmla="*/ 2076347 w 11685910"/>
                <a:gd name="connsiteY2111" fmla="*/ 1867619 h 6078415"/>
                <a:gd name="connsiteX2112" fmla="*/ 2051785 w 11685910"/>
                <a:gd name="connsiteY2112" fmla="*/ 1891817 h 6078415"/>
                <a:gd name="connsiteX2113" fmla="*/ 2051785 w 11685910"/>
                <a:gd name="connsiteY2113" fmla="*/ 1927544 h 6078415"/>
                <a:gd name="connsiteX2114" fmla="*/ 2021044 w 11685910"/>
                <a:gd name="connsiteY2114" fmla="*/ 1959091 h 6078415"/>
                <a:gd name="connsiteX2115" fmla="*/ 2021044 w 11685910"/>
                <a:gd name="connsiteY2115" fmla="*/ 1959471 h 6078415"/>
                <a:gd name="connsiteX2116" fmla="*/ 2051785 w 11685910"/>
                <a:gd name="connsiteY2116" fmla="*/ 1990764 h 6078415"/>
                <a:gd name="connsiteX2117" fmla="*/ 2051785 w 11685910"/>
                <a:gd name="connsiteY2117" fmla="*/ 2026112 h 6078415"/>
                <a:gd name="connsiteX2118" fmla="*/ 2057270 w 11685910"/>
                <a:gd name="connsiteY2118" fmla="*/ 2045433 h 6078415"/>
                <a:gd name="connsiteX2119" fmla="*/ 2076347 w 11685910"/>
                <a:gd name="connsiteY2119" fmla="*/ 2051450 h 6078415"/>
                <a:gd name="connsiteX2120" fmla="*/ 2076347 w 11685910"/>
                <a:gd name="connsiteY2120" fmla="*/ 2070961 h 6078415"/>
                <a:gd name="connsiteX2121" fmla="*/ 2021353 w 11685910"/>
                <a:gd name="connsiteY2121" fmla="*/ 2032446 h 6078415"/>
                <a:gd name="connsiteX2122" fmla="*/ 2021353 w 11685910"/>
                <a:gd name="connsiteY2122" fmla="*/ 1995072 h 6078415"/>
                <a:gd name="connsiteX2123" fmla="*/ 1997254 w 11685910"/>
                <a:gd name="connsiteY2123" fmla="*/ 1968719 h 6078415"/>
                <a:gd name="connsiteX2124" fmla="*/ 1997254 w 11685910"/>
                <a:gd name="connsiteY2124" fmla="*/ 1950223 h 6078415"/>
                <a:gd name="connsiteX2125" fmla="*/ 2021353 w 11685910"/>
                <a:gd name="connsiteY2125" fmla="*/ 1923363 h 6078415"/>
                <a:gd name="connsiteX2126" fmla="*/ 2021353 w 11685910"/>
                <a:gd name="connsiteY2126" fmla="*/ 1887002 h 6078415"/>
                <a:gd name="connsiteX2127" fmla="*/ 2076347 w 11685910"/>
                <a:gd name="connsiteY2127" fmla="*/ 1847981 h 6078415"/>
                <a:gd name="connsiteX2128" fmla="*/ 11415781 w 11685910"/>
                <a:gd name="connsiteY2128" fmla="*/ 1842347 h 6078415"/>
                <a:gd name="connsiteX2129" fmla="*/ 11443856 w 11685910"/>
                <a:gd name="connsiteY2129" fmla="*/ 1842347 h 6078415"/>
                <a:gd name="connsiteX2130" fmla="*/ 11430080 w 11685910"/>
                <a:gd name="connsiteY2130" fmla="*/ 1909484 h 6078415"/>
                <a:gd name="connsiteX2131" fmla="*/ 11472280 w 11685910"/>
                <a:gd name="connsiteY2131" fmla="*/ 1909484 h 6078415"/>
                <a:gd name="connsiteX2132" fmla="*/ 11486579 w 11685910"/>
                <a:gd name="connsiteY2132" fmla="*/ 1842347 h 6078415"/>
                <a:gd name="connsiteX2133" fmla="*/ 11514132 w 11685910"/>
                <a:gd name="connsiteY2133" fmla="*/ 1842347 h 6078415"/>
                <a:gd name="connsiteX2134" fmla="*/ 11500181 w 11685910"/>
                <a:gd name="connsiteY2134" fmla="*/ 1909484 h 6078415"/>
                <a:gd name="connsiteX2135" fmla="*/ 11539940 w 11685910"/>
                <a:gd name="connsiteY2135" fmla="*/ 1909484 h 6078415"/>
                <a:gd name="connsiteX2136" fmla="*/ 11534534 w 11685910"/>
                <a:gd name="connsiteY2136" fmla="*/ 1933898 h 6078415"/>
                <a:gd name="connsiteX2137" fmla="*/ 11494950 w 11685910"/>
                <a:gd name="connsiteY2137" fmla="*/ 1933898 h 6078415"/>
                <a:gd name="connsiteX2138" fmla="*/ 11484836 w 11685910"/>
                <a:gd name="connsiteY2138" fmla="*/ 1982027 h 6078415"/>
                <a:gd name="connsiteX2139" fmla="*/ 11528082 w 11685910"/>
                <a:gd name="connsiteY2139" fmla="*/ 1982027 h 6078415"/>
                <a:gd name="connsiteX2140" fmla="*/ 11521978 w 11685910"/>
                <a:gd name="connsiteY2140" fmla="*/ 2006440 h 6078415"/>
                <a:gd name="connsiteX2141" fmla="*/ 11479779 w 11685910"/>
                <a:gd name="connsiteY2141" fmla="*/ 2006440 h 6078415"/>
                <a:gd name="connsiteX2142" fmla="*/ 11465479 w 11685910"/>
                <a:gd name="connsiteY2142" fmla="*/ 2070961 h 6078415"/>
                <a:gd name="connsiteX2143" fmla="*/ 11437752 w 11685910"/>
                <a:gd name="connsiteY2143" fmla="*/ 2070961 h 6078415"/>
                <a:gd name="connsiteX2144" fmla="*/ 11451703 w 11685910"/>
                <a:gd name="connsiteY2144" fmla="*/ 2006440 h 6078415"/>
                <a:gd name="connsiteX2145" fmla="*/ 11409503 w 11685910"/>
                <a:gd name="connsiteY2145" fmla="*/ 2006440 h 6078415"/>
                <a:gd name="connsiteX2146" fmla="*/ 11395901 w 11685910"/>
                <a:gd name="connsiteY2146" fmla="*/ 2070961 h 6078415"/>
                <a:gd name="connsiteX2147" fmla="*/ 11368175 w 11685910"/>
                <a:gd name="connsiteY2147" fmla="*/ 2070961 h 6078415"/>
                <a:gd name="connsiteX2148" fmla="*/ 11381776 w 11685910"/>
                <a:gd name="connsiteY2148" fmla="*/ 2006440 h 6078415"/>
                <a:gd name="connsiteX2149" fmla="*/ 11341843 w 11685910"/>
                <a:gd name="connsiteY2149" fmla="*/ 2006440 h 6078415"/>
                <a:gd name="connsiteX2150" fmla="*/ 11346725 w 11685910"/>
                <a:gd name="connsiteY2150" fmla="*/ 1982027 h 6078415"/>
                <a:gd name="connsiteX2151" fmla="*/ 11387182 w 11685910"/>
                <a:gd name="connsiteY2151" fmla="*/ 1982027 h 6078415"/>
                <a:gd name="connsiteX2152" fmla="*/ 11396773 w 11685910"/>
                <a:gd name="connsiteY2152" fmla="*/ 1933898 h 6078415"/>
                <a:gd name="connsiteX2153" fmla="*/ 11354224 w 11685910"/>
                <a:gd name="connsiteY2153" fmla="*/ 1933898 h 6078415"/>
                <a:gd name="connsiteX2154" fmla="*/ 11359281 w 11685910"/>
                <a:gd name="connsiteY2154" fmla="*/ 1909484 h 6078415"/>
                <a:gd name="connsiteX2155" fmla="*/ 11401830 w 11685910"/>
                <a:gd name="connsiteY2155" fmla="*/ 1909484 h 6078415"/>
                <a:gd name="connsiteX2156" fmla="*/ 5351443 w 11685910"/>
                <a:gd name="connsiteY2156" fmla="*/ 1842347 h 6078415"/>
                <a:gd name="connsiteX2157" fmla="*/ 5379518 w 11685910"/>
                <a:gd name="connsiteY2157" fmla="*/ 1842347 h 6078415"/>
                <a:gd name="connsiteX2158" fmla="*/ 5365742 w 11685910"/>
                <a:gd name="connsiteY2158" fmla="*/ 1909484 h 6078415"/>
                <a:gd name="connsiteX2159" fmla="*/ 5407943 w 11685910"/>
                <a:gd name="connsiteY2159" fmla="*/ 1909484 h 6078415"/>
                <a:gd name="connsiteX2160" fmla="*/ 5422241 w 11685910"/>
                <a:gd name="connsiteY2160" fmla="*/ 1842347 h 6078415"/>
                <a:gd name="connsiteX2161" fmla="*/ 5449794 w 11685910"/>
                <a:gd name="connsiteY2161" fmla="*/ 1842347 h 6078415"/>
                <a:gd name="connsiteX2162" fmla="*/ 5435844 w 11685910"/>
                <a:gd name="connsiteY2162" fmla="*/ 1909484 h 6078415"/>
                <a:gd name="connsiteX2163" fmla="*/ 5475602 w 11685910"/>
                <a:gd name="connsiteY2163" fmla="*/ 1909484 h 6078415"/>
                <a:gd name="connsiteX2164" fmla="*/ 5470197 w 11685910"/>
                <a:gd name="connsiteY2164" fmla="*/ 1933898 h 6078415"/>
                <a:gd name="connsiteX2165" fmla="*/ 5430612 w 11685910"/>
                <a:gd name="connsiteY2165" fmla="*/ 1933898 h 6078415"/>
                <a:gd name="connsiteX2166" fmla="*/ 5420499 w 11685910"/>
                <a:gd name="connsiteY2166" fmla="*/ 1982027 h 6078415"/>
                <a:gd name="connsiteX2167" fmla="*/ 5463745 w 11685910"/>
                <a:gd name="connsiteY2167" fmla="*/ 1982027 h 6078415"/>
                <a:gd name="connsiteX2168" fmla="*/ 5457641 w 11685910"/>
                <a:gd name="connsiteY2168" fmla="*/ 2006440 h 6078415"/>
                <a:gd name="connsiteX2169" fmla="*/ 5415441 w 11685910"/>
                <a:gd name="connsiteY2169" fmla="*/ 2006440 h 6078415"/>
                <a:gd name="connsiteX2170" fmla="*/ 5401143 w 11685910"/>
                <a:gd name="connsiteY2170" fmla="*/ 2070961 h 6078415"/>
                <a:gd name="connsiteX2171" fmla="*/ 5373415 w 11685910"/>
                <a:gd name="connsiteY2171" fmla="*/ 2070961 h 6078415"/>
                <a:gd name="connsiteX2172" fmla="*/ 5387365 w 11685910"/>
                <a:gd name="connsiteY2172" fmla="*/ 2006440 h 6078415"/>
                <a:gd name="connsiteX2173" fmla="*/ 5345166 w 11685910"/>
                <a:gd name="connsiteY2173" fmla="*/ 2006440 h 6078415"/>
                <a:gd name="connsiteX2174" fmla="*/ 5331563 w 11685910"/>
                <a:gd name="connsiteY2174" fmla="*/ 2070961 h 6078415"/>
                <a:gd name="connsiteX2175" fmla="*/ 5303838 w 11685910"/>
                <a:gd name="connsiteY2175" fmla="*/ 2070961 h 6078415"/>
                <a:gd name="connsiteX2176" fmla="*/ 5317438 w 11685910"/>
                <a:gd name="connsiteY2176" fmla="*/ 2006440 h 6078415"/>
                <a:gd name="connsiteX2177" fmla="*/ 5277506 w 11685910"/>
                <a:gd name="connsiteY2177" fmla="*/ 2006440 h 6078415"/>
                <a:gd name="connsiteX2178" fmla="*/ 5282388 w 11685910"/>
                <a:gd name="connsiteY2178" fmla="*/ 1982027 h 6078415"/>
                <a:gd name="connsiteX2179" fmla="*/ 5322844 w 11685910"/>
                <a:gd name="connsiteY2179" fmla="*/ 1982027 h 6078415"/>
                <a:gd name="connsiteX2180" fmla="*/ 5332435 w 11685910"/>
                <a:gd name="connsiteY2180" fmla="*/ 1933898 h 6078415"/>
                <a:gd name="connsiteX2181" fmla="*/ 5289887 w 11685910"/>
                <a:gd name="connsiteY2181" fmla="*/ 1933898 h 6078415"/>
                <a:gd name="connsiteX2182" fmla="*/ 5294944 w 11685910"/>
                <a:gd name="connsiteY2182" fmla="*/ 1909484 h 6078415"/>
                <a:gd name="connsiteX2183" fmla="*/ 5337492 w 11685910"/>
                <a:gd name="connsiteY2183" fmla="*/ 1909484 h 6078415"/>
                <a:gd name="connsiteX2184" fmla="*/ 6225654 w 11685910"/>
                <a:gd name="connsiteY2184" fmla="*/ 1697074 h 6078415"/>
                <a:gd name="connsiteX2185" fmla="*/ 6202463 w 11685910"/>
                <a:gd name="connsiteY2185" fmla="*/ 1736321 h 6078415"/>
                <a:gd name="connsiteX2186" fmla="*/ 6218875 w 11685910"/>
                <a:gd name="connsiteY2186" fmla="*/ 1739711 h 6078415"/>
                <a:gd name="connsiteX2187" fmla="*/ 6235287 w 11685910"/>
                <a:gd name="connsiteY2187" fmla="*/ 1736143 h 6078415"/>
                <a:gd name="connsiteX2188" fmla="*/ 6232344 w 11685910"/>
                <a:gd name="connsiteY2188" fmla="*/ 1726688 h 6078415"/>
                <a:gd name="connsiteX2189" fmla="*/ 6233325 w 11685910"/>
                <a:gd name="connsiteY2189" fmla="*/ 1713487 h 6078415"/>
                <a:gd name="connsiteX2190" fmla="*/ 6225654 w 11685910"/>
                <a:gd name="connsiteY2190" fmla="*/ 1697074 h 6078415"/>
                <a:gd name="connsiteX2191" fmla="*/ 179757 w 11685910"/>
                <a:gd name="connsiteY2191" fmla="*/ 1697074 h 6078415"/>
                <a:gd name="connsiteX2192" fmla="*/ 156566 w 11685910"/>
                <a:gd name="connsiteY2192" fmla="*/ 1736321 h 6078415"/>
                <a:gd name="connsiteX2193" fmla="*/ 172978 w 11685910"/>
                <a:gd name="connsiteY2193" fmla="*/ 1739711 h 6078415"/>
                <a:gd name="connsiteX2194" fmla="*/ 189390 w 11685910"/>
                <a:gd name="connsiteY2194" fmla="*/ 1736143 h 6078415"/>
                <a:gd name="connsiteX2195" fmla="*/ 186447 w 11685910"/>
                <a:gd name="connsiteY2195" fmla="*/ 1726688 h 6078415"/>
                <a:gd name="connsiteX2196" fmla="*/ 187428 w 11685910"/>
                <a:gd name="connsiteY2196" fmla="*/ 1713487 h 6078415"/>
                <a:gd name="connsiteX2197" fmla="*/ 179757 w 11685910"/>
                <a:gd name="connsiteY2197" fmla="*/ 1697074 h 6078415"/>
                <a:gd name="connsiteX2198" fmla="*/ 6065633 w 11685910"/>
                <a:gd name="connsiteY2198" fmla="*/ 1680662 h 6078415"/>
                <a:gd name="connsiteX2199" fmla="*/ 6051986 w 11685910"/>
                <a:gd name="connsiteY2199" fmla="*/ 1700910 h 6078415"/>
                <a:gd name="connsiteX2200" fmla="*/ 6073482 w 11685910"/>
                <a:gd name="connsiteY2200" fmla="*/ 1722496 h 6078415"/>
                <a:gd name="connsiteX2201" fmla="*/ 6082402 w 11685910"/>
                <a:gd name="connsiteY2201" fmla="*/ 1715271 h 6078415"/>
                <a:gd name="connsiteX2202" fmla="*/ 6065633 w 11685910"/>
                <a:gd name="connsiteY2202" fmla="*/ 1680662 h 6078415"/>
                <a:gd name="connsiteX2203" fmla="*/ 19736 w 11685910"/>
                <a:gd name="connsiteY2203" fmla="*/ 1680662 h 6078415"/>
                <a:gd name="connsiteX2204" fmla="*/ 6089 w 11685910"/>
                <a:gd name="connsiteY2204" fmla="*/ 1700910 h 6078415"/>
                <a:gd name="connsiteX2205" fmla="*/ 27585 w 11685910"/>
                <a:gd name="connsiteY2205" fmla="*/ 1722496 h 6078415"/>
                <a:gd name="connsiteX2206" fmla="*/ 36505 w 11685910"/>
                <a:gd name="connsiteY2206" fmla="*/ 1715271 h 6078415"/>
                <a:gd name="connsiteX2207" fmla="*/ 19736 w 11685910"/>
                <a:gd name="connsiteY2207" fmla="*/ 1680662 h 6078415"/>
                <a:gd name="connsiteX2208" fmla="*/ 6049245 w 11685910"/>
                <a:gd name="connsiteY2208" fmla="*/ 1612371 h 6078415"/>
                <a:gd name="connsiteX2209" fmla="*/ 6049044 w 11685910"/>
                <a:gd name="connsiteY2209" fmla="*/ 1613888 h 6078415"/>
                <a:gd name="connsiteX2210" fmla="*/ 6048978 w 11685910"/>
                <a:gd name="connsiteY2210" fmla="*/ 1612628 h 6078415"/>
                <a:gd name="connsiteX2211" fmla="*/ 3348 w 11685910"/>
                <a:gd name="connsiteY2211" fmla="*/ 1612371 h 6078415"/>
                <a:gd name="connsiteX2212" fmla="*/ 3147 w 11685910"/>
                <a:gd name="connsiteY2212" fmla="*/ 1613888 h 6078415"/>
                <a:gd name="connsiteX2213" fmla="*/ 3081 w 11685910"/>
                <a:gd name="connsiteY2213" fmla="*/ 1612628 h 6078415"/>
                <a:gd name="connsiteX2214" fmla="*/ 6251165 w 11685910"/>
                <a:gd name="connsiteY2214" fmla="*/ 1585177 h 6078415"/>
                <a:gd name="connsiteX2215" fmla="*/ 6247173 w 11685910"/>
                <a:gd name="connsiteY2215" fmla="*/ 1588031 h 6078415"/>
                <a:gd name="connsiteX2216" fmla="*/ 6254095 w 11685910"/>
                <a:gd name="connsiteY2216" fmla="*/ 1596401 h 6078415"/>
                <a:gd name="connsiteX2217" fmla="*/ 6260976 w 11685910"/>
                <a:gd name="connsiteY2217" fmla="*/ 1594675 h 6078415"/>
                <a:gd name="connsiteX2218" fmla="*/ 6234752 w 11685910"/>
                <a:gd name="connsiteY2218" fmla="*/ 1613853 h 6078415"/>
                <a:gd name="connsiteX2219" fmla="*/ 6239769 w 11685910"/>
                <a:gd name="connsiteY2219" fmla="*/ 1606230 h 6078415"/>
                <a:gd name="connsiteX2220" fmla="*/ 6231987 w 11685910"/>
                <a:gd name="connsiteY2220" fmla="*/ 1599269 h 6078415"/>
                <a:gd name="connsiteX2221" fmla="*/ 6227170 w 11685910"/>
                <a:gd name="connsiteY2221" fmla="*/ 1603328 h 6078415"/>
                <a:gd name="connsiteX2222" fmla="*/ 6251165 w 11685910"/>
                <a:gd name="connsiteY2222" fmla="*/ 1585177 h 6078415"/>
                <a:gd name="connsiteX2223" fmla="*/ 205268 w 11685910"/>
                <a:gd name="connsiteY2223" fmla="*/ 1585177 h 6078415"/>
                <a:gd name="connsiteX2224" fmla="*/ 201276 w 11685910"/>
                <a:gd name="connsiteY2224" fmla="*/ 1588031 h 6078415"/>
                <a:gd name="connsiteX2225" fmla="*/ 208198 w 11685910"/>
                <a:gd name="connsiteY2225" fmla="*/ 1596401 h 6078415"/>
                <a:gd name="connsiteX2226" fmla="*/ 215079 w 11685910"/>
                <a:gd name="connsiteY2226" fmla="*/ 1594675 h 6078415"/>
                <a:gd name="connsiteX2227" fmla="*/ 188855 w 11685910"/>
                <a:gd name="connsiteY2227" fmla="*/ 1613853 h 6078415"/>
                <a:gd name="connsiteX2228" fmla="*/ 193872 w 11685910"/>
                <a:gd name="connsiteY2228" fmla="*/ 1606230 h 6078415"/>
                <a:gd name="connsiteX2229" fmla="*/ 186090 w 11685910"/>
                <a:gd name="connsiteY2229" fmla="*/ 1599269 h 6078415"/>
                <a:gd name="connsiteX2230" fmla="*/ 181273 w 11685910"/>
                <a:gd name="connsiteY2230" fmla="*/ 1603328 h 6078415"/>
                <a:gd name="connsiteX2231" fmla="*/ 205268 w 11685910"/>
                <a:gd name="connsiteY2231" fmla="*/ 1585177 h 6078415"/>
                <a:gd name="connsiteX2232" fmla="*/ 6224596 w 11685910"/>
                <a:gd name="connsiteY2232" fmla="*/ 1568764 h 6078415"/>
                <a:gd name="connsiteX2233" fmla="*/ 6226880 w 11685910"/>
                <a:gd name="connsiteY2233" fmla="*/ 1568802 h 6078415"/>
                <a:gd name="connsiteX2234" fmla="*/ 6235020 w 11685910"/>
                <a:gd name="connsiteY2234" fmla="*/ 1570057 h 6078415"/>
                <a:gd name="connsiteX2235" fmla="*/ 6216110 w 11685910"/>
                <a:gd name="connsiteY2235" fmla="*/ 1588967 h 6078415"/>
                <a:gd name="connsiteX2236" fmla="*/ 6224596 w 11685910"/>
                <a:gd name="connsiteY2236" fmla="*/ 1568764 h 6078415"/>
                <a:gd name="connsiteX2237" fmla="*/ 178699 w 11685910"/>
                <a:gd name="connsiteY2237" fmla="*/ 1568764 h 6078415"/>
                <a:gd name="connsiteX2238" fmla="*/ 180983 w 11685910"/>
                <a:gd name="connsiteY2238" fmla="*/ 1568802 h 6078415"/>
                <a:gd name="connsiteX2239" fmla="*/ 189123 w 11685910"/>
                <a:gd name="connsiteY2239" fmla="*/ 1570057 h 6078415"/>
                <a:gd name="connsiteX2240" fmla="*/ 170213 w 11685910"/>
                <a:gd name="connsiteY2240" fmla="*/ 1588967 h 6078415"/>
                <a:gd name="connsiteX2241" fmla="*/ 178699 w 11685910"/>
                <a:gd name="connsiteY2241" fmla="*/ 1568764 h 6078415"/>
                <a:gd name="connsiteX2242" fmla="*/ 6327199 w 11685910"/>
                <a:gd name="connsiteY2242" fmla="*/ 1546688 h 6078415"/>
                <a:gd name="connsiteX2243" fmla="*/ 6319002 w 11685910"/>
                <a:gd name="connsiteY2243" fmla="*/ 1560609 h 6078415"/>
                <a:gd name="connsiteX2244" fmla="*/ 6306826 w 11685910"/>
                <a:gd name="connsiteY2244" fmla="*/ 1562599 h 6078415"/>
                <a:gd name="connsiteX2245" fmla="*/ 6317967 w 11685910"/>
                <a:gd name="connsiteY2245" fmla="*/ 1555970 h 6078415"/>
                <a:gd name="connsiteX2246" fmla="*/ 6327199 w 11685910"/>
                <a:gd name="connsiteY2246" fmla="*/ 1546688 h 6078415"/>
                <a:gd name="connsiteX2247" fmla="*/ 281302 w 11685910"/>
                <a:gd name="connsiteY2247" fmla="*/ 1546688 h 6078415"/>
                <a:gd name="connsiteX2248" fmla="*/ 273104 w 11685910"/>
                <a:gd name="connsiteY2248" fmla="*/ 1560609 h 6078415"/>
                <a:gd name="connsiteX2249" fmla="*/ 260929 w 11685910"/>
                <a:gd name="connsiteY2249" fmla="*/ 1562599 h 6078415"/>
                <a:gd name="connsiteX2250" fmla="*/ 272070 w 11685910"/>
                <a:gd name="connsiteY2250" fmla="*/ 1555970 h 6078415"/>
                <a:gd name="connsiteX2251" fmla="*/ 281302 w 11685910"/>
                <a:gd name="connsiteY2251" fmla="*/ 1546688 h 6078415"/>
                <a:gd name="connsiteX2252" fmla="*/ 6223262 w 11685910"/>
                <a:gd name="connsiteY2252" fmla="*/ 1527682 h 6078415"/>
                <a:gd name="connsiteX2253" fmla="*/ 6229125 w 11685910"/>
                <a:gd name="connsiteY2253" fmla="*/ 1528196 h 6078415"/>
                <a:gd name="connsiteX2254" fmla="*/ 6272110 w 11685910"/>
                <a:gd name="connsiteY2254" fmla="*/ 1557416 h 6078415"/>
                <a:gd name="connsiteX2255" fmla="*/ 6289981 w 11685910"/>
                <a:gd name="connsiteY2255" fmla="*/ 1578426 h 6078415"/>
                <a:gd name="connsiteX2256" fmla="*/ 6286841 w 11685910"/>
                <a:gd name="connsiteY2256" fmla="*/ 1586153 h 6078415"/>
                <a:gd name="connsiteX2257" fmla="*/ 6299867 w 11685910"/>
                <a:gd name="connsiteY2257" fmla="*/ 1596190 h 6078415"/>
                <a:gd name="connsiteX2258" fmla="*/ 6298191 w 11685910"/>
                <a:gd name="connsiteY2258" fmla="*/ 1559107 h 6078415"/>
                <a:gd name="connsiteX2259" fmla="*/ 6313405 w 11685910"/>
                <a:gd name="connsiteY2259" fmla="*/ 1549447 h 6078415"/>
                <a:gd name="connsiteX2260" fmla="*/ 6325238 w 11685910"/>
                <a:gd name="connsiteY2260" fmla="*/ 1538338 h 6078415"/>
                <a:gd name="connsiteX2261" fmla="*/ 6347938 w 11685910"/>
                <a:gd name="connsiteY2261" fmla="*/ 1600401 h 6078415"/>
                <a:gd name="connsiteX2262" fmla="*/ 6310507 w 11685910"/>
                <a:gd name="connsiteY2262" fmla="*/ 1668260 h 6078415"/>
                <a:gd name="connsiteX2263" fmla="*/ 6278696 w 11685910"/>
                <a:gd name="connsiteY2263" fmla="*/ 1668973 h 6078415"/>
                <a:gd name="connsiteX2264" fmla="*/ 6274716 w 11685910"/>
                <a:gd name="connsiteY2264" fmla="*/ 1667587 h 6078415"/>
                <a:gd name="connsiteX2265" fmla="*/ 6274239 w 11685910"/>
                <a:gd name="connsiteY2265" fmla="*/ 1669848 h 6078415"/>
                <a:gd name="connsiteX2266" fmla="*/ 6249652 w 11685910"/>
                <a:gd name="connsiteY2266" fmla="*/ 1689752 h 6078415"/>
                <a:gd name="connsiteX2267" fmla="*/ 6228159 w 11685910"/>
                <a:gd name="connsiteY2267" fmla="*/ 1680092 h 6078415"/>
                <a:gd name="connsiteX2268" fmla="*/ 6227193 w 11685910"/>
                <a:gd name="connsiteY2268" fmla="*/ 1692650 h 6078415"/>
                <a:gd name="connsiteX2269" fmla="*/ 6236853 w 11685910"/>
                <a:gd name="connsiteY2269" fmla="*/ 1713176 h 6078415"/>
                <a:gd name="connsiteX2270" fmla="*/ 6236370 w 11685910"/>
                <a:gd name="connsiteY2270" fmla="*/ 1724285 h 6078415"/>
                <a:gd name="connsiteX2271" fmla="*/ 6238543 w 11685910"/>
                <a:gd name="connsiteY2271" fmla="*/ 1738050 h 6078415"/>
                <a:gd name="connsiteX2272" fmla="*/ 6222605 w 11685910"/>
                <a:gd name="connsiteY2272" fmla="*/ 1743846 h 6078415"/>
                <a:gd name="connsiteX2273" fmla="*/ 6197731 w 11685910"/>
                <a:gd name="connsiteY2273" fmla="*/ 1738533 h 6078415"/>
                <a:gd name="connsiteX2274" fmla="*/ 6196972 w 11685910"/>
                <a:gd name="connsiteY2274" fmla="*/ 1734079 h 6078415"/>
                <a:gd name="connsiteX2275" fmla="*/ 6196932 w 11685910"/>
                <a:gd name="connsiteY2275" fmla="*/ 1732734 h 6078415"/>
                <a:gd name="connsiteX2276" fmla="*/ 6193193 w 11685910"/>
                <a:gd name="connsiteY2276" fmla="*/ 1736278 h 6078415"/>
                <a:gd name="connsiteX2277" fmla="*/ 6169719 w 11685910"/>
                <a:gd name="connsiteY2277" fmla="*/ 1750607 h 6078415"/>
                <a:gd name="connsiteX2278" fmla="*/ 6146294 w 11685910"/>
                <a:gd name="connsiteY2278" fmla="*/ 1722353 h 6078415"/>
                <a:gd name="connsiteX2279" fmla="*/ 6157161 w 11685910"/>
                <a:gd name="connsiteY2279" fmla="*/ 1710520 h 6078415"/>
                <a:gd name="connsiteX2280" fmla="*/ 6132288 w 11685910"/>
                <a:gd name="connsiteY2280" fmla="*/ 1708105 h 6078415"/>
                <a:gd name="connsiteX2281" fmla="*/ 6131322 w 11685910"/>
                <a:gd name="connsiteY2281" fmla="*/ 1718972 h 6078415"/>
                <a:gd name="connsiteX2282" fmla="*/ 6125043 w 11685910"/>
                <a:gd name="connsiteY2282" fmla="*/ 1729598 h 6078415"/>
                <a:gd name="connsiteX2283" fmla="*/ 6119972 w 11685910"/>
                <a:gd name="connsiteY2283" fmla="*/ 1748675 h 6078415"/>
                <a:gd name="connsiteX2284" fmla="*/ 6079884 w 11685910"/>
                <a:gd name="connsiteY2284" fmla="*/ 1740223 h 6078415"/>
                <a:gd name="connsiteX2285" fmla="*/ 6080850 w 11685910"/>
                <a:gd name="connsiteY2285" fmla="*/ 1726217 h 6078415"/>
                <a:gd name="connsiteX2286" fmla="*/ 6071191 w 11685910"/>
                <a:gd name="connsiteY2286" fmla="*/ 1728149 h 6078415"/>
                <a:gd name="connsiteX2287" fmla="*/ 6046076 w 11685910"/>
                <a:gd name="connsiteY2287" fmla="*/ 1702309 h 6078415"/>
                <a:gd name="connsiteX2288" fmla="*/ 6061290 w 11685910"/>
                <a:gd name="connsiteY2288" fmla="*/ 1675746 h 6078415"/>
                <a:gd name="connsiteX2289" fmla="*/ 6062739 w 11685910"/>
                <a:gd name="connsiteY2289" fmla="*/ 1649182 h 6078415"/>
                <a:gd name="connsiteX2290" fmla="*/ 6047283 w 11685910"/>
                <a:gd name="connsiteY2290" fmla="*/ 1627206 h 6078415"/>
                <a:gd name="connsiteX2291" fmla="*/ 6049044 w 11685910"/>
                <a:gd name="connsiteY2291" fmla="*/ 1613888 h 6078415"/>
                <a:gd name="connsiteX2292" fmla="*/ 6049503 w 11685910"/>
                <a:gd name="connsiteY2292" fmla="*/ 1622608 h 6078415"/>
                <a:gd name="connsiteX2293" fmla="*/ 6050326 w 11685910"/>
                <a:gd name="connsiteY2293" fmla="*/ 1623003 h 6078415"/>
                <a:gd name="connsiteX2294" fmla="*/ 6050449 w 11685910"/>
                <a:gd name="connsiteY2294" fmla="*/ 1624178 h 6078415"/>
                <a:gd name="connsiteX2295" fmla="*/ 6070004 w 11685910"/>
                <a:gd name="connsiteY2295" fmla="*/ 1638025 h 6078415"/>
                <a:gd name="connsiteX2296" fmla="*/ 6088227 w 11685910"/>
                <a:gd name="connsiteY2296" fmla="*/ 1708655 h 6078415"/>
                <a:gd name="connsiteX2297" fmla="*/ 6089189 w 11685910"/>
                <a:gd name="connsiteY2297" fmla="*/ 1710504 h 6078415"/>
                <a:gd name="connsiteX2298" fmla="*/ 6089155 w 11685910"/>
                <a:gd name="connsiteY2298" fmla="*/ 1711372 h 6078415"/>
                <a:gd name="connsiteX2299" fmla="*/ 6087754 w 11685910"/>
                <a:gd name="connsiteY2299" fmla="*/ 1724815 h 6078415"/>
                <a:gd name="connsiteX2300" fmla="*/ 6084454 w 11685910"/>
                <a:gd name="connsiteY2300" fmla="*/ 1736143 h 6078415"/>
                <a:gd name="connsiteX2301" fmla="*/ 6118617 w 11685910"/>
                <a:gd name="connsiteY2301" fmla="*/ 1742743 h 6078415"/>
                <a:gd name="connsiteX2302" fmla="*/ 6119776 w 11685910"/>
                <a:gd name="connsiteY2302" fmla="*/ 1731861 h 6078415"/>
                <a:gd name="connsiteX2303" fmla="*/ 6126377 w 11685910"/>
                <a:gd name="connsiteY2303" fmla="*/ 1717679 h 6078415"/>
                <a:gd name="connsiteX2304" fmla="*/ 6126656 w 11685910"/>
                <a:gd name="connsiteY2304" fmla="*/ 1702571 h 6078415"/>
                <a:gd name="connsiteX2305" fmla="*/ 6126448 w 11685910"/>
                <a:gd name="connsiteY2305" fmla="*/ 1696892 h 6078415"/>
                <a:gd name="connsiteX2306" fmla="*/ 6128036 w 11685910"/>
                <a:gd name="connsiteY2306" fmla="*/ 1698741 h 6078415"/>
                <a:gd name="connsiteX2307" fmla="*/ 6167408 w 11685910"/>
                <a:gd name="connsiteY2307" fmla="*/ 1696539 h 6078415"/>
                <a:gd name="connsiteX2308" fmla="*/ 6168300 w 11685910"/>
                <a:gd name="connsiteY2308" fmla="*/ 1710276 h 6078415"/>
                <a:gd name="connsiteX2309" fmla="*/ 6151263 w 11685910"/>
                <a:gd name="connsiteY2309" fmla="*/ 1722942 h 6078415"/>
                <a:gd name="connsiteX2310" fmla="*/ 6170173 w 11685910"/>
                <a:gd name="connsiteY2310" fmla="*/ 1745865 h 6078415"/>
                <a:gd name="connsiteX2311" fmla="*/ 6205228 w 11685910"/>
                <a:gd name="connsiteY2311" fmla="*/ 1718125 h 6078415"/>
                <a:gd name="connsiteX2312" fmla="*/ 6224316 w 11685910"/>
                <a:gd name="connsiteY2312" fmla="*/ 1676291 h 6078415"/>
                <a:gd name="connsiteX2313" fmla="*/ 6207453 w 11685910"/>
                <a:gd name="connsiteY2313" fmla="*/ 1658029 h 6078415"/>
                <a:gd name="connsiteX2314" fmla="*/ 6207259 w 11685910"/>
                <a:gd name="connsiteY2314" fmla="*/ 1657520 h 6078415"/>
                <a:gd name="connsiteX2315" fmla="*/ 6209877 w 11685910"/>
                <a:gd name="connsiteY2315" fmla="*/ 1659168 h 6078415"/>
                <a:gd name="connsiteX2316" fmla="*/ 6229044 w 11685910"/>
                <a:gd name="connsiteY2316" fmla="*/ 1669780 h 6078415"/>
                <a:gd name="connsiteX2317" fmla="*/ 6250362 w 11685910"/>
                <a:gd name="connsiteY2317" fmla="*/ 1684230 h 6078415"/>
                <a:gd name="connsiteX2318" fmla="*/ 6271323 w 11685910"/>
                <a:gd name="connsiteY2318" fmla="*/ 1665855 h 6078415"/>
                <a:gd name="connsiteX2319" fmla="*/ 6268023 w 11685910"/>
                <a:gd name="connsiteY2319" fmla="*/ 1665588 h 6078415"/>
                <a:gd name="connsiteX2320" fmla="*/ 6240230 w 11685910"/>
                <a:gd name="connsiteY2320" fmla="*/ 1643440 h 6078415"/>
                <a:gd name="connsiteX2321" fmla="*/ 6241155 w 11685910"/>
                <a:gd name="connsiteY2321" fmla="*/ 1638664 h 6078415"/>
                <a:gd name="connsiteX2322" fmla="*/ 6242907 w 11685910"/>
                <a:gd name="connsiteY2322" fmla="*/ 1640573 h 6078415"/>
                <a:gd name="connsiteX2323" fmla="*/ 6314674 w 11685910"/>
                <a:gd name="connsiteY2323" fmla="*/ 1658720 h 6078415"/>
                <a:gd name="connsiteX2324" fmla="*/ 6326537 w 11685910"/>
                <a:gd name="connsiteY2324" fmla="*/ 1541603 h 6078415"/>
                <a:gd name="connsiteX2325" fmla="*/ 6317260 w 11685910"/>
                <a:gd name="connsiteY2325" fmla="*/ 1552307 h 6078415"/>
                <a:gd name="connsiteX2326" fmla="*/ 6303702 w 11685910"/>
                <a:gd name="connsiteY2326" fmla="*/ 1559175 h 6078415"/>
                <a:gd name="connsiteX2327" fmla="*/ 6295225 w 11685910"/>
                <a:gd name="connsiteY2327" fmla="*/ 1619971 h 6078415"/>
                <a:gd name="connsiteX2328" fmla="*/ 6293745 w 11685910"/>
                <a:gd name="connsiteY2328" fmla="*/ 1621138 h 6078415"/>
                <a:gd name="connsiteX2329" fmla="*/ 6294056 w 11685910"/>
                <a:gd name="connsiteY2329" fmla="*/ 1620537 h 6078415"/>
                <a:gd name="connsiteX2330" fmla="*/ 6297280 w 11685910"/>
                <a:gd name="connsiteY2330" fmla="*/ 1601454 h 6078415"/>
                <a:gd name="connsiteX2331" fmla="*/ 6284703 w 11685910"/>
                <a:gd name="connsiteY2331" fmla="*/ 1603863 h 6078415"/>
                <a:gd name="connsiteX2332" fmla="*/ 6286041 w 11685910"/>
                <a:gd name="connsiteY2332" fmla="*/ 1593427 h 6078415"/>
                <a:gd name="connsiteX2333" fmla="*/ 6274267 w 11685910"/>
                <a:gd name="connsiteY2333" fmla="*/ 1593337 h 6078415"/>
                <a:gd name="connsiteX2334" fmla="*/ 6277656 w 11685910"/>
                <a:gd name="connsiteY2334" fmla="*/ 1585577 h 6078415"/>
                <a:gd name="connsiteX2335" fmla="*/ 6270849 w 11685910"/>
                <a:gd name="connsiteY2335" fmla="*/ 1582433 h 6078415"/>
                <a:gd name="connsiteX2336" fmla="*/ 6268963 w 11685910"/>
                <a:gd name="connsiteY2336" fmla="*/ 1582446 h 6078415"/>
                <a:gd name="connsiteX2337" fmla="*/ 6270514 w 11685910"/>
                <a:gd name="connsiteY2337" fmla="*/ 1581889 h 6078415"/>
                <a:gd name="connsiteX2338" fmla="*/ 6272840 w 11685910"/>
                <a:gd name="connsiteY2338" fmla="*/ 1581207 h 6078415"/>
                <a:gd name="connsiteX2339" fmla="*/ 6284079 w 11685910"/>
                <a:gd name="connsiteY2339" fmla="*/ 1578620 h 6078415"/>
                <a:gd name="connsiteX2340" fmla="*/ 6272661 w 11685910"/>
                <a:gd name="connsiteY2340" fmla="*/ 1564081 h 6078415"/>
                <a:gd name="connsiteX2341" fmla="*/ 6260762 w 11685910"/>
                <a:gd name="connsiteY2341" fmla="*/ 1562621 h 6078415"/>
                <a:gd name="connsiteX2342" fmla="*/ 6259663 w 11685910"/>
                <a:gd name="connsiteY2342" fmla="*/ 1562563 h 6078415"/>
                <a:gd name="connsiteX2343" fmla="*/ 6259672 w 11685910"/>
                <a:gd name="connsiteY2343" fmla="*/ 1562539 h 6078415"/>
                <a:gd name="connsiteX2344" fmla="*/ 6267399 w 11685910"/>
                <a:gd name="connsiteY2344" fmla="*/ 1560156 h 6078415"/>
                <a:gd name="connsiteX2345" fmla="*/ 6225030 w 11685910"/>
                <a:gd name="connsiteY2345" fmla="*/ 1534200 h 6078415"/>
                <a:gd name="connsiteX2346" fmla="*/ 6174900 w 11685910"/>
                <a:gd name="connsiteY2346" fmla="*/ 1557658 h 6078415"/>
                <a:gd name="connsiteX2347" fmla="*/ 6189037 w 11685910"/>
                <a:gd name="connsiteY2347" fmla="*/ 1557983 h 6078415"/>
                <a:gd name="connsiteX2348" fmla="*/ 6189610 w 11685910"/>
                <a:gd name="connsiteY2348" fmla="*/ 1558067 h 6078415"/>
                <a:gd name="connsiteX2349" fmla="*/ 6187216 w 11685910"/>
                <a:gd name="connsiteY2349" fmla="*/ 1558718 h 6078415"/>
                <a:gd name="connsiteX2350" fmla="*/ 6162783 w 11685910"/>
                <a:gd name="connsiteY2350" fmla="*/ 1563799 h 6078415"/>
                <a:gd name="connsiteX2351" fmla="*/ 6116620 w 11685910"/>
                <a:gd name="connsiteY2351" fmla="*/ 1623678 h 6078415"/>
                <a:gd name="connsiteX2352" fmla="*/ 6130507 w 11685910"/>
                <a:gd name="connsiteY2352" fmla="*/ 1645641 h 6078415"/>
                <a:gd name="connsiteX2353" fmla="*/ 6144916 w 11685910"/>
                <a:gd name="connsiteY2353" fmla="*/ 1629215 h 6078415"/>
                <a:gd name="connsiteX2354" fmla="*/ 6128058 w 11685910"/>
                <a:gd name="connsiteY2354" fmla="*/ 1664085 h 6078415"/>
                <a:gd name="connsiteX2355" fmla="*/ 6143880 w 11685910"/>
                <a:gd name="connsiteY2355" fmla="*/ 1673403 h 6078415"/>
                <a:gd name="connsiteX2356" fmla="*/ 6170852 w 11685910"/>
                <a:gd name="connsiteY2356" fmla="*/ 1660051 h 6078415"/>
                <a:gd name="connsiteX2357" fmla="*/ 6188143 w 11685910"/>
                <a:gd name="connsiteY2357" fmla="*/ 1658321 h 6078415"/>
                <a:gd name="connsiteX2358" fmla="*/ 6194339 w 11685910"/>
                <a:gd name="connsiteY2358" fmla="*/ 1589735 h 6078415"/>
                <a:gd name="connsiteX2359" fmla="*/ 6195059 w 11685910"/>
                <a:gd name="connsiteY2359" fmla="*/ 1667111 h 6078415"/>
                <a:gd name="connsiteX2360" fmla="*/ 6192966 w 11685910"/>
                <a:gd name="connsiteY2360" fmla="*/ 1666768 h 6078415"/>
                <a:gd name="connsiteX2361" fmla="*/ 6190315 w 11685910"/>
                <a:gd name="connsiteY2361" fmla="*/ 1666090 h 6078415"/>
                <a:gd name="connsiteX2362" fmla="*/ 6187599 w 11685910"/>
                <a:gd name="connsiteY2362" fmla="*/ 1665666 h 6078415"/>
                <a:gd name="connsiteX2363" fmla="*/ 6186838 w 11685910"/>
                <a:gd name="connsiteY2363" fmla="*/ 1665490 h 6078415"/>
                <a:gd name="connsiteX2364" fmla="*/ 6180113 w 11685910"/>
                <a:gd name="connsiteY2364" fmla="*/ 1665262 h 6078415"/>
                <a:gd name="connsiteX2365" fmla="*/ 6179134 w 11685910"/>
                <a:gd name="connsiteY2365" fmla="*/ 1665490 h 6078415"/>
                <a:gd name="connsiteX2366" fmla="*/ 6178542 w 11685910"/>
                <a:gd name="connsiteY2366" fmla="*/ 1665541 h 6078415"/>
                <a:gd name="connsiteX2367" fmla="*/ 6139578 w 11685910"/>
                <a:gd name="connsiteY2367" fmla="*/ 1681375 h 6078415"/>
                <a:gd name="connsiteX2368" fmla="*/ 6117388 w 11685910"/>
                <a:gd name="connsiteY2368" fmla="*/ 1663777 h 6078415"/>
                <a:gd name="connsiteX2369" fmla="*/ 6116933 w 11685910"/>
                <a:gd name="connsiteY2369" fmla="*/ 1663187 h 6078415"/>
                <a:gd name="connsiteX2370" fmla="*/ 6118644 w 11685910"/>
                <a:gd name="connsiteY2370" fmla="*/ 1660328 h 6078415"/>
                <a:gd name="connsiteX2371" fmla="*/ 6124682 w 11685910"/>
                <a:gd name="connsiteY2371" fmla="*/ 1651583 h 6078415"/>
                <a:gd name="connsiteX2372" fmla="*/ 6107734 w 11685910"/>
                <a:gd name="connsiteY2372" fmla="*/ 1624735 h 6078415"/>
                <a:gd name="connsiteX2373" fmla="*/ 6137794 w 11685910"/>
                <a:gd name="connsiteY2373" fmla="*/ 1578887 h 6078415"/>
                <a:gd name="connsiteX2374" fmla="*/ 6058278 w 11685910"/>
                <a:gd name="connsiteY2374" fmla="*/ 1625950 h 6078415"/>
                <a:gd name="connsiteX2375" fmla="*/ 6054677 w 11685910"/>
                <a:gd name="connsiteY2375" fmla="*/ 1622709 h 6078415"/>
                <a:gd name="connsiteX2376" fmla="*/ 6055730 w 11685910"/>
                <a:gd name="connsiteY2376" fmla="*/ 1622118 h 6078415"/>
                <a:gd name="connsiteX2377" fmla="*/ 6059657 w 11685910"/>
                <a:gd name="connsiteY2377" fmla="*/ 1602346 h 6078415"/>
                <a:gd name="connsiteX2378" fmla="*/ 6049245 w 11685910"/>
                <a:gd name="connsiteY2378" fmla="*/ 1612371 h 6078415"/>
                <a:gd name="connsiteX2379" fmla="*/ 6050151 w 11685910"/>
                <a:gd name="connsiteY2379" fmla="*/ 1605518 h 6078415"/>
                <a:gd name="connsiteX2380" fmla="*/ 6063705 w 11685910"/>
                <a:gd name="connsiteY2380" fmla="*/ 1597020 h 6078415"/>
                <a:gd name="connsiteX2381" fmla="*/ 6063705 w 11685910"/>
                <a:gd name="connsiteY2381" fmla="*/ 1620686 h 6078415"/>
                <a:gd name="connsiteX2382" fmla="*/ 6139532 w 11685910"/>
                <a:gd name="connsiteY2382" fmla="*/ 1572630 h 6078415"/>
                <a:gd name="connsiteX2383" fmla="*/ 6161991 w 11685910"/>
                <a:gd name="connsiteY2383" fmla="*/ 1556208 h 6078415"/>
                <a:gd name="connsiteX2384" fmla="*/ 6167986 w 11685910"/>
                <a:gd name="connsiteY2384" fmla="*/ 1555580 h 6078415"/>
                <a:gd name="connsiteX2385" fmla="*/ 6168681 w 11685910"/>
                <a:gd name="connsiteY2385" fmla="*/ 1554093 h 6078415"/>
                <a:gd name="connsiteX2386" fmla="*/ 6187831 w 11685910"/>
                <a:gd name="connsiteY2386" fmla="*/ 1535682 h 6078415"/>
                <a:gd name="connsiteX2387" fmla="*/ 6223262 w 11685910"/>
                <a:gd name="connsiteY2387" fmla="*/ 1527682 h 6078415"/>
                <a:gd name="connsiteX2388" fmla="*/ 177365 w 11685910"/>
                <a:gd name="connsiteY2388" fmla="*/ 1527682 h 6078415"/>
                <a:gd name="connsiteX2389" fmla="*/ 183228 w 11685910"/>
                <a:gd name="connsiteY2389" fmla="*/ 1528196 h 6078415"/>
                <a:gd name="connsiteX2390" fmla="*/ 226214 w 11685910"/>
                <a:gd name="connsiteY2390" fmla="*/ 1557416 h 6078415"/>
                <a:gd name="connsiteX2391" fmla="*/ 244084 w 11685910"/>
                <a:gd name="connsiteY2391" fmla="*/ 1578426 h 6078415"/>
                <a:gd name="connsiteX2392" fmla="*/ 240944 w 11685910"/>
                <a:gd name="connsiteY2392" fmla="*/ 1586153 h 6078415"/>
                <a:gd name="connsiteX2393" fmla="*/ 253970 w 11685910"/>
                <a:gd name="connsiteY2393" fmla="*/ 1596190 h 6078415"/>
                <a:gd name="connsiteX2394" fmla="*/ 252294 w 11685910"/>
                <a:gd name="connsiteY2394" fmla="*/ 1559107 h 6078415"/>
                <a:gd name="connsiteX2395" fmla="*/ 267508 w 11685910"/>
                <a:gd name="connsiteY2395" fmla="*/ 1549447 h 6078415"/>
                <a:gd name="connsiteX2396" fmla="*/ 279341 w 11685910"/>
                <a:gd name="connsiteY2396" fmla="*/ 1538338 h 6078415"/>
                <a:gd name="connsiteX2397" fmla="*/ 302041 w 11685910"/>
                <a:gd name="connsiteY2397" fmla="*/ 1600401 h 6078415"/>
                <a:gd name="connsiteX2398" fmla="*/ 264610 w 11685910"/>
                <a:gd name="connsiteY2398" fmla="*/ 1668260 h 6078415"/>
                <a:gd name="connsiteX2399" fmla="*/ 232799 w 11685910"/>
                <a:gd name="connsiteY2399" fmla="*/ 1668973 h 6078415"/>
                <a:gd name="connsiteX2400" fmla="*/ 228819 w 11685910"/>
                <a:gd name="connsiteY2400" fmla="*/ 1667587 h 6078415"/>
                <a:gd name="connsiteX2401" fmla="*/ 228342 w 11685910"/>
                <a:gd name="connsiteY2401" fmla="*/ 1669848 h 6078415"/>
                <a:gd name="connsiteX2402" fmla="*/ 203755 w 11685910"/>
                <a:gd name="connsiteY2402" fmla="*/ 1689752 h 6078415"/>
                <a:gd name="connsiteX2403" fmla="*/ 182262 w 11685910"/>
                <a:gd name="connsiteY2403" fmla="*/ 1680092 h 6078415"/>
                <a:gd name="connsiteX2404" fmla="*/ 181296 w 11685910"/>
                <a:gd name="connsiteY2404" fmla="*/ 1692650 h 6078415"/>
                <a:gd name="connsiteX2405" fmla="*/ 190956 w 11685910"/>
                <a:gd name="connsiteY2405" fmla="*/ 1713176 h 6078415"/>
                <a:gd name="connsiteX2406" fmla="*/ 190473 w 11685910"/>
                <a:gd name="connsiteY2406" fmla="*/ 1724285 h 6078415"/>
                <a:gd name="connsiteX2407" fmla="*/ 192646 w 11685910"/>
                <a:gd name="connsiteY2407" fmla="*/ 1738050 h 6078415"/>
                <a:gd name="connsiteX2408" fmla="*/ 176708 w 11685910"/>
                <a:gd name="connsiteY2408" fmla="*/ 1743846 h 6078415"/>
                <a:gd name="connsiteX2409" fmla="*/ 151834 w 11685910"/>
                <a:gd name="connsiteY2409" fmla="*/ 1738533 h 6078415"/>
                <a:gd name="connsiteX2410" fmla="*/ 151075 w 11685910"/>
                <a:gd name="connsiteY2410" fmla="*/ 1734079 h 6078415"/>
                <a:gd name="connsiteX2411" fmla="*/ 151035 w 11685910"/>
                <a:gd name="connsiteY2411" fmla="*/ 1732734 h 6078415"/>
                <a:gd name="connsiteX2412" fmla="*/ 147296 w 11685910"/>
                <a:gd name="connsiteY2412" fmla="*/ 1736278 h 6078415"/>
                <a:gd name="connsiteX2413" fmla="*/ 123822 w 11685910"/>
                <a:gd name="connsiteY2413" fmla="*/ 1750607 h 6078415"/>
                <a:gd name="connsiteX2414" fmla="*/ 100397 w 11685910"/>
                <a:gd name="connsiteY2414" fmla="*/ 1722353 h 6078415"/>
                <a:gd name="connsiteX2415" fmla="*/ 111264 w 11685910"/>
                <a:gd name="connsiteY2415" fmla="*/ 1710520 h 6078415"/>
                <a:gd name="connsiteX2416" fmla="*/ 86391 w 11685910"/>
                <a:gd name="connsiteY2416" fmla="*/ 1708105 h 6078415"/>
                <a:gd name="connsiteX2417" fmla="*/ 85425 w 11685910"/>
                <a:gd name="connsiteY2417" fmla="*/ 1718972 h 6078415"/>
                <a:gd name="connsiteX2418" fmla="*/ 79146 w 11685910"/>
                <a:gd name="connsiteY2418" fmla="*/ 1729598 h 6078415"/>
                <a:gd name="connsiteX2419" fmla="*/ 74075 w 11685910"/>
                <a:gd name="connsiteY2419" fmla="*/ 1748675 h 6078415"/>
                <a:gd name="connsiteX2420" fmla="*/ 33987 w 11685910"/>
                <a:gd name="connsiteY2420" fmla="*/ 1740223 h 6078415"/>
                <a:gd name="connsiteX2421" fmla="*/ 34953 w 11685910"/>
                <a:gd name="connsiteY2421" fmla="*/ 1726217 h 6078415"/>
                <a:gd name="connsiteX2422" fmla="*/ 25294 w 11685910"/>
                <a:gd name="connsiteY2422" fmla="*/ 1728149 h 6078415"/>
                <a:gd name="connsiteX2423" fmla="*/ 179 w 11685910"/>
                <a:gd name="connsiteY2423" fmla="*/ 1702309 h 6078415"/>
                <a:gd name="connsiteX2424" fmla="*/ 15393 w 11685910"/>
                <a:gd name="connsiteY2424" fmla="*/ 1675746 h 6078415"/>
                <a:gd name="connsiteX2425" fmla="*/ 16842 w 11685910"/>
                <a:gd name="connsiteY2425" fmla="*/ 1649182 h 6078415"/>
                <a:gd name="connsiteX2426" fmla="*/ 1386 w 11685910"/>
                <a:gd name="connsiteY2426" fmla="*/ 1627206 h 6078415"/>
                <a:gd name="connsiteX2427" fmla="*/ 3147 w 11685910"/>
                <a:gd name="connsiteY2427" fmla="*/ 1613888 h 6078415"/>
                <a:gd name="connsiteX2428" fmla="*/ 3606 w 11685910"/>
                <a:gd name="connsiteY2428" fmla="*/ 1622608 h 6078415"/>
                <a:gd name="connsiteX2429" fmla="*/ 4429 w 11685910"/>
                <a:gd name="connsiteY2429" fmla="*/ 1623003 h 6078415"/>
                <a:gd name="connsiteX2430" fmla="*/ 4552 w 11685910"/>
                <a:gd name="connsiteY2430" fmla="*/ 1624178 h 6078415"/>
                <a:gd name="connsiteX2431" fmla="*/ 24107 w 11685910"/>
                <a:gd name="connsiteY2431" fmla="*/ 1638025 h 6078415"/>
                <a:gd name="connsiteX2432" fmla="*/ 42330 w 11685910"/>
                <a:gd name="connsiteY2432" fmla="*/ 1708655 h 6078415"/>
                <a:gd name="connsiteX2433" fmla="*/ 43292 w 11685910"/>
                <a:gd name="connsiteY2433" fmla="*/ 1710504 h 6078415"/>
                <a:gd name="connsiteX2434" fmla="*/ 43258 w 11685910"/>
                <a:gd name="connsiteY2434" fmla="*/ 1711372 h 6078415"/>
                <a:gd name="connsiteX2435" fmla="*/ 41857 w 11685910"/>
                <a:gd name="connsiteY2435" fmla="*/ 1724815 h 6078415"/>
                <a:gd name="connsiteX2436" fmla="*/ 38557 w 11685910"/>
                <a:gd name="connsiteY2436" fmla="*/ 1736143 h 6078415"/>
                <a:gd name="connsiteX2437" fmla="*/ 72720 w 11685910"/>
                <a:gd name="connsiteY2437" fmla="*/ 1742743 h 6078415"/>
                <a:gd name="connsiteX2438" fmla="*/ 73879 w 11685910"/>
                <a:gd name="connsiteY2438" fmla="*/ 1731861 h 6078415"/>
                <a:gd name="connsiteX2439" fmla="*/ 80480 w 11685910"/>
                <a:gd name="connsiteY2439" fmla="*/ 1717679 h 6078415"/>
                <a:gd name="connsiteX2440" fmla="*/ 80759 w 11685910"/>
                <a:gd name="connsiteY2440" fmla="*/ 1702571 h 6078415"/>
                <a:gd name="connsiteX2441" fmla="*/ 80551 w 11685910"/>
                <a:gd name="connsiteY2441" fmla="*/ 1696892 h 6078415"/>
                <a:gd name="connsiteX2442" fmla="*/ 82139 w 11685910"/>
                <a:gd name="connsiteY2442" fmla="*/ 1698741 h 6078415"/>
                <a:gd name="connsiteX2443" fmla="*/ 121511 w 11685910"/>
                <a:gd name="connsiteY2443" fmla="*/ 1696539 h 6078415"/>
                <a:gd name="connsiteX2444" fmla="*/ 122403 w 11685910"/>
                <a:gd name="connsiteY2444" fmla="*/ 1710276 h 6078415"/>
                <a:gd name="connsiteX2445" fmla="*/ 105366 w 11685910"/>
                <a:gd name="connsiteY2445" fmla="*/ 1722942 h 6078415"/>
                <a:gd name="connsiteX2446" fmla="*/ 124276 w 11685910"/>
                <a:gd name="connsiteY2446" fmla="*/ 1745865 h 6078415"/>
                <a:gd name="connsiteX2447" fmla="*/ 159331 w 11685910"/>
                <a:gd name="connsiteY2447" fmla="*/ 1718125 h 6078415"/>
                <a:gd name="connsiteX2448" fmla="*/ 178419 w 11685910"/>
                <a:gd name="connsiteY2448" fmla="*/ 1676291 h 6078415"/>
                <a:gd name="connsiteX2449" fmla="*/ 161556 w 11685910"/>
                <a:gd name="connsiteY2449" fmla="*/ 1658029 h 6078415"/>
                <a:gd name="connsiteX2450" fmla="*/ 161362 w 11685910"/>
                <a:gd name="connsiteY2450" fmla="*/ 1657520 h 6078415"/>
                <a:gd name="connsiteX2451" fmla="*/ 163980 w 11685910"/>
                <a:gd name="connsiteY2451" fmla="*/ 1659168 h 6078415"/>
                <a:gd name="connsiteX2452" fmla="*/ 183147 w 11685910"/>
                <a:gd name="connsiteY2452" fmla="*/ 1669780 h 6078415"/>
                <a:gd name="connsiteX2453" fmla="*/ 204465 w 11685910"/>
                <a:gd name="connsiteY2453" fmla="*/ 1684230 h 6078415"/>
                <a:gd name="connsiteX2454" fmla="*/ 225426 w 11685910"/>
                <a:gd name="connsiteY2454" fmla="*/ 1665855 h 6078415"/>
                <a:gd name="connsiteX2455" fmla="*/ 222126 w 11685910"/>
                <a:gd name="connsiteY2455" fmla="*/ 1665588 h 6078415"/>
                <a:gd name="connsiteX2456" fmla="*/ 194333 w 11685910"/>
                <a:gd name="connsiteY2456" fmla="*/ 1643440 h 6078415"/>
                <a:gd name="connsiteX2457" fmla="*/ 195257 w 11685910"/>
                <a:gd name="connsiteY2457" fmla="*/ 1638664 h 6078415"/>
                <a:gd name="connsiteX2458" fmla="*/ 197010 w 11685910"/>
                <a:gd name="connsiteY2458" fmla="*/ 1640573 h 6078415"/>
                <a:gd name="connsiteX2459" fmla="*/ 268777 w 11685910"/>
                <a:gd name="connsiteY2459" fmla="*/ 1658720 h 6078415"/>
                <a:gd name="connsiteX2460" fmla="*/ 280640 w 11685910"/>
                <a:gd name="connsiteY2460" fmla="*/ 1541603 h 6078415"/>
                <a:gd name="connsiteX2461" fmla="*/ 271363 w 11685910"/>
                <a:gd name="connsiteY2461" fmla="*/ 1552307 h 6078415"/>
                <a:gd name="connsiteX2462" fmla="*/ 257805 w 11685910"/>
                <a:gd name="connsiteY2462" fmla="*/ 1559175 h 6078415"/>
                <a:gd name="connsiteX2463" fmla="*/ 249328 w 11685910"/>
                <a:gd name="connsiteY2463" fmla="*/ 1619971 h 6078415"/>
                <a:gd name="connsiteX2464" fmla="*/ 247848 w 11685910"/>
                <a:gd name="connsiteY2464" fmla="*/ 1621138 h 6078415"/>
                <a:gd name="connsiteX2465" fmla="*/ 248159 w 11685910"/>
                <a:gd name="connsiteY2465" fmla="*/ 1620537 h 6078415"/>
                <a:gd name="connsiteX2466" fmla="*/ 251383 w 11685910"/>
                <a:gd name="connsiteY2466" fmla="*/ 1601454 h 6078415"/>
                <a:gd name="connsiteX2467" fmla="*/ 238806 w 11685910"/>
                <a:gd name="connsiteY2467" fmla="*/ 1603863 h 6078415"/>
                <a:gd name="connsiteX2468" fmla="*/ 240144 w 11685910"/>
                <a:gd name="connsiteY2468" fmla="*/ 1593427 h 6078415"/>
                <a:gd name="connsiteX2469" fmla="*/ 228370 w 11685910"/>
                <a:gd name="connsiteY2469" fmla="*/ 1593337 h 6078415"/>
                <a:gd name="connsiteX2470" fmla="*/ 231759 w 11685910"/>
                <a:gd name="connsiteY2470" fmla="*/ 1585577 h 6078415"/>
                <a:gd name="connsiteX2471" fmla="*/ 224953 w 11685910"/>
                <a:gd name="connsiteY2471" fmla="*/ 1582433 h 6078415"/>
                <a:gd name="connsiteX2472" fmla="*/ 223066 w 11685910"/>
                <a:gd name="connsiteY2472" fmla="*/ 1582446 h 6078415"/>
                <a:gd name="connsiteX2473" fmla="*/ 224617 w 11685910"/>
                <a:gd name="connsiteY2473" fmla="*/ 1581889 h 6078415"/>
                <a:gd name="connsiteX2474" fmla="*/ 226943 w 11685910"/>
                <a:gd name="connsiteY2474" fmla="*/ 1581207 h 6078415"/>
                <a:gd name="connsiteX2475" fmla="*/ 238182 w 11685910"/>
                <a:gd name="connsiteY2475" fmla="*/ 1578620 h 6078415"/>
                <a:gd name="connsiteX2476" fmla="*/ 226764 w 11685910"/>
                <a:gd name="connsiteY2476" fmla="*/ 1564081 h 6078415"/>
                <a:gd name="connsiteX2477" fmla="*/ 214865 w 11685910"/>
                <a:gd name="connsiteY2477" fmla="*/ 1562621 h 6078415"/>
                <a:gd name="connsiteX2478" fmla="*/ 213766 w 11685910"/>
                <a:gd name="connsiteY2478" fmla="*/ 1562563 h 6078415"/>
                <a:gd name="connsiteX2479" fmla="*/ 213775 w 11685910"/>
                <a:gd name="connsiteY2479" fmla="*/ 1562539 h 6078415"/>
                <a:gd name="connsiteX2480" fmla="*/ 221502 w 11685910"/>
                <a:gd name="connsiteY2480" fmla="*/ 1560156 h 6078415"/>
                <a:gd name="connsiteX2481" fmla="*/ 179133 w 11685910"/>
                <a:gd name="connsiteY2481" fmla="*/ 1534200 h 6078415"/>
                <a:gd name="connsiteX2482" fmla="*/ 129003 w 11685910"/>
                <a:gd name="connsiteY2482" fmla="*/ 1557658 h 6078415"/>
                <a:gd name="connsiteX2483" fmla="*/ 143140 w 11685910"/>
                <a:gd name="connsiteY2483" fmla="*/ 1557983 h 6078415"/>
                <a:gd name="connsiteX2484" fmla="*/ 143713 w 11685910"/>
                <a:gd name="connsiteY2484" fmla="*/ 1558067 h 6078415"/>
                <a:gd name="connsiteX2485" fmla="*/ 141319 w 11685910"/>
                <a:gd name="connsiteY2485" fmla="*/ 1558718 h 6078415"/>
                <a:gd name="connsiteX2486" fmla="*/ 116886 w 11685910"/>
                <a:gd name="connsiteY2486" fmla="*/ 1563799 h 6078415"/>
                <a:gd name="connsiteX2487" fmla="*/ 70723 w 11685910"/>
                <a:gd name="connsiteY2487" fmla="*/ 1623678 h 6078415"/>
                <a:gd name="connsiteX2488" fmla="*/ 84610 w 11685910"/>
                <a:gd name="connsiteY2488" fmla="*/ 1645641 h 6078415"/>
                <a:gd name="connsiteX2489" fmla="*/ 99019 w 11685910"/>
                <a:gd name="connsiteY2489" fmla="*/ 1629215 h 6078415"/>
                <a:gd name="connsiteX2490" fmla="*/ 82161 w 11685910"/>
                <a:gd name="connsiteY2490" fmla="*/ 1664085 h 6078415"/>
                <a:gd name="connsiteX2491" fmla="*/ 97983 w 11685910"/>
                <a:gd name="connsiteY2491" fmla="*/ 1673403 h 6078415"/>
                <a:gd name="connsiteX2492" fmla="*/ 124955 w 11685910"/>
                <a:gd name="connsiteY2492" fmla="*/ 1660051 h 6078415"/>
                <a:gd name="connsiteX2493" fmla="*/ 142246 w 11685910"/>
                <a:gd name="connsiteY2493" fmla="*/ 1658321 h 6078415"/>
                <a:gd name="connsiteX2494" fmla="*/ 148442 w 11685910"/>
                <a:gd name="connsiteY2494" fmla="*/ 1589735 h 6078415"/>
                <a:gd name="connsiteX2495" fmla="*/ 149162 w 11685910"/>
                <a:gd name="connsiteY2495" fmla="*/ 1667111 h 6078415"/>
                <a:gd name="connsiteX2496" fmla="*/ 147069 w 11685910"/>
                <a:gd name="connsiteY2496" fmla="*/ 1666768 h 6078415"/>
                <a:gd name="connsiteX2497" fmla="*/ 144418 w 11685910"/>
                <a:gd name="connsiteY2497" fmla="*/ 1666090 h 6078415"/>
                <a:gd name="connsiteX2498" fmla="*/ 141702 w 11685910"/>
                <a:gd name="connsiteY2498" fmla="*/ 1665666 h 6078415"/>
                <a:gd name="connsiteX2499" fmla="*/ 140941 w 11685910"/>
                <a:gd name="connsiteY2499" fmla="*/ 1665490 h 6078415"/>
                <a:gd name="connsiteX2500" fmla="*/ 134216 w 11685910"/>
                <a:gd name="connsiteY2500" fmla="*/ 1665262 h 6078415"/>
                <a:gd name="connsiteX2501" fmla="*/ 133237 w 11685910"/>
                <a:gd name="connsiteY2501" fmla="*/ 1665490 h 6078415"/>
                <a:gd name="connsiteX2502" fmla="*/ 132645 w 11685910"/>
                <a:gd name="connsiteY2502" fmla="*/ 1665541 h 6078415"/>
                <a:gd name="connsiteX2503" fmla="*/ 93681 w 11685910"/>
                <a:gd name="connsiteY2503" fmla="*/ 1681375 h 6078415"/>
                <a:gd name="connsiteX2504" fmla="*/ 71491 w 11685910"/>
                <a:gd name="connsiteY2504" fmla="*/ 1663777 h 6078415"/>
                <a:gd name="connsiteX2505" fmla="*/ 71036 w 11685910"/>
                <a:gd name="connsiteY2505" fmla="*/ 1663187 h 6078415"/>
                <a:gd name="connsiteX2506" fmla="*/ 72747 w 11685910"/>
                <a:gd name="connsiteY2506" fmla="*/ 1660328 h 6078415"/>
                <a:gd name="connsiteX2507" fmla="*/ 78785 w 11685910"/>
                <a:gd name="connsiteY2507" fmla="*/ 1651583 h 6078415"/>
                <a:gd name="connsiteX2508" fmla="*/ 61837 w 11685910"/>
                <a:gd name="connsiteY2508" fmla="*/ 1624735 h 6078415"/>
                <a:gd name="connsiteX2509" fmla="*/ 91897 w 11685910"/>
                <a:gd name="connsiteY2509" fmla="*/ 1578887 h 6078415"/>
                <a:gd name="connsiteX2510" fmla="*/ 12381 w 11685910"/>
                <a:gd name="connsiteY2510" fmla="*/ 1625950 h 6078415"/>
                <a:gd name="connsiteX2511" fmla="*/ 8780 w 11685910"/>
                <a:gd name="connsiteY2511" fmla="*/ 1622709 h 6078415"/>
                <a:gd name="connsiteX2512" fmla="*/ 9833 w 11685910"/>
                <a:gd name="connsiteY2512" fmla="*/ 1622118 h 6078415"/>
                <a:gd name="connsiteX2513" fmla="*/ 13760 w 11685910"/>
                <a:gd name="connsiteY2513" fmla="*/ 1602346 h 6078415"/>
                <a:gd name="connsiteX2514" fmla="*/ 3348 w 11685910"/>
                <a:gd name="connsiteY2514" fmla="*/ 1612371 h 6078415"/>
                <a:gd name="connsiteX2515" fmla="*/ 4254 w 11685910"/>
                <a:gd name="connsiteY2515" fmla="*/ 1605518 h 6078415"/>
                <a:gd name="connsiteX2516" fmla="*/ 17808 w 11685910"/>
                <a:gd name="connsiteY2516" fmla="*/ 1597020 h 6078415"/>
                <a:gd name="connsiteX2517" fmla="*/ 17808 w 11685910"/>
                <a:gd name="connsiteY2517" fmla="*/ 1620686 h 6078415"/>
                <a:gd name="connsiteX2518" fmla="*/ 93636 w 11685910"/>
                <a:gd name="connsiteY2518" fmla="*/ 1572630 h 6078415"/>
                <a:gd name="connsiteX2519" fmla="*/ 116094 w 11685910"/>
                <a:gd name="connsiteY2519" fmla="*/ 1556208 h 6078415"/>
                <a:gd name="connsiteX2520" fmla="*/ 122089 w 11685910"/>
                <a:gd name="connsiteY2520" fmla="*/ 1555580 h 6078415"/>
                <a:gd name="connsiteX2521" fmla="*/ 122784 w 11685910"/>
                <a:gd name="connsiteY2521" fmla="*/ 1554093 h 6078415"/>
                <a:gd name="connsiteX2522" fmla="*/ 141934 w 11685910"/>
                <a:gd name="connsiteY2522" fmla="*/ 1535682 h 6078415"/>
                <a:gd name="connsiteX2523" fmla="*/ 177365 w 11685910"/>
                <a:gd name="connsiteY2523" fmla="*/ 1527682 h 6078415"/>
                <a:gd name="connsiteX2524" fmla="*/ 7307218 w 11685910"/>
                <a:gd name="connsiteY2524" fmla="*/ 1527636 h 6078415"/>
                <a:gd name="connsiteX2525" fmla="*/ 7352068 w 11685910"/>
                <a:gd name="connsiteY2525" fmla="*/ 1566659 h 6078415"/>
                <a:gd name="connsiteX2526" fmla="*/ 7352068 w 11685910"/>
                <a:gd name="connsiteY2526" fmla="*/ 1603018 h 6078415"/>
                <a:gd name="connsiteX2527" fmla="*/ 7371705 w 11685910"/>
                <a:gd name="connsiteY2527" fmla="*/ 1629878 h 6078415"/>
                <a:gd name="connsiteX2528" fmla="*/ 7371705 w 11685910"/>
                <a:gd name="connsiteY2528" fmla="*/ 1648374 h 6078415"/>
                <a:gd name="connsiteX2529" fmla="*/ 7352068 w 11685910"/>
                <a:gd name="connsiteY2529" fmla="*/ 1674727 h 6078415"/>
                <a:gd name="connsiteX2530" fmla="*/ 7352068 w 11685910"/>
                <a:gd name="connsiteY2530" fmla="*/ 1712102 h 6078415"/>
                <a:gd name="connsiteX2531" fmla="*/ 7307218 w 11685910"/>
                <a:gd name="connsiteY2531" fmla="*/ 1750616 h 6078415"/>
                <a:gd name="connsiteX2532" fmla="*/ 7307218 w 11685910"/>
                <a:gd name="connsiteY2532" fmla="*/ 1731105 h 6078415"/>
                <a:gd name="connsiteX2533" fmla="*/ 7322865 w 11685910"/>
                <a:gd name="connsiteY2533" fmla="*/ 1725024 h 6078415"/>
                <a:gd name="connsiteX2534" fmla="*/ 7327489 w 11685910"/>
                <a:gd name="connsiteY2534" fmla="*/ 1705767 h 6078415"/>
                <a:gd name="connsiteX2535" fmla="*/ 7327489 w 11685910"/>
                <a:gd name="connsiteY2535" fmla="*/ 1670419 h 6078415"/>
                <a:gd name="connsiteX2536" fmla="*/ 7352448 w 11685910"/>
                <a:gd name="connsiteY2536" fmla="*/ 1639126 h 6078415"/>
                <a:gd name="connsiteX2537" fmla="*/ 7352448 w 11685910"/>
                <a:gd name="connsiteY2537" fmla="*/ 1638746 h 6078415"/>
                <a:gd name="connsiteX2538" fmla="*/ 7327489 w 11685910"/>
                <a:gd name="connsiteY2538" fmla="*/ 1607199 h 6078415"/>
                <a:gd name="connsiteX2539" fmla="*/ 7327489 w 11685910"/>
                <a:gd name="connsiteY2539" fmla="*/ 1571472 h 6078415"/>
                <a:gd name="connsiteX2540" fmla="*/ 7307218 w 11685910"/>
                <a:gd name="connsiteY2540" fmla="*/ 1547274 h 6078415"/>
                <a:gd name="connsiteX2541" fmla="*/ 7289734 w 11685910"/>
                <a:gd name="connsiteY2541" fmla="*/ 1527636 h 6078415"/>
                <a:gd name="connsiteX2542" fmla="*/ 7289734 w 11685910"/>
                <a:gd name="connsiteY2542" fmla="*/ 1547274 h 6078415"/>
                <a:gd name="connsiteX2543" fmla="*/ 7269590 w 11685910"/>
                <a:gd name="connsiteY2543" fmla="*/ 1571472 h 6078415"/>
                <a:gd name="connsiteX2544" fmla="*/ 7269590 w 11685910"/>
                <a:gd name="connsiteY2544" fmla="*/ 1607199 h 6078415"/>
                <a:gd name="connsiteX2545" fmla="*/ 7244378 w 11685910"/>
                <a:gd name="connsiteY2545" fmla="*/ 1638746 h 6078415"/>
                <a:gd name="connsiteX2546" fmla="*/ 7244378 w 11685910"/>
                <a:gd name="connsiteY2546" fmla="*/ 1639126 h 6078415"/>
                <a:gd name="connsiteX2547" fmla="*/ 7269590 w 11685910"/>
                <a:gd name="connsiteY2547" fmla="*/ 1670419 h 6078415"/>
                <a:gd name="connsiteX2548" fmla="*/ 7269590 w 11685910"/>
                <a:gd name="connsiteY2548" fmla="*/ 1705767 h 6078415"/>
                <a:gd name="connsiteX2549" fmla="*/ 7274088 w 11685910"/>
                <a:gd name="connsiteY2549" fmla="*/ 1725087 h 6078415"/>
                <a:gd name="connsiteX2550" fmla="*/ 7289734 w 11685910"/>
                <a:gd name="connsiteY2550" fmla="*/ 1731105 h 6078415"/>
                <a:gd name="connsiteX2551" fmla="*/ 7289734 w 11685910"/>
                <a:gd name="connsiteY2551" fmla="*/ 1750616 h 6078415"/>
                <a:gd name="connsiteX2552" fmla="*/ 7244632 w 11685910"/>
                <a:gd name="connsiteY2552" fmla="*/ 1712102 h 6078415"/>
                <a:gd name="connsiteX2553" fmla="*/ 7244632 w 11685910"/>
                <a:gd name="connsiteY2553" fmla="*/ 1674727 h 6078415"/>
                <a:gd name="connsiteX2554" fmla="*/ 7224867 w 11685910"/>
                <a:gd name="connsiteY2554" fmla="*/ 1648374 h 6078415"/>
                <a:gd name="connsiteX2555" fmla="*/ 7224867 w 11685910"/>
                <a:gd name="connsiteY2555" fmla="*/ 1629878 h 6078415"/>
                <a:gd name="connsiteX2556" fmla="*/ 7244632 w 11685910"/>
                <a:gd name="connsiteY2556" fmla="*/ 1603018 h 6078415"/>
                <a:gd name="connsiteX2557" fmla="*/ 7244632 w 11685910"/>
                <a:gd name="connsiteY2557" fmla="*/ 1566659 h 6078415"/>
                <a:gd name="connsiteX2558" fmla="*/ 7289734 w 11685910"/>
                <a:gd name="connsiteY2558" fmla="*/ 1527636 h 6078415"/>
                <a:gd name="connsiteX2559" fmla="*/ 1251166 w 11685910"/>
                <a:gd name="connsiteY2559" fmla="*/ 1527636 h 6078415"/>
                <a:gd name="connsiteX2560" fmla="*/ 1296016 w 11685910"/>
                <a:gd name="connsiteY2560" fmla="*/ 1566659 h 6078415"/>
                <a:gd name="connsiteX2561" fmla="*/ 1296016 w 11685910"/>
                <a:gd name="connsiteY2561" fmla="*/ 1603018 h 6078415"/>
                <a:gd name="connsiteX2562" fmla="*/ 1315653 w 11685910"/>
                <a:gd name="connsiteY2562" fmla="*/ 1629878 h 6078415"/>
                <a:gd name="connsiteX2563" fmla="*/ 1315653 w 11685910"/>
                <a:gd name="connsiteY2563" fmla="*/ 1648374 h 6078415"/>
                <a:gd name="connsiteX2564" fmla="*/ 1296016 w 11685910"/>
                <a:gd name="connsiteY2564" fmla="*/ 1674727 h 6078415"/>
                <a:gd name="connsiteX2565" fmla="*/ 1296016 w 11685910"/>
                <a:gd name="connsiteY2565" fmla="*/ 1712102 h 6078415"/>
                <a:gd name="connsiteX2566" fmla="*/ 1251166 w 11685910"/>
                <a:gd name="connsiteY2566" fmla="*/ 1750616 h 6078415"/>
                <a:gd name="connsiteX2567" fmla="*/ 1251166 w 11685910"/>
                <a:gd name="connsiteY2567" fmla="*/ 1731105 h 6078415"/>
                <a:gd name="connsiteX2568" fmla="*/ 1266813 w 11685910"/>
                <a:gd name="connsiteY2568" fmla="*/ 1725024 h 6078415"/>
                <a:gd name="connsiteX2569" fmla="*/ 1271437 w 11685910"/>
                <a:gd name="connsiteY2569" fmla="*/ 1705767 h 6078415"/>
                <a:gd name="connsiteX2570" fmla="*/ 1271437 w 11685910"/>
                <a:gd name="connsiteY2570" fmla="*/ 1670419 h 6078415"/>
                <a:gd name="connsiteX2571" fmla="*/ 1296396 w 11685910"/>
                <a:gd name="connsiteY2571" fmla="*/ 1639126 h 6078415"/>
                <a:gd name="connsiteX2572" fmla="*/ 1296396 w 11685910"/>
                <a:gd name="connsiteY2572" fmla="*/ 1638746 h 6078415"/>
                <a:gd name="connsiteX2573" fmla="*/ 1271437 w 11685910"/>
                <a:gd name="connsiteY2573" fmla="*/ 1607199 h 6078415"/>
                <a:gd name="connsiteX2574" fmla="*/ 1271437 w 11685910"/>
                <a:gd name="connsiteY2574" fmla="*/ 1571472 h 6078415"/>
                <a:gd name="connsiteX2575" fmla="*/ 1251166 w 11685910"/>
                <a:gd name="connsiteY2575" fmla="*/ 1547274 h 6078415"/>
                <a:gd name="connsiteX2576" fmla="*/ 1233682 w 11685910"/>
                <a:gd name="connsiteY2576" fmla="*/ 1527636 h 6078415"/>
                <a:gd name="connsiteX2577" fmla="*/ 1233682 w 11685910"/>
                <a:gd name="connsiteY2577" fmla="*/ 1547274 h 6078415"/>
                <a:gd name="connsiteX2578" fmla="*/ 1213538 w 11685910"/>
                <a:gd name="connsiteY2578" fmla="*/ 1571472 h 6078415"/>
                <a:gd name="connsiteX2579" fmla="*/ 1213538 w 11685910"/>
                <a:gd name="connsiteY2579" fmla="*/ 1607199 h 6078415"/>
                <a:gd name="connsiteX2580" fmla="*/ 1188326 w 11685910"/>
                <a:gd name="connsiteY2580" fmla="*/ 1638746 h 6078415"/>
                <a:gd name="connsiteX2581" fmla="*/ 1188326 w 11685910"/>
                <a:gd name="connsiteY2581" fmla="*/ 1639126 h 6078415"/>
                <a:gd name="connsiteX2582" fmla="*/ 1213538 w 11685910"/>
                <a:gd name="connsiteY2582" fmla="*/ 1670419 h 6078415"/>
                <a:gd name="connsiteX2583" fmla="*/ 1213538 w 11685910"/>
                <a:gd name="connsiteY2583" fmla="*/ 1705767 h 6078415"/>
                <a:gd name="connsiteX2584" fmla="*/ 1218036 w 11685910"/>
                <a:gd name="connsiteY2584" fmla="*/ 1725087 h 6078415"/>
                <a:gd name="connsiteX2585" fmla="*/ 1233682 w 11685910"/>
                <a:gd name="connsiteY2585" fmla="*/ 1731105 h 6078415"/>
                <a:gd name="connsiteX2586" fmla="*/ 1233682 w 11685910"/>
                <a:gd name="connsiteY2586" fmla="*/ 1750616 h 6078415"/>
                <a:gd name="connsiteX2587" fmla="*/ 1188580 w 11685910"/>
                <a:gd name="connsiteY2587" fmla="*/ 1712102 h 6078415"/>
                <a:gd name="connsiteX2588" fmla="*/ 1188580 w 11685910"/>
                <a:gd name="connsiteY2588" fmla="*/ 1674727 h 6078415"/>
                <a:gd name="connsiteX2589" fmla="*/ 1168815 w 11685910"/>
                <a:gd name="connsiteY2589" fmla="*/ 1648374 h 6078415"/>
                <a:gd name="connsiteX2590" fmla="*/ 1168815 w 11685910"/>
                <a:gd name="connsiteY2590" fmla="*/ 1629878 h 6078415"/>
                <a:gd name="connsiteX2591" fmla="*/ 1188580 w 11685910"/>
                <a:gd name="connsiteY2591" fmla="*/ 1603018 h 6078415"/>
                <a:gd name="connsiteX2592" fmla="*/ 1188580 w 11685910"/>
                <a:gd name="connsiteY2592" fmla="*/ 1566659 h 6078415"/>
                <a:gd name="connsiteX2593" fmla="*/ 1233682 w 11685910"/>
                <a:gd name="connsiteY2593" fmla="*/ 1527636 h 6078415"/>
                <a:gd name="connsiteX2594" fmla="*/ 11615831 w 11685910"/>
                <a:gd name="connsiteY2594" fmla="*/ 1214333 h 6078415"/>
                <a:gd name="connsiteX2595" fmla="*/ 11660680 w 11685910"/>
                <a:gd name="connsiteY2595" fmla="*/ 1253354 h 6078415"/>
                <a:gd name="connsiteX2596" fmla="*/ 11660680 w 11685910"/>
                <a:gd name="connsiteY2596" fmla="*/ 1289715 h 6078415"/>
                <a:gd name="connsiteX2597" fmla="*/ 11680318 w 11685910"/>
                <a:gd name="connsiteY2597" fmla="*/ 1316575 h 6078415"/>
                <a:gd name="connsiteX2598" fmla="*/ 11680318 w 11685910"/>
                <a:gd name="connsiteY2598" fmla="*/ 1335071 h 6078415"/>
                <a:gd name="connsiteX2599" fmla="*/ 11660680 w 11685910"/>
                <a:gd name="connsiteY2599" fmla="*/ 1361425 h 6078415"/>
                <a:gd name="connsiteX2600" fmla="*/ 11660680 w 11685910"/>
                <a:gd name="connsiteY2600" fmla="*/ 1398799 h 6078415"/>
                <a:gd name="connsiteX2601" fmla="*/ 11615831 w 11685910"/>
                <a:gd name="connsiteY2601" fmla="*/ 1437313 h 6078415"/>
                <a:gd name="connsiteX2602" fmla="*/ 11615831 w 11685910"/>
                <a:gd name="connsiteY2602" fmla="*/ 1417802 h 6078415"/>
                <a:gd name="connsiteX2603" fmla="*/ 11631478 w 11685910"/>
                <a:gd name="connsiteY2603" fmla="*/ 1411722 h 6078415"/>
                <a:gd name="connsiteX2604" fmla="*/ 11636102 w 11685910"/>
                <a:gd name="connsiteY2604" fmla="*/ 1392464 h 6078415"/>
                <a:gd name="connsiteX2605" fmla="*/ 11636102 w 11685910"/>
                <a:gd name="connsiteY2605" fmla="*/ 1357116 h 6078415"/>
                <a:gd name="connsiteX2606" fmla="*/ 11661061 w 11685910"/>
                <a:gd name="connsiteY2606" fmla="*/ 1325823 h 6078415"/>
                <a:gd name="connsiteX2607" fmla="*/ 11661061 w 11685910"/>
                <a:gd name="connsiteY2607" fmla="*/ 1325443 h 6078415"/>
                <a:gd name="connsiteX2608" fmla="*/ 11636102 w 11685910"/>
                <a:gd name="connsiteY2608" fmla="*/ 1293896 h 6078415"/>
                <a:gd name="connsiteX2609" fmla="*/ 11636102 w 11685910"/>
                <a:gd name="connsiteY2609" fmla="*/ 1258169 h 6078415"/>
                <a:gd name="connsiteX2610" fmla="*/ 11615831 w 11685910"/>
                <a:gd name="connsiteY2610" fmla="*/ 1233971 h 6078415"/>
                <a:gd name="connsiteX2611" fmla="*/ 11598347 w 11685910"/>
                <a:gd name="connsiteY2611" fmla="*/ 1214333 h 6078415"/>
                <a:gd name="connsiteX2612" fmla="*/ 11598347 w 11685910"/>
                <a:gd name="connsiteY2612" fmla="*/ 1233971 h 6078415"/>
                <a:gd name="connsiteX2613" fmla="*/ 11578203 w 11685910"/>
                <a:gd name="connsiteY2613" fmla="*/ 1258169 h 6078415"/>
                <a:gd name="connsiteX2614" fmla="*/ 11578203 w 11685910"/>
                <a:gd name="connsiteY2614" fmla="*/ 1293896 h 6078415"/>
                <a:gd name="connsiteX2615" fmla="*/ 11552991 w 11685910"/>
                <a:gd name="connsiteY2615" fmla="*/ 1325443 h 6078415"/>
                <a:gd name="connsiteX2616" fmla="*/ 11552991 w 11685910"/>
                <a:gd name="connsiteY2616" fmla="*/ 1325823 h 6078415"/>
                <a:gd name="connsiteX2617" fmla="*/ 11578203 w 11685910"/>
                <a:gd name="connsiteY2617" fmla="*/ 1357116 h 6078415"/>
                <a:gd name="connsiteX2618" fmla="*/ 11578203 w 11685910"/>
                <a:gd name="connsiteY2618" fmla="*/ 1392464 h 6078415"/>
                <a:gd name="connsiteX2619" fmla="*/ 11582701 w 11685910"/>
                <a:gd name="connsiteY2619" fmla="*/ 1411784 h 6078415"/>
                <a:gd name="connsiteX2620" fmla="*/ 11598347 w 11685910"/>
                <a:gd name="connsiteY2620" fmla="*/ 1417802 h 6078415"/>
                <a:gd name="connsiteX2621" fmla="*/ 11598347 w 11685910"/>
                <a:gd name="connsiteY2621" fmla="*/ 1437313 h 6078415"/>
                <a:gd name="connsiteX2622" fmla="*/ 11553244 w 11685910"/>
                <a:gd name="connsiteY2622" fmla="*/ 1398799 h 6078415"/>
                <a:gd name="connsiteX2623" fmla="*/ 11553244 w 11685910"/>
                <a:gd name="connsiteY2623" fmla="*/ 1361425 h 6078415"/>
                <a:gd name="connsiteX2624" fmla="*/ 11533480 w 11685910"/>
                <a:gd name="connsiteY2624" fmla="*/ 1335071 h 6078415"/>
                <a:gd name="connsiteX2625" fmla="*/ 11533480 w 11685910"/>
                <a:gd name="connsiteY2625" fmla="*/ 1316575 h 6078415"/>
                <a:gd name="connsiteX2626" fmla="*/ 11553244 w 11685910"/>
                <a:gd name="connsiteY2626" fmla="*/ 1289715 h 6078415"/>
                <a:gd name="connsiteX2627" fmla="*/ 11553244 w 11685910"/>
                <a:gd name="connsiteY2627" fmla="*/ 1253354 h 6078415"/>
                <a:gd name="connsiteX2628" fmla="*/ 11598347 w 11685910"/>
                <a:gd name="connsiteY2628" fmla="*/ 1214333 h 6078415"/>
                <a:gd name="connsiteX2629" fmla="*/ 10941808 w 11685910"/>
                <a:gd name="connsiteY2629" fmla="*/ 1214333 h 6078415"/>
                <a:gd name="connsiteX2630" fmla="*/ 10986657 w 11685910"/>
                <a:gd name="connsiteY2630" fmla="*/ 1253354 h 6078415"/>
                <a:gd name="connsiteX2631" fmla="*/ 10986657 w 11685910"/>
                <a:gd name="connsiteY2631" fmla="*/ 1289715 h 6078415"/>
                <a:gd name="connsiteX2632" fmla="*/ 11006295 w 11685910"/>
                <a:gd name="connsiteY2632" fmla="*/ 1316575 h 6078415"/>
                <a:gd name="connsiteX2633" fmla="*/ 11006295 w 11685910"/>
                <a:gd name="connsiteY2633" fmla="*/ 1335071 h 6078415"/>
                <a:gd name="connsiteX2634" fmla="*/ 10986657 w 11685910"/>
                <a:gd name="connsiteY2634" fmla="*/ 1361425 h 6078415"/>
                <a:gd name="connsiteX2635" fmla="*/ 10986657 w 11685910"/>
                <a:gd name="connsiteY2635" fmla="*/ 1398799 h 6078415"/>
                <a:gd name="connsiteX2636" fmla="*/ 10941808 w 11685910"/>
                <a:gd name="connsiteY2636" fmla="*/ 1437313 h 6078415"/>
                <a:gd name="connsiteX2637" fmla="*/ 10941808 w 11685910"/>
                <a:gd name="connsiteY2637" fmla="*/ 1417802 h 6078415"/>
                <a:gd name="connsiteX2638" fmla="*/ 10957455 w 11685910"/>
                <a:gd name="connsiteY2638" fmla="*/ 1411722 h 6078415"/>
                <a:gd name="connsiteX2639" fmla="*/ 10962079 w 11685910"/>
                <a:gd name="connsiteY2639" fmla="*/ 1392464 h 6078415"/>
                <a:gd name="connsiteX2640" fmla="*/ 10962079 w 11685910"/>
                <a:gd name="connsiteY2640" fmla="*/ 1357116 h 6078415"/>
                <a:gd name="connsiteX2641" fmla="*/ 10987038 w 11685910"/>
                <a:gd name="connsiteY2641" fmla="*/ 1325823 h 6078415"/>
                <a:gd name="connsiteX2642" fmla="*/ 10987038 w 11685910"/>
                <a:gd name="connsiteY2642" fmla="*/ 1325443 h 6078415"/>
                <a:gd name="connsiteX2643" fmla="*/ 10962079 w 11685910"/>
                <a:gd name="connsiteY2643" fmla="*/ 1293896 h 6078415"/>
                <a:gd name="connsiteX2644" fmla="*/ 10962079 w 11685910"/>
                <a:gd name="connsiteY2644" fmla="*/ 1258169 h 6078415"/>
                <a:gd name="connsiteX2645" fmla="*/ 10941808 w 11685910"/>
                <a:gd name="connsiteY2645" fmla="*/ 1233971 h 6078415"/>
                <a:gd name="connsiteX2646" fmla="*/ 10924324 w 11685910"/>
                <a:gd name="connsiteY2646" fmla="*/ 1214333 h 6078415"/>
                <a:gd name="connsiteX2647" fmla="*/ 10924324 w 11685910"/>
                <a:gd name="connsiteY2647" fmla="*/ 1233971 h 6078415"/>
                <a:gd name="connsiteX2648" fmla="*/ 10904180 w 11685910"/>
                <a:gd name="connsiteY2648" fmla="*/ 1258169 h 6078415"/>
                <a:gd name="connsiteX2649" fmla="*/ 10904180 w 11685910"/>
                <a:gd name="connsiteY2649" fmla="*/ 1293896 h 6078415"/>
                <a:gd name="connsiteX2650" fmla="*/ 10878968 w 11685910"/>
                <a:gd name="connsiteY2650" fmla="*/ 1325443 h 6078415"/>
                <a:gd name="connsiteX2651" fmla="*/ 10878968 w 11685910"/>
                <a:gd name="connsiteY2651" fmla="*/ 1325823 h 6078415"/>
                <a:gd name="connsiteX2652" fmla="*/ 10904180 w 11685910"/>
                <a:gd name="connsiteY2652" fmla="*/ 1357116 h 6078415"/>
                <a:gd name="connsiteX2653" fmla="*/ 10904180 w 11685910"/>
                <a:gd name="connsiteY2653" fmla="*/ 1392464 h 6078415"/>
                <a:gd name="connsiteX2654" fmla="*/ 10908678 w 11685910"/>
                <a:gd name="connsiteY2654" fmla="*/ 1411784 h 6078415"/>
                <a:gd name="connsiteX2655" fmla="*/ 10924324 w 11685910"/>
                <a:gd name="connsiteY2655" fmla="*/ 1417802 h 6078415"/>
                <a:gd name="connsiteX2656" fmla="*/ 10924324 w 11685910"/>
                <a:gd name="connsiteY2656" fmla="*/ 1437313 h 6078415"/>
                <a:gd name="connsiteX2657" fmla="*/ 10879221 w 11685910"/>
                <a:gd name="connsiteY2657" fmla="*/ 1398799 h 6078415"/>
                <a:gd name="connsiteX2658" fmla="*/ 10879221 w 11685910"/>
                <a:gd name="connsiteY2658" fmla="*/ 1361425 h 6078415"/>
                <a:gd name="connsiteX2659" fmla="*/ 10859457 w 11685910"/>
                <a:gd name="connsiteY2659" fmla="*/ 1335071 h 6078415"/>
                <a:gd name="connsiteX2660" fmla="*/ 10859457 w 11685910"/>
                <a:gd name="connsiteY2660" fmla="*/ 1316575 h 6078415"/>
                <a:gd name="connsiteX2661" fmla="*/ 10879221 w 11685910"/>
                <a:gd name="connsiteY2661" fmla="*/ 1289715 h 6078415"/>
                <a:gd name="connsiteX2662" fmla="*/ 10879221 w 11685910"/>
                <a:gd name="connsiteY2662" fmla="*/ 1253354 h 6078415"/>
                <a:gd name="connsiteX2663" fmla="*/ 10924324 w 11685910"/>
                <a:gd name="connsiteY2663" fmla="*/ 1214333 h 6078415"/>
                <a:gd name="connsiteX2664" fmla="*/ 9743358 w 11685910"/>
                <a:gd name="connsiteY2664" fmla="*/ 1214333 h 6078415"/>
                <a:gd name="connsiteX2665" fmla="*/ 9788207 w 11685910"/>
                <a:gd name="connsiteY2665" fmla="*/ 1253354 h 6078415"/>
                <a:gd name="connsiteX2666" fmla="*/ 9788207 w 11685910"/>
                <a:gd name="connsiteY2666" fmla="*/ 1289715 h 6078415"/>
                <a:gd name="connsiteX2667" fmla="*/ 9807845 w 11685910"/>
                <a:gd name="connsiteY2667" fmla="*/ 1316575 h 6078415"/>
                <a:gd name="connsiteX2668" fmla="*/ 9807845 w 11685910"/>
                <a:gd name="connsiteY2668" fmla="*/ 1335071 h 6078415"/>
                <a:gd name="connsiteX2669" fmla="*/ 9788207 w 11685910"/>
                <a:gd name="connsiteY2669" fmla="*/ 1361425 h 6078415"/>
                <a:gd name="connsiteX2670" fmla="*/ 9788207 w 11685910"/>
                <a:gd name="connsiteY2670" fmla="*/ 1398799 h 6078415"/>
                <a:gd name="connsiteX2671" fmla="*/ 9743358 w 11685910"/>
                <a:gd name="connsiteY2671" fmla="*/ 1437313 h 6078415"/>
                <a:gd name="connsiteX2672" fmla="*/ 9743358 w 11685910"/>
                <a:gd name="connsiteY2672" fmla="*/ 1417802 h 6078415"/>
                <a:gd name="connsiteX2673" fmla="*/ 9759005 w 11685910"/>
                <a:gd name="connsiteY2673" fmla="*/ 1411722 h 6078415"/>
                <a:gd name="connsiteX2674" fmla="*/ 9763629 w 11685910"/>
                <a:gd name="connsiteY2674" fmla="*/ 1392464 h 6078415"/>
                <a:gd name="connsiteX2675" fmla="*/ 9763629 w 11685910"/>
                <a:gd name="connsiteY2675" fmla="*/ 1357116 h 6078415"/>
                <a:gd name="connsiteX2676" fmla="*/ 9788588 w 11685910"/>
                <a:gd name="connsiteY2676" fmla="*/ 1325823 h 6078415"/>
                <a:gd name="connsiteX2677" fmla="*/ 9788588 w 11685910"/>
                <a:gd name="connsiteY2677" fmla="*/ 1325443 h 6078415"/>
                <a:gd name="connsiteX2678" fmla="*/ 9763629 w 11685910"/>
                <a:gd name="connsiteY2678" fmla="*/ 1293896 h 6078415"/>
                <a:gd name="connsiteX2679" fmla="*/ 9763629 w 11685910"/>
                <a:gd name="connsiteY2679" fmla="*/ 1258169 h 6078415"/>
                <a:gd name="connsiteX2680" fmla="*/ 9743358 w 11685910"/>
                <a:gd name="connsiteY2680" fmla="*/ 1233971 h 6078415"/>
                <a:gd name="connsiteX2681" fmla="*/ 9725874 w 11685910"/>
                <a:gd name="connsiteY2681" fmla="*/ 1214333 h 6078415"/>
                <a:gd name="connsiteX2682" fmla="*/ 9725874 w 11685910"/>
                <a:gd name="connsiteY2682" fmla="*/ 1233971 h 6078415"/>
                <a:gd name="connsiteX2683" fmla="*/ 9705730 w 11685910"/>
                <a:gd name="connsiteY2683" fmla="*/ 1258169 h 6078415"/>
                <a:gd name="connsiteX2684" fmla="*/ 9705730 w 11685910"/>
                <a:gd name="connsiteY2684" fmla="*/ 1293896 h 6078415"/>
                <a:gd name="connsiteX2685" fmla="*/ 9680518 w 11685910"/>
                <a:gd name="connsiteY2685" fmla="*/ 1325443 h 6078415"/>
                <a:gd name="connsiteX2686" fmla="*/ 9680518 w 11685910"/>
                <a:gd name="connsiteY2686" fmla="*/ 1325823 h 6078415"/>
                <a:gd name="connsiteX2687" fmla="*/ 9705730 w 11685910"/>
                <a:gd name="connsiteY2687" fmla="*/ 1357116 h 6078415"/>
                <a:gd name="connsiteX2688" fmla="*/ 9705730 w 11685910"/>
                <a:gd name="connsiteY2688" fmla="*/ 1392464 h 6078415"/>
                <a:gd name="connsiteX2689" fmla="*/ 9710228 w 11685910"/>
                <a:gd name="connsiteY2689" fmla="*/ 1411784 h 6078415"/>
                <a:gd name="connsiteX2690" fmla="*/ 9725874 w 11685910"/>
                <a:gd name="connsiteY2690" fmla="*/ 1417802 h 6078415"/>
                <a:gd name="connsiteX2691" fmla="*/ 9725874 w 11685910"/>
                <a:gd name="connsiteY2691" fmla="*/ 1437313 h 6078415"/>
                <a:gd name="connsiteX2692" fmla="*/ 9680771 w 11685910"/>
                <a:gd name="connsiteY2692" fmla="*/ 1398799 h 6078415"/>
                <a:gd name="connsiteX2693" fmla="*/ 9680771 w 11685910"/>
                <a:gd name="connsiteY2693" fmla="*/ 1361425 h 6078415"/>
                <a:gd name="connsiteX2694" fmla="*/ 9661007 w 11685910"/>
                <a:gd name="connsiteY2694" fmla="*/ 1335071 h 6078415"/>
                <a:gd name="connsiteX2695" fmla="*/ 9661007 w 11685910"/>
                <a:gd name="connsiteY2695" fmla="*/ 1316575 h 6078415"/>
                <a:gd name="connsiteX2696" fmla="*/ 9680771 w 11685910"/>
                <a:gd name="connsiteY2696" fmla="*/ 1289715 h 6078415"/>
                <a:gd name="connsiteX2697" fmla="*/ 9680771 w 11685910"/>
                <a:gd name="connsiteY2697" fmla="*/ 1253354 h 6078415"/>
                <a:gd name="connsiteX2698" fmla="*/ 9725874 w 11685910"/>
                <a:gd name="connsiteY2698" fmla="*/ 1214333 h 6078415"/>
                <a:gd name="connsiteX2699" fmla="*/ 8119156 w 11685910"/>
                <a:gd name="connsiteY2699" fmla="*/ 1214333 h 6078415"/>
                <a:gd name="connsiteX2700" fmla="*/ 8164005 w 11685910"/>
                <a:gd name="connsiteY2700" fmla="*/ 1253354 h 6078415"/>
                <a:gd name="connsiteX2701" fmla="*/ 8164005 w 11685910"/>
                <a:gd name="connsiteY2701" fmla="*/ 1289715 h 6078415"/>
                <a:gd name="connsiteX2702" fmla="*/ 8183643 w 11685910"/>
                <a:gd name="connsiteY2702" fmla="*/ 1316575 h 6078415"/>
                <a:gd name="connsiteX2703" fmla="*/ 8183643 w 11685910"/>
                <a:gd name="connsiteY2703" fmla="*/ 1335071 h 6078415"/>
                <a:gd name="connsiteX2704" fmla="*/ 8164005 w 11685910"/>
                <a:gd name="connsiteY2704" fmla="*/ 1361425 h 6078415"/>
                <a:gd name="connsiteX2705" fmla="*/ 8164005 w 11685910"/>
                <a:gd name="connsiteY2705" fmla="*/ 1398799 h 6078415"/>
                <a:gd name="connsiteX2706" fmla="*/ 8119156 w 11685910"/>
                <a:gd name="connsiteY2706" fmla="*/ 1437313 h 6078415"/>
                <a:gd name="connsiteX2707" fmla="*/ 8119156 w 11685910"/>
                <a:gd name="connsiteY2707" fmla="*/ 1417802 h 6078415"/>
                <a:gd name="connsiteX2708" fmla="*/ 8134803 w 11685910"/>
                <a:gd name="connsiteY2708" fmla="*/ 1411722 h 6078415"/>
                <a:gd name="connsiteX2709" fmla="*/ 8139427 w 11685910"/>
                <a:gd name="connsiteY2709" fmla="*/ 1392464 h 6078415"/>
                <a:gd name="connsiteX2710" fmla="*/ 8139427 w 11685910"/>
                <a:gd name="connsiteY2710" fmla="*/ 1357116 h 6078415"/>
                <a:gd name="connsiteX2711" fmla="*/ 8164386 w 11685910"/>
                <a:gd name="connsiteY2711" fmla="*/ 1325823 h 6078415"/>
                <a:gd name="connsiteX2712" fmla="*/ 8164386 w 11685910"/>
                <a:gd name="connsiteY2712" fmla="*/ 1325443 h 6078415"/>
                <a:gd name="connsiteX2713" fmla="*/ 8139427 w 11685910"/>
                <a:gd name="connsiteY2713" fmla="*/ 1293896 h 6078415"/>
                <a:gd name="connsiteX2714" fmla="*/ 8139427 w 11685910"/>
                <a:gd name="connsiteY2714" fmla="*/ 1258169 h 6078415"/>
                <a:gd name="connsiteX2715" fmla="*/ 8119156 w 11685910"/>
                <a:gd name="connsiteY2715" fmla="*/ 1233971 h 6078415"/>
                <a:gd name="connsiteX2716" fmla="*/ 8101672 w 11685910"/>
                <a:gd name="connsiteY2716" fmla="*/ 1214333 h 6078415"/>
                <a:gd name="connsiteX2717" fmla="*/ 8101672 w 11685910"/>
                <a:gd name="connsiteY2717" fmla="*/ 1233971 h 6078415"/>
                <a:gd name="connsiteX2718" fmla="*/ 8081528 w 11685910"/>
                <a:gd name="connsiteY2718" fmla="*/ 1258169 h 6078415"/>
                <a:gd name="connsiteX2719" fmla="*/ 8081528 w 11685910"/>
                <a:gd name="connsiteY2719" fmla="*/ 1293896 h 6078415"/>
                <a:gd name="connsiteX2720" fmla="*/ 8056316 w 11685910"/>
                <a:gd name="connsiteY2720" fmla="*/ 1325443 h 6078415"/>
                <a:gd name="connsiteX2721" fmla="*/ 8056316 w 11685910"/>
                <a:gd name="connsiteY2721" fmla="*/ 1325823 h 6078415"/>
                <a:gd name="connsiteX2722" fmla="*/ 8081528 w 11685910"/>
                <a:gd name="connsiteY2722" fmla="*/ 1357116 h 6078415"/>
                <a:gd name="connsiteX2723" fmla="*/ 8081528 w 11685910"/>
                <a:gd name="connsiteY2723" fmla="*/ 1392464 h 6078415"/>
                <a:gd name="connsiteX2724" fmla="*/ 8086026 w 11685910"/>
                <a:gd name="connsiteY2724" fmla="*/ 1411784 h 6078415"/>
                <a:gd name="connsiteX2725" fmla="*/ 8101672 w 11685910"/>
                <a:gd name="connsiteY2725" fmla="*/ 1417802 h 6078415"/>
                <a:gd name="connsiteX2726" fmla="*/ 8101672 w 11685910"/>
                <a:gd name="connsiteY2726" fmla="*/ 1437313 h 6078415"/>
                <a:gd name="connsiteX2727" fmla="*/ 8056570 w 11685910"/>
                <a:gd name="connsiteY2727" fmla="*/ 1398799 h 6078415"/>
                <a:gd name="connsiteX2728" fmla="*/ 8056570 w 11685910"/>
                <a:gd name="connsiteY2728" fmla="*/ 1361425 h 6078415"/>
                <a:gd name="connsiteX2729" fmla="*/ 8036805 w 11685910"/>
                <a:gd name="connsiteY2729" fmla="*/ 1335071 h 6078415"/>
                <a:gd name="connsiteX2730" fmla="*/ 8036805 w 11685910"/>
                <a:gd name="connsiteY2730" fmla="*/ 1316575 h 6078415"/>
                <a:gd name="connsiteX2731" fmla="*/ 8056570 w 11685910"/>
                <a:gd name="connsiteY2731" fmla="*/ 1289715 h 6078415"/>
                <a:gd name="connsiteX2732" fmla="*/ 8056570 w 11685910"/>
                <a:gd name="connsiteY2732" fmla="*/ 1253354 h 6078415"/>
                <a:gd name="connsiteX2733" fmla="*/ 8101672 w 11685910"/>
                <a:gd name="connsiteY2733" fmla="*/ 1214333 h 6078415"/>
                <a:gd name="connsiteX2734" fmla="*/ 5543447 w 11685910"/>
                <a:gd name="connsiteY2734" fmla="*/ 1214333 h 6078415"/>
                <a:gd name="connsiteX2735" fmla="*/ 5588296 w 11685910"/>
                <a:gd name="connsiteY2735" fmla="*/ 1253354 h 6078415"/>
                <a:gd name="connsiteX2736" fmla="*/ 5588296 w 11685910"/>
                <a:gd name="connsiteY2736" fmla="*/ 1289715 h 6078415"/>
                <a:gd name="connsiteX2737" fmla="*/ 5607934 w 11685910"/>
                <a:gd name="connsiteY2737" fmla="*/ 1316575 h 6078415"/>
                <a:gd name="connsiteX2738" fmla="*/ 5607934 w 11685910"/>
                <a:gd name="connsiteY2738" fmla="*/ 1335071 h 6078415"/>
                <a:gd name="connsiteX2739" fmla="*/ 5588296 w 11685910"/>
                <a:gd name="connsiteY2739" fmla="*/ 1361425 h 6078415"/>
                <a:gd name="connsiteX2740" fmla="*/ 5588296 w 11685910"/>
                <a:gd name="connsiteY2740" fmla="*/ 1398799 h 6078415"/>
                <a:gd name="connsiteX2741" fmla="*/ 5543447 w 11685910"/>
                <a:gd name="connsiteY2741" fmla="*/ 1437313 h 6078415"/>
                <a:gd name="connsiteX2742" fmla="*/ 5543447 w 11685910"/>
                <a:gd name="connsiteY2742" fmla="*/ 1417802 h 6078415"/>
                <a:gd name="connsiteX2743" fmla="*/ 5559093 w 11685910"/>
                <a:gd name="connsiteY2743" fmla="*/ 1411722 h 6078415"/>
                <a:gd name="connsiteX2744" fmla="*/ 5563718 w 11685910"/>
                <a:gd name="connsiteY2744" fmla="*/ 1392464 h 6078415"/>
                <a:gd name="connsiteX2745" fmla="*/ 5563718 w 11685910"/>
                <a:gd name="connsiteY2745" fmla="*/ 1357116 h 6078415"/>
                <a:gd name="connsiteX2746" fmla="*/ 5588677 w 11685910"/>
                <a:gd name="connsiteY2746" fmla="*/ 1325823 h 6078415"/>
                <a:gd name="connsiteX2747" fmla="*/ 5588677 w 11685910"/>
                <a:gd name="connsiteY2747" fmla="*/ 1325443 h 6078415"/>
                <a:gd name="connsiteX2748" fmla="*/ 5563718 w 11685910"/>
                <a:gd name="connsiteY2748" fmla="*/ 1293896 h 6078415"/>
                <a:gd name="connsiteX2749" fmla="*/ 5563718 w 11685910"/>
                <a:gd name="connsiteY2749" fmla="*/ 1258169 h 6078415"/>
                <a:gd name="connsiteX2750" fmla="*/ 5543447 w 11685910"/>
                <a:gd name="connsiteY2750" fmla="*/ 1233971 h 6078415"/>
                <a:gd name="connsiteX2751" fmla="*/ 5525964 w 11685910"/>
                <a:gd name="connsiteY2751" fmla="*/ 1214333 h 6078415"/>
                <a:gd name="connsiteX2752" fmla="*/ 5525964 w 11685910"/>
                <a:gd name="connsiteY2752" fmla="*/ 1233971 h 6078415"/>
                <a:gd name="connsiteX2753" fmla="*/ 5505819 w 11685910"/>
                <a:gd name="connsiteY2753" fmla="*/ 1258169 h 6078415"/>
                <a:gd name="connsiteX2754" fmla="*/ 5505819 w 11685910"/>
                <a:gd name="connsiteY2754" fmla="*/ 1293896 h 6078415"/>
                <a:gd name="connsiteX2755" fmla="*/ 5480606 w 11685910"/>
                <a:gd name="connsiteY2755" fmla="*/ 1325443 h 6078415"/>
                <a:gd name="connsiteX2756" fmla="*/ 5480606 w 11685910"/>
                <a:gd name="connsiteY2756" fmla="*/ 1325823 h 6078415"/>
                <a:gd name="connsiteX2757" fmla="*/ 5505819 w 11685910"/>
                <a:gd name="connsiteY2757" fmla="*/ 1357116 h 6078415"/>
                <a:gd name="connsiteX2758" fmla="*/ 5505819 w 11685910"/>
                <a:gd name="connsiteY2758" fmla="*/ 1392464 h 6078415"/>
                <a:gd name="connsiteX2759" fmla="*/ 5510316 w 11685910"/>
                <a:gd name="connsiteY2759" fmla="*/ 1411784 h 6078415"/>
                <a:gd name="connsiteX2760" fmla="*/ 5525964 w 11685910"/>
                <a:gd name="connsiteY2760" fmla="*/ 1417802 h 6078415"/>
                <a:gd name="connsiteX2761" fmla="*/ 5525964 w 11685910"/>
                <a:gd name="connsiteY2761" fmla="*/ 1437313 h 6078415"/>
                <a:gd name="connsiteX2762" fmla="*/ 5480860 w 11685910"/>
                <a:gd name="connsiteY2762" fmla="*/ 1398799 h 6078415"/>
                <a:gd name="connsiteX2763" fmla="*/ 5480860 w 11685910"/>
                <a:gd name="connsiteY2763" fmla="*/ 1361425 h 6078415"/>
                <a:gd name="connsiteX2764" fmla="*/ 5461096 w 11685910"/>
                <a:gd name="connsiteY2764" fmla="*/ 1335071 h 6078415"/>
                <a:gd name="connsiteX2765" fmla="*/ 5461096 w 11685910"/>
                <a:gd name="connsiteY2765" fmla="*/ 1316575 h 6078415"/>
                <a:gd name="connsiteX2766" fmla="*/ 5480860 w 11685910"/>
                <a:gd name="connsiteY2766" fmla="*/ 1289715 h 6078415"/>
                <a:gd name="connsiteX2767" fmla="*/ 5480860 w 11685910"/>
                <a:gd name="connsiteY2767" fmla="*/ 1253354 h 6078415"/>
                <a:gd name="connsiteX2768" fmla="*/ 5525964 w 11685910"/>
                <a:gd name="connsiteY2768" fmla="*/ 1214333 h 6078415"/>
                <a:gd name="connsiteX2769" fmla="*/ 4877346 w 11685910"/>
                <a:gd name="connsiteY2769" fmla="*/ 1214333 h 6078415"/>
                <a:gd name="connsiteX2770" fmla="*/ 4922195 w 11685910"/>
                <a:gd name="connsiteY2770" fmla="*/ 1253354 h 6078415"/>
                <a:gd name="connsiteX2771" fmla="*/ 4922195 w 11685910"/>
                <a:gd name="connsiteY2771" fmla="*/ 1289715 h 6078415"/>
                <a:gd name="connsiteX2772" fmla="*/ 4941832 w 11685910"/>
                <a:gd name="connsiteY2772" fmla="*/ 1316575 h 6078415"/>
                <a:gd name="connsiteX2773" fmla="*/ 4941832 w 11685910"/>
                <a:gd name="connsiteY2773" fmla="*/ 1335071 h 6078415"/>
                <a:gd name="connsiteX2774" fmla="*/ 4922195 w 11685910"/>
                <a:gd name="connsiteY2774" fmla="*/ 1361425 h 6078415"/>
                <a:gd name="connsiteX2775" fmla="*/ 4922195 w 11685910"/>
                <a:gd name="connsiteY2775" fmla="*/ 1398799 h 6078415"/>
                <a:gd name="connsiteX2776" fmla="*/ 4877346 w 11685910"/>
                <a:gd name="connsiteY2776" fmla="*/ 1437313 h 6078415"/>
                <a:gd name="connsiteX2777" fmla="*/ 4877346 w 11685910"/>
                <a:gd name="connsiteY2777" fmla="*/ 1417802 h 6078415"/>
                <a:gd name="connsiteX2778" fmla="*/ 4892991 w 11685910"/>
                <a:gd name="connsiteY2778" fmla="*/ 1411722 h 6078415"/>
                <a:gd name="connsiteX2779" fmla="*/ 4897617 w 11685910"/>
                <a:gd name="connsiteY2779" fmla="*/ 1392464 h 6078415"/>
                <a:gd name="connsiteX2780" fmla="*/ 4897617 w 11685910"/>
                <a:gd name="connsiteY2780" fmla="*/ 1357116 h 6078415"/>
                <a:gd name="connsiteX2781" fmla="*/ 4922575 w 11685910"/>
                <a:gd name="connsiteY2781" fmla="*/ 1325823 h 6078415"/>
                <a:gd name="connsiteX2782" fmla="*/ 4922575 w 11685910"/>
                <a:gd name="connsiteY2782" fmla="*/ 1325443 h 6078415"/>
                <a:gd name="connsiteX2783" fmla="*/ 4897617 w 11685910"/>
                <a:gd name="connsiteY2783" fmla="*/ 1293896 h 6078415"/>
                <a:gd name="connsiteX2784" fmla="*/ 4897617 w 11685910"/>
                <a:gd name="connsiteY2784" fmla="*/ 1258169 h 6078415"/>
                <a:gd name="connsiteX2785" fmla="*/ 4877346 w 11685910"/>
                <a:gd name="connsiteY2785" fmla="*/ 1233971 h 6078415"/>
                <a:gd name="connsiteX2786" fmla="*/ 4859861 w 11685910"/>
                <a:gd name="connsiteY2786" fmla="*/ 1214333 h 6078415"/>
                <a:gd name="connsiteX2787" fmla="*/ 4859861 w 11685910"/>
                <a:gd name="connsiteY2787" fmla="*/ 1233971 h 6078415"/>
                <a:gd name="connsiteX2788" fmla="*/ 4839717 w 11685910"/>
                <a:gd name="connsiteY2788" fmla="*/ 1258169 h 6078415"/>
                <a:gd name="connsiteX2789" fmla="*/ 4839717 w 11685910"/>
                <a:gd name="connsiteY2789" fmla="*/ 1293896 h 6078415"/>
                <a:gd name="connsiteX2790" fmla="*/ 4814505 w 11685910"/>
                <a:gd name="connsiteY2790" fmla="*/ 1325443 h 6078415"/>
                <a:gd name="connsiteX2791" fmla="*/ 4814505 w 11685910"/>
                <a:gd name="connsiteY2791" fmla="*/ 1325823 h 6078415"/>
                <a:gd name="connsiteX2792" fmla="*/ 4839717 w 11685910"/>
                <a:gd name="connsiteY2792" fmla="*/ 1357116 h 6078415"/>
                <a:gd name="connsiteX2793" fmla="*/ 4839717 w 11685910"/>
                <a:gd name="connsiteY2793" fmla="*/ 1392464 h 6078415"/>
                <a:gd name="connsiteX2794" fmla="*/ 4844214 w 11685910"/>
                <a:gd name="connsiteY2794" fmla="*/ 1411784 h 6078415"/>
                <a:gd name="connsiteX2795" fmla="*/ 4859861 w 11685910"/>
                <a:gd name="connsiteY2795" fmla="*/ 1417802 h 6078415"/>
                <a:gd name="connsiteX2796" fmla="*/ 4859861 w 11685910"/>
                <a:gd name="connsiteY2796" fmla="*/ 1437313 h 6078415"/>
                <a:gd name="connsiteX2797" fmla="*/ 4814758 w 11685910"/>
                <a:gd name="connsiteY2797" fmla="*/ 1398799 h 6078415"/>
                <a:gd name="connsiteX2798" fmla="*/ 4814758 w 11685910"/>
                <a:gd name="connsiteY2798" fmla="*/ 1361425 h 6078415"/>
                <a:gd name="connsiteX2799" fmla="*/ 4794994 w 11685910"/>
                <a:gd name="connsiteY2799" fmla="*/ 1335071 h 6078415"/>
                <a:gd name="connsiteX2800" fmla="*/ 4794994 w 11685910"/>
                <a:gd name="connsiteY2800" fmla="*/ 1316575 h 6078415"/>
                <a:gd name="connsiteX2801" fmla="*/ 4814758 w 11685910"/>
                <a:gd name="connsiteY2801" fmla="*/ 1289715 h 6078415"/>
                <a:gd name="connsiteX2802" fmla="*/ 4814758 w 11685910"/>
                <a:gd name="connsiteY2802" fmla="*/ 1253354 h 6078415"/>
                <a:gd name="connsiteX2803" fmla="*/ 4859861 w 11685910"/>
                <a:gd name="connsiteY2803" fmla="*/ 1214333 h 6078415"/>
                <a:gd name="connsiteX2804" fmla="*/ 2052800 w 11685910"/>
                <a:gd name="connsiteY2804" fmla="*/ 1214333 h 6078415"/>
                <a:gd name="connsiteX2805" fmla="*/ 2097651 w 11685910"/>
                <a:gd name="connsiteY2805" fmla="*/ 1253354 h 6078415"/>
                <a:gd name="connsiteX2806" fmla="*/ 2097651 w 11685910"/>
                <a:gd name="connsiteY2806" fmla="*/ 1289715 h 6078415"/>
                <a:gd name="connsiteX2807" fmla="*/ 2117288 w 11685910"/>
                <a:gd name="connsiteY2807" fmla="*/ 1316575 h 6078415"/>
                <a:gd name="connsiteX2808" fmla="*/ 2117288 w 11685910"/>
                <a:gd name="connsiteY2808" fmla="*/ 1335071 h 6078415"/>
                <a:gd name="connsiteX2809" fmla="*/ 2097651 w 11685910"/>
                <a:gd name="connsiteY2809" fmla="*/ 1361425 h 6078415"/>
                <a:gd name="connsiteX2810" fmla="*/ 2097651 w 11685910"/>
                <a:gd name="connsiteY2810" fmla="*/ 1398799 h 6078415"/>
                <a:gd name="connsiteX2811" fmla="*/ 2052800 w 11685910"/>
                <a:gd name="connsiteY2811" fmla="*/ 1437313 h 6078415"/>
                <a:gd name="connsiteX2812" fmla="*/ 2052800 w 11685910"/>
                <a:gd name="connsiteY2812" fmla="*/ 1417802 h 6078415"/>
                <a:gd name="connsiteX2813" fmla="*/ 2068447 w 11685910"/>
                <a:gd name="connsiteY2813" fmla="*/ 1411722 h 6078415"/>
                <a:gd name="connsiteX2814" fmla="*/ 2073072 w 11685910"/>
                <a:gd name="connsiteY2814" fmla="*/ 1392464 h 6078415"/>
                <a:gd name="connsiteX2815" fmla="*/ 2073072 w 11685910"/>
                <a:gd name="connsiteY2815" fmla="*/ 1357116 h 6078415"/>
                <a:gd name="connsiteX2816" fmla="*/ 2098031 w 11685910"/>
                <a:gd name="connsiteY2816" fmla="*/ 1325823 h 6078415"/>
                <a:gd name="connsiteX2817" fmla="*/ 2098031 w 11685910"/>
                <a:gd name="connsiteY2817" fmla="*/ 1325443 h 6078415"/>
                <a:gd name="connsiteX2818" fmla="*/ 2073072 w 11685910"/>
                <a:gd name="connsiteY2818" fmla="*/ 1293896 h 6078415"/>
                <a:gd name="connsiteX2819" fmla="*/ 2073072 w 11685910"/>
                <a:gd name="connsiteY2819" fmla="*/ 1258169 h 6078415"/>
                <a:gd name="connsiteX2820" fmla="*/ 2052800 w 11685910"/>
                <a:gd name="connsiteY2820" fmla="*/ 1233971 h 6078415"/>
                <a:gd name="connsiteX2821" fmla="*/ 2035316 w 11685910"/>
                <a:gd name="connsiteY2821" fmla="*/ 1214333 h 6078415"/>
                <a:gd name="connsiteX2822" fmla="*/ 2035316 w 11685910"/>
                <a:gd name="connsiteY2822" fmla="*/ 1233971 h 6078415"/>
                <a:gd name="connsiteX2823" fmla="*/ 2015173 w 11685910"/>
                <a:gd name="connsiteY2823" fmla="*/ 1258169 h 6078415"/>
                <a:gd name="connsiteX2824" fmla="*/ 2015173 w 11685910"/>
                <a:gd name="connsiteY2824" fmla="*/ 1293896 h 6078415"/>
                <a:gd name="connsiteX2825" fmla="*/ 1989960 w 11685910"/>
                <a:gd name="connsiteY2825" fmla="*/ 1325443 h 6078415"/>
                <a:gd name="connsiteX2826" fmla="*/ 1989960 w 11685910"/>
                <a:gd name="connsiteY2826" fmla="*/ 1325823 h 6078415"/>
                <a:gd name="connsiteX2827" fmla="*/ 2015173 w 11685910"/>
                <a:gd name="connsiteY2827" fmla="*/ 1357116 h 6078415"/>
                <a:gd name="connsiteX2828" fmla="*/ 2015173 w 11685910"/>
                <a:gd name="connsiteY2828" fmla="*/ 1392464 h 6078415"/>
                <a:gd name="connsiteX2829" fmla="*/ 2019670 w 11685910"/>
                <a:gd name="connsiteY2829" fmla="*/ 1411784 h 6078415"/>
                <a:gd name="connsiteX2830" fmla="*/ 2035316 w 11685910"/>
                <a:gd name="connsiteY2830" fmla="*/ 1417802 h 6078415"/>
                <a:gd name="connsiteX2831" fmla="*/ 2035316 w 11685910"/>
                <a:gd name="connsiteY2831" fmla="*/ 1437313 h 6078415"/>
                <a:gd name="connsiteX2832" fmla="*/ 1990214 w 11685910"/>
                <a:gd name="connsiteY2832" fmla="*/ 1398799 h 6078415"/>
                <a:gd name="connsiteX2833" fmla="*/ 1990214 w 11685910"/>
                <a:gd name="connsiteY2833" fmla="*/ 1361425 h 6078415"/>
                <a:gd name="connsiteX2834" fmla="*/ 1970449 w 11685910"/>
                <a:gd name="connsiteY2834" fmla="*/ 1335071 h 6078415"/>
                <a:gd name="connsiteX2835" fmla="*/ 1970449 w 11685910"/>
                <a:gd name="connsiteY2835" fmla="*/ 1316575 h 6078415"/>
                <a:gd name="connsiteX2836" fmla="*/ 1990214 w 11685910"/>
                <a:gd name="connsiteY2836" fmla="*/ 1289715 h 6078415"/>
                <a:gd name="connsiteX2837" fmla="*/ 1990214 w 11685910"/>
                <a:gd name="connsiteY2837" fmla="*/ 1253354 h 6078415"/>
                <a:gd name="connsiteX2838" fmla="*/ 2035316 w 11685910"/>
                <a:gd name="connsiteY2838" fmla="*/ 1214333 h 6078415"/>
                <a:gd name="connsiteX2839" fmla="*/ 8998507 w 11685910"/>
                <a:gd name="connsiteY2839" fmla="*/ 1084932 h 6078415"/>
                <a:gd name="connsiteX2840" fmla="*/ 8975158 w 11685910"/>
                <a:gd name="connsiteY2840" fmla="*/ 1124444 h 6078415"/>
                <a:gd name="connsiteX2841" fmla="*/ 8991682 w 11685910"/>
                <a:gd name="connsiteY2841" fmla="*/ 1127857 h 6078415"/>
                <a:gd name="connsiteX2842" fmla="*/ 9008205 w 11685910"/>
                <a:gd name="connsiteY2842" fmla="*/ 1124265 h 6078415"/>
                <a:gd name="connsiteX2843" fmla="*/ 9005242 w 11685910"/>
                <a:gd name="connsiteY2843" fmla="*/ 1114746 h 6078415"/>
                <a:gd name="connsiteX2844" fmla="*/ 9006230 w 11685910"/>
                <a:gd name="connsiteY2844" fmla="*/ 1101455 h 6078415"/>
                <a:gd name="connsiteX2845" fmla="*/ 8998507 w 11685910"/>
                <a:gd name="connsiteY2845" fmla="*/ 1084932 h 6078415"/>
                <a:gd name="connsiteX2846" fmla="*/ 2937770 w 11685910"/>
                <a:gd name="connsiteY2846" fmla="*/ 1084932 h 6078415"/>
                <a:gd name="connsiteX2847" fmla="*/ 2914421 w 11685910"/>
                <a:gd name="connsiteY2847" fmla="*/ 1124444 h 6078415"/>
                <a:gd name="connsiteX2848" fmla="*/ 2930946 w 11685910"/>
                <a:gd name="connsiteY2848" fmla="*/ 1127857 h 6078415"/>
                <a:gd name="connsiteX2849" fmla="*/ 2947468 w 11685910"/>
                <a:gd name="connsiteY2849" fmla="*/ 1124265 h 6078415"/>
                <a:gd name="connsiteX2850" fmla="*/ 2944505 w 11685910"/>
                <a:gd name="connsiteY2850" fmla="*/ 1114746 h 6078415"/>
                <a:gd name="connsiteX2851" fmla="*/ 2945494 w 11685910"/>
                <a:gd name="connsiteY2851" fmla="*/ 1101455 h 6078415"/>
                <a:gd name="connsiteX2852" fmla="*/ 2937770 w 11685910"/>
                <a:gd name="connsiteY2852" fmla="*/ 1084932 h 6078415"/>
                <a:gd name="connsiteX2853" fmla="*/ 8837402 w 11685910"/>
                <a:gd name="connsiteY2853" fmla="*/ 1068408 h 6078415"/>
                <a:gd name="connsiteX2854" fmla="*/ 8823663 w 11685910"/>
                <a:gd name="connsiteY2854" fmla="*/ 1088793 h 6078415"/>
                <a:gd name="connsiteX2855" fmla="*/ 8845305 w 11685910"/>
                <a:gd name="connsiteY2855" fmla="*/ 1110525 h 6078415"/>
                <a:gd name="connsiteX2856" fmla="*/ 8854285 w 11685910"/>
                <a:gd name="connsiteY2856" fmla="*/ 1103251 h 6078415"/>
                <a:gd name="connsiteX2857" fmla="*/ 8837402 w 11685910"/>
                <a:gd name="connsiteY2857" fmla="*/ 1068408 h 6078415"/>
                <a:gd name="connsiteX2858" fmla="*/ 2776666 w 11685910"/>
                <a:gd name="connsiteY2858" fmla="*/ 1068408 h 6078415"/>
                <a:gd name="connsiteX2859" fmla="*/ 2762926 w 11685910"/>
                <a:gd name="connsiteY2859" fmla="*/ 1088793 h 6078415"/>
                <a:gd name="connsiteX2860" fmla="*/ 2784568 w 11685910"/>
                <a:gd name="connsiteY2860" fmla="*/ 1110525 h 6078415"/>
                <a:gd name="connsiteX2861" fmla="*/ 2793548 w 11685910"/>
                <a:gd name="connsiteY2861" fmla="*/ 1103251 h 6078415"/>
                <a:gd name="connsiteX2862" fmla="*/ 2776666 w 11685910"/>
                <a:gd name="connsiteY2862" fmla="*/ 1068408 h 6078415"/>
                <a:gd name="connsiteX2863" fmla="*/ 8820903 w 11685910"/>
                <a:gd name="connsiteY2863" fmla="*/ 999655 h 6078415"/>
                <a:gd name="connsiteX2864" fmla="*/ 8820701 w 11685910"/>
                <a:gd name="connsiteY2864" fmla="*/ 1001181 h 6078415"/>
                <a:gd name="connsiteX2865" fmla="*/ 8820634 w 11685910"/>
                <a:gd name="connsiteY2865" fmla="*/ 999913 h 6078415"/>
                <a:gd name="connsiteX2866" fmla="*/ 2760166 w 11685910"/>
                <a:gd name="connsiteY2866" fmla="*/ 999654 h 6078415"/>
                <a:gd name="connsiteX2867" fmla="*/ 2759965 w 11685910"/>
                <a:gd name="connsiteY2867" fmla="*/ 1001182 h 6078415"/>
                <a:gd name="connsiteX2868" fmla="*/ 2759898 w 11685910"/>
                <a:gd name="connsiteY2868" fmla="*/ 999913 h 6078415"/>
                <a:gd name="connsiteX2869" fmla="*/ 9024190 w 11685910"/>
                <a:gd name="connsiteY2869" fmla="*/ 972275 h 6078415"/>
                <a:gd name="connsiteX2870" fmla="*/ 9020171 w 11685910"/>
                <a:gd name="connsiteY2870" fmla="*/ 975149 h 6078415"/>
                <a:gd name="connsiteX2871" fmla="*/ 9027141 w 11685910"/>
                <a:gd name="connsiteY2871" fmla="*/ 983577 h 6078415"/>
                <a:gd name="connsiteX2872" fmla="*/ 9034068 w 11685910"/>
                <a:gd name="connsiteY2872" fmla="*/ 981839 h 6078415"/>
                <a:gd name="connsiteX2873" fmla="*/ 9007667 w 11685910"/>
                <a:gd name="connsiteY2873" fmla="*/ 1001147 h 6078415"/>
                <a:gd name="connsiteX2874" fmla="*/ 9012717 w 11685910"/>
                <a:gd name="connsiteY2874" fmla="*/ 993472 h 6078415"/>
                <a:gd name="connsiteX2875" fmla="*/ 9004883 w 11685910"/>
                <a:gd name="connsiteY2875" fmla="*/ 986464 h 6078415"/>
                <a:gd name="connsiteX2876" fmla="*/ 9000033 w 11685910"/>
                <a:gd name="connsiteY2876" fmla="*/ 990550 h 6078415"/>
                <a:gd name="connsiteX2877" fmla="*/ 9024190 w 11685910"/>
                <a:gd name="connsiteY2877" fmla="*/ 972275 h 6078415"/>
                <a:gd name="connsiteX2878" fmla="*/ 2963453 w 11685910"/>
                <a:gd name="connsiteY2878" fmla="*/ 972275 h 6078415"/>
                <a:gd name="connsiteX2879" fmla="*/ 2959436 w 11685910"/>
                <a:gd name="connsiteY2879" fmla="*/ 975149 h 6078415"/>
                <a:gd name="connsiteX2880" fmla="*/ 2966404 w 11685910"/>
                <a:gd name="connsiteY2880" fmla="*/ 983577 h 6078415"/>
                <a:gd name="connsiteX2881" fmla="*/ 2973332 w 11685910"/>
                <a:gd name="connsiteY2881" fmla="*/ 981839 h 6078415"/>
                <a:gd name="connsiteX2882" fmla="*/ 2946930 w 11685910"/>
                <a:gd name="connsiteY2882" fmla="*/ 1001147 h 6078415"/>
                <a:gd name="connsiteX2883" fmla="*/ 2951980 w 11685910"/>
                <a:gd name="connsiteY2883" fmla="*/ 993472 h 6078415"/>
                <a:gd name="connsiteX2884" fmla="*/ 2944146 w 11685910"/>
                <a:gd name="connsiteY2884" fmla="*/ 986464 h 6078415"/>
                <a:gd name="connsiteX2885" fmla="*/ 2939297 w 11685910"/>
                <a:gd name="connsiteY2885" fmla="*/ 990550 h 6078415"/>
                <a:gd name="connsiteX2886" fmla="*/ 2963453 w 11685910"/>
                <a:gd name="connsiteY2886" fmla="*/ 972275 h 6078415"/>
                <a:gd name="connsiteX2887" fmla="*/ 8997441 w 11685910"/>
                <a:gd name="connsiteY2887" fmla="*/ 955753 h 6078415"/>
                <a:gd name="connsiteX2888" fmla="*/ 8999742 w 11685910"/>
                <a:gd name="connsiteY2888" fmla="*/ 955790 h 6078415"/>
                <a:gd name="connsiteX2889" fmla="*/ 9007936 w 11685910"/>
                <a:gd name="connsiteY2889" fmla="*/ 957054 h 6078415"/>
                <a:gd name="connsiteX2890" fmla="*/ 8988898 w 11685910"/>
                <a:gd name="connsiteY2890" fmla="*/ 976092 h 6078415"/>
                <a:gd name="connsiteX2891" fmla="*/ 8997441 w 11685910"/>
                <a:gd name="connsiteY2891" fmla="*/ 955753 h 6078415"/>
                <a:gd name="connsiteX2892" fmla="*/ 2936704 w 11685910"/>
                <a:gd name="connsiteY2892" fmla="*/ 955753 h 6078415"/>
                <a:gd name="connsiteX2893" fmla="*/ 2939005 w 11685910"/>
                <a:gd name="connsiteY2893" fmla="*/ 955790 h 6078415"/>
                <a:gd name="connsiteX2894" fmla="*/ 2947199 w 11685910"/>
                <a:gd name="connsiteY2894" fmla="*/ 957054 h 6078415"/>
                <a:gd name="connsiteX2895" fmla="*/ 2928161 w 11685910"/>
                <a:gd name="connsiteY2895" fmla="*/ 976092 h 6078415"/>
                <a:gd name="connsiteX2896" fmla="*/ 2936704 w 11685910"/>
                <a:gd name="connsiteY2896" fmla="*/ 955753 h 6078415"/>
                <a:gd name="connsiteX2897" fmla="*/ 9100739 w 11685910"/>
                <a:gd name="connsiteY2897" fmla="*/ 933525 h 6078415"/>
                <a:gd name="connsiteX2898" fmla="*/ 9092486 w 11685910"/>
                <a:gd name="connsiteY2898" fmla="*/ 947541 h 6078415"/>
                <a:gd name="connsiteX2899" fmla="*/ 9080228 w 11685910"/>
                <a:gd name="connsiteY2899" fmla="*/ 949546 h 6078415"/>
                <a:gd name="connsiteX2900" fmla="*/ 9091445 w 11685910"/>
                <a:gd name="connsiteY2900" fmla="*/ 942872 h 6078415"/>
                <a:gd name="connsiteX2901" fmla="*/ 9100739 w 11685910"/>
                <a:gd name="connsiteY2901" fmla="*/ 933525 h 6078415"/>
                <a:gd name="connsiteX2902" fmla="*/ 3040003 w 11685910"/>
                <a:gd name="connsiteY2902" fmla="*/ 933525 h 6078415"/>
                <a:gd name="connsiteX2903" fmla="*/ 3031749 w 11685910"/>
                <a:gd name="connsiteY2903" fmla="*/ 947541 h 6078415"/>
                <a:gd name="connsiteX2904" fmla="*/ 3019491 w 11685910"/>
                <a:gd name="connsiteY2904" fmla="*/ 949546 h 6078415"/>
                <a:gd name="connsiteX2905" fmla="*/ 3030708 w 11685910"/>
                <a:gd name="connsiteY2905" fmla="*/ 942872 h 6078415"/>
                <a:gd name="connsiteX2906" fmla="*/ 3040003 w 11685910"/>
                <a:gd name="connsiteY2906" fmla="*/ 933525 h 6078415"/>
                <a:gd name="connsiteX2907" fmla="*/ 10081433 w 11685910"/>
                <a:gd name="connsiteY2907" fmla="*/ 916889 h 6078415"/>
                <a:gd name="connsiteX2908" fmla="*/ 10136119 w 11685910"/>
                <a:gd name="connsiteY2908" fmla="*/ 955910 h 6078415"/>
                <a:gd name="connsiteX2909" fmla="*/ 10136119 w 11685910"/>
                <a:gd name="connsiteY2909" fmla="*/ 992271 h 6078415"/>
                <a:gd name="connsiteX2910" fmla="*/ 10160063 w 11685910"/>
                <a:gd name="connsiteY2910" fmla="*/ 1019131 h 6078415"/>
                <a:gd name="connsiteX2911" fmla="*/ 10160063 w 11685910"/>
                <a:gd name="connsiteY2911" fmla="*/ 1037627 h 6078415"/>
                <a:gd name="connsiteX2912" fmla="*/ 10136119 w 11685910"/>
                <a:gd name="connsiteY2912" fmla="*/ 1063980 h 6078415"/>
                <a:gd name="connsiteX2913" fmla="*/ 10136119 w 11685910"/>
                <a:gd name="connsiteY2913" fmla="*/ 1101355 h 6078415"/>
                <a:gd name="connsiteX2914" fmla="*/ 10081433 w 11685910"/>
                <a:gd name="connsiteY2914" fmla="*/ 1139869 h 6078415"/>
                <a:gd name="connsiteX2915" fmla="*/ 10081433 w 11685910"/>
                <a:gd name="connsiteY2915" fmla="*/ 1120358 h 6078415"/>
                <a:gd name="connsiteX2916" fmla="*/ 10100511 w 11685910"/>
                <a:gd name="connsiteY2916" fmla="*/ 1114277 h 6078415"/>
                <a:gd name="connsiteX2917" fmla="*/ 10106150 w 11685910"/>
                <a:gd name="connsiteY2917" fmla="*/ 1095020 h 6078415"/>
                <a:gd name="connsiteX2918" fmla="*/ 10106150 w 11685910"/>
                <a:gd name="connsiteY2918" fmla="*/ 1059672 h 6078415"/>
                <a:gd name="connsiteX2919" fmla="*/ 10136582 w 11685910"/>
                <a:gd name="connsiteY2919" fmla="*/ 1028379 h 6078415"/>
                <a:gd name="connsiteX2920" fmla="*/ 10136582 w 11685910"/>
                <a:gd name="connsiteY2920" fmla="*/ 1027999 h 6078415"/>
                <a:gd name="connsiteX2921" fmla="*/ 10106150 w 11685910"/>
                <a:gd name="connsiteY2921" fmla="*/ 996452 h 6078415"/>
                <a:gd name="connsiteX2922" fmla="*/ 10106150 w 11685910"/>
                <a:gd name="connsiteY2922" fmla="*/ 960725 h 6078415"/>
                <a:gd name="connsiteX2923" fmla="*/ 10081433 w 11685910"/>
                <a:gd name="connsiteY2923" fmla="*/ 936527 h 6078415"/>
                <a:gd name="connsiteX2924" fmla="*/ 10060114 w 11685910"/>
                <a:gd name="connsiteY2924" fmla="*/ 916889 h 6078415"/>
                <a:gd name="connsiteX2925" fmla="*/ 10060114 w 11685910"/>
                <a:gd name="connsiteY2925" fmla="*/ 936527 h 6078415"/>
                <a:gd name="connsiteX2926" fmla="*/ 10035552 w 11685910"/>
                <a:gd name="connsiteY2926" fmla="*/ 960725 h 6078415"/>
                <a:gd name="connsiteX2927" fmla="*/ 10035552 w 11685910"/>
                <a:gd name="connsiteY2927" fmla="*/ 996452 h 6078415"/>
                <a:gd name="connsiteX2928" fmla="*/ 10004811 w 11685910"/>
                <a:gd name="connsiteY2928" fmla="*/ 1027999 h 6078415"/>
                <a:gd name="connsiteX2929" fmla="*/ 10004811 w 11685910"/>
                <a:gd name="connsiteY2929" fmla="*/ 1028379 h 6078415"/>
                <a:gd name="connsiteX2930" fmla="*/ 10035552 w 11685910"/>
                <a:gd name="connsiteY2930" fmla="*/ 1059672 h 6078415"/>
                <a:gd name="connsiteX2931" fmla="*/ 10035552 w 11685910"/>
                <a:gd name="connsiteY2931" fmla="*/ 1095020 h 6078415"/>
                <a:gd name="connsiteX2932" fmla="*/ 10041036 w 11685910"/>
                <a:gd name="connsiteY2932" fmla="*/ 1114340 h 6078415"/>
                <a:gd name="connsiteX2933" fmla="*/ 10060114 w 11685910"/>
                <a:gd name="connsiteY2933" fmla="*/ 1120358 h 6078415"/>
                <a:gd name="connsiteX2934" fmla="*/ 10060114 w 11685910"/>
                <a:gd name="connsiteY2934" fmla="*/ 1139869 h 6078415"/>
                <a:gd name="connsiteX2935" fmla="*/ 10005120 w 11685910"/>
                <a:gd name="connsiteY2935" fmla="*/ 1101355 h 6078415"/>
                <a:gd name="connsiteX2936" fmla="*/ 10005120 w 11685910"/>
                <a:gd name="connsiteY2936" fmla="*/ 1063980 h 6078415"/>
                <a:gd name="connsiteX2937" fmla="*/ 9981021 w 11685910"/>
                <a:gd name="connsiteY2937" fmla="*/ 1037627 h 6078415"/>
                <a:gd name="connsiteX2938" fmla="*/ 9981021 w 11685910"/>
                <a:gd name="connsiteY2938" fmla="*/ 1019131 h 6078415"/>
                <a:gd name="connsiteX2939" fmla="*/ 10005120 w 11685910"/>
                <a:gd name="connsiteY2939" fmla="*/ 992271 h 6078415"/>
                <a:gd name="connsiteX2940" fmla="*/ 10005120 w 11685910"/>
                <a:gd name="connsiteY2940" fmla="*/ 955910 h 6078415"/>
                <a:gd name="connsiteX2941" fmla="*/ 10060114 w 11685910"/>
                <a:gd name="connsiteY2941" fmla="*/ 916889 h 6078415"/>
                <a:gd name="connsiteX2942" fmla="*/ 4018207 w 11685910"/>
                <a:gd name="connsiteY2942" fmla="*/ 916889 h 6078415"/>
                <a:gd name="connsiteX2943" fmla="*/ 4072893 w 11685910"/>
                <a:gd name="connsiteY2943" fmla="*/ 955910 h 6078415"/>
                <a:gd name="connsiteX2944" fmla="*/ 4072893 w 11685910"/>
                <a:gd name="connsiteY2944" fmla="*/ 992271 h 6078415"/>
                <a:gd name="connsiteX2945" fmla="*/ 4096837 w 11685910"/>
                <a:gd name="connsiteY2945" fmla="*/ 1019131 h 6078415"/>
                <a:gd name="connsiteX2946" fmla="*/ 4096837 w 11685910"/>
                <a:gd name="connsiteY2946" fmla="*/ 1037627 h 6078415"/>
                <a:gd name="connsiteX2947" fmla="*/ 4072893 w 11685910"/>
                <a:gd name="connsiteY2947" fmla="*/ 1063980 h 6078415"/>
                <a:gd name="connsiteX2948" fmla="*/ 4072893 w 11685910"/>
                <a:gd name="connsiteY2948" fmla="*/ 1101355 h 6078415"/>
                <a:gd name="connsiteX2949" fmla="*/ 4018207 w 11685910"/>
                <a:gd name="connsiteY2949" fmla="*/ 1139869 h 6078415"/>
                <a:gd name="connsiteX2950" fmla="*/ 4018207 w 11685910"/>
                <a:gd name="connsiteY2950" fmla="*/ 1120358 h 6078415"/>
                <a:gd name="connsiteX2951" fmla="*/ 4037285 w 11685910"/>
                <a:gd name="connsiteY2951" fmla="*/ 1114277 h 6078415"/>
                <a:gd name="connsiteX2952" fmla="*/ 4042924 w 11685910"/>
                <a:gd name="connsiteY2952" fmla="*/ 1095020 h 6078415"/>
                <a:gd name="connsiteX2953" fmla="*/ 4042924 w 11685910"/>
                <a:gd name="connsiteY2953" fmla="*/ 1059672 h 6078415"/>
                <a:gd name="connsiteX2954" fmla="*/ 4073356 w 11685910"/>
                <a:gd name="connsiteY2954" fmla="*/ 1028379 h 6078415"/>
                <a:gd name="connsiteX2955" fmla="*/ 4073356 w 11685910"/>
                <a:gd name="connsiteY2955" fmla="*/ 1027999 h 6078415"/>
                <a:gd name="connsiteX2956" fmla="*/ 4042924 w 11685910"/>
                <a:gd name="connsiteY2956" fmla="*/ 996452 h 6078415"/>
                <a:gd name="connsiteX2957" fmla="*/ 4042924 w 11685910"/>
                <a:gd name="connsiteY2957" fmla="*/ 960725 h 6078415"/>
                <a:gd name="connsiteX2958" fmla="*/ 4018207 w 11685910"/>
                <a:gd name="connsiteY2958" fmla="*/ 936527 h 6078415"/>
                <a:gd name="connsiteX2959" fmla="*/ 3996889 w 11685910"/>
                <a:gd name="connsiteY2959" fmla="*/ 916889 h 6078415"/>
                <a:gd name="connsiteX2960" fmla="*/ 3996889 w 11685910"/>
                <a:gd name="connsiteY2960" fmla="*/ 936527 h 6078415"/>
                <a:gd name="connsiteX2961" fmla="*/ 3972327 w 11685910"/>
                <a:gd name="connsiteY2961" fmla="*/ 960725 h 6078415"/>
                <a:gd name="connsiteX2962" fmla="*/ 3972327 w 11685910"/>
                <a:gd name="connsiteY2962" fmla="*/ 996452 h 6078415"/>
                <a:gd name="connsiteX2963" fmla="*/ 3941585 w 11685910"/>
                <a:gd name="connsiteY2963" fmla="*/ 1027999 h 6078415"/>
                <a:gd name="connsiteX2964" fmla="*/ 3941585 w 11685910"/>
                <a:gd name="connsiteY2964" fmla="*/ 1028379 h 6078415"/>
                <a:gd name="connsiteX2965" fmla="*/ 3972327 w 11685910"/>
                <a:gd name="connsiteY2965" fmla="*/ 1059672 h 6078415"/>
                <a:gd name="connsiteX2966" fmla="*/ 3972327 w 11685910"/>
                <a:gd name="connsiteY2966" fmla="*/ 1095020 h 6078415"/>
                <a:gd name="connsiteX2967" fmla="*/ 3977811 w 11685910"/>
                <a:gd name="connsiteY2967" fmla="*/ 1114340 h 6078415"/>
                <a:gd name="connsiteX2968" fmla="*/ 3996889 w 11685910"/>
                <a:gd name="connsiteY2968" fmla="*/ 1120358 h 6078415"/>
                <a:gd name="connsiteX2969" fmla="*/ 3996889 w 11685910"/>
                <a:gd name="connsiteY2969" fmla="*/ 1139869 h 6078415"/>
                <a:gd name="connsiteX2970" fmla="*/ 3941894 w 11685910"/>
                <a:gd name="connsiteY2970" fmla="*/ 1101355 h 6078415"/>
                <a:gd name="connsiteX2971" fmla="*/ 3941894 w 11685910"/>
                <a:gd name="connsiteY2971" fmla="*/ 1063980 h 6078415"/>
                <a:gd name="connsiteX2972" fmla="*/ 3917795 w 11685910"/>
                <a:gd name="connsiteY2972" fmla="*/ 1037627 h 6078415"/>
                <a:gd name="connsiteX2973" fmla="*/ 3917795 w 11685910"/>
                <a:gd name="connsiteY2973" fmla="*/ 1019131 h 6078415"/>
                <a:gd name="connsiteX2974" fmla="*/ 3941894 w 11685910"/>
                <a:gd name="connsiteY2974" fmla="*/ 992271 h 6078415"/>
                <a:gd name="connsiteX2975" fmla="*/ 3941894 w 11685910"/>
                <a:gd name="connsiteY2975" fmla="*/ 955910 h 6078415"/>
                <a:gd name="connsiteX2976" fmla="*/ 3996889 w 11685910"/>
                <a:gd name="connsiteY2976" fmla="*/ 916889 h 6078415"/>
                <a:gd name="connsiteX2977" fmla="*/ 8996098 w 11685910"/>
                <a:gd name="connsiteY2977" fmla="*/ 914392 h 6078415"/>
                <a:gd name="connsiteX2978" fmla="*/ 9002002 w 11685910"/>
                <a:gd name="connsiteY2978" fmla="*/ 914909 h 6078415"/>
                <a:gd name="connsiteX2979" fmla="*/ 9045278 w 11685910"/>
                <a:gd name="connsiteY2979" fmla="*/ 944327 h 6078415"/>
                <a:gd name="connsiteX2980" fmla="*/ 9063269 w 11685910"/>
                <a:gd name="connsiteY2980" fmla="*/ 965479 h 6078415"/>
                <a:gd name="connsiteX2981" fmla="*/ 9060108 w 11685910"/>
                <a:gd name="connsiteY2981" fmla="*/ 973259 h 6078415"/>
                <a:gd name="connsiteX2982" fmla="*/ 9073222 w 11685910"/>
                <a:gd name="connsiteY2982" fmla="*/ 983364 h 6078415"/>
                <a:gd name="connsiteX2983" fmla="*/ 9071535 w 11685910"/>
                <a:gd name="connsiteY2983" fmla="*/ 946030 h 6078415"/>
                <a:gd name="connsiteX2984" fmla="*/ 9086852 w 11685910"/>
                <a:gd name="connsiteY2984" fmla="*/ 936305 h 6078415"/>
                <a:gd name="connsiteX2985" fmla="*/ 9098765 w 11685910"/>
                <a:gd name="connsiteY2985" fmla="*/ 925121 h 6078415"/>
                <a:gd name="connsiteX2986" fmla="*/ 9121619 w 11685910"/>
                <a:gd name="connsiteY2986" fmla="*/ 987604 h 6078415"/>
                <a:gd name="connsiteX2987" fmla="*/ 9083935 w 11685910"/>
                <a:gd name="connsiteY2987" fmla="*/ 1055922 h 6078415"/>
                <a:gd name="connsiteX2988" fmla="*/ 9051908 w 11685910"/>
                <a:gd name="connsiteY2988" fmla="*/ 1056640 h 6078415"/>
                <a:gd name="connsiteX2989" fmla="*/ 9047901 w 11685910"/>
                <a:gd name="connsiteY2989" fmla="*/ 1055245 h 6078415"/>
                <a:gd name="connsiteX2990" fmla="*/ 9047421 w 11685910"/>
                <a:gd name="connsiteY2990" fmla="*/ 1057521 h 6078415"/>
                <a:gd name="connsiteX2991" fmla="*/ 9022667 w 11685910"/>
                <a:gd name="connsiteY2991" fmla="*/ 1077560 h 6078415"/>
                <a:gd name="connsiteX2992" fmla="*/ 9001029 w 11685910"/>
                <a:gd name="connsiteY2992" fmla="*/ 1067835 h 6078415"/>
                <a:gd name="connsiteX2993" fmla="*/ 9000056 w 11685910"/>
                <a:gd name="connsiteY2993" fmla="*/ 1080477 h 6078415"/>
                <a:gd name="connsiteX2994" fmla="*/ 9009781 w 11685910"/>
                <a:gd name="connsiteY2994" fmla="*/ 1101143 h 6078415"/>
                <a:gd name="connsiteX2995" fmla="*/ 9009295 w 11685910"/>
                <a:gd name="connsiteY2995" fmla="*/ 1112327 h 6078415"/>
                <a:gd name="connsiteX2996" fmla="*/ 9011483 w 11685910"/>
                <a:gd name="connsiteY2996" fmla="*/ 1126185 h 6078415"/>
                <a:gd name="connsiteX2997" fmla="*/ 8995437 w 11685910"/>
                <a:gd name="connsiteY2997" fmla="*/ 1132020 h 6078415"/>
                <a:gd name="connsiteX2998" fmla="*/ 8970395 w 11685910"/>
                <a:gd name="connsiteY2998" fmla="*/ 1126671 h 6078415"/>
                <a:gd name="connsiteX2999" fmla="*/ 8969631 w 11685910"/>
                <a:gd name="connsiteY2999" fmla="*/ 1122187 h 6078415"/>
                <a:gd name="connsiteX3000" fmla="*/ 8969591 w 11685910"/>
                <a:gd name="connsiteY3000" fmla="*/ 1120833 h 6078415"/>
                <a:gd name="connsiteX3001" fmla="*/ 8965826 w 11685910"/>
                <a:gd name="connsiteY3001" fmla="*/ 1124401 h 6078415"/>
                <a:gd name="connsiteX3002" fmla="*/ 8942193 w 11685910"/>
                <a:gd name="connsiteY3002" fmla="*/ 1138827 h 6078415"/>
                <a:gd name="connsiteX3003" fmla="*/ 8918610 w 11685910"/>
                <a:gd name="connsiteY3003" fmla="*/ 1110382 h 6078415"/>
                <a:gd name="connsiteX3004" fmla="*/ 8929550 w 11685910"/>
                <a:gd name="connsiteY3004" fmla="*/ 1098468 h 6078415"/>
                <a:gd name="connsiteX3005" fmla="*/ 8904508 w 11685910"/>
                <a:gd name="connsiteY3005" fmla="*/ 1096037 h 6078415"/>
                <a:gd name="connsiteX3006" fmla="*/ 8903536 w 11685910"/>
                <a:gd name="connsiteY3006" fmla="*/ 1106978 h 6078415"/>
                <a:gd name="connsiteX3007" fmla="*/ 8897214 w 11685910"/>
                <a:gd name="connsiteY3007" fmla="*/ 1117675 h 6078415"/>
                <a:gd name="connsiteX3008" fmla="*/ 8892109 w 11685910"/>
                <a:gd name="connsiteY3008" fmla="*/ 1136882 h 6078415"/>
                <a:gd name="connsiteX3009" fmla="*/ 8851750 w 11685910"/>
                <a:gd name="connsiteY3009" fmla="*/ 1128373 h 6078415"/>
                <a:gd name="connsiteX3010" fmla="*/ 8852723 w 11685910"/>
                <a:gd name="connsiteY3010" fmla="*/ 1114272 h 6078415"/>
                <a:gd name="connsiteX3011" fmla="*/ 8842998 w 11685910"/>
                <a:gd name="connsiteY3011" fmla="*/ 1116217 h 6078415"/>
                <a:gd name="connsiteX3012" fmla="*/ 8817713 w 11685910"/>
                <a:gd name="connsiteY3012" fmla="*/ 1090202 h 6078415"/>
                <a:gd name="connsiteX3013" fmla="*/ 8833030 w 11685910"/>
                <a:gd name="connsiteY3013" fmla="*/ 1063458 h 6078415"/>
                <a:gd name="connsiteX3014" fmla="*/ 8834488 w 11685910"/>
                <a:gd name="connsiteY3014" fmla="*/ 1036715 h 6078415"/>
                <a:gd name="connsiteX3015" fmla="*/ 8818928 w 11685910"/>
                <a:gd name="connsiteY3015" fmla="*/ 1014591 h 6078415"/>
                <a:gd name="connsiteX3016" fmla="*/ 8820701 w 11685910"/>
                <a:gd name="connsiteY3016" fmla="*/ 1001181 h 6078415"/>
                <a:gd name="connsiteX3017" fmla="*/ 8821163 w 11685910"/>
                <a:gd name="connsiteY3017" fmla="*/ 1009961 h 6078415"/>
                <a:gd name="connsiteX3018" fmla="*/ 8821992 w 11685910"/>
                <a:gd name="connsiteY3018" fmla="*/ 1010359 h 6078415"/>
                <a:gd name="connsiteX3019" fmla="*/ 8822115 w 11685910"/>
                <a:gd name="connsiteY3019" fmla="*/ 1011541 h 6078415"/>
                <a:gd name="connsiteX3020" fmla="*/ 8841803 w 11685910"/>
                <a:gd name="connsiteY3020" fmla="*/ 1025483 h 6078415"/>
                <a:gd name="connsiteX3021" fmla="*/ 8860149 w 11685910"/>
                <a:gd name="connsiteY3021" fmla="*/ 1096591 h 6078415"/>
                <a:gd name="connsiteX3022" fmla="*/ 8861117 w 11685910"/>
                <a:gd name="connsiteY3022" fmla="*/ 1098453 h 6078415"/>
                <a:gd name="connsiteX3023" fmla="*/ 8861083 w 11685910"/>
                <a:gd name="connsiteY3023" fmla="*/ 1099327 h 6078415"/>
                <a:gd name="connsiteX3024" fmla="*/ 8859673 w 11685910"/>
                <a:gd name="connsiteY3024" fmla="*/ 1112860 h 6078415"/>
                <a:gd name="connsiteX3025" fmla="*/ 8856351 w 11685910"/>
                <a:gd name="connsiteY3025" fmla="*/ 1124265 h 6078415"/>
                <a:gd name="connsiteX3026" fmla="*/ 8890745 w 11685910"/>
                <a:gd name="connsiteY3026" fmla="*/ 1130910 h 6078415"/>
                <a:gd name="connsiteX3027" fmla="*/ 8891912 w 11685910"/>
                <a:gd name="connsiteY3027" fmla="*/ 1119954 h 6078415"/>
                <a:gd name="connsiteX3028" fmla="*/ 8898557 w 11685910"/>
                <a:gd name="connsiteY3028" fmla="*/ 1105676 h 6078415"/>
                <a:gd name="connsiteX3029" fmla="*/ 8898838 w 11685910"/>
                <a:gd name="connsiteY3029" fmla="*/ 1090466 h 6078415"/>
                <a:gd name="connsiteX3030" fmla="*/ 8898628 w 11685910"/>
                <a:gd name="connsiteY3030" fmla="*/ 1084748 h 6078415"/>
                <a:gd name="connsiteX3031" fmla="*/ 8900228 w 11685910"/>
                <a:gd name="connsiteY3031" fmla="*/ 1086610 h 6078415"/>
                <a:gd name="connsiteX3032" fmla="*/ 8939866 w 11685910"/>
                <a:gd name="connsiteY3032" fmla="*/ 1084393 h 6078415"/>
                <a:gd name="connsiteX3033" fmla="*/ 8940764 w 11685910"/>
                <a:gd name="connsiteY3033" fmla="*/ 1098222 h 6078415"/>
                <a:gd name="connsiteX3034" fmla="*/ 8923612 w 11685910"/>
                <a:gd name="connsiteY3034" fmla="*/ 1110974 h 6078415"/>
                <a:gd name="connsiteX3035" fmla="*/ 8942650 w 11685910"/>
                <a:gd name="connsiteY3035" fmla="*/ 1134053 h 6078415"/>
                <a:gd name="connsiteX3036" fmla="*/ 8977942 w 11685910"/>
                <a:gd name="connsiteY3036" fmla="*/ 1106125 h 6078415"/>
                <a:gd name="connsiteX3037" fmla="*/ 8997160 w 11685910"/>
                <a:gd name="connsiteY3037" fmla="*/ 1064008 h 6078415"/>
                <a:gd name="connsiteX3038" fmla="*/ 8980182 w 11685910"/>
                <a:gd name="connsiteY3038" fmla="*/ 1045621 h 6078415"/>
                <a:gd name="connsiteX3039" fmla="*/ 8979987 w 11685910"/>
                <a:gd name="connsiteY3039" fmla="*/ 1045109 h 6078415"/>
                <a:gd name="connsiteX3040" fmla="*/ 8982623 w 11685910"/>
                <a:gd name="connsiteY3040" fmla="*/ 1046769 h 6078415"/>
                <a:gd name="connsiteX3041" fmla="*/ 9001919 w 11685910"/>
                <a:gd name="connsiteY3041" fmla="*/ 1057452 h 6078415"/>
                <a:gd name="connsiteX3042" fmla="*/ 9023382 w 11685910"/>
                <a:gd name="connsiteY3042" fmla="*/ 1072000 h 6078415"/>
                <a:gd name="connsiteX3043" fmla="*/ 9044485 w 11685910"/>
                <a:gd name="connsiteY3043" fmla="*/ 1053501 h 6078415"/>
                <a:gd name="connsiteX3044" fmla="*/ 9041163 w 11685910"/>
                <a:gd name="connsiteY3044" fmla="*/ 1053232 h 6078415"/>
                <a:gd name="connsiteX3045" fmla="*/ 9013182 w 11685910"/>
                <a:gd name="connsiteY3045" fmla="*/ 1030934 h 6078415"/>
                <a:gd name="connsiteX3046" fmla="*/ 9014112 w 11685910"/>
                <a:gd name="connsiteY3046" fmla="*/ 1026126 h 6078415"/>
                <a:gd name="connsiteX3047" fmla="*/ 9015876 w 11685910"/>
                <a:gd name="connsiteY3047" fmla="*/ 1028048 h 6078415"/>
                <a:gd name="connsiteX3048" fmla="*/ 9088129 w 11685910"/>
                <a:gd name="connsiteY3048" fmla="*/ 1046317 h 6078415"/>
                <a:gd name="connsiteX3049" fmla="*/ 9100073 w 11685910"/>
                <a:gd name="connsiteY3049" fmla="*/ 928407 h 6078415"/>
                <a:gd name="connsiteX3050" fmla="*/ 9090733 w 11685910"/>
                <a:gd name="connsiteY3050" fmla="*/ 939184 h 6078415"/>
                <a:gd name="connsiteX3051" fmla="*/ 9077083 w 11685910"/>
                <a:gd name="connsiteY3051" fmla="*/ 946098 h 6078415"/>
                <a:gd name="connsiteX3052" fmla="*/ 9068549 w 11685910"/>
                <a:gd name="connsiteY3052" fmla="*/ 1007305 h 6078415"/>
                <a:gd name="connsiteX3053" fmla="*/ 9067058 w 11685910"/>
                <a:gd name="connsiteY3053" fmla="*/ 1008481 h 6078415"/>
                <a:gd name="connsiteX3054" fmla="*/ 9067372 w 11685910"/>
                <a:gd name="connsiteY3054" fmla="*/ 1007876 h 6078415"/>
                <a:gd name="connsiteX3055" fmla="*/ 9070618 w 11685910"/>
                <a:gd name="connsiteY3055" fmla="*/ 988664 h 6078415"/>
                <a:gd name="connsiteX3056" fmla="*/ 9057956 w 11685910"/>
                <a:gd name="connsiteY3056" fmla="*/ 991089 h 6078415"/>
                <a:gd name="connsiteX3057" fmla="*/ 9059303 w 11685910"/>
                <a:gd name="connsiteY3057" fmla="*/ 980582 h 6078415"/>
                <a:gd name="connsiteX3058" fmla="*/ 9047449 w 11685910"/>
                <a:gd name="connsiteY3058" fmla="*/ 980492 h 6078415"/>
                <a:gd name="connsiteX3059" fmla="*/ 9050861 w 11685910"/>
                <a:gd name="connsiteY3059" fmla="*/ 972680 h 6078415"/>
                <a:gd name="connsiteX3060" fmla="*/ 9044008 w 11685910"/>
                <a:gd name="connsiteY3060" fmla="*/ 969514 h 6078415"/>
                <a:gd name="connsiteX3061" fmla="*/ 9042109 w 11685910"/>
                <a:gd name="connsiteY3061" fmla="*/ 969527 h 6078415"/>
                <a:gd name="connsiteX3062" fmla="*/ 9043671 w 11685910"/>
                <a:gd name="connsiteY3062" fmla="*/ 968966 h 6078415"/>
                <a:gd name="connsiteX3063" fmla="*/ 9046012 w 11685910"/>
                <a:gd name="connsiteY3063" fmla="*/ 968279 h 6078415"/>
                <a:gd name="connsiteX3064" fmla="*/ 9057327 w 11685910"/>
                <a:gd name="connsiteY3064" fmla="*/ 965675 h 6078415"/>
                <a:gd name="connsiteX3065" fmla="*/ 9045832 w 11685910"/>
                <a:gd name="connsiteY3065" fmla="*/ 951037 h 6078415"/>
                <a:gd name="connsiteX3066" fmla="*/ 9033852 w 11685910"/>
                <a:gd name="connsiteY3066" fmla="*/ 949568 h 6078415"/>
                <a:gd name="connsiteX3067" fmla="*/ 9032746 w 11685910"/>
                <a:gd name="connsiteY3067" fmla="*/ 949509 h 6078415"/>
                <a:gd name="connsiteX3068" fmla="*/ 9032755 w 11685910"/>
                <a:gd name="connsiteY3068" fmla="*/ 949486 h 6078415"/>
                <a:gd name="connsiteX3069" fmla="*/ 9040534 w 11685910"/>
                <a:gd name="connsiteY3069" fmla="*/ 947086 h 6078415"/>
                <a:gd name="connsiteX3070" fmla="*/ 8997878 w 11685910"/>
                <a:gd name="connsiteY3070" fmla="*/ 920954 h 6078415"/>
                <a:gd name="connsiteX3071" fmla="*/ 8947410 w 11685910"/>
                <a:gd name="connsiteY3071" fmla="*/ 944572 h 6078415"/>
                <a:gd name="connsiteX3072" fmla="*/ 8961642 w 11685910"/>
                <a:gd name="connsiteY3072" fmla="*/ 944899 h 6078415"/>
                <a:gd name="connsiteX3073" fmla="*/ 8962219 w 11685910"/>
                <a:gd name="connsiteY3073" fmla="*/ 944982 h 6078415"/>
                <a:gd name="connsiteX3074" fmla="*/ 8959809 w 11685910"/>
                <a:gd name="connsiteY3074" fmla="*/ 945637 h 6078415"/>
                <a:gd name="connsiteX3075" fmla="*/ 8935210 w 11685910"/>
                <a:gd name="connsiteY3075" fmla="*/ 950754 h 6078415"/>
                <a:gd name="connsiteX3076" fmla="*/ 8888734 w 11685910"/>
                <a:gd name="connsiteY3076" fmla="*/ 1011039 h 6078415"/>
                <a:gd name="connsiteX3077" fmla="*/ 8902716 w 11685910"/>
                <a:gd name="connsiteY3077" fmla="*/ 1033151 h 6078415"/>
                <a:gd name="connsiteX3078" fmla="*/ 8917222 w 11685910"/>
                <a:gd name="connsiteY3078" fmla="*/ 1016613 h 6078415"/>
                <a:gd name="connsiteX3079" fmla="*/ 8900250 w 11685910"/>
                <a:gd name="connsiteY3079" fmla="*/ 1051719 h 6078415"/>
                <a:gd name="connsiteX3080" fmla="*/ 8916179 w 11685910"/>
                <a:gd name="connsiteY3080" fmla="*/ 1061100 h 6078415"/>
                <a:gd name="connsiteX3081" fmla="*/ 8943334 w 11685910"/>
                <a:gd name="connsiteY3081" fmla="*/ 1047657 h 6078415"/>
                <a:gd name="connsiteX3082" fmla="*/ 8960742 w 11685910"/>
                <a:gd name="connsiteY3082" fmla="*/ 1045916 h 6078415"/>
                <a:gd name="connsiteX3083" fmla="*/ 8966979 w 11685910"/>
                <a:gd name="connsiteY3083" fmla="*/ 976866 h 6078415"/>
                <a:gd name="connsiteX3084" fmla="*/ 8967705 w 11685910"/>
                <a:gd name="connsiteY3084" fmla="*/ 1054765 h 6078415"/>
                <a:gd name="connsiteX3085" fmla="*/ 8965597 w 11685910"/>
                <a:gd name="connsiteY3085" fmla="*/ 1054420 h 6078415"/>
                <a:gd name="connsiteX3086" fmla="*/ 8962928 w 11685910"/>
                <a:gd name="connsiteY3086" fmla="*/ 1053737 h 6078415"/>
                <a:gd name="connsiteX3087" fmla="*/ 8960194 w 11685910"/>
                <a:gd name="connsiteY3087" fmla="*/ 1053311 h 6078415"/>
                <a:gd name="connsiteX3088" fmla="*/ 8959428 w 11685910"/>
                <a:gd name="connsiteY3088" fmla="*/ 1053133 h 6078415"/>
                <a:gd name="connsiteX3089" fmla="*/ 8952657 w 11685910"/>
                <a:gd name="connsiteY3089" fmla="*/ 1052904 h 6078415"/>
                <a:gd name="connsiteX3090" fmla="*/ 8951671 w 11685910"/>
                <a:gd name="connsiteY3090" fmla="*/ 1053134 h 6078415"/>
                <a:gd name="connsiteX3091" fmla="*/ 8951076 w 11685910"/>
                <a:gd name="connsiteY3091" fmla="*/ 1053185 h 6078415"/>
                <a:gd name="connsiteX3092" fmla="*/ 8911848 w 11685910"/>
                <a:gd name="connsiteY3092" fmla="*/ 1069127 h 6078415"/>
                <a:gd name="connsiteX3093" fmla="*/ 8889508 w 11685910"/>
                <a:gd name="connsiteY3093" fmla="*/ 1051408 h 6078415"/>
                <a:gd name="connsiteX3094" fmla="*/ 8889050 w 11685910"/>
                <a:gd name="connsiteY3094" fmla="*/ 1050814 h 6078415"/>
                <a:gd name="connsiteX3095" fmla="*/ 8890772 w 11685910"/>
                <a:gd name="connsiteY3095" fmla="*/ 1047937 h 6078415"/>
                <a:gd name="connsiteX3096" fmla="*/ 8896851 w 11685910"/>
                <a:gd name="connsiteY3096" fmla="*/ 1039133 h 6078415"/>
                <a:gd name="connsiteX3097" fmla="*/ 8879789 w 11685910"/>
                <a:gd name="connsiteY3097" fmla="*/ 1012102 h 6078415"/>
                <a:gd name="connsiteX3098" fmla="*/ 8910052 w 11685910"/>
                <a:gd name="connsiteY3098" fmla="*/ 965944 h 6078415"/>
                <a:gd name="connsiteX3099" fmla="*/ 8829997 w 11685910"/>
                <a:gd name="connsiteY3099" fmla="*/ 1013326 h 6078415"/>
                <a:gd name="connsiteX3100" fmla="*/ 8826372 w 11685910"/>
                <a:gd name="connsiteY3100" fmla="*/ 1010063 h 6078415"/>
                <a:gd name="connsiteX3101" fmla="*/ 8827432 w 11685910"/>
                <a:gd name="connsiteY3101" fmla="*/ 1009468 h 6078415"/>
                <a:gd name="connsiteX3102" fmla="*/ 8831386 w 11685910"/>
                <a:gd name="connsiteY3102" fmla="*/ 989562 h 6078415"/>
                <a:gd name="connsiteX3103" fmla="*/ 8820903 w 11685910"/>
                <a:gd name="connsiteY3103" fmla="*/ 999655 h 6078415"/>
                <a:gd name="connsiteX3104" fmla="*/ 8821815 w 11685910"/>
                <a:gd name="connsiteY3104" fmla="*/ 992755 h 6078415"/>
                <a:gd name="connsiteX3105" fmla="*/ 8835461 w 11685910"/>
                <a:gd name="connsiteY3105" fmla="*/ 984200 h 6078415"/>
                <a:gd name="connsiteX3106" fmla="*/ 8835461 w 11685910"/>
                <a:gd name="connsiteY3106" fmla="*/ 1008026 h 6078415"/>
                <a:gd name="connsiteX3107" fmla="*/ 8911802 w 11685910"/>
                <a:gd name="connsiteY3107" fmla="*/ 959644 h 6078415"/>
                <a:gd name="connsiteX3108" fmla="*/ 8934413 w 11685910"/>
                <a:gd name="connsiteY3108" fmla="*/ 943112 h 6078415"/>
                <a:gd name="connsiteX3109" fmla="*/ 8940449 w 11685910"/>
                <a:gd name="connsiteY3109" fmla="*/ 942479 h 6078415"/>
                <a:gd name="connsiteX3110" fmla="*/ 8941148 w 11685910"/>
                <a:gd name="connsiteY3110" fmla="*/ 940982 h 6078415"/>
                <a:gd name="connsiteX3111" fmla="*/ 8960427 w 11685910"/>
                <a:gd name="connsiteY3111" fmla="*/ 922446 h 6078415"/>
                <a:gd name="connsiteX3112" fmla="*/ 8996098 w 11685910"/>
                <a:gd name="connsiteY3112" fmla="*/ 914392 h 6078415"/>
                <a:gd name="connsiteX3113" fmla="*/ 2935363 w 11685910"/>
                <a:gd name="connsiteY3113" fmla="*/ 914392 h 6078415"/>
                <a:gd name="connsiteX3114" fmla="*/ 2941265 w 11685910"/>
                <a:gd name="connsiteY3114" fmla="*/ 914909 h 6078415"/>
                <a:gd name="connsiteX3115" fmla="*/ 2984542 w 11685910"/>
                <a:gd name="connsiteY3115" fmla="*/ 944327 h 6078415"/>
                <a:gd name="connsiteX3116" fmla="*/ 3002532 w 11685910"/>
                <a:gd name="connsiteY3116" fmla="*/ 965479 h 6078415"/>
                <a:gd name="connsiteX3117" fmla="*/ 2999373 w 11685910"/>
                <a:gd name="connsiteY3117" fmla="*/ 973259 h 6078415"/>
                <a:gd name="connsiteX3118" fmla="*/ 3012485 w 11685910"/>
                <a:gd name="connsiteY3118" fmla="*/ 983364 h 6078415"/>
                <a:gd name="connsiteX3119" fmla="*/ 3010799 w 11685910"/>
                <a:gd name="connsiteY3119" fmla="*/ 946030 h 6078415"/>
                <a:gd name="connsiteX3120" fmla="*/ 3026115 w 11685910"/>
                <a:gd name="connsiteY3120" fmla="*/ 936305 h 6078415"/>
                <a:gd name="connsiteX3121" fmla="*/ 3038029 w 11685910"/>
                <a:gd name="connsiteY3121" fmla="*/ 925121 h 6078415"/>
                <a:gd name="connsiteX3122" fmla="*/ 3060882 w 11685910"/>
                <a:gd name="connsiteY3122" fmla="*/ 987604 h 6078415"/>
                <a:gd name="connsiteX3123" fmla="*/ 3023198 w 11685910"/>
                <a:gd name="connsiteY3123" fmla="*/ 1055922 h 6078415"/>
                <a:gd name="connsiteX3124" fmla="*/ 2991171 w 11685910"/>
                <a:gd name="connsiteY3124" fmla="*/ 1056640 h 6078415"/>
                <a:gd name="connsiteX3125" fmla="*/ 2987165 w 11685910"/>
                <a:gd name="connsiteY3125" fmla="*/ 1055245 h 6078415"/>
                <a:gd name="connsiteX3126" fmla="*/ 2986685 w 11685910"/>
                <a:gd name="connsiteY3126" fmla="*/ 1057521 h 6078415"/>
                <a:gd name="connsiteX3127" fmla="*/ 2961930 w 11685910"/>
                <a:gd name="connsiteY3127" fmla="*/ 1077560 h 6078415"/>
                <a:gd name="connsiteX3128" fmla="*/ 2940292 w 11685910"/>
                <a:gd name="connsiteY3128" fmla="*/ 1067835 h 6078415"/>
                <a:gd name="connsiteX3129" fmla="*/ 2939319 w 11685910"/>
                <a:gd name="connsiteY3129" fmla="*/ 1080477 h 6078415"/>
                <a:gd name="connsiteX3130" fmla="*/ 2949045 w 11685910"/>
                <a:gd name="connsiteY3130" fmla="*/ 1101143 h 6078415"/>
                <a:gd name="connsiteX3131" fmla="*/ 2948558 w 11685910"/>
                <a:gd name="connsiteY3131" fmla="*/ 1112327 h 6078415"/>
                <a:gd name="connsiteX3132" fmla="*/ 2950746 w 11685910"/>
                <a:gd name="connsiteY3132" fmla="*/ 1126185 h 6078415"/>
                <a:gd name="connsiteX3133" fmla="*/ 2934701 w 11685910"/>
                <a:gd name="connsiteY3133" fmla="*/ 1132020 h 6078415"/>
                <a:gd name="connsiteX3134" fmla="*/ 2909658 w 11685910"/>
                <a:gd name="connsiteY3134" fmla="*/ 1126671 h 6078415"/>
                <a:gd name="connsiteX3135" fmla="*/ 2908894 w 11685910"/>
                <a:gd name="connsiteY3135" fmla="*/ 1122187 h 6078415"/>
                <a:gd name="connsiteX3136" fmla="*/ 2908854 w 11685910"/>
                <a:gd name="connsiteY3136" fmla="*/ 1120833 h 6078415"/>
                <a:gd name="connsiteX3137" fmla="*/ 2905089 w 11685910"/>
                <a:gd name="connsiteY3137" fmla="*/ 1124401 h 6078415"/>
                <a:gd name="connsiteX3138" fmla="*/ 2881456 w 11685910"/>
                <a:gd name="connsiteY3138" fmla="*/ 1138827 h 6078415"/>
                <a:gd name="connsiteX3139" fmla="*/ 2857873 w 11685910"/>
                <a:gd name="connsiteY3139" fmla="*/ 1110382 h 6078415"/>
                <a:gd name="connsiteX3140" fmla="*/ 2868814 w 11685910"/>
                <a:gd name="connsiteY3140" fmla="*/ 1098468 h 6078415"/>
                <a:gd name="connsiteX3141" fmla="*/ 2843771 w 11685910"/>
                <a:gd name="connsiteY3141" fmla="*/ 1096037 h 6078415"/>
                <a:gd name="connsiteX3142" fmla="*/ 2842800 w 11685910"/>
                <a:gd name="connsiteY3142" fmla="*/ 1106978 h 6078415"/>
                <a:gd name="connsiteX3143" fmla="*/ 2836479 w 11685910"/>
                <a:gd name="connsiteY3143" fmla="*/ 1117675 h 6078415"/>
                <a:gd name="connsiteX3144" fmla="*/ 2831372 w 11685910"/>
                <a:gd name="connsiteY3144" fmla="*/ 1136882 h 6078415"/>
                <a:gd name="connsiteX3145" fmla="*/ 2791015 w 11685910"/>
                <a:gd name="connsiteY3145" fmla="*/ 1128373 h 6078415"/>
                <a:gd name="connsiteX3146" fmla="*/ 2791986 w 11685910"/>
                <a:gd name="connsiteY3146" fmla="*/ 1114272 h 6078415"/>
                <a:gd name="connsiteX3147" fmla="*/ 2782262 w 11685910"/>
                <a:gd name="connsiteY3147" fmla="*/ 1116217 h 6078415"/>
                <a:gd name="connsiteX3148" fmla="*/ 2756976 w 11685910"/>
                <a:gd name="connsiteY3148" fmla="*/ 1090202 h 6078415"/>
                <a:gd name="connsiteX3149" fmla="*/ 2772294 w 11685910"/>
                <a:gd name="connsiteY3149" fmla="*/ 1063458 h 6078415"/>
                <a:gd name="connsiteX3150" fmla="*/ 2773751 w 11685910"/>
                <a:gd name="connsiteY3150" fmla="*/ 1036715 h 6078415"/>
                <a:gd name="connsiteX3151" fmla="*/ 2758192 w 11685910"/>
                <a:gd name="connsiteY3151" fmla="*/ 1014591 h 6078415"/>
                <a:gd name="connsiteX3152" fmla="*/ 2759965 w 11685910"/>
                <a:gd name="connsiteY3152" fmla="*/ 1001182 h 6078415"/>
                <a:gd name="connsiteX3153" fmla="*/ 2760426 w 11685910"/>
                <a:gd name="connsiteY3153" fmla="*/ 1009961 h 6078415"/>
                <a:gd name="connsiteX3154" fmla="*/ 2761256 w 11685910"/>
                <a:gd name="connsiteY3154" fmla="*/ 1010359 h 6078415"/>
                <a:gd name="connsiteX3155" fmla="*/ 2761379 w 11685910"/>
                <a:gd name="connsiteY3155" fmla="*/ 1011541 h 6078415"/>
                <a:gd name="connsiteX3156" fmla="*/ 2781066 w 11685910"/>
                <a:gd name="connsiteY3156" fmla="*/ 1025483 h 6078415"/>
                <a:gd name="connsiteX3157" fmla="*/ 2799412 w 11685910"/>
                <a:gd name="connsiteY3157" fmla="*/ 1096591 h 6078415"/>
                <a:gd name="connsiteX3158" fmla="*/ 2800381 w 11685910"/>
                <a:gd name="connsiteY3158" fmla="*/ 1098453 h 6078415"/>
                <a:gd name="connsiteX3159" fmla="*/ 2800347 w 11685910"/>
                <a:gd name="connsiteY3159" fmla="*/ 1099327 h 6078415"/>
                <a:gd name="connsiteX3160" fmla="*/ 2798937 w 11685910"/>
                <a:gd name="connsiteY3160" fmla="*/ 1112860 h 6078415"/>
                <a:gd name="connsiteX3161" fmla="*/ 2795614 w 11685910"/>
                <a:gd name="connsiteY3161" fmla="*/ 1124265 h 6078415"/>
                <a:gd name="connsiteX3162" fmla="*/ 2830008 w 11685910"/>
                <a:gd name="connsiteY3162" fmla="*/ 1130910 h 6078415"/>
                <a:gd name="connsiteX3163" fmla="*/ 2831175 w 11685910"/>
                <a:gd name="connsiteY3163" fmla="*/ 1119954 h 6078415"/>
                <a:gd name="connsiteX3164" fmla="*/ 2837821 w 11685910"/>
                <a:gd name="connsiteY3164" fmla="*/ 1105676 h 6078415"/>
                <a:gd name="connsiteX3165" fmla="*/ 2838101 w 11685910"/>
                <a:gd name="connsiteY3165" fmla="*/ 1090466 h 6078415"/>
                <a:gd name="connsiteX3166" fmla="*/ 2837893 w 11685910"/>
                <a:gd name="connsiteY3166" fmla="*/ 1084748 h 6078415"/>
                <a:gd name="connsiteX3167" fmla="*/ 2839491 w 11685910"/>
                <a:gd name="connsiteY3167" fmla="*/ 1086610 h 6078415"/>
                <a:gd name="connsiteX3168" fmla="*/ 2879129 w 11685910"/>
                <a:gd name="connsiteY3168" fmla="*/ 1084393 h 6078415"/>
                <a:gd name="connsiteX3169" fmla="*/ 2880027 w 11685910"/>
                <a:gd name="connsiteY3169" fmla="*/ 1098222 h 6078415"/>
                <a:gd name="connsiteX3170" fmla="*/ 2862875 w 11685910"/>
                <a:gd name="connsiteY3170" fmla="*/ 1110974 h 6078415"/>
                <a:gd name="connsiteX3171" fmla="*/ 2881915 w 11685910"/>
                <a:gd name="connsiteY3171" fmla="*/ 1134053 h 6078415"/>
                <a:gd name="connsiteX3172" fmla="*/ 2917206 w 11685910"/>
                <a:gd name="connsiteY3172" fmla="*/ 1106125 h 6078415"/>
                <a:gd name="connsiteX3173" fmla="*/ 2936424 w 11685910"/>
                <a:gd name="connsiteY3173" fmla="*/ 1064008 h 6078415"/>
                <a:gd name="connsiteX3174" fmla="*/ 2919445 w 11685910"/>
                <a:gd name="connsiteY3174" fmla="*/ 1045621 h 6078415"/>
                <a:gd name="connsiteX3175" fmla="*/ 2919250 w 11685910"/>
                <a:gd name="connsiteY3175" fmla="*/ 1045109 h 6078415"/>
                <a:gd name="connsiteX3176" fmla="*/ 2921887 w 11685910"/>
                <a:gd name="connsiteY3176" fmla="*/ 1046769 h 6078415"/>
                <a:gd name="connsiteX3177" fmla="*/ 2941183 w 11685910"/>
                <a:gd name="connsiteY3177" fmla="*/ 1057452 h 6078415"/>
                <a:gd name="connsiteX3178" fmla="*/ 2962645 w 11685910"/>
                <a:gd name="connsiteY3178" fmla="*/ 1072000 h 6078415"/>
                <a:gd name="connsiteX3179" fmla="*/ 2983749 w 11685910"/>
                <a:gd name="connsiteY3179" fmla="*/ 1053501 h 6078415"/>
                <a:gd name="connsiteX3180" fmla="*/ 2980427 w 11685910"/>
                <a:gd name="connsiteY3180" fmla="*/ 1053232 h 6078415"/>
                <a:gd name="connsiteX3181" fmla="*/ 2952445 w 11685910"/>
                <a:gd name="connsiteY3181" fmla="*/ 1030934 h 6078415"/>
                <a:gd name="connsiteX3182" fmla="*/ 2953376 w 11685910"/>
                <a:gd name="connsiteY3182" fmla="*/ 1026126 h 6078415"/>
                <a:gd name="connsiteX3183" fmla="*/ 2955141 w 11685910"/>
                <a:gd name="connsiteY3183" fmla="*/ 1028048 h 6078415"/>
                <a:gd name="connsiteX3184" fmla="*/ 3027392 w 11685910"/>
                <a:gd name="connsiteY3184" fmla="*/ 1046317 h 6078415"/>
                <a:gd name="connsiteX3185" fmla="*/ 3039336 w 11685910"/>
                <a:gd name="connsiteY3185" fmla="*/ 928407 h 6078415"/>
                <a:gd name="connsiteX3186" fmla="*/ 3029997 w 11685910"/>
                <a:gd name="connsiteY3186" fmla="*/ 939184 h 6078415"/>
                <a:gd name="connsiteX3187" fmla="*/ 3016347 w 11685910"/>
                <a:gd name="connsiteY3187" fmla="*/ 946098 h 6078415"/>
                <a:gd name="connsiteX3188" fmla="*/ 3007812 w 11685910"/>
                <a:gd name="connsiteY3188" fmla="*/ 1007305 h 6078415"/>
                <a:gd name="connsiteX3189" fmla="*/ 3006322 w 11685910"/>
                <a:gd name="connsiteY3189" fmla="*/ 1008481 h 6078415"/>
                <a:gd name="connsiteX3190" fmla="*/ 3006635 w 11685910"/>
                <a:gd name="connsiteY3190" fmla="*/ 1007876 h 6078415"/>
                <a:gd name="connsiteX3191" fmla="*/ 3009881 w 11685910"/>
                <a:gd name="connsiteY3191" fmla="*/ 988664 h 6078415"/>
                <a:gd name="connsiteX3192" fmla="*/ 2997219 w 11685910"/>
                <a:gd name="connsiteY3192" fmla="*/ 991089 h 6078415"/>
                <a:gd name="connsiteX3193" fmla="*/ 2998567 w 11685910"/>
                <a:gd name="connsiteY3193" fmla="*/ 980582 h 6078415"/>
                <a:gd name="connsiteX3194" fmla="*/ 2986712 w 11685910"/>
                <a:gd name="connsiteY3194" fmla="*/ 980492 h 6078415"/>
                <a:gd name="connsiteX3195" fmla="*/ 2990126 w 11685910"/>
                <a:gd name="connsiteY3195" fmla="*/ 972680 h 6078415"/>
                <a:gd name="connsiteX3196" fmla="*/ 2983272 w 11685910"/>
                <a:gd name="connsiteY3196" fmla="*/ 969514 h 6078415"/>
                <a:gd name="connsiteX3197" fmla="*/ 2981373 w 11685910"/>
                <a:gd name="connsiteY3197" fmla="*/ 969527 h 6078415"/>
                <a:gd name="connsiteX3198" fmla="*/ 2982934 w 11685910"/>
                <a:gd name="connsiteY3198" fmla="*/ 968966 h 6078415"/>
                <a:gd name="connsiteX3199" fmla="*/ 2985276 w 11685910"/>
                <a:gd name="connsiteY3199" fmla="*/ 968279 h 6078415"/>
                <a:gd name="connsiteX3200" fmla="*/ 2996590 w 11685910"/>
                <a:gd name="connsiteY3200" fmla="*/ 965675 h 6078415"/>
                <a:gd name="connsiteX3201" fmla="*/ 2985096 w 11685910"/>
                <a:gd name="connsiteY3201" fmla="*/ 951037 h 6078415"/>
                <a:gd name="connsiteX3202" fmla="*/ 2973115 w 11685910"/>
                <a:gd name="connsiteY3202" fmla="*/ 949568 h 6078415"/>
                <a:gd name="connsiteX3203" fmla="*/ 2972009 w 11685910"/>
                <a:gd name="connsiteY3203" fmla="*/ 949509 h 6078415"/>
                <a:gd name="connsiteX3204" fmla="*/ 2972018 w 11685910"/>
                <a:gd name="connsiteY3204" fmla="*/ 949486 h 6078415"/>
                <a:gd name="connsiteX3205" fmla="*/ 2979799 w 11685910"/>
                <a:gd name="connsiteY3205" fmla="*/ 947086 h 6078415"/>
                <a:gd name="connsiteX3206" fmla="*/ 2937141 w 11685910"/>
                <a:gd name="connsiteY3206" fmla="*/ 920954 h 6078415"/>
                <a:gd name="connsiteX3207" fmla="*/ 2886673 w 11685910"/>
                <a:gd name="connsiteY3207" fmla="*/ 944572 h 6078415"/>
                <a:gd name="connsiteX3208" fmla="*/ 2900905 w 11685910"/>
                <a:gd name="connsiteY3208" fmla="*/ 944899 h 6078415"/>
                <a:gd name="connsiteX3209" fmla="*/ 2901482 w 11685910"/>
                <a:gd name="connsiteY3209" fmla="*/ 944982 h 6078415"/>
                <a:gd name="connsiteX3210" fmla="*/ 2899072 w 11685910"/>
                <a:gd name="connsiteY3210" fmla="*/ 945637 h 6078415"/>
                <a:gd name="connsiteX3211" fmla="*/ 2874475 w 11685910"/>
                <a:gd name="connsiteY3211" fmla="*/ 950754 h 6078415"/>
                <a:gd name="connsiteX3212" fmla="*/ 2827999 w 11685910"/>
                <a:gd name="connsiteY3212" fmla="*/ 1011039 h 6078415"/>
                <a:gd name="connsiteX3213" fmla="*/ 2841979 w 11685910"/>
                <a:gd name="connsiteY3213" fmla="*/ 1033151 h 6078415"/>
                <a:gd name="connsiteX3214" fmla="*/ 2856485 w 11685910"/>
                <a:gd name="connsiteY3214" fmla="*/ 1016613 h 6078415"/>
                <a:gd name="connsiteX3215" fmla="*/ 2839513 w 11685910"/>
                <a:gd name="connsiteY3215" fmla="*/ 1051719 h 6078415"/>
                <a:gd name="connsiteX3216" fmla="*/ 2855442 w 11685910"/>
                <a:gd name="connsiteY3216" fmla="*/ 1061100 h 6078415"/>
                <a:gd name="connsiteX3217" fmla="*/ 2882598 w 11685910"/>
                <a:gd name="connsiteY3217" fmla="*/ 1047657 h 6078415"/>
                <a:gd name="connsiteX3218" fmla="*/ 2900005 w 11685910"/>
                <a:gd name="connsiteY3218" fmla="*/ 1045916 h 6078415"/>
                <a:gd name="connsiteX3219" fmla="*/ 2906243 w 11685910"/>
                <a:gd name="connsiteY3219" fmla="*/ 976866 h 6078415"/>
                <a:gd name="connsiteX3220" fmla="*/ 2906969 w 11685910"/>
                <a:gd name="connsiteY3220" fmla="*/ 1054765 h 6078415"/>
                <a:gd name="connsiteX3221" fmla="*/ 2904860 w 11685910"/>
                <a:gd name="connsiteY3221" fmla="*/ 1054420 h 6078415"/>
                <a:gd name="connsiteX3222" fmla="*/ 2902192 w 11685910"/>
                <a:gd name="connsiteY3222" fmla="*/ 1053737 h 6078415"/>
                <a:gd name="connsiteX3223" fmla="*/ 2899458 w 11685910"/>
                <a:gd name="connsiteY3223" fmla="*/ 1053311 h 6078415"/>
                <a:gd name="connsiteX3224" fmla="*/ 2898691 w 11685910"/>
                <a:gd name="connsiteY3224" fmla="*/ 1053133 h 6078415"/>
                <a:gd name="connsiteX3225" fmla="*/ 2891922 w 11685910"/>
                <a:gd name="connsiteY3225" fmla="*/ 1052904 h 6078415"/>
                <a:gd name="connsiteX3226" fmla="*/ 2890936 w 11685910"/>
                <a:gd name="connsiteY3226" fmla="*/ 1053134 h 6078415"/>
                <a:gd name="connsiteX3227" fmla="*/ 2890339 w 11685910"/>
                <a:gd name="connsiteY3227" fmla="*/ 1053185 h 6078415"/>
                <a:gd name="connsiteX3228" fmla="*/ 2851111 w 11685910"/>
                <a:gd name="connsiteY3228" fmla="*/ 1069127 h 6078415"/>
                <a:gd name="connsiteX3229" fmla="*/ 2828772 w 11685910"/>
                <a:gd name="connsiteY3229" fmla="*/ 1051408 h 6078415"/>
                <a:gd name="connsiteX3230" fmla="*/ 2828313 w 11685910"/>
                <a:gd name="connsiteY3230" fmla="*/ 1050814 h 6078415"/>
                <a:gd name="connsiteX3231" fmla="*/ 2830035 w 11685910"/>
                <a:gd name="connsiteY3231" fmla="*/ 1047937 h 6078415"/>
                <a:gd name="connsiteX3232" fmla="*/ 2836114 w 11685910"/>
                <a:gd name="connsiteY3232" fmla="*/ 1039133 h 6078415"/>
                <a:gd name="connsiteX3233" fmla="*/ 2819053 w 11685910"/>
                <a:gd name="connsiteY3233" fmla="*/ 1012102 h 6078415"/>
                <a:gd name="connsiteX3234" fmla="*/ 2849315 w 11685910"/>
                <a:gd name="connsiteY3234" fmla="*/ 965944 h 6078415"/>
                <a:gd name="connsiteX3235" fmla="*/ 2769260 w 11685910"/>
                <a:gd name="connsiteY3235" fmla="*/ 1013326 h 6078415"/>
                <a:gd name="connsiteX3236" fmla="*/ 2765636 w 11685910"/>
                <a:gd name="connsiteY3236" fmla="*/ 1010063 h 6078415"/>
                <a:gd name="connsiteX3237" fmla="*/ 2766697 w 11685910"/>
                <a:gd name="connsiteY3237" fmla="*/ 1009468 h 6078415"/>
                <a:gd name="connsiteX3238" fmla="*/ 2770650 w 11685910"/>
                <a:gd name="connsiteY3238" fmla="*/ 989562 h 6078415"/>
                <a:gd name="connsiteX3239" fmla="*/ 2760166 w 11685910"/>
                <a:gd name="connsiteY3239" fmla="*/ 999654 h 6078415"/>
                <a:gd name="connsiteX3240" fmla="*/ 2761079 w 11685910"/>
                <a:gd name="connsiteY3240" fmla="*/ 992755 h 6078415"/>
                <a:gd name="connsiteX3241" fmla="*/ 2774724 w 11685910"/>
                <a:gd name="connsiteY3241" fmla="*/ 984200 h 6078415"/>
                <a:gd name="connsiteX3242" fmla="*/ 2774724 w 11685910"/>
                <a:gd name="connsiteY3242" fmla="*/ 1008026 h 6078415"/>
                <a:gd name="connsiteX3243" fmla="*/ 2851066 w 11685910"/>
                <a:gd name="connsiteY3243" fmla="*/ 959644 h 6078415"/>
                <a:gd name="connsiteX3244" fmla="*/ 2873676 w 11685910"/>
                <a:gd name="connsiteY3244" fmla="*/ 943112 h 6078415"/>
                <a:gd name="connsiteX3245" fmla="*/ 2879712 w 11685910"/>
                <a:gd name="connsiteY3245" fmla="*/ 942479 h 6078415"/>
                <a:gd name="connsiteX3246" fmla="*/ 2880412 w 11685910"/>
                <a:gd name="connsiteY3246" fmla="*/ 940982 h 6078415"/>
                <a:gd name="connsiteX3247" fmla="*/ 2899691 w 11685910"/>
                <a:gd name="connsiteY3247" fmla="*/ 922446 h 6078415"/>
                <a:gd name="connsiteX3248" fmla="*/ 2935363 w 11685910"/>
                <a:gd name="connsiteY3248" fmla="*/ 914392 h 6078415"/>
                <a:gd name="connsiteX3249" fmla="*/ 11621423 w 11685910"/>
                <a:gd name="connsiteY3249" fmla="*/ 638389 h 6078415"/>
                <a:gd name="connsiteX3250" fmla="*/ 11666272 w 11685910"/>
                <a:gd name="connsiteY3250" fmla="*/ 677411 h 6078415"/>
                <a:gd name="connsiteX3251" fmla="*/ 11666272 w 11685910"/>
                <a:gd name="connsiteY3251" fmla="*/ 713771 h 6078415"/>
                <a:gd name="connsiteX3252" fmla="*/ 11685910 w 11685910"/>
                <a:gd name="connsiteY3252" fmla="*/ 740631 h 6078415"/>
                <a:gd name="connsiteX3253" fmla="*/ 11685910 w 11685910"/>
                <a:gd name="connsiteY3253" fmla="*/ 759127 h 6078415"/>
                <a:gd name="connsiteX3254" fmla="*/ 11666272 w 11685910"/>
                <a:gd name="connsiteY3254" fmla="*/ 785480 h 6078415"/>
                <a:gd name="connsiteX3255" fmla="*/ 11666272 w 11685910"/>
                <a:gd name="connsiteY3255" fmla="*/ 822855 h 6078415"/>
                <a:gd name="connsiteX3256" fmla="*/ 11621423 w 11685910"/>
                <a:gd name="connsiteY3256" fmla="*/ 861369 h 6078415"/>
                <a:gd name="connsiteX3257" fmla="*/ 11621423 w 11685910"/>
                <a:gd name="connsiteY3257" fmla="*/ 841858 h 6078415"/>
                <a:gd name="connsiteX3258" fmla="*/ 11637070 w 11685910"/>
                <a:gd name="connsiteY3258" fmla="*/ 835777 h 6078415"/>
                <a:gd name="connsiteX3259" fmla="*/ 11641694 w 11685910"/>
                <a:gd name="connsiteY3259" fmla="*/ 816520 h 6078415"/>
                <a:gd name="connsiteX3260" fmla="*/ 11641694 w 11685910"/>
                <a:gd name="connsiteY3260" fmla="*/ 781173 h 6078415"/>
                <a:gd name="connsiteX3261" fmla="*/ 11666653 w 11685910"/>
                <a:gd name="connsiteY3261" fmla="*/ 749879 h 6078415"/>
                <a:gd name="connsiteX3262" fmla="*/ 11666653 w 11685910"/>
                <a:gd name="connsiteY3262" fmla="*/ 749500 h 6078415"/>
                <a:gd name="connsiteX3263" fmla="*/ 11641694 w 11685910"/>
                <a:gd name="connsiteY3263" fmla="*/ 717952 h 6078415"/>
                <a:gd name="connsiteX3264" fmla="*/ 11641694 w 11685910"/>
                <a:gd name="connsiteY3264" fmla="*/ 682226 h 6078415"/>
                <a:gd name="connsiteX3265" fmla="*/ 11621423 w 11685910"/>
                <a:gd name="connsiteY3265" fmla="*/ 658027 h 6078415"/>
                <a:gd name="connsiteX3266" fmla="*/ 11603939 w 11685910"/>
                <a:gd name="connsiteY3266" fmla="*/ 638389 h 6078415"/>
                <a:gd name="connsiteX3267" fmla="*/ 11603939 w 11685910"/>
                <a:gd name="connsiteY3267" fmla="*/ 658027 h 6078415"/>
                <a:gd name="connsiteX3268" fmla="*/ 11583795 w 11685910"/>
                <a:gd name="connsiteY3268" fmla="*/ 682226 h 6078415"/>
                <a:gd name="connsiteX3269" fmla="*/ 11583795 w 11685910"/>
                <a:gd name="connsiteY3269" fmla="*/ 717952 h 6078415"/>
                <a:gd name="connsiteX3270" fmla="*/ 11558583 w 11685910"/>
                <a:gd name="connsiteY3270" fmla="*/ 749500 h 6078415"/>
                <a:gd name="connsiteX3271" fmla="*/ 11558583 w 11685910"/>
                <a:gd name="connsiteY3271" fmla="*/ 749879 h 6078415"/>
                <a:gd name="connsiteX3272" fmla="*/ 11583795 w 11685910"/>
                <a:gd name="connsiteY3272" fmla="*/ 781173 h 6078415"/>
                <a:gd name="connsiteX3273" fmla="*/ 11583795 w 11685910"/>
                <a:gd name="connsiteY3273" fmla="*/ 816520 h 6078415"/>
                <a:gd name="connsiteX3274" fmla="*/ 11588293 w 11685910"/>
                <a:gd name="connsiteY3274" fmla="*/ 835840 h 6078415"/>
                <a:gd name="connsiteX3275" fmla="*/ 11603939 w 11685910"/>
                <a:gd name="connsiteY3275" fmla="*/ 841858 h 6078415"/>
                <a:gd name="connsiteX3276" fmla="*/ 11603939 w 11685910"/>
                <a:gd name="connsiteY3276" fmla="*/ 861369 h 6078415"/>
                <a:gd name="connsiteX3277" fmla="*/ 11558836 w 11685910"/>
                <a:gd name="connsiteY3277" fmla="*/ 822855 h 6078415"/>
                <a:gd name="connsiteX3278" fmla="*/ 11558836 w 11685910"/>
                <a:gd name="connsiteY3278" fmla="*/ 785480 h 6078415"/>
                <a:gd name="connsiteX3279" fmla="*/ 11539072 w 11685910"/>
                <a:gd name="connsiteY3279" fmla="*/ 759127 h 6078415"/>
                <a:gd name="connsiteX3280" fmla="*/ 11539072 w 11685910"/>
                <a:gd name="connsiteY3280" fmla="*/ 740631 h 6078415"/>
                <a:gd name="connsiteX3281" fmla="*/ 11558836 w 11685910"/>
                <a:gd name="connsiteY3281" fmla="*/ 713771 h 6078415"/>
                <a:gd name="connsiteX3282" fmla="*/ 11558836 w 11685910"/>
                <a:gd name="connsiteY3282" fmla="*/ 677411 h 6078415"/>
                <a:gd name="connsiteX3283" fmla="*/ 11603939 w 11685910"/>
                <a:gd name="connsiteY3283" fmla="*/ 638389 h 6078415"/>
                <a:gd name="connsiteX3284" fmla="*/ 10947400 w 11685910"/>
                <a:gd name="connsiteY3284" fmla="*/ 638389 h 6078415"/>
                <a:gd name="connsiteX3285" fmla="*/ 10992249 w 11685910"/>
                <a:gd name="connsiteY3285" fmla="*/ 677411 h 6078415"/>
                <a:gd name="connsiteX3286" fmla="*/ 10992249 w 11685910"/>
                <a:gd name="connsiteY3286" fmla="*/ 713771 h 6078415"/>
                <a:gd name="connsiteX3287" fmla="*/ 11011887 w 11685910"/>
                <a:gd name="connsiteY3287" fmla="*/ 740631 h 6078415"/>
                <a:gd name="connsiteX3288" fmla="*/ 11011887 w 11685910"/>
                <a:gd name="connsiteY3288" fmla="*/ 759127 h 6078415"/>
                <a:gd name="connsiteX3289" fmla="*/ 10992249 w 11685910"/>
                <a:gd name="connsiteY3289" fmla="*/ 785480 h 6078415"/>
                <a:gd name="connsiteX3290" fmla="*/ 10992249 w 11685910"/>
                <a:gd name="connsiteY3290" fmla="*/ 822855 h 6078415"/>
                <a:gd name="connsiteX3291" fmla="*/ 10947400 w 11685910"/>
                <a:gd name="connsiteY3291" fmla="*/ 861369 h 6078415"/>
                <a:gd name="connsiteX3292" fmla="*/ 10947400 w 11685910"/>
                <a:gd name="connsiteY3292" fmla="*/ 841858 h 6078415"/>
                <a:gd name="connsiteX3293" fmla="*/ 10963047 w 11685910"/>
                <a:gd name="connsiteY3293" fmla="*/ 835777 h 6078415"/>
                <a:gd name="connsiteX3294" fmla="*/ 10967671 w 11685910"/>
                <a:gd name="connsiteY3294" fmla="*/ 816520 h 6078415"/>
                <a:gd name="connsiteX3295" fmla="*/ 10967671 w 11685910"/>
                <a:gd name="connsiteY3295" fmla="*/ 781173 h 6078415"/>
                <a:gd name="connsiteX3296" fmla="*/ 10992630 w 11685910"/>
                <a:gd name="connsiteY3296" fmla="*/ 749879 h 6078415"/>
                <a:gd name="connsiteX3297" fmla="*/ 10992630 w 11685910"/>
                <a:gd name="connsiteY3297" fmla="*/ 749500 h 6078415"/>
                <a:gd name="connsiteX3298" fmla="*/ 10967671 w 11685910"/>
                <a:gd name="connsiteY3298" fmla="*/ 717952 h 6078415"/>
                <a:gd name="connsiteX3299" fmla="*/ 10967671 w 11685910"/>
                <a:gd name="connsiteY3299" fmla="*/ 682226 h 6078415"/>
                <a:gd name="connsiteX3300" fmla="*/ 10947400 w 11685910"/>
                <a:gd name="connsiteY3300" fmla="*/ 658027 h 6078415"/>
                <a:gd name="connsiteX3301" fmla="*/ 10929916 w 11685910"/>
                <a:gd name="connsiteY3301" fmla="*/ 638389 h 6078415"/>
                <a:gd name="connsiteX3302" fmla="*/ 10929916 w 11685910"/>
                <a:gd name="connsiteY3302" fmla="*/ 658027 h 6078415"/>
                <a:gd name="connsiteX3303" fmla="*/ 10909772 w 11685910"/>
                <a:gd name="connsiteY3303" fmla="*/ 682226 h 6078415"/>
                <a:gd name="connsiteX3304" fmla="*/ 10909772 w 11685910"/>
                <a:gd name="connsiteY3304" fmla="*/ 717952 h 6078415"/>
                <a:gd name="connsiteX3305" fmla="*/ 10884560 w 11685910"/>
                <a:gd name="connsiteY3305" fmla="*/ 749500 h 6078415"/>
                <a:gd name="connsiteX3306" fmla="*/ 10884560 w 11685910"/>
                <a:gd name="connsiteY3306" fmla="*/ 749879 h 6078415"/>
                <a:gd name="connsiteX3307" fmla="*/ 10909772 w 11685910"/>
                <a:gd name="connsiteY3307" fmla="*/ 781173 h 6078415"/>
                <a:gd name="connsiteX3308" fmla="*/ 10909772 w 11685910"/>
                <a:gd name="connsiteY3308" fmla="*/ 816520 h 6078415"/>
                <a:gd name="connsiteX3309" fmla="*/ 10914270 w 11685910"/>
                <a:gd name="connsiteY3309" fmla="*/ 835840 h 6078415"/>
                <a:gd name="connsiteX3310" fmla="*/ 10929916 w 11685910"/>
                <a:gd name="connsiteY3310" fmla="*/ 841858 h 6078415"/>
                <a:gd name="connsiteX3311" fmla="*/ 10929916 w 11685910"/>
                <a:gd name="connsiteY3311" fmla="*/ 861369 h 6078415"/>
                <a:gd name="connsiteX3312" fmla="*/ 10884813 w 11685910"/>
                <a:gd name="connsiteY3312" fmla="*/ 822855 h 6078415"/>
                <a:gd name="connsiteX3313" fmla="*/ 10884813 w 11685910"/>
                <a:gd name="connsiteY3313" fmla="*/ 785480 h 6078415"/>
                <a:gd name="connsiteX3314" fmla="*/ 10865049 w 11685910"/>
                <a:gd name="connsiteY3314" fmla="*/ 759127 h 6078415"/>
                <a:gd name="connsiteX3315" fmla="*/ 10865049 w 11685910"/>
                <a:gd name="connsiteY3315" fmla="*/ 740631 h 6078415"/>
                <a:gd name="connsiteX3316" fmla="*/ 10884813 w 11685910"/>
                <a:gd name="connsiteY3316" fmla="*/ 713771 h 6078415"/>
                <a:gd name="connsiteX3317" fmla="*/ 10884813 w 11685910"/>
                <a:gd name="connsiteY3317" fmla="*/ 677411 h 6078415"/>
                <a:gd name="connsiteX3318" fmla="*/ 10929916 w 11685910"/>
                <a:gd name="connsiteY3318" fmla="*/ 638389 h 6078415"/>
                <a:gd name="connsiteX3319" fmla="*/ 9748950 w 11685910"/>
                <a:gd name="connsiteY3319" fmla="*/ 638389 h 6078415"/>
                <a:gd name="connsiteX3320" fmla="*/ 9793799 w 11685910"/>
                <a:gd name="connsiteY3320" fmla="*/ 677411 h 6078415"/>
                <a:gd name="connsiteX3321" fmla="*/ 9793799 w 11685910"/>
                <a:gd name="connsiteY3321" fmla="*/ 713771 h 6078415"/>
                <a:gd name="connsiteX3322" fmla="*/ 9813437 w 11685910"/>
                <a:gd name="connsiteY3322" fmla="*/ 740631 h 6078415"/>
                <a:gd name="connsiteX3323" fmla="*/ 9813437 w 11685910"/>
                <a:gd name="connsiteY3323" fmla="*/ 759127 h 6078415"/>
                <a:gd name="connsiteX3324" fmla="*/ 9793799 w 11685910"/>
                <a:gd name="connsiteY3324" fmla="*/ 785480 h 6078415"/>
                <a:gd name="connsiteX3325" fmla="*/ 9793799 w 11685910"/>
                <a:gd name="connsiteY3325" fmla="*/ 822855 h 6078415"/>
                <a:gd name="connsiteX3326" fmla="*/ 9748950 w 11685910"/>
                <a:gd name="connsiteY3326" fmla="*/ 861369 h 6078415"/>
                <a:gd name="connsiteX3327" fmla="*/ 9748950 w 11685910"/>
                <a:gd name="connsiteY3327" fmla="*/ 841858 h 6078415"/>
                <a:gd name="connsiteX3328" fmla="*/ 9764597 w 11685910"/>
                <a:gd name="connsiteY3328" fmla="*/ 835777 h 6078415"/>
                <a:gd name="connsiteX3329" fmla="*/ 9769221 w 11685910"/>
                <a:gd name="connsiteY3329" fmla="*/ 816520 h 6078415"/>
                <a:gd name="connsiteX3330" fmla="*/ 9769221 w 11685910"/>
                <a:gd name="connsiteY3330" fmla="*/ 781173 h 6078415"/>
                <a:gd name="connsiteX3331" fmla="*/ 9794180 w 11685910"/>
                <a:gd name="connsiteY3331" fmla="*/ 749879 h 6078415"/>
                <a:gd name="connsiteX3332" fmla="*/ 9794180 w 11685910"/>
                <a:gd name="connsiteY3332" fmla="*/ 749500 h 6078415"/>
                <a:gd name="connsiteX3333" fmla="*/ 9769221 w 11685910"/>
                <a:gd name="connsiteY3333" fmla="*/ 717952 h 6078415"/>
                <a:gd name="connsiteX3334" fmla="*/ 9769221 w 11685910"/>
                <a:gd name="connsiteY3334" fmla="*/ 682226 h 6078415"/>
                <a:gd name="connsiteX3335" fmla="*/ 9748950 w 11685910"/>
                <a:gd name="connsiteY3335" fmla="*/ 658027 h 6078415"/>
                <a:gd name="connsiteX3336" fmla="*/ 9731466 w 11685910"/>
                <a:gd name="connsiteY3336" fmla="*/ 638389 h 6078415"/>
                <a:gd name="connsiteX3337" fmla="*/ 9731466 w 11685910"/>
                <a:gd name="connsiteY3337" fmla="*/ 658027 h 6078415"/>
                <a:gd name="connsiteX3338" fmla="*/ 9711322 w 11685910"/>
                <a:gd name="connsiteY3338" fmla="*/ 682226 h 6078415"/>
                <a:gd name="connsiteX3339" fmla="*/ 9711322 w 11685910"/>
                <a:gd name="connsiteY3339" fmla="*/ 717952 h 6078415"/>
                <a:gd name="connsiteX3340" fmla="*/ 9686110 w 11685910"/>
                <a:gd name="connsiteY3340" fmla="*/ 749500 h 6078415"/>
                <a:gd name="connsiteX3341" fmla="*/ 9686110 w 11685910"/>
                <a:gd name="connsiteY3341" fmla="*/ 749879 h 6078415"/>
                <a:gd name="connsiteX3342" fmla="*/ 9711322 w 11685910"/>
                <a:gd name="connsiteY3342" fmla="*/ 781173 h 6078415"/>
                <a:gd name="connsiteX3343" fmla="*/ 9711322 w 11685910"/>
                <a:gd name="connsiteY3343" fmla="*/ 816520 h 6078415"/>
                <a:gd name="connsiteX3344" fmla="*/ 9715820 w 11685910"/>
                <a:gd name="connsiteY3344" fmla="*/ 835840 h 6078415"/>
                <a:gd name="connsiteX3345" fmla="*/ 9731466 w 11685910"/>
                <a:gd name="connsiteY3345" fmla="*/ 841858 h 6078415"/>
                <a:gd name="connsiteX3346" fmla="*/ 9731466 w 11685910"/>
                <a:gd name="connsiteY3346" fmla="*/ 861369 h 6078415"/>
                <a:gd name="connsiteX3347" fmla="*/ 9686363 w 11685910"/>
                <a:gd name="connsiteY3347" fmla="*/ 822855 h 6078415"/>
                <a:gd name="connsiteX3348" fmla="*/ 9686363 w 11685910"/>
                <a:gd name="connsiteY3348" fmla="*/ 785480 h 6078415"/>
                <a:gd name="connsiteX3349" fmla="*/ 9666599 w 11685910"/>
                <a:gd name="connsiteY3349" fmla="*/ 759127 h 6078415"/>
                <a:gd name="connsiteX3350" fmla="*/ 9666599 w 11685910"/>
                <a:gd name="connsiteY3350" fmla="*/ 740631 h 6078415"/>
                <a:gd name="connsiteX3351" fmla="*/ 9686363 w 11685910"/>
                <a:gd name="connsiteY3351" fmla="*/ 713771 h 6078415"/>
                <a:gd name="connsiteX3352" fmla="*/ 9686363 w 11685910"/>
                <a:gd name="connsiteY3352" fmla="*/ 677411 h 6078415"/>
                <a:gd name="connsiteX3353" fmla="*/ 9731466 w 11685910"/>
                <a:gd name="connsiteY3353" fmla="*/ 638389 h 6078415"/>
                <a:gd name="connsiteX3354" fmla="*/ 8124748 w 11685910"/>
                <a:gd name="connsiteY3354" fmla="*/ 638389 h 6078415"/>
                <a:gd name="connsiteX3355" fmla="*/ 8169597 w 11685910"/>
                <a:gd name="connsiteY3355" fmla="*/ 677411 h 6078415"/>
                <a:gd name="connsiteX3356" fmla="*/ 8169597 w 11685910"/>
                <a:gd name="connsiteY3356" fmla="*/ 713771 h 6078415"/>
                <a:gd name="connsiteX3357" fmla="*/ 8189235 w 11685910"/>
                <a:gd name="connsiteY3357" fmla="*/ 740631 h 6078415"/>
                <a:gd name="connsiteX3358" fmla="*/ 8189235 w 11685910"/>
                <a:gd name="connsiteY3358" fmla="*/ 759127 h 6078415"/>
                <a:gd name="connsiteX3359" fmla="*/ 8169597 w 11685910"/>
                <a:gd name="connsiteY3359" fmla="*/ 785480 h 6078415"/>
                <a:gd name="connsiteX3360" fmla="*/ 8169597 w 11685910"/>
                <a:gd name="connsiteY3360" fmla="*/ 822855 h 6078415"/>
                <a:gd name="connsiteX3361" fmla="*/ 8124748 w 11685910"/>
                <a:gd name="connsiteY3361" fmla="*/ 861369 h 6078415"/>
                <a:gd name="connsiteX3362" fmla="*/ 8124748 w 11685910"/>
                <a:gd name="connsiteY3362" fmla="*/ 841858 h 6078415"/>
                <a:gd name="connsiteX3363" fmla="*/ 8140395 w 11685910"/>
                <a:gd name="connsiteY3363" fmla="*/ 835777 h 6078415"/>
                <a:gd name="connsiteX3364" fmla="*/ 8145019 w 11685910"/>
                <a:gd name="connsiteY3364" fmla="*/ 816520 h 6078415"/>
                <a:gd name="connsiteX3365" fmla="*/ 8145019 w 11685910"/>
                <a:gd name="connsiteY3365" fmla="*/ 781173 h 6078415"/>
                <a:gd name="connsiteX3366" fmla="*/ 8169978 w 11685910"/>
                <a:gd name="connsiteY3366" fmla="*/ 749879 h 6078415"/>
                <a:gd name="connsiteX3367" fmla="*/ 8169978 w 11685910"/>
                <a:gd name="connsiteY3367" fmla="*/ 749500 h 6078415"/>
                <a:gd name="connsiteX3368" fmla="*/ 8145019 w 11685910"/>
                <a:gd name="connsiteY3368" fmla="*/ 717952 h 6078415"/>
                <a:gd name="connsiteX3369" fmla="*/ 8145019 w 11685910"/>
                <a:gd name="connsiteY3369" fmla="*/ 682226 h 6078415"/>
                <a:gd name="connsiteX3370" fmla="*/ 8124748 w 11685910"/>
                <a:gd name="connsiteY3370" fmla="*/ 658027 h 6078415"/>
                <a:gd name="connsiteX3371" fmla="*/ 8107264 w 11685910"/>
                <a:gd name="connsiteY3371" fmla="*/ 638389 h 6078415"/>
                <a:gd name="connsiteX3372" fmla="*/ 8107264 w 11685910"/>
                <a:gd name="connsiteY3372" fmla="*/ 658027 h 6078415"/>
                <a:gd name="connsiteX3373" fmla="*/ 8087120 w 11685910"/>
                <a:gd name="connsiteY3373" fmla="*/ 682226 h 6078415"/>
                <a:gd name="connsiteX3374" fmla="*/ 8087120 w 11685910"/>
                <a:gd name="connsiteY3374" fmla="*/ 717952 h 6078415"/>
                <a:gd name="connsiteX3375" fmla="*/ 8061908 w 11685910"/>
                <a:gd name="connsiteY3375" fmla="*/ 749500 h 6078415"/>
                <a:gd name="connsiteX3376" fmla="*/ 8061908 w 11685910"/>
                <a:gd name="connsiteY3376" fmla="*/ 749879 h 6078415"/>
                <a:gd name="connsiteX3377" fmla="*/ 8087120 w 11685910"/>
                <a:gd name="connsiteY3377" fmla="*/ 781173 h 6078415"/>
                <a:gd name="connsiteX3378" fmla="*/ 8087120 w 11685910"/>
                <a:gd name="connsiteY3378" fmla="*/ 816520 h 6078415"/>
                <a:gd name="connsiteX3379" fmla="*/ 8091618 w 11685910"/>
                <a:gd name="connsiteY3379" fmla="*/ 835840 h 6078415"/>
                <a:gd name="connsiteX3380" fmla="*/ 8107264 w 11685910"/>
                <a:gd name="connsiteY3380" fmla="*/ 841858 h 6078415"/>
                <a:gd name="connsiteX3381" fmla="*/ 8107264 w 11685910"/>
                <a:gd name="connsiteY3381" fmla="*/ 861369 h 6078415"/>
                <a:gd name="connsiteX3382" fmla="*/ 8062162 w 11685910"/>
                <a:gd name="connsiteY3382" fmla="*/ 822855 h 6078415"/>
                <a:gd name="connsiteX3383" fmla="*/ 8062162 w 11685910"/>
                <a:gd name="connsiteY3383" fmla="*/ 785480 h 6078415"/>
                <a:gd name="connsiteX3384" fmla="*/ 8042397 w 11685910"/>
                <a:gd name="connsiteY3384" fmla="*/ 759127 h 6078415"/>
                <a:gd name="connsiteX3385" fmla="*/ 8042397 w 11685910"/>
                <a:gd name="connsiteY3385" fmla="*/ 740631 h 6078415"/>
                <a:gd name="connsiteX3386" fmla="*/ 8062162 w 11685910"/>
                <a:gd name="connsiteY3386" fmla="*/ 713771 h 6078415"/>
                <a:gd name="connsiteX3387" fmla="*/ 8062162 w 11685910"/>
                <a:gd name="connsiteY3387" fmla="*/ 677411 h 6078415"/>
                <a:gd name="connsiteX3388" fmla="*/ 8107264 w 11685910"/>
                <a:gd name="connsiteY3388" fmla="*/ 638389 h 6078415"/>
                <a:gd name="connsiteX3389" fmla="*/ 5549040 w 11685910"/>
                <a:gd name="connsiteY3389" fmla="*/ 638389 h 6078415"/>
                <a:gd name="connsiteX3390" fmla="*/ 5593889 w 11685910"/>
                <a:gd name="connsiteY3390" fmla="*/ 677411 h 6078415"/>
                <a:gd name="connsiteX3391" fmla="*/ 5593889 w 11685910"/>
                <a:gd name="connsiteY3391" fmla="*/ 713771 h 6078415"/>
                <a:gd name="connsiteX3392" fmla="*/ 5613526 w 11685910"/>
                <a:gd name="connsiteY3392" fmla="*/ 740631 h 6078415"/>
                <a:gd name="connsiteX3393" fmla="*/ 5613526 w 11685910"/>
                <a:gd name="connsiteY3393" fmla="*/ 759127 h 6078415"/>
                <a:gd name="connsiteX3394" fmla="*/ 5593889 w 11685910"/>
                <a:gd name="connsiteY3394" fmla="*/ 785480 h 6078415"/>
                <a:gd name="connsiteX3395" fmla="*/ 5593889 w 11685910"/>
                <a:gd name="connsiteY3395" fmla="*/ 822855 h 6078415"/>
                <a:gd name="connsiteX3396" fmla="*/ 5549040 w 11685910"/>
                <a:gd name="connsiteY3396" fmla="*/ 861369 h 6078415"/>
                <a:gd name="connsiteX3397" fmla="*/ 5549040 w 11685910"/>
                <a:gd name="connsiteY3397" fmla="*/ 841858 h 6078415"/>
                <a:gd name="connsiteX3398" fmla="*/ 5564686 w 11685910"/>
                <a:gd name="connsiteY3398" fmla="*/ 835777 h 6078415"/>
                <a:gd name="connsiteX3399" fmla="*/ 5569311 w 11685910"/>
                <a:gd name="connsiteY3399" fmla="*/ 816520 h 6078415"/>
                <a:gd name="connsiteX3400" fmla="*/ 5569311 w 11685910"/>
                <a:gd name="connsiteY3400" fmla="*/ 781173 h 6078415"/>
                <a:gd name="connsiteX3401" fmla="*/ 5594268 w 11685910"/>
                <a:gd name="connsiteY3401" fmla="*/ 749879 h 6078415"/>
                <a:gd name="connsiteX3402" fmla="*/ 5594268 w 11685910"/>
                <a:gd name="connsiteY3402" fmla="*/ 749500 h 6078415"/>
                <a:gd name="connsiteX3403" fmla="*/ 5569311 w 11685910"/>
                <a:gd name="connsiteY3403" fmla="*/ 717952 h 6078415"/>
                <a:gd name="connsiteX3404" fmla="*/ 5569311 w 11685910"/>
                <a:gd name="connsiteY3404" fmla="*/ 682226 h 6078415"/>
                <a:gd name="connsiteX3405" fmla="*/ 5549040 w 11685910"/>
                <a:gd name="connsiteY3405" fmla="*/ 658027 h 6078415"/>
                <a:gd name="connsiteX3406" fmla="*/ 5531555 w 11685910"/>
                <a:gd name="connsiteY3406" fmla="*/ 638389 h 6078415"/>
                <a:gd name="connsiteX3407" fmla="*/ 5531555 w 11685910"/>
                <a:gd name="connsiteY3407" fmla="*/ 658027 h 6078415"/>
                <a:gd name="connsiteX3408" fmla="*/ 5511412 w 11685910"/>
                <a:gd name="connsiteY3408" fmla="*/ 682226 h 6078415"/>
                <a:gd name="connsiteX3409" fmla="*/ 5511412 w 11685910"/>
                <a:gd name="connsiteY3409" fmla="*/ 717952 h 6078415"/>
                <a:gd name="connsiteX3410" fmla="*/ 5486199 w 11685910"/>
                <a:gd name="connsiteY3410" fmla="*/ 749500 h 6078415"/>
                <a:gd name="connsiteX3411" fmla="*/ 5486199 w 11685910"/>
                <a:gd name="connsiteY3411" fmla="*/ 749879 h 6078415"/>
                <a:gd name="connsiteX3412" fmla="*/ 5511412 w 11685910"/>
                <a:gd name="connsiteY3412" fmla="*/ 781173 h 6078415"/>
                <a:gd name="connsiteX3413" fmla="*/ 5511412 w 11685910"/>
                <a:gd name="connsiteY3413" fmla="*/ 816520 h 6078415"/>
                <a:gd name="connsiteX3414" fmla="*/ 5515909 w 11685910"/>
                <a:gd name="connsiteY3414" fmla="*/ 835840 h 6078415"/>
                <a:gd name="connsiteX3415" fmla="*/ 5531555 w 11685910"/>
                <a:gd name="connsiteY3415" fmla="*/ 841858 h 6078415"/>
                <a:gd name="connsiteX3416" fmla="*/ 5531555 w 11685910"/>
                <a:gd name="connsiteY3416" fmla="*/ 861369 h 6078415"/>
                <a:gd name="connsiteX3417" fmla="*/ 5486453 w 11685910"/>
                <a:gd name="connsiteY3417" fmla="*/ 822855 h 6078415"/>
                <a:gd name="connsiteX3418" fmla="*/ 5486453 w 11685910"/>
                <a:gd name="connsiteY3418" fmla="*/ 785480 h 6078415"/>
                <a:gd name="connsiteX3419" fmla="*/ 5466689 w 11685910"/>
                <a:gd name="connsiteY3419" fmla="*/ 759127 h 6078415"/>
                <a:gd name="connsiteX3420" fmla="*/ 5466689 w 11685910"/>
                <a:gd name="connsiteY3420" fmla="*/ 740631 h 6078415"/>
                <a:gd name="connsiteX3421" fmla="*/ 5486453 w 11685910"/>
                <a:gd name="connsiteY3421" fmla="*/ 713771 h 6078415"/>
                <a:gd name="connsiteX3422" fmla="*/ 5486453 w 11685910"/>
                <a:gd name="connsiteY3422" fmla="*/ 677411 h 6078415"/>
                <a:gd name="connsiteX3423" fmla="*/ 5531555 w 11685910"/>
                <a:gd name="connsiteY3423" fmla="*/ 638389 h 6078415"/>
                <a:gd name="connsiteX3424" fmla="*/ 4882938 w 11685910"/>
                <a:gd name="connsiteY3424" fmla="*/ 638389 h 6078415"/>
                <a:gd name="connsiteX3425" fmla="*/ 4927787 w 11685910"/>
                <a:gd name="connsiteY3425" fmla="*/ 677411 h 6078415"/>
                <a:gd name="connsiteX3426" fmla="*/ 4927787 w 11685910"/>
                <a:gd name="connsiteY3426" fmla="*/ 713771 h 6078415"/>
                <a:gd name="connsiteX3427" fmla="*/ 4947424 w 11685910"/>
                <a:gd name="connsiteY3427" fmla="*/ 740631 h 6078415"/>
                <a:gd name="connsiteX3428" fmla="*/ 4947424 w 11685910"/>
                <a:gd name="connsiteY3428" fmla="*/ 759127 h 6078415"/>
                <a:gd name="connsiteX3429" fmla="*/ 4927787 w 11685910"/>
                <a:gd name="connsiteY3429" fmla="*/ 785480 h 6078415"/>
                <a:gd name="connsiteX3430" fmla="*/ 4927787 w 11685910"/>
                <a:gd name="connsiteY3430" fmla="*/ 822855 h 6078415"/>
                <a:gd name="connsiteX3431" fmla="*/ 4882938 w 11685910"/>
                <a:gd name="connsiteY3431" fmla="*/ 861369 h 6078415"/>
                <a:gd name="connsiteX3432" fmla="*/ 4882938 w 11685910"/>
                <a:gd name="connsiteY3432" fmla="*/ 841858 h 6078415"/>
                <a:gd name="connsiteX3433" fmla="*/ 4898583 w 11685910"/>
                <a:gd name="connsiteY3433" fmla="*/ 835777 h 6078415"/>
                <a:gd name="connsiteX3434" fmla="*/ 4903208 w 11685910"/>
                <a:gd name="connsiteY3434" fmla="*/ 816520 h 6078415"/>
                <a:gd name="connsiteX3435" fmla="*/ 4903208 w 11685910"/>
                <a:gd name="connsiteY3435" fmla="*/ 781173 h 6078415"/>
                <a:gd name="connsiteX3436" fmla="*/ 4928167 w 11685910"/>
                <a:gd name="connsiteY3436" fmla="*/ 749879 h 6078415"/>
                <a:gd name="connsiteX3437" fmla="*/ 4928167 w 11685910"/>
                <a:gd name="connsiteY3437" fmla="*/ 749500 h 6078415"/>
                <a:gd name="connsiteX3438" fmla="*/ 4903208 w 11685910"/>
                <a:gd name="connsiteY3438" fmla="*/ 717952 h 6078415"/>
                <a:gd name="connsiteX3439" fmla="*/ 4903208 w 11685910"/>
                <a:gd name="connsiteY3439" fmla="*/ 682226 h 6078415"/>
                <a:gd name="connsiteX3440" fmla="*/ 4882938 w 11685910"/>
                <a:gd name="connsiteY3440" fmla="*/ 658027 h 6078415"/>
                <a:gd name="connsiteX3441" fmla="*/ 4865453 w 11685910"/>
                <a:gd name="connsiteY3441" fmla="*/ 638389 h 6078415"/>
                <a:gd name="connsiteX3442" fmla="*/ 4865453 w 11685910"/>
                <a:gd name="connsiteY3442" fmla="*/ 658027 h 6078415"/>
                <a:gd name="connsiteX3443" fmla="*/ 4845309 w 11685910"/>
                <a:gd name="connsiteY3443" fmla="*/ 682226 h 6078415"/>
                <a:gd name="connsiteX3444" fmla="*/ 4845309 w 11685910"/>
                <a:gd name="connsiteY3444" fmla="*/ 717952 h 6078415"/>
                <a:gd name="connsiteX3445" fmla="*/ 4820097 w 11685910"/>
                <a:gd name="connsiteY3445" fmla="*/ 749500 h 6078415"/>
                <a:gd name="connsiteX3446" fmla="*/ 4820097 w 11685910"/>
                <a:gd name="connsiteY3446" fmla="*/ 749879 h 6078415"/>
                <a:gd name="connsiteX3447" fmla="*/ 4845309 w 11685910"/>
                <a:gd name="connsiteY3447" fmla="*/ 781173 h 6078415"/>
                <a:gd name="connsiteX3448" fmla="*/ 4845309 w 11685910"/>
                <a:gd name="connsiteY3448" fmla="*/ 816520 h 6078415"/>
                <a:gd name="connsiteX3449" fmla="*/ 4849806 w 11685910"/>
                <a:gd name="connsiteY3449" fmla="*/ 835840 h 6078415"/>
                <a:gd name="connsiteX3450" fmla="*/ 4865453 w 11685910"/>
                <a:gd name="connsiteY3450" fmla="*/ 841858 h 6078415"/>
                <a:gd name="connsiteX3451" fmla="*/ 4865453 w 11685910"/>
                <a:gd name="connsiteY3451" fmla="*/ 861369 h 6078415"/>
                <a:gd name="connsiteX3452" fmla="*/ 4820350 w 11685910"/>
                <a:gd name="connsiteY3452" fmla="*/ 822855 h 6078415"/>
                <a:gd name="connsiteX3453" fmla="*/ 4820350 w 11685910"/>
                <a:gd name="connsiteY3453" fmla="*/ 785480 h 6078415"/>
                <a:gd name="connsiteX3454" fmla="*/ 4800586 w 11685910"/>
                <a:gd name="connsiteY3454" fmla="*/ 759127 h 6078415"/>
                <a:gd name="connsiteX3455" fmla="*/ 4800586 w 11685910"/>
                <a:gd name="connsiteY3455" fmla="*/ 740631 h 6078415"/>
                <a:gd name="connsiteX3456" fmla="*/ 4820350 w 11685910"/>
                <a:gd name="connsiteY3456" fmla="*/ 713771 h 6078415"/>
                <a:gd name="connsiteX3457" fmla="*/ 4820350 w 11685910"/>
                <a:gd name="connsiteY3457" fmla="*/ 677411 h 6078415"/>
                <a:gd name="connsiteX3458" fmla="*/ 4865453 w 11685910"/>
                <a:gd name="connsiteY3458" fmla="*/ 638389 h 6078415"/>
                <a:gd name="connsiteX3459" fmla="*/ 2058393 w 11685910"/>
                <a:gd name="connsiteY3459" fmla="*/ 638389 h 6078415"/>
                <a:gd name="connsiteX3460" fmla="*/ 2103243 w 11685910"/>
                <a:gd name="connsiteY3460" fmla="*/ 677411 h 6078415"/>
                <a:gd name="connsiteX3461" fmla="*/ 2103243 w 11685910"/>
                <a:gd name="connsiteY3461" fmla="*/ 713771 h 6078415"/>
                <a:gd name="connsiteX3462" fmla="*/ 2122880 w 11685910"/>
                <a:gd name="connsiteY3462" fmla="*/ 740631 h 6078415"/>
                <a:gd name="connsiteX3463" fmla="*/ 2122880 w 11685910"/>
                <a:gd name="connsiteY3463" fmla="*/ 759127 h 6078415"/>
                <a:gd name="connsiteX3464" fmla="*/ 2103243 w 11685910"/>
                <a:gd name="connsiteY3464" fmla="*/ 785480 h 6078415"/>
                <a:gd name="connsiteX3465" fmla="*/ 2103243 w 11685910"/>
                <a:gd name="connsiteY3465" fmla="*/ 822855 h 6078415"/>
                <a:gd name="connsiteX3466" fmla="*/ 2058393 w 11685910"/>
                <a:gd name="connsiteY3466" fmla="*/ 861369 h 6078415"/>
                <a:gd name="connsiteX3467" fmla="*/ 2058393 w 11685910"/>
                <a:gd name="connsiteY3467" fmla="*/ 841858 h 6078415"/>
                <a:gd name="connsiteX3468" fmla="*/ 2074040 w 11685910"/>
                <a:gd name="connsiteY3468" fmla="*/ 835777 h 6078415"/>
                <a:gd name="connsiteX3469" fmla="*/ 2078664 w 11685910"/>
                <a:gd name="connsiteY3469" fmla="*/ 816520 h 6078415"/>
                <a:gd name="connsiteX3470" fmla="*/ 2078664 w 11685910"/>
                <a:gd name="connsiteY3470" fmla="*/ 781173 h 6078415"/>
                <a:gd name="connsiteX3471" fmla="*/ 2103623 w 11685910"/>
                <a:gd name="connsiteY3471" fmla="*/ 749879 h 6078415"/>
                <a:gd name="connsiteX3472" fmla="*/ 2103623 w 11685910"/>
                <a:gd name="connsiteY3472" fmla="*/ 749500 h 6078415"/>
                <a:gd name="connsiteX3473" fmla="*/ 2078664 w 11685910"/>
                <a:gd name="connsiteY3473" fmla="*/ 717952 h 6078415"/>
                <a:gd name="connsiteX3474" fmla="*/ 2078664 w 11685910"/>
                <a:gd name="connsiteY3474" fmla="*/ 682226 h 6078415"/>
                <a:gd name="connsiteX3475" fmla="*/ 2058393 w 11685910"/>
                <a:gd name="connsiteY3475" fmla="*/ 658027 h 6078415"/>
                <a:gd name="connsiteX3476" fmla="*/ 2040908 w 11685910"/>
                <a:gd name="connsiteY3476" fmla="*/ 638389 h 6078415"/>
                <a:gd name="connsiteX3477" fmla="*/ 2040908 w 11685910"/>
                <a:gd name="connsiteY3477" fmla="*/ 658027 h 6078415"/>
                <a:gd name="connsiteX3478" fmla="*/ 2020765 w 11685910"/>
                <a:gd name="connsiteY3478" fmla="*/ 682226 h 6078415"/>
                <a:gd name="connsiteX3479" fmla="*/ 2020765 w 11685910"/>
                <a:gd name="connsiteY3479" fmla="*/ 717952 h 6078415"/>
                <a:gd name="connsiteX3480" fmla="*/ 1995553 w 11685910"/>
                <a:gd name="connsiteY3480" fmla="*/ 749500 h 6078415"/>
                <a:gd name="connsiteX3481" fmla="*/ 1995553 w 11685910"/>
                <a:gd name="connsiteY3481" fmla="*/ 749879 h 6078415"/>
                <a:gd name="connsiteX3482" fmla="*/ 2020765 w 11685910"/>
                <a:gd name="connsiteY3482" fmla="*/ 781173 h 6078415"/>
                <a:gd name="connsiteX3483" fmla="*/ 2020765 w 11685910"/>
                <a:gd name="connsiteY3483" fmla="*/ 816520 h 6078415"/>
                <a:gd name="connsiteX3484" fmla="*/ 2025262 w 11685910"/>
                <a:gd name="connsiteY3484" fmla="*/ 835840 h 6078415"/>
                <a:gd name="connsiteX3485" fmla="*/ 2040908 w 11685910"/>
                <a:gd name="connsiteY3485" fmla="*/ 841858 h 6078415"/>
                <a:gd name="connsiteX3486" fmla="*/ 2040908 w 11685910"/>
                <a:gd name="connsiteY3486" fmla="*/ 861369 h 6078415"/>
                <a:gd name="connsiteX3487" fmla="*/ 1995806 w 11685910"/>
                <a:gd name="connsiteY3487" fmla="*/ 822855 h 6078415"/>
                <a:gd name="connsiteX3488" fmla="*/ 1995806 w 11685910"/>
                <a:gd name="connsiteY3488" fmla="*/ 785480 h 6078415"/>
                <a:gd name="connsiteX3489" fmla="*/ 1976041 w 11685910"/>
                <a:gd name="connsiteY3489" fmla="*/ 759127 h 6078415"/>
                <a:gd name="connsiteX3490" fmla="*/ 1976041 w 11685910"/>
                <a:gd name="connsiteY3490" fmla="*/ 740631 h 6078415"/>
                <a:gd name="connsiteX3491" fmla="*/ 1995806 w 11685910"/>
                <a:gd name="connsiteY3491" fmla="*/ 713771 h 6078415"/>
                <a:gd name="connsiteX3492" fmla="*/ 1995806 w 11685910"/>
                <a:gd name="connsiteY3492" fmla="*/ 677411 h 6078415"/>
                <a:gd name="connsiteX3493" fmla="*/ 2040908 w 11685910"/>
                <a:gd name="connsiteY3493" fmla="*/ 638389 h 6078415"/>
                <a:gd name="connsiteX3494" fmla="*/ 9005765 w 11685910"/>
                <a:gd name="connsiteY3494" fmla="*/ 498119 h 6078415"/>
                <a:gd name="connsiteX3495" fmla="*/ 8982416 w 11685910"/>
                <a:gd name="connsiteY3495" fmla="*/ 537631 h 6078415"/>
                <a:gd name="connsiteX3496" fmla="*/ 8998940 w 11685910"/>
                <a:gd name="connsiteY3496" fmla="*/ 541044 h 6078415"/>
                <a:gd name="connsiteX3497" fmla="*/ 9015463 w 11685910"/>
                <a:gd name="connsiteY3497" fmla="*/ 537452 h 6078415"/>
                <a:gd name="connsiteX3498" fmla="*/ 9012500 w 11685910"/>
                <a:gd name="connsiteY3498" fmla="*/ 527933 h 6078415"/>
                <a:gd name="connsiteX3499" fmla="*/ 9013488 w 11685910"/>
                <a:gd name="connsiteY3499" fmla="*/ 514642 h 6078415"/>
                <a:gd name="connsiteX3500" fmla="*/ 9005765 w 11685910"/>
                <a:gd name="connsiteY3500" fmla="*/ 498119 h 6078415"/>
                <a:gd name="connsiteX3501" fmla="*/ 2945029 w 11685910"/>
                <a:gd name="connsiteY3501" fmla="*/ 498119 h 6078415"/>
                <a:gd name="connsiteX3502" fmla="*/ 2921680 w 11685910"/>
                <a:gd name="connsiteY3502" fmla="*/ 537631 h 6078415"/>
                <a:gd name="connsiteX3503" fmla="*/ 2938203 w 11685910"/>
                <a:gd name="connsiteY3503" fmla="*/ 541044 h 6078415"/>
                <a:gd name="connsiteX3504" fmla="*/ 2954726 w 11685910"/>
                <a:gd name="connsiteY3504" fmla="*/ 537452 h 6078415"/>
                <a:gd name="connsiteX3505" fmla="*/ 2951763 w 11685910"/>
                <a:gd name="connsiteY3505" fmla="*/ 527933 h 6078415"/>
                <a:gd name="connsiteX3506" fmla="*/ 2952751 w 11685910"/>
                <a:gd name="connsiteY3506" fmla="*/ 514642 h 6078415"/>
                <a:gd name="connsiteX3507" fmla="*/ 2945029 w 11685910"/>
                <a:gd name="connsiteY3507" fmla="*/ 498119 h 6078415"/>
                <a:gd name="connsiteX3508" fmla="*/ 8844660 w 11685910"/>
                <a:gd name="connsiteY3508" fmla="*/ 481595 h 6078415"/>
                <a:gd name="connsiteX3509" fmla="*/ 8830921 w 11685910"/>
                <a:gd name="connsiteY3509" fmla="*/ 501980 h 6078415"/>
                <a:gd name="connsiteX3510" fmla="*/ 8852563 w 11685910"/>
                <a:gd name="connsiteY3510" fmla="*/ 523712 h 6078415"/>
                <a:gd name="connsiteX3511" fmla="*/ 8861543 w 11685910"/>
                <a:gd name="connsiteY3511" fmla="*/ 516438 h 6078415"/>
                <a:gd name="connsiteX3512" fmla="*/ 8844660 w 11685910"/>
                <a:gd name="connsiteY3512" fmla="*/ 481595 h 6078415"/>
                <a:gd name="connsiteX3513" fmla="*/ 2783925 w 11685910"/>
                <a:gd name="connsiteY3513" fmla="*/ 481595 h 6078415"/>
                <a:gd name="connsiteX3514" fmla="*/ 2770185 w 11685910"/>
                <a:gd name="connsiteY3514" fmla="*/ 501980 h 6078415"/>
                <a:gd name="connsiteX3515" fmla="*/ 2791826 w 11685910"/>
                <a:gd name="connsiteY3515" fmla="*/ 523712 h 6078415"/>
                <a:gd name="connsiteX3516" fmla="*/ 2800806 w 11685910"/>
                <a:gd name="connsiteY3516" fmla="*/ 516438 h 6078415"/>
                <a:gd name="connsiteX3517" fmla="*/ 2783925 w 11685910"/>
                <a:gd name="connsiteY3517" fmla="*/ 481595 h 6078415"/>
                <a:gd name="connsiteX3518" fmla="*/ 8828161 w 11685910"/>
                <a:gd name="connsiteY3518" fmla="*/ 412842 h 6078415"/>
                <a:gd name="connsiteX3519" fmla="*/ 8827959 w 11685910"/>
                <a:gd name="connsiteY3519" fmla="*/ 414368 h 6078415"/>
                <a:gd name="connsiteX3520" fmla="*/ 8827892 w 11685910"/>
                <a:gd name="connsiteY3520" fmla="*/ 413100 h 6078415"/>
                <a:gd name="connsiteX3521" fmla="*/ 2767424 w 11685910"/>
                <a:gd name="connsiteY3521" fmla="*/ 412841 h 6078415"/>
                <a:gd name="connsiteX3522" fmla="*/ 2767222 w 11685910"/>
                <a:gd name="connsiteY3522" fmla="*/ 414369 h 6078415"/>
                <a:gd name="connsiteX3523" fmla="*/ 2767156 w 11685910"/>
                <a:gd name="connsiteY3523" fmla="*/ 413100 h 6078415"/>
                <a:gd name="connsiteX3524" fmla="*/ 9031448 w 11685910"/>
                <a:gd name="connsiteY3524" fmla="*/ 385462 h 6078415"/>
                <a:gd name="connsiteX3525" fmla="*/ 9027429 w 11685910"/>
                <a:gd name="connsiteY3525" fmla="*/ 388336 h 6078415"/>
                <a:gd name="connsiteX3526" fmla="*/ 9034399 w 11685910"/>
                <a:gd name="connsiteY3526" fmla="*/ 396764 h 6078415"/>
                <a:gd name="connsiteX3527" fmla="*/ 9041326 w 11685910"/>
                <a:gd name="connsiteY3527" fmla="*/ 395026 h 6078415"/>
                <a:gd name="connsiteX3528" fmla="*/ 9014925 w 11685910"/>
                <a:gd name="connsiteY3528" fmla="*/ 414334 h 6078415"/>
                <a:gd name="connsiteX3529" fmla="*/ 9019975 w 11685910"/>
                <a:gd name="connsiteY3529" fmla="*/ 406659 h 6078415"/>
                <a:gd name="connsiteX3530" fmla="*/ 9012141 w 11685910"/>
                <a:gd name="connsiteY3530" fmla="*/ 399651 h 6078415"/>
                <a:gd name="connsiteX3531" fmla="*/ 9007291 w 11685910"/>
                <a:gd name="connsiteY3531" fmla="*/ 403737 h 6078415"/>
                <a:gd name="connsiteX3532" fmla="*/ 9031448 w 11685910"/>
                <a:gd name="connsiteY3532" fmla="*/ 385462 h 6078415"/>
                <a:gd name="connsiteX3533" fmla="*/ 2970711 w 11685910"/>
                <a:gd name="connsiteY3533" fmla="*/ 385462 h 6078415"/>
                <a:gd name="connsiteX3534" fmla="*/ 2966693 w 11685910"/>
                <a:gd name="connsiteY3534" fmla="*/ 388336 h 6078415"/>
                <a:gd name="connsiteX3535" fmla="*/ 2973663 w 11685910"/>
                <a:gd name="connsiteY3535" fmla="*/ 396764 h 6078415"/>
                <a:gd name="connsiteX3536" fmla="*/ 2980590 w 11685910"/>
                <a:gd name="connsiteY3536" fmla="*/ 395026 h 6078415"/>
                <a:gd name="connsiteX3537" fmla="*/ 2954189 w 11685910"/>
                <a:gd name="connsiteY3537" fmla="*/ 414334 h 6078415"/>
                <a:gd name="connsiteX3538" fmla="*/ 2959239 w 11685910"/>
                <a:gd name="connsiteY3538" fmla="*/ 406659 h 6078415"/>
                <a:gd name="connsiteX3539" fmla="*/ 2951404 w 11685910"/>
                <a:gd name="connsiteY3539" fmla="*/ 399651 h 6078415"/>
                <a:gd name="connsiteX3540" fmla="*/ 2946555 w 11685910"/>
                <a:gd name="connsiteY3540" fmla="*/ 403737 h 6078415"/>
                <a:gd name="connsiteX3541" fmla="*/ 2970711 w 11685910"/>
                <a:gd name="connsiteY3541" fmla="*/ 385462 h 6078415"/>
                <a:gd name="connsiteX3542" fmla="*/ 9004699 w 11685910"/>
                <a:gd name="connsiteY3542" fmla="*/ 368940 h 6078415"/>
                <a:gd name="connsiteX3543" fmla="*/ 9007000 w 11685910"/>
                <a:gd name="connsiteY3543" fmla="*/ 368977 h 6078415"/>
                <a:gd name="connsiteX3544" fmla="*/ 9015194 w 11685910"/>
                <a:gd name="connsiteY3544" fmla="*/ 370241 h 6078415"/>
                <a:gd name="connsiteX3545" fmla="*/ 8996156 w 11685910"/>
                <a:gd name="connsiteY3545" fmla="*/ 389279 h 6078415"/>
                <a:gd name="connsiteX3546" fmla="*/ 9004699 w 11685910"/>
                <a:gd name="connsiteY3546" fmla="*/ 368940 h 6078415"/>
                <a:gd name="connsiteX3547" fmla="*/ 2943962 w 11685910"/>
                <a:gd name="connsiteY3547" fmla="*/ 368940 h 6078415"/>
                <a:gd name="connsiteX3548" fmla="*/ 2946264 w 11685910"/>
                <a:gd name="connsiteY3548" fmla="*/ 368977 h 6078415"/>
                <a:gd name="connsiteX3549" fmla="*/ 2954458 w 11685910"/>
                <a:gd name="connsiteY3549" fmla="*/ 370241 h 6078415"/>
                <a:gd name="connsiteX3550" fmla="*/ 2935420 w 11685910"/>
                <a:gd name="connsiteY3550" fmla="*/ 389279 h 6078415"/>
                <a:gd name="connsiteX3551" fmla="*/ 2943962 w 11685910"/>
                <a:gd name="connsiteY3551" fmla="*/ 368940 h 6078415"/>
                <a:gd name="connsiteX3552" fmla="*/ 9107997 w 11685910"/>
                <a:gd name="connsiteY3552" fmla="*/ 346712 h 6078415"/>
                <a:gd name="connsiteX3553" fmla="*/ 9099744 w 11685910"/>
                <a:gd name="connsiteY3553" fmla="*/ 360728 h 6078415"/>
                <a:gd name="connsiteX3554" fmla="*/ 9087486 w 11685910"/>
                <a:gd name="connsiteY3554" fmla="*/ 362733 h 6078415"/>
                <a:gd name="connsiteX3555" fmla="*/ 9098703 w 11685910"/>
                <a:gd name="connsiteY3555" fmla="*/ 356059 h 6078415"/>
                <a:gd name="connsiteX3556" fmla="*/ 9107997 w 11685910"/>
                <a:gd name="connsiteY3556" fmla="*/ 346712 h 6078415"/>
                <a:gd name="connsiteX3557" fmla="*/ 3047262 w 11685910"/>
                <a:gd name="connsiteY3557" fmla="*/ 346712 h 6078415"/>
                <a:gd name="connsiteX3558" fmla="*/ 3039007 w 11685910"/>
                <a:gd name="connsiteY3558" fmla="*/ 360728 h 6078415"/>
                <a:gd name="connsiteX3559" fmla="*/ 3026750 w 11685910"/>
                <a:gd name="connsiteY3559" fmla="*/ 362733 h 6078415"/>
                <a:gd name="connsiteX3560" fmla="*/ 3037966 w 11685910"/>
                <a:gd name="connsiteY3560" fmla="*/ 356059 h 6078415"/>
                <a:gd name="connsiteX3561" fmla="*/ 3047262 w 11685910"/>
                <a:gd name="connsiteY3561" fmla="*/ 346712 h 6078415"/>
                <a:gd name="connsiteX3562" fmla="*/ 10088691 w 11685910"/>
                <a:gd name="connsiteY3562" fmla="*/ 330076 h 6078415"/>
                <a:gd name="connsiteX3563" fmla="*/ 10143377 w 11685910"/>
                <a:gd name="connsiteY3563" fmla="*/ 369097 h 6078415"/>
                <a:gd name="connsiteX3564" fmla="*/ 10143377 w 11685910"/>
                <a:gd name="connsiteY3564" fmla="*/ 405458 h 6078415"/>
                <a:gd name="connsiteX3565" fmla="*/ 10167321 w 11685910"/>
                <a:gd name="connsiteY3565" fmla="*/ 432318 h 6078415"/>
                <a:gd name="connsiteX3566" fmla="*/ 10167321 w 11685910"/>
                <a:gd name="connsiteY3566" fmla="*/ 450814 h 6078415"/>
                <a:gd name="connsiteX3567" fmla="*/ 10143377 w 11685910"/>
                <a:gd name="connsiteY3567" fmla="*/ 477167 h 6078415"/>
                <a:gd name="connsiteX3568" fmla="*/ 10143377 w 11685910"/>
                <a:gd name="connsiteY3568" fmla="*/ 514542 h 6078415"/>
                <a:gd name="connsiteX3569" fmla="*/ 10088691 w 11685910"/>
                <a:gd name="connsiteY3569" fmla="*/ 553056 h 6078415"/>
                <a:gd name="connsiteX3570" fmla="*/ 10088691 w 11685910"/>
                <a:gd name="connsiteY3570" fmla="*/ 533545 h 6078415"/>
                <a:gd name="connsiteX3571" fmla="*/ 10107769 w 11685910"/>
                <a:gd name="connsiteY3571" fmla="*/ 527464 h 6078415"/>
                <a:gd name="connsiteX3572" fmla="*/ 10113408 w 11685910"/>
                <a:gd name="connsiteY3572" fmla="*/ 508207 h 6078415"/>
                <a:gd name="connsiteX3573" fmla="*/ 10113408 w 11685910"/>
                <a:gd name="connsiteY3573" fmla="*/ 472859 h 6078415"/>
                <a:gd name="connsiteX3574" fmla="*/ 10143840 w 11685910"/>
                <a:gd name="connsiteY3574" fmla="*/ 441566 h 6078415"/>
                <a:gd name="connsiteX3575" fmla="*/ 10143840 w 11685910"/>
                <a:gd name="connsiteY3575" fmla="*/ 441186 h 6078415"/>
                <a:gd name="connsiteX3576" fmla="*/ 10113408 w 11685910"/>
                <a:gd name="connsiteY3576" fmla="*/ 409639 h 6078415"/>
                <a:gd name="connsiteX3577" fmla="*/ 10113408 w 11685910"/>
                <a:gd name="connsiteY3577" fmla="*/ 373912 h 6078415"/>
                <a:gd name="connsiteX3578" fmla="*/ 10088691 w 11685910"/>
                <a:gd name="connsiteY3578" fmla="*/ 349714 h 6078415"/>
                <a:gd name="connsiteX3579" fmla="*/ 10067372 w 11685910"/>
                <a:gd name="connsiteY3579" fmla="*/ 330076 h 6078415"/>
                <a:gd name="connsiteX3580" fmla="*/ 10067372 w 11685910"/>
                <a:gd name="connsiteY3580" fmla="*/ 349714 h 6078415"/>
                <a:gd name="connsiteX3581" fmla="*/ 10042810 w 11685910"/>
                <a:gd name="connsiteY3581" fmla="*/ 373912 h 6078415"/>
                <a:gd name="connsiteX3582" fmla="*/ 10042810 w 11685910"/>
                <a:gd name="connsiteY3582" fmla="*/ 409639 h 6078415"/>
                <a:gd name="connsiteX3583" fmla="*/ 10012069 w 11685910"/>
                <a:gd name="connsiteY3583" fmla="*/ 441186 h 6078415"/>
                <a:gd name="connsiteX3584" fmla="*/ 10012069 w 11685910"/>
                <a:gd name="connsiteY3584" fmla="*/ 441566 h 6078415"/>
                <a:gd name="connsiteX3585" fmla="*/ 10042810 w 11685910"/>
                <a:gd name="connsiteY3585" fmla="*/ 472859 h 6078415"/>
                <a:gd name="connsiteX3586" fmla="*/ 10042810 w 11685910"/>
                <a:gd name="connsiteY3586" fmla="*/ 508207 h 6078415"/>
                <a:gd name="connsiteX3587" fmla="*/ 10048294 w 11685910"/>
                <a:gd name="connsiteY3587" fmla="*/ 527527 h 6078415"/>
                <a:gd name="connsiteX3588" fmla="*/ 10067372 w 11685910"/>
                <a:gd name="connsiteY3588" fmla="*/ 533545 h 6078415"/>
                <a:gd name="connsiteX3589" fmla="*/ 10067372 w 11685910"/>
                <a:gd name="connsiteY3589" fmla="*/ 553056 h 6078415"/>
                <a:gd name="connsiteX3590" fmla="*/ 10012378 w 11685910"/>
                <a:gd name="connsiteY3590" fmla="*/ 514542 h 6078415"/>
                <a:gd name="connsiteX3591" fmla="*/ 10012378 w 11685910"/>
                <a:gd name="connsiteY3591" fmla="*/ 477167 h 6078415"/>
                <a:gd name="connsiteX3592" fmla="*/ 9988279 w 11685910"/>
                <a:gd name="connsiteY3592" fmla="*/ 450814 h 6078415"/>
                <a:gd name="connsiteX3593" fmla="*/ 9988279 w 11685910"/>
                <a:gd name="connsiteY3593" fmla="*/ 432318 h 6078415"/>
                <a:gd name="connsiteX3594" fmla="*/ 10012378 w 11685910"/>
                <a:gd name="connsiteY3594" fmla="*/ 405458 h 6078415"/>
                <a:gd name="connsiteX3595" fmla="*/ 10012378 w 11685910"/>
                <a:gd name="connsiteY3595" fmla="*/ 369097 h 6078415"/>
                <a:gd name="connsiteX3596" fmla="*/ 10067372 w 11685910"/>
                <a:gd name="connsiteY3596" fmla="*/ 330076 h 6078415"/>
                <a:gd name="connsiteX3597" fmla="*/ 4025465 w 11685910"/>
                <a:gd name="connsiteY3597" fmla="*/ 330076 h 6078415"/>
                <a:gd name="connsiteX3598" fmla="*/ 4080151 w 11685910"/>
                <a:gd name="connsiteY3598" fmla="*/ 369097 h 6078415"/>
                <a:gd name="connsiteX3599" fmla="*/ 4080151 w 11685910"/>
                <a:gd name="connsiteY3599" fmla="*/ 405458 h 6078415"/>
                <a:gd name="connsiteX3600" fmla="*/ 4104095 w 11685910"/>
                <a:gd name="connsiteY3600" fmla="*/ 432318 h 6078415"/>
                <a:gd name="connsiteX3601" fmla="*/ 4104095 w 11685910"/>
                <a:gd name="connsiteY3601" fmla="*/ 450814 h 6078415"/>
                <a:gd name="connsiteX3602" fmla="*/ 4080151 w 11685910"/>
                <a:gd name="connsiteY3602" fmla="*/ 477167 h 6078415"/>
                <a:gd name="connsiteX3603" fmla="*/ 4080151 w 11685910"/>
                <a:gd name="connsiteY3603" fmla="*/ 514542 h 6078415"/>
                <a:gd name="connsiteX3604" fmla="*/ 4025465 w 11685910"/>
                <a:gd name="connsiteY3604" fmla="*/ 553056 h 6078415"/>
                <a:gd name="connsiteX3605" fmla="*/ 4025465 w 11685910"/>
                <a:gd name="connsiteY3605" fmla="*/ 533545 h 6078415"/>
                <a:gd name="connsiteX3606" fmla="*/ 4044543 w 11685910"/>
                <a:gd name="connsiteY3606" fmla="*/ 527464 h 6078415"/>
                <a:gd name="connsiteX3607" fmla="*/ 4050182 w 11685910"/>
                <a:gd name="connsiteY3607" fmla="*/ 508207 h 6078415"/>
                <a:gd name="connsiteX3608" fmla="*/ 4050182 w 11685910"/>
                <a:gd name="connsiteY3608" fmla="*/ 472859 h 6078415"/>
                <a:gd name="connsiteX3609" fmla="*/ 4080614 w 11685910"/>
                <a:gd name="connsiteY3609" fmla="*/ 441566 h 6078415"/>
                <a:gd name="connsiteX3610" fmla="*/ 4080614 w 11685910"/>
                <a:gd name="connsiteY3610" fmla="*/ 441186 h 6078415"/>
                <a:gd name="connsiteX3611" fmla="*/ 4050182 w 11685910"/>
                <a:gd name="connsiteY3611" fmla="*/ 409639 h 6078415"/>
                <a:gd name="connsiteX3612" fmla="*/ 4050182 w 11685910"/>
                <a:gd name="connsiteY3612" fmla="*/ 373912 h 6078415"/>
                <a:gd name="connsiteX3613" fmla="*/ 4025465 w 11685910"/>
                <a:gd name="connsiteY3613" fmla="*/ 349714 h 6078415"/>
                <a:gd name="connsiteX3614" fmla="*/ 4004147 w 11685910"/>
                <a:gd name="connsiteY3614" fmla="*/ 330076 h 6078415"/>
                <a:gd name="connsiteX3615" fmla="*/ 4004147 w 11685910"/>
                <a:gd name="connsiteY3615" fmla="*/ 349714 h 6078415"/>
                <a:gd name="connsiteX3616" fmla="*/ 3979585 w 11685910"/>
                <a:gd name="connsiteY3616" fmla="*/ 373912 h 6078415"/>
                <a:gd name="connsiteX3617" fmla="*/ 3979585 w 11685910"/>
                <a:gd name="connsiteY3617" fmla="*/ 409639 h 6078415"/>
                <a:gd name="connsiteX3618" fmla="*/ 3948843 w 11685910"/>
                <a:gd name="connsiteY3618" fmla="*/ 441186 h 6078415"/>
                <a:gd name="connsiteX3619" fmla="*/ 3948843 w 11685910"/>
                <a:gd name="connsiteY3619" fmla="*/ 441566 h 6078415"/>
                <a:gd name="connsiteX3620" fmla="*/ 3979585 w 11685910"/>
                <a:gd name="connsiteY3620" fmla="*/ 472859 h 6078415"/>
                <a:gd name="connsiteX3621" fmla="*/ 3979585 w 11685910"/>
                <a:gd name="connsiteY3621" fmla="*/ 508207 h 6078415"/>
                <a:gd name="connsiteX3622" fmla="*/ 3985069 w 11685910"/>
                <a:gd name="connsiteY3622" fmla="*/ 527527 h 6078415"/>
                <a:gd name="connsiteX3623" fmla="*/ 4004147 w 11685910"/>
                <a:gd name="connsiteY3623" fmla="*/ 533545 h 6078415"/>
                <a:gd name="connsiteX3624" fmla="*/ 4004147 w 11685910"/>
                <a:gd name="connsiteY3624" fmla="*/ 553056 h 6078415"/>
                <a:gd name="connsiteX3625" fmla="*/ 3949152 w 11685910"/>
                <a:gd name="connsiteY3625" fmla="*/ 514542 h 6078415"/>
                <a:gd name="connsiteX3626" fmla="*/ 3949152 w 11685910"/>
                <a:gd name="connsiteY3626" fmla="*/ 477167 h 6078415"/>
                <a:gd name="connsiteX3627" fmla="*/ 3925053 w 11685910"/>
                <a:gd name="connsiteY3627" fmla="*/ 450814 h 6078415"/>
                <a:gd name="connsiteX3628" fmla="*/ 3925053 w 11685910"/>
                <a:gd name="connsiteY3628" fmla="*/ 432318 h 6078415"/>
                <a:gd name="connsiteX3629" fmla="*/ 3949152 w 11685910"/>
                <a:gd name="connsiteY3629" fmla="*/ 405458 h 6078415"/>
                <a:gd name="connsiteX3630" fmla="*/ 3949152 w 11685910"/>
                <a:gd name="connsiteY3630" fmla="*/ 369097 h 6078415"/>
                <a:gd name="connsiteX3631" fmla="*/ 4004147 w 11685910"/>
                <a:gd name="connsiteY3631" fmla="*/ 330076 h 6078415"/>
                <a:gd name="connsiteX3632" fmla="*/ 9003356 w 11685910"/>
                <a:gd name="connsiteY3632" fmla="*/ 327579 h 6078415"/>
                <a:gd name="connsiteX3633" fmla="*/ 9009260 w 11685910"/>
                <a:gd name="connsiteY3633" fmla="*/ 328096 h 6078415"/>
                <a:gd name="connsiteX3634" fmla="*/ 9052536 w 11685910"/>
                <a:gd name="connsiteY3634" fmla="*/ 357514 h 6078415"/>
                <a:gd name="connsiteX3635" fmla="*/ 9070527 w 11685910"/>
                <a:gd name="connsiteY3635" fmla="*/ 378666 h 6078415"/>
                <a:gd name="connsiteX3636" fmla="*/ 9067366 w 11685910"/>
                <a:gd name="connsiteY3636" fmla="*/ 386446 h 6078415"/>
                <a:gd name="connsiteX3637" fmla="*/ 9080480 w 11685910"/>
                <a:gd name="connsiteY3637" fmla="*/ 396551 h 6078415"/>
                <a:gd name="connsiteX3638" fmla="*/ 9078793 w 11685910"/>
                <a:gd name="connsiteY3638" fmla="*/ 359217 h 6078415"/>
                <a:gd name="connsiteX3639" fmla="*/ 9094110 w 11685910"/>
                <a:gd name="connsiteY3639" fmla="*/ 349492 h 6078415"/>
                <a:gd name="connsiteX3640" fmla="*/ 9106023 w 11685910"/>
                <a:gd name="connsiteY3640" fmla="*/ 338308 h 6078415"/>
                <a:gd name="connsiteX3641" fmla="*/ 9128877 w 11685910"/>
                <a:gd name="connsiteY3641" fmla="*/ 400791 h 6078415"/>
                <a:gd name="connsiteX3642" fmla="*/ 9091193 w 11685910"/>
                <a:gd name="connsiteY3642" fmla="*/ 469109 h 6078415"/>
                <a:gd name="connsiteX3643" fmla="*/ 9059166 w 11685910"/>
                <a:gd name="connsiteY3643" fmla="*/ 469827 h 6078415"/>
                <a:gd name="connsiteX3644" fmla="*/ 9055159 w 11685910"/>
                <a:gd name="connsiteY3644" fmla="*/ 468432 h 6078415"/>
                <a:gd name="connsiteX3645" fmla="*/ 9054679 w 11685910"/>
                <a:gd name="connsiteY3645" fmla="*/ 470708 h 6078415"/>
                <a:gd name="connsiteX3646" fmla="*/ 9029925 w 11685910"/>
                <a:gd name="connsiteY3646" fmla="*/ 490747 h 6078415"/>
                <a:gd name="connsiteX3647" fmla="*/ 9008287 w 11685910"/>
                <a:gd name="connsiteY3647" fmla="*/ 481022 h 6078415"/>
                <a:gd name="connsiteX3648" fmla="*/ 9007314 w 11685910"/>
                <a:gd name="connsiteY3648" fmla="*/ 493664 h 6078415"/>
                <a:gd name="connsiteX3649" fmla="*/ 9017039 w 11685910"/>
                <a:gd name="connsiteY3649" fmla="*/ 514330 h 6078415"/>
                <a:gd name="connsiteX3650" fmla="*/ 9016553 w 11685910"/>
                <a:gd name="connsiteY3650" fmla="*/ 525514 h 6078415"/>
                <a:gd name="connsiteX3651" fmla="*/ 9018741 w 11685910"/>
                <a:gd name="connsiteY3651" fmla="*/ 539372 h 6078415"/>
                <a:gd name="connsiteX3652" fmla="*/ 9002695 w 11685910"/>
                <a:gd name="connsiteY3652" fmla="*/ 545207 h 6078415"/>
                <a:gd name="connsiteX3653" fmla="*/ 8977653 w 11685910"/>
                <a:gd name="connsiteY3653" fmla="*/ 539858 h 6078415"/>
                <a:gd name="connsiteX3654" fmla="*/ 8976889 w 11685910"/>
                <a:gd name="connsiteY3654" fmla="*/ 535374 h 6078415"/>
                <a:gd name="connsiteX3655" fmla="*/ 8976849 w 11685910"/>
                <a:gd name="connsiteY3655" fmla="*/ 534020 h 6078415"/>
                <a:gd name="connsiteX3656" fmla="*/ 8973084 w 11685910"/>
                <a:gd name="connsiteY3656" fmla="*/ 537588 h 6078415"/>
                <a:gd name="connsiteX3657" fmla="*/ 8949451 w 11685910"/>
                <a:gd name="connsiteY3657" fmla="*/ 552014 h 6078415"/>
                <a:gd name="connsiteX3658" fmla="*/ 8925868 w 11685910"/>
                <a:gd name="connsiteY3658" fmla="*/ 523569 h 6078415"/>
                <a:gd name="connsiteX3659" fmla="*/ 8936808 w 11685910"/>
                <a:gd name="connsiteY3659" fmla="*/ 511655 h 6078415"/>
                <a:gd name="connsiteX3660" fmla="*/ 8911766 w 11685910"/>
                <a:gd name="connsiteY3660" fmla="*/ 509224 h 6078415"/>
                <a:gd name="connsiteX3661" fmla="*/ 8910794 w 11685910"/>
                <a:gd name="connsiteY3661" fmla="*/ 520165 h 6078415"/>
                <a:gd name="connsiteX3662" fmla="*/ 8904472 w 11685910"/>
                <a:gd name="connsiteY3662" fmla="*/ 530862 h 6078415"/>
                <a:gd name="connsiteX3663" fmla="*/ 8899367 w 11685910"/>
                <a:gd name="connsiteY3663" fmla="*/ 550069 h 6078415"/>
                <a:gd name="connsiteX3664" fmla="*/ 8859008 w 11685910"/>
                <a:gd name="connsiteY3664" fmla="*/ 541560 h 6078415"/>
                <a:gd name="connsiteX3665" fmla="*/ 8859981 w 11685910"/>
                <a:gd name="connsiteY3665" fmla="*/ 527459 h 6078415"/>
                <a:gd name="connsiteX3666" fmla="*/ 8850256 w 11685910"/>
                <a:gd name="connsiteY3666" fmla="*/ 529404 h 6078415"/>
                <a:gd name="connsiteX3667" fmla="*/ 8824971 w 11685910"/>
                <a:gd name="connsiteY3667" fmla="*/ 503389 h 6078415"/>
                <a:gd name="connsiteX3668" fmla="*/ 8840288 w 11685910"/>
                <a:gd name="connsiteY3668" fmla="*/ 476645 h 6078415"/>
                <a:gd name="connsiteX3669" fmla="*/ 8841746 w 11685910"/>
                <a:gd name="connsiteY3669" fmla="*/ 449902 h 6078415"/>
                <a:gd name="connsiteX3670" fmla="*/ 8826186 w 11685910"/>
                <a:gd name="connsiteY3670" fmla="*/ 427778 h 6078415"/>
                <a:gd name="connsiteX3671" fmla="*/ 8827959 w 11685910"/>
                <a:gd name="connsiteY3671" fmla="*/ 414368 h 6078415"/>
                <a:gd name="connsiteX3672" fmla="*/ 8828421 w 11685910"/>
                <a:gd name="connsiteY3672" fmla="*/ 423148 h 6078415"/>
                <a:gd name="connsiteX3673" fmla="*/ 8829250 w 11685910"/>
                <a:gd name="connsiteY3673" fmla="*/ 423546 h 6078415"/>
                <a:gd name="connsiteX3674" fmla="*/ 8829373 w 11685910"/>
                <a:gd name="connsiteY3674" fmla="*/ 424728 h 6078415"/>
                <a:gd name="connsiteX3675" fmla="*/ 8849061 w 11685910"/>
                <a:gd name="connsiteY3675" fmla="*/ 438670 h 6078415"/>
                <a:gd name="connsiteX3676" fmla="*/ 8867407 w 11685910"/>
                <a:gd name="connsiteY3676" fmla="*/ 509778 h 6078415"/>
                <a:gd name="connsiteX3677" fmla="*/ 8868375 w 11685910"/>
                <a:gd name="connsiteY3677" fmla="*/ 511640 h 6078415"/>
                <a:gd name="connsiteX3678" fmla="*/ 8868341 w 11685910"/>
                <a:gd name="connsiteY3678" fmla="*/ 512514 h 6078415"/>
                <a:gd name="connsiteX3679" fmla="*/ 8866931 w 11685910"/>
                <a:gd name="connsiteY3679" fmla="*/ 526047 h 6078415"/>
                <a:gd name="connsiteX3680" fmla="*/ 8863609 w 11685910"/>
                <a:gd name="connsiteY3680" fmla="*/ 537452 h 6078415"/>
                <a:gd name="connsiteX3681" fmla="*/ 8898003 w 11685910"/>
                <a:gd name="connsiteY3681" fmla="*/ 544097 h 6078415"/>
                <a:gd name="connsiteX3682" fmla="*/ 8899170 w 11685910"/>
                <a:gd name="connsiteY3682" fmla="*/ 533141 h 6078415"/>
                <a:gd name="connsiteX3683" fmla="*/ 8905815 w 11685910"/>
                <a:gd name="connsiteY3683" fmla="*/ 518863 h 6078415"/>
                <a:gd name="connsiteX3684" fmla="*/ 8906096 w 11685910"/>
                <a:gd name="connsiteY3684" fmla="*/ 503653 h 6078415"/>
                <a:gd name="connsiteX3685" fmla="*/ 8905886 w 11685910"/>
                <a:gd name="connsiteY3685" fmla="*/ 497935 h 6078415"/>
                <a:gd name="connsiteX3686" fmla="*/ 8907486 w 11685910"/>
                <a:gd name="connsiteY3686" fmla="*/ 499797 h 6078415"/>
                <a:gd name="connsiteX3687" fmla="*/ 8947124 w 11685910"/>
                <a:gd name="connsiteY3687" fmla="*/ 497580 h 6078415"/>
                <a:gd name="connsiteX3688" fmla="*/ 8948022 w 11685910"/>
                <a:gd name="connsiteY3688" fmla="*/ 511409 h 6078415"/>
                <a:gd name="connsiteX3689" fmla="*/ 8930870 w 11685910"/>
                <a:gd name="connsiteY3689" fmla="*/ 524161 h 6078415"/>
                <a:gd name="connsiteX3690" fmla="*/ 8949908 w 11685910"/>
                <a:gd name="connsiteY3690" fmla="*/ 547240 h 6078415"/>
                <a:gd name="connsiteX3691" fmla="*/ 8985200 w 11685910"/>
                <a:gd name="connsiteY3691" fmla="*/ 519312 h 6078415"/>
                <a:gd name="connsiteX3692" fmla="*/ 9004418 w 11685910"/>
                <a:gd name="connsiteY3692" fmla="*/ 477195 h 6078415"/>
                <a:gd name="connsiteX3693" fmla="*/ 8987440 w 11685910"/>
                <a:gd name="connsiteY3693" fmla="*/ 458808 h 6078415"/>
                <a:gd name="connsiteX3694" fmla="*/ 8987245 w 11685910"/>
                <a:gd name="connsiteY3694" fmla="*/ 458296 h 6078415"/>
                <a:gd name="connsiteX3695" fmla="*/ 8989881 w 11685910"/>
                <a:gd name="connsiteY3695" fmla="*/ 459956 h 6078415"/>
                <a:gd name="connsiteX3696" fmla="*/ 9009177 w 11685910"/>
                <a:gd name="connsiteY3696" fmla="*/ 470639 h 6078415"/>
                <a:gd name="connsiteX3697" fmla="*/ 9030640 w 11685910"/>
                <a:gd name="connsiteY3697" fmla="*/ 485187 h 6078415"/>
                <a:gd name="connsiteX3698" fmla="*/ 9051743 w 11685910"/>
                <a:gd name="connsiteY3698" fmla="*/ 466688 h 6078415"/>
                <a:gd name="connsiteX3699" fmla="*/ 9048421 w 11685910"/>
                <a:gd name="connsiteY3699" fmla="*/ 466419 h 6078415"/>
                <a:gd name="connsiteX3700" fmla="*/ 9020440 w 11685910"/>
                <a:gd name="connsiteY3700" fmla="*/ 444121 h 6078415"/>
                <a:gd name="connsiteX3701" fmla="*/ 9021370 w 11685910"/>
                <a:gd name="connsiteY3701" fmla="*/ 439313 h 6078415"/>
                <a:gd name="connsiteX3702" fmla="*/ 9023134 w 11685910"/>
                <a:gd name="connsiteY3702" fmla="*/ 441235 h 6078415"/>
                <a:gd name="connsiteX3703" fmla="*/ 9095387 w 11685910"/>
                <a:gd name="connsiteY3703" fmla="*/ 459504 h 6078415"/>
                <a:gd name="connsiteX3704" fmla="*/ 9107331 w 11685910"/>
                <a:gd name="connsiteY3704" fmla="*/ 341594 h 6078415"/>
                <a:gd name="connsiteX3705" fmla="*/ 9097991 w 11685910"/>
                <a:gd name="connsiteY3705" fmla="*/ 352371 h 6078415"/>
                <a:gd name="connsiteX3706" fmla="*/ 9084341 w 11685910"/>
                <a:gd name="connsiteY3706" fmla="*/ 359285 h 6078415"/>
                <a:gd name="connsiteX3707" fmla="*/ 9075807 w 11685910"/>
                <a:gd name="connsiteY3707" fmla="*/ 420492 h 6078415"/>
                <a:gd name="connsiteX3708" fmla="*/ 9074316 w 11685910"/>
                <a:gd name="connsiteY3708" fmla="*/ 421668 h 6078415"/>
                <a:gd name="connsiteX3709" fmla="*/ 9074630 w 11685910"/>
                <a:gd name="connsiteY3709" fmla="*/ 421063 h 6078415"/>
                <a:gd name="connsiteX3710" fmla="*/ 9077876 w 11685910"/>
                <a:gd name="connsiteY3710" fmla="*/ 401851 h 6078415"/>
                <a:gd name="connsiteX3711" fmla="*/ 9065214 w 11685910"/>
                <a:gd name="connsiteY3711" fmla="*/ 404276 h 6078415"/>
                <a:gd name="connsiteX3712" fmla="*/ 9066561 w 11685910"/>
                <a:gd name="connsiteY3712" fmla="*/ 393769 h 6078415"/>
                <a:gd name="connsiteX3713" fmla="*/ 9054707 w 11685910"/>
                <a:gd name="connsiteY3713" fmla="*/ 393679 h 6078415"/>
                <a:gd name="connsiteX3714" fmla="*/ 9058119 w 11685910"/>
                <a:gd name="connsiteY3714" fmla="*/ 385867 h 6078415"/>
                <a:gd name="connsiteX3715" fmla="*/ 9051266 w 11685910"/>
                <a:gd name="connsiteY3715" fmla="*/ 382701 h 6078415"/>
                <a:gd name="connsiteX3716" fmla="*/ 9049367 w 11685910"/>
                <a:gd name="connsiteY3716" fmla="*/ 382714 h 6078415"/>
                <a:gd name="connsiteX3717" fmla="*/ 9050929 w 11685910"/>
                <a:gd name="connsiteY3717" fmla="*/ 382153 h 6078415"/>
                <a:gd name="connsiteX3718" fmla="*/ 9053270 w 11685910"/>
                <a:gd name="connsiteY3718" fmla="*/ 381466 h 6078415"/>
                <a:gd name="connsiteX3719" fmla="*/ 9064585 w 11685910"/>
                <a:gd name="connsiteY3719" fmla="*/ 378862 h 6078415"/>
                <a:gd name="connsiteX3720" fmla="*/ 9053090 w 11685910"/>
                <a:gd name="connsiteY3720" fmla="*/ 364224 h 6078415"/>
                <a:gd name="connsiteX3721" fmla="*/ 9041110 w 11685910"/>
                <a:gd name="connsiteY3721" fmla="*/ 362755 h 6078415"/>
                <a:gd name="connsiteX3722" fmla="*/ 9040004 w 11685910"/>
                <a:gd name="connsiteY3722" fmla="*/ 362696 h 6078415"/>
                <a:gd name="connsiteX3723" fmla="*/ 9040013 w 11685910"/>
                <a:gd name="connsiteY3723" fmla="*/ 362673 h 6078415"/>
                <a:gd name="connsiteX3724" fmla="*/ 9047792 w 11685910"/>
                <a:gd name="connsiteY3724" fmla="*/ 360273 h 6078415"/>
                <a:gd name="connsiteX3725" fmla="*/ 9005136 w 11685910"/>
                <a:gd name="connsiteY3725" fmla="*/ 334141 h 6078415"/>
                <a:gd name="connsiteX3726" fmla="*/ 8954668 w 11685910"/>
                <a:gd name="connsiteY3726" fmla="*/ 357759 h 6078415"/>
                <a:gd name="connsiteX3727" fmla="*/ 8968900 w 11685910"/>
                <a:gd name="connsiteY3727" fmla="*/ 358086 h 6078415"/>
                <a:gd name="connsiteX3728" fmla="*/ 8969477 w 11685910"/>
                <a:gd name="connsiteY3728" fmla="*/ 358169 h 6078415"/>
                <a:gd name="connsiteX3729" fmla="*/ 8967067 w 11685910"/>
                <a:gd name="connsiteY3729" fmla="*/ 358824 h 6078415"/>
                <a:gd name="connsiteX3730" fmla="*/ 8942468 w 11685910"/>
                <a:gd name="connsiteY3730" fmla="*/ 363941 h 6078415"/>
                <a:gd name="connsiteX3731" fmla="*/ 8895992 w 11685910"/>
                <a:gd name="connsiteY3731" fmla="*/ 424226 h 6078415"/>
                <a:gd name="connsiteX3732" fmla="*/ 8909974 w 11685910"/>
                <a:gd name="connsiteY3732" fmla="*/ 446338 h 6078415"/>
                <a:gd name="connsiteX3733" fmla="*/ 8924480 w 11685910"/>
                <a:gd name="connsiteY3733" fmla="*/ 429800 h 6078415"/>
                <a:gd name="connsiteX3734" fmla="*/ 8907508 w 11685910"/>
                <a:gd name="connsiteY3734" fmla="*/ 464906 h 6078415"/>
                <a:gd name="connsiteX3735" fmla="*/ 8923437 w 11685910"/>
                <a:gd name="connsiteY3735" fmla="*/ 474287 h 6078415"/>
                <a:gd name="connsiteX3736" fmla="*/ 8950592 w 11685910"/>
                <a:gd name="connsiteY3736" fmla="*/ 460844 h 6078415"/>
                <a:gd name="connsiteX3737" fmla="*/ 8968000 w 11685910"/>
                <a:gd name="connsiteY3737" fmla="*/ 459103 h 6078415"/>
                <a:gd name="connsiteX3738" fmla="*/ 8974237 w 11685910"/>
                <a:gd name="connsiteY3738" fmla="*/ 390053 h 6078415"/>
                <a:gd name="connsiteX3739" fmla="*/ 8974963 w 11685910"/>
                <a:gd name="connsiteY3739" fmla="*/ 467952 h 6078415"/>
                <a:gd name="connsiteX3740" fmla="*/ 8972855 w 11685910"/>
                <a:gd name="connsiteY3740" fmla="*/ 467607 h 6078415"/>
                <a:gd name="connsiteX3741" fmla="*/ 8970186 w 11685910"/>
                <a:gd name="connsiteY3741" fmla="*/ 466924 h 6078415"/>
                <a:gd name="connsiteX3742" fmla="*/ 8967452 w 11685910"/>
                <a:gd name="connsiteY3742" fmla="*/ 466498 h 6078415"/>
                <a:gd name="connsiteX3743" fmla="*/ 8966686 w 11685910"/>
                <a:gd name="connsiteY3743" fmla="*/ 466320 h 6078415"/>
                <a:gd name="connsiteX3744" fmla="*/ 8959915 w 11685910"/>
                <a:gd name="connsiteY3744" fmla="*/ 466091 h 6078415"/>
                <a:gd name="connsiteX3745" fmla="*/ 8958929 w 11685910"/>
                <a:gd name="connsiteY3745" fmla="*/ 466321 h 6078415"/>
                <a:gd name="connsiteX3746" fmla="*/ 8958334 w 11685910"/>
                <a:gd name="connsiteY3746" fmla="*/ 466372 h 6078415"/>
                <a:gd name="connsiteX3747" fmla="*/ 8919106 w 11685910"/>
                <a:gd name="connsiteY3747" fmla="*/ 482314 h 6078415"/>
                <a:gd name="connsiteX3748" fmla="*/ 8896766 w 11685910"/>
                <a:gd name="connsiteY3748" fmla="*/ 464595 h 6078415"/>
                <a:gd name="connsiteX3749" fmla="*/ 8896308 w 11685910"/>
                <a:gd name="connsiteY3749" fmla="*/ 464001 h 6078415"/>
                <a:gd name="connsiteX3750" fmla="*/ 8898030 w 11685910"/>
                <a:gd name="connsiteY3750" fmla="*/ 461124 h 6078415"/>
                <a:gd name="connsiteX3751" fmla="*/ 8904109 w 11685910"/>
                <a:gd name="connsiteY3751" fmla="*/ 452320 h 6078415"/>
                <a:gd name="connsiteX3752" fmla="*/ 8887047 w 11685910"/>
                <a:gd name="connsiteY3752" fmla="*/ 425289 h 6078415"/>
                <a:gd name="connsiteX3753" fmla="*/ 8917310 w 11685910"/>
                <a:gd name="connsiteY3753" fmla="*/ 379131 h 6078415"/>
                <a:gd name="connsiteX3754" fmla="*/ 8837255 w 11685910"/>
                <a:gd name="connsiteY3754" fmla="*/ 426513 h 6078415"/>
                <a:gd name="connsiteX3755" fmla="*/ 8833630 w 11685910"/>
                <a:gd name="connsiteY3755" fmla="*/ 423250 h 6078415"/>
                <a:gd name="connsiteX3756" fmla="*/ 8834690 w 11685910"/>
                <a:gd name="connsiteY3756" fmla="*/ 422655 h 6078415"/>
                <a:gd name="connsiteX3757" fmla="*/ 8838644 w 11685910"/>
                <a:gd name="connsiteY3757" fmla="*/ 402749 h 6078415"/>
                <a:gd name="connsiteX3758" fmla="*/ 8828161 w 11685910"/>
                <a:gd name="connsiteY3758" fmla="*/ 412842 h 6078415"/>
                <a:gd name="connsiteX3759" fmla="*/ 8829073 w 11685910"/>
                <a:gd name="connsiteY3759" fmla="*/ 405942 h 6078415"/>
                <a:gd name="connsiteX3760" fmla="*/ 8842719 w 11685910"/>
                <a:gd name="connsiteY3760" fmla="*/ 397387 h 6078415"/>
                <a:gd name="connsiteX3761" fmla="*/ 8842719 w 11685910"/>
                <a:gd name="connsiteY3761" fmla="*/ 421213 h 6078415"/>
                <a:gd name="connsiteX3762" fmla="*/ 8919060 w 11685910"/>
                <a:gd name="connsiteY3762" fmla="*/ 372831 h 6078415"/>
                <a:gd name="connsiteX3763" fmla="*/ 8941671 w 11685910"/>
                <a:gd name="connsiteY3763" fmla="*/ 356299 h 6078415"/>
                <a:gd name="connsiteX3764" fmla="*/ 8947707 w 11685910"/>
                <a:gd name="connsiteY3764" fmla="*/ 355666 h 6078415"/>
                <a:gd name="connsiteX3765" fmla="*/ 8948406 w 11685910"/>
                <a:gd name="connsiteY3765" fmla="*/ 354169 h 6078415"/>
                <a:gd name="connsiteX3766" fmla="*/ 8967685 w 11685910"/>
                <a:gd name="connsiteY3766" fmla="*/ 335633 h 6078415"/>
                <a:gd name="connsiteX3767" fmla="*/ 9003356 w 11685910"/>
                <a:gd name="connsiteY3767" fmla="*/ 327579 h 6078415"/>
                <a:gd name="connsiteX3768" fmla="*/ 2942620 w 11685910"/>
                <a:gd name="connsiteY3768" fmla="*/ 327579 h 6078415"/>
                <a:gd name="connsiteX3769" fmla="*/ 2948523 w 11685910"/>
                <a:gd name="connsiteY3769" fmla="*/ 328096 h 6078415"/>
                <a:gd name="connsiteX3770" fmla="*/ 2991799 w 11685910"/>
                <a:gd name="connsiteY3770" fmla="*/ 357514 h 6078415"/>
                <a:gd name="connsiteX3771" fmla="*/ 3009790 w 11685910"/>
                <a:gd name="connsiteY3771" fmla="*/ 378666 h 6078415"/>
                <a:gd name="connsiteX3772" fmla="*/ 3006630 w 11685910"/>
                <a:gd name="connsiteY3772" fmla="*/ 386446 h 6078415"/>
                <a:gd name="connsiteX3773" fmla="*/ 3019743 w 11685910"/>
                <a:gd name="connsiteY3773" fmla="*/ 396551 h 6078415"/>
                <a:gd name="connsiteX3774" fmla="*/ 3018057 w 11685910"/>
                <a:gd name="connsiteY3774" fmla="*/ 359217 h 6078415"/>
                <a:gd name="connsiteX3775" fmla="*/ 3033374 w 11685910"/>
                <a:gd name="connsiteY3775" fmla="*/ 349492 h 6078415"/>
                <a:gd name="connsiteX3776" fmla="*/ 3045288 w 11685910"/>
                <a:gd name="connsiteY3776" fmla="*/ 338308 h 6078415"/>
                <a:gd name="connsiteX3777" fmla="*/ 3068141 w 11685910"/>
                <a:gd name="connsiteY3777" fmla="*/ 400791 h 6078415"/>
                <a:gd name="connsiteX3778" fmla="*/ 3030456 w 11685910"/>
                <a:gd name="connsiteY3778" fmla="*/ 469109 h 6078415"/>
                <a:gd name="connsiteX3779" fmla="*/ 2998429 w 11685910"/>
                <a:gd name="connsiteY3779" fmla="*/ 469827 h 6078415"/>
                <a:gd name="connsiteX3780" fmla="*/ 2994423 w 11685910"/>
                <a:gd name="connsiteY3780" fmla="*/ 468432 h 6078415"/>
                <a:gd name="connsiteX3781" fmla="*/ 2993942 w 11685910"/>
                <a:gd name="connsiteY3781" fmla="*/ 470708 h 6078415"/>
                <a:gd name="connsiteX3782" fmla="*/ 2969189 w 11685910"/>
                <a:gd name="connsiteY3782" fmla="*/ 490747 h 6078415"/>
                <a:gd name="connsiteX3783" fmla="*/ 2947551 w 11685910"/>
                <a:gd name="connsiteY3783" fmla="*/ 481022 h 6078415"/>
                <a:gd name="connsiteX3784" fmla="*/ 2946577 w 11685910"/>
                <a:gd name="connsiteY3784" fmla="*/ 493664 h 6078415"/>
                <a:gd name="connsiteX3785" fmla="*/ 2956304 w 11685910"/>
                <a:gd name="connsiteY3785" fmla="*/ 514330 h 6078415"/>
                <a:gd name="connsiteX3786" fmla="*/ 2955817 w 11685910"/>
                <a:gd name="connsiteY3786" fmla="*/ 525514 h 6078415"/>
                <a:gd name="connsiteX3787" fmla="*/ 2958005 w 11685910"/>
                <a:gd name="connsiteY3787" fmla="*/ 539372 h 6078415"/>
                <a:gd name="connsiteX3788" fmla="*/ 2941958 w 11685910"/>
                <a:gd name="connsiteY3788" fmla="*/ 545207 h 6078415"/>
                <a:gd name="connsiteX3789" fmla="*/ 2916916 w 11685910"/>
                <a:gd name="connsiteY3789" fmla="*/ 539858 h 6078415"/>
                <a:gd name="connsiteX3790" fmla="*/ 2916152 w 11685910"/>
                <a:gd name="connsiteY3790" fmla="*/ 535374 h 6078415"/>
                <a:gd name="connsiteX3791" fmla="*/ 2916113 w 11685910"/>
                <a:gd name="connsiteY3791" fmla="*/ 534020 h 6078415"/>
                <a:gd name="connsiteX3792" fmla="*/ 2912347 w 11685910"/>
                <a:gd name="connsiteY3792" fmla="*/ 537588 h 6078415"/>
                <a:gd name="connsiteX3793" fmla="*/ 2888714 w 11685910"/>
                <a:gd name="connsiteY3793" fmla="*/ 552014 h 6078415"/>
                <a:gd name="connsiteX3794" fmla="*/ 2865132 w 11685910"/>
                <a:gd name="connsiteY3794" fmla="*/ 523569 h 6078415"/>
                <a:gd name="connsiteX3795" fmla="*/ 2876071 w 11685910"/>
                <a:gd name="connsiteY3795" fmla="*/ 511655 h 6078415"/>
                <a:gd name="connsiteX3796" fmla="*/ 2851030 w 11685910"/>
                <a:gd name="connsiteY3796" fmla="*/ 509224 h 6078415"/>
                <a:gd name="connsiteX3797" fmla="*/ 2850057 w 11685910"/>
                <a:gd name="connsiteY3797" fmla="*/ 520165 h 6078415"/>
                <a:gd name="connsiteX3798" fmla="*/ 2843736 w 11685910"/>
                <a:gd name="connsiteY3798" fmla="*/ 530862 h 6078415"/>
                <a:gd name="connsiteX3799" fmla="*/ 2838631 w 11685910"/>
                <a:gd name="connsiteY3799" fmla="*/ 550069 h 6078415"/>
                <a:gd name="connsiteX3800" fmla="*/ 2798272 w 11685910"/>
                <a:gd name="connsiteY3800" fmla="*/ 541560 h 6078415"/>
                <a:gd name="connsiteX3801" fmla="*/ 2799245 w 11685910"/>
                <a:gd name="connsiteY3801" fmla="*/ 527459 h 6078415"/>
                <a:gd name="connsiteX3802" fmla="*/ 2789519 w 11685910"/>
                <a:gd name="connsiteY3802" fmla="*/ 529404 h 6078415"/>
                <a:gd name="connsiteX3803" fmla="*/ 2764234 w 11685910"/>
                <a:gd name="connsiteY3803" fmla="*/ 503389 h 6078415"/>
                <a:gd name="connsiteX3804" fmla="*/ 2779551 w 11685910"/>
                <a:gd name="connsiteY3804" fmla="*/ 476645 h 6078415"/>
                <a:gd name="connsiteX3805" fmla="*/ 2781010 w 11685910"/>
                <a:gd name="connsiteY3805" fmla="*/ 449902 h 6078415"/>
                <a:gd name="connsiteX3806" fmla="*/ 2765449 w 11685910"/>
                <a:gd name="connsiteY3806" fmla="*/ 427778 h 6078415"/>
                <a:gd name="connsiteX3807" fmla="*/ 2767222 w 11685910"/>
                <a:gd name="connsiteY3807" fmla="*/ 414369 h 6078415"/>
                <a:gd name="connsiteX3808" fmla="*/ 2767684 w 11685910"/>
                <a:gd name="connsiteY3808" fmla="*/ 423148 h 6078415"/>
                <a:gd name="connsiteX3809" fmla="*/ 2768513 w 11685910"/>
                <a:gd name="connsiteY3809" fmla="*/ 423546 h 6078415"/>
                <a:gd name="connsiteX3810" fmla="*/ 2768636 w 11685910"/>
                <a:gd name="connsiteY3810" fmla="*/ 424728 h 6078415"/>
                <a:gd name="connsiteX3811" fmla="*/ 2788324 w 11685910"/>
                <a:gd name="connsiteY3811" fmla="*/ 438670 h 6078415"/>
                <a:gd name="connsiteX3812" fmla="*/ 2806671 w 11685910"/>
                <a:gd name="connsiteY3812" fmla="*/ 509778 h 6078415"/>
                <a:gd name="connsiteX3813" fmla="*/ 2807639 w 11685910"/>
                <a:gd name="connsiteY3813" fmla="*/ 511640 h 6078415"/>
                <a:gd name="connsiteX3814" fmla="*/ 2807605 w 11685910"/>
                <a:gd name="connsiteY3814" fmla="*/ 512514 h 6078415"/>
                <a:gd name="connsiteX3815" fmla="*/ 2806194 w 11685910"/>
                <a:gd name="connsiteY3815" fmla="*/ 526047 h 6078415"/>
                <a:gd name="connsiteX3816" fmla="*/ 2802872 w 11685910"/>
                <a:gd name="connsiteY3816" fmla="*/ 537452 h 6078415"/>
                <a:gd name="connsiteX3817" fmla="*/ 2837267 w 11685910"/>
                <a:gd name="connsiteY3817" fmla="*/ 544097 h 6078415"/>
                <a:gd name="connsiteX3818" fmla="*/ 2838434 w 11685910"/>
                <a:gd name="connsiteY3818" fmla="*/ 533141 h 6078415"/>
                <a:gd name="connsiteX3819" fmla="*/ 2845079 w 11685910"/>
                <a:gd name="connsiteY3819" fmla="*/ 518863 h 6078415"/>
                <a:gd name="connsiteX3820" fmla="*/ 2845360 w 11685910"/>
                <a:gd name="connsiteY3820" fmla="*/ 503653 h 6078415"/>
                <a:gd name="connsiteX3821" fmla="*/ 2845150 w 11685910"/>
                <a:gd name="connsiteY3821" fmla="*/ 497935 h 6078415"/>
                <a:gd name="connsiteX3822" fmla="*/ 2846749 w 11685910"/>
                <a:gd name="connsiteY3822" fmla="*/ 499797 h 6078415"/>
                <a:gd name="connsiteX3823" fmla="*/ 2886388 w 11685910"/>
                <a:gd name="connsiteY3823" fmla="*/ 497580 h 6078415"/>
                <a:gd name="connsiteX3824" fmla="*/ 2887286 w 11685910"/>
                <a:gd name="connsiteY3824" fmla="*/ 511409 h 6078415"/>
                <a:gd name="connsiteX3825" fmla="*/ 2870133 w 11685910"/>
                <a:gd name="connsiteY3825" fmla="*/ 524161 h 6078415"/>
                <a:gd name="connsiteX3826" fmla="*/ 2889172 w 11685910"/>
                <a:gd name="connsiteY3826" fmla="*/ 547240 h 6078415"/>
                <a:gd name="connsiteX3827" fmla="*/ 2924463 w 11685910"/>
                <a:gd name="connsiteY3827" fmla="*/ 519312 h 6078415"/>
                <a:gd name="connsiteX3828" fmla="*/ 2943681 w 11685910"/>
                <a:gd name="connsiteY3828" fmla="*/ 477195 h 6078415"/>
                <a:gd name="connsiteX3829" fmla="*/ 2926703 w 11685910"/>
                <a:gd name="connsiteY3829" fmla="*/ 458808 h 6078415"/>
                <a:gd name="connsiteX3830" fmla="*/ 2926509 w 11685910"/>
                <a:gd name="connsiteY3830" fmla="*/ 458296 h 6078415"/>
                <a:gd name="connsiteX3831" fmla="*/ 2929145 w 11685910"/>
                <a:gd name="connsiteY3831" fmla="*/ 459956 h 6078415"/>
                <a:gd name="connsiteX3832" fmla="*/ 2948440 w 11685910"/>
                <a:gd name="connsiteY3832" fmla="*/ 470639 h 6078415"/>
                <a:gd name="connsiteX3833" fmla="*/ 2969904 w 11685910"/>
                <a:gd name="connsiteY3833" fmla="*/ 485187 h 6078415"/>
                <a:gd name="connsiteX3834" fmla="*/ 2991007 w 11685910"/>
                <a:gd name="connsiteY3834" fmla="*/ 466688 h 6078415"/>
                <a:gd name="connsiteX3835" fmla="*/ 2987684 w 11685910"/>
                <a:gd name="connsiteY3835" fmla="*/ 466419 h 6078415"/>
                <a:gd name="connsiteX3836" fmla="*/ 2959704 w 11685910"/>
                <a:gd name="connsiteY3836" fmla="*/ 444121 h 6078415"/>
                <a:gd name="connsiteX3837" fmla="*/ 2960634 w 11685910"/>
                <a:gd name="connsiteY3837" fmla="*/ 439313 h 6078415"/>
                <a:gd name="connsiteX3838" fmla="*/ 2962398 w 11685910"/>
                <a:gd name="connsiteY3838" fmla="*/ 441235 h 6078415"/>
                <a:gd name="connsiteX3839" fmla="*/ 3034650 w 11685910"/>
                <a:gd name="connsiteY3839" fmla="*/ 459504 h 6078415"/>
                <a:gd name="connsiteX3840" fmla="*/ 3046595 w 11685910"/>
                <a:gd name="connsiteY3840" fmla="*/ 341594 h 6078415"/>
                <a:gd name="connsiteX3841" fmla="*/ 3037256 w 11685910"/>
                <a:gd name="connsiteY3841" fmla="*/ 352371 h 6078415"/>
                <a:gd name="connsiteX3842" fmla="*/ 3023606 w 11685910"/>
                <a:gd name="connsiteY3842" fmla="*/ 359285 h 6078415"/>
                <a:gd name="connsiteX3843" fmla="*/ 3015070 w 11685910"/>
                <a:gd name="connsiteY3843" fmla="*/ 420492 h 6078415"/>
                <a:gd name="connsiteX3844" fmla="*/ 3013581 w 11685910"/>
                <a:gd name="connsiteY3844" fmla="*/ 421668 h 6078415"/>
                <a:gd name="connsiteX3845" fmla="*/ 3013893 w 11685910"/>
                <a:gd name="connsiteY3845" fmla="*/ 421063 h 6078415"/>
                <a:gd name="connsiteX3846" fmla="*/ 3017139 w 11685910"/>
                <a:gd name="connsiteY3846" fmla="*/ 401851 h 6078415"/>
                <a:gd name="connsiteX3847" fmla="*/ 3004477 w 11685910"/>
                <a:gd name="connsiteY3847" fmla="*/ 404276 h 6078415"/>
                <a:gd name="connsiteX3848" fmla="*/ 3005824 w 11685910"/>
                <a:gd name="connsiteY3848" fmla="*/ 393769 h 6078415"/>
                <a:gd name="connsiteX3849" fmla="*/ 2993971 w 11685910"/>
                <a:gd name="connsiteY3849" fmla="*/ 393679 h 6078415"/>
                <a:gd name="connsiteX3850" fmla="*/ 2997383 w 11685910"/>
                <a:gd name="connsiteY3850" fmla="*/ 385867 h 6078415"/>
                <a:gd name="connsiteX3851" fmla="*/ 2990530 w 11685910"/>
                <a:gd name="connsiteY3851" fmla="*/ 382701 h 6078415"/>
                <a:gd name="connsiteX3852" fmla="*/ 2988630 w 11685910"/>
                <a:gd name="connsiteY3852" fmla="*/ 382714 h 6078415"/>
                <a:gd name="connsiteX3853" fmla="*/ 2990193 w 11685910"/>
                <a:gd name="connsiteY3853" fmla="*/ 382153 h 6078415"/>
                <a:gd name="connsiteX3854" fmla="*/ 2992533 w 11685910"/>
                <a:gd name="connsiteY3854" fmla="*/ 381466 h 6078415"/>
                <a:gd name="connsiteX3855" fmla="*/ 3003849 w 11685910"/>
                <a:gd name="connsiteY3855" fmla="*/ 378862 h 6078415"/>
                <a:gd name="connsiteX3856" fmla="*/ 2992353 w 11685910"/>
                <a:gd name="connsiteY3856" fmla="*/ 364224 h 6078415"/>
                <a:gd name="connsiteX3857" fmla="*/ 2980373 w 11685910"/>
                <a:gd name="connsiteY3857" fmla="*/ 362755 h 6078415"/>
                <a:gd name="connsiteX3858" fmla="*/ 2979267 w 11685910"/>
                <a:gd name="connsiteY3858" fmla="*/ 362696 h 6078415"/>
                <a:gd name="connsiteX3859" fmla="*/ 2979277 w 11685910"/>
                <a:gd name="connsiteY3859" fmla="*/ 362673 h 6078415"/>
                <a:gd name="connsiteX3860" fmla="*/ 2987056 w 11685910"/>
                <a:gd name="connsiteY3860" fmla="*/ 360273 h 6078415"/>
                <a:gd name="connsiteX3861" fmla="*/ 2944399 w 11685910"/>
                <a:gd name="connsiteY3861" fmla="*/ 334141 h 6078415"/>
                <a:gd name="connsiteX3862" fmla="*/ 2893931 w 11685910"/>
                <a:gd name="connsiteY3862" fmla="*/ 357759 h 6078415"/>
                <a:gd name="connsiteX3863" fmla="*/ 2908163 w 11685910"/>
                <a:gd name="connsiteY3863" fmla="*/ 358086 h 6078415"/>
                <a:gd name="connsiteX3864" fmla="*/ 2908741 w 11685910"/>
                <a:gd name="connsiteY3864" fmla="*/ 358169 h 6078415"/>
                <a:gd name="connsiteX3865" fmla="*/ 2906330 w 11685910"/>
                <a:gd name="connsiteY3865" fmla="*/ 358824 h 6078415"/>
                <a:gd name="connsiteX3866" fmla="*/ 2881732 w 11685910"/>
                <a:gd name="connsiteY3866" fmla="*/ 363941 h 6078415"/>
                <a:gd name="connsiteX3867" fmla="*/ 2835256 w 11685910"/>
                <a:gd name="connsiteY3867" fmla="*/ 424226 h 6078415"/>
                <a:gd name="connsiteX3868" fmla="*/ 2849238 w 11685910"/>
                <a:gd name="connsiteY3868" fmla="*/ 446338 h 6078415"/>
                <a:gd name="connsiteX3869" fmla="*/ 2863743 w 11685910"/>
                <a:gd name="connsiteY3869" fmla="*/ 429800 h 6078415"/>
                <a:gd name="connsiteX3870" fmla="*/ 2846772 w 11685910"/>
                <a:gd name="connsiteY3870" fmla="*/ 464906 h 6078415"/>
                <a:gd name="connsiteX3871" fmla="*/ 2862700 w 11685910"/>
                <a:gd name="connsiteY3871" fmla="*/ 474287 h 6078415"/>
                <a:gd name="connsiteX3872" fmla="*/ 2889855 w 11685910"/>
                <a:gd name="connsiteY3872" fmla="*/ 460844 h 6078415"/>
                <a:gd name="connsiteX3873" fmla="*/ 2907263 w 11685910"/>
                <a:gd name="connsiteY3873" fmla="*/ 459103 h 6078415"/>
                <a:gd name="connsiteX3874" fmla="*/ 2913502 w 11685910"/>
                <a:gd name="connsiteY3874" fmla="*/ 390053 h 6078415"/>
                <a:gd name="connsiteX3875" fmla="*/ 2914226 w 11685910"/>
                <a:gd name="connsiteY3875" fmla="*/ 467952 h 6078415"/>
                <a:gd name="connsiteX3876" fmla="*/ 2912119 w 11685910"/>
                <a:gd name="connsiteY3876" fmla="*/ 467607 h 6078415"/>
                <a:gd name="connsiteX3877" fmla="*/ 2909449 w 11685910"/>
                <a:gd name="connsiteY3877" fmla="*/ 466924 h 6078415"/>
                <a:gd name="connsiteX3878" fmla="*/ 2906717 w 11685910"/>
                <a:gd name="connsiteY3878" fmla="*/ 466498 h 6078415"/>
                <a:gd name="connsiteX3879" fmla="*/ 2905950 w 11685910"/>
                <a:gd name="connsiteY3879" fmla="*/ 466320 h 6078415"/>
                <a:gd name="connsiteX3880" fmla="*/ 2899179 w 11685910"/>
                <a:gd name="connsiteY3880" fmla="*/ 466091 h 6078415"/>
                <a:gd name="connsiteX3881" fmla="*/ 2898193 w 11685910"/>
                <a:gd name="connsiteY3881" fmla="*/ 466321 h 6078415"/>
                <a:gd name="connsiteX3882" fmla="*/ 2897597 w 11685910"/>
                <a:gd name="connsiteY3882" fmla="*/ 466372 h 6078415"/>
                <a:gd name="connsiteX3883" fmla="*/ 2858370 w 11685910"/>
                <a:gd name="connsiteY3883" fmla="*/ 482314 h 6078415"/>
                <a:gd name="connsiteX3884" fmla="*/ 2836029 w 11685910"/>
                <a:gd name="connsiteY3884" fmla="*/ 464595 h 6078415"/>
                <a:gd name="connsiteX3885" fmla="*/ 2835572 w 11685910"/>
                <a:gd name="connsiteY3885" fmla="*/ 464001 h 6078415"/>
                <a:gd name="connsiteX3886" fmla="*/ 2837293 w 11685910"/>
                <a:gd name="connsiteY3886" fmla="*/ 461124 h 6078415"/>
                <a:gd name="connsiteX3887" fmla="*/ 2843373 w 11685910"/>
                <a:gd name="connsiteY3887" fmla="*/ 452320 h 6078415"/>
                <a:gd name="connsiteX3888" fmla="*/ 2826310 w 11685910"/>
                <a:gd name="connsiteY3888" fmla="*/ 425289 h 6078415"/>
                <a:gd name="connsiteX3889" fmla="*/ 2856573 w 11685910"/>
                <a:gd name="connsiteY3889" fmla="*/ 379131 h 6078415"/>
                <a:gd name="connsiteX3890" fmla="*/ 2776519 w 11685910"/>
                <a:gd name="connsiteY3890" fmla="*/ 426513 h 6078415"/>
                <a:gd name="connsiteX3891" fmla="*/ 2772894 w 11685910"/>
                <a:gd name="connsiteY3891" fmla="*/ 423250 h 6078415"/>
                <a:gd name="connsiteX3892" fmla="*/ 2773954 w 11685910"/>
                <a:gd name="connsiteY3892" fmla="*/ 422655 h 6078415"/>
                <a:gd name="connsiteX3893" fmla="*/ 2777907 w 11685910"/>
                <a:gd name="connsiteY3893" fmla="*/ 402749 h 6078415"/>
                <a:gd name="connsiteX3894" fmla="*/ 2767424 w 11685910"/>
                <a:gd name="connsiteY3894" fmla="*/ 412841 h 6078415"/>
                <a:gd name="connsiteX3895" fmla="*/ 2768337 w 11685910"/>
                <a:gd name="connsiteY3895" fmla="*/ 405942 h 6078415"/>
                <a:gd name="connsiteX3896" fmla="*/ 2781982 w 11685910"/>
                <a:gd name="connsiteY3896" fmla="*/ 397387 h 6078415"/>
                <a:gd name="connsiteX3897" fmla="*/ 2781982 w 11685910"/>
                <a:gd name="connsiteY3897" fmla="*/ 421213 h 6078415"/>
                <a:gd name="connsiteX3898" fmla="*/ 2858323 w 11685910"/>
                <a:gd name="connsiteY3898" fmla="*/ 372831 h 6078415"/>
                <a:gd name="connsiteX3899" fmla="*/ 2880935 w 11685910"/>
                <a:gd name="connsiteY3899" fmla="*/ 356299 h 6078415"/>
                <a:gd name="connsiteX3900" fmla="*/ 2886970 w 11685910"/>
                <a:gd name="connsiteY3900" fmla="*/ 355666 h 6078415"/>
                <a:gd name="connsiteX3901" fmla="*/ 2887669 w 11685910"/>
                <a:gd name="connsiteY3901" fmla="*/ 354169 h 6078415"/>
                <a:gd name="connsiteX3902" fmla="*/ 2906950 w 11685910"/>
                <a:gd name="connsiteY3902" fmla="*/ 335633 h 6078415"/>
                <a:gd name="connsiteX3903" fmla="*/ 2942620 w 11685910"/>
                <a:gd name="connsiteY3903" fmla="*/ 327579 h 6078415"/>
                <a:gd name="connsiteX3904" fmla="*/ 11439364 w 11685910"/>
                <a:gd name="connsiteY3904" fmla="*/ 91551 h 6078415"/>
                <a:gd name="connsiteX3905" fmla="*/ 11428902 w 11685910"/>
                <a:gd name="connsiteY3905" fmla="*/ 139681 h 6078415"/>
                <a:gd name="connsiteX3906" fmla="*/ 11471625 w 11685910"/>
                <a:gd name="connsiteY3906" fmla="*/ 139681 h 6078415"/>
                <a:gd name="connsiteX3907" fmla="*/ 11481913 w 11685910"/>
                <a:gd name="connsiteY3907" fmla="*/ 91551 h 6078415"/>
                <a:gd name="connsiteX3908" fmla="*/ 5375028 w 11685910"/>
                <a:gd name="connsiteY3908" fmla="*/ 91551 h 6078415"/>
                <a:gd name="connsiteX3909" fmla="*/ 5364565 w 11685910"/>
                <a:gd name="connsiteY3909" fmla="*/ 139681 h 6078415"/>
                <a:gd name="connsiteX3910" fmla="*/ 5407288 w 11685910"/>
                <a:gd name="connsiteY3910" fmla="*/ 139681 h 6078415"/>
                <a:gd name="connsiteX3911" fmla="*/ 5417576 w 11685910"/>
                <a:gd name="connsiteY3911" fmla="*/ 91551 h 6078415"/>
                <a:gd name="connsiteX3912" fmla="*/ 11226456 w 11685910"/>
                <a:gd name="connsiteY3912" fmla="*/ 5634 h 6078415"/>
                <a:gd name="connsiteX3913" fmla="*/ 11281142 w 11685910"/>
                <a:gd name="connsiteY3913" fmla="*/ 44655 h 6078415"/>
                <a:gd name="connsiteX3914" fmla="*/ 11281142 w 11685910"/>
                <a:gd name="connsiteY3914" fmla="*/ 81016 h 6078415"/>
                <a:gd name="connsiteX3915" fmla="*/ 11305086 w 11685910"/>
                <a:gd name="connsiteY3915" fmla="*/ 107876 h 6078415"/>
                <a:gd name="connsiteX3916" fmla="*/ 11305086 w 11685910"/>
                <a:gd name="connsiteY3916" fmla="*/ 126372 h 6078415"/>
                <a:gd name="connsiteX3917" fmla="*/ 11281142 w 11685910"/>
                <a:gd name="connsiteY3917" fmla="*/ 152725 h 6078415"/>
                <a:gd name="connsiteX3918" fmla="*/ 11281142 w 11685910"/>
                <a:gd name="connsiteY3918" fmla="*/ 190100 h 6078415"/>
                <a:gd name="connsiteX3919" fmla="*/ 11226456 w 11685910"/>
                <a:gd name="connsiteY3919" fmla="*/ 228614 h 6078415"/>
                <a:gd name="connsiteX3920" fmla="*/ 11226456 w 11685910"/>
                <a:gd name="connsiteY3920" fmla="*/ 209103 h 6078415"/>
                <a:gd name="connsiteX3921" fmla="*/ 11245534 w 11685910"/>
                <a:gd name="connsiteY3921" fmla="*/ 203022 h 6078415"/>
                <a:gd name="connsiteX3922" fmla="*/ 11251173 w 11685910"/>
                <a:gd name="connsiteY3922" fmla="*/ 183765 h 6078415"/>
                <a:gd name="connsiteX3923" fmla="*/ 11251173 w 11685910"/>
                <a:gd name="connsiteY3923" fmla="*/ 148417 h 6078415"/>
                <a:gd name="connsiteX3924" fmla="*/ 11281605 w 11685910"/>
                <a:gd name="connsiteY3924" fmla="*/ 117125 h 6078415"/>
                <a:gd name="connsiteX3925" fmla="*/ 11281605 w 11685910"/>
                <a:gd name="connsiteY3925" fmla="*/ 116744 h 6078415"/>
                <a:gd name="connsiteX3926" fmla="*/ 11251173 w 11685910"/>
                <a:gd name="connsiteY3926" fmla="*/ 85197 h 6078415"/>
                <a:gd name="connsiteX3927" fmla="*/ 11251173 w 11685910"/>
                <a:gd name="connsiteY3927" fmla="*/ 49470 h 6078415"/>
                <a:gd name="connsiteX3928" fmla="*/ 11226456 w 11685910"/>
                <a:gd name="connsiteY3928" fmla="*/ 25273 h 6078415"/>
                <a:gd name="connsiteX3929" fmla="*/ 11205137 w 11685910"/>
                <a:gd name="connsiteY3929" fmla="*/ 5634 h 6078415"/>
                <a:gd name="connsiteX3930" fmla="*/ 11205137 w 11685910"/>
                <a:gd name="connsiteY3930" fmla="*/ 25273 h 6078415"/>
                <a:gd name="connsiteX3931" fmla="*/ 11180575 w 11685910"/>
                <a:gd name="connsiteY3931" fmla="*/ 49470 h 6078415"/>
                <a:gd name="connsiteX3932" fmla="*/ 11180575 w 11685910"/>
                <a:gd name="connsiteY3932" fmla="*/ 85197 h 6078415"/>
                <a:gd name="connsiteX3933" fmla="*/ 11149834 w 11685910"/>
                <a:gd name="connsiteY3933" fmla="*/ 116744 h 6078415"/>
                <a:gd name="connsiteX3934" fmla="*/ 11149834 w 11685910"/>
                <a:gd name="connsiteY3934" fmla="*/ 117125 h 6078415"/>
                <a:gd name="connsiteX3935" fmla="*/ 11180575 w 11685910"/>
                <a:gd name="connsiteY3935" fmla="*/ 148417 h 6078415"/>
                <a:gd name="connsiteX3936" fmla="*/ 11180575 w 11685910"/>
                <a:gd name="connsiteY3936" fmla="*/ 183765 h 6078415"/>
                <a:gd name="connsiteX3937" fmla="*/ 11186059 w 11685910"/>
                <a:gd name="connsiteY3937" fmla="*/ 203086 h 6078415"/>
                <a:gd name="connsiteX3938" fmla="*/ 11205137 w 11685910"/>
                <a:gd name="connsiteY3938" fmla="*/ 209103 h 6078415"/>
                <a:gd name="connsiteX3939" fmla="*/ 11205137 w 11685910"/>
                <a:gd name="connsiteY3939" fmla="*/ 228614 h 6078415"/>
                <a:gd name="connsiteX3940" fmla="*/ 11150143 w 11685910"/>
                <a:gd name="connsiteY3940" fmla="*/ 190100 h 6078415"/>
                <a:gd name="connsiteX3941" fmla="*/ 11150143 w 11685910"/>
                <a:gd name="connsiteY3941" fmla="*/ 152725 h 6078415"/>
                <a:gd name="connsiteX3942" fmla="*/ 11126044 w 11685910"/>
                <a:gd name="connsiteY3942" fmla="*/ 126372 h 6078415"/>
                <a:gd name="connsiteX3943" fmla="*/ 11126044 w 11685910"/>
                <a:gd name="connsiteY3943" fmla="*/ 107876 h 6078415"/>
                <a:gd name="connsiteX3944" fmla="*/ 11150143 w 11685910"/>
                <a:gd name="connsiteY3944" fmla="*/ 81016 h 6078415"/>
                <a:gd name="connsiteX3945" fmla="*/ 11150143 w 11685910"/>
                <a:gd name="connsiteY3945" fmla="*/ 44655 h 6078415"/>
                <a:gd name="connsiteX3946" fmla="*/ 11205137 w 11685910"/>
                <a:gd name="connsiteY3946" fmla="*/ 5634 h 6078415"/>
                <a:gd name="connsiteX3947" fmla="*/ 8175706 w 11685910"/>
                <a:gd name="connsiteY3947" fmla="*/ 5634 h 6078415"/>
                <a:gd name="connsiteX3948" fmla="*/ 8230392 w 11685910"/>
                <a:gd name="connsiteY3948" fmla="*/ 44655 h 6078415"/>
                <a:gd name="connsiteX3949" fmla="*/ 8230392 w 11685910"/>
                <a:gd name="connsiteY3949" fmla="*/ 81016 h 6078415"/>
                <a:gd name="connsiteX3950" fmla="*/ 8254336 w 11685910"/>
                <a:gd name="connsiteY3950" fmla="*/ 107876 h 6078415"/>
                <a:gd name="connsiteX3951" fmla="*/ 8254336 w 11685910"/>
                <a:gd name="connsiteY3951" fmla="*/ 126372 h 6078415"/>
                <a:gd name="connsiteX3952" fmla="*/ 8230392 w 11685910"/>
                <a:gd name="connsiteY3952" fmla="*/ 152725 h 6078415"/>
                <a:gd name="connsiteX3953" fmla="*/ 8230392 w 11685910"/>
                <a:gd name="connsiteY3953" fmla="*/ 190100 h 6078415"/>
                <a:gd name="connsiteX3954" fmla="*/ 8175706 w 11685910"/>
                <a:gd name="connsiteY3954" fmla="*/ 228614 h 6078415"/>
                <a:gd name="connsiteX3955" fmla="*/ 8175706 w 11685910"/>
                <a:gd name="connsiteY3955" fmla="*/ 209103 h 6078415"/>
                <a:gd name="connsiteX3956" fmla="*/ 8194784 w 11685910"/>
                <a:gd name="connsiteY3956" fmla="*/ 203022 h 6078415"/>
                <a:gd name="connsiteX3957" fmla="*/ 8200423 w 11685910"/>
                <a:gd name="connsiteY3957" fmla="*/ 183765 h 6078415"/>
                <a:gd name="connsiteX3958" fmla="*/ 8200423 w 11685910"/>
                <a:gd name="connsiteY3958" fmla="*/ 148417 h 6078415"/>
                <a:gd name="connsiteX3959" fmla="*/ 8230855 w 11685910"/>
                <a:gd name="connsiteY3959" fmla="*/ 117125 h 6078415"/>
                <a:gd name="connsiteX3960" fmla="*/ 8230855 w 11685910"/>
                <a:gd name="connsiteY3960" fmla="*/ 116744 h 6078415"/>
                <a:gd name="connsiteX3961" fmla="*/ 8200423 w 11685910"/>
                <a:gd name="connsiteY3961" fmla="*/ 85197 h 6078415"/>
                <a:gd name="connsiteX3962" fmla="*/ 8200423 w 11685910"/>
                <a:gd name="connsiteY3962" fmla="*/ 49470 h 6078415"/>
                <a:gd name="connsiteX3963" fmla="*/ 8175706 w 11685910"/>
                <a:gd name="connsiteY3963" fmla="*/ 25273 h 6078415"/>
                <a:gd name="connsiteX3964" fmla="*/ 8154387 w 11685910"/>
                <a:gd name="connsiteY3964" fmla="*/ 5634 h 6078415"/>
                <a:gd name="connsiteX3965" fmla="*/ 8154387 w 11685910"/>
                <a:gd name="connsiteY3965" fmla="*/ 25273 h 6078415"/>
                <a:gd name="connsiteX3966" fmla="*/ 8129826 w 11685910"/>
                <a:gd name="connsiteY3966" fmla="*/ 49470 h 6078415"/>
                <a:gd name="connsiteX3967" fmla="*/ 8129826 w 11685910"/>
                <a:gd name="connsiteY3967" fmla="*/ 85197 h 6078415"/>
                <a:gd name="connsiteX3968" fmla="*/ 8099084 w 11685910"/>
                <a:gd name="connsiteY3968" fmla="*/ 116744 h 6078415"/>
                <a:gd name="connsiteX3969" fmla="*/ 8099084 w 11685910"/>
                <a:gd name="connsiteY3969" fmla="*/ 117125 h 6078415"/>
                <a:gd name="connsiteX3970" fmla="*/ 8129826 w 11685910"/>
                <a:gd name="connsiteY3970" fmla="*/ 148417 h 6078415"/>
                <a:gd name="connsiteX3971" fmla="*/ 8129826 w 11685910"/>
                <a:gd name="connsiteY3971" fmla="*/ 183765 h 6078415"/>
                <a:gd name="connsiteX3972" fmla="*/ 8135309 w 11685910"/>
                <a:gd name="connsiteY3972" fmla="*/ 203086 h 6078415"/>
                <a:gd name="connsiteX3973" fmla="*/ 8154387 w 11685910"/>
                <a:gd name="connsiteY3973" fmla="*/ 209103 h 6078415"/>
                <a:gd name="connsiteX3974" fmla="*/ 8154387 w 11685910"/>
                <a:gd name="connsiteY3974" fmla="*/ 228614 h 6078415"/>
                <a:gd name="connsiteX3975" fmla="*/ 8099393 w 11685910"/>
                <a:gd name="connsiteY3975" fmla="*/ 190100 h 6078415"/>
                <a:gd name="connsiteX3976" fmla="*/ 8099393 w 11685910"/>
                <a:gd name="connsiteY3976" fmla="*/ 152725 h 6078415"/>
                <a:gd name="connsiteX3977" fmla="*/ 8075294 w 11685910"/>
                <a:gd name="connsiteY3977" fmla="*/ 126372 h 6078415"/>
                <a:gd name="connsiteX3978" fmla="*/ 8075294 w 11685910"/>
                <a:gd name="connsiteY3978" fmla="*/ 107876 h 6078415"/>
                <a:gd name="connsiteX3979" fmla="*/ 8099393 w 11685910"/>
                <a:gd name="connsiteY3979" fmla="*/ 81016 h 6078415"/>
                <a:gd name="connsiteX3980" fmla="*/ 8099393 w 11685910"/>
                <a:gd name="connsiteY3980" fmla="*/ 44655 h 6078415"/>
                <a:gd name="connsiteX3981" fmla="*/ 8154387 w 11685910"/>
                <a:gd name="connsiteY3981" fmla="*/ 5634 h 6078415"/>
                <a:gd name="connsiteX3982" fmla="*/ 5165797 w 11685910"/>
                <a:gd name="connsiteY3982" fmla="*/ 5634 h 6078415"/>
                <a:gd name="connsiteX3983" fmla="*/ 5220483 w 11685910"/>
                <a:gd name="connsiteY3983" fmla="*/ 44655 h 6078415"/>
                <a:gd name="connsiteX3984" fmla="*/ 5220483 w 11685910"/>
                <a:gd name="connsiteY3984" fmla="*/ 81016 h 6078415"/>
                <a:gd name="connsiteX3985" fmla="*/ 5244426 w 11685910"/>
                <a:gd name="connsiteY3985" fmla="*/ 107876 h 6078415"/>
                <a:gd name="connsiteX3986" fmla="*/ 5244426 w 11685910"/>
                <a:gd name="connsiteY3986" fmla="*/ 126372 h 6078415"/>
                <a:gd name="connsiteX3987" fmla="*/ 5220483 w 11685910"/>
                <a:gd name="connsiteY3987" fmla="*/ 152725 h 6078415"/>
                <a:gd name="connsiteX3988" fmla="*/ 5220483 w 11685910"/>
                <a:gd name="connsiteY3988" fmla="*/ 190100 h 6078415"/>
                <a:gd name="connsiteX3989" fmla="*/ 5165797 w 11685910"/>
                <a:gd name="connsiteY3989" fmla="*/ 228614 h 6078415"/>
                <a:gd name="connsiteX3990" fmla="*/ 5165797 w 11685910"/>
                <a:gd name="connsiteY3990" fmla="*/ 209103 h 6078415"/>
                <a:gd name="connsiteX3991" fmla="*/ 5184875 w 11685910"/>
                <a:gd name="connsiteY3991" fmla="*/ 203022 h 6078415"/>
                <a:gd name="connsiteX3992" fmla="*/ 5190513 w 11685910"/>
                <a:gd name="connsiteY3992" fmla="*/ 183765 h 6078415"/>
                <a:gd name="connsiteX3993" fmla="*/ 5190513 w 11685910"/>
                <a:gd name="connsiteY3993" fmla="*/ 148417 h 6078415"/>
                <a:gd name="connsiteX3994" fmla="*/ 5220946 w 11685910"/>
                <a:gd name="connsiteY3994" fmla="*/ 117125 h 6078415"/>
                <a:gd name="connsiteX3995" fmla="*/ 5220946 w 11685910"/>
                <a:gd name="connsiteY3995" fmla="*/ 116744 h 6078415"/>
                <a:gd name="connsiteX3996" fmla="*/ 5190513 w 11685910"/>
                <a:gd name="connsiteY3996" fmla="*/ 85197 h 6078415"/>
                <a:gd name="connsiteX3997" fmla="*/ 5190513 w 11685910"/>
                <a:gd name="connsiteY3997" fmla="*/ 49470 h 6078415"/>
                <a:gd name="connsiteX3998" fmla="*/ 5165797 w 11685910"/>
                <a:gd name="connsiteY3998" fmla="*/ 25273 h 6078415"/>
                <a:gd name="connsiteX3999" fmla="*/ 5144478 w 11685910"/>
                <a:gd name="connsiteY3999" fmla="*/ 5634 h 6078415"/>
                <a:gd name="connsiteX4000" fmla="*/ 5144478 w 11685910"/>
                <a:gd name="connsiteY4000" fmla="*/ 25273 h 6078415"/>
                <a:gd name="connsiteX4001" fmla="*/ 5119917 w 11685910"/>
                <a:gd name="connsiteY4001" fmla="*/ 49470 h 6078415"/>
                <a:gd name="connsiteX4002" fmla="*/ 5119917 w 11685910"/>
                <a:gd name="connsiteY4002" fmla="*/ 85197 h 6078415"/>
                <a:gd name="connsiteX4003" fmla="*/ 5089175 w 11685910"/>
                <a:gd name="connsiteY4003" fmla="*/ 116744 h 6078415"/>
                <a:gd name="connsiteX4004" fmla="*/ 5089175 w 11685910"/>
                <a:gd name="connsiteY4004" fmla="*/ 117125 h 6078415"/>
                <a:gd name="connsiteX4005" fmla="*/ 5119917 w 11685910"/>
                <a:gd name="connsiteY4005" fmla="*/ 148417 h 6078415"/>
                <a:gd name="connsiteX4006" fmla="*/ 5119917 w 11685910"/>
                <a:gd name="connsiteY4006" fmla="*/ 183765 h 6078415"/>
                <a:gd name="connsiteX4007" fmla="*/ 5125400 w 11685910"/>
                <a:gd name="connsiteY4007" fmla="*/ 203086 h 6078415"/>
                <a:gd name="connsiteX4008" fmla="*/ 5144478 w 11685910"/>
                <a:gd name="connsiteY4008" fmla="*/ 209103 h 6078415"/>
                <a:gd name="connsiteX4009" fmla="*/ 5144478 w 11685910"/>
                <a:gd name="connsiteY4009" fmla="*/ 228614 h 6078415"/>
                <a:gd name="connsiteX4010" fmla="*/ 5089484 w 11685910"/>
                <a:gd name="connsiteY4010" fmla="*/ 190100 h 6078415"/>
                <a:gd name="connsiteX4011" fmla="*/ 5089484 w 11685910"/>
                <a:gd name="connsiteY4011" fmla="*/ 152725 h 6078415"/>
                <a:gd name="connsiteX4012" fmla="*/ 5065386 w 11685910"/>
                <a:gd name="connsiteY4012" fmla="*/ 126372 h 6078415"/>
                <a:gd name="connsiteX4013" fmla="*/ 5065386 w 11685910"/>
                <a:gd name="connsiteY4013" fmla="*/ 107876 h 6078415"/>
                <a:gd name="connsiteX4014" fmla="*/ 5089484 w 11685910"/>
                <a:gd name="connsiteY4014" fmla="*/ 81016 h 6078415"/>
                <a:gd name="connsiteX4015" fmla="*/ 5089484 w 11685910"/>
                <a:gd name="connsiteY4015" fmla="*/ 44655 h 6078415"/>
                <a:gd name="connsiteX4016" fmla="*/ 5144478 w 11685910"/>
                <a:gd name="connsiteY4016" fmla="*/ 5634 h 6078415"/>
                <a:gd name="connsiteX4017" fmla="*/ 2112183 w 11685910"/>
                <a:gd name="connsiteY4017" fmla="*/ 5634 h 6078415"/>
                <a:gd name="connsiteX4018" fmla="*/ 2166869 w 11685910"/>
                <a:gd name="connsiteY4018" fmla="*/ 44655 h 6078415"/>
                <a:gd name="connsiteX4019" fmla="*/ 2166869 w 11685910"/>
                <a:gd name="connsiteY4019" fmla="*/ 81016 h 6078415"/>
                <a:gd name="connsiteX4020" fmla="*/ 2190814 w 11685910"/>
                <a:gd name="connsiteY4020" fmla="*/ 107876 h 6078415"/>
                <a:gd name="connsiteX4021" fmla="*/ 2190814 w 11685910"/>
                <a:gd name="connsiteY4021" fmla="*/ 126372 h 6078415"/>
                <a:gd name="connsiteX4022" fmla="*/ 2166869 w 11685910"/>
                <a:gd name="connsiteY4022" fmla="*/ 152725 h 6078415"/>
                <a:gd name="connsiteX4023" fmla="*/ 2166869 w 11685910"/>
                <a:gd name="connsiteY4023" fmla="*/ 190100 h 6078415"/>
                <a:gd name="connsiteX4024" fmla="*/ 2112183 w 11685910"/>
                <a:gd name="connsiteY4024" fmla="*/ 228614 h 6078415"/>
                <a:gd name="connsiteX4025" fmla="*/ 2112183 w 11685910"/>
                <a:gd name="connsiteY4025" fmla="*/ 209103 h 6078415"/>
                <a:gd name="connsiteX4026" fmla="*/ 2131261 w 11685910"/>
                <a:gd name="connsiteY4026" fmla="*/ 203022 h 6078415"/>
                <a:gd name="connsiteX4027" fmla="*/ 2136900 w 11685910"/>
                <a:gd name="connsiteY4027" fmla="*/ 183765 h 6078415"/>
                <a:gd name="connsiteX4028" fmla="*/ 2136900 w 11685910"/>
                <a:gd name="connsiteY4028" fmla="*/ 148417 h 6078415"/>
                <a:gd name="connsiteX4029" fmla="*/ 2167332 w 11685910"/>
                <a:gd name="connsiteY4029" fmla="*/ 117125 h 6078415"/>
                <a:gd name="connsiteX4030" fmla="*/ 2167332 w 11685910"/>
                <a:gd name="connsiteY4030" fmla="*/ 116744 h 6078415"/>
                <a:gd name="connsiteX4031" fmla="*/ 2136900 w 11685910"/>
                <a:gd name="connsiteY4031" fmla="*/ 85197 h 6078415"/>
                <a:gd name="connsiteX4032" fmla="*/ 2136900 w 11685910"/>
                <a:gd name="connsiteY4032" fmla="*/ 49470 h 6078415"/>
                <a:gd name="connsiteX4033" fmla="*/ 2112183 w 11685910"/>
                <a:gd name="connsiteY4033" fmla="*/ 25273 h 6078415"/>
                <a:gd name="connsiteX4034" fmla="*/ 2090864 w 11685910"/>
                <a:gd name="connsiteY4034" fmla="*/ 5634 h 6078415"/>
                <a:gd name="connsiteX4035" fmla="*/ 2090864 w 11685910"/>
                <a:gd name="connsiteY4035" fmla="*/ 25273 h 6078415"/>
                <a:gd name="connsiteX4036" fmla="*/ 2066302 w 11685910"/>
                <a:gd name="connsiteY4036" fmla="*/ 49470 h 6078415"/>
                <a:gd name="connsiteX4037" fmla="*/ 2066302 w 11685910"/>
                <a:gd name="connsiteY4037" fmla="*/ 85197 h 6078415"/>
                <a:gd name="connsiteX4038" fmla="*/ 2035561 w 11685910"/>
                <a:gd name="connsiteY4038" fmla="*/ 116744 h 6078415"/>
                <a:gd name="connsiteX4039" fmla="*/ 2035561 w 11685910"/>
                <a:gd name="connsiteY4039" fmla="*/ 117125 h 6078415"/>
                <a:gd name="connsiteX4040" fmla="*/ 2066302 w 11685910"/>
                <a:gd name="connsiteY4040" fmla="*/ 148417 h 6078415"/>
                <a:gd name="connsiteX4041" fmla="*/ 2066302 w 11685910"/>
                <a:gd name="connsiteY4041" fmla="*/ 183765 h 6078415"/>
                <a:gd name="connsiteX4042" fmla="*/ 2071786 w 11685910"/>
                <a:gd name="connsiteY4042" fmla="*/ 203086 h 6078415"/>
                <a:gd name="connsiteX4043" fmla="*/ 2090864 w 11685910"/>
                <a:gd name="connsiteY4043" fmla="*/ 209103 h 6078415"/>
                <a:gd name="connsiteX4044" fmla="*/ 2090864 w 11685910"/>
                <a:gd name="connsiteY4044" fmla="*/ 228614 h 6078415"/>
                <a:gd name="connsiteX4045" fmla="*/ 2035870 w 11685910"/>
                <a:gd name="connsiteY4045" fmla="*/ 190100 h 6078415"/>
                <a:gd name="connsiteX4046" fmla="*/ 2035870 w 11685910"/>
                <a:gd name="connsiteY4046" fmla="*/ 152725 h 6078415"/>
                <a:gd name="connsiteX4047" fmla="*/ 2011770 w 11685910"/>
                <a:gd name="connsiteY4047" fmla="*/ 126372 h 6078415"/>
                <a:gd name="connsiteX4048" fmla="*/ 2011770 w 11685910"/>
                <a:gd name="connsiteY4048" fmla="*/ 107876 h 6078415"/>
                <a:gd name="connsiteX4049" fmla="*/ 2035870 w 11685910"/>
                <a:gd name="connsiteY4049" fmla="*/ 81016 h 6078415"/>
                <a:gd name="connsiteX4050" fmla="*/ 2035870 w 11685910"/>
                <a:gd name="connsiteY4050" fmla="*/ 44655 h 6078415"/>
                <a:gd name="connsiteX4051" fmla="*/ 2090864 w 11685910"/>
                <a:gd name="connsiteY4051" fmla="*/ 5634 h 6078415"/>
                <a:gd name="connsiteX4052" fmla="*/ 11430297 w 11685910"/>
                <a:gd name="connsiteY4052" fmla="*/ 0 h 6078415"/>
                <a:gd name="connsiteX4053" fmla="*/ 11458372 w 11685910"/>
                <a:gd name="connsiteY4053" fmla="*/ 0 h 6078415"/>
                <a:gd name="connsiteX4054" fmla="*/ 11444596 w 11685910"/>
                <a:gd name="connsiteY4054" fmla="*/ 67137 h 6078415"/>
                <a:gd name="connsiteX4055" fmla="*/ 11486796 w 11685910"/>
                <a:gd name="connsiteY4055" fmla="*/ 67137 h 6078415"/>
                <a:gd name="connsiteX4056" fmla="*/ 11501095 w 11685910"/>
                <a:gd name="connsiteY4056" fmla="*/ 0 h 6078415"/>
                <a:gd name="connsiteX4057" fmla="*/ 11528648 w 11685910"/>
                <a:gd name="connsiteY4057" fmla="*/ 0 h 6078415"/>
                <a:gd name="connsiteX4058" fmla="*/ 11514697 w 11685910"/>
                <a:gd name="connsiteY4058" fmla="*/ 67137 h 6078415"/>
                <a:gd name="connsiteX4059" fmla="*/ 11554456 w 11685910"/>
                <a:gd name="connsiteY4059" fmla="*/ 67137 h 6078415"/>
                <a:gd name="connsiteX4060" fmla="*/ 11549050 w 11685910"/>
                <a:gd name="connsiteY4060" fmla="*/ 91551 h 6078415"/>
                <a:gd name="connsiteX4061" fmla="*/ 11509466 w 11685910"/>
                <a:gd name="connsiteY4061" fmla="*/ 91551 h 6078415"/>
                <a:gd name="connsiteX4062" fmla="*/ 11499352 w 11685910"/>
                <a:gd name="connsiteY4062" fmla="*/ 139681 h 6078415"/>
                <a:gd name="connsiteX4063" fmla="*/ 11542598 w 11685910"/>
                <a:gd name="connsiteY4063" fmla="*/ 139681 h 6078415"/>
                <a:gd name="connsiteX4064" fmla="*/ 11536494 w 11685910"/>
                <a:gd name="connsiteY4064" fmla="*/ 164093 h 6078415"/>
                <a:gd name="connsiteX4065" fmla="*/ 11494295 w 11685910"/>
                <a:gd name="connsiteY4065" fmla="*/ 164093 h 6078415"/>
                <a:gd name="connsiteX4066" fmla="*/ 11479995 w 11685910"/>
                <a:gd name="connsiteY4066" fmla="*/ 228614 h 6078415"/>
                <a:gd name="connsiteX4067" fmla="*/ 11452268 w 11685910"/>
                <a:gd name="connsiteY4067" fmla="*/ 228614 h 6078415"/>
                <a:gd name="connsiteX4068" fmla="*/ 11466219 w 11685910"/>
                <a:gd name="connsiteY4068" fmla="*/ 164093 h 6078415"/>
                <a:gd name="connsiteX4069" fmla="*/ 11424019 w 11685910"/>
                <a:gd name="connsiteY4069" fmla="*/ 164093 h 6078415"/>
                <a:gd name="connsiteX4070" fmla="*/ 11410417 w 11685910"/>
                <a:gd name="connsiteY4070" fmla="*/ 228614 h 6078415"/>
                <a:gd name="connsiteX4071" fmla="*/ 11382691 w 11685910"/>
                <a:gd name="connsiteY4071" fmla="*/ 228614 h 6078415"/>
                <a:gd name="connsiteX4072" fmla="*/ 11396292 w 11685910"/>
                <a:gd name="connsiteY4072" fmla="*/ 164093 h 6078415"/>
                <a:gd name="connsiteX4073" fmla="*/ 11356359 w 11685910"/>
                <a:gd name="connsiteY4073" fmla="*/ 164093 h 6078415"/>
                <a:gd name="connsiteX4074" fmla="*/ 11361241 w 11685910"/>
                <a:gd name="connsiteY4074" fmla="*/ 139681 h 6078415"/>
                <a:gd name="connsiteX4075" fmla="*/ 11401698 w 11685910"/>
                <a:gd name="connsiteY4075" fmla="*/ 139681 h 6078415"/>
                <a:gd name="connsiteX4076" fmla="*/ 11411289 w 11685910"/>
                <a:gd name="connsiteY4076" fmla="*/ 91551 h 6078415"/>
                <a:gd name="connsiteX4077" fmla="*/ 11368740 w 11685910"/>
                <a:gd name="connsiteY4077" fmla="*/ 91551 h 6078415"/>
                <a:gd name="connsiteX4078" fmla="*/ 11373797 w 11685910"/>
                <a:gd name="connsiteY4078" fmla="*/ 67137 h 6078415"/>
                <a:gd name="connsiteX4079" fmla="*/ 11416346 w 11685910"/>
                <a:gd name="connsiteY4079" fmla="*/ 67137 h 6078415"/>
                <a:gd name="connsiteX4080" fmla="*/ 5365960 w 11685910"/>
                <a:gd name="connsiteY4080" fmla="*/ 0 h 6078415"/>
                <a:gd name="connsiteX4081" fmla="*/ 5394034 w 11685910"/>
                <a:gd name="connsiteY4081" fmla="*/ 0 h 6078415"/>
                <a:gd name="connsiteX4082" fmla="*/ 5380258 w 11685910"/>
                <a:gd name="connsiteY4082" fmla="*/ 67137 h 6078415"/>
                <a:gd name="connsiteX4083" fmla="*/ 5422458 w 11685910"/>
                <a:gd name="connsiteY4083" fmla="*/ 67137 h 6078415"/>
                <a:gd name="connsiteX4084" fmla="*/ 5436757 w 11685910"/>
                <a:gd name="connsiteY4084" fmla="*/ 0 h 6078415"/>
                <a:gd name="connsiteX4085" fmla="*/ 5464310 w 11685910"/>
                <a:gd name="connsiteY4085" fmla="*/ 0 h 6078415"/>
                <a:gd name="connsiteX4086" fmla="*/ 5450359 w 11685910"/>
                <a:gd name="connsiteY4086" fmla="*/ 67137 h 6078415"/>
                <a:gd name="connsiteX4087" fmla="*/ 5490118 w 11685910"/>
                <a:gd name="connsiteY4087" fmla="*/ 67137 h 6078415"/>
                <a:gd name="connsiteX4088" fmla="*/ 5484714 w 11685910"/>
                <a:gd name="connsiteY4088" fmla="*/ 91551 h 6078415"/>
                <a:gd name="connsiteX4089" fmla="*/ 5445128 w 11685910"/>
                <a:gd name="connsiteY4089" fmla="*/ 91551 h 6078415"/>
                <a:gd name="connsiteX4090" fmla="*/ 5435014 w 11685910"/>
                <a:gd name="connsiteY4090" fmla="*/ 139681 h 6078415"/>
                <a:gd name="connsiteX4091" fmla="*/ 5478260 w 11685910"/>
                <a:gd name="connsiteY4091" fmla="*/ 139681 h 6078415"/>
                <a:gd name="connsiteX4092" fmla="*/ 5472158 w 11685910"/>
                <a:gd name="connsiteY4092" fmla="*/ 164093 h 6078415"/>
                <a:gd name="connsiteX4093" fmla="*/ 5429957 w 11685910"/>
                <a:gd name="connsiteY4093" fmla="*/ 164093 h 6078415"/>
                <a:gd name="connsiteX4094" fmla="*/ 5415658 w 11685910"/>
                <a:gd name="connsiteY4094" fmla="*/ 228614 h 6078415"/>
                <a:gd name="connsiteX4095" fmla="*/ 5387930 w 11685910"/>
                <a:gd name="connsiteY4095" fmla="*/ 228614 h 6078415"/>
                <a:gd name="connsiteX4096" fmla="*/ 5401881 w 11685910"/>
                <a:gd name="connsiteY4096" fmla="*/ 164093 h 6078415"/>
                <a:gd name="connsiteX4097" fmla="*/ 5359681 w 11685910"/>
                <a:gd name="connsiteY4097" fmla="*/ 164093 h 6078415"/>
                <a:gd name="connsiteX4098" fmla="*/ 5346079 w 11685910"/>
                <a:gd name="connsiteY4098" fmla="*/ 228614 h 6078415"/>
                <a:gd name="connsiteX4099" fmla="*/ 5318353 w 11685910"/>
                <a:gd name="connsiteY4099" fmla="*/ 228614 h 6078415"/>
                <a:gd name="connsiteX4100" fmla="*/ 5331955 w 11685910"/>
                <a:gd name="connsiteY4100" fmla="*/ 164093 h 6078415"/>
                <a:gd name="connsiteX4101" fmla="*/ 5292021 w 11685910"/>
                <a:gd name="connsiteY4101" fmla="*/ 164093 h 6078415"/>
                <a:gd name="connsiteX4102" fmla="*/ 5296904 w 11685910"/>
                <a:gd name="connsiteY4102" fmla="*/ 139681 h 6078415"/>
                <a:gd name="connsiteX4103" fmla="*/ 5337360 w 11685910"/>
                <a:gd name="connsiteY4103" fmla="*/ 139681 h 6078415"/>
                <a:gd name="connsiteX4104" fmla="*/ 5346952 w 11685910"/>
                <a:gd name="connsiteY4104" fmla="*/ 91551 h 6078415"/>
                <a:gd name="connsiteX4105" fmla="*/ 5304402 w 11685910"/>
                <a:gd name="connsiteY4105" fmla="*/ 91551 h 6078415"/>
                <a:gd name="connsiteX4106" fmla="*/ 5309459 w 11685910"/>
                <a:gd name="connsiteY4106" fmla="*/ 67137 h 6078415"/>
                <a:gd name="connsiteX4107" fmla="*/ 5352009 w 11685910"/>
                <a:gd name="connsiteY4107" fmla="*/ 67137 h 607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Lst>
              <a:rect l="l" t="t" r="r" b="b"/>
              <a:pathLst>
                <a:path w="11685910" h="6078415">
                  <a:moveTo>
                    <a:pt x="8150891" y="5855435"/>
                  </a:moveTo>
                  <a:cubicBezTo>
                    <a:pt x="8180791" y="5855773"/>
                    <a:pt x="8195740" y="5868780"/>
                    <a:pt x="8195740" y="5894457"/>
                  </a:cubicBezTo>
                  <a:lnTo>
                    <a:pt x="8195740" y="5930817"/>
                  </a:lnTo>
                  <a:cubicBezTo>
                    <a:pt x="8195740" y="5947879"/>
                    <a:pt x="8202286" y="5956832"/>
                    <a:pt x="8215378" y="5957677"/>
                  </a:cubicBezTo>
                  <a:lnTo>
                    <a:pt x="8215378" y="5976174"/>
                  </a:lnTo>
                  <a:cubicBezTo>
                    <a:pt x="8202286" y="5977019"/>
                    <a:pt x="8195740" y="5985802"/>
                    <a:pt x="8195740" y="6002526"/>
                  </a:cubicBezTo>
                  <a:lnTo>
                    <a:pt x="8195740" y="6039901"/>
                  </a:lnTo>
                  <a:cubicBezTo>
                    <a:pt x="8195740" y="6065239"/>
                    <a:pt x="8180791" y="6078077"/>
                    <a:pt x="8150891" y="6078415"/>
                  </a:cubicBezTo>
                  <a:lnTo>
                    <a:pt x="8150891" y="6058905"/>
                  </a:lnTo>
                  <a:cubicBezTo>
                    <a:pt x="8158239" y="6058736"/>
                    <a:pt x="8163455" y="6056709"/>
                    <a:pt x="8166538" y="6052823"/>
                  </a:cubicBezTo>
                  <a:cubicBezTo>
                    <a:pt x="8169620" y="6048938"/>
                    <a:pt x="8171162" y="6042519"/>
                    <a:pt x="8171162" y="6033566"/>
                  </a:cubicBezTo>
                  <a:lnTo>
                    <a:pt x="8171162" y="5998219"/>
                  </a:lnTo>
                  <a:cubicBezTo>
                    <a:pt x="8171162" y="5981073"/>
                    <a:pt x="8179482" y="5970642"/>
                    <a:pt x="8196121" y="5966925"/>
                  </a:cubicBezTo>
                  <a:lnTo>
                    <a:pt x="8196121" y="5966545"/>
                  </a:lnTo>
                  <a:cubicBezTo>
                    <a:pt x="8179482" y="5962575"/>
                    <a:pt x="8171162" y="5952060"/>
                    <a:pt x="8171162" y="5934999"/>
                  </a:cubicBezTo>
                  <a:lnTo>
                    <a:pt x="8171162" y="5899271"/>
                  </a:lnTo>
                  <a:cubicBezTo>
                    <a:pt x="8171162" y="5883477"/>
                    <a:pt x="8164405" y="5875410"/>
                    <a:pt x="8150891" y="5875073"/>
                  </a:cubicBezTo>
                  <a:close/>
                  <a:moveTo>
                    <a:pt x="8133407" y="5855435"/>
                  </a:moveTo>
                  <a:lnTo>
                    <a:pt x="8133407" y="5875073"/>
                  </a:lnTo>
                  <a:cubicBezTo>
                    <a:pt x="8119977" y="5875410"/>
                    <a:pt x="8113263" y="5883477"/>
                    <a:pt x="8113263" y="5899271"/>
                  </a:cubicBezTo>
                  <a:lnTo>
                    <a:pt x="8113263" y="5934999"/>
                  </a:lnTo>
                  <a:cubicBezTo>
                    <a:pt x="8113263" y="5952060"/>
                    <a:pt x="8104858" y="5962575"/>
                    <a:pt x="8088050" y="5966545"/>
                  </a:cubicBezTo>
                  <a:lnTo>
                    <a:pt x="8088050" y="5966925"/>
                  </a:lnTo>
                  <a:cubicBezTo>
                    <a:pt x="8104858" y="5970642"/>
                    <a:pt x="8113263" y="5981073"/>
                    <a:pt x="8113263" y="5998219"/>
                  </a:cubicBezTo>
                  <a:lnTo>
                    <a:pt x="8113263" y="6033566"/>
                  </a:lnTo>
                  <a:cubicBezTo>
                    <a:pt x="8113263" y="6042604"/>
                    <a:pt x="8114762" y="6049043"/>
                    <a:pt x="8117760" y="6052886"/>
                  </a:cubicBezTo>
                  <a:cubicBezTo>
                    <a:pt x="8120758" y="6056730"/>
                    <a:pt x="8125974" y="6058736"/>
                    <a:pt x="8133407" y="6058905"/>
                  </a:cubicBezTo>
                  <a:lnTo>
                    <a:pt x="8133407" y="6078415"/>
                  </a:lnTo>
                  <a:cubicBezTo>
                    <a:pt x="8103338" y="6078077"/>
                    <a:pt x="8088304" y="6065239"/>
                    <a:pt x="8088304" y="6039901"/>
                  </a:cubicBezTo>
                  <a:lnTo>
                    <a:pt x="8088304" y="6002526"/>
                  </a:lnTo>
                  <a:cubicBezTo>
                    <a:pt x="8088304" y="5985802"/>
                    <a:pt x="8081716" y="5977019"/>
                    <a:pt x="8068540" y="5976174"/>
                  </a:cubicBezTo>
                  <a:lnTo>
                    <a:pt x="8068540" y="5957677"/>
                  </a:lnTo>
                  <a:cubicBezTo>
                    <a:pt x="8081716" y="5956832"/>
                    <a:pt x="8088304" y="5947879"/>
                    <a:pt x="8088304" y="5930817"/>
                  </a:cubicBezTo>
                  <a:lnTo>
                    <a:pt x="8088304" y="5894457"/>
                  </a:lnTo>
                  <a:cubicBezTo>
                    <a:pt x="8088304" y="5868780"/>
                    <a:pt x="8103338" y="5855773"/>
                    <a:pt x="8133407" y="5855435"/>
                  </a:cubicBezTo>
                  <a:close/>
                  <a:moveTo>
                    <a:pt x="11191247" y="5500304"/>
                  </a:moveTo>
                  <a:cubicBezTo>
                    <a:pt x="11221147" y="5500642"/>
                    <a:pt x="11236096" y="5513649"/>
                    <a:pt x="11236096" y="5539326"/>
                  </a:cubicBezTo>
                  <a:lnTo>
                    <a:pt x="11236096" y="5575686"/>
                  </a:lnTo>
                  <a:cubicBezTo>
                    <a:pt x="11236096" y="5592748"/>
                    <a:pt x="11242642" y="5601701"/>
                    <a:pt x="11255734" y="5602546"/>
                  </a:cubicBezTo>
                  <a:lnTo>
                    <a:pt x="11255734" y="5621043"/>
                  </a:lnTo>
                  <a:cubicBezTo>
                    <a:pt x="11242642" y="5621888"/>
                    <a:pt x="11236096" y="5630671"/>
                    <a:pt x="11236096" y="5647395"/>
                  </a:cubicBezTo>
                  <a:lnTo>
                    <a:pt x="11236096" y="5684770"/>
                  </a:lnTo>
                  <a:cubicBezTo>
                    <a:pt x="11236096" y="5710108"/>
                    <a:pt x="11221147" y="5722946"/>
                    <a:pt x="11191247" y="5723284"/>
                  </a:cubicBezTo>
                  <a:lnTo>
                    <a:pt x="11191247" y="5703774"/>
                  </a:lnTo>
                  <a:cubicBezTo>
                    <a:pt x="11198595" y="5703605"/>
                    <a:pt x="11203811" y="5701578"/>
                    <a:pt x="11206894" y="5697692"/>
                  </a:cubicBezTo>
                  <a:cubicBezTo>
                    <a:pt x="11209976" y="5693807"/>
                    <a:pt x="11211518" y="5687388"/>
                    <a:pt x="11211518" y="5678435"/>
                  </a:cubicBezTo>
                  <a:lnTo>
                    <a:pt x="11211518" y="5643088"/>
                  </a:lnTo>
                  <a:cubicBezTo>
                    <a:pt x="11211518" y="5625942"/>
                    <a:pt x="11219838" y="5615511"/>
                    <a:pt x="11236477" y="5611794"/>
                  </a:cubicBezTo>
                  <a:lnTo>
                    <a:pt x="11236477" y="5611414"/>
                  </a:lnTo>
                  <a:cubicBezTo>
                    <a:pt x="11219838" y="5607444"/>
                    <a:pt x="11211518" y="5596929"/>
                    <a:pt x="11211518" y="5579868"/>
                  </a:cubicBezTo>
                  <a:lnTo>
                    <a:pt x="11211518" y="5544140"/>
                  </a:lnTo>
                  <a:cubicBezTo>
                    <a:pt x="11211518" y="5528346"/>
                    <a:pt x="11204761" y="5520279"/>
                    <a:pt x="11191247" y="5519942"/>
                  </a:cubicBezTo>
                  <a:close/>
                  <a:moveTo>
                    <a:pt x="11173763" y="5500304"/>
                  </a:moveTo>
                  <a:lnTo>
                    <a:pt x="11173763" y="5519942"/>
                  </a:lnTo>
                  <a:cubicBezTo>
                    <a:pt x="11160334" y="5520279"/>
                    <a:pt x="11153619" y="5528346"/>
                    <a:pt x="11153619" y="5544140"/>
                  </a:cubicBezTo>
                  <a:lnTo>
                    <a:pt x="11153619" y="5579868"/>
                  </a:lnTo>
                  <a:cubicBezTo>
                    <a:pt x="11153619" y="5596929"/>
                    <a:pt x="11145215" y="5607444"/>
                    <a:pt x="11128407" y="5611414"/>
                  </a:cubicBezTo>
                  <a:lnTo>
                    <a:pt x="11128407" y="5611794"/>
                  </a:lnTo>
                  <a:cubicBezTo>
                    <a:pt x="11145215" y="5615511"/>
                    <a:pt x="11153619" y="5625942"/>
                    <a:pt x="11153619" y="5643088"/>
                  </a:cubicBezTo>
                  <a:lnTo>
                    <a:pt x="11153619" y="5678435"/>
                  </a:lnTo>
                  <a:cubicBezTo>
                    <a:pt x="11153619" y="5687473"/>
                    <a:pt x="11155118" y="5693912"/>
                    <a:pt x="11158117" y="5697755"/>
                  </a:cubicBezTo>
                  <a:cubicBezTo>
                    <a:pt x="11161115" y="5701599"/>
                    <a:pt x="11166330" y="5703605"/>
                    <a:pt x="11173763" y="5703774"/>
                  </a:cubicBezTo>
                  <a:lnTo>
                    <a:pt x="11173763" y="5723284"/>
                  </a:lnTo>
                  <a:cubicBezTo>
                    <a:pt x="11143694" y="5722946"/>
                    <a:pt x="11128660" y="5710108"/>
                    <a:pt x="11128660" y="5684770"/>
                  </a:cubicBezTo>
                  <a:lnTo>
                    <a:pt x="11128660" y="5647395"/>
                  </a:lnTo>
                  <a:cubicBezTo>
                    <a:pt x="11128660" y="5630671"/>
                    <a:pt x="11122072" y="5621888"/>
                    <a:pt x="11108896" y="5621043"/>
                  </a:cubicBezTo>
                  <a:lnTo>
                    <a:pt x="11108896" y="5602546"/>
                  </a:lnTo>
                  <a:cubicBezTo>
                    <a:pt x="11122072" y="5601701"/>
                    <a:pt x="11128660" y="5592748"/>
                    <a:pt x="11128660" y="5575686"/>
                  </a:cubicBezTo>
                  <a:lnTo>
                    <a:pt x="11128660" y="5539326"/>
                  </a:lnTo>
                  <a:cubicBezTo>
                    <a:pt x="11128660" y="5513649"/>
                    <a:pt x="11143694" y="5500642"/>
                    <a:pt x="11173763" y="5500304"/>
                  </a:cubicBezTo>
                  <a:close/>
                  <a:moveTo>
                    <a:pt x="8150891" y="5500304"/>
                  </a:moveTo>
                  <a:cubicBezTo>
                    <a:pt x="8180791" y="5500642"/>
                    <a:pt x="8195740" y="5513649"/>
                    <a:pt x="8195740" y="5539326"/>
                  </a:cubicBezTo>
                  <a:lnTo>
                    <a:pt x="8195740" y="5575686"/>
                  </a:lnTo>
                  <a:cubicBezTo>
                    <a:pt x="8195740" y="5592748"/>
                    <a:pt x="8202286" y="5601701"/>
                    <a:pt x="8215378" y="5602546"/>
                  </a:cubicBezTo>
                  <a:lnTo>
                    <a:pt x="8215378" y="5621043"/>
                  </a:lnTo>
                  <a:cubicBezTo>
                    <a:pt x="8202286" y="5621888"/>
                    <a:pt x="8195740" y="5630671"/>
                    <a:pt x="8195740" y="5647395"/>
                  </a:cubicBezTo>
                  <a:lnTo>
                    <a:pt x="8195740" y="5684770"/>
                  </a:lnTo>
                  <a:cubicBezTo>
                    <a:pt x="8195740" y="5710108"/>
                    <a:pt x="8180791" y="5722946"/>
                    <a:pt x="8150891" y="5723284"/>
                  </a:cubicBezTo>
                  <a:lnTo>
                    <a:pt x="8150891" y="5703774"/>
                  </a:lnTo>
                  <a:cubicBezTo>
                    <a:pt x="8158239" y="5703605"/>
                    <a:pt x="8163455" y="5701578"/>
                    <a:pt x="8166538" y="5697692"/>
                  </a:cubicBezTo>
                  <a:cubicBezTo>
                    <a:pt x="8169620" y="5693807"/>
                    <a:pt x="8171162" y="5687388"/>
                    <a:pt x="8171162" y="5678435"/>
                  </a:cubicBezTo>
                  <a:lnTo>
                    <a:pt x="8171162" y="5643088"/>
                  </a:lnTo>
                  <a:cubicBezTo>
                    <a:pt x="8171162" y="5625942"/>
                    <a:pt x="8179482" y="5615511"/>
                    <a:pt x="8196121" y="5611794"/>
                  </a:cubicBezTo>
                  <a:lnTo>
                    <a:pt x="8196121" y="5611414"/>
                  </a:lnTo>
                  <a:cubicBezTo>
                    <a:pt x="8179482" y="5607444"/>
                    <a:pt x="8171162" y="5596929"/>
                    <a:pt x="8171162" y="5579868"/>
                  </a:cubicBezTo>
                  <a:lnTo>
                    <a:pt x="8171162" y="5544140"/>
                  </a:lnTo>
                  <a:cubicBezTo>
                    <a:pt x="8171162" y="5528346"/>
                    <a:pt x="8164405" y="5520279"/>
                    <a:pt x="8150891" y="5519942"/>
                  </a:cubicBezTo>
                  <a:close/>
                  <a:moveTo>
                    <a:pt x="8133407" y="5500304"/>
                  </a:moveTo>
                  <a:lnTo>
                    <a:pt x="8133407" y="5519942"/>
                  </a:lnTo>
                  <a:cubicBezTo>
                    <a:pt x="8119977" y="5520279"/>
                    <a:pt x="8113263" y="5528346"/>
                    <a:pt x="8113263" y="5544140"/>
                  </a:cubicBezTo>
                  <a:lnTo>
                    <a:pt x="8113263" y="5579868"/>
                  </a:lnTo>
                  <a:cubicBezTo>
                    <a:pt x="8113263" y="5596929"/>
                    <a:pt x="8104858" y="5607444"/>
                    <a:pt x="8088050" y="5611414"/>
                  </a:cubicBezTo>
                  <a:lnTo>
                    <a:pt x="8088050" y="5611794"/>
                  </a:lnTo>
                  <a:cubicBezTo>
                    <a:pt x="8104858" y="5615511"/>
                    <a:pt x="8113263" y="5625942"/>
                    <a:pt x="8113263" y="5643088"/>
                  </a:cubicBezTo>
                  <a:lnTo>
                    <a:pt x="8113263" y="5678435"/>
                  </a:lnTo>
                  <a:cubicBezTo>
                    <a:pt x="8113263" y="5687473"/>
                    <a:pt x="8114762" y="5693912"/>
                    <a:pt x="8117760" y="5697755"/>
                  </a:cubicBezTo>
                  <a:cubicBezTo>
                    <a:pt x="8120758" y="5701599"/>
                    <a:pt x="8125974" y="5703605"/>
                    <a:pt x="8133407" y="5703774"/>
                  </a:cubicBezTo>
                  <a:lnTo>
                    <a:pt x="8133407" y="5723284"/>
                  </a:lnTo>
                  <a:cubicBezTo>
                    <a:pt x="8103338" y="5722946"/>
                    <a:pt x="8088304" y="5710108"/>
                    <a:pt x="8088304" y="5684770"/>
                  </a:cubicBezTo>
                  <a:lnTo>
                    <a:pt x="8088304" y="5647395"/>
                  </a:lnTo>
                  <a:cubicBezTo>
                    <a:pt x="8088304" y="5630671"/>
                    <a:pt x="8081716" y="5621888"/>
                    <a:pt x="8068540" y="5621043"/>
                  </a:cubicBezTo>
                  <a:lnTo>
                    <a:pt x="8068540" y="5602546"/>
                  </a:lnTo>
                  <a:cubicBezTo>
                    <a:pt x="8081716" y="5601701"/>
                    <a:pt x="8088304" y="5592748"/>
                    <a:pt x="8088304" y="5575686"/>
                  </a:cubicBezTo>
                  <a:lnTo>
                    <a:pt x="8088304" y="5539326"/>
                  </a:lnTo>
                  <a:cubicBezTo>
                    <a:pt x="8088304" y="5513649"/>
                    <a:pt x="8103338" y="5500642"/>
                    <a:pt x="8133407" y="5500304"/>
                  </a:cubicBezTo>
                  <a:close/>
                  <a:moveTo>
                    <a:pt x="11191247" y="5162674"/>
                  </a:moveTo>
                  <a:cubicBezTo>
                    <a:pt x="11221147" y="5163012"/>
                    <a:pt x="11236096" y="5176019"/>
                    <a:pt x="11236096" y="5201695"/>
                  </a:cubicBezTo>
                  <a:lnTo>
                    <a:pt x="11236096" y="5238056"/>
                  </a:lnTo>
                  <a:cubicBezTo>
                    <a:pt x="11236096" y="5255118"/>
                    <a:pt x="11242642" y="5264070"/>
                    <a:pt x="11255734" y="5264915"/>
                  </a:cubicBezTo>
                  <a:lnTo>
                    <a:pt x="11255734" y="5283412"/>
                  </a:lnTo>
                  <a:cubicBezTo>
                    <a:pt x="11242642" y="5284257"/>
                    <a:pt x="11236096" y="5293041"/>
                    <a:pt x="11236096" y="5309765"/>
                  </a:cubicBezTo>
                  <a:lnTo>
                    <a:pt x="11236096" y="5347139"/>
                  </a:lnTo>
                  <a:cubicBezTo>
                    <a:pt x="11236096" y="5372478"/>
                    <a:pt x="11221147" y="5385316"/>
                    <a:pt x="11191247" y="5385654"/>
                  </a:cubicBezTo>
                  <a:lnTo>
                    <a:pt x="11191247" y="5366143"/>
                  </a:lnTo>
                  <a:cubicBezTo>
                    <a:pt x="11198595" y="5365974"/>
                    <a:pt x="11203811" y="5363947"/>
                    <a:pt x="11206894" y="5360062"/>
                  </a:cubicBezTo>
                  <a:cubicBezTo>
                    <a:pt x="11209976" y="5356176"/>
                    <a:pt x="11211518" y="5349757"/>
                    <a:pt x="11211518" y="5340805"/>
                  </a:cubicBezTo>
                  <a:lnTo>
                    <a:pt x="11211518" y="5305457"/>
                  </a:lnTo>
                  <a:cubicBezTo>
                    <a:pt x="11211518" y="5288311"/>
                    <a:pt x="11219838" y="5277880"/>
                    <a:pt x="11236477" y="5274164"/>
                  </a:cubicBezTo>
                  <a:lnTo>
                    <a:pt x="11236477" y="5273784"/>
                  </a:lnTo>
                  <a:cubicBezTo>
                    <a:pt x="11219838" y="5269814"/>
                    <a:pt x="11211518" y="5259299"/>
                    <a:pt x="11211518" y="5242237"/>
                  </a:cubicBezTo>
                  <a:lnTo>
                    <a:pt x="11211518" y="5206510"/>
                  </a:lnTo>
                  <a:cubicBezTo>
                    <a:pt x="11211518" y="5190715"/>
                    <a:pt x="11204761" y="5182649"/>
                    <a:pt x="11191247" y="5182311"/>
                  </a:cubicBezTo>
                  <a:close/>
                  <a:moveTo>
                    <a:pt x="11173763" y="5162674"/>
                  </a:moveTo>
                  <a:lnTo>
                    <a:pt x="11173763" y="5182311"/>
                  </a:lnTo>
                  <a:cubicBezTo>
                    <a:pt x="11160334" y="5182649"/>
                    <a:pt x="11153619" y="5190715"/>
                    <a:pt x="11153619" y="5206510"/>
                  </a:cubicBezTo>
                  <a:lnTo>
                    <a:pt x="11153619" y="5242237"/>
                  </a:lnTo>
                  <a:cubicBezTo>
                    <a:pt x="11153619" y="5259299"/>
                    <a:pt x="11145215" y="5269814"/>
                    <a:pt x="11128407" y="5273784"/>
                  </a:cubicBezTo>
                  <a:lnTo>
                    <a:pt x="11128407" y="5274164"/>
                  </a:lnTo>
                  <a:cubicBezTo>
                    <a:pt x="11145215" y="5277880"/>
                    <a:pt x="11153619" y="5288311"/>
                    <a:pt x="11153619" y="5305457"/>
                  </a:cubicBezTo>
                  <a:lnTo>
                    <a:pt x="11153619" y="5340805"/>
                  </a:lnTo>
                  <a:cubicBezTo>
                    <a:pt x="11153619" y="5349842"/>
                    <a:pt x="11155118" y="5356282"/>
                    <a:pt x="11158117" y="5360125"/>
                  </a:cubicBezTo>
                  <a:cubicBezTo>
                    <a:pt x="11161115" y="5363968"/>
                    <a:pt x="11166330" y="5365974"/>
                    <a:pt x="11173763" y="5366143"/>
                  </a:cubicBezTo>
                  <a:lnTo>
                    <a:pt x="11173763" y="5385654"/>
                  </a:lnTo>
                  <a:cubicBezTo>
                    <a:pt x="11143694" y="5385316"/>
                    <a:pt x="11128660" y="5372478"/>
                    <a:pt x="11128660" y="5347139"/>
                  </a:cubicBezTo>
                  <a:lnTo>
                    <a:pt x="11128660" y="5309765"/>
                  </a:lnTo>
                  <a:cubicBezTo>
                    <a:pt x="11128660" y="5293041"/>
                    <a:pt x="11122072" y="5284257"/>
                    <a:pt x="11108896" y="5283412"/>
                  </a:cubicBezTo>
                  <a:lnTo>
                    <a:pt x="11108896" y="5264915"/>
                  </a:lnTo>
                  <a:cubicBezTo>
                    <a:pt x="11122072" y="5264070"/>
                    <a:pt x="11128660" y="5255118"/>
                    <a:pt x="11128660" y="5238056"/>
                  </a:cubicBezTo>
                  <a:lnTo>
                    <a:pt x="11128660" y="5201695"/>
                  </a:lnTo>
                  <a:cubicBezTo>
                    <a:pt x="11128660" y="5176019"/>
                    <a:pt x="11143694" y="5163012"/>
                    <a:pt x="11173763" y="5162674"/>
                  </a:cubicBezTo>
                  <a:close/>
                  <a:moveTo>
                    <a:pt x="8150891" y="5162674"/>
                  </a:moveTo>
                  <a:cubicBezTo>
                    <a:pt x="8180791" y="5163012"/>
                    <a:pt x="8195740" y="5176019"/>
                    <a:pt x="8195740" y="5201696"/>
                  </a:cubicBezTo>
                  <a:lnTo>
                    <a:pt x="8195740" y="5238056"/>
                  </a:lnTo>
                  <a:cubicBezTo>
                    <a:pt x="8195740" y="5255118"/>
                    <a:pt x="8202286" y="5264071"/>
                    <a:pt x="8215378" y="5264916"/>
                  </a:cubicBezTo>
                  <a:lnTo>
                    <a:pt x="8215378" y="5283413"/>
                  </a:lnTo>
                  <a:cubicBezTo>
                    <a:pt x="8202286" y="5284258"/>
                    <a:pt x="8195740" y="5293041"/>
                    <a:pt x="8195740" y="5309765"/>
                  </a:cubicBezTo>
                  <a:lnTo>
                    <a:pt x="8195740" y="5347140"/>
                  </a:lnTo>
                  <a:cubicBezTo>
                    <a:pt x="8195740" y="5372478"/>
                    <a:pt x="8180791" y="5385316"/>
                    <a:pt x="8150891" y="5385654"/>
                  </a:cubicBezTo>
                  <a:lnTo>
                    <a:pt x="8150891" y="5366144"/>
                  </a:lnTo>
                  <a:cubicBezTo>
                    <a:pt x="8158239" y="5365975"/>
                    <a:pt x="8163455" y="5363948"/>
                    <a:pt x="8166538" y="5360062"/>
                  </a:cubicBezTo>
                  <a:cubicBezTo>
                    <a:pt x="8169620" y="5356177"/>
                    <a:pt x="8171162" y="5349758"/>
                    <a:pt x="8171162" y="5340805"/>
                  </a:cubicBezTo>
                  <a:lnTo>
                    <a:pt x="8171162" y="5305458"/>
                  </a:lnTo>
                  <a:cubicBezTo>
                    <a:pt x="8171162" y="5288312"/>
                    <a:pt x="8179482" y="5277881"/>
                    <a:pt x="8196121" y="5274164"/>
                  </a:cubicBezTo>
                  <a:lnTo>
                    <a:pt x="8196121" y="5273784"/>
                  </a:lnTo>
                  <a:cubicBezTo>
                    <a:pt x="8179482" y="5269814"/>
                    <a:pt x="8171162" y="5259299"/>
                    <a:pt x="8171162" y="5242238"/>
                  </a:cubicBezTo>
                  <a:lnTo>
                    <a:pt x="8171162" y="5206510"/>
                  </a:lnTo>
                  <a:cubicBezTo>
                    <a:pt x="8171162" y="5190716"/>
                    <a:pt x="8164405" y="5182649"/>
                    <a:pt x="8150891" y="5182312"/>
                  </a:cubicBezTo>
                  <a:close/>
                  <a:moveTo>
                    <a:pt x="8133407" y="5162674"/>
                  </a:moveTo>
                  <a:lnTo>
                    <a:pt x="8133407" y="5182312"/>
                  </a:lnTo>
                  <a:cubicBezTo>
                    <a:pt x="8119977" y="5182649"/>
                    <a:pt x="8113263" y="5190716"/>
                    <a:pt x="8113263" y="5206510"/>
                  </a:cubicBezTo>
                  <a:lnTo>
                    <a:pt x="8113263" y="5242238"/>
                  </a:lnTo>
                  <a:cubicBezTo>
                    <a:pt x="8113263" y="5259299"/>
                    <a:pt x="8104858" y="5269814"/>
                    <a:pt x="8088050" y="5273784"/>
                  </a:cubicBezTo>
                  <a:lnTo>
                    <a:pt x="8088050" y="5274164"/>
                  </a:lnTo>
                  <a:cubicBezTo>
                    <a:pt x="8104858" y="5277881"/>
                    <a:pt x="8113263" y="5288312"/>
                    <a:pt x="8113263" y="5305458"/>
                  </a:cubicBezTo>
                  <a:lnTo>
                    <a:pt x="8113263" y="5340805"/>
                  </a:lnTo>
                  <a:cubicBezTo>
                    <a:pt x="8113263" y="5349843"/>
                    <a:pt x="8114762" y="5356282"/>
                    <a:pt x="8117760" y="5360125"/>
                  </a:cubicBezTo>
                  <a:cubicBezTo>
                    <a:pt x="8120758" y="5363969"/>
                    <a:pt x="8125974" y="5365975"/>
                    <a:pt x="8133407" y="5366144"/>
                  </a:cubicBezTo>
                  <a:lnTo>
                    <a:pt x="8133407" y="5385654"/>
                  </a:lnTo>
                  <a:cubicBezTo>
                    <a:pt x="8103338" y="5385316"/>
                    <a:pt x="8088304" y="5372478"/>
                    <a:pt x="8088304" y="5347140"/>
                  </a:cubicBezTo>
                  <a:lnTo>
                    <a:pt x="8088304" y="5309765"/>
                  </a:lnTo>
                  <a:cubicBezTo>
                    <a:pt x="8088304" y="5293041"/>
                    <a:pt x="8081716" y="5284258"/>
                    <a:pt x="8068540" y="5283413"/>
                  </a:cubicBezTo>
                  <a:lnTo>
                    <a:pt x="8068540" y="5264916"/>
                  </a:lnTo>
                  <a:cubicBezTo>
                    <a:pt x="8081716" y="5264071"/>
                    <a:pt x="8088304" y="5255118"/>
                    <a:pt x="8088304" y="5238056"/>
                  </a:cubicBezTo>
                  <a:lnTo>
                    <a:pt x="8088304" y="5201696"/>
                  </a:lnTo>
                  <a:cubicBezTo>
                    <a:pt x="8088304" y="5176019"/>
                    <a:pt x="8103338" y="5163012"/>
                    <a:pt x="8133407" y="5162674"/>
                  </a:cubicBezTo>
                  <a:close/>
                  <a:moveTo>
                    <a:pt x="5096170" y="5162674"/>
                  </a:moveTo>
                  <a:cubicBezTo>
                    <a:pt x="5126070" y="5163012"/>
                    <a:pt x="5141019" y="5176019"/>
                    <a:pt x="5141019" y="5201696"/>
                  </a:cubicBezTo>
                  <a:lnTo>
                    <a:pt x="5141019" y="5238056"/>
                  </a:lnTo>
                  <a:cubicBezTo>
                    <a:pt x="5141019" y="5255118"/>
                    <a:pt x="5147565" y="5264071"/>
                    <a:pt x="5160658" y="5264916"/>
                  </a:cubicBezTo>
                  <a:lnTo>
                    <a:pt x="5160658" y="5283413"/>
                  </a:lnTo>
                  <a:cubicBezTo>
                    <a:pt x="5147565" y="5284258"/>
                    <a:pt x="5141019" y="5293041"/>
                    <a:pt x="5141019" y="5309765"/>
                  </a:cubicBezTo>
                  <a:lnTo>
                    <a:pt x="5141019" y="5347140"/>
                  </a:lnTo>
                  <a:cubicBezTo>
                    <a:pt x="5141019" y="5372478"/>
                    <a:pt x="5126070" y="5385316"/>
                    <a:pt x="5096170" y="5385654"/>
                  </a:cubicBezTo>
                  <a:lnTo>
                    <a:pt x="5096170" y="5366144"/>
                  </a:lnTo>
                  <a:cubicBezTo>
                    <a:pt x="5103519" y="5365975"/>
                    <a:pt x="5108733" y="5363948"/>
                    <a:pt x="5111817" y="5360062"/>
                  </a:cubicBezTo>
                  <a:cubicBezTo>
                    <a:pt x="5114899" y="5356177"/>
                    <a:pt x="5116441" y="5349758"/>
                    <a:pt x="5116441" y="5340805"/>
                  </a:cubicBezTo>
                  <a:lnTo>
                    <a:pt x="5116441" y="5305458"/>
                  </a:lnTo>
                  <a:cubicBezTo>
                    <a:pt x="5116441" y="5288312"/>
                    <a:pt x="5124760" y="5277881"/>
                    <a:pt x="5141399" y="5274164"/>
                  </a:cubicBezTo>
                  <a:lnTo>
                    <a:pt x="5141399" y="5273784"/>
                  </a:lnTo>
                  <a:cubicBezTo>
                    <a:pt x="5124760" y="5269814"/>
                    <a:pt x="5116441" y="5259299"/>
                    <a:pt x="5116441" y="5242238"/>
                  </a:cubicBezTo>
                  <a:lnTo>
                    <a:pt x="5116441" y="5206510"/>
                  </a:lnTo>
                  <a:cubicBezTo>
                    <a:pt x="5116441" y="5190716"/>
                    <a:pt x="5109684" y="5182649"/>
                    <a:pt x="5096170" y="5182312"/>
                  </a:cubicBezTo>
                  <a:close/>
                  <a:moveTo>
                    <a:pt x="5078686" y="5162674"/>
                  </a:moveTo>
                  <a:lnTo>
                    <a:pt x="5078686" y="5182312"/>
                  </a:lnTo>
                  <a:cubicBezTo>
                    <a:pt x="5065256" y="5182649"/>
                    <a:pt x="5058542" y="5190716"/>
                    <a:pt x="5058542" y="5206510"/>
                  </a:cubicBezTo>
                  <a:lnTo>
                    <a:pt x="5058542" y="5242238"/>
                  </a:lnTo>
                  <a:cubicBezTo>
                    <a:pt x="5058542" y="5259299"/>
                    <a:pt x="5050137" y="5269814"/>
                    <a:pt x="5033329" y="5273784"/>
                  </a:cubicBezTo>
                  <a:lnTo>
                    <a:pt x="5033329" y="5274164"/>
                  </a:lnTo>
                  <a:cubicBezTo>
                    <a:pt x="5050137" y="5277881"/>
                    <a:pt x="5058542" y="5288312"/>
                    <a:pt x="5058542" y="5305458"/>
                  </a:cubicBezTo>
                  <a:lnTo>
                    <a:pt x="5058542" y="5340805"/>
                  </a:lnTo>
                  <a:cubicBezTo>
                    <a:pt x="5058542" y="5349843"/>
                    <a:pt x="5060042" y="5356282"/>
                    <a:pt x="5063039" y="5360125"/>
                  </a:cubicBezTo>
                  <a:cubicBezTo>
                    <a:pt x="5066037" y="5363969"/>
                    <a:pt x="5071253" y="5365975"/>
                    <a:pt x="5078686" y="5366144"/>
                  </a:cubicBezTo>
                  <a:lnTo>
                    <a:pt x="5078686" y="5385654"/>
                  </a:lnTo>
                  <a:cubicBezTo>
                    <a:pt x="5048617" y="5385316"/>
                    <a:pt x="5033583" y="5372478"/>
                    <a:pt x="5033583" y="5347140"/>
                  </a:cubicBezTo>
                  <a:lnTo>
                    <a:pt x="5033583" y="5309765"/>
                  </a:lnTo>
                  <a:cubicBezTo>
                    <a:pt x="5033583" y="5293041"/>
                    <a:pt x="5026995" y="5284258"/>
                    <a:pt x="5013819" y="5283413"/>
                  </a:cubicBezTo>
                  <a:lnTo>
                    <a:pt x="5013819" y="5264916"/>
                  </a:lnTo>
                  <a:cubicBezTo>
                    <a:pt x="5026995" y="5264071"/>
                    <a:pt x="5033583" y="5255118"/>
                    <a:pt x="5033583" y="5238056"/>
                  </a:cubicBezTo>
                  <a:lnTo>
                    <a:pt x="5033583" y="5201696"/>
                  </a:lnTo>
                  <a:cubicBezTo>
                    <a:pt x="5033583" y="5176019"/>
                    <a:pt x="5048617" y="5163012"/>
                    <a:pt x="5078686" y="5162674"/>
                  </a:cubicBezTo>
                  <a:close/>
                  <a:moveTo>
                    <a:pt x="11191247" y="4849604"/>
                  </a:moveTo>
                  <a:cubicBezTo>
                    <a:pt x="11221147" y="4849942"/>
                    <a:pt x="11236096" y="4862949"/>
                    <a:pt x="11236096" y="4888625"/>
                  </a:cubicBezTo>
                  <a:lnTo>
                    <a:pt x="11236096" y="4924986"/>
                  </a:lnTo>
                  <a:cubicBezTo>
                    <a:pt x="11236096" y="4942048"/>
                    <a:pt x="11242642" y="4951000"/>
                    <a:pt x="11255734" y="4951845"/>
                  </a:cubicBezTo>
                  <a:lnTo>
                    <a:pt x="11255734" y="4970342"/>
                  </a:lnTo>
                  <a:cubicBezTo>
                    <a:pt x="11242642" y="4971187"/>
                    <a:pt x="11236096" y="4979971"/>
                    <a:pt x="11236096" y="4996695"/>
                  </a:cubicBezTo>
                  <a:lnTo>
                    <a:pt x="11236096" y="5034069"/>
                  </a:lnTo>
                  <a:cubicBezTo>
                    <a:pt x="11236096" y="5059408"/>
                    <a:pt x="11221147" y="5072246"/>
                    <a:pt x="11191247" y="5072584"/>
                  </a:cubicBezTo>
                  <a:lnTo>
                    <a:pt x="11191247" y="5053073"/>
                  </a:lnTo>
                  <a:cubicBezTo>
                    <a:pt x="11198595" y="5052904"/>
                    <a:pt x="11203811" y="5050877"/>
                    <a:pt x="11206894" y="5046992"/>
                  </a:cubicBezTo>
                  <a:cubicBezTo>
                    <a:pt x="11209976" y="5043106"/>
                    <a:pt x="11211518" y="5036687"/>
                    <a:pt x="11211518" y="5027735"/>
                  </a:cubicBezTo>
                  <a:lnTo>
                    <a:pt x="11211518" y="4992387"/>
                  </a:lnTo>
                  <a:cubicBezTo>
                    <a:pt x="11211518" y="4975241"/>
                    <a:pt x="11219838" y="4964810"/>
                    <a:pt x="11236477" y="4961094"/>
                  </a:cubicBezTo>
                  <a:lnTo>
                    <a:pt x="11236477" y="4960714"/>
                  </a:lnTo>
                  <a:cubicBezTo>
                    <a:pt x="11219838" y="4956744"/>
                    <a:pt x="11211518" y="4946229"/>
                    <a:pt x="11211518" y="4929167"/>
                  </a:cubicBezTo>
                  <a:lnTo>
                    <a:pt x="11211518" y="4893440"/>
                  </a:lnTo>
                  <a:cubicBezTo>
                    <a:pt x="11211518" y="4877645"/>
                    <a:pt x="11204761" y="4869579"/>
                    <a:pt x="11191247" y="4869241"/>
                  </a:cubicBezTo>
                  <a:close/>
                  <a:moveTo>
                    <a:pt x="11173763" y="4849604"/>
                  </a:moveTo>
                  <a:lnTo>
                    <a:pt x="11173763" y="4869241"/>
                  </a:lnTo>
                  <a:cubicBezTo>
                    <a:pt x="11160334" y="4869579"/>
                    <a:pt x="11153619" y="4877645"/>
                    <a:pt x="11153619" y="4893440"/>
                  </a:cubicBezTo>
                  <a:lnTo>
                    <a:pt x="11153619" y="4929167"/>
                  </a:lnTo>
                  <a:cubicBezTo>
                    <a:pt x="11153619" y="4946229"/>
                    <a:pt x="11145215" y="4956744"/>
                    <a:pt x="11128407" y="4960714"/>
                  </a:cubicBezTo>
                  <a:lnTo>
                    <a:pt x="11128407" y="4961094"/>
                  </a:lnTo>
                  <a:cubicBezTo>
                    <a:pt x="11145215" y="4964810"/>
                    <a:pt x="11153619" y="4975241"/>
                    <a:pt x="11153619" y="4992387"/>
                  </a:cubicBezTo>
                  <a:lnTo>
                    <a:pt x="11153619" y="5027735"/>
                  </a:lnTo>
                  <a:cubicBezTo>
                    <a:pt x="11153619" y="5036772"/>
                    <a:pt x="11155118" y="5043212"/>
                    <a:pt x="11158117" y="5047055"/>
                  </a:cubicBezTo>
                  <a:cubicBezTo>
                    <a:pt x="11161115" y="5050898"/>
                    <a:pt x="11166330" y="5052904"/>
                    <a:pt x="11173763" y="5053073"/>
                  </a:cubicBezTo>
                  <a:lnTo>
                    <a:pt x="11173763" y="5072584"/>
                  </a:lnTo>
                  <a:cubicBezTo>
                    <a:pt x="11143694" y="5072246"/>
                    <a:pt x="11128660" y="5059408"/>
                    <a:pt x="11128660" y="5034069"/>
                  </a:cubicBezTo>
                  <a:lnTo>
                    <a:pt x="11128660" y="4996695"/>
                  </a:lnTo>
                  <a:cubicBezTo>
                    <a:pt x="11128660" y="4979971"/>
                    <a:pt x="11122072" y="4971187"/>
                    <a:pt x="11108896" y="4970342"/>
                  </a:cubicBezTo>
                  <a:lnTo>
                    <a:pt x="11108896" y="4951845"/>
                  </a:lnTo>
                  <a:cubicBezTo>
                    <a:pt x="11122072" y="4951000"/>
                    <a:pt x="11128660" y="4942048"/>
                    <a:pt x="11128660" y="4924986"/>
                  </a:cubicBezTo>
                  <a:lnTo>
                    <a:pt x="11128660" y="4888625"/>
                  </a:lnTo>
                  <a:cubicBezTo>
                    <a:pt x="11128660" y="4862949"/>
                    <a:pt x="11143694" y="4849942"/>
                    <a:pt x="11173763" y="4849604"/>
                  </a:cubicBezTo>
                  <a:close/>
                  <a:moveTo>
                    <a:pt x="8150891" y="4849604"/>
                  </a:moveTo>
                  <a:cubicBezTo>
                    <a:pt x="8180791" y="4849942"/>
                    <a:pt x="8195740" y="4862949"/>
                    <a:pt x="8195740" y="4888626"/>
                  </a:cubicBezTo>
                  <a:lnTo>
                    <a:pt x="8195740" y="4924986"/>
                  </a:lnTo>
                  <a:cubicBezTo>
                    <a:pt x="8195740" y="4942048"/>
                    <a:pt x="8202286" y="4951001"/>
                    <a:pt x="8215378" y="4951846"/>
                  </a:cubicBezTo>
                  <a:lnTo>
                    <a:pt x="8215378" y="4970343"/>
                  </a:lnTo>
                  <a:cubicBezTo>
                    <a:pt x="8202286" y="4971188"/>
                    <a:pt x="8195740" y="4979971"/>
                    <a:pt x="8195740" y="4996695"/>
                  </a:cubicBezTo>
                  <a:lnTo>
                    <a:pt x="8195740" y="5034070"/>
                  </a:lnTo>
                  <a:cubicBezTo>
                    <a:pt x="8195740" y="5059408"/>
                    <a:pt x="8180791" y="5072246"/>
                    <a:pt x="8150891" y="5072584"/>
                  </a:cubicBezTo>
                  <a:lnTo>
                    <a:pt x="8150891" y="5053074"/>
                  </a:lnTo>
                  <a:cubicBezTo>
                    <a:pt x="8158239" y="5052905"/>
                    <a:pt x="8163455" y="5050878"/>
                    <a:pt x="8166538" y="5046992"/>
                  </a:cubicBezTo>
                  <a:cubicBezTo>
                    <a:pt x="8169620" y="5043107"/>
                    <a:pt x="8171162" y="5036688"/>
                    <a:pt x="8171162" y="5027735"/>
                  </a:cubicBezTo>
                  <a:lnTo>
                    <a:pt x="8171162" y="4992388"/>
                  </a:lnTo>
                  <a:cubicBezTo>
                    <a:pt x="8171162" y="4975242"/>
                    <a:pt x="8179482" y="4964811"/>
                    <a:pt x="8196121" y="4961094"/>
                  </a:cubicBezTo>
                  <a:lnTo>
                    <a:pt x="8196121" y="4960714"/>
                  </a:lnTo>
                  <a:cubicBezTo>
                    <a:pt x="8179482" y="4956744"/>
                    <a:pt x="8171162" y="4946229"/>
                    <a:pt x="8171162" y="4929168"/>
                  </a:cubicBezTo>
                  <a:lnTo>
                    <a:pt x="8171162" y="4893440"/>
                  </a:lnTo>
                  <a:cubicBezTo>
                    <a:pt x="8171162" y="4877646"/>
                    <a:pt x="8164405" y="4869579"/>
                    <a:pt x="8150891" y="4869242"/>
                  </a:cubicBezTo>
                  <a:close/>
                  <a:moveTo>
                    <a:pt x="8133407" y="4849604"/>
                  </a:moveTo>
                  <a:lnTo>
                    <a:pt x="8133407" y="4869242"/>
                  </a:lnTo>
                  <a:cubicBezTo>
                    <a:pt x="8119977" y="4869579"/>
                    <a:pt x="8113263" y="4877646"/>
                    <a:pt x="8113263" y="4893440"/>
                  </a:cubicBezTo>
                  <a:lnTo>
                    <a:pt x="8113263" y="4929168"/>
                  </a:lnTo>
                  <a:cubicBezTo>
                    <a:pt x="8113263" y="4946229"/>
                    <a:pt x="8104858" y="4956744"/>
                    <a:pt x="8088050" y="4960714"/>
                  </a:cubicBezTo>
                  <a:lnTo>
                    <a:pt x="8088050" y="4961094"/>
                  </a:lnTo>
                  <a:cubicBezTo>
                    <a:pt x="8104858" y="4964811"/>
                    <a:pt x="8113263" y="4975242"/>
                    <a:pt x="8113263" y="4992388"/>
                  </a:cubicBezTo>
                  <a:lnTo>
                    <a:pt x="8113263" y="5027735"/>
                  </a:lnTo>
                  <a:cubicBezTo>
                    <a:pt x="8113263" y="5036773"/>
                    <a:pt x="8114762" y="5043212"/>
                    <a:pt x="8117760" y="5047055"/>
                  </a:cubicBezTo>
                  <a:cubicBezTo>
                    <a:pt x="8120758" y="5050899"/>
                    <a:pt x="8125974" y="5052905"/>
                    <a:pt x="8133407" y="5053074"/>
                  </a:cubicBezTo>
                  <a:lnTo>
                    <a:pt x="8133407" y="5072584"/>
                  </a:lnTo>
                  <a:cubicBezTo>
                    <a:pt x="8103338" y="5072246"/>
                    <a:pt x="8088304" y="5059408"/>
                    <a:pt x="8088304" y="5034070"/>
                  </a:cubicBezTo>
                  <a:lnTo>
                    <a:pt x="8088304" y="4996695"/>
                  </a:lnTo>
                  <a:cubicBezTo>
                    <a:pt x="8088304" y="4979971"/>
                    <a:pt x="8081716" y="4971188"/>
                    <a:pt x="8068540" y="4970343"/>
                  </a:cubicBezTo>
                  <a:lnTo>
                    <a:pt x="8068540" y="4951846"/>
                  </a:lnTo>
                  <a:cubicBezTo>
                    <a:pt x="8081716" y="4951001"/>
                    <a:pt x="8088304" y="4942048"/>
                    <a:pt x="8088304" y="4924986"/>
                  </a:cubicBezTo>
                  <a:lnTo>
                    <a:pt x="8088304" y="4888626"/>
                  </a:lnTo>
                  <a:cubicBezTo>
                    <a:pt x="8088304" y="4862949"/>
                    <a:pt x="8103338" y="4849942"/>
                    <a:pt x="8133407" y="4849604"/>
                  </a:cubicBezTo>
                  <a:close/>
                  <a:moveTo>
                    <a:pt x="5096170" y="4849604"/>
                  </a:moveTo>
                  <a:cubicBezTo>
                    <a:pt x="5126070" y="4849942"/>
                    <a:pt x="5141019" y="4862949"/>
                    <a:pt x="5141019" y="4888626"/>
                  </a:cubicBezTo>
                  <a:lnTo>
                    <a:pt x="5141019" y="4924986"/>
                  </a:lnTo>
                  <a:cubicBezTo>
                    <a:pt x="5141019" y="4942048"/>
                    <a:pt x="5147565" y="4951001"/>
                    <a:pt x="5160658" y="4951846"/>
                  </a:cubicBezTo>
                  <a:lnTo>
                    <a:pt x="5160658" y="4970343"/>
                  </a:lnTo>
                  <a:cubicBezTo>
                    <a:pt x="5147565" y="4971188"/>
                    <a:pt x="5141019" y="4979971"/>
                    <a:pt x="5141019" y="4996695"/>
                  </a:cubicBezTo>
                  <a:lnTo>
                    <a:pt x="5141019" y="5034070"/>
                  </a:lnTo>
                  <a:cubicBezTo>
                    <a:pt x="5141019" y="5059408"/>
                    <a:pt x="5126070" y="5072246"/>
                    <a:pt x="5096170" y="5072584"/>
                  </a:cubicBezTo>
                  <a:lnTo>
                    <a:pt x="5096170" y="5053074"/>
                  </a:lnTo>
                  <a:cubicBezTo>
                    <a:pt x="5103519" y="5052905"/>
                    <a:pt x="5108733" y="5050878"/>
                    <a:pt x="5111817" y="5046992"/>
                  </a:cubicBezTo>
                  <a:cubicBezTo>
                    <a:pt x="5114899" y="5043107"/>
                    <a:pt x="5116441" y="5036688"/>
                    <a:pt x="5116441" y="5027735"/>
                  </a:cubicBezTo>
                  <a:lnTo>
                    <a:pt x="5116441" y="4992388"/>
                  </a:lnTo>
                  <a:cubicBezTo>
                    <a:pt x="5116441" y="4975242"/>
                    <a:pt x="5124760" y="4964811"/>
                    <a:pt x="5141399" y="4961094"/>
                  </a:cubicBezTo>
                  <a:lnTo>
                    <a:pt x="5141399" y="4960714"/>
                  </a:lnTo>
                  <a:cubicBezTo>
                    <a:pt x="5124760" y="4956744"/>
                    <a:pt x="5116441" y="4946229"/>
                    <a:pt x="5116441" y="4929168"/>
                  </a:cubicBezTo>
                  <a:lnTo>
                    <a:pt x="5116441" y="4893440"/>
                  </a:lnTo>
                  <a:cubicBezTo>
                    <a:pt x="5116441" y="4877646"/>
                    <a:pt x="5109684" y="4869579"/>
                    <a:pt x="5096170" y="4869242"/>
                  </a:cubicBezTo>
                  <a:close/>
                  <a:moveTo>
                    <a:pt x="5078686" y="4849604"/>
                  </a:moveTo>
                  <a:lnTo>
                    <a:pt x="5078686" y="4869242"/>
                  </a:lnTo>
                  <a:cubicBezTo>
                    <a:pt x="5065256" y="4869579"/>
                    <a:pt x="5058542" y="4877646"/>
                    <a:pt x="5058542" y="4893440"/>
                  </a:cubicBezTo>
                  <a:lnTo>
                    <a:pt x="5058542" y="4929168"/>
                  </a:lnTo>
                  <a:cubicBezTo>
                    <a:pt x="5058542" y="4946229"/>
                    <a:pt x="5050137" y="4956744"/>
                    <a:pt x="5033329" y="4960714"/>
                  </a:cubicBezTo>
                  <a:lnTo>
                    <a:pt x="5033329" y="4961094"/>
                  </a:lnTo>
                  <a:cubicBezTo>
                    <a:pt x="5050137" y="4964811"/>
                    <a:pt x="5058542" y="4975242"/>
                    <a:pt x="5058542" y="4992388"/>
                  </a:cubicBezTo>
                  <a:lnTo>
                    <a:pt x="5058542" y="5027735"/>
                  </a:lnTo>
                  <a:cubicBezTo>
                    <a:pt x="5058542" y="5036773"/>
                    <a:pt x="5060042" y="5043212"/>
                    <a:pt x="5063039" y="5047055"/>
                  </a:cubicBezTo>
                  <a:cubicBezTo>
                    <a:pt x="5066037" y="5050899"/>
                    <a:pt x="5071253" y="5052905"/>
                    <a:pt x="5078686" y="5053074"/>
                  </a:cubicBezTo>
                  <a:lnTo>
                    <a:pt x="5078686" y="5072584"/>
                  </a:lnTo>
                  <a:cubicBezTo>
                    <a:pt x="5048617" y="5072246"/>
                    <a:pt x="5033583" y="5059408"/>
                    <a:pt x="5033583" y="5034070"/>
                  </a:cubicBezTo>
                  <a:lnTo>
                    <a:pt x="5033583" y="4996695"/>
                  </a:lnTo>
                  <a:cubicBezTo>
                    <a:pt x="5033583" y="4979971"/>
                    <a:pt x="5026995" y="4971188"/>
                    <a:pt x="5013819" y="4970343"/>
                  </a:cubicBezTo>
                  <a:lnTo>
                    <a:pt x="5013819" y="4951846"/>
                  </a:lnTo>
                  <a:cubicBezTo>
                    <a:pt x="5026995" y="4951001"/>
                    <a:pt x="5033583" y="4942048"/>
                    <a:pt x="5033583" y="4924986"/>
                  </a:cubicBezTo>
                  <a:lnTo>
                    <a:pt x="5033583" y="4888626"/>
                  </a:lnTo>
                  <a:cubicBezTo>
                    <a:pt x="5033583" y="4862949"/>
                    <a:pt x="5048617" y="4849942"/>
                    <a:pt x="5078686" y="4849604"/>
                  </a:cubicBezTo>
                  <a:close/>
                  <a:moveTo>
                    <a:pt x="2067894" y="4849604"/>
                  </a:moveTo>
                  <a:cubicBezTo>
                    <a:pt x="2097794" y="4849942"/>
                    <a:pt x="2112743" y="4862949"/>
                    <a:pt x="2112743" y="4888626"/>
                  </a:cubicBezTo>
                  <a:lnTo>
                    <a:pt x="2112743" y="4924986"/>
                  </a:lnTo>
                  <a:cubicBezTo>
                    <a:pt x="2112743" y="4942048"/>
                    <a:pt x="2119289" y="4951001"/>
                    <a:pt x="2132381" y="4951846"/>
                  </a:cubicBezTo>
                  <a:lnTo>
                    <a:pt x="2132381" y="4970343"/>
                  </a:lnTo>
                  <a:cubicBezTo>
                    <a:pt x="2119289" y="4971188"/>
                    <a:pt x="2112743" y="4979971"/>
                    <a:pt x="2112743" y="4996695"/>
                  </a:cubicBezTo>
                  <a:lnTo>
                    <a:pt x="2112743" y="5034070"/>
                  </a:lnTo>
                  <a:cubicBezTo>
                    <a:pt x="2112743" y="5059408"/>
                    <a:pt x="2097794" y="5072246"/>
                    <a:pt x="2067894" y="5072584"/>
                  </a:cubicBezTo>
                  <a:lnTo>
                    <a:pt x="2067894" y="5053074"/>
                  </a:lnTo>
                  <a:cubicBezTo>
                    <a:pt x="2075242" y="5052905"/>
                    <a:pt x="2080458" y="5050878"/>
                    <a:pt x="2083541" y="5046992"/>
                  </a:cubicBezTo>
                  <a:cubicBezTo>
                    <a:pt x="2086624" y="5043107"/>
                    <a:pt x="2088165" y="5036688"/>
                    <a:pt x="2088165" y="5027735"/>
                  </a:cubicBezTo>
                  <a:lnTo>
                    <a:pt x="2088165" y="4992388"/>
                  </a:lnTo>
                  <a:cubicBezTo>
                    <a:pt x="2088165" y="4975242"/>
                    <a:pt x="2096485" y="4964811"/>
                    <a:pt x="2113123" y="4961094"/>
                  </a:cubicBezTo>
                  <a:lnTo>
                    <a:pt x="2113123" y="4960714"/>
                  </a:lnTo>
                  <a:cubicBezTo>
                    <a:pt x="2096485" y="4956744"/>
                    <a:pt x="2088165" y="4946229"/>
                    <a:pt x="2088165" y="4929168"/>
                  </a:cubicBezTo>
                  <a:lnTo>
                    <a:pt x="2088165" y="4893440"/>
                  </a:lnTo>
                  <a:cubicBezTo>
                    <a:pt x="2088165" y="4877646"/>
                    <a:pt x="2081408" y="4869579"/>
                    <a:pt x="2067894" y="4869242"/>
                  </a:cubicBezTo>
                  <a:close/>
                  <a:moveTo>
                    <a:pt x="2050410" y="4849604"/>
                  </a:moveTo>
                  <a:lnTo>
                    <a:pt x="2050410" y="4869242"/>
                  </a:lnTo>
                  <a:cubicBezTo>
                    <a:pt x="2036981" y="4869579"/>
                    <a:pt x="2030266" y="4877646"/>
                    <a:pt x="2030266" y="4893440"/>
                  </a:cubicBezTo>
                  <a:lnTo>
                    <a:pt x="2030266" y="4929168"/>
                  </a:lnTo>
                  <a:cubicBezTo>
                    <a:pt x="2030266" y="4946229"/>
                    <a:pt x="2021862" y="4956744"/>
                    <a:pt x="2005053" y="4960714"/>
                  </a:cubicBezTo>
                  <a:lnTo>
                    <a:pt x="2005053" y="4961094"/>
                  </a:lnTo>
                  <a:cubicBezTo>
                    <a:pt x="2021862" y="4964811"/>
                    <a:pt x="2030266" y="4975242"/>
                    <a:pt x="2030266" y="4992388"/>
                  </a:cubicBezTo>
                  <a:lnTo>
                    <a:pt x="2030266" y="5027735"/>
                  </a:lnTo>
                  <a:cubicBezTo>
                    <a:pt x="2030266" y="5036773"/>
                    <a:pt x="2031765" y="5043212"/>
                    <a:pt x="2034764" y="5047055"/>
                  </a:cubicBezTo>
                  <a:cubicBezTo>
                    <a:pt x="2037762" y="5050899"/>
                    <a:pt x="2042978" y="5052905"/>
                    <a:pt x="2050410" y="5053074"/>
                  </a:cubicBezTo>
                  <a:lnTo>
                    <a:pt x="2050410" y="5072584"/>
                  </a:lnTo>
                  <a:cubicBezTo>
                    <a:pt x="2020341" y="5072246"/>
                    <a:pt x="2005307" y="5059408"/>
                    <a:pt x="2005307" y="5034070"/>
                  </a:cubicBezTo>
                  <a:lnTo>
                    <a:pt x="2005307" y="4996695"/>
                  </a:lnTo>
                  <a:cubicBezTo>
                    <a:pt x="2005307" y="4979971"/>
                    <a:pt x="1998718" y="4971188"/>
                    <a:pt x="1985542" y="4970343"/>
                  </a:cubicBezTo>
                  <a:lnTo>
                    <a:pt x="1985542" y="4951846"/>
                  </a:lnTo>
                  <a:cubicBezTo>
                    <a:pt x="1998718" y="4951001"/>
                    <a:pt x="2005307" y="4942048"/>
                    <a:pt x="2005307" y="4924986"/>
                  </a:cubicBezTo>
                  <a:lnTo>
                    <a:pt x="2005307" y="4888626"/>
                  </a:lnTo>
                  <a:cubicBezTo>
                    <a:pt x="2005307" y="4862949"/>
                    <a:pt x="2020341" y="4849942"/>
                    <a:pt x="2050410" y="4849604"/>
                  </a:cubicBezTo>
                  <a:close/>
                  <a:moveTo>
                    <a:pt x="11192939" y="4509400"/>
                  </a:moveTo>
                  <a:cubicBezTo>
                    <a:pt x="11222839" y="4509738"/>
                    <a:pt x="11237788" y="4522745"/>
                    <a:pt x="11237788" y="4548421"/>
                  </a:cubicBezTo>
                  <a:lnTo>
                    <a:pt x="11237788" y="4584782"/>
                  </a:lnTo>
                  <a:cubicBezTo>
                    <a:pt x="11237788" y="4601844"/>
                    <a:pt x="11244334" y="4610796"/>
                    <a:pt x="11257426" y="4611641"/>
                  </a:cubicBezTo>
                  <a:lnTo>
                    <a:pt x="11257426" y="4630138"/>
                  </a:lnTo>
                  <a:cubicBezTo>
                    <a:pt x="11244334" y="4630983"/>
                    <a:pt x="11237788" y="4639767"/>
                    <a:pt x="11237788" y="4656491"/>
                  </a:cubicBezTo>
                  <a:lnTo>
                    <a:pt x="11237788" y="4693865"/>
                  </a:lnTo>
                  <a:cubicBezTo>
                    <a:pt x="11237788" y="4719204"/>
                    <a:pt x="11222839" y="4732042"/>
                    <a:pt x="11192939" y="4732380"/>
                  </a:cubicBezTo>
                  <a:lnTo>
                    <a:pt x="11192939" y="4712869"/>
                  </a:lnTo>
                  <a:cubicBezTo>
                    <a:pt x="11200287" y="4712700"/>
                    <a:pt x="11205503" y="4710673"/>
                    <a:pt x="11208586" y="4706788"/>
                  </a:cubicBezTo>
                  <a:cubicBezTo>
                    <a:pt x="11211668" y="4702902"/>
                    <a:pt x="11213210" y="4696483"/>
                    <a:pt x="11213210" y="4687531"/>
                  </a:cubicBezTo>
                  <a:lnTo>
                    <a:pt x="11213210" y="4652183"/>
                  </a:lnTo>
                  <a:cubicBezTo>
                    <a:pt x="11213210" y="4635037"/>
                    <a:pt x="11221530" y="4624606"/>
                    <a:pt x="11238169" y="4620890"/>
                  </a:cubicBezTo>
                  <a:lnTo>
                    <a:pt x="11238169" y="4620510"/>
                  </a:lnTo>
                  <a:cubicBezTo>
                    <a:pt x="11221530" y="4616540"/>
                    <a:pt x="11213210" y="4606025"/>
                    <a:pt x="11213210" y="4588963"/>
                  </a:cubicBezTo>
                  <a:lnTo>
                    <a:pt x="11213210" y="4553236"/>
                  </a:lnTo>
                  <a:cubicBezTo>
                    <a:pt x="11213210" y="4537441"/>
                    <a:pt x="11206453" y="4529375"/>
                    <a:pt x="11192939" y="4529037"/>
                  </a:cubicBezTo>
                  <a:close/>
                  <a:moveTo>
                    <a:pt x="11175455" y="4509400"/>
                  </a:moveTo>
                  <a:lnTo>
                    <a:pt x="11175455" y="4529037"/>
                  </a:lnTo>
                  <a:cubicBezTo>
                    <a:pt x="11162026" y="4529375"/>
                    <a:pt x="11155311" y="4537441"/>
                    <a:pt x="11155311" y="4553236"/>
                  </a:cubicBezTo>
                  <a:lnTo>
                    <a:pt x="11155311" y="4588963"/>
                  </a:lnTo>
                  <a:cubicBezTo>
                    <a:pt x="11155311" y="4606025"/>
                    <a:pt x="11146907" y="4616540"/>
                    <a:pt x="11130099" y="4620510"/>
                  </a:cubicBezTo>
                  <a:lnTo>
                    <a:pt x="11130099" y="4620890"/>
                  </a:lnTo>
                  <a:cubicBezTo>
                    <a:pt x="11146907" y="4624606"/>
                    <a:pt x="11155311" y="4635037"/>
                    <a:pt x="11155311" y="4652183"/>
                  </a:cubicBezTo>
                  <a:lnTo>
                    <a:pt x="11155311" y="4687531"/>
                  </a:lnTo>
                  <a:cubicBezTo>
                    <a:pt x="11155311" y="4696568"/>
                    <a:pt x="11156810" y="4703008"/>
                    <a:pt x="11159809" y="4706851"/>
                  </a:cubicBezTo>
                  <a:cubicBezTo>
                    <a:pt x="11162807" y="4710694"/>
                    <a:pt x="11168022" y="4712700"/>
                    <a:pt x="11175455" y="4712869"/>
                  </a:cubicBezTo>
                  <a:lnTo>
                    <a:pt x="11175455" y="4732380"/>
                  </a:lnTo>
                  <a:cubicBezTo>
                    <a:pt x="11145386" y="4732042"/>
                    <a:pt x="11130352" y="4719204"/>
                    <a:pt x="11130352" y="4693865"/>
                  </a:cubicBezTo>
                  <a:lnTo>
                    <a:pt x="11130352" y="4656491"/>
                  </a:lnTo>
                  <a:cubicBezTo>
                    <a:pt x="11130352" y="4639767"/>
                    <a:pt x="11123764" y="4630983"/>
                    <a:pt x="11110588" y="4630138"/>
                  </a:cubicBezTo>
                  <a:lnTo>
                    <a:pt x="11110588" y="4611641"/>
                  </a:lnTo>
                  <a:cubicBezTo>
                    <a:pt x="11123764" y="4610796"/>
                    <a:pt x="11130352" y="4601844"/>
                    <a:pt x="11130352" y="4584782"/>
                  </a:cubicBezTo>
                  <a:lnTo>
                    <a:pt x="11130352" y="4548421"/>
                  </a:lnTo>
                  <a:cubicBezTo>
                    <a:pt x="11130352" y="4522745"/>
                    <a:pt x="11145386" y="4509738"/>
                    <a:pt x="11175455" y="4509400"/>
                  </a:cubicBezTo>
                  <a:close/>
                  <a:moveTo>
                    <a:pt x="8152583" y="4509400"/>
                  </a:moveTo>
                  <a:cubicBezTo>
                    <a:pt x="8182483" y="4509738"/>
                    <a:pt x="8197432" y="4522745"/>
                    <a:pt x="8197432" y="4548422"/>
                  </a:cubicBezTo>
                  <a:lnTo>
                    <a:pt x="8197432" y="4584782"/>
                  </a:lnTo>
                  <a:cubicBezTo>
                    <a:pt x="8197432" y="4601844"/>
                    <a:pt x="8203978" y="4610797"/>
                    <a:pt x="8217070" y="4611642"/>
                  </a:cubicBezTo>
                  <a:lnTo>
                    <a:pt x="8217070" y="4630139"/>
                  </a:lnTo>
                  <a:cubicBezTo>
                    <a:pt x="8203978" y="4630984"/>
                    <a:pt x="8197432" y="4639767"/>
                    <a:pt x="8197432" y="4656491"/>
                  </a:cubicBezTo>
                  <a:lnTo>
                    <a:pt x="8197432" y="4693866"/>
                  </a:lnTo>
                  <a:cubicBezTo>
                    <a:pt x="8197432" y="4719204"/>
                    <a:pt x="8182483" y="4732042"/>
                    <a:pt x="8152583" y="4732380"/>
                  </a:cubicBezTo>
                  <a:lnTo>
                    <a:pt x="8152583" y="4712870"/>
                  </a:lnTo>
                  <a:cubicBezTo>
                    <a:pt x="8159931" y="4712701"/>
                    <a:pt x="8165147" y="4710674"/>
                    <a:pt x="8168230" y="4706788"/>
                  </a:cubicBezTo>
                  <a:cubicBezTo>
                    <a:pt x="8171312" y="4702903"/>
                    <a:pt x="8172854" y="4696484"/>
                    <a:pt x="8172854" y="4687531"/>
                  </a:cubicBezTo>
                  <a:lnTo>
                    <a:pt x="8172854" y="4652184"/>
                  </a:lnTo>
                  <a:cubicBezTo>
                    <a:pt x="8172854" y="4635038"/>
                    <a:pt x="8181174" y="4624607"/>
                    <a:pt x="8197813" y="4620890"/>
                  </a:cubicBezTo>
                  <a:lnTo>
                    <a:pt x="8197813" y="4620510"/>
                  </a:lnTo>
                  <a:cubicBezTo>
                    <a:pt x="8181174" y="4616540"/>
                    <a:pt x="8172854" y="4606025"/>
                    <a:pt x="8172854" y="4588964"/>
                  </a:cubicBezTo>
                  <a:lnTo>
                    <a:pt x="8172854" y="4553236"/>
                  </a:lnTo>
                  <a:cubicBezTo>
                    <a:pt x="8172854" y="4537442"/>
                    <a:pt x="8166097" y="4529375"/>
                    <a:pt x="8152583" y="4529038"/>
                  </a:cubicBezTo>
                  <a:close/>
                  <a:moveTo>
                    <a:pt x="8135099" y="4509400"/>
                  </a:moveTo>
                  <a:lnTo>
                    <a:pt x="8135099" y="4529038"/>
                  </a:lnTo>
                  <a:cubicBezTo>
                    <a:pt x="8121669" y="4529375"/>
                    <a:pt x="8114955" y="4537442"/>
                    <a:pt x="8114955" y="4553236"/>
                  </a:cubicBezTo>
                  <a:lnTo>
                    <a:pt x="8114955" y="4588964"/>
                  </a:lnTo>
                  <a:cubicBezTo>
                    <a:pt x="8114955" y="4606025"/>
                    <a:pt x="8106550" y="4616540"/>
                    <a:pt x="8089742" y="4620510"/>
                  </a:cubicBezTo>
                  <a:lnTo>
                    <a:pt x="8089742" y="4620890"/>
                  </a:lnTo>
                  <a:cubicBezTo>
                    <a:pt x="8106550" y="4624607"/>
                    <a:pt x="8114955" y="4635038"/>
                    <a:pt x="8114955" y="4652184"/>
                  </a:cubicBezTo>
                  <a:lnTo>
                    <a:pt x="8114955" y="4687531"/>
                  </a:lnTo>
                  <a:cubicBezTo>
                    <a:pt x="8114955" y="4696569"/>
                    <a:pt x="8116454" y="4703008"/>
                    <a:pt x="8119452" y="4706851"/>
                  </a:cubicBezTo>
                  <a:cubicBezTo>
                    <a:pt x="8122450" y="4710695"/>
                    <a:pt x="8127666" y="4712701"/>
                    <a:pt x="8135099" y="4712870"/>
                  </a:cubicBezTo>
                  <a:lnTo>
                    <a:pt x="8135099" y="4732380"/>
                  </a:lnTo>
                  <a:cubicBezTo>
                    <a:pt x="8105030" y="4732042"/>
                    <a:pt x="8089996" y="4719204"/>
                    <a:pt x="8089996" y="4693866"/>
                  </a:cubicBezTo>
                  <a:lnTo>
                    <a:pt x="8089996" y="4656491"/>
                  </a:lnTo>
                  <a:cubicBezTo>
                    <a:pt x="8089996" y="4639767"/>
                    <a:pt x="8083408" y="4630984"/>
                    <a:pt x="8070232" y="4630139"/>
                  </a:cubicBezTo>
                  <a:lnTo>
                    <a:pt x="8070232" y="4611642"/>
                  </a:lnTo>
                  <a:cubicBezTo>
                    <a:pt x="8083408" y="4610797"/>
                    <a:pt x="8089996" y="4601844"/>
                    <a:pt x="8089996" y="4584782"/>
                  </a:cubicBezTo>
                  <a:lnTo>
                    <a:pt x="8089996" y="4548422"/>
                  </a:lnTo>
                  <a:cubicBezTo>
                    <a:pt x="8089996" y="4522745"/>
                    <a:pt x="8105030" y="4509738"/>
                    <a:pt x="8135099" y="4509400"/>
                  </a:cubicBezTo>
                  <a:close/>
                  <a:moveTo>
                    <a:pt x="5097862" y="4509400"/>
                  </a:moveTo>
                  <a:cubicBezTo>
                    <a:pt x="5127762" y="4509738"/>
                    <a:pt x="5142711" y="4522745"/>
                    <a:pt x="5142711" y="4548422"/>
                  </a:cubicBezTo>
                  <a:lnTo>
                    <a:pt x="5142711" y="4584782"/>
                  </a:lnTo>
                  <a:cubicBezTo>
                    <a:pt x="5142711" y="4601844"/>
                    <a:pt x="5149258" y="4610797"/>
                    <a:pt x="5162349" y="4611642"/>
                  </a:cubicBezTo>
                  <a:lnTo>
                    <a:pt x="5162349" y="4630139"/>
                  </a:lnTo>
                  <a:cubicBezTo>
                    <a:pt x="5149258" y="4630984"/>
                    <a:pt x="5142711" y="4639767"/>
                    <a:pt x="5142711" y="4656491"/>
                  </a:cubicBezTo>
                  <a:lnTo>
                    <a:pt x="5142711" y="4693866"/>
                  </a:lnTo>
                  <a:cubicBezTo>
                    <a:pt x="5142711" y="4719204"/>
                    <a:pt x="5127762" y="4732042"/>
                    <a:pt x="5097862" y="4732380"/>
                  </a:cubicBezTo>
                  <a:lnTo>
                    <a:pt x="5097862" y="4712870"/>
                  </a:lnTo>
                  <a:cubicBezTo>
                    <a:pt x="5105210" y="4712701"/>
                    <a:pt x="5110426" y="4710674"/>
                    <a:pt x="5113508" y="4706788"/>
                  </a:cubicBezTo>
                  <a:cubicBezTo>
                    <a:pt x="5116591" y="4702903"/>
                    <a:pt x="5118133" y="4696484"/>
                    <a:pt x="5118133" y="4687531"/>
                  </a:cubicBezTo>
                  <a:lnTo>
                    <a:pt x="5118133" y="4652184"/>
                  </a:lnTo>
                  <a:cubicBezTo>
                    <a:pt x="5118133" y="4635038"/>
                    <a:pt x="5126452" y="4624607"/>
                    <a:pt x="5143092" y="4620890"/>
                  </a:cubicBezTo>
                  <a:lnTo>
                    <a:pt x="5143092" y="4620510"/>
                  </a:lnTo>
                  <a:cubicBezTo>
                    <a:pt x="5126452" y="4616540"/>
                    <a:pt x="5118133" y="4606025"/>
                    <a:pt x="5118133" y="4588964"/>
                  </a:cubicBezTo>
                  <a:lnTo>
                    <a:pt x="5118133" y="4553236"/>
                  </a:lnTo>
                  <a:cubicBezTo>
                    <a:pt x="5118133" y="4537442"/>
                    <a:pt x="5111376" y="4529375"/>
                    <a:pt x="5097862" y="4529038"/>
                  </a:cubicBezTo>
                  <a:close/>
                  <a:moveTo>
                    <a:pt x="5080378" y="4509400"/>
                  </a:moveTo>
                  <a:lnTo>
                    <a:pt x="5080378" y="4529038"/>
                  </a:lnTo>
                  <a:cubicBezTo>
                    <a:pt x="5066948" y="4529375"/>
                    <a:pt x="5060234" y="4537442"/>
                    <a:pt x="5060234" y="4553236"/>
                  </a:cubicBezTo>
                  <a:lnTo>
                    <a:pt x="5060234" y="4588964"/>
                  </a:lnTo>
                  <a:cubicBezTo>
                    <a:pt x="5060234" y="4606025"/>
                    <a:pt x="5051829" y="4616540"/>
                    <a:pt x="5035021" y="4620510"/>
                  </a:cubicBezTo>
                  <a:lnTo>
                    <a:pt x="5035021" y="4620890"/>
                  </a:lnTo>
                  <a:cubicBezTo>
                    <a:pt x="5051829" y="4624607"/>
                    <a:pt x="5060234" y="4635038"/>
                    <a:pt x="5060234" y="4652184"/>
                  </a:cubicBezTo>
                  <a:lnTo>
                    <a:pt x="5060234" y="4687531"/>
                  </a:lnTo>
                  <a:cubicBezTo>
                    <a:pt x="5060234" y="4696569"/>
                    <a:pt x="5061733" y="4703008"/>
                    <a:pt x="5064731" y="4706851"/>
                  </a:cubicBezTo>
                  <a:cubicBezTo>
                    <a:pt x="5067730" y="4710695"/>
                    <a:pt x="5072946" y="4712701"/>
                    <a:pt x="5080378" y="4712870"/>
                  </a:cubicBezTo>
                  <a:lnTo>
                    <a:pt x="5080378" y="4732380"/>
                  </a:lnTo>
                  <a:cubicBezTo>
                    <a:pt x="5050309" y="4732042"/>
                    <a:pt x="5035275" y="4719204"/>
                    <a:pt x="5035275" y="4693866"/>
                  </a:cubicBezTo>
                  <a:lnTo>
                    <a:pt x="5035275" y="4656491"/>
                  </a:lnTo>
                  <a:cubicBezTo>
                    <a:pt x="5035275" y="4639767"/>
                    <a:pt x="5028687" y="4630984"/>
                    <a:pt x="5015511" y="4630139"/>
                  </a:cubicBezTo>
                  <a:lnTo>
                    <a:pt x="5015511" y="4611642"/>
                  </a:lnTo>
                  <a:cubicBezTo>
                    <a:pt x="5028687" y="4610797"/>
                    <a:pt x="5035275" y="4601844"/>
                    <a:pt x="5035275" y="4584782"/>
                  </a:cubicBezTo>
                  <a:lnTo>
                    <a:pt x="5035275" y="4548422"/>
                  </a:lnTo>
                  <a:cubicBezTo>
                    <a:pt x="5035275" y="4522745"/>
                    <a:pt x="5050309" y="4509738"/>
                    <a:pt x="5080378" y="4509400"/>
                  </a:cubicBezTo>
                  <a:close/>
                  <a:moveTo>
                    <a:pt x="2069587" y="4509400"/>
                  </a:moveTo>
                  <a:cubicBezTo>
                    <a:pt x="2099486" y="4509738"/>
                    <a:pt x="2114436" y="4522745"/>
                    <a:pt x="2114436" y="4548422"/>
                  </a:cubicBezTo>
                  <a:lnTo>
                    <a:pt x="2114436" y="4584782"/>
                  </a:lnTo>
                  <a:cubicBezTo>
                    <a:pt x="2114436" y="4601844"/>
                    <a:pt x="2120981" y="4610797"/>
                    <a:pt x="2134073" y="4611642"/>
                  </a:cubicBezTo>
                  <a:lnTo>
                    <a:pt x="2134073" y="4630139"/>
                  </a:lnTo>
                  <a:cubicBezTo>
                    <a:pt x="2120981" y="4630984"/>
                    <a:pt x="2114436" y="4639767"/>
                    <a:pt x="2114436" y="4656491"/>
                  </a:cubicBezTo>
                  <a:lnTo>
                    <a:pt x="2114436" y="4693866"/>
                  </a:lnTo>
                  <a:cubicBezTo>
                    <a:pt x="2114436" y="4719204"/>
                    <a:pt x="2099486" y="4732042"/>
                    <a:pt x="2069587" y="4732380"/>
                  </a:cubicBezTo>
                  <a:lnTo>
                    <a:pt x="2069587" y="4712870"/>
                  </a:lnTo>
                  <a:cubicBezTo>
                    <a:pt x="2076935" y="4712701"/>
                    <a:pt x="2082150" y="4710674"/>
                    <a:pt x="2085232" y="4706788"/>
                  </a:cubicBezTo>
                  <a:cubicBezTo>
                    <a:pt x="2088316" y="4702903"/>
                    <a:pt x="2089857" y="4696484"/>
                    <a:pt x="2089857" y="4687531"/>
                  </a:cubicBezTo>
                  <a:lnTo>
                    <a:pt x="2089857" y="4652184"/>
                  </a:lnTo>
                  <a:cubicBezTo>
                    <a:pt x="2089857" y="4635038"/>
                    <a:pt x="2098177" y="4624607"/>
                    <a:pt x="2114816" y="4620890"/>
                  </a:cubicBezTo>
                  <a:lnTo>
                    <a:pt x="2114816" y="4620510"/>
                  </a:lnTo>
                  <a:cubicBezTo>
                    <a:pt x="2098177" y="4616540"/>
                    <a:pt x="2089857" y="4606025"/>
                    <a:pt x="2089857" y="4588964"/>
                  </a:cubicBezTo>
                  <a:lnTo>
                    <a:pt x="2089857" y="4553236"/>
                  </a:lnTo>
                  <a:cubicBezTo>
                    <a:pt x="2089857" y="4537442"/>
                    <a:pt x="2083100" y="4529375"/>
                    <a:pt x="2069587" y="4529038"/>
                  </a:cubicBezTo>
                  <a:close/>
                  <a:moveTo>
                    <a:pt x="2052102" y="4509400"/>
                  </a:moveTo>
                  <a:lnTo>
                    <a:pt x="2052102" y="4529038"/>
                  </a:lnTo>
                  <a:cubicBezTo>
                    <a:pt x="2038673" y="4529375"/>
                    <a:pt x="2031958" y="4537442"/>
                    <a:pt x="2031958" y="4553236"/>
                  </a:cubicBezTo>
                  <a:lnTo>
                    <a:pt x="2031958" y="4588964"/>
                  </a:lnTo>
                  <a:cubicBezTo>
                    <a:pt x="2031958" y="4606025"/>
                    <a:pt x="2023554" y="4616540"/>
                    <a:pt x="2006745" y="4620510"/>
                  </a:cubicBezTo>
                  <a:lnTo>
                    <a:pt x="2006745" y="4620890"/>
                  </a:lnTo>
                  <a:cubicBezTo>
                    <a:pt x="2023554" y="4624607"/>
                    <a:pt x="2031958" y="4635038"/>
                    <a:pt x="2031958" y="4652184"/>
                  </a:cubicBezTo>
                  <a:lnTo>
                    <a:pt x="2031958" y="4687531"/>
                  </a:lnTo>
                  <a:cubicBezTo>
                    <a:pt x="2031958" y="4696569"/>
                    <a:pt x="2033457" y="4703008"/>
                    <a:pt x="2036456" y="4706851"/>
                  </a:cubicBezTo>
                  <a:cubicBezTo>
                    <a:pt x="2039454" y="4710695"/>
                    <a:pt x="2044670" y="4712701"/>
                    <a:pt x="2052102" y="4712870"/>
                  </a:cubicBezTo>
                  <a:lnTo>
                    <a:pt x="2052102" y="4732380"/>
                  </a:lnTo>
                  <a:cubicBezTo>
                    <a:pt x="2022033" y="4732042"/>
                    <a:pt x="2006999" y="4719204"/>
                    <a:pt x="2006999" y="4693866"/>
                  </a:cubicBezTo>
                  <a:lnTo>
                    <a:pt x="2006999" y="4656491"/>
                  </a:lnTo>
                  <a:cubicBezTo>
                    <a:pt x="2006999" y="4639767"/>
                    <a:pt x="2000410" y="4630984"/>
                    <a:pt x="1987235" y="4630139"/>
                  </a:cubicBezTo>
                  <a:lnTo>
                    <a:pt x="1987235" y="4611642"/>
                  </a:lnTo>
                  <a:cubicBezTo>
                    <a:pt x="2000410" y="4610797"/>
                    <a:pt x="2006999" y="4601844"/>
                    <a:pt x="2006999" y="4584782"/>
                  </a:cubicBezTo>
                  <a:lnTo>
                    <a:pt x="2006999" y="4548422"/>
                  </a:lnTo>
                  <a:cubicBezTo>
                    <a:pt x="2006999" y="4522745"/>
                    <a:pt x="2022033" y="4509738"/>
                    <a:pt x="2052102" y="4509400"/>
                  </a:cubicBezTo>
                  <a:close/>
                  <a:moveTo>
                    <a:pt x="11194631" y="4169195"/>
                  </a:moveTo>
                  <a:cubicBezTo>
                    <a:pt x="11224531" y="4169533"/>
                    <a:pt x="11239480" y="4182540"/>
                    <a:pt x="11239480" y="4208216"/>
                  </a:cubicBezTo>
                  <a:lnTo>
                    <a:pt x="11239480" y="4244577"/>
                  </a:lnTo>
                  <a:cubicBezTo>
                    <a:pt x="11239480" y="4261639"/>
                    <a:pt x="11246026" y="4270591"/>
                    <a:pt x="11259118" y="4271436"/>
                  </a:cubicBezTo>
                  <a:lnTo>
                    <a:pt x="11259118" y="4289933"/>
                  </a:lnTo>
                  <a:cubicBezTo>
                    <a:pt x="11246026" y="4290778"/>
                    <a:pt x="11239480" y="4299562"/>
                    <a:pt x="11239480" y="4316286"/>
                  </a:cubicBezTo>
                  <a:lnTo>
                    <a:pt x="11239480" y="4353660"/>
                  </a:lnTo>
                  <a:cubicBezTo>
                    <a:pt x="11239480" y="4378999"/>
                    <a:pt x="11224531" y="4391837"/>
                    <a:pt x="11194631" y="4392175"/>
                  </a:cubicBezTo>
                  <a:lnTo>
                    <a:pt x="11194631" y="4372664"/>
                  </a:lnTo>
                  <a:cubicBezTo>
                    <a:pt x="11201979" y="4372495"/>
                    <a:pt x="11207195" y="4370468"/>
                    <a:pt x="11210278" y="4366583"/>
                  </a:cubicBezTo>
                  <a:cubicBezTo>
                    <a:pt x="11213360" y="4362697"/>
                    <a:pt x="11214902" y="4356278"/>
                    <a:pt x="11214902" y="4347326"/>
                  </a:cubicBezTo>
                  <a:lnTo>
                    <a:pt x="11214902" y="4311978"/>
                  </a:lnTo>
                  <a:cubicBezTo>
                    <a:pt x="11214902" y="4294832"/>
                    <a:pt x="11223222" y="4284401"/>
                    <a:pt x="11239861" y="4280685"/>
                  </a:cubicBezTo>
                  <a:lnTo>
                    <a:pt x="11239861" y="4280305"/>
                  </a:lnTo>
                  <a:cubicBezTo>
                    <a:pt x="11223222" y="4276335"/>
                    <a:pt x="11214902" y="4265820"/>
                    <a:pt x="11214902" y="4248758"/>
                  </a:cubicBezTo>
                  <a:lnTo>
                    <a:pt x="11214902" y="4213031"/>
                  </a:lnTo>
                  <a:cubicBezTo>
                    <a:pt x="11214902" y="4197236"/>
                    <a:pt x="11208145" y="4189170"/>
                    <a:pt x="11194631" y="4188832"/>
                  </a:cubicBezTo>
                  <a:close/>
                  <a:moveTo>
                    <a:pt x="11177147" y="4169195"/>
                  </a:moveTo>
                  <a:lnTo>
                    <a:pt x="11177147" y="4188832"/>
                  </a:lnTo>
                  <a:cubicBezTo>
                    <a:pt x="11163718" y="4189170"/>
                    <a:pt x="11157003" y="4197236"/>
                    <a:pt x="11157003" y="4213031"/>
                  </a:cubicBezTo>
                  <a:lnTo>
                    <a:pt x="11157003" y="4248758"/>
                  </a:lnTo>
                  <a:cubicBezTo>
                    <a:pt x="11157003" y="4265820"/>
                    <a:pt x="11148599" y="4276335"/>
                    <a:pt x="11131791" y="4280305"/>
                  </a:cubicBezTo>
                  <a:lnTo>
                    <a:pt x="11131791" y="4280685"/>
                  </a:lnTo>
                  <a:cubicBezTo>
                    <a:pt x="11148599" y="4284401"/>
                    <a:pt x="11157003" y="4294832"/>
                    <a:pt x="11157003" y="4311978"/>
                  </a:cubicBezTo>
                  <a:lnTo>
                    <a:pt x="11157003" y="4347326"/>
                  </a:lnTo>
                  <a:cubicBezTo>
                    <a:pt x="11157003" y="4356363"/>
                    <a:pt x="11158502" y="4362803"/>
                    <a:pt x="11161501" y="4366646"/>
                  </a:cubicBezTo>
                  <a:cubicBezTo>
                    <a:pt x="11164499" y="4370489"/>
                    <a:pt x="11169714" y="4372495"/>
                    <a:pt x="11177147" y="4372664"/>
                  </a:cubicBezTo>
                  <a:lnTo>
                    <a:pt x="11177147" y="4392175"/>
                  </a:lnTo>
                  <a:cubicBezTo>
                    <a:pt x="11147078" y="4391837"/>
                    <a:pt x="11132044" y="4378999"/>
                    <a:pt x="11132044" y="4353660"/>
                  </a:cubicBezTo>
                  <a:lnTo>
                    <a:pt x="11132044" y="4316286"/>
                  </a:lnTo>
                  <a:cubicBezTo>
                    <a:pt x="11132044" y="4299562"/>
                    <a:pt x="11125456" y="4290778"/>
                    <a:pt x="11112280" y="4289933"/>
                  </a:cubicBezTo>
                  <a:lnTo>
                    <a:pt x="11112280" y="4271436"/>
                  </a:lnTo>
                  <a:cubicBezTo>
                    <a:pt x="11125456" y="4270591"/>
                    <a:pt x="11132044" y="4261639"/>
                    <a:pt x="11132044" y="4244577"/>
                  </a:cubicBezTo>
                  <a:lnTo>
                    <a:pt x="11132044" y="4208216"/>
                  </a:lnTo>
                  <a:cubicBezTo>
                    <a:pt x="11132044" y="4182540"/>
                    <a:pt x="11147078" y="4169533"/>
                    <a:pt x="11177147" y="4169195"/>
                  </a:cubicBezTo>
                  <a:close/>
                  <a:moveTo>
                    <a:pt x="8154275" y="4169195"/>
                  </a:moveTo>
                  <a:cubicBezTo>
                    <a:pt x="8184175" y="4169533"/>
                    <a:pt x="8199124" y="4182540"/>
                    <a:pt x="8199124" y="4208217"/>
                  </a:cubicBezTo>
                  <a:lnTo>
                    <a:pt x="8199124" y="4244577"/>
                  </a:lnTo>
                  <a:cubicBezTo>
                    <a:pt x="8199124" y="4261639"/>
                    <a:pt x="8205670" y="4270592"/>
                    <a:pt x="8218762" y="4271437"/>
                  </a:cubicBezTo>
                  <a:lnTo>
                    <a:pt x="8218762" y="4289934"/>
                  </a:lnTo>
                  <a:cubicBezTo>
                    <a:pt x="8205670" y="4290779"/>
                    <a:pt x="8199124" y="4299562"/>
                    <a:pt x="8199124" y="4316286"/>
                  </a:cubicBezTo>
                  <a:lnTo>
                    <a:pt x="8199124" y="4353661"/>
                  </a:lnTo>
                  <a:cubicBezTo>
                    <a:pt x="8199124" y="4378999"/>
                    <a:pt x="8184175" y="4391837"/>
                    <a:pt x="8154275" y="4392175"/>
                  </a:cubicBezTo>
                  <a:lnTo>
                    <a:pt x="8154275" y="4372665"/>
                  </a:lnTo>
                  <a:cubicBezTo>
                    <a:pt x="8161623" y="4372496"/>
                    <a:pt x="8166839" y="4370469"/>
                    <a:pt x="8169922" y="4366583"/>
                  </a:cubicBezTo>
                  <a:cubicBezTo>
                    <a:pt x="8173004" y="4362698"/>
                    <a:pt x="8174546" y="4356279"/>
                    <a:pt x="8174546" y="4347326"/>
                  </a:cubicBezTo>
                  <a:lnTo>
                    <a:pt x="8174546" y="4311979"/>
                  </a:lnTo>
                  <a:cubicBezTo>
                    <a:pt x="8174546" y="4294833"/>
                    <a:pt x="8182866" y="4284402"/>
                    <a:pt x="8199505" y="4280685"/>
                  </a:cubicBezTo>
                  <a:lnTo>
                    <a:pt x="8199505" y="4280305"/>
                  </a:lnTo>
                  <a:cubicBezTo>
                    <a:pt x="8182866" y="4276335"/>
                    <a:pt x="8174546" y="4265820"/>
                    <a:pt x="8174546" y="4248759"/>
                  </a:cubicBezTo>
                  <a:lnTo>
                    <a:pt x="8174546" y="4213031"/>
                  </a:lnTo>
                  <a:cubicBezTo>
                    <a:pt x="8174546" y="4197237"/>
                    <a:pt x="8167789" y="4189170"/>
                    <a:pt x="8154275" y="4188833"/>
                  </a:cubicBezTo>
                  <a:close/>
                  <a:moveTo>
                    <a:pt x="8136791" y="4169195"/>
                  </a:moveTo>
                  <a:lnTo>
                    <a:pt x="8136791" y="4188833"/>
                  </a:lnTo>
                  <a:cubicBezTo>
                    <a:pt x="8123361" y="4189170"/>
                    <a:pt x="8116647" y="4197237"/>
                    <a:pt x="8116647" y="4213031"/>
                  </a:cubicBezTo>
                  <a:lnTo>
                    <a:pt x="8116647" y="4248759"/>
                  </a:lnTo>
                  <a:cubicBezTo>
                    <a:pt x="8116647" y="4265820"/>
                    <a:pt x="8108242" y="4276335"/>
                    <a:pt x="8091434" y="4280305"/>
                  </a:cubicBezTo>
                  <a:lnTo>
                    <a:pt x="8091434" y="4280685"/>
                  </a:lnTo>
                  <a:cubicBezTo>
                    <a:pt x="8108242" y="4284402"/>
                    <a:pt x="8116647" y="4294833"/>
                    <a:pt x="8116647" y="4311979"/>
                  </a:cubicBezTo>
                  <a:lnTo>
                    <a:pt x="8116647" y="4347326"/>
                  </a:lnTo>
                  <a:cubicBezTo>
                    <a:pt x="8116647" y="4356364"/>
                    <a:pt x="8118146" y="4362803"/>
                    <a:pt x="8121144" y="4366646"/>
                  </a:cubicBezTo>
                  <a:cubicBezTo>
                    <a:pt x="8124142" y="4370490"/>
                    <a:pt x="8129358" y="4372496"/>
                    <a:pt x="8136791" y="4372665"/>
                  </a:cubicBezTo>
                  <a:lnTo>
                    <a:pt x="8136791" y="4392175"/>
                  </a:lnTo>
                  <a:cubicBezTo>
                    <a:pt x="8106722" y="4391837"/>
                    <a:pt x="8091688" y="4378999"/>
                    <a:pt x="8091688" y="4353661"/>
                  </a:cubicBezTo>
                  <a:lnTo>
                    <a:pt x="8091688" y="4316286"/>
                  </a:lnTo>
                  <a:cubicBezTo>
                    <a:pt x="8091688" y="4299562"/>
                    <a:pt x="8085100" y="4290779"/>
                    <a:pt x="8071924" y="4289934"/>
                  </a:cubicBezTo>
                  <a:lnTo>
                    <a:pt x="8071924" y="4271437"/>
                  </a:lnTo>
                  <a:cubicBezTo>
                    <a:pt x="8085100" y="4270592"/>
                    <a:pt x="8091688" y="4261639"/>
                    <a:pt x="8091688" y="4244577"/>
                  </a:cubicBezTo>
                  <a:lnTo>
                    <a:pt x="8091688" y="4208217"/>
                  </a:lnTo>
                  <a:cubicBezTo>
                    <a:pt x="8091688" y="4182540"/>
                    <a:pt x="8106722" y="4169533"/>
                    <a:pt x="8136791" y="4169195"/>
                  </a:cubicBezTo>
                  <a:close/>
                  <a:moveTo>
                    <a:pt x="5099554" y="4169195"/>
                  </a:moveTo>
                  <a:cubicBezTo>
                    <a:pt x="5129455" y="4169533"/>
                    <a:pt x="5144404" y="4182540"/>
                    <a:pt x="5144404" y="4208217"/>
                  </a:cubicBezTo>
                  <a:lnTo>
                    <a:pt x="5144404" y="4244577"/>
                  </a:lnTo>
                  <a:cubicBezTo>
                    <a:pt x="5144404" y="4261639"/>
                    <a:pt x="5150949" y="4270592"/>
                    <a:pt x="5164041" y="4271437"/>
                  </a:cubicBezTo>
                  <a:lnTo>
                    <a:pt x="5164041" y="4289934"/>
                  </a:lnTo>
                  <a:cubicBezTo>
                    <a:pt x="5150949" y="4290779"/>
                    <a:pt x="5144404" y="4299562"/>
                    <a:pt x="5144404" y="4316286"/>
                  </a:cubicBezTo>
                  <a:lnTo>
                    <a:pt x="5144404" y="4353661"/>
                  </a:lnTo>
                  <a:cubicBezTo>
                    <a:pt x="5144404" y="4378999"/>
                    <a:pt x="5129455" y="4391837"/>
                    <a:pt x="5099554" y="4392175"/>
                  </a:cubicBezTo>
                  <a:lnTo>
                    <a:pt x="5099554" y="4372665"/>
                  </a:lnTo>
                  <a:cubicBezTo>
                    <a:pt x="5106902" y="4372496"/>
                    <a:pt x="5112117" y="4370469"/>
                    <a:pt x="5115200" y="4366583"/>
                  </a:cubicBezTo>
                  <a:cubicBezTo>
                    <a:pt x="5118283" y="4362698"/>
                    <a:pt x="5119826" y="4356279"/>
                    <a:pt x="5119826" y="4347326"/>
                  </a:cubicBezTo>
                  <a:lnTo>
                    <a:pt x="5119826" y="4311979"/>
                  </a:lnTo>
                  <a:cubicBezTo>
                    <a:pt x="5119826" y="4294833"/>
                    <a:pt x="5128144" y="4284402"/>
                    <a:pt x="5144783" y="4280685"/>
                  </a:cubicBezTo>
                  <a:lnTo>
                    <a:pt x="5144783" y="4280305"/>
                  </a:lnTo>
                  <a:cubicBezTo>
                    <a:pt x="5128144" y="4276335"/>
                    <a:pt x="5119826" y="4265820"/>
                    <a:pt x="5119826" y="4248759"/>
                  </a:cubicBezTo>
                  <a:lnTo>
                    <a:pt x="5119826" y="4213031"/>
                  </a:lnTo>
                  <a:cubicBezTo>
                    <a:pt x="5119826" y="4197237"/>
                    <a:pt x="5113069" y="4189170"/>
                    <a:pt x="5099554" y="4188833"/>
                  </a:cubicBezTo>
                  <a:close/>
                  <a:moveTo>
                    <a:pt x="5082070" y="4169195"/>
                  </a:moveTo>
                  <a:lnTo>
                    <a:pt x="5082070" y="4188833"/>
                  </a:lnTo>
                  <a:cubicBezTo>
                    <a:pt x="5068640" y="4189170"/>
                    <a:pt x="5061927" y="4197237"/>
                    <a:pt x="5061927" y="4213031"/>
                  </a:cubicBezTo>
                  <a:lnTo>
                    <a:pt x="5061927" y="4248759"/>
                  </a:lnTo>
                  <a:cubicBezTo>
                    <a:pt x="5061927" y="4265820"/>
                    <a:pt x="5053522" y="4276335"/>
                    <a:pt x="5036713" y="4280305"/>
                  </a:cubicBezTo>
                  <a:lnTo>
                    <a:pt x="5036713" y="4280685"/>
                  </a:lnTo>
                  <a:cubicBezTo>
                    <a:pt x="5053522" y="4284402"/>
                    <a:pt x="5061927" y="4294833"/>
                    <a:pt x="5061927" y="4311979"/>
                  </a:cubicBezTo>
                  <a:lnTo>
                    <a:pt x="5061927" y="4347326"/>
                  </a:lnTo>
                  <a:cubicBezTo>
                    <a:pt x="5061927" y="4356364"/>
                    <a:pt x="5063425" y="4362803"/>
                    <a:pt x="5066423" y="4366646"/>
                  </a:cubicBezTo>
                  <a:cubicBezTo>
                    <a:pt x="5069421" y="4370490"/>
                    <a:pt x="5074637" y="4372496"/>
                    <a:pt x="5082070" y="4372665"/>
                  </a:cubicBezTo>
                  <a:lnTo>
                    <a:pt x="5082070" y="4392175"/>
                  </a:lnTo>
                  <a:cubicBezTo>
                    <a:pt x="5052001" y="4391837"/>
                    <a:pt x="5036967" y="4378999"/>
                    <a:pt x="5036967" y="4353661"/>
                  </a:cubicBezTo>
                  <a:lnTo>
                    <a:pt x="5036967" y="4316286"/>
                  </a:lnTo>
                  <a:cubicBezTo>
                    <a:pt x="5036967" y="4299562"/>
                    <a:pt x="5030379" y="4290779"/>
                    <a:pt x="5017204" y="4289934"/>
                  </a:cubicBezTo>
                  <a:lnTo>
                    <a:pt x="5017204" y="4271437"/>
                  </a:lnTo>
                  <a:cubicBezTo>
                    <a:pt x="5030379" y="4270592"/>
                    <a:pt x="5036967" y="4261639"/>
                    <a:pt x="5036967" y="4244577"/>
                  </a:cubicBezTo>
                  <a:lnTo>
                    <a:pt x="5036967" y="4208217"/>
                  </a:lnTo>
                  <a:cubicBezTo>
                    <a:pt x="5036967" y="4182540"/>
                    <a:pt x="5052001" y="4169533"/>
                    <a:pt x="5082070" y="4169195"/>
                  </a:cubicBezTo>
                  <a:close/>
                  <a:moveTo>
                    <a:pt x="2071278" y="4169195"/>
                  </a:moveTo>
                  <a:cubicBezTo>
                    <a:pt x="2101178" y="4169533"/>
                    <a:pt x="2116128" y="4182540"/>
                    <a:pt x="2116128" y="4208217"/>
                  </a:cubicBezTo>
                  <a:lnTo>
                    <a:pt x="2116128" y="4244577"/>
                  </a:lnTo>
                  <a:cubicBezTo>
                    <a:pt x="2116128" y="4261639"/>
                    <a:pt x="2122673" y="4270592"/>
                    <a:pt x="2135765" y="4271437"/>
                  </a:cubicBezTo>
                  <a:lnTo>
                    <a:pt x="2135765" y="4289934"/>
                  </a:lnTo>
                  <a:cubicBezTo>
                    <a:pt x="2122673" y="4290779"/>
                    <a:pt x="2116128" y="4299562"/>
                    <a:pt x="2116128" y="4316286"/>
                  </a:cubicBezTo>
                  <a:lnTo>
                    <a:pt x="2116128" y="4353661"/>
                  </a:lnTo>
                  <a:cubicBezTo>
                    <a:pt x="2116128" y="4378999"/>
                    <a:pt x="2101178" y="4391837"/>
                    <a:pt x="2071278" y="4392175"/>
                  </a:cubicBezTo>
                  <a:lnTo>
                    <a:pt x="2071278" y="4372665"/>
                  </a:lnTo>
                  <a:cubicBezTo>
                    <a:pt x="2078626" y="4372496"/>
                    <a:pt x="2083842" y="4370469"/>
                    <a:pt x="2086925" y="4366583"/>
                  </a:cubicBezTo>
                  <a:cubicBezTo>
                    <a:pt x="2090008" y="4362698"/>
                    <a:pt x="2091548" y="4356279"/>
                    <a:pt x="2091548" y="4347326"/>
                  </a:cubicBezTo>
                  <a:lnTo>
                    <a:pt x="2091548" y="4311979"/>
                  </a:lnTo>
                  <a:cubicBezTo>
                    <a:pt x="2091548" y="4294833"/>
                    <a:pt x="2099869" y="4284402"/>
                    <a:pt x="2116508" y="4280685"/>
                  </a:cubicBezTo>
                  <a:lnTo>
                    <a:pt x="2116508" y="4280305"/>
                  </a:lnTo>
                  <a:cubicBezTo>
                    <a:pt x="2099869" y="4276335"/>
                    <a:pt x="2091548" y="4265820"/>
                    <a:pt x="2091548" y="4248759"/>
                  </a:cubicBezTo>
                  <a:lnTo>
                    <a:pt x="2091548" y="4213031"/>
                  </a:lnTo>
                  <a:cubicBezTo>
                    <a:pt x="2091548" y="4197237"/>
                    <a:pt x="2084792" y="4189170"/>
                    <a:pt x="2071278" y="4188833"/>
                  </a:cubicBezTo>
                  <a:close/>
                  <a:moveTo>
                    <a:pt x="2053794" y="4169195"/>
                  </a:moveTo>
                  <a:lnTo>
                    <a:pt x="2053794" y="4188833"/>
                  </a:lnTo>
                  <a:cubicBezTo>
                    <a:pt x="2040365" y="4189170"/>
                    <a:pt x="2033650" y="4197237"/>
                    <a:pt x="2033650" y="4213031"/>
                  </a:cubicBezTo>
                  <a:lnTo>
                    <a:pt x="2033650" y="4248759"/>
                  </a:lnTo>
                  <a:cubicBezTo>
                    <a:pt x="2033650" y="4265820"/>
                    <a:pt x="2025246" y="4276335"/>
                    <a:pt x="2008437" y="4280305"/>
                  </a:cubicBezTo>
                  <a:lnTo>
                    <a:pt x="2008437" y="4280685"/>
                  </a:lnTo>
                  <a:cubicBezTo>
                    <a:pt x="2025246" y="4284402"/>
                    <a:pt x="2033650" y="4294833"/>
                    <a:pt x="2033650" y="4311979"/>
                  </a:cubicBezTo>
                  <a:lnTo>
                    <a:pt x="2033650" y="4347326"/>
                  </a:lnTo>
                  <a:cubicBezTo>
                    <a:pt x="2033650" y="4356364"/>
                    <a:pt x="2035150" y="4362803"/>
                    <a:pt x="2038148" y="4366646"/>
                  </a:cubicBezTo>
                  <a:cubicBezTo>
                    <a:pt x="2041146" y="4370490"/>
                    <a:pt x="2046362" y="4372496"/>
                    <a:pt x="2053794" y="4372665"/>
                  </a:cubicBezTo>
                  <a:lnTo>
                    <a:pt x="2053794" y="4392175"/>
                  </a:lnTo>
                  <a:cubicBezTo>
                    <a:pt x="2023726" y="4391837"/>
                    <a:pt x="2008691" y="4378999"/>
                    <a:pt x="2008691" y="4353661"/>
                  </a:cubicBezTo>
                  <a:lnTo>
                    <a:pt x="2008691" y="4316286"/>
                  </a:lnTo>
                  <a:cubicBezTo>
                    <a:pt x="2008691" y="4299562"/>
                    <a:pt x="2002102" y="4290779"/>
                    <a:pt x="1988926" y="4289934"/>
                  </a:cubicBezTo>
                  <a:lnTo>
                    <a:pt x="1988926" y="4271437"/>
                  </a:lnTo>
                  <a:cubicBezTo>
                    <a:pt x="2002102" y="4270592"/>
                    <a:pt x="2008691" y="4261639"/>
                    <a:pt x="2008691" y="4244577"/>
                  </a:cubicBezTo>
                  <a:lnTo>
                    <a:pt x="2008691" y="4208217"/>
                  </a:lnTo>
                  <a:cubicBezTo>
                    <a:pt x="2008691" y="4182540"/>
                    <a:pt x="2023726" y="4169533"/>
                    <a:pt x="2053794" y="4169195"/>
                  </a:cubicBezTo>
                  <a:close/>
                  <a:moveTo>
                    <a:pt x="11196323" y="3828990"/>
                  </a:moveTo>
                  <a:cubicBezTo>
                    <a:pt x="11226223" y="3829328"/>
                    <a:pt x="11241172" y="3842335"/>
                    <a:pt x="11241172" y="3868011"/>
                  </a:cubicBezTo>
                  <a:lnTo>
                    <a:pt x="11241172" y="3904372"/>
                  </a:lnTo>
                  <a:cubicBezTo>
                    <a:pt x="11241172" y="3921434"/>
                    <a:pt x="11247718" y="3930387"/>
                    <a:pt x="11260810" y="3931231"/>
                  </a:cubicBezTo>
                  <a:lnTo>
                    <a:pt x="11260810" y="3949728"/>
                  </a:lnTo>
                  <a:cubicBezTo>
                    <a:pt x="11247718" y="3950573"/>
                    <a:pt x="11241172" y="3959357"/>
                    <a:pt x="11241172" y="3976081"/>
                  </a:cubicBezTo>
                  <a:lnTo>
                    <a:pt x="11241172" y="4013455"/>
                  </a:lnTo>
                  <a:cubicBezTo>
                    <a:pt x="11241172" y="4038794"/>
                    <a:pt x="11226223" y="4051632"/>
                    <a:pt x="11196323" y="4051970"/>
                  </a:cubicBezTo>
                  <a:lnTo>
                    <a:pt x="11196323" y="4032459"/>
                  </a:lnTo>
                  <a:cubicBezTo>
                    <a:pt x="11203671" y="4032290"/>
                    <a:pt x="11208887" y="4030263"/>
                    <a:pt x="11211970" y="4026378"/>
                  </a:cubicBezTo>
                  <a:cubicBezTo>
                    <a:pt x="11215052" y="4022492"/>
                    <a:pt x="11216594" y="4016073"/>
                    <a:pt x="11216594" y="4007121"/>
                  </a:cubicBezTo>
                  <a:lnTo>
                    <a:pt x="11216594" y="3971773"/>
                  </a:lnTo>
                  <a:cubicBezTo>
                    <a:pt x="11216594" y="3954627"/>
                    <a:pt x="11224914" y="3944196"/>
                    <a:pt x="11241553" y="3940480"/>
                  </a:cubicBezTo>
                  <a:lnTo>
                    <a:pt x="11241553" y="3940100"/>
                  </a:lnTo>
                  <a:cubicBezTo>
                    <a:pt x="11224914" y="3936130"/>
                    <a:pt x="11216594" y="3925615"/>
                    <a:pt x="11216594" y="3908553"/>
                  </a:cubicBezTo>
                  <a:lnTo>
                    <a:pt x="11216594" y="3872826"/>
                  </a:lnTo>
                  <a:cubicBezTo>
                    <a:pt x="11216594" y="3857031"/>
                    <a:pt x="11209837" y="3848965"/>
                    <a:pt x="11196323" y="3848627"/>
                  </a:cubicBezTo>
                  <a:close/>
                  <a:moveTo>
                    <a:pt x="11178839" y="3828990"/>
                  </a:moveTo>
                  <a:lnTo>
                    <a:pt x="11178839" y="3848627"/>
                  </a:lnTo>
                  <a:cubicBezTo>
                    <a:pt x="11165410" y="3848965"/>
                    <a:pt x="11158695" y="3857031"/>
                    <a:pt x="11158695" y="3872826"/>
                  </a:cubicBezTo>
                  <a:lnTo>
                    <a:pt x="11158695" y="3908553"/>
                  </a:lnTo>
                  <a:cubicBezTo>
                    <a:pt x="11158695" y="3925615"/>
                    <a:pt x="11150291" y="3936130"/>
                    <a:pt x="11133483" y="3940100"/>
                  </a:cubicBezTo>
                  <a:lnTo>
                    <a:pt x="11133483" y="3940480"/>
                  </a:lnTo>
                  <a:cubicBezTo>
                    <a:pt x="11150291" y="3944196"/>
                    <a:pt x="11158695" y="3954627"/>
                    <a:pt x="11158695" y="3971773"/>
                  </a:cubicBezTo>
                  <a:lnTo>
                    <a:pt x="11158695" y="4007121"/>
                  </a:lnTo>
                  <a:cubicBezTo>
                    <a:pt x="11158695" y="4016158"/>
                    <a:pt x="11160194" y="4022598"/>
                    <a:pt x="11163193" y="4026441"/>
                  </a:cubicBezTo>
                  <a:cubicBezTo>
                    <a:pt x="11166191" y="4030284"/>
                    <a:pt x="11171406" y="4032290"/>
                    <a:pt x="11178839" y="4032459"/>
                  </a:cubicBezTo>
                  <a:lnTo>
                    <a:pt x="11178839" y="4051970"/>
                  </a:lnTo>
                  <a:cubicBezTo>
                    <a:pt x="11148770" y="4051632"/>
                    <a:pt x="11133736" y="4038794"/>
                    <a:pt x="11133736" y="4013455"/>
                  </a:cubicBezTo>
                  <a:lnTo>
                    <a:pt x="11133736" y="3976081"/>
                  </a:lnTo>
                  <a:cubicBezTo>
                    <a:pt x="11133736" y="3959357"/>
                    <a:pt x="11127148" y="3950573"/>
                    <a:pt x="11113972" y="3949728"/>
                  </a:cubicBezTo>
                  <a:lnTo>
                    <a:pt x="11113972" y="3931231"/>
                  </a:lnTo>
                  <a:cubicBezTo>
                    <a:pt x="11127148" y="3930387"/>
                    <a:pt x="11133736" y="3921434"/>
                    <a:pt x="11133736" y="3904372"/>
                  </a:cubicBezTo>
                  <a:lnTo>
                    <a:pt x="11133736" y="3868011"/>
                  </a:lnTo>
                  <a:cubicBezTo>
                    <a:pt x="11133736" y="3842335"/>
                    <a:pt x="11148770" y="3829328"/>
                    <a:pt x="11178839" y="3828990"/>
                  </a:cubicBezTo>
                  <a:close/>
                  <a:moveTo>
                    <a:pt x="8155967" y="3828990"/>
                  </a:moveTo>
                  <a:cubicBezTo>
                    <a:pt x="8185867" y="3829328"/>
                    <a:pt x="8200816" y="3842335"/>
                    <a:pt x="8200816" y="3868012"/>
                  </a:cubicBezTo>
                  <a:lnTo>
                    <a:pt x="8200816" y="3904372"/>
                  </a:lnTo>
                  <a:cubicBezTo>
                    <a:pt x="8200816" y="3921434"/>
                    <a:pt x="8207362" y="3930387"/>
                    <a:pt x="8220454" y="3931232"/>
                  </a:cubicBezTo>
                  <a:lnTo>
                    <a:pt x="8220454" y="3949729"/>
                  </a:lnTo>
                  <a:cubicBezTo>
                    <a:pt x="8207362" y="3950573"/>
                    <a:pt x="8200816" y="3959357"/>
                    <a:pt x="8200816" y="3976081"/>
                  </a:cubicBezTo>
                  <a:lnTo>
                    <a:pt x="8200816" y="4013456"/>
                  </a:lnTo>
                  <a:cubicBezTo>
                    <a:pt x="8200816" y="4038794"/>
                    <a:pt x="8185867" y="4051632"/>
                    <a:pt x="8155967" y="4051970"/>
                  </a:cubicBezTo>
                  <a:lnTo>
                    <a:pt x="8155967" y="4032459"/>
                  </a:lnTo>
                  <a:cubicBezTo>
                    <a:pt x="8163315" y="4032290"/>
                    <a:pt x="8168531" y="4030264"/>
                    <a:pt x="8171614" y="4026378"/>
                  </a:cubicBezTo>
                  <a:cubicBezTo>
                    <a:pt x="8174696" y="4022493"/>
                    <a:pt x="8176238" y="4016074"/>
                    <a:pt x="8176238" y="4007121"/>
                  </a:cubicBezTo>
                  <a:lnTo>
                    <a:pt x="8176238" y="3971774"/>
                  </a:lnTo>
                  <a:cubicBezTo>
                    <a:pt x="8176238" y="3954628"/>
                    <a:pt x="8184558" y="3944197"/>
                    <a:pt x="8201197" y="3940480"/>
                  </a:cubicBezTo>
                  <a:lnTo>
                    <a:pt x="8201197" y="3940100"/>
                  </a:lnTo>
                  <a:cubicBezTo>
                    <a:pt x="8184558" y="3936130"/>
                    <a:pt x="8176238" y="3925615"/>
                    <a:pt x="8176238" y="3908553"/>
                  </a:cubicBezTo>
                  <a:lnTo>
                    <a:pt x="8176238" y="3872826"/>
                  </a:lnTo>
                  <a:cubicBezTo>
                    <a:pt x="8176238" y="3857031"/>
                    <a:pt x="8169481" y="3848965"/>
                    <a:pt x="8155967" y="3848628"/>
                  </a:cubicBezTo>
                  <a:close/>
                  <a:moveTo>
                    <a:pt x="8138483" y="3828990"/>
                  </a:moveTo>
                  <a:lnTo>
                    <a:pt x="8138483" y="3848628"/>
                  </a:lnTo>
                  <a:cubicBezTo>
                    <a:pt x="8125053" y="3848965"/>
                    <a:pt x="8118339" y="3857031"/>
                    <a:pt x="8118339" y="3872826"/>
                  </a:cubicBezTo>
                  <a:lnTo>
                    <a:pt x="8118339" y="3908553"/>
                  </a:lnTo>
                  <a:cubicBezTo>
                    <a:pt x="8118339" y="3925615"/>
                    <a:pt x="8109934" y="3936130"/>
                    <a:pt x="8093126" y="3940100"/>
                  </a:cubicBezTo>
                  <a:lnTo>
                    <a:pt x="8093126" y="3940480"/>
                  </a:lnTo>
                  <a:cubicBezTo>
                    <a:pt x="8109934" y="3944197"/>
                    <a:pt x="8118339" y="3954628"/>
                    <a:pt x="8118339" y="3971774"/>
                  </a:cubicBezTo>
                  <a:lnTo>
                    <a:pt x="8118339" y="4007121"/>
                  </a:lnTo>
                  <a:cubicBezTo>
                    <a:pt x="8118339" y="4016158"/>
                    <a:pt x="8119838" y="4022598"/>
                    <a:pt x="8122836" y="4026441"/>
                  </a:cubicBezTo>
                  <a:cubicBezTo>
                    <a:pt x="8125834" y="4030284"/>
                    <a:pt x="8131050" y="4032290"/>
                    <a:pt x="8138483" y="4032459"/>
                  </a:cubicBezTo>
                  <a:lnTo>
                    <a:pt x="8138483" y="4051970"/>
                  </a:lnTo>
                  <a:cubicBezTo>
                    <a:pt x="8108414" y="4051632"/>
                    <a:pt x="8093380" y="4038794"/>
                    <a:pt x="8093380" y="4013456"/>
                  </a:cubicBezTo>
                  <a:lnTo>
                    <a:pt x="8093380" y="3976081"/>
                  </a:lnTo>
                  <a:cubicBezTo>
                    <a:pt x="8093380" y="3959357"/>
                    <a:pt x="8086792" y="3950573"/>
                    <a:pt x="8073616" y="3949729"/>
                  </a:cubicBezTo>
                  <a:lnTo>
                    <a:pt x="8073616" y="3931232"/>
                  </a:lnTo>
                  <a:cubicBezTo>
                    <a:pt x="8086792" y="3930387"/>
                    <a:pt x="8093380" y="3921434"/>
                    <a:pt x="8093380" y="3904372"/>
                  </a:cubicBezTo>
                  <a:lnTo>
                    <a:pt x="8093380" y="3868012"/>
                  </a:lnTo>
                  <a:cubicBezTo>
                    <a:pt x="8093380" y="3842335"/>
                    <a:pt x="8108414" y="3829328"/>
                    <a:pt x="8138483" y="3828990"/>
                  </a:cubicBezTo>
                  <a:close/>
                  <a:moveTo>
                    <a:pt x="5101246" y="3828990"/>
                  </a:moveTo>
                  <a:cubicBezTo>
                    <a:pt x="5131146" y="3829328"/>
                    <a:pt x="5146095" y="3842335"/>
                    <a:pt x="5146095" y="3868012"/>
                  </a:cubicBezTo>
                  <a:lnTo>
                    <a:pt x="5146095" y="3904372"/>
                  </a:lnTo>
                  <a:cubicBezTo>
                    <a:pt x="5146095" y="3921434"/>
                    <a:pt x="5152641" y="3930387"/>
                    <a:pt x="5165734" y="3931232"/>
                  </a:cubicBezTo>
                  <a:lnTo>
                    <a:pt x="5165734" y="3949729"/>
                  </a:lnTo>
                  <a:cubicBezTo>
                    <a:pt x="5152641" y="3950573"/>
                    <a:pt x="5146095" y="3959357"/>
                    <a:pt x="5146095" y="3976081"/>
                  </a:cubicBezTo>
                  <a:lnTo>
                    <a:pt x="5146095" y="4013456"/>
                  </a:lnTo>
                  <a:cubicBezTo>
                    <a:pt x="5146095" y="4038794"/>
                    <a:pt x="5131146" y="4051632"/>
                    <a:pt x="5101246" y="4051970"/>
                  </a:cubicBezTo>
                  <a:lnTo>
                    <a:pt x="5101246" y="4032459"/>
                  </a:lnTo>
                  <a:cubicBezTo>
                    <a:pt x="5108595" y="4032290"/>
                    <a:pt x="5113809" y="4030264"/>
                    <a:pt x="5116893" y="4026378"/>
                  </a:cubicBezTo>
                  <a:cubicBezTo>
                    <a:pt x="5119975" y="4022493"/>
                    <a:pt x="5121517" y="4016074"/>
                    <a:pt x="5121517" y="4007121"/>
                  </a:cubicBezTo>
                  <a:lnTo>
                    <a:pt x="5121517" y="3971774"/>
                  </a:lnTo>
                  <a:cubicBezTo>
                    <a:pt x="5121517" y="3954628"/>
                    <a:pt x="5129836" y="3944197"/>
                    <a:pt x="5146475" y="3940480"/>
                  </a:cubicBezTo>
                  <a:lnTo>
                    <a:pt x="5146475" y="3940100"/>
                  </a:lnTo>
                  <a:cubicBezTo>
                    <a:pt x="5129836" y="3936130"/>
                    <a:pt x="5121517" y="3925615"/>
                    <a:pt x="5121517" y="3908553"/>
                  </a:cubicBezTo>
                  <a:lnTo>
                    <a:pt x="5121517" y="3872826"/>
                  </a:lnTo>
                  <a:cubicBezTo>
                    <a:pt x="5121517" y="3857031"/>
                    <a:pt x="5114760" y="3848965"/>
                    <a:pt x="5101246" y="3848628"/>
                  </a:cubicBezTo>
                  <a:close/>
                  <a:moveTo>
                    <a:pt x="5083763" y="3828990"/>
                  </a:moveTo>
                  <a:lnTo>
                    <a:pt x="5083763" y="3848628"/>
                  </a:lnTo>
                  <a:cubicBezTo>
                    <a:pt x="5070332" y="3848965"/>
                    <a:pt x="5063618" y="3857031"/>
                    <a:pt x="5063618" y="3872826"/>
                  </a:cubicBezTo>
                  <a:lnTo>
                    <a:pt x="5063618" y="3908553"/>
                  </a:lnTo>
                  <a:cubicBezTo>
                    <a:pt x="5063618" y="3925615"/>
                    <a:pt x="5055213" y="3936130"/>
                    <a:pt x="5038405" y="3940100"/>
                  </a:cubicBezTo>
                  <a:lnTo>
                    <a:pt x="5038405" y="3940480"/>
                  </a:lnTo>
                  <a:cubicBezTo>
                    <a:pt x="5055213" y="3944197"/>
                    <a:pt x="5063618" y="3954628"/>
                    <a:pt x="5063618" y="3971774"/>
                  </a:cubicBezTo>
                  <a:lnTo>
                    <a:pt x="5063618" y="4007121"/>
                  </a:lnTo>
                  <a:cubicBezTo>
                    <a:pt x="5063618" y="4016158"/>
                    <a:pt x="5065118" y="4022598"/>
                    <a:pt x="5068115" y="4026441"/>
                  </a:cubicBezTo>
                  <a:cubicBezTo>
                    <a:pt x="5071113" y="4030284"/>
                    <a:pt x="5076329" y="4032290"/>
                    <a:pt x="5083763" y="4032459"/>
                  </a:cubicBezTo>
                  <a:lnTo>
                    <a:pt x="5083763" y="4051970"/>
                  </a:lnTo>
                  <a:cubicBezTo>
                    <a:pt x="5053693" y="4051632"/>
                    <a:pt x="5038659" y="4038794"/>
                    <a:pt x="5038659" y="4013456"/>
                  </a:cubicBezTo>
                  <a:lnTo>
                    <a:pt x="5038659" y="3976081"/>
                  </a:lnTo>
                  <a:cubicBezTo>
                    <a:pt x="5038659" y="3959357"/>
                    <a:pt x="5032071" y="3950573"/>
                    <a:pt x="5018895" y="3949729"/>
                  </a:cubicBezTo>
                  <a:lnTo>
                    <a:pt x="5018895" y="3931232"/>
                  </a:lnTo>
                  <a:cubicBezTo>
                    <a:pt x="5032071" y="3930387"/>
                    <a:pt x="5038659" y="3921434"/>
                    <a:pt x="5038659" y="3904372"/>
                  </a:cubicBezTo>
                  <a:lnTo>
                    <a:pt x="5038659" y="3868012"/>
                  </a:lnTo>
                  <a:cubicBezTo>
                    <a:pt x="5038659" y="3842335"/>
                    <a:pt x="5053693" y="3829328"/>
                    <a:pt x="5083763" y="3828990"/>
                  </a:cubicBezTo>
                  <a:close/>
                  <a:moveTo>
                    <a:pt x="2072970" y="3828990"/>
                  </a:moveTo>
                  <a:cubicBezTo>
                    <a:pt x="2102870" y="3829328"/>
                    <a:pt x="2117820" y="3842335"/>
                    <a:pt x="2117820" y="3868012"/>
                  </a:cubicBezTo>
                  <a:lnTo>
                    <a:pt x="2117820" y="3904372"/>
                  </a:lnTo>
                  <a:cubicBezTo>
                    <a:pt x="2117820" y="3921434"/>
                    <a:pt x="2124366" y="3930387"/>
                    <a:pt x="2137457" y="3931232"/>
                  </a:cubicBezTo>
                  <a:lnTo>
                    <a:pt x="2137457" y="3949729"/>
                  </a:lnTo>
                  <a:cubicBezTo>
                    <a:pt x="2124366" y="3950573"/>
                    <a:pt x="2117820" y="3959357"/>
                    <a:pt x="2117820" y="3976081"/>
                  </a:cubicBezTo>
                  <a:lnTo>
                    <a:pt x="2117820" y="4013456"/>
                  </a:lnTo>
                  <a:cubicBezTo>
                    <a:pt x="2117820" y="4038794"/>
                    <a:pt x="2102870" y="4051632"/>
                    <a:pt x="2072970" y="4051970"/>
                  </a:cubicBezTo>
                  <a:lnTo>
                    <a:pt x="2072970" y="4032459"/>
                  </a:lnTo>
                  <a:cubicBezTo>
                    <a:pt x="2080319" y="4032290"/>
                    <a:pt x="2085534" y="4030264"/>
                    <a:pt x="2088617" y="4026378"/>
                  </a:cubicBezTo>
                  <a:cubicBezTo>
                    <a:pt x="2091700" y="4022493"/>
                    <a:pt x="2093241" y="4016074"/>
                    <a:pt x="2093241" y="4007121"/>
                  </a:cubicBezTo>
                  <a:lnTo>
                    <a:pt x="2093241" y="3971774"/>
                  </a:lnTo>
                  <a:cubicBezTo>
                    <a:pt x="2093241" y="3954628"/>
                    <a:pt x="2101561" y="3944197"/>
                    <a:pt x="2118200" y="3940480"/>
                  </a:cubicBezTo>
                  <a:lnTo>
                    <a:pt x="2118200" y="3940100"/>
                  </a:lnTo>
                  <a:cubicBezTo>
                    <a:pt x="2101561" y="3936130"/>
                    <a:pt x="2093241" y="3925615"/>
                    <a:pt x="2093241" y="3908553"/>
                  </a:cubicBezTo>
                  <a:lnTo>
                    <a:pt x="2093241" y="3872826"/>
                  </a:lnTo>
                  <a:cubicBezTo>
                    <a:pt x="2093241" y="3857031"/>
                    <a:pt x="2086485" y="3848965"/>
                    <a:pt x="2072970" y="3848628"/>
                  </a:cubicBezTo>
                  <a:close/>
                  <a:moveTo>
                    <a:pt x="2055487" y="3828990"/>
                  </a:moveTo>
                  <a:lnTo>
                    <a:pt x="2055487" y="3848628"/>
                  </a:lnTo>
                  <a:cubicBezTo>
                    <a:pt x="2042057" y="3848965"/>
                    <a:pt x="2035342" y="3857031"/>
                    <a:pt x="2035342" y="3872826"/>
                  </a:cubicBezTo>
                  <a:lnTo>
                    <a:pt x="2035342" y="3908553"/>
                  </a:lnTo>
                  <a:cubicBezTo>
                    <a:pt x="2035342" y="3925615"/>
                    <a:pt x="2026938" y="3936130"/>
                    <a:pt x="2010130" y="3940100"/>
                  </a:cubicBezTo>
                  <a:lnTo>
                    <a:pt x="2010130" y="3940480"/>
                  </a:lnTo>
                  <a:cubicBezTo>
                    <a:pt x="2026938" y="3944197"/>
                    <a:pt x="2035342" y="3954628"/>
                    <a:pt x="2035342" y="3971774"/>
                  </a:cubicBezTo>
                  <a:lnTo>
                    <a:pt x="2035342" y="4007121"/>
                  </a:lnTo>
                  <a:cubicBezTo>
                    <a:pt x="2035342" y="4016158"/>
                    <a:pt x="2036842" y="4022598"/>
                    <a:pt x="2039840" y="4026441"/>
                  </a:cubicBezTo>
                  <a:cubicBezTo>
                    <a:pt x="2042838" y="4030284"/>
                    <a:pt x="2048054" y="4032290"/>
                    <a:pt x="2055487" y="4032459"/>
                  </a:cubicBezTo>
                  <a:lnTo>
                    <a:pt x="2055487" y="4051970"/>
                  </a:lnTo>
                  <a:cubicBezTo>
                    <a:pt x="2025417" y="4051632"/>
                    <a:pt x="2010383" y="4038794"/>
                    <a:pt x="2010383" y="4013456"/>
                  </a:cubicBezTo>
                  <a:lnTo>
                    <a:pt x="2010383" y="3976081"/>
                  </a:lnTo>
                  <a:cubicBezTo>
                    <a:pt x="2010383" y="3959357"/>
                    <a:pt x="2003794" y="3950573"/>
                    <a:pt x="1990618" y="3949729"/>
                  </a:cubicBezTo>
                  <a:lnTo>
                    <a:pt x="1990618" y="3931232"/>
                  </a:lnTo>
                  <a:cubicBezTo>
                    <a:pt x="2003794" y="3930387"/>
                    <a:pt x="2010383" y="3921434"/>
                    <a:pt x="2010383" y="3904372"/>
                  </a:cubicBezTo>
                  <a:lnTo>
                    <a:pt x="2010383" y="3868012"/>
                  </a:lnTo>
                  <a:cubicBezTo>
                    <a:pt x="2010383" y="3842335"/>
                    <a:pt x="2025417" y="3829328"/>
                    <a:pt x="2055487" y="3828990"/>
                  </a:cubicBezTo>
                  <a:close/>
                  <a:moveTo>
                    <a:pt x="11198015" y="3488785"/>
                  </a:moveTo>
                  <a:cubicBezTo>
                    <a:pt x="11227915" y="3489123"/>
                    <a:pt x="11242864" y="3502130"/>
                    <a:pt x="11242864" y="3527806"/>
                  </a:cubicBezTo>
                  <a:lnTo>
                    <a:pt x="11242864" y="3564167"/>
                  </a:lnTo>
                  <a:cubicBezTo>
                    <a:pt x="11242864" y="3581229"/>
                    <a:pt x="11249410" y="3590182"/>
                    <a:pt x="11262502" y="3591026"/>
                  </a:cubicBezTo>
                  <a:lnTo>
                    <a:pt x="11262502" y="3609523"/>
                  </a:lnTo>
                  <a:cubicBezTo>
                    <a:pt x="11249410" y="3610368"/>
                    <a:pt x="11242864" y="3619152"/>
                    <a:pt x="11242864" y="3635876"/>
                  </a:cubicBezTo>
                  <a:lnTo>
                    <a:pt x="11242864" y="3673250"/>
                  </a:lnTo>
                  <a:cubicBezTo>
                    <a:pt x="11242864" y="3698589"/>
                    <a:pt x="11227915" y="3711427"/>
                    <a:pt x="11198015" y="3711765"/>
                  </a:cubicBezTo>
                  <a:lnTo>
                    <a:pt x="11198015" y="3692254"/>
                  </a:lnTo>
                  <a:cubicBezTo>
                    <a:pt x="11205363" y="3692085"/>
                    <a:pt x="11210579" y="3690058"/>
                    <a:pt x="11213662" y="3686173"/>
                  </a:cubicBezTo>
                  <a:cubicBezTo>
                    <a:pt x="11216744" y="3682287"/>
                    <a:pt x="11218286" y="3675868"/>
                    <a:pt x="11218286" y="3666916"/>
                  </a:cubicBezTo>
                  <a:lnTo>
                    <a:pt x="11218286" y="3631568"/>
                  </a:lnTo>
                  <a:cubicBezTo>
                    <a:pt x="11218286" y="3614422"/>
                    <a:pt x="11226606" y="3603991"/>
                    <a:pt x="11243245" y="3600275"/>
                  </a:cubicBezTo>
                  <a:lnTo>
                    <a:pt x="11243245" y="3599895"/>
                  </a:lnTo>
                  <a:cubicBezTo>
                    <a:pt x="11226606" y="3595925"/>
                    <a:pt x="11218286" y="3585410"/>
                    <a:pt x="11218286" y="3568348"/>
                  </a:cubicBezTo>
                  <a:lnTo>
                    <a:pt x="11218286" y="3532621"/>
                  </a:lnTo>
                  <a:cubicBezTo>
                    <a:pt x="11218286" y="3516826"/>
                    <a:pt x="11211529" y="3508760"/>
                    <a:pt x="11198015" y="3508422"/>
                  </a:cubicBezTo>
                  <a:close/>
                  <a:moveTo>
                    <a:pt x="11180531" y="3488785"/>
                  </a:moveTo>
                  <a:lnTo>
                    <a:pt x="11180531" y="3508422"/>
                  </a:lnTo>
                  <a:cubicBezTo>
                    <a:pt x="11167102" y="3508760"/>
                    <a:pt x="11160387" y="3516826"/>
                    <a:pt x="11160387" y="3532621"/>
                  </a:cubicBezTo>
                  <a:lnTo>
                    <a:pt x="11160387" y="3568348"/>
                  </a:lnTo>
                  <a:cubicBezTo>
                    <a:pt x="11160387" y="3585410"/>
                    <a:pt x="11151983" y="3595925"/>
                    <a:pt x="11135175" y="3599895"/>
                  </a:cubicBezTo>
                  <a:lnTo>
                    <a:pt x="11135175" y="3600275"/>
                  </a:lnTo>
                  <a:cubicBezTo>
                    <a:pt x="11151983" y="3603991"/>
                    <a:pt x="11160387" y="3614422"/>
                    <a:pt x="11160387" y="3631568"/>
                  </a:cubicBezTo>
                  <a:lnTo>
                    <a:pt x="11160387" y="3666916"/>
                  </a:lnTo>
                  <a:cubicBezTo>
                    <a:pt x="11160387" y="3675953"/>
                    <a:pt x="11161886" y="3682393"/>
                    <a:pt x="11164885" y="3686236"/>
                  </a:cubicBezTo>
                  <a:cubicBezTo>
                    <a:pt x="11167883" y="3690079"/>
                    <a:pt x="11173098" y="3692085"/>
                    <a:pt x="11180531" y="3692254"/>
                  </a:cubicBezTo>
                  <a:lnTo>
                    <a:pt x="11180531" y="3711765"/>
                  </a:lnTo>
                  <a:cubicBezTo>
                    <a:pt x="11150462" y="3711427"/>
                    <a:pt x="11135428" y="3698589"/>
                    <a:pt x="11135428" y="3673250"/>
                  </a:cubicBezTo>
                  <a:lnTo>
                    <a:pt x="11135428" y="3635876"/>
                  </a:lnTo>
                  <a:cubicBezTo>
                    <a:pt x="11135428" y="3619152"/>
                    <a:pt x="11128840" y="3610368"/>
                    <a:pt x="11115664" y="3609523"/>
                  </a:cubicBezTo>
                  <a:lnTo>
                    <a:pt x="11115664" y="3591026"/>
                  </a:lnTo>
                  <a:cubicBezTo>
                    <a:pt x="11128840" y="3590182"/>
                    <a:pt x="11135428" y="3581229"/>
                    <a:pt x="11135428" y="3564167"/>
                  </a:cubicBezTo>
                  <a:lnTo>
                    <a:pt x="11135428" y="3527806"/>
                  </a:lnTo>
                  <a:cubicBezTo>
                    <a:pt x="11135428" y="3502130"/>
                    <a:pt x="11150462" y="3489123"/>
                    <a:pt x="11180531" y="3488785"/>
                  </a:cubicBezTo>
                  <a:close/>
                  <a:moveTo>
                    <a:pt x="8157659" y="3488785"/>
                  </a:moveTo>
                  <a:cubicBezTo>
                    <a:pt x="8187559" y="3489123"/>
                    <a:pt x="8202508" y="3502130"/>
                    <a:pt x="8202508" y="3527807"/>
                  </a:cubicBezTo>
                  <a:lnTo>
                    <a:pt x="8202508" y="3564167"/>
                  </a:lnTo>
                  <a:cubicBezTo>
                    <a:pt x="8202508" y="3581229"/>
                    <a:pt x="8209054" y="3590182"/>
                    <a:pt x="8222146" y="3591027"/>
                  </a:cubicBezTo>
                  <a:lnTo>
                    <a:pt x="8222146" y="3609524"/>
                  </a:lnTo>
                  <a:cubicBezTo>
                    <a:pt x="8209054" y="3610368"/>
                    <a:pt x="8202508" y="3619152"/>
                    <a:pt x="8202508" y="3635876"/>
                  </a:cubicBezTo>
                  <a:lnTo>
                    <a:pt x="8202508" y="3673251"/>
                  </a:lnTo>
                  <a:cubicBezTo>
                    <a:pt x="8202508" y="3698589"/>
                    <a:pt x="8187559" y="3711427"/>
                    <a:pt x="8157659" y="3711765"/>
                  </a:cubicBezTo>
                  <a:lnTo>
                    <a:pt x="8157659" y="3692254"/>
                  </a:lnTo>
                  <a:cubicBezTo>
                    <a:pt x="8165007" y="3692085"/>
                    <a:pt x="8170223" y="3690059"/>
                    <a:pt x="8173306" y="3686173"/>
                  </a:cubicBezTo>
                  <a:cubicBezTo>
                    <a:pt x="8176388" y="3682288"/>
                    <a:pt x="8177930" y="3675869"/>
                    <a:pt x="8177930" y="3666916"/>
                  </a:cubicBezTo>
                  <a:lnTo>
                    <a:pt x="8177930" y="3631569"/>
                  </a:lnTo>
                  <a:cubicBezTo>
                    <a:pt x="8177930" y="3614423"/>
                    <a:pt x="8186250" y="3603992"/>
                    <a:pt x="8202889" y="3600275"/>
                  </a:cubicBezTo>
                  <a:lnTo>
                    <a:pt x="8202889" y="3599895"/>
                  </a:lnTo>
                  <a:cubicBezTo>
                    <a:pt x="8186250" y="3595925"/>
                    <a:pt x="8177930" y="3585410"/>
                    <a:pt x="8177930" y="3568348"/>
                  </a:cubicBezTo>
                  <a:lnTo>
                    <a:pt x="8177930" y="3532621"/>
                  </a:lnTo>
                  <a:cubicBezTo>
                    <a:pt x="8177930" y="3516826"/>
                    <a:pt x="8171173" y="3508760"/>
                    <a:pt x="8157659" y="3508423"/>
                  </a:cubicBezTo>
                  <a:close/>
                  <a:moveTo>
                    <a:pt x="8140175" y="3488785"/>
                  </a:moveTo>
                  <a:lnTo>
                    <a:pt x="8140175" y="3508423"/>
                  </a:lnTo>
                  <a:cubicBezTo>
                    <a:pt x="8126745" y="3508760"/>
                    <a:pt x="8120031" y="3516826"/>
                    <a:pt x="8120031" y="3532621"/>
                  </a:cubicBezTo>
                  <a:lnTo>
                    <a:pt x="8120031" y="3568348"/>
                  </a:lnTo>
                  <a:cubicBezTo>
                    <a:pt x="8120031" y="3585410"/>
                    <a:pt x="8111626" y="3595925"/>
                    <a:pt x="8094818" y="3599895"/>
                  </a:cubicBezTo>
                  <a:lnTo>
                    <a:pt x="8094818" y="3600275"/>
                  </a:lnTo>
                  <a:cubicBezTo>
                    <a:pt x="8111626" y="3603992"/>
                    <a:pt x="8120031" y="3614423"/>
                    <a:pt x="8120031" y="3631569"/>
                  </a:cubicBezTo>
                  <a:lnTo>
                    <a:pt x="8120031" y="3666916"/>
                  </a:lnTo>
                  <a:cubicBezTo>
                    <a:pt x="8120031" y="3675953"/>
                    <a:pt x="8121530" y="3682393"/>
                    <a:pt x="8124528" y="3686236"/>
                  </a:cubicBezTo>
                  <a:cubicBezTo>
                    <a:pt x="8127526" y="3690079"/>
                    <a:pt x="8132742" y="3692085"/>
                    <a:pt x="8140175" y="3692254"/>
                  </a:cubicBezTo>
                  <a:lnTo>
                    <a:pt x="8140175" y="3711765"/>
                  </a:lnTo>
                  <a:cubicBezTo>
                    <a:pt x="8110106" y="3711427"/>
                    <a:pt x="8095072" y="3698589"/>
                    <a:pt x="8095072" y="3673251"/>
                  </a:cubicBezTo>
                  <a:lnTo>
                    <a:pt x="8095072" y="3635876"/>
                  </a:lnTo>
                  <a:cubicBezTo>
                    <a:pt x="8095072" y="3619152"/>
                    <a:pt x="8088484" y="3610368"/>
                    <a:pt x="8075308" y="3609524"/>
                  </a:cubicBezTo>
                  <a:lnTo>
                    <a:pt x="8075308" y="3591027"/>
                  </a:lnTo>
                  <a:cubicBezTo>
                    <a:pt x="8088484" y="3590182"/>
                    <a:pt x="8095072" y="3581229"/>
                    <a:pt x="8095072" y="3564167"/>
                  </a:cubicBezTo>
                  <a:lnTo>
                    <a:pt x="8095072" y="3527807"/>
                  </a:lnTo>
                  <a:cubicBezTo>
                    <a:pt x="8095072" y="3502130"/>
                    <a:pt x="8110106" y="3489123"/>
                    <a:pt x="8140175" y="3488785"/>
                  </a:cubicBezTo>
                  <a:close/>
                  <a:moveTo>
                    <a:pt x="5102938" y="3488785"/>
                  </a:moveTo>
                  <a:cubicBezTo>
                    <a:pt x="5132838" y="3489123"/>
                    <a:pt x="5147787" y="3502130"/>
                    <a:pt x="5147787" y="3527807"/>
                  </a:cubicBezTo>
                  <a:lnTo>
                    <a:pt x="5147787" y="3564167"/>
                  </a:lnTo>
                  <a:cubicBezTo>
                    <a:pt x="5147787" y="3581229"/>
                    <a:pt x="5154333" y="3590182"/>
                    <a:pt x="5167425" y="3591027"/>
                  </a:cubicBezTo>
                  <a:lnTo>
                    <a:pt x="5167425" y="3609524"/>
                  </a:lnTo>
                  <a:cubicBezTo>
                    <a:pt x="5154333" y="3610368"/>
                    <a:pt x="5147787" y="3619152"/>
                    <a:pt x="5147787" y="3635876"/>
                  </a:cubicBezTo>
                  <a:lnTo>
                    <a:pt x="5147787" y="3673251"/>
                  </a:lnTo>
                  <a:cubicBezTo>
                    <a:pt x="5147787" y="3698589"/>
                    <a:pt x="5132838" y="3711427"/>
                    <a:pt x="5102938" y="3711765"/>
                  </a:cubicBezTo>
                  <a:lnTo>
                    <a:pt x="5102938" y="3692254"/>
                  </a:lnTo>
                  <a:cubicBezTo>
                    <a:pt x="5110286" y="3692085"/>
                    <a:pt x="5115502" y="3690059"/>
                    <a:pt x="5118584" y="3686173"/>
                  </a:cubicBezTo>
                  <a:cubicBezTo>
                    <a:pt x="5121667" y="3682288"/>
                    <a:pt x="5123209" y="3675869"/>
                    <a:pt x="5123209" y="3666916"/>
                  </a:cubicBezTo>
                  <a:lnTo>
                    <a:pt x="5123209" y="3631569"/>
                  </a:lnTo>
                  <a:cubicBezTo>
                    <a:pt x="5123209" y="3614423"/>
                    <a:pt x="5131529" y="3603992"/>
                    <a:pt x="5148167" y="3600275"/>
                  </a:cubicBezTo>
                  <a:lnTo>
                    <a:pt x="5148167" y="3599895"/>
                  </a:lnTo>
                  <a:cubicBezTo>
                    <a:pt x="5131529" y="3595925"/>
                    <a:pt x="5123209" y="3585410"/>
                    <a:pt x="5123209" y="3568348"/>
                  </a:cubicBezTo>
                  <a:lnTo>
                    <a:pt x="5123209" y="3532621"/>
                  </a:lnTo>
                  <a:cubicBezTo>
                    <a:pt x="5123209" y="3516826"/>
                    <a:pt x="5116452" y="3508760"/>
                    <a:pt x="5102938" y="3508423"/>
                  </a:cubicBezTo>
                  <a:close/>
                  <a:moveTo>
                    <a:pt x="5085454" y="3488785"/>
                  </a:moveTo>
                  <a:lnTo>
                    <a:pt x="5085454" y="3508423"/>
                  </a:lnTo>
                  <a:cubicBezTo>
                    <a:pt x="5072025" y="3508760"/>
                    <a:pt x="5065310" y="3516826"/>
                    <a:pt x="5065310" y="3532621"/>
                  </a:cubicBezTo>
                  <a:lnTo>
                    <a:pt x="5065310" y="3568348"/>
                  </a:lnTo>
                  <a:cubicBezTo>
                    <a:pt x="5065310" y="3585410"/>
                    <a:pt x="5056905" y="3595925"/>
                    <a:pt x="5040097" y="3599895"/>
                  </a:cubicBezTo>
                  <a:lnTo>
                    <a:pt x="5040097" y="3600275"/>
                  </a:lnTo>
                  <a:cubicBezTo>
                    <a:pt x="5056905" y="3603992"/>
                    <a:pt x="5065310" y="3614423"/>
                    <a:pt x="5065310" y="3631569"/>
                  </a:cubicBezTo>
                  <a:lnTo>
                    <a:pt x="5065310" y="3666916"/>
                  </a:lnTo>
                  <a:cubicBezTo>
                    <a:pt x="5065310" y="3675953"/>
                    <a:pt x="5066809" y="3682393"/>
                    <a:pt x="5069807" y="3686236"/>
                  </a:cubicBezTo>
                  <a:cubicBezTo>
                    <a:pt x="5072806" y="3690079"/>
                    <a:pt x="5078022" y="3692085"/>
                    <a:pt x="5085454" y="3692254"/>
                  </a:cubicBezTo>
                  <a:lnTo>
                    <a:pt x="5085454" y="3711765"/>
                  </a:lnTo>
                  <a:cubicBezTo>
                    <a:pt x="5055385" y="3711427"/>
                    <a:pt x="5040351" y="3698589"/>
                    <a:pt x="5040351" y="3673251"/>
                  </a:cubicBezTo>
                  <a:lnTo>
                    <a:pt x="5040351" y="3635876"/>
                  </a:lnTo>
                  <a:cubicBezTo>
                    <a:pt x="5040351" y="3619152"/>
                    <a:pt x="5033763" y="3610368"/>
                    <a:pt x="5020587" y="3609524"/>
                  </a:cubicBezTo>
                  <a:lnTo>
                    <a:pt x="5020587" y="3591027"/>
                  </a:lnTo>
                  <a:cubicBezTo>
                    <a:pt x="5033763" y="3590182"/>
                    <a:pt x="5040351" y="3581229"/>
                    <a:pt x="5040351" y="3564167"/>
                  </a:cubicBezTo>
                  <a:lnTo>
                    <a:pt x="5040351" y="3527807"/>
                  </a:lnTo>
                  <a:cubicBezTo>
                    <a:pt x="5040351" y="3502130"/>
                    <a:pt x="5055385" y="3489123"/>
                    <a:pt x="5085454" y="3488785"/>
                  </a:cubicBezTo>
                  <a:close/>
                  <a:moveTo>
                    <a:pt x="2074663" y="3488785"/>
                  </a:moveTo>
                  <a:cubicBezTo>
                    <a:pt x="2104562" y="3489123"/>
                    <a:pt x="2119512" y="3502130"/>
                    <a:pt x="2119512" y="3527807"/>
                  </a:cubicBezTo>
                  <a:lnTo>
                    <a:pt x="2119512" y="3564167"/>
                  </a:lnTo>
                  <a:cubicBezTo>
                    <a:pt x="2119512" y="3581229"/>
                    <a:pt x="2126058" y="3590182"/>
                    <a:pt x="2139149" y="3591027"/>
                  </a:cubicBezTo>
                  <a:lnTo>
                    <a:pt x="2139149" y="3609524"/>
                  </a:lnTo>
                  <a:cubicBezTo>
                    <a:pt x="2126058" y="3610368"/>
                    <a:pt x="2119512" y="3619152"/>
                    <a:pt x="2119512" y="3635876"/>
                  </a:cubicBezTo>
                  <a:lnTo>
                    <a:pt x="2119512" y="3673251"/>
                  </a:lnTo>
                  <a:cubicBezTo>
                    <a:pt x="2119512" y="3698589"/>
                    <a:pt x="2104562" y="3711427"/>
                    <a:pt x="2074663" y="3711765"/>
                  </a:cubicBezTo>
                  <a:lnTo>
                    <a:pt x="2074663" y="3692254"/>
                  </a:lnTo>
                  <a:cubicBezTo>
                    <a:pt x="2082011" y="3692085"/>
                    <a:pt x="2087226" y="3690059"/>
                    <a:pt x="2090309" y="3686173"/>
                  </a:cubicBezTo>
                  <a:cubicBezTo>
                    <a:pt x="2093391" y="3682288"/>
                    <a:pt x="2094934" y="3675869"/>
                    <a:pt x="2094934" y="3666916"/>
                  </a:cubicBezTo>
                  <a:lnTo>
                    <a:pt x="2094934" y="3631569"/>
                  </a:lnTo>
                  <a:cubicBezTo>
                    <a:pt x="2094934" y="3614423"/>
                    <a:pt x="2103253" y="3603992"/>
                    <a:pt x="2119892" y="3600275"/>
                  </a:cubicBezTo>
                  <a:lnTo>
                    <a:pt x="2119892" y="3599895"/>
                  </a:lnTo>
                  <a:cubicBezTo>
                    <a:pt x="2103253" y="3595925"/>
                    <a:pt x="2094934" y="3585410"/>
                    <a:pt x="2094934" y="3568348"/>
                  </a:cubicBezTo>
                  <a:lnTo>
                    <a:pt x="2094934" y="3532621"/>
                  </a:lnTo>
                  <a:cubicBezTo>
                    <a:pt x="2094934" y="3516826"/>
                    <a:pt x="2088175" y="3508760"/>
                    <a:pt x="2074663" y="3508423"/>
                  </a:cubicBezTo>
                  <a:close/>
                  <a:moveTo>
                    <a:pt x="2057179" y="3488785"/>
                  </a:moveTo>
                  <a:lnTo>
                    <a:pt x="2057179" y="3508423"/>
                  </a:lnTo>
                  <a:cubicBezTo>
                    <a:pt x="2043749" y="3508760"/>
                    <a:pt x="2037034" y="3516826"/>
                    <a:pt x="2037034" y="3532621"/>
                  </a:cubicBezTo>
                  <a:lnTo>
                    <a:pt x="2037034" y="3568348"/>
                  </a:lnTo>
                  <a:cubicBezTo>
                    <a:pt x="2037034" y="3585410"/>
                    <a:pt x="2028630" y="3595925"/>
                    <a:pt x="2011822" y="3599895"/>
                  </a:cubicBezTo>
                  <a:lnTo>
                    <a:pt x="2011822" y="3600275"/>
                  </a:lnTo>
                  <a:cubicBezTo>
                    <a:pt x="2028630" y="3603992"/>
                    <a:pt x="2037034" y="3614423"/>
                    <a:pt x="2037034" y="3631569"/>
                  </a:cubicBezTo>
                  <a:lnTo>
                    <a:pt x="2037034" y="3666916"/>
                  </a:lnTo>
                  <a:cubicBezTo>
                    <a:pt x="2037034" y="3675953"/>
                    <a:pt x="2038534" y="3682393"/>
                    <a:pt x="2041532" y="3686236"/>
                  </a:cubicBezTo>
                  <a:cubicBezTo>
                    <a:pt x="2044530" y="3690079"/>
                    <a:pt x="2049746" y="3692085"/>
                    <a:pt x="2057179" y="3692254"/>
                  </a:cubicBezTo>
                  <a:lnTo>
                    <a:pt x="2057179" y="3711765"/>
                  </a:lnTo>
                  <a:cubicBezTo>
                    <a:pt x="2027110" y="3711427"/>
                    <a:pt x="2012076" y="3698589"/>
                    <a:pt x="2012076" y="3673251"/>
                  </a:cubicBezTo>
                  <a:lnTo>
                    <a:pt x="2012076" y="3635876"/>
                  </a:lnTo>
                  <a:cubicBezTo>
                    <a:pt x="2012076" y="3619152"/>
                    <a:pt x="2005487" y="3610368"/>
                    <a:pt x="1992310" y="3609524"/>
                  </a:cubicBezTo>
                  <a:lnTo>
                    <a:pt x="1992310" y="3591027"/>
                  </a:lnTo>
                  <a:cubicBezTo>
                    <a:pt x="2005487" y="3590182"/>
                    <a:pt x="2012076" y="3581229"/>
                    <a:pt x="2012076" y="3564167"/>
                  </a:cubicBezTo>
                  <a:lnTo>
                    <a:pt x="2012076" y="3527807"/>
                  </a:lnTo>
                  <a:cubicBezTo>
                    <a:pt x="2012076" y="3502130"/>
                    <a:pt x="2027110" y="3489123"/>
                    <a:pt x="2057179" y="3488785"/>
                  </a:cubicBezTo>
                  <a:close/>
                  <a:moveTo>
                    <a:pt x="11198015" y="3115795"/>
                  </a:moveTo>
                  <a:cubicBezTo>
                    <a:pt x="11227915" y="3116133"/>
                    <a:pt x="11242864" y="3129140"/>
                    <a:pt x="11242864" y="3154817"/>
                  </a:cubicBezTo>
                  <a:lnTo>
                    <a:pt x="11242864" y="3191177"/>
                  </a:lnTo>
                  <a:cubicBezTo>
                    <a:pt x="11242864" y="3208239"/>
                    <a:pt x="11249410" y="3217192"/>
                    <a:pt x="11262502" y="3218037"/>
                  </a:cubicBezTo>
                  <a:lnTo>
                    <a:pt x="11262502" y="3236534"/>
                  </a:lnTo>
                  <a:cubicBezTo>
                    <a:pt x="11249410" y="3237378"/>
                    <a:pt x="11242864" y="3246162"/>
                    <a:pt x="11242864" y="3262886"/>
                  </a:cubicBezTo>
                  <a:lnTo>
                    <a:pt x="11242864" y="3300261"/>
                  </a:lnTo>
                  <a:cubicBezTo>
                    <a:pt x="11242864" y="3325599"/>
                    <a:pt x="11227915" y="3338437"/>
                    <a:pt x="11198015" y="3338775"/>
                  </a:cubicBezTo>
                  <a:lnTo>
                    <a:pt x="11198015" y="3319264"/>
                  </a:lnTo>
                  <a:cubicBezTo>
                    <a:pt x="11205363" y="3319095"/>
                    <a:pt x="11210579" y="3317069"/>
                    <a:pt x="11213662" y="3313183"/>
                  </a:cubicBezTo>
                  <a:cubicBezTo>
                    <a:pt x="11216744" y="3309298"/>
                    <a:pt x="11218286" y="3302879"/>
                    <a:pt x="11218286" y="3293926"/>
                  </a:cubicBezTo>
                  <a:lnTo>
                    <a:pt x="11218286" y="3258579"/>
                  </a:lnTo>
                  <a:cubicBezTo>
                    <a:pt x="11218286" y="3241433"/>
                    <a:pt x="11226606" y="3231002"/>
                    <a:pt x="11243245" y="3227285"/>
                  </a:cubicBezTo>
                  <a:lnTo>
                    <a:pt x="11243245" y="3226905"/>
                  </a:lnTo>
                  <a:cubicBezTo>
                    <a:pt x="11226606" y="3222935"/>
                    <a:pt x="11218286" y="3212420"/>
                    <a:pt x="11218286" y="3195358"/>
                  </a:cubicBezTo>
                  <a:lnTo>
                    <a:pt x="11218286" y="3159631"/>
                  </a:lnTo>
                  <a:cubicBezTo>
                    <a:pt x="11218286" y="3143836"/>
                    <a:pt x="11211529" y="3135770"/>
                    <a:pt x="11198015" y="3135433"/>
                  </a:cubicBezTo>
                  <a:close/>
                  <a:moveTo>
                    <a:pt x="11180531" y="3115795"/>
                  </a:moveTo>
                  <a:lnTo>
                    <a:pt x="11180531" y="3135433"/>
                  </a:lnTo>
                  <a:cubicBezTo>
                    <a:pt x="11167102" y="3135770"/>
                    <a:pt x="11160387" y="3143836"/>
                    <a:pt x="11160387" y="3159631"/>
                  </a:cubicBezTo>
                  <a:lnTo>
                    <a:pt x="11160387" y="3195358"/>
                  </a:lnTo>
                  <a:cubicBezTo>
                    <a:pt x="11160387" y="3212420"/>
                    <a:pt x="11151983" y="3222935"/>
                    <a:pt x="11135175" y="3226905"/>
                  </a:cubicBezTo>
                  <a:lnTo>
                    <a:pt x="11135175" y="3227285"/>
                  </a:lnTo>
                  <a:cubicBezTo>
                    <a:pt x="11151983" y="3231002"/>
                    <a:pt x="11160387" y="3241433"/>
                    <a:pt x="11160387" y="3258579"/>
                  </a:cubicBezTo>
                  <a:lnTo>
                    <a:pt x="11160387" y="3293926"/>
                  </a:lnTo>
                  <a:cubicBezTo>
                    <a:pt x="11160387" y="3302963"/>
                    <a:pt x="11161886" y="3309403"/>
                    <a:pt x="11164885" y="3313246"/>
                  </a:cubicBezTo>
                  <a:cubicBezTo>
                    <a:pt x="11167883" y="3317089"/>
                    <a:pt x="11173098" y="3319095"/>
                    <a:pt x="11180531" y="3319264"/>
                  </a:cubicBezTo>
                  <a:lnTo>
                    <a:pt x="11180531" y="3338775"/>
                  </a:lnTo>
                  <a:cubicBezTo>
                    <a:pt x="11150462" y="3338437"/>
                    <a:pt x="11135428" y="3325599"/>
                    <a:pt x="11135428" y="3300261"/>
                  </a:cubicBezTo>
                  <a:lnTo>
                    <a:pt x="11135428" y="3262886"/>
                  </a:lnTo>
                  <a:cubicBezTo>
                    <a:pt x="11135428" y="3246162"/>
                    <a:pt x="11128840" y="3237378"/>
                    <a:pt x="11115664" y="3236534"/>
                  </a:cubicBezTo>
                  <a:lnTo>
                    <a:pt x="11115664" y="3218037"/>
                  </a:lnTo>
                  <a:cubicBezTo>
                    <a:pt x="11128840" y="3217192"/>
                    <a:pt x="11135428" y="3208239"/>
                    <a:pt x="11135428" y="3191177"/>
                  </a:cubicBezTo>
                  <a:lnTo>
                    <a:pt x="11135428" y="3154817"/>
                  </a:lnTo>
                  <a:cubicBezTo>
                    <a:pt x="11135428" y="3129140"/>
                    <a:pt x="11150462" y="3116133"/>
                    <a:pt x="11180531" y="3115795"/>
                  </a:cubicBezTo>
                  <a:close/>
                  <a:moveTo>
                    <a:pt x="8139350" y="3115795"/>
                  </a:moveTo>
                  <a:cubicBezTo>
                    <a:pt x="8169250" y="3116133"/>
                    <a:pt x="8184199" y="3129140"/>
                    <a:pt x="8184199" y="3154817"/>
                  </a:cubicBezTo>
                  <a:lnTo>
                    <a:pt x="8184199" y="3191177"/>
                  </a:lnTo>
                  <a:cubicBezTo>
                    <a:pt x="8184199" y="3208239"/>
                    <a:pt x="8190745" y="3217192"/>
                    <a:pt x="8203837" y="3218037"/>
                  </a:cubicBezTo>
                  <a:lnTo>
                    <a:pt x="8203837" y="3236534"/>
                  </a:lnTo>
                  <a:cubicBezTo>
                    <a:pt x="8190745" y="3237378"/>
                    <a:pt x="8184199" y="3246162"/>
                    <a:pt x="8184199" y="3262886"/>
                  </a:cubicBezTo>
                  <a:lnTo>
                    <a:pt x="8184199" y="3300261"/>
                  </a:lnTo>
                  <a:cubicBezTo>
                    <a:pt x="8184199" y="3325599"/>
                    <a:pt x="8169250" y="3338437"/>
                    <a:pt x="8139350" y="3338775"/>
                  </a:cubicBezTo>
                  <a:lnTo>
                    <a:pt x="8139350" y="3319264"/>
                  </a:lnTo>
                  <a:cubicBezTo>
                    <a:pt x="8146698" y="3319095"/>
                    <a:pt x="8151914" y="3317069"/>
                    <a:pt x="8154997" y="3313183"/>
                  </a:cubicBezTo>
                  <a:cubicBezTo>
                    <a:pt x="8158079" y="3309298"/>
                    <a:pt x="8159621" y="3302879"/>
                    <a:pt x="8159621" y="3293926"/>
                  </a:cubicBezTo>
                  <a:lnTo>
                    <a:pt x="8159621" y="3258579"/>
                  </a:lnTo>
                  <a:cubicBezTo>
                    <a:pt x="8159621" y="3241433"/>
                    <a:pt x="8167941" y="3231002"/>
                    <a:pt x="8184580" y="3227285"/>
                  </a:cubicBezTo>
                  <a:lnTo>
                    <a:pt x="8184580" y="3226905"/>
                  </a:lnTo>
                  <a:cubicBezTo>
                    <a:pt x="8167941" y="3222935"/>
                    <a:pt x="8159621" y="3212420"/>
                    <a:pt x="8159621" y="3195358"/>
                  </a:cubicBezTo>
                  <a:lnTo>
                    <a:pt x="8159621" y="3159631"/>
                  </a:lnTo>
                  <a:cubicBezTo>
                    <a:pt x="8159621" y="3143836"/>
                    <a:pt x="8152864" y="3135770"/>
                    <a:pt x="8139350" y="3135433"/>
                  </a:cubicBezTo>
                  <a:close/>
                  <a:moveTo>
                    <a:pt x="8121866" y="3115795"/>
                  </a:moveTo>
                  <a:lnTo>
                    <a:pt x="8121866" y="3135433"/>
                  </a:lnTo>
                  <a:cubicBezTo>
                    <a:pt x="8108437" y="3135770"/>
                    <a:pt x="8101722" y="3143836"/>
                    <a:pt x="8101722" y="3159631"/>
                  </a:cubicBezTo>
                  <a:lnTo>
                    <a:pt x="8101722" y="3195358"/>
                  </a:lnTo>
                  <a:cubicBezTo>
                    <a:pt x="8101722" y="3212420"/>
                    <a:pt x="8093318" y="3222935"/>
                    <a:pt x="8076510" y="3226905"/>
                  </a:cubicBezTo>
                  <a:lnTo>
                    <a:pt x="8076510" y="3227285"/>
                  </a:lnTo>
                  <a:cubicBezTo>
                    <a:pt x="8093318" y="3231002"/>
                    <a:pt x="8101722" y="3241433"/>
                    <a:pt x="8101722" y="3258579"/>
                  </a:cubicBezTo>
                  <a:lnTo>
                    <a:pt x="8101722" y="3293926"/>
                  </a:lnTo>
                  <a:cubicBezTo>
                    <a:pt x="8101722" y="3302963"/>
                    <a:pt x="8103221" y="3309403"/>
                    <a:pt x="8106220" y="3313246"/>
                  </a:cubicBezTo>
                  <a:cubicBezTo>
                    <a:pt x="8109218" y="3317089"/>
                    <a:pt x="8114434" y="3319095"/>
                    <a:pt x="8121866" y="3319264"/>
                  </a:cubicBezTo>
                  <a:lnTo>
                    <a:pt x="8121866" y="3338775"/>
                  </a:lnTo>
                  <a:cubicBezTo>
                    <a:pt x="8091798" y="3338437"/>
                    <a:pt x="8076764" y="3325599"/>
                    <a:pt x="8076764" y="3300261"/>
                  </a:cubicBezTo>
                  <a:lnTo>
                    <a:pt x="8076764" y="3262886"/>
                  </a:lnTo>
                  <a:cubicBezTo>
                    <a:pt x="8076764" y="3246162"/>
                    <a:pt x="8070175" y="3237378"/>
                    <a:pt x="8056999" y="3236534"/>
                  </a:cubicBezTo>
                  <a:lnTo>
                    <a:pt x="8056999" y="3218037"/>
                  </a:lnTo>
                  <a:cubicBezTo>
                    <a:pt x="8070175" y="3217192"/>
                    <a:pt x="8076764" y="3208239"/>
                    <a:pt x="8076764" y="3191177"/>
                  </a:cubicBezTo>
                  <a:lnTo>
                    <a:pt x="8076764" y="3154817"/>
                  </a:lnTo>
                  <a:cubicBezTo>
                    <a:pt x="8076764" y="3129140"/>
                    <a:pt x="8091798" y="3116133"/>
                    <a:pt x="8121866" y="3115795"/>
                  </a:cubicBezTo>
                  <a:close/>
                  <a:moveTo>
                    <a:pt x="5133348" y="3115795"/>
                  </a:moveTo>
                  <a:cubicBezTo>
                    <a:pt x="5163249" y="3116133"/>
                    <a:pt x="5178199" y="3129140"/>
                    <a:pt x="5178199" y="3154817"/>
                  </a:cubicBezTo>
                  <a:lnTo>
                    <a:pt x="5178199" y="3191177"/>
                  </a:lnTo>
                  <a:cubicBezTo>
                    <a:pt x="5178199" y="3208239"/>
                    <a:pt x="5184744" y="3217192"/>
                    <a:pt x="5197835" y="3218037"/>
                  </a:cubicBezTo>
                  <a:lnTo>
                    <a:pt x="5197835" y="3236534"/>
                  </a:lnTo>
                  <a:cubicBezTo>
                    <a:pt x="5184744" y="3237378"/>
                    <a:pt x="5178199" y="3246162"/>
                    <a:pt x="5178199" y="3262886"/>
                  </a:cubicBezTo>
                  <a:lnTo>
                    <a:pt x="5178199" y="3300261"/>
                  </a:lnTo>
                  <a:cubicBezTo>
                    <a:pt x="5178199" y="3325599"/>
                    <a:pt x="5163249" y="3338437"/>
                    <a:pt x="5133348" y="3338775"/>
                  </a:cubicBezTo>
                  <a:lnTo>
                    <a:pt x="5133348" y="3319264"/>
                  </a:lnTo>
                  <a:cubicBezTo>
                    <a:pt x="5140697" y="3319095"/>
                    <a:pt x="5145912" y="3317069"/>
                    <a:pt x="5148996" y="3313183"/>
                  </a:cubicBezTo>
                  <a:cubicBezTo>
                    <a:pt x="5152078" y="3309298"/>
                    <a:pt x="5153619" y="3302879"/>
                    <a:pt x="5153619" y="3293926"/>
                  </a:cubicBezTo>
                  <a:lnTo>
                    <a:pt x="5153619" y="3258579"/>
                  </a:lnTo>
                  <a:cubicBezTo>
                    <a:pt x="5153619" y="3241433"/>
                    <a:pt x="5161939" y="3231002"/>
                    <a:pt x="5178578" y="3227285"/>
                  </a:cubicBezTo>
                  <a:lnTo>
                    <a:pt x="5178578" y="3226905"/>
                  </a:lnTo>
                  <a:cubicBezTo>
                    <a:pt x="5161939" y="3222935"/>
                    <a:pt x="5153619" y="3212420"/>
                    <a:pt x="5153619" y="3195358"/>
                  </a:cubicBezTo>
                  <a:lnTo>
                    <a:pt x="5153619" y="3159631"/>
                  </a:lnTo>
                  <a:cubicBezTo>
                    <a:pt x="5153619" y="3143836"/>
                    <a:pt x="5146862" y="3135770"/>
                    <a:pt x="5133348" y="3135433"/>
                  </a:cubicBezTo>
                  <a:close/>
                  <a:moveTo>
                    <a:pt x="5115864" y="3115795"/>
                  </a:moveTo>
                  <a:lnTo>
                    <a:pt x="5115864" y="3135433"/>
                  </a:lnTo>
                  <a:cubicBezTo>
                    <a:pt x="5102435" y="3135770"/>
                    <a:pt x="5095720" y="3143836"/>
                    <a:pt x="5095720" y="3159631"/>
                  </a:cubicBezTo>
                  <a:lnTo>
                    <a:pt x="5095720" y="3195358"/>
                  </a:lnTo>
                  <a:cubicBezTo>
                    <a:pt x="5095720" y="3212420"/>
                    <a:pt x="5087316" y="3222935"/>
                    <a:pt x="5070509" y="3226905"/>
                  </a:cubicBezTo>
                  <a:lnTo>
                    <a:pt x="5070509" y="3227285"/>
                  </a:lnTo>
                  <a:cubicBezTo>
                    <a:pt x="5087316" y="3231002"/>
                    <a:pt x="5095720" y="3241433"/>
                    <a:pt x="5095720" y="3258579"/>
                  </a:cubicBezTo>
                  <a:lnTo>
                    <a:pt x="5095720" y="3293926"/>
                  </a:lnTo>
                  <a:cubicBezTo>
                    <a:pt x="5095720" y="3302963"/>
                    <a:pt x="5097219" y="3309403"/>
                    <a:pt x="5100219" y="3313246"/>
                  </a:cubicBezTo>
                  <a:cubicBezTo>
                    <a:pt x="5103216" y="3317089"/>
                    <a:pt x="5108432" y="3319095"/>
                    <a:pt x="5115864" y="3319264"/>
                  </a:cubicBezTo>
                  <a:lnTo>
                    <a:pt x="5115864" y="3338775"/>
                  </a:lnTo>
                  <a:cubicBezTo>
                    <a:pt x="5085796" y="3338437"/>
                    <a:pt x="5070762" y="3325599"/>
                    <a:pt x="5070762" y="3300261"/>
                  </a:cubicBezTo>
                  <a:lnTo>
                    <a:pt x="5070762" y="3262886"/>
                  </a:lnTo>
                  <a:cubicBezTo>
                    <a:pt x="5070762" y="3246162"/>
                    <a:pt x="5064173" y="3237378"/>
                    <a:pt x="5050997" y="3236534"/>
                  </a:cubicBezTo>
                  <a:lnTo>
                    <a:pt x="5050997" y="3218037"/>
                  </a:lnTo>
                  <a:cubicBezTo>
                    <a:pt x="5064173" y="3217192"/>
                    <a:pt x="5070762" y="3208239"/>
                    <a:pt x="5070762" y="3191177"/>
                  </a:cubicBezTo>
                  <a:lnTo>
                    <a:pt x="5070762" y="3154817"/>
                  </a:lnTo>
                  <a:cubicBezTo>
                    <a:pt x="5070762" y="3129140"/>
                    <a:pt x="5085796" y="3116133"/>
                    <a:pt x="5115864" y="3115795"/>
                  </a:cubicBezTo>
                  <a:close/>
                  <a:moveTo>
                    <a:pt x="2074662" y="3115795"/>
                  </a:moveTo>
                  <a:cubicBezTo>
                    <a:pt x="2104562" y="3116133"/>
                    <a:pt x="2119511" y="3129140"/>
                    <a:pt x="2119511" y="3154817"/>
                  </a:cubicBezTo>
                  <a:lnTo>
                    <a:pt x="2119511" y="3191177"/>
                  </a:lnTo>
                  <a:cubicBezTo>
                    <a:pt x="2119511" y="3208239"/>
                    <a:pt x="2126057" y="3217192"/>
                    <a:pt x="2139149" y="3218037"/>
                  </a:cubicBezTo>
                  <a:lnTo>
                    <a:pt x="2139149" y="3236534"/>
                  </a:lnTo>
                  <a:cubicBezTo>
                    <a:pt x="2126057" y="3237378"/>
                    <a:pt x="2119511" y="3246162"/>
                    <a:pt x="2119511" y="3262886"/>
                  </a:cubicBezTo>
                  <a:lnTo>
                    <a:pt x="2119511" y="3300261"/>
                  </a:lnTo>
                  <a:cubicBezTo>
                    <a:pt x="2119511" y="3325599"/>
                    <a:pt x="2104562" y="3338437"/>
                    <a:pt x="2074662" y="3338775"/>
                  </a:cubicBezTo>
                  <a:lnTo>
                    <a:pt x="2074662" y="3319264"/>
                  </a:lnTo>
                  <a:cubicBezTo>
                    <a:pt x="2082010" y="3319095"/>
                    <a:pt x="2087226" y="3317069"/>
                    <a:pt x="2090309" y="3313183"/>
                  </a:cubicBezTo>
                  <a:cubicBezTo>
                    <a:pt x="2093391" y="3309298"/>
                    <a:pt x="2094933" y="3302879"/>
                    <a:pt x="2094933" y="3293926"/>
                  </a:cubicBezTo>
                  <a:lnTo>
                    <a:pt x="2094933" y="3258579"/>
                  </a:lnTo>
                  <a:cubicBezTo>
                    <a:pt x="2094933" y="3241433"/>
                    <a:pt x="2103251" y="3231002"/>
                    <a:pt x="2119891" y="3227285"/>
                  </a:cubicBezTo>
                  <a:lnTo>
                    <a:pt x="2119891" y="3226905"/>
                  </a:lnTo>
                  <a:cubicBezTo>
                    <a:pt x="2103251" y="3222935"/>
                    <a:pt x="2094933" y="3212420"/>
                    <a:pt x="2094933" y="3195358"/>
                  </a:cubicBezTo>
                  <a:lnTo>
                    <a:pt x="2094933" y="3159631"/>
                  </a:lnTo>
                  <a:cubicBezTo>
                    <a:pt x="2094933" y="3143836"/>
                    <a:pt x="2088175" y="3135770"/>
                    <a:pt x="2074662" y="3135433"/>
                  </a:cubicBezTo>
                  <a:close/>
                  <a:moveTo>
                    <a:pt x="2057178" y="3115795"/>
                  </a:moveTo>
                  <a:lnTo>
                    <a:pt x="2057178" y="3135433"/>
                  </a:lnTo>
                  <a:cubicBezTo>
                    <a:pt x="2043749" y="3135770"/>
                    <a:pt x="2037034" y="3143836"/>
                    <a:pt x="2037034" y="3159631"/>
                  </a:cubicBezTo>
                  <a:lnTo>
                    <a:pt x="2037034" y="3195358"/>
                  </a:lnTo>
                  <a:cubicBezTo>
                    <a:pt x="2037034" y="3212420"/>
                    <a:pt x="2028630" y="3222935"/>
                    <a:pt x="2011822" y="3226905"/>
                  </a:cubicBezTo>
                  <a:lnTo>
                    <a:pt x="2011822" y="3227285"/>
                  </a:lnTo>
                  <a:cubicBezTo>
                    <a:pt x="2028630" y="3231002"/>
                    <a:pt x="2037034" y="3241433"/>
                    <a:pt x="2037034" y="3258579"/>
                  </a:cubicBezTo>
                  <a:lnTo>
                    <a:pt x="2037034" y="3293926"/>
                  </a:lnTo>
                  <a:cubicBezTo>
                    <a:pt x="2037034" y="3302963"/>
                    <a:pt x="2038533" y="3309403"/>
                    <a:pt x="2041532" y="3313246"/>
                  </a:cubicBezTo>
                  <a:cubicBezTo>
                    <a:pt x="2044530" y="3317089"/>
                    <a:pt x="2049746" y="3319095"/>
                    <a:pt x="2057178" y="3319264"/>
                  </a:cubicBezTo>
                  <a:lnTo>
                    <a:pt x="2057178" y="3338775"/>
                  </a:lnTo>
                  <a:cubicBezTo>
                    <a:pt x="2027110" y="3338437"/>
                    <a:pt x="2012076" y="3325599"/>
                    <a:pt x="2012076" y="3300261"/>
                  </a:cubicBezTo>
                  <a:lnTo>
                    <a:pt x="2012076" y="3262886"/>
                  </a:lnTo>
                  <a:cubicBezTo>
                    <a:pt x="2012076" y="3246162"/>
                    <a:pt x="2005487" y="3237378"/>
                    <a:pt x="1992310" y="3236534"/>
                  </a:cubicBezTo>
                  <a:lnTo>
                    <a:pt x="1992310" y="3218037"/>
                  </a:lnTo>
                  <a:cubicBezTo>
                    <a:pt x="2005487" y="3217192"/>
                    <a:pt x="2012076" y="3208239"/>
                    <a:pt x="2012076" y="3191177"/>
                  </a:cubicBezTo>
                  <a:lnTo>
                    <a:pt x="2012076" y="3154817"/>
                  </a:lnTo>
                  <a:cubicBezTo>
                    <a:pt x="2012076" y="3129140"/>
                    <a:pt x="2027110" y="3116133"/>
                    <a:pt x="2057178" y="3115795"/>
                  </a:cubicBezTo>
                  <a:close/>
                  <a:moveTo>
                    <a:pt x="6225654" y="2984201"/>
                  </a:moveTo>
                  <a:cubicBezTo>
                    <a:pt x="6221135" y="3002100"/>
                    <a:pt x="6215991" y="3013399"/>
                    <a:pt x="6202463" y="3023448"/>
                  </a:cubicBezTo>
                  <a:cubicBezTo>
                    <a:pt x="6201095" y="3030792"/>
                    <a:pt x="6213404" y="3026868"/>
                    <a:pt x="6218875" y="3026838"/>
                  </a:cubicBezTo>
                  <a:cubicBezTo>
                    <a:pt x="6224346" y="3026808"/>
                    <a:pt x="6233831" y="3028280"/>
                    <a:pt x="6235287" y="3023270"/>
                  </a:cubicBezTo>
                  <a:cubicBezTo>
                    <a:pt x="6236269" y="3019821"/>
                    <a:pt x="6233860" y="3017175"/>
                    <a:pt x="6232344" y="3013815"/>
                  </a:cubicBezTo>
                  <a:cubicBezTo>
                    <a:pt x="6231571" y="3010128"/>
                    <a:pt x="6234440" y="3005549"/>
                    <a:pt x="6233325" y="3000614"/>
                  </a:cubicBezTo>
                  <a:cubicBezTo>
                    <a:pt x="6232210" y="2995678"/>
                    <a:pt x="6228925" y="2987888"/>
                    <a:pt x="6225654" y="2984201"/>
                  </a:cubicBezTo>
                  <a:close/>
                  <a:moveTo>
                    <a:pt x="6065633" y="2967789"/>
                  </a:moveTo>
                  <a:cubicBezTo>
                    <a:pt x="6060816" y="2973290"/>
                    <a:pt x="6051986" y="2983785"/>
                    <a:pt x="6051986" y="2988037"/>
                  </a:cubicBezTo>
                  <a:cubicBezTo>
                    <a:pt x="6052253" y="2993329"/>
                    <a:pt x="6066436" y="3008969"/>
                    <a:pt x="6073482" y="3009623"/>
                  </a:cubicBezTo>
                  <a:cubicBezTo>
                    <a:pt x="6079310" y="3009771"/>
                    <a:pt x="6079875" y="3006709"/>
                    <a:pt x="6082402" y="3002398"/>
                  </a:cubicBezTo>
                  <a:cubicBezTo>
                    <a:pt x="6074315" y="2990951"/>
                    <a:pt x="6070955" y="2985123"/>
                    <a:pt x="6065633" y="2967789"/>
                  </a:cubicBezTo>
                  <a:close/>
                  <a:moveTo>
                    <a:pt x="6049245" y="2899498"/>
                  </a:moveTo>
                  <a:lnTo>
                    <a:pt x="6049044" y="2901015"/>
                  </a:lnTo>
                  <a:lnTo>
                    <a:pt x="6048978" y="2899755"/>
                  </a:lnTo>
                  <a:close/>
                  <a:moveTo>
                    <a:pt x="6251165" y="2872303"/>
                  </a:moveTo>
                  <a:cubicBezTo>
                    <a:pt x="6251127" y="2872474"/>
                    <a:pt x="6248269" y="2873537"/>
                    <a:pt x="6247173" y="2875157"/>
                  </a:cubicBezTo>
                  <a:cubicBezTo>
                    <a:pt x="6251710" y="2876669"/>
                    <a:pt x="6253304" y="2878092"/>
                    <a:pt x="6254095" y="2883528"/>
                  </a:cubicBezTo>
                  <a:cubicBezTo>
                    <a:pt x="6254309" y="2883488"/>
                    <a:pt x="6255803" y="2882282"/>
                    <a:pt x="6260976" y="2881802"/>
                  </a:cubicBezTo>
                  <a:cubicBezTo>
                    <a:pt x="6249232" y="2886500"/>
                    <a:pt x="6243285" y="2891555"/>
                    <a:pt x="6234752" y="2900980"/>
                  </a:cubicBezTo>
                  <a:cubicBezTo>
                    <a:pt x="6237451" y="2895673"/>
                    <a:pt x="6239750" y="2893423"/>
                    <a:pt x="6239769" y="2893357"/>
                  </a:cubicBezTo>
                  <a:cubicBezTo>
                    <a:pt x="6235302" y="2891840"/>
                    <a:pt x="6234046" y="2891482"/>
                    <a:pt x="6231987" y="2886396"/>
                  </a:cubicBezTo>
                  <a:cubicBezTo>
                    <a:pt x="6231716" y="2886545"/>
                    <a:pt x="6231266" y="2886314"/>
                    <a:pt x="6227170" y="2890455"/>
                  </a:cubicBezTo>
                  <a:cubicBezTo>
                    <a:pt x="6234366" y="2876302"/>
                    <a:pt x="6241115" y="2875395"/>
                    <a:pt x="6251165" y="2872303"/>
                  </a:cubicBezTo>
                  <a:close/>
                  <a:moveTo>
                    <a:pt x="6224596" y="2855891"/>
                  </a:moveTo>
                  <a:cubicBezTo>
                    <a:pt x="6225296" y="2855836"/>
                    <a:pt x="6226055" y="2855856"/>
                    <a:pt x="6226880" y="2855928"/>
                  </a:cubicBezTo>
                  <a:cubicBezTo>
                    <a:pt x="6229081" y="2856121"/>
                    <a:pt x="6231749" y="2856686"/>
                    <a:pt x="6235020" y="2857184"/>
                  </a:cubicBezTo>
                  <a:cubicBezTo>
                    <a:pt x="6223900" y="2858938"/>
                    <a:pt x="6220808" y="2865152"/>
                    <a:pt x="6216110" y="2876094"/>
                  </a:cubicBezTo>
                  <a:cubicBezTo>
                    <a:pt x="6217671" y="2860367"/>
                    <a:pt x="6219693" y="2856280"/>
                    <a:pt x="6224596" y="2855891"/>
                  </a:cubicBezTo>
                  <a:close/>
                  <a:moveTo>
                    <a:pt x="6327199" y="2833814"/>
                  </a:moveTo>
                  <a:cubicBezTo>
                    <a:pt x="6328797" y="2835870"/>
                    <a:pt x="6323936" y="2843611"/>
                    <a:pt x="6319002" y="2847735"/>
                  </a:cubicBezTo>
                  <a:cubicBezTo>
                    <a:pt x="6314067" y="2851859"/>
                    <a:pt x="6306797" y="2851436"/>
                    <a:pt x="6306826" y="2849726"/>
                  </a:cubicBezTo>
                  <a:cubicBezTo>
                    <a:pt x="6306854" y="2848017"/>
                    <a:pt x="6314571" y="2845750"/>
                    <a:pt x="6317967" y="2843097"/>
                  </a:cubicBezTo>
                  <a:cubicBezTo>
                    <a:pt x="6321362" y="2840445"/>
                    <a:pt x="6326070" y="2832828"/>
                    <a:pt x="6327199" y="2833814"/>
                  </a:cubicBezTo>
                  <a:close/>
                  <a:moveTo>
                    <a:pt x="6223262" y="2814809"/>
                  </a:moveTo>
                  <a:cubicBezTo>
                    <a:pt x="6225201" y="2814884"/>
                    <a:pt x="6227158" y="2815051"/>
                    <a:pt x="6229125" y="2815323"/>
                  </a:cubicBezTo>
                  <a:cubicBezTo>
                    <a:pt x="6244862" y="2817496"/>
                    <a:pt x="6265107" y="2833998"/>
                    <a:pt x="6272110" y="2844543"/>
                  </a:cubicBezTo>
                  <a:cubicBezTo>
                    <a:pt x="6281529" y="2847119"/>
                    <a:pt x="6287526" y="2860763"/>
                    <a:pt x="6289981" y="2865553"/>
                  </a:cubicBezTo>
                  <a:cubicBezTo>
                    <a:pt x="6292436" y="2870342"/>
                    <a:pt x="6289578" y="2873079"/>
                    <a:pt x="6286841" y="2873280"/>
                  </a:cubicBezTo>
                  <a:cubicBezTo>
                    <a:pt x="6286801" y="2873864"/>
                    <a:pt x="6295283" y="2880645"/>
                    <a:pt x="6299867" y="2883317"/>
                  </a:cubicBezTo>
                  <a:cubicBezTo>
                    <a:pt x="6303414" y="2867897"/>
                    <a:pt x="6298267" y="2857548"/>
                    <a:pt x="6298191" y="2846234"/>
                  </a:cubicBezTo>
                  <a:cubicBezTo>
                    <a:pt x="6303585" y="2836815"/>
                    <a:pt x="6308012" y="2840196"/>
                    <a:pt x="6313405" y="2836574"/>
                  </a:cubicBezTo>
                  <a:cubicBezTo>
                    <a:pt x="6316625" y="2832871"/>
                    <a:pt x="6319604" y="2825063"/>
                    <a:pt x="6325238" y="2825466"/>
                  </a:cubicBezTo>
                  <a:cubicBezTo>
                    <a:pt x="6335059" y="2825868"/>
                    <a:pt x="6347536" y="2844141"/>
                    <a:pt x="6347938" y="2887528"/>
                  </a:cubicBezTo>
                  <a:cubicBezTo>
                    <a:pt x="6348180" y="2921981"/>
                    <a:pt x="6334415" y="2945083"/>
                    <a:pt x="6310507" y="2955387"/>
                  </a:cubicBezTo>
                  <a:cubicBezTo>
                    <a:pt x="6298282" y="2958647"/>
                    <a:pt x="6287788" y="2958443"/>
                    <a:pt x="6278696" y="2956100"/>
                  </a:cubicBezTo>
                  <a:lnTo>
                    <a:pt x="6274716" y="2954714"/>
                  </a:lnTo>
                  <a:lnTo>
                    <a:pt x="6274239" y="2956975"/>
                  </a:lnTo>
                  <a:cubicBezTo>
                    <a:pt x="6269387" y="2975589"/>
                    <a:pt x="6255744" y="2977020"/>
                    <a:pt x="6249652" y="2976879"/>
                  </a:cubicBezTo>
                  <a:cubicBezTo>
                    <a:pt x="6242689" y="2976718"/>
                    <a:pt x="6232385" y="2970278"/>
                    <a:pt x="6228159" y="2967220"/>
                  </a:cubicBezTo>
                  <a:cubicBezTo>
                    <a:pt x="6228038" y="2971888"/>
                    <a:pt x="6229125" y="2973539"/>
                    <a:pt x="6227193" y="2979777"/>
                  </a:cubicBezTo>
                  <a:cubicBezTo>
                    <a:pt x="6232264" y="2983118"/>
                    <a:pt x="6235323" y="2995031"/>
                    <a:pt x="6236853" y="3000303"/>
                  </a:cubicBezTo>
                  <a:cubicBezTo>
                    <a:pt x="6238382" y="3005576"/>
                    <a:pt x="6236491" y="3006783"/>
                    <a:pt x="6236370" y="3011412"/>
                  </a:cubicBezTo>
                  <a:cubicBezTo>
                    <a:pt x="6236249" y="3016041"/>
                    <a:pt x="6241079" y="3019743"/>
                    <a:pt x="6238543" y="3025177"/>
                  </a:cubicBezTo>
                  <a:cubicBezTo>
                    <a:pt x="6236008" y="3030610"/>
                    <a:pt x="6229407" y="3030892"/>
                    <a:pt x="6222605" y="3030973"/>
                  </a:cubicBezTo>
                  <a:cubicBezTo>
                    <a:pt x="6215803" y="3031053"/>
                    <a:pt x="6200589" y="3035722"/>
                    <a:pt x="6197731" y="3025660"/>
                  </a:cubicBezTo>
                  <a:cubicBezTo>
                    <a:pt x="6197374" y="3024402"/>
                    <a:pt x="6197124" y="3022903"/>
                    <a:pt x="6196972" y="3021206"/>
                  </a:cubicBezTo>
                  <a:cubicBezTo>
                    <a:pt x="6196959" y="3020757"/>
                    <a:pt x="6196946" y="3020309"/>
                    <a:pt x="6196932" y="3019861"/>
                  </a:cubicBezTo>
                  <a:lnTo>
                    <a:pt x="6193193" y="3023405"/>
                  </a:lnTo>
                  <a:cubicBezTo>
                    <a:pt x="6184645" y="3031452"/>
                    <a:pt x="6176938" y="3038036"/>
                    <a:pt x="6169719" y="3037734"/>
                  </a:cubicBezTo>
                  <a:cubicBezTo>
                    <a:pt x="6157684" y="3035319"/>
                    <a:pt x="6148387" y="3016161"/>
                    <a:pt x="6146294" y="3009480"/>
                  </a:cubicBezTo>
                  <a:cubicBezTo>
                    <a:pt x="6144201" y="3002799"/>
                    <a:pt x="6151003" y="3001551"/>
                    <a:pt x="6157161" y="2997647"/>
                  </a:cubicBezTo>
                  <a:cubicBezTo>
                    <a:pt x="6151003" y="3001229"/>
                    <a:pt x="6134340" y="2998291"/>
                    <a:pt x="6132288" y="2995232"/>
                  </a:cubicBezTo>
                  <a:cubicBezTo>
                    <a:pt x="6132891" y="3001591"/>
                    <a:pt x="6132529" y="3002517"/>
                    <a:pt x="6131322" y="3006099"/>
                  </a:cubicBezTo>
                  <a:cubicBezTo>
                    <a:pt x="6130114" y="3009681"/>
                    <a:pt x="6126935" y="3011774"/>
                    <a:pt x="6125043" y="3016725"/>
                  </a:cubicBezTo>
                  <a:cubicBezTo>
                    <a:pt x="6123151" y="3021675"/>
                    <a:pt x="6127498" y="3034031"/>
                    <a:pt x="6119972" y="3035802"/>
                  </a:cubicBezTo>
                  <a:cubicBezTo>
                    <a:pt x="6112445" y="3037573"/>
                    <a:pt x="6089061" y="3036889"/>
                    <a:pt x="6079884" y="3027350"/>
                  </a:cubicBezTo>
                  <a:cubicBezTo>
                    <a:pt x="6076021" y="3022641"/>
                    <a:pt x="6082299" y="3015356"/>
                    <a:pt x="6080850" y="3013344"/>
                  </a:cubicBezTo>
                  <a:cubicBezTo>
                    <a:pt x="6079402" y="3011331"/>
                    <a:pt x="6076987" y="3019260"/>
                    <a:pt x="6071191" y="3015276"/>
                  </a:cubicBezTo>
                  <a:cubicBezTo>
                    <a:pt x="6065395" y="3011291"/>
                    <a:pt x="6047726" y="2998170"/>
                    <a:pt x="6046076" y="2989436"/>
                  </a:cubicBezTo>
                  <a:cubicBezTo>
                    <a:pt x="6044426" y="2980703"/>
                    <a:pt x="6054488" y="2971526"/>
                    <a:pt x="6061290" y="2962873"/>
                  </a:cubicBezTo>
                  <a:cubicBezTo>
                    <a:pt x="6059640" y="2953495"/>
                    <a:pt x="6058955" y="2947216"/>
                    <a:pt x="6062739" y="2936309"/>
                  </a:cubicBezTo>
                  <a:cubicBezTo>
                    <a:pt x="6057667" y="2933210"/>
                    <a:pt x="6046639" y="2928823"/>
                    <a:pt x="6047283" y="2914333"/>
                  </a:cubicBezTo>
                  <a:lnTo>
                    <a:pt x="6049044" y="2901015"/>
                  </a:lnTo>
                  <a:lnTo>
                    <a:pt x="6049503" y="2909735"/>
                  </a:lnTo>
                  <a:lnTo>
                    <a:pt x="6050326" y="2910131"/>
                  </a:lnTo>
                  <a:lnTo>
                    <a:pt x="6050449" y="2911305"/>
                  </a:lnTo>
                  <a:cubicBezTo>
                    <a:pt x="6051473" y="2919684"/>
                    <a:pt x="6054216" y="2928966"/>
                    <a:pt x="6070004" y="2925152"/>
                  </a:cubicBezTo>
                  <a:cubicBezTo>
                    <a:pt x="6063214" y="2961185"/>
                    <a:pt x="6078550" y="2979051"/>
                    <a:pt x="6088227" y="2995782"/>
                  </a:cubicBezTo>
                  <a:lnTo>
                    <a:pt x="6089189" y="2997632"/>
                  </a:lnTo>
                  <a:lnTo>
                    <a:pt x="6089155" y="2998499"/>
                  </a:lnTo>
                  <a:cubicBezTo>
                    <a:pt x="6088864" y="3003607"/>
                    <a:pt x="6088133" y="3007147"/>
                    <a:pt x="6087754" y="3011942"/>
                  </a:cubicBezTo>
                  <a:cubicBezTo>
                    <a:pt x="6086654" y="3015718"/>
                    <a:pt x="6083948" y="3015302"/>
                    <a:pt x="6084454" y="3023270"/>
                  </a:cubicBezTo>
                  <a:cubicBezTo>
                    <a:pt x="6084781" y="3028235"/>
                    <a:pt x="6113919" y="3036233"/>
                    <a:pt x="6118617" y="3029871"/>
                  </a:cubicBezTo>
                  <a:cubicBezTo>
                    <a:pt x="6119984" y="3027670"/>
                    <a:pt x="6119390" y="3022616"/>
                    <a:pt x="6119776" y="3018988"/>
                  </a:cubicBezTo>
                  <a:cubicBezTo>
                    <a:pt x="6120371" y="3014945"/>
                    <a:pt x="6125604" y="3010544"/>
                    <a:pt x="6126377" y="3004806"/>
                  </a:cubicBezTo>
                  <a:cubicBezTo>
                    <a:pt x="6126882" y="3000242"/>
                    <a:pt x="6126830" y="2995076"/>
                    <a:pt x="6126656" y="2989698"/>
                  </a:cubicBezTo>
                  <a:lnTo>
                    <a:pt x="6126448" y="2984019"/>
                  </a:lnTo>
                  <a:lnTo>
                    <a:pt x="6128036" y="2985869"/>
                  </a:lnTo>
                  <a:cubicBezTo>
                    <a:pt x="6138309" y="2996346"/>
                    <a:pt x="6160097" y="2999874"/>
                    <a:pt x="6167408" y="2983666"/>
                  </a:cubicBezTo>
                  <a:cubicBezTo>
                    <a:pt x="6167497" y="2988869"/>
                    <a:pt x="6169192" y="2990861"/>
                    <a:pt x="6168300" y="2997403"/>
                  </a:cubicBezTo>
                  <a:cubicBezTo>
                    <a:pt x="6165743" y="3001535"/>
                    <a:pt x="6154355" y="3002457"/>
                    <a:pt x="6151263" y="3010069"/>
                  </a:cubicBezTo>
                  <a:cubicBezTo>
                    <a:pt x="6150341" y="3013250"/>
                    <a:pt x="6162443" y="3032309"/>
                    <a:pt x="6170173" y="3032992"/>
                  </a:cubicBezTo>
                  <a:cubicBezTo>
                    <a:pt x="6175792" y="3033646"/>
                    <a:pt x="6186229" y="3022616"/>
                    <a:pt x="6205228" y="3005252"/>
                  </a:cubicBezTo>
                  <a:cubicBezTo>
                    <a:pt x="6208169" y="3002564"/>
                    <a:pt x="6219291" y="2981466"/>
                    <a:pt x="6224316" y="2963418"/>
                  </a:cubicBezTo>
                  <a:cubicBezTo>
                    <a:pt x="6219194" y="2960846"/>
                    <a:pt x="6211772" y="2954718"/>
                    <a:pt x="6207453" y="2945155"/>
                  </a:cubicBezTo>
                  <a:lnTo>
                    <a:pt x="6207259" y="2944647"/>
                  </a:lnTo>
                  <a:lnTo>
                    <a:pt x="6209877" y="2946295"/>
                  </a:lnTo>
                  <a:cubicBezTo>
                    <a:pt x="6216467" y="2950685"/>
                    <a:pt x="6223157" y="2955502"/>
                    <a:pt x="6229044" y="2956907"/>
                  </a:cubicBezTo>
                  <a:cubicBezTo>
                    <a:pt x="6233385" y="2961902"/>
                    <a:pt x="6238439" y="2969841"/>
                    <a:pt x="6250362" y="2971357"/>
                  </a:cubicBezTo>
                  <a:cubicBezTo>
                    <a:pt x="6260530" y="2973081"/>
                    <a:pt x="6267755" y="2963478"/>
                    <a:pt x="6271323" y="2952982"/>
                  </a:cubicBezTo>
                  <a:lnTo>
                    <a:pt x="6268023" y="2952715"/>
                  </a:lnTo>
                  <a:cubicBezTo>
                    <a:pt x="6252859" y="2978136"/>
                    <a:pt x="6236833" y="2954952"/>
                    <a:pt x="6240230" y="2930567"/>
                  </a:cubicBezTo>
                  <a:lnTo>
                    <a:pt x="6241155" y="2925791"/>
                  </a:lnTo>
                  <a:lnTo>
                    <a:pt x="6242907" y="2927701"/>
                  </a:lnTo>
                  <a:cubicBezTo>
                    <a:pt x="6273179" y="2958552"/>
                    <a:pt x="6299649" y="2954041"/>
                    <a:pt x="6314674" y="2945846"/>
                  </a:cubicBezTo>
                  <a:cubicBezTo>
                    <a:pt x="6355823" y="2920484"/>
                    <a:pt x="6343767" y="2832956"/>
                    <a:pt x="6326537" y="2828730"/>
                  </a:cubicBezTo>
                  <a:cubicBezTo>
                    <a:pt x="6322597" y="2827764"/>
                    <a:pt x="6319847" y="2837917"/>
                    <a:pt x="6317260" y="2839434"/>
                  </a:cubicBezTo>
                  <a:cubicBezTo>
                    <a:pt x="6309322" y="2843626"/>
                    <a:pt x="6305843" y="2843001"/>
                    <a:pt x="6303702" y="2846302"/>
                  </a:cubicBezTo>
                  <a:cubicBezTo>
                    <a:pt x="6299465" y="2852490"/>
                    <a:pt x="6315063" y="2888312"/>
                    <a:pt x="6295225" y="2907097"/>
                  </a:cubicBezTo>
                  <a:lnTo>
                    <a:pt x="6293745" y="2908265"/>
                  </a:lnTo>
                  <a:lnTo>
                    <a:pt x="6294056" y="2907664"/>
                  </a:lnTo>
                  <a:cubicBezTo>
                    <a:pt x="6297815" y="2900400"/>
                    <a:pt x="6301762" y="2892083"/>
                    <a:pt x="6297280" y="2888582"/>
                  </a:cubicBezTo>
                  <a:cubicBezTo>
                    <a:pt x="6292017" y="2884389"/>
                    <a:pt x="6288717" y="2887600"/>
                    <a:pt x="6284703" y="2890990"/>
                  </a:cubicBezTo>
                  <a:cubicBezTo>
                    <a:pt x="6287290" y="2888046"/>
                    <a:pt x="6290412" y="2887511"/>
                    <a:pt x="6286041" y="2880554"/>
                  </a:cubicBezTo>
                  <a:cubicBezTo>
                    <a:pt x="6282562" y="2878205"/>
                    <a:pt x="6280689" y="2878800"/>
                    <a:pt x="6274267" y="2880464"/>
                  </a:cubicBezTo>
                  <a:cubicBezTo>
                    <a:pt x="6278340" y="2877432"/>
                    <a:pt x="6279648" y="2878591"/>
                    <a:pt x="6277656" y="2872704"/>
                  </a:cubicBezTo>
                  <a:cubicBezTo>
                    <a:pt x="6274936" y="2869047"/>
                    <a:pt x="6273570" y="2869354"/>
                    <a:pt x="6270849" y="2869560"/>
                  </a:cubicBezTo>
                  <a:lnTo>
                    <a:pt x="6268963" y="2869573"/>
                  </a:lnTo>
                  <a:lnTo>
                    <a:pt x="6270514" y="2869016"/>
                  </a:lnTo>
                  <a:cubicBezTo>
                    <a:pt x="6271384" y="2868723"/>
                    <a:pt x="6272171" y="2868486"/>
                    <a:pt x="6272840" y="2868334"/>
                  </a:cubicBezTo>
                  <a:cubicBezTo>
                    <a:pt x="6278192" y="2867115"/>
                    <a:pt x="6284049" y="2868794"/>
                    <a:pt x="6284079" y="2865747"/>
                  </a:cubicBezTo>
                  <a:cubicBezTo>
                    <a:pt x="6284733" y="2862417"/>
                    <a:pt x="6276378" y="2852040"/>
                    <a:pt x="6272661" y="2851208"/>
                  </a:cubicBezTo>
                  <a:cubicBezTo>
                    <a:pt x="6270677" y="2850583"/>
                    <a:pt x="6265481" y="2850059"/>
                    <a:pt x="6260762" y="2849748"/>
                  </a:cubicBezTo>
                  <a:lnTo>
                    <a:pt x="6259663" y="2849690"/>
                  </a:lnTo>
                  <a:lnTo>
                    <a:pt x="6259672" y="2849666"/>
                  </a:lnTo>
                  <a:cubicBezTo>
                    <a:pt x="6260792" y="2848119"/>
                    <a:pt x="6264522" y="2847551"/>
                    <a:pt x="6267399" y="2847283"/>
                  </a:cubicBezTo>
                  <a:cubicBezTo>
                    <a:pt x="6255327" y="2831346"/>
                    <a:pt x="6239063" y="2821118"/>
                    <a:pt x="6225030" y="2821327"/>
                  </a:cubicBezTo>
                  <a:cubicBezTo>
                    <a:pt x="6208112" y="2821832"/>
                    <a:pt x="6186912" y="2826173"/>
                    <a:pt x="6174900" y="2844786"/>
                  </a:cubicBezTo>
                  <a:cubicBezTo>
                    <a:pt x="6181040" y="2844719"/>
                    <a:pt x="6185608" y="2844747"/>
                    <a:pt x="6189037" y="2845110"/>
                  </a:cubicBezTo>
                  <a:lnTo>
                    <a:pt x="6189610" y="2845193"/>
                  </a:lnTo>
                  <a:lnTo>
                    <a:pt x="6187216" y="2845844"/>
                  </a:lnTo>
                  <a:cubicBezTo>
                    <a:pt x="6174496" y="2848904"/>
                    <a:pt x="6165635" y="2848447"/>
                    <a:pt x="6162783" y="2850926"/>
                  </a:cubicBezTo>
                  <a:cubicBezTo>
                    <a:pt x="6156821" y="2855098"/>
                    <a:pt x="6118212" y="2890667"/>
                    <a:pt x="6116620" y="2910805"/>
                  </a:cubicBezTo>
                  <a:cubicBezTo>
                    <a:pt x="6120709" y="2921495"/>
                    <a:pt x="6121478" y="2913941"/>
                    <a:pt x="6130507" y="2932769"/>
                  </a:cubicBezTo>
                  <a:lnTo>
                    <a:pt x="6144916" y="2916343"/>
                  </a:lnTo>
                  <a:lnTo>
                    <a:pt x="6128058" y="2951212"/>
                  </a:lnTo>
                  <a:cubicBezTo>
                    <a:pt x="6132262" y="2957351"/>
                    <a:pt x="6135127" y="2960635"/>
                    <a:pt x="6143880" y="2960530"/>
                  </a:cubicBezTo>
                  <a:cubicBezTo>
                    <a:pt x="6153228" y="2959290"/>
                    <a:pt x="6161862" y="2951628"/>
                    <a:pt x="6170852" y="2947177"/>
                  </a:cubicBezTo>
                  <a:cubicBezTo>
                    <a:pt x="6179738" y="2943479"/>
                    <a:pt x="6182379" y="2946025"/>
                    <a:pt x="6188143" y="2945448"/>
                  </a:cubicBezTo>
                  <a:cubicBezTo>
                    <a:pt x="6200288" y="2912507"/>
                    <a:pt x="6181213" y="2912658"/>
                    <a:pt x="6194339" y="2876862"/>
                  </a:cubicBezTo>
                  <a:cubicBezTo>
                    <a:pt x="6189673" y="2905776"/>
                    <a:pt x="6208199" y="2905790"/>
                    <a:pt x="6195059" y="2954238"/>
                  </a:cubicBezTo>
                  <a:lnTo>
                    <a:pt x="6192966" y="2953895"/>
                  </a:lnTo>
                  <a:lnTo>
                    <a:pt x="6190315" y="2953217"/>
                  </a:lnTo>
                  <a:lnTo>
                    <a:pt x="6187599" y="2952793"/>
                  </a:lnTo>
                  <a:lnTo>
                    <a:pt x="6186838" y="2952617"/>
                  </a:lnTo>
                  <a:cubicBezTo>
                    <a:pt x="6184783" y="2952212"/>
                    <a:pt x="6182621" y="2951994"/>
                    <a:pt x="6180113" y="2952389"/>
                  </a:cubicBezTo>
                  <a:lnTo>
                    <a:pt x="6179134" y="2952617"/>
                  </a:lnTo>
                  <a:lnTo>
                    <a:pt x="6178542" y="2952669"/>
                  </a:lnTo>
                  <a:cubicBezTo>
                    <a:pt x="6165429" y="2954710"/>
                    <a:pt x="6160606" y="2966273"/>
                    <a:pt x="6139578" y="2968503"/>
                  </a:cubicBezTo>
                  <a:cubicBezTo>
                    <a:pt x="6133308" y="2967280"/>
                    <a:pt x="6123282" y="2958067"/>
                    <a:pt x="6117388" y="2950903"/>
                  </a:cubicBezTo>
                  <a:lnTo>
                    <a:pt x="6116933" y="2950314"/>
                  </a:lnTo>
                  <a:lnTo>
                    <a:pt x="6118644" y="2947455"/>
                  </a:lnTo>
                  <a:cubicBezTo>
                    <a:pt x="6120471" y="2944609"/>
                    <a:pt x="6122471" y="2941699"/>
                    <a:pt x="6124682" y="2938711"/>
                  </a:cubicBezTo>
                  <a:cubicBezTo>
                    <a:pt x="6120817" y="2928334"/>
                    <a:pt x="6110618" y="2924736"/>
                    <a:pt x="6107734" y="2911862"/>
                  </a:cubicBezTo>
                  <a:cubicBezTo>
                    <a:pt x="6112402" y="2898542"/>
                    <a:pt x="6114305" y="2889860"/>
                    <a:pt x="6137794" y="2866014"/>
                  </a:cubicBezTo>
                  <a:cubicBezTo>
                    <a:pt x="6075356" y="2874964"/>
                    <a:pt x="6075541" y="2925230"/>
                    <a:pt x="6058278" y="2913077"/>
                  </a:cubicBezTo>
                  <a:lnTo>
                    <a:pt x="6054677" y="2909836"/>
                  </a:lnTo>
                  <a:lnTo>
                    <a:pt x="6055730" y="2909245"/>
                  </a:lnTo>
                  <a:cubicBezTo>
                    <a:pt x="6062093" y="2904959"/>
                    <a:pt x="6054558" y="2898787"/>
                    <a:pt x="6059657" y="2889473"/>
                  </a:cubicBezTo>
                  <a:lnTo>
                    <a:pt x="6049245" y="2899498"/>
                  </a:lnTo>
                  <a:lnTo>
                    <a:pt x="6050151" y="2892645"/>
                  </a:lnTo>
                  <a:cubicBezTo>
                    <a:pt x="6055212" y="2887609"/>
                    <a:pt x="6062055" y="2884771"/>
                    <a:pt x="6063705" y="2884147"/>
                  </a:cubicBezTo>
                  <a:cubicBezTo>
                    <a:pt x="6060605" y="2893606"/>
                    <a:pt x="6067367" y="2900206"/>
                    <a:pt x="6063705" y="2907813"/>
                  </a:cubicBezTo>
                  <a:cubicBezTo>
                    <a:pt x="6098922" y="2863017"/>
                    <a:pt x="6123232" y="2860159"/>
                    <a:pt x="6139532" y="2859757"/>
                  </a:cubicBezTo>
                  <a:cubicBezTo>
                    <a:pt x="6152211" y="2848487"/>
                    <a:pt x="6153297" y="2845549"/>
                    <a:pt x="6161991" y="2843336"/>
                  </a:cubicBezTo>
                  <a:lnTo>
                    <a:pt x="6167986" y="2842707"/>
                  </a:lnTo>
                  <a:lnTo>
                    <a:pt x="6168681" y="2841220"/>
                  </a:lnTo>
                  <a:cubicBezTo>
                    <a:pt x="6174017" y="2830623"/>
                    <a:pt x="6178674" y="2827317"/>
                    <a:pt x="6187831" y="2822809"/>
                  </a:cubicBezTo>
                  <a:cubicBezTo>
                    <a:pt x="6196987" y="2818301"/>
                    <a:pt x="6209687" y="2814286"/>
                    <a:pt x="6223262" y="2814809"/>
                  </a:cubicBezTo>
                  <a:close/>
                  <a:moveTo>
                    <a:pt x="11472799" y="2814763"/>
                  </a:moveTo>
                  <a:cubicBezTo>
                    <a:pt x="11502699" y="2815101"/>
                    <a:pt x="11517648" y="2828108"/>
                    <a:pt x="11517648" y="2853785"/>
                  </a:cubicBezTo>
                  <a:lnTo>
                    <a:pt x="11517648" y="2890145"/>
                  </a:lnTo>
                  <a:cubicBezTo>
                    <a:pt x="11517648" y="2907207"/>
                    <a:pt x="11524194" y="2916160"/>
                    <a:pt x="11537286" y="2917005"/>
                  </a:cubicBezTo>
                  <a:lnTo>
                    <a:pt x="11537286" y="2935502"/>
                  </a:lnTo>
                  <a:cubicBezTo>
                    <a:pt x="11524194" y="2936346"/>
                    <a:pt x="11517648" y="2945130"/>
                    <a:pt x="11517648" y="2961854"/>
                  </a:cubicBezTo>
                  <a:lnTo>
                    <a:pt x="11517648" y="2999229"/>
                  </a:lnTo>
                  <a:cubicBezTo>
                    <a:pt x="11517648" y="3024567"/>
                    <a:pt x="11502699" y="3037405"/>
                    <a:pt x="11472799" y="3037743"/>
                  </a:cubicBezTo>
                  <a:lnTo>
                    <a:pt x="11472799" y="3018232"/>
                  </a:lnTo>
                  <a:cubicBezTo>
                    <a:pt x="11480147" y="3018063"/>
                    <a:pt x="11485363" y="3016037"/>
                    <a:pt x="11488446" y="3012151"/>
                  </a:cubicBezTo>
                  <a:cubicBezTo>
                    <a:pt x="11491528" y="3008266"/>
                    <a:pt x="11493070" y="3001847"/>
                    <a:pt x="11493070" y="2992894"/>
                  </a:cubicBezTo>
                  <a:lnTo>
                    <a:pt x="11493070" y="2957547"/>
                  </a:lnTo>
                  <a:cubicBezTo>
                    <a:pt x="11493070" y="2940401"/>
                    <a:pt x="11501390" y="2929970"/>
                    <a:pt x="11518029" y="2926253"/>
                  </a:cubicBezTo>
                  <a:lnTo>
                    <a:pt x="11518029" y="2925873"/>
                  </a:lnTo>
                  <a:cubicBezTo>
                    <a:pt x="11501390" y="2921903"/>
                    <a:pt x="11493070" y="2911388"/>
                    <a:pt x="11493070" y="2894326"/>
                  </a:cubicBezTo>
                  <a:lnTo>
                    <a:pt x="11493070" y="2858599"/>
                  </a:lnTo>
                  <a:cubicBezTo>
                    <a:pt x="11493070" y="2842804"/>
                    <a:pt x="11486313" y="2834738"/>
                    <a:pt x="11472799" y="2834401"/>
                  </a:cubicBezTo>
                  <a:close/>
                  <a:moveTo>
                    <a:pt x="11455315" y="2814763"/>
                  </a:moveTo>
                  <a:lnTo>
                    <a:pt x="11455315" y="2834401"/>
                  </a:lnTo>
                  <a:cubicBezTo>
                    <a:pt x="11441886" y="2834738"/>
                    <a:pt x="11435171" y="2842804"/>
                    <a:pt x="11435171" y="2858599"/>
                  </a:cubicBezTo>
                  <a:lnTo>
                    <a:pt x="11435171" y="2894326"/>
                  </a:lnTo>
                  <a:cubicBezTo>
                    <a:pt x="11435171" y="2911388"/>
                    <a:pt x="11426767" y="2921903"/>
                    <a:pt x="11409959" y="2925873"/>
                  </a:cubicBezTo>
                  <a:lnTo>
                    <a:pt x="11409959" y="2926253"/>
                  </a:lnTo>
                  <a:cubicBezTo>
                    <a:pt x="11426767" y="2929970"/>
                    <a:pt x="11435171" y="2940401"/>
                    <a:pt x="11435171" y="2957547"/>
                  </a:cubicBezTo>
                  <a:lnTo>
                    <a:pt x="11435171" y="2992894"/>
                  </a:lnTo>
                  <a:cubicBezTo>
                    <a:pt x="11435171" y="3001931"/>
                    <a:pt x="11436670" y="3008371"/>
                    <a:pt x="11439669" y="3012214"/>
                  </a:cubicBezTo>
                  <a:cubicBezTo>
                    <a:pt x="11442667" y="3016057"/>
                    <a:pt x="11447882" y="3018063"/>
                    <a:pt x="11455315" y="3018232"/>
                  </a:cubicBezTo>
                  <a:lnTo>
                    <a:pt x="11455315" y="3037743"/>
                  </a:lnTo>
                  <a:cubicBezTo>
                    <a:pt x="11425246" y="3037405"/>
                    <a:pt x="11410212" y="3024567"/>
                    <a:pt x="11410212" y="2999229"/>
                  </a:cubicBezTo>
                  <a:lnTo>
                    <a:pt x="11410212" y="2961854"/>
                  </a:lnTo>
                  <a:cubicBezTo>
                    <a:pt x="11410212" y="2945130"/>
                    <a:pt x="11403624" y="2936346"/>
                    <a:pt x="11390448" y="2935502"/>
                  </a:cubicBezTo>
                  <a:lnTo>
                    <a:pt x="11390448" y="2917005"/>
                  </a:lnTo>
                  <a:cubicBezTo>
                    <a:pt x="11403624" y="2916160"/>
                    <a:pt x="11410212" y="2907207"/>
                    <a:pt x="11410212" y="2890145"/>
                  </a:cubicBezTo>
                  <a:lnTo>
                    <a:pt x="11410212" y="2853785"/>
                  </a:lnTo>
                  <a:cubicBezTo>
                    <a:pt x="11410212" y="2828108"/>
                    <a:pt x="11425246" y="2815101"/>
                    <a:pt x="11455315" y="2814763"/>
                  </a:cubicBezTo>
                  <a:close/>
                  <a:moveTo>
                    <a:pt x="7307218" y="2814763"/>
                  </a:moveTo>
                  <a:cubicBezTo>
                    <a:pt x="7337118" y="2815101"/>
                    <a:pt x="7352068" y="2828108"/>
                    <a:pt x="7352068" y="2853785"/>
                  </a:cubicBezTo>
                  <a:lnTo>
                    <a:pt x="7352068" y="2890145"/>
                  </a:lnTo>
                  <a:cubicBezTo>
                    <a:pt x="7352068" y="2907207"/>
                    <a:pt x="7358614" y="2916160"/>
                    <a:pt x="7371705" y="2917005"/>
                  </a:cubicBezTo>
                  <a:lnTo>
                    <a:pt x="7371705" y="2935502"/>
                  </a:lnTo>
                  <a:cubicBezTo>
                    <a:pt x="7358614" y="2936346"/>
                    <a:pt x="7352068" y="2945130"/>
                    <a:pt x="7352068" y="2961854"/>
                  </a:cubicBezTo>
                  <a:lnTo>
                    <a:pt x="7352068" y="2999229"/>
                  </a:lnTo>
                  <a:cubicBezTo>
                    <a:pt x="7352068" y="3024567"/>
                    <a:pt x="7337118" y="3037405"/>
                    <a:pt x="7307218" y="3037743"/>
                  </a:cubicBezTo>
                  <a:lnTo>
                    <a:pt x="7307218" y="3018232"/>
                  </a:lnTo>
                  <a:cubicBezTo>
                    <a:pt x="7314567" y="3018063"/>
                    <a:pt x="7319782" y="3016037"/>
                    <a:pt x="7322865" y="3012151"/>
                  </a:cubicBezTo>
                  <a:cubicBezTo>
                    <a:pt x="7325948" y="3008266"/>
                    <a:pt x="7327489" y="3001847"/>
                    <a:pt x="7327489" y="2992894"/>
                  </a:cubicBezTo>
                  <a:lnTo>
                    <a:pt x="7327489" y="2957547"/>
                  </a:lnTo>
                  <a:cubicBezTo>
                    <a:pt x="7327489" y="2940401"/>
                    <a:pt x="7335809" y="2929970"/>
                    <a:pt x="7352448" y="2926253"/>
                  </a:cubicBezTo>
                  <a:lnTo>
                    <a:pt x="7352448" y="2925873"/>
                  </a:lnTo>
                  <a:cubicBezTo>
                    <a:pt x="7335809" y="2921903"/>
                    <a:pt x="7327489" y="2911388"/>
                    <a:pt x="7327489" y="2894326"/>
                  </a:cubicBezTo>
                  <a:lnTo>
                    <a:pt x="7327489" y="2858599"/>
                  </a:lnTo>
                  <a:cubicBezTo>
                    <a:pt x="7327489" y="2842804"/>
                    <a:pt x="7320732" y="2834738"/>
                    <a:pt x="7307218" y="2834401"/>
                  </a:cubicBezTo>
                  <a:close/>
                  <a:moveTo>
                    <a:pt x="7289734" y="2814763"/>
                  </a:moveTo>
                  <a:lnTo>
                    <a:pt x="7289734" y="2834401"/>
                  </a:lnTo>
                  <a:cubicBezTo>
                    <a:pt x="7276305" y="2834738"/>
                    <a:pt x="7269590" y="2842804"/>
                    <a:pt x="7269590" y="2858599"/>
                  </a:cubicBezTo>
                  <a:lnTo>
                    <a:pt x="7269590" y="2894326"/>
                  </a:lnTo>
                  <a:cubicBezTo>
                    <a:pt x="7269590" y="2911388"/>
                    <a:pt x="7261186" y="2921903"/>
                    <a:pt x="7244378" y="2925873"/>
                  </a:cubicBezTo>
                  <a:lnTo>
                    <a:pt x="7244378" y="2926253"/>
                  </a:lnTo>
                  <a:cubicBezTo>
                    <a:pt x="7261186" y="2929970"/>
                    <a:pt x="7269590" y="2940401"/>
                    <a:pt x="7269590" y="2957547"/>
                  </a:cubicBezTo>
                  <a:lnTo>
                    <a:pt x="7269590" y="2992894"/>
                  </a:lnTo>
                  <a:cubicBezTo>
                    <a:pt x="7269590" y="3001931"/>
                    <a:pt x="7271089" y="3008371"/>
                    <a:pt x="7274088" y="3012214"/>
                  </a:cubicBezTo>
                  <a:cubicBezTo>
                    <a:pt x="7277086" y="3016057"/>
                    <a:pt x="7282302" y="3018063"/>
                    <a:pt x="7289734" y="3018232"/>
                  </a:cubicBezTo>
                  <a:lnTo>
                    <a:pt x="7289734" y="3037743"/>
                  </a:lnTo>
                  <a:cubicBezTo>
                    <a:pt x="7259666" y="3037405"/>
                    <a:pt x="7244632" y="3024567"/>
                    <a:pt x="7244632" y="2999229"/>
                  </a:cubicBezTo>
                  <a:lnTo>
                    <a:pt x="7244632" y="2961854"/>
                  </a:lnTo>
                  <a:cubicBezTo>
                    <a:pt x="7244632" y="2945130"/>
                    <a:pt x="7238043" y="2936346"/>
                    <a:pt x="7224867" y="2935502"/>
                  </a:cubicBezTo>
                  <a:lnTo>
                    <a:pt x="7224867" y="2917005"/>
                  </a:lnTo>
                  <a:cubicBezTo>
                    <a:pt x="7238043" y="2916160"/>
                    <a:pt x="7244632" y="2907207"/>
                    <a:pt x="7244632" y="2890145"/>
                  </a:cubicBezTo>
                  <a:lnTo>
                    <a:pt x="7244632" y="2853785"/>
                  </a:lnTo>
                  <a:cubicBezTo>
                    <a:pt x="7244632" y="2828108"/>
                    <a:pt x="7259666" y="2815101"/>
                    <a:pt x="7289734" y="2814763"/>
                  </a:cubicBezTo>
                  <a:close/>
                  <a:moveTo>
                    <a:pt x="1251166" y="2814763"/>
                  </a:moveTo>
                  <a:cubicBezTo>
                    <a:pt x="1281065" y="2815101"/>
                    <a:pt x="1296015" y="2828108"/>
                    <a:pt x="1296015" y="2853785"/>
                  </a:cubicBezTo>
                  <a:lnTo>
                    <a:pt x="1296015" y="2890145"/>
                  </a:lnTo>
                  <a:cubicBezTo>
                    <a:pt x="1296015" y="2907207"/>
                    <a:pt x="1302561" y="2916160"/>
                    <a:pt x="1315652" y="2917005"/>
                  </a:cubicBezTo>
                  <a:lnTo>
                    <a:pt x="1315652" y="2935502"/>
                  </a:lnTo>
                  <a:cubicBezTo>
                    <a:pt x="1302561" y="2936346"/>
                    <a:pt x="1296015" y="2945130"/>
                    <a:pt x="1296015" y="2961854"/>
                  </a:cubicBezTo>
                  <a:lnTo>
                    <a:pt x="1296015" y="2999229"/>
                  </a:lnTo>
                  <a:cubicBezTo>
                    <a:pt x="1296015" y="3024567"/>
                    <a:pt x="1281065" y="3037405"/>
                    <a:pt x="1251166" y="3037743"/>
                  </a:cubicBezTo>
                  <a:lnTo>
                    <a:pt x="1251166" y="3018232"/>
                  </a:lnTo>
                  <a:cubicBezTo>
                    <a:pt x="1258514" y="3018063"/>
                    <a:pt x="1263729" y="3016037"/>
                    <a:pt x="1266812" y="3012151"/>
                  </a:cubicBezTo>
                  <a:cubicBezTo>
                    <a:pt x="1269895" y="3008266"/>
                    <a:pt x="1271436" y="3001847"/>
                    <a:pt x="1271436" y="2992894"/>
                  </a:cubicBezTo>
                  <a:lnTo>
                    <a:pt x="1271436" y="2957547"/>
                  </a:lnTo>
                  <a:cubicBezTo>
                    <a:pt x="1271436" y="2940401"/>
                    <a:pt x="1279756" y="2929970"/>
                    <a:pt x="1296395" y="2926253"/>
                  </a:cubicBezTo>
                  <a:lnTo>
                    <a:pt x="1296395" y="2925873"/>
                  </a:lnTo>
                  <a:cubicBezTo>
                    <a:pt x="1279756" y="2921903"/>
                    <a:pt x="1271436" y="2911388"/>
                    <a:pt x="1271436" y="2894326"/>
                  </a:cubicBezTo>
                  <a:lnTo>
                    <a:pt x="1271436" y="2858599"/>
                  </a:lnTo>
                  <a:cubicBezTo>
                    <a:pt x="1271436" y="2842804"/>
                    <a:pt x="1264679" y="2834738"/>
                    <a:pt x="1251166" y="2834401"/>
                  </a:cubicBezTo>
                  <a:close/>
                  <a:moveTo>
                    <a:pt x="1233681" y="2814763"/>
                  </a:moveTo>
                  <a:lnTo>
                    <a:pt x="1233681" y="2834401"/>
                  </a:lnTo>
                  <a:cubicBezTo>
                    <a:pt x="1220252" y="2834738"/>
                    <a:pt x="1213537" y="2842804"/>
                    <a:pt x="1213537" y="2858599"/>
                  </a:cubicBezTo>
                  <a:lnTo>
                    <a:pt x="1213537" y="2894326"/>
                  </a:lnTo>
                  <a:cubicBezTo>
                    <a:pt x="1213537" y="2911388"/>
                    <a:pt x="1205133" y="2921903"/>
                    <a:pt x="1188325" y="2925873"/>
                  </a:cubicBezTo>
                  <a:lnTo>
                    <a:pt x="1188325" y="2926253"/>
                  </a:lnTo>
                  <a:cubicBezTo>
                    <a:pt x="1205133" y="2929970"/>
                    <a:pt x="1213537" y="2940401"/>
                    <a:pt x="1213537" y="2957547"/>
                  </a:cubicBezTo>
                  <a:lnTo>
                    <a:pt x="1213537" y="2992894"/>
                  </a:lnTo>
                  <a:cubicBezTo>
                    <a:pt x="1213537" y="3001931"/>
                    <a:pt x="1215036" y="3008371"/>
                    <a:pt x="1218035" y="3012214"/>
                  </a:cubicBezTo>
                  <a:cubicBezTo>
                    <a:pt x="1221033" y="3016057"/>
                    <a:pt x="1226249" y="3018063"/>
                    <a:pt x="1233681" y="3018232"/>
                  </a:cubicBezTo>
                  <a:lnTo>
                    <a:pt x="1233681" y="3037743"/>
                  </a:lnTo>
                  <a:cubicBezTo>
                    <a:pt x="1203613" y="3037405"/>
                    <a:pt x="1188579" y="3024567"/>
                    <a:pt x="1188579" y="2999229"/>
                  </a:cubicBezTo>
                  <a:lnTo>
                    <a:pt x="1188579" y="2961854"/>
                  </a:lnTo>
                  <a:cubicBezTo>
                    <a:pt x="1188579" y="2945130"/>
                    <a:pt x="1181990" y="2936346"/>
                    <a:pt x="1168814" y="2935502"/>
                  </a:cubicBezTo>
                  <a:lnTo>
                    <a:pt x="1168814" y="2917005"/>
                  </a:lnTo>
                  <a:cubicBezTo>
                    <a:pt x="1181990" y="2916160"/>
                    <a:pt x="1188579" y="2907207"/>
                    <a:pt x="1188579" y="2890145"/>
                  </a:cubicBezTo>
                  <a:lnTo>
                    <a:pt x="1188579" y="2853785"/>
                  </a:lnTo>
                  <a:cubicBezTo>
                    <a:pt x="1188579" y="2828108"/>
                    <a:pt x="1203613" y="2815101"/>
                    <a:pt x="1233681" y="2814763"/>
                  </a:cubicBezTo>
                  <a:close/>
                  <a:moveTo>
                    <a:pt x="11609322" y="2486370"/>
                  </a:moveTo>
                  <a:cubicBezTo>
                    <a:pt x="11639222" y="2486708"/>
                    <a:pt x="11654171" y="2499715"/>
                    <a:pt x="11654171" y="2525391"/>
                  </a:cubicBezTo>
                  <a:lnTo>
                    <a:pt x="11654171" y="2561752"/>
                  </a:lnTo>
                  <a:cubicBezTo>
                    <a:pt x="11654171" y="2578815"/>
                    <a:pt x="11660717" y="2587767"/>
                    <a:pt x="11673809" y="2588613"/>
                  </a:cubicBezTo>
                  <a:lnTo>
                    <a:pt x="11673809" y="2607108"/>
                  </a:lnTo>
                  <a:cubicBezTo>
                    <a:pt x="11660717" y="2607953"/>
                    <a:pt x="11654171" y="2616737"/>
                    <a:pt x="11654171" y="2633461"/>
                  </a:cubicBezTo>
                  <a:lnTo>
                    <a:pt x="11654171" y="2670836"/>
                  </a:lnTo>
                  <a:cubicBezTo>
                    <a:pt x="11654171" y="2696174"/>
                    <a:pt x="11639222" y="2709012"/>
                    <a:pt x="11609322" y="2709350"/>
                  </a:cubicBezTo>
                  <a:lnTo>
                    <a:pt x="11609322" y="2689839"/>
                  </a:lnTo>
                  <a:cubicBezTo>
                    <a:pt x="11616670" y="2689670"/>
                    <a:pt x="11621886" y="2687643"/>
                    <a:pt x="11624969" y="2683758"/>
                  </a:cubicBezTo>
                  <a:cubicBezTo>
                    <a:pt x="11628051" y="2679873"/>
                    <a:pt x="11629593" y="2673454"/>
                    <a:pt x="11629593" y="2664501"/>
                  </a:cubicBezTo>
                  <a:lnTo>
                    <a:pt x="11629593" y="2629153"/>
                  </a:lnTo>
                  <a:cubicBezTo>
                    <a:pt x="11629593" y="2612009"/>
                    <a:pt x="11637913" y="2601576"/>
                    <a:pt x="11654552" y="2597860"/>
                  </a:cubicBezTo>
                  <a:lnTo>
                    <a:pt x="11654552" y="2597480"/>
                  </a:lnTo>
                  <a:cubicBezTo>
                    <a:pt x="11637913" y="2593510"/>
                    <a:pt x="11629593" y="2582995"/>
                    <a:pt x="11629593" y="2565934"/>
                  </a:cubicBezTo>
                  <a:lnTo>
                    <a:pt x="11629593" y="2530206"/>
                  </a:lnTo>
                  <a:cubicBezTo>
                    <a:pt x="11629593" y="2514411"/>
                    <a:pt x="11622836" y="2506345"/>
                    <a:pt x="11609322" y="2506008"/>
                  </a:cubicBezTo>
                  <a:close/>
                  <a:moveTo>
                    <a:pt x="11591838" y="2486370"/>
                  </a:moveTo>
                  <a:lnTo>
                    <a:pt x="11591838" y="2506008"/>
                  </a:lnTo>
                  <a:cubicBezTo>
                    <a:pt x="11578409" y="2506345"/>
                    <a:pt x="11571694" y="2514411"/>
                    <a:pt x="11571694" y="2530206"/>
                  </a:cubicBezTo>
                  <a:lnTo>
                    <a:pt x="11571694" y="2565934"/>
                  </a:lnTo>
                  <a:cubicBezTo>
                    <a:pt x="11571694" y="2582995"/>
                    <a:pt x="11563290" y="2593510"/>
                    <a:pt x="11546482" y="2597480"/>
                  </a:cubicBezTo>
                  <a:lnTo>
                    <a:pt x="11546482" y="2597860"/>
                  </a:lnTo>
                  <a:cubicBezTo>
                    <a:pt x="11563290" y="2601576"/>
                    <a:pt x="11571694" y="2612009"/>
                    <a:pt x="11571694" y="2629153"/>
                  </a:cubicBezTo>
                  <a:lnTo>
                    <a:pt x="11571694" y="2664501"/>
                  </a:lnTo>
                  <a:cubicBezTo>
                    <a:pt x="11571694" y="2673538"/>
                    <a:pt x="11573193" y="2679978"/>
                    <a:pt x="11576192" y="2683821"/>
                  </a:cubicBezTo>
                  <a:cubicBezTo>
                    <a:pt x="11579190" y="2687664"/>
                    <a:pt x="11584405" y="2689670"/>
                    <a:pt x="11591838" y="2689839"/>
                  </a:cubicBezTo>
                  <a:lnTo>
                    <a:pt x="11591838" y="2709350"/>
                  </a:lnTo>
                  <a:cubicBezTo>
                    <a:pt x="11561769" y="2709012"/>
                    <a:pt x="11546735" y="2696174"/>
                    <a:pt x="11546735" y="2670836"/>
                  </a:cubicBezTo>
                  <a:lnTo>
                    <a:pt x="11546735" y="2633461"/>
                  </a:lnTo>
                  <a:cubicBezTo>
                    <a:pt x="11546735" y="2616737"/>
                    <a:pt x="11540147" y="2607953"/>
                    <a:pt x="11526971" y="2607108"/>
                  </a:cubicBezTo>
                  <a:lnTo>
                    <a:pt x="11526971" y="2588613"/>
                  </a:lnTo>
                  <a:cubicBezTo>
                    <a:pt x="11540147" y="2587767"/>
                    <a:pt x="11546735" y="2578815"/>
                    <a:pt x="11546735" y="2561752"/>
                  </a:cubicBezTo>
                  <a:lnTo>
                    <a:pt x="11546735" y="2525391"/>
                  </a:lnTo>
                  <a:cubicBezTo>
                    <a:pt x="11546735" y="2499715"/>
                    <a:pt x="11561769" y="2486708"/>
                    <a:pt x="11591838" y="2486370"/>
                  </a:cubicBezTo>
                  <a:close/>
                  <a:moveTo>
                    <a:pt x="10935299" y="2486370"/>
                  </a:moveTo>
                  <a:cubicBezTo>
                    <a:pt x="10965199" y="2486708"/>
                    <a:pt x="10980148" y="2499715"/>
                    <a:pt x="10980148" y="2525391"/>
                  </a:cubicBezTo>
                  <a:lnTo>
                    <a:pt x="10980148" y="2561752"/>
                  </a:lnTo>
                  <a:cubicBezTo>
                    <a:pt x="10980148" y="2578815"/>
                    <a:pt x="10986694" y="2587767"/>
                    <a:pt x="10999786" y="2588613"/>
                  </a:cubicBezTo>
                  <a:lnTo>
                    <a:pt x="10999786" y="2607108"/>
                  </a:lnTo>
                  <a:cubicBezTo>
                    <a:pt x="10986694" y="2607953"/>
                    <a:pt x="10980148" y="2616737"/>
                    <a:pt x="10980148" y="2633461"/>
                  </a:cubicBezTo>
                  <a:lnTo>
                    <a:pt x="10980148" y="2670836"/>
                  </a:lnTo>
                  <a:cubicBezTo>
                    <a:pt x="10980148" y="2696174"/>
                    <a:pt x="10965199" y="2709012"/>
                    <a:pt x="10935299" y="2709350"/>
                  </a:cubicBezTo>
                  <a:lnTo>
                    <a:pt x="10935299" y="2689839"/>
                  </a:lnTo>
                  <a:cubicBezTo>
                    <a:pt x="10942647" y="2689670"/>
                    <a:pt x="10947863" y="2687643"/>
                    <a:pt x="10950946" y="2683758"/>
                  </a:cubicBezTo>
                  <a:cubicBezTo>
                    <a:pt x="10954028" y="2679873"/>
                    <a:pt x="10955570" y="2673454"/>
                    <a:pt x="10955570" y="2664501"/>
                  </a:cubicBezTo>
                  <a:lnTo>
                    <a:pt x="10955570" y="2629153"/>
                  </a:lnTo>
                  <a:cubicBezTo>
                    <a:pt x="10955570" y="2612009"/>
                    <a:pt x="10963890" y="2601576"/>
                    <a:pt x="10980529" y="2597860"/>
                  </a:cubicBezTo>
                  <a:lnTo>
                    <a:pt x="10980529" y="2597480"/>
                  </a:lnTo>
                  <a:cubicBezTo>
                    <a:pt x="10963890" y="2593510"/>
                    <a:pt x="10955570" y="2582995"/>
                    <a:pt x="10955570" y="2565934"/>
                  </a:cubicBezTo>
                  <a:lnTo>
                    <a:pt x="10955570" y="2530206"/>
                  </a:lnTo>
                  <a:cubicBezTo>
                    <a:pt x="10955570" y="2514411"/>
                    <a:pt x="10948813" y="2506345"/>
                    <a:pt x="10935299" y="2506008"/>
                  </a:cubicBezTo>
                  <a:close/>
                  <a:moveTo>
                    <a:pt x="10917815" y="2486370"/>
                  </a:moveTo>
                  <a:lnTo>
                    <a:pt x="10917815" y="2506008"/>
                  </a:lnTo>
                  <a:cubicBezTo>
                    <a:pt x="10904386" y="2506345"/>
                    <a:pt x="10897671" y="2514411"/>
                    <a:pt x="10897671" y="2530206"/>
                  </a:cubicBezTo>
                  <a:lnTo>
                    <a:pt x="10897671" y="2565934"/>
                  </a:lnTo>
                  <a:cubicBezTo>
                    <a:pt x="10897671" y="2582995"/>
                    <a:pt x="10889267" y="2593510"/>
                    <a:pt x="10872459" y="2597480"/>
                  </a:cubicBezTo>
                  <a:lnTo>
                    <a:pt x="10872459" y="2597860"/>
                  </a:lnTo>
                  <a:cubicBezTo>
                    <a:pt x="10889267" y="2601576"/>
                    <a:pt x="10897671" y="2612009"/>
                    <a:pt x="10897671" y="2629153"/>
                  </a:cubicBezTo>
                  <a:lnTo>
                    <a:pt x="10897671" y="2664501"/>
                  </a:lnTo>
                  <a:cubicBezTo>
                    <a:pt x="10897671" y="2673538"/>
                    <a:pt x="10899170" y="2679978"/>
                    <a:pt x="10902169" y="2683821"/>
                  </a:cubicBezTo>
                  <a:cubicBezTo>
                    <a:pt x="10905167" y="2687664"/>
                    <a:pt x="10910382" y="2689670"/>
                    <a:pt x="10917815" y="2689839"/>
                  </a:cubicBezTo>
                  <a:lnTo>
                    <a:pt x="10917815" y="2709350"/>
                  </a:lnTo>
                  <a:cubicBezTo>
                    <a:pt x="10887746" y="2709012"/>
                    <a:pt x="10872712" y="2696174"/>
                    <a:pt x="10872712" y="2670836"/>
                  </a:cubicBezTo>
                  <a:lnTo>
                    <a:pt x="10872712" y="2633461"/>
                  </a:lnTo>
                  <a:cubicBezTo>
                    <a:pt x="10872712" y="2616737"/>
                    <a:pt x="10866124" y="2607953"/>
                    <a:pt x="10852948" y="2607108"/>
                  </a:cubicBezTo>
                  <a:lnTo>
                    <a:pt x="10852948" y="2588613"/>
                  </a:lnTo>
                  <a:cubicBezTo>
                    <a:pt x="10866124" y="2587767"/>
                    <a:pt x="10872712" y="2578815"/>
                    <a:pt x="10872712" y="2561752"/>
                  </a:cubicBezTo>
                  <a:lnTo>
                    <a:pt x="10872712" y="2525391"/>
                  </a:lnTo>
                  <a:cubicBezTo>
                    <a:pt x="10872712" y="2499715"/>
                    <a:pt x="10887746" y="2486708"/>
                    <a:pt x="10917815" y="2486370"/>
                  </a:cubicBezTo>
                  <a:close/>
                  <a:moveTo>
                    <a:pt x="9736849" y="2486370"/>
                  </a:moveTo>
                  <a:cubicBezTo>
                    <a:pt x="9766749" y="2486708"/>
                    <a:pt x="9781698" y="2499715"/>
                    <a:pt x="9781698" y="2525391"/>
                  </a:cubicBezTo>
                  <a:lnTo>
                    <a:pt x="9781698" y="2561752"/>
                  </a:lnTo>
                  <a:cubicBezTo>
                    <a:pt x="9781698" y="2578815"/>
                    <a:pt x="9788244" y="2587767"/>
                    <a:pt x="9801336" y="2588613"/>
                  </a:cubicBezTo>
                  <a:lnTo>
                    <a:pt x="9801336" y="2607108"/>
                  </a:lnTo>
                  <a:cubicBezTo>
                    <a:pt x="9788244" y="2607953"/>
                    <a:pt x="9781698" y="2616737"/>
                    <a:pt x="9781698" y="2633461"/>
                  </a:cubicBezTo>
                  <a:lnTo>
                    <a:pt x="9781698" y="2670836"/>
                  </a:lnTo>
                  <a:cubicBezTo>
                    <a:pt x="9781698" y="2696174"/>
                    <a:pt x="9766749" y="2709012"/>
                    <a:pt x="9736849" y="2709350"/>
                  </a:cubicBezTo>
                  <a:lnTo>
                    <a:pt x="9736849" y="2689839"/>
                  </a:lnTo>
                  <a:cubicBezTo>
                    <a:pt x="9744197" y="2689670"/>
                    <a:pt x="9749413" y="2687643"/>
                    <a:pt x="9752496" y="2683758"/>
                  </a:cubicBezTo>
                  <a:cubicBezTo>
                    <a:pt x="9755578" y="2679873"/>
                    <a:pt x="9757120" y="2673454"/>
                    <a:pt x="9757120" y="2664501"/>
                  </a:cubicBezTo>
                  <a:lnTo>
                    <a:pt x="9757120" y="2629153"/>
                  </a:lnTo>
                  <a:cubicBezTo>
                    <a:pt x="9757120" y="2612009"/>
                    <a:pt x="9765440" y="2601576"/>
                    <a:pt x="9782079" y="2597860"/>
                  </a:cubicBezTo>
                  <a:lnTo>
                    <a:pt x="9782079" y="2597480"/>
                  </a:lnTo>
                  <a:cubicBezTo>
                    <a:pt x="9765440" y="2593510"/>
                    <a:pt x="9757120" y="2582995"/>
                    <a:pt x="9757120" y="2565934"/>
                  </a:cubicBezTo>
                  <a:lnTo>
                    <a:pt x="9757120" y="2530206"/>
                  </a:lnTo>
                  <a:cubicBezTo>
                    <a:pt x="9757120" y="2514411"/>
                    <a:pt x="9750363" y="2506345"/>
                    <a:pt x="9736849" y="2506008"/>
                  </a:cubicBezTo>
                  <a:close/>
                  <a:moveTo>
                    <a:pt x="9719365" y="2486370"/>
                  </a:moveTo>
                  <a:lnTo>
                    <a:pt x="9719365" y="2506008"/>
                  </a:lnTo>
                  <a:cubicBezTo>
                    <a:pt x="9705936" y="2506345"/>
                    <a:pt x="9699221" y="2514411"/>
                    <a:pt x="9699221" y="2530206"/>
                  </a:cubicBezTo>
                  <a:lnTo>
                    <a:pt x="9699221" y="2565934"/>
                  </a:lnTo>
                  <a:cubicBezTo>
                    <a:pt x="9699221" y="2582995"/>
                    <a:pt x="9690817" y="2593510"/>
                    <a:pt x="9674009" y="2597480"/>
                  </a:cubicBezTo>
                  <a:lnTo>
                    <a:pt x="9674009" y="2597860"/>
                  </a:lnTo>
                  <a:cubicBezTo>
                    <a:pt x="9690817" y="2601576"/>
                    <a:pt x="9699221" y="2612009"/>
                    <a:pt x="9699221" y="2629153"/>
                  </a:cubicBezTo>
                  <a:lnTo>
                    <a:pt x="9699221" y="2664501"/>
                  </a:lnTo>
                  <a:cubicBezTo>
                    <a:pt x="9699221" y="2673538"/>
                    <a:pt x="9700720" y="2679978"/>
                    <a:pt x="9703719" y="2683821"/>
                  </a:cubicBezTo>
                  <a:cubicBezTo>
                    <a:pt x="9706717" y="2687664"/>
                    <a:pt x="9711932" y="2689670"/>
                    <a:pt x="9719365" y="2689839"/>
                  </a:cubicBezTo>
                  <a:lnTo>
                    <a:pt x="9719365" y="2709350"/>
                  </a:lnTo>
                  <a:cubicBezTo>
                    <a:pt x="9689296" y="2709012"/>
                    <a:pt x="9674262" y="2696174"/>
                    <a:pt x="9674262" y="2670836"/>
                  </a:cubicBezTo>
                  <a:lnTo>
                    <a:pt x="9674262" y="2633461"/>
                  </a:lnTo>
                  <a:cubicBezTo>
                    <a:pt x="9674262" y="2616737"/>
                    <a:pt x="9667674" y="2607953"/>
                    <a:pt x="9654498" y="2607108"/>
                  </a:cubicBezTo>
                  <a:lnTo>
                    <a:pt x="9654498" y="2588613"/>
                  </a:lnTo>
                  <a:cubicBezTo>
                    <a:pt x="9667674" y="2587767"/>
                    <a:pt x="9674262" y="2578815"/>
                    <a:pt x="9674262" y="2561752"/>
                  </a:cubicBezTo>
                  <a:lnTo>
                    <a:pt x="9674262" y="2525391"/>
                  </a:lnTo>
                  <a:cubicBezTo>
                    <a:pt x="9674262" y="2499715"/>
                    <a:pt x="9689296" y="2486708"/>
                    <a:pt x="9719365" y="2486370"/>
                  </a:cubicBezTo>
                  <a:close/>
                  <a:moveTo>
                    <a:pt x="8112647" y="2486370"/>
                  </a:moveTo>
                  <a:cubicBezTo>
                    <a:pt x="8142547" y="2486708"/>
                    <a:pt x="8157496" y="2499715"/>
                    <a:pt x="8157496" y="2525391"/>
                  </a:cubicBezTo>
                  <a:lnTo>
                    <a:pt x="8157496" y="2561752"/>
                  </a:lnTo>
                  <a:cubicBezTo>
                    <a:pt x="8157496" y="2578815"/>
                    <a:pt x="8164042" y="2587767"/>
                    <a:pt x="8177134" y="2588613"/>
                  </a:cubicBezTo>
                  <a:lnTo>
                    <a:pt x="8177134" y="2607108"/>
                  </a:lnTo>
                  <a:cubicBezTo>
                    <a:pt x="8164042" y="2607953"/>
                    <a:pt x="8157496" y="2616737"/>
                    <a:pt x="8157496" y="2633461"/>
                  </a:cubicBezTo>
                  <a:lnTo>
                    <a:pt x="8157496" y="2670836"/>
                  </a:lnTo>
                  <a:cubicBezTo>
                    <a:pt x="8157496" y="2696174"/>
                    <a:pt x="8142547" y="2709012"/>
                    <a:pt x="8112647" y="2709350"/>
                  </a:cubicBezTo>
                  <a:lnTo>
                    <a:pt x="8112647" y="2689839"/>
                  </a:lnTo>
                  <a:cubicBezTo>
                    <a:pt x="8119995" y="2689670"/>
                    <a:pt x="8125211" y="2687643"/>
                    <a:pt x="8128294" y="2683758"/>
                  </a:cubicBezTo>
                  <a:cubicBezTo>
                    <a:pt x="8131376" y="2679873"/>
                    <a:pt x="8132918" y="2673454"/>
                    <a:pt x="8132918" y="2664501"/>
                  </a:cubicBezTo>
                  <a:lnTo>
                    <a:pt x="8132918" y="2629153"/>
                  </a:lnTo>
                  <a:cubicBezTo>
                    <a:pt x="8132918" y="2612009"/>
                    <a:pt x="8141238" y="2601576"/>
                    <a:pt x="8157877" y="2597860"/>
                  </a:cubicBezTo>
                  <a:lnTo>
                    <a:pt x="8157877" y="2597480"/>
                  </a:lnTo>
                  <a:cubicBezTo>
                    <a:pt x="8141238" y="2593510"/>
                    <a:pt x="8132918" y="2582995"/>
                    <a:pt x="8132918" y="2565934"/>
                  </a:cubicBezTo>
                  <a:lnTo>
                    <a:pt x="8132918" y="2530206"/>
                  </a:lnTo>
                  <a:cubicBezTo>
                    <a:pt x="8132918" y="2514411"/>
                    <a:pt x="8126161" y="2506345"/>
                    <a:pt x="8112647" y="2506008"/>
                  </a:cubicBezTo>
                  <a:close/>
                  <a:moveTo>
                    <a:pt x="8095163" y="2486370"/>
                  </a:moveTo>
                  <a:lnTo>
                    <a:pt x="8095163" y="2506008"/>
                  </a:lnTo>
                  <a:cubicBezTo>
                    <a:pt x="8081734" y="2506345"/>
                    <a:pt x="8075019" y="2514411"/>
                    <a:pt x="8075019" y="2530206"/>
                  </a:cubicBezTo>
                  <a:lnTo>
                    <a:pt x="8075019" y="2565934"/>
                  </a:lnTo>
                  <a:cubicBezTo>
                    <a:pt x="8075019" y="2582995"/>
                    <a:pt x="8066615" y="2593510"/>
                    <a:pt x="8049807" y="2597480"/>
                  </a:cubicBezTo>
                  <a:lnTo>
                    <a:pt x="8049807" y="2597860"/>
                  </a:lnTo>
                  <a:cubicBezTo>
                    <a:pt x="8066615" y="2601576"/>
                    <a:pt x="8075019" y="2612009"/>
                    <a:pt x="8075019" y="2629153"/>
                  </a:cubicBezTo>
                  <a:lnTo>
                    <a:pt x="8075019" y="2664501"/>
                  </a:lnTo>
                  <a:cubicBezTo>
                    <a:pt x="8075019" y="2673538"/>
                    <a:pt x="8076518" y="2679978"/>
                    <a:pt x="8079517" y="2683821"/>
                  </a:cubicBezTo>
                  <a:cubicBezTo>
                    <a:pt x="8082515" y="2687664"/>
                    <a:pt x="8087731" y="2689670"/>
                    <a:pt x="8095163" y="2689839"/>
                  </a:cubicBezTo>
                  <a:lnTo>
                    <a:pt x="8095163" y="2709350"/>
                  </a:lnTo>
                  <a:cubicBezTo>
                    <a:pt x="8065095" y="2709012"/>
                    <a:pt x="8050061" y="2696174"/>
                    <a:pt x="8050061" y="2670836"/>
                  </a:cubicBezTo>
                  <a:lnTo>
                    <a:pt x="8050061" y="2633461"/>
                  </a:lnTo>
                  <a:cubicBezTo>
                    <a:pt x="8050061" y="2616737"/>
                    <a:pt x="8043472" y="2607953"/>
                    <a:pt x="8030296" y="2607108"/>
                  </a:cubicBezTo>
                  <a:lnTo>
                    <a:pt x="8030296" y="2588613"/>
                  </a:lnTo>
                  <a:cubicBezTo>
                    <a:pt x="8043472" y="2587767"/>
                    <a:pt x="8050061" y="2578815"/>
                    <a:pt x="8050061" y="2561752"/>
                  </a:cubicBezTo>
                  <a:lnTo>
                    <a:pt x="8050061" y="2525391"/>
                  </a:lnTo>
                  <a:cubicBezTo>
                    <a:pt x="8050061" y="2499715"/>
                    <a:pt x="8065095" y="2486708"/>
                    <a:pt x="8095163" y="2486370"/>
                  </a:cubicBezTo>
                  <a:close/>
                  <a:moveTo>
                    <a:pt x="5536938" y="2486370"/>
                  </a:moveTo>
                  <a:cubicBezTo>
                    <a:pt x="5566839" y="2486708"/>
                    <a:pt x="5581787" y="2499715"/>
                    <a:pt x="5581787" y="2525391"/>
                  </a:cubicBezTo>
                  <a:lnTo>
                    <a:pt x="5581787" y="2561752"/>
                  </a:lnTo>
                  <a:cubicBezTo>
                    <a:pt x="5581787" y="2578815"/>
                    <a:pt x="5588333" y="2587767"/>
                    <a:pt x="5601425" y="2588613"/>
                  </a:cubicBezTo>
                  <a:lnTo>
                    <a:pt x="5601425" y="2607108"/>
                  </a:lnTo>
                  <a:cubicBezTo>
                    <a:pt x="5588333" y="2607953"/>
                    <a:pt x="5581787" y="2616737"/>
                    <a:pt x="5581787" y="2633461"/>
                  </a:cubicBezTo>
                  <a:lnTo>
                    <a:pt x="5581787" y="2670836"/>
                  </a:lnTo>
                  <a:cubicBezTo>
                    <a:pt x="5581787" y="2696174"/>
                    <a:pt x="5566839" y="2709012"/>
                    <a:pt x="5536938" y="2709350"/>
                  </a:cubicBezTo>
                  <a:lnTo>
                    <a:pt x="5536938" y="2689839"/>
                  </a:lnTo>
                  <a:cubicBezTo>
                    <a:pt x="5544286" y="2689670"/>
                    <a:pt x="5549501" y="2687643"/>
                    <a:pt x="5552584" y="2683758"/>
                  </a:cubicBezTo>
                  <a:cubicBezTo>
                    <a:pt x="5555667" y="2679873"/>
                    <a:pt x="5557209" y="2673454"/>
                    <a:pt x="5557209" y="2664501"/>
                  </a:cubicBezTo>
                  <a:lnTo>
                    <a:pt x="5557209" y="2629153"/>
                  </a:lnTo>
                  <a:cubicBezTo>
                    <a:pt x="5557209" y="2612009"/>
                    <a:pt x="5565529" y="2601576"/>
                    <a:pt x="5582167" y="2597860"/>
                  </a:cubicBezTo>
                  <a:lnTo>
                    <a:pt x="5582167" y="2597480"/>
                  </a:lnTo>
                  <a:cubicBezTo>
                    <a:pt x="5565529" y="2593510"/>
                    <a:pt x="5557209" y="2582995"/>
                    <a:pt x="5557209" y="2565934"/>
                  </a:cubicBezTo>
                  <a:lnTo>
                    <a:pt x="5557209" y="2530206"/>
                  </a:lnTo>
                  <a:cubicBezTo>
                    <a:pt x="5557209" y="2514411"/>
                    <a:pt x="5550452" y="2506345"/>
                    <a:pt x="5536938" y="2506008"/>
                  </a:cubicBezTo>
                  <a:close/>
                  <a:moveTo>
                    <a:pt x="5519454" y="2486370"/>
                  </a:moveTo>
                  <a:lnTo>
                    <a:pt x="5519454" y="2506008"/>
                  </a:lnTo>
                  <a:cubicBezTo>
                    <a:pt x="5506025" y="2506345"/>
                    <a:pt x="5499311" y="2514411"/>
                    <a:pt x="5499311" y="2530206"/>
                  </a:cubicBezTo>
                  <a:lnTo>
                    <a:pt x="5499311" y="2565934"/>
                  </a:lnTo>
                  <a:cubicBezTo>
                    <a:pt x="5499311" y="2582995"/>
                    <a:pt x="5490905" y="2593510"/>
                    <a:pt x="5474097" y="2597480"/>
                  </a:cubicBezTo>
                  <a:lnTo>
                    <a:pt x="5474097" y="2597860"/>
                  </a:lnTo>
                  <a:cubicBezTo>
                    <a:pt x="5490905" y="2601576"/>
                    <a:pt x="5499311" y="2612009"/>
                    <a:pt x="5499311" y="2629153"/>
                  </a:cubicBezTo>
                  <a:lnTo>
                    <a:pt x="5499311" y="2664501"/>
                  </a:lnTo>
                  <a:cubicBezTo>
                    <a:pt x="5499311" y="2673538"/>
                    <a:pt x="5500809" y="2679978"/>
                    <a:pt x="5503807" y="2683821"/>
                  </a:cubicBezTo>
                  <a:cubicBezTo>
                    <a:pt x="5506805" y="2687664"/>
                    <a:pt x="5512021" y="2689670"/>
                    <a:pt x="5519454" y="2689839"/>
                  </a:cubicBezTo>
                  <a:lnTo>
                    <a:pt x="5519454" y="2709350"/>
                  </a:lnTo>
                  <a:cubicBezTo>
                    <a:pt x="5489386" y="2709012"/>
                    <a:pt x="5474352" y="2696174"/>
                    <a:pt x="5474352" y="2670836"/>
                  </a:cubicBezTo>
                  <a:lnTo>
                    <a:pt x="5474352" y="2633461"/>
                  </a:lnTo>
                  <a:cubicBezTo>
                    <a:pt x="5474352" y="2616737"/>
                    <a:pt x="5467764" y="2607953"/>
                    <a:pt x="5454588" y="2607108"/>
                  </a:cubicBezTo>
                  <a:lnTo>
                    <a:pt x="5454588" y="2588613"/>
                  </a:lnTo>
                  <a:cubicBezTo>
                    <a:pt x="5467764" y="2587767"/>
                    <a:pt x="5474352" y="2578815"/>
                    <a:pt x="5474352" y="2561752"/>
                  </a:cubicBezTo>
                  <a:lnTo>
                    <a:pt x="5474352" y="2525391"/>
                  </a:lnTo>
                  <a:cubicBezTo>
                    <a:pt x="5474352" y="2499715"/>
                    <a:pt x="5489386" y="2486708"/>
                    <a:pt x="5519454" y="2486370"/>
                  </a:cubicBezTo>
                  <a:close/>
                  <a:moveTo>
                    <a:pt x="4870836" y="2486370"/>
                  </a:moveTo>
                  <a:cubicBezTo>
                    <a:pt x="4900736" y="2486708"/>
                    <a:pt x="4915686" y="2499715"/>
                    <a:pt x="4915686" y="2525391"/>
                  </a:cubicBezTo>
                  <a:lnTo>
                    <a:pt x="4915686" y="2561752"/>
                  </a:lnTo>
                  <a:cubicBezTo>
                    <a:pt x="4915686" y="2578815"/>
                    <a:pt x="4922231" y="2587767"/>
                    <a:pt x="4935324" y="2588613"/>
                  </a:cubicBezTo>
                  <a:lnTo>
                    <a:pt x="4935324" y="2607108"/>
                  </a:lnTo>
                  <a:cubicBezTo>
                    <a:pt x="4922231" y="2607953"/>
                    <a:pt x="4915686" y="2616737"/>
                    <a:pt x="4915686" y="2633461"/>
                  </a:cubicBezTo>
                  <a:lnTo>
                    <a:pt x="4915686" y="2670836"/>
                  </a:lnTo>
                  <a:cubicBezTo>
                    <a:pt x="4915686" y="2696174"/>
                    <a:pt x="4900736" y="2709012"/>
                    <a:pt x="4870836" y="2709350"/>
                  </a:cubicBezTo>
                  <a:lnTo>
                    <a:pt x="4870836" y="2689839"/>
                  </a:lnTo>
                  <a:cubicBezTo>
                    <a:pt x="4878185" y="2689670"/>
                    <a:pt x="4883399" y="2687643"/>
                    <a:pt x="4886482" y="2683758"/>
                  </a:cubicBezTo>
                  <a:cubicBezTo>
                    <a:pt x="4889566" y="2679873"/>
                    <a:pt x="4891108" y="2673454"/>
                    <a:pt x="4891108" y="2664501"/>
                  </a:cubicBezTo>
                  <a:lnTo>
                    <a:pt x="4891108" y="2629153"/>
                  </a:lnTo>
                  <a:cubicBezTo>
                    <a:pt x="4891108" y="2612009"/>
                    <a:pt x="4899426" y="2601576"/>
                    <a:pt x="4916065" y="2597860"/>
                  </a:cubicBezTo>
                  <a:lnTo>
                    <a:pt x="4916065" y="2597480"/>
                  </a:lnTo>
                  <a:cubicBezTo>
                    <a:pt x="4899426" y="2593510"/>
                    <a:pt x="4891108" y="2582995"/>
                    <a:pt x="4891108" y="2565934"/>
                  </a:cubicBezTo>
                  <a:lnTo>
                    <a:pt x="4891108" y="2530206"/>
                  </a:lnTo>
                  <a:cubicBezTo>
                    <a:pt x="4891108" y="2514411"/>
                    <a:pt x="4884351" y="2506345"/>
                    <a:pt x="4870836" y="2506008"/>
                  </a:cubicBezTo>
                  <a:close/>
                  <a:moveTo>
                    <a:pt x="4853353" y="2486370"/>
                  </a:moveTo>
                  <a:lnTo>
                    <a:pt x="4853353" y="2506008"/>
                  </a:lnTo>
                  <a:cubicBezTo>
                    <a:pt x="4839922" y="2506345"/>
                    <a:pt x="4833208" y="2514411"/>
                    <a:pt x="4833208" y="2530206"/>
                  </a:cubicBezTo>
                  <a:lnTo>
                    <a:pt x="4833208" y="2565934"/>
                  </a:lnTo>
                  <a:cubicBezTo>
                    <a:pt x="4833208" y="2582995"/>
                    <a:pt x="4824804" y="2593510"/>
                    <a:pt x="4807996" y="2597480"/>
                  </a:cubicBezTo>
                  <a:lnTo>
                    <a:pt x="4807996" y="2597860"/>
                  </a:lnTo>
                  <a:cubicBezTo>
                    <a:pt x="4824804" y="2601576"/>
                    <a:pt x="4833208" y="2612009"/>
                    <a:pt x="4833208" y="2629153"/>
                  </a:cubicBezTo>
                  <a:lnTo>
                    <a:pt x="4833208" y="2664501"/>
                  </a:lnTo>
                  <a:cubicBezTo>
                    <a:pt x="4833208" y="2673538"/>
                    <a:pt x="4834707" y="2679978"/>
                    <a:pt x="4837705" y="2683821"/>
                  </a:cubicBezTo>
                  <a:cubicBezTo>
                    <a:pt x="4840703" y="2687664"/>
                    <a:pt x="4845919" y="2689670"/>
                    <a:pt x="4853353" y="2689839"/>
                  </a:cubicBezTo>
                  <a:lnTo>
                    <a:pt x="4853353" y="2709350"/>
                  </a:lnTo>
                  <a:cubicBezTo>
                    <a:pt x="4823284" y="2709012"/>
                    <a:pt x="4808250" y="2696174"/>
                    <a:pt x="4808250" y="2670836"/>
                  </a:cubicBezTo>
                  <a:lnTo>
                    <a:pt x="4808250" y="2633461"/>
                  </a:lnTo>
                  <a:cubicBezTo>
                    <a:pt x="4808250" y="2616737"/>
                    <a:pt x="4801662" y="2607953"/>
                    <a:pt x="4788486" y="2607108"/>
                  </a:cubicBezTo>
                  <a:lnTo>
                    <a:pt x="4788486" y="2588613"/>
                  </a:lnTo>
                  <a:cubicBezTo>
                    <a:pt x="4801662" y="2587767"/>
                    <a:pt x="4808250" y="2578815"/>
                    <a:pt x="4808250" y="2561752"/>
                  </a:cubicBezTo>
                  <a:lnTo>
                    <a:pt x="4808250" y="2525391"/>
                  </a:lnTo>
                  <a:cubicBezTo>
                    <a:pt x="4808250" y="2499715"/>
                    <a:pt x="4823284" y="2486708"/>
                    <a:pt x="4853353" y="2486370"/>
                  </a:cubicBezTo>
                  <a:close/>
                  <a:moveTo>
                    <a:pt x="2046291" y="2486370"/>
                  </a:moveTo>
                  <a:cubicBezTo>
                    <a:pt x="2076191" y="2486708"/>
                    <a:pt x="2091141" y="2499715"/>
                    <a:pt x="2091141" y="2525391"/>
                  </a:cubicBezTo>
                  <a:lnTo>
                    <a:pt x="2091141" y="2561752"/>
                  </a:lnTo>
                  <a:cubicBezTo>
                    <a:pt x="2091141" y="2578815"/>
                    <a:pt x="2097686" y="2587767"/>
                    <a:pt x="2110778" y="2588613"/>
                  </a:cubicBezTo>
                  <a:lnTo>
                    <a:pt x="2110778" y="2607108"/>
                  </a:lnTo>
                  <a:cubicBezTo>
                    <a:pt x="2097686" y="2607953"/>
                    <a:pt x="2091141" y="2616737"/>
                    <a:pt x="2091141" y="2633461"/>
                  </a:cubicBezTo>
                  <a:lnTo>
                    <a:pt x="2091141" y="2670836"/>
                  </a:lnTo>
                  <a:cubicBezTo>
                    <a:pt x="2091141" y="2696174"/>
                    <a:pt x="2076191" y="2709012"/>
                    <a:pt x="2046291" y="2709350"/>
                  </a:cubicBezTo>
                  <a:lnTo>
                    <a:pt x="2046291" y="2689839"/>
                  </a:lnTo>
                  <a:cubicBezTo>
                    <a:pt x="2053639" y="2689670"/>
                    <a:pt x="2058855" y="2687643"/>
                    <a:pt x="2061938" y="2683758"/>
                  </a:cubicBezTo>
                  <a:cubicBezTo>
                    <a:pt x="2065021" y="2679873"/>
                    <a:pt x="2066562" y="2673454"/>
                    <a:pt x="2066562" y="2664501"/>
                  </a:cubicBezTo>
                  <a:lnTo>
                    <a:pt x="2066562" y="2629153"/>
                  </a:lnTo>
                  <a:cubicBezTo>
                    <a:pt x="2066562" y="2612009"/>
                    <a:pt x="2074882" y="2601576"/>
                    <a:pt x="2091521" y="2597860"/>
                  </a:cubicBezTo>
                  <a:lnTo>
                    <a:pt x="2091521" y="2597480"/>
                  </a:lnTo>
                  <a:cubicBezTo>
                    <a:pt x="2074882" y="2593510"/>
                    <a:pt x="2066562" y="2582995"/>
                    <a:pt x="2066562" y="2565934"/>
                  </a:cubicBezTo>
                  <a:lnTo>
                    <a:pt x="2066562" y="2530206"/>
                  </a:lnTo>
                  <a:cubicBezTo>
                    <a:pt x="2066562" y="2514411"/>
                    <a:pt x="2059805" y="2506345"/>
                    <a:pt x="2046291" y="2506008"/>
                  </a:cubicBezTo>
                  <a:close/>
                  <a:moveTo>
                    <a:pt x="2028807" y="2486370"/>
                  </a:moveTo>
                  <a:lnTo>
                    <a:pt x="2028807" y="2506008"/>
                  </a:lnTo>
                  <a:cubicBezTo>
                    <a:pt x="2015378" y="2506345"/>
                    <a:pt x="2008663" y="2514411"/>
                    <a:pt x="2008663" y="2530206"/>
                  </a:cubicBezTo>
                  <a:lnTo>
                    <a:pt x="2008663" y="2565934"/>
                  </a:lnTo>
                  <a:cubicBezTo>
                    <a:pt x="2008663" y="2582995"/>
                    <a:pt x="2000259" y="2593510"/>
                    <a:pt x="1983451" y="2597480"/>
                  </a:cubicBezTo>
                  <a:lnTo>
                    <a:pt x="1983451" y="2597860"/>
                  </a:lnTo>
                  <a:cubicBezTo>
                    <a:pt x="2000259" y="2601576"/>
                    <a:pt x="2008663" y="2612009"/>
                    <a:pt x="2008663" y="2629153"/>
                  </a:cubicBezTo>
                  <a:lnTo>
                    <a:pt x="2008663" y="2664501"/>
                  </a:lnTo>
                  <a:cubicBezTo>
                    <a:pt x="2008663" y="2673538"/>
                    <a:pt x="2010162" y="2679978"/>
                    <a:pt x="2013160" y="2683821"/>
                  </a:cubicBezTo>
                  <a:cubicBezTo>
                    <a:pt x="2016159" y="2687664"/>
                    <a:pt x="2021374" y="2689670"/>
                    <a:pt x="2028807" y="2689839"/>
                  </a:cubicBezTo>
                  <a:lnTo>
                    <a:pt x="2028807" y="2709350"/>
                  </a:lnTo>
                  <a:cubicBezTo>
                    <a:pt x="1998738" y="2709012"/>
                    <a:pt x="1983704" y="2696174"/>
                    <a:pt x="1983704" y="2670836"/>
                  </a:cubicBezTo>
                  <a:lnTo>
                    <a:pt x="1983704" y="2633461"/>
                  </a:lnTo>
                  <a:cubicBezTo>
                    <a:pt x="1983704" y="2616737"/>
                    <a:pt x="1977116" y="2607953"/>
                    <a:pt x="1963940" y="2607108"/>
                  </a:cubicBezTo>
                  <a:lnTo>
                    <a:pt x="1963940" y="2588613"/>
                  </a:lnTo>
                  <a:cubicBezTo>
                    <a:pt x="1977116" y="2587767"/>
                    <a:pt x="1983704" y="2578815"/>
                    <a:pt x="1983704" y="2561752"/>
                  </a:cubicBezTo>
                  <a:lnTo>
                    <a:pt x="1983704" y="2525391"/>
                  </a:lnTo>
                  <a:cubicBezTo>
                    <a:pt x="1983704" y="2499715"/>
                    <a:pt x="1998738" y="2486708"/>
                    <a:pt x="2028807" y="2486370"/>
                  </a:cubicBezTo>
                  <a:close/>
                  <a:moveTo>
                    <a:pt x="8995951" y="2346637"/>
                  </a:moveTo>
                  <a:cubicBezTo>
                    <a:pt x="8991401" y="2364657"/>
                    <a:pt x="8986222" y="2376032"/>
                    <a:pt x="8972602" y="2386149"/>
                  </a:cubicBezTo>
                  <a:cubicBezTo>
                    <a:pt x="8971225" y="2393543"/>
                    <a:pt x="8983618" y="2389592"/>
                    <a:pt x="8989126" y="2389562"/>
                  </a:cubicBezTo>
                  <a:cubicBezTo>
                    <a:pt x="8994634" y="2389532"/>
                    <a:pt x="9004183" y="2391014"/>
                    <a:pt x="9005649" y="2385970"/>
                  </a:cubicBezTo>
                  <a:cubicBezTo>
                    <a:pt x="9006637" y="2382497"/>
                    <a:pt x="9004212" y="2379833"/>
                    <a:pt x="9002686" y="2376451"/>
                  </a:cubicBezTo>
                  <a:cubicBezTo>
                    <a:pt x="9001908" y="2372739"/>
                    <a:pt x="9004796" y="2368129"/>
                    <a:pt x="9003674" y="2363160"/>
                  </a:cubicBezTo>
                  <a:cubicBezTo>
                    <a:pt x="9002551" y="2358191"/>
                    <a:pt x="8999243" y="2350348"/>
                    <a:pt x="8995951" y="2346637"/>
                  </a:cubicBezTo>
                  <a:close/>
                  <a:moveTo>
                    <a:pt x="2935214" y="2346637"/>
                  </a:moveTo>
                  <a:cubicBezTo>
                    <a:pt x="2930664" y="2364657"/>
                    <a:pt x="2925485" y="2376032"/>
                    <a:pt x="2911865" y="2386149"/>
                  </a:cubicBezTo>
                  <a:cubicBezTo>
                    <a:pt x="2910489" y="2393543"/>
                    <a:pt x="2922881" y="2389592"/>
                    <a:pt x="2928389" y="2389562"/>
                  </a:cubicBezTo>
                  <a:cubicBezTo>
                    <a:pt x="2933897" y="2389532"/>
                    <a:pt x="2943446" y="2391014"/>
                    <a:pt x="2944912" y="2385970"/>
                  </a:cubicBezTo>
                  <a:cubicBezTo>
                    <a:pt x="2945900" y="2382497"/>
                    <a:pt x="2943476" y="2379833"/>
                    <a:pt x="2941949" y="2376451"/>
                  </a:cubicBezTo>
                  <a:cubicBezTo>
                    <a:pt x="2941171" y="2372739"/>
                    <a:pt x="2944060" y="2368129"/>
                    <a:pt x="2942937" y="2363160"/>
                  </a:cubicBezTo>
                  <a:cubicBezTo>
                    <a:pt x="2941814" y="2358191"/>
                    <a:pt x="2938507" y="2350348"/>
                    <a:pt x="2935214" y="2346637"/>
                  </a:cubicBezTo>
                  <a:close/>
                  <a:moveTo>
                    <a:pt x="8834846" y="2330113"/>
                  </a:moveTo>
                  <a:cubicBezTo>
                    <a:pt x="8829997" y="2335651"/>
                    <a:pt x="8821107" y="2346218"/>
                    <a:pt x="8821107" y="2350498"/>
                  </a:cubicBezTo>
                  <a:cubicBezTo>
                    <a:pt x="8821376" y="2355826"/>
                    <a:pt x="8835654" y="2371572"/>
                    <a:pt x="8842749" y="2372230"/>
                  </a:cubicBezTo>
                  <a:cubicBezTo>
                    <a:pt x="8848616" y="2372380"/>
                    <a:pt x="8849185" y="2369297"/>
                    <a:pt x="8851729" y="2364956"/>
                  </a:cubicBezTo>
                  <a:cubicBezTo>
                    <a:pt x="8843587" y="2353432"/>
                    <a:pt x="8840204" y="2347565"/>
                    <a:pt x="8834846" y="2330113"/>
                  </a:cubicBezTo>
                  <a:close/>
                  <a:moveTo>
                    <a:pt x="2774110" y="2330113"/>
                  </a:moveTo>
                  <a:cubicBezTo>
                    <a:pt x="2769260" y="2335651"/>
                    <a:pt x="2760370" y="2346218"/>
                    <a:pt x="2760370" y="2350498"/>
                  </a:cubicBezTo>
                  <a:cubicBezTo>
                    <a:pt x="2760639" y="2355826"/>
                    <a:pt x="2774918" y="2371572"/>
                    <a:pt x="2782012" y="2372230"/>
                  </a:cubicBezTo>
                  <a:cubicBezTo>
                    <a:pt x="2787879" y="2372380"/>
                    <a:pt x="2788448" y="2369297"/>
                    <a:pt x="2790992" y="2364956"/>
                  </a:cubicBezTo>
                  <a:cubicBezTo>
                    <a:pt x="2782850" y="2353432"/>
                    <a:pt x="2779468" y="2347565"/>
                    <a:pt x="2774110" y="2330113"/>
                  </a:cubicBezTo>
                  <a:close/>
                  <a:moveTo>
                    <a:pt x="8818347" y="2261360"/>
                  </a:moveTo>
                  <a:lnTo>
                    <a:pt x="8818145" y="2262886"/>
                  </a:lnTo>
                  <a:lnTo>
                    <a:pt x="8818078" y="2261618"/>
                  </a:lnTo>
                  <a:close/>
                  <a:moveTo>
                    <a:pt x="2757610" y="2261359"/>
                  </a:moveTo>
                  <a:lnTo>
                    <a:pt x="2757408" y="2262887"/>
                  </a:lnTo>
                  <a:lnTo>
                    <a:pt x="2757342" y="2261618"/>
                  </a:lnTo>
                  <a:close/>
                  <a:moveTo>
                    <a:pt x="9021634" y="2233980"/>
                  </a:moveTo>
                  <a:cubicBezTo>
                    <a:pt x="9021597" y="2234153"/>
                    <a:pt x="9018719" y="2235223"/>
                    <a:pt x="9017615" y="2236854"/>
                  </a:cubicBezTo>
                  <a:cubicBezTo>
                    <a:pt x="9022184" y="2238376"/>
                    <a:pt x="9023788" y="2239809"/>
                    <a:pt x="9024585" y="2245282"/>
                  </a:cubicBezTo>
                  <a:cubicBezTo>
                    <a:pt x="9024800" y="2245241"/>
                    <a:pt x="9026304" y="2244027"/>
                    <a:pt x="9031512" y="2243544"/>
                  </a:cubicBezTo>
                  <a:cubicBezTo>
                    <a:pt x="9019688" y="2248274"/>
                    <a:pt x="9013702" y="2253363"/>
                    <a:pt x="9005111" y="2262852"/>
                  </a:cubicBezTo>
                  <a:cubicBezTo>
                    <a:pt x="9007827" y="2257508"/>
                    <a:pt x="9010142" y="2255244"/>
                    <a:pt x="9010161" y="2255177"/>
                  </a:cubicBezTo>
                  <a:cubicBezTo>
                    <a:pt x="9005664" y="2253649"/>
                    <a:pt x="9004399" y="2253289"/>
                    <a:pt x="9002327" y="2248169"/>
                  </a:cubicBezTo>
                  <a:cubicBezTo>
                    <a:pt x="9002054" y="2248319"/>
                    <a:pt x="9001601" y="2248087"/>
                    <a:pt x="8997477" y="2252255"/>
                  </a:cubicBezTo>
                  <a:cubicBezTo>
                    <a:pt x="9004721" y="2238007"/>
                    <a:pt x="9011516" y="2237094"/>
                    <a:pt x="9021634" y="2233980"/>
                  </a:cubicBezTo>
                  <a:close/>
                  <a:moveTo>
                    <a:pt x="2960897" y="2233980"/>
                  </a:moveTo>
                  <a:cubicBezTo>
                    <a:pt x="2960860" y="2234153"/>
                    <a:pt x="2957983" y="2235223"/>
                    <a:pt x="2956879" y="2236854"/>
                  </a:cubicBezTo>
                  <a:cubicBezTo>
                    <a:pt x="2961447" y="2238376"/>
                    <a:pt x="2963051" y="2239809"/>
                    <a:pt x="2963848" y="2245282"/>
                  </a:cubicBezTo>
                  <a:cubicBezTo>
                    <a:pt x="2964063" y="2245241"/>
                    <a:pt x="2965567" y="2244027"/>
                    <a:pt x="2970776" y="2243544"/>
                  </a:cubicBezTo>
                  <a:cubicBezTo>
                    <a:pt x="2958952" y="2248274"/>
                    <a:pt x="2952965" y="2253363"/>
                    <a:pt x="2944374" y="2262852"/>
                  </a:cubicBezTo>
                  <a:cubicBezTo>
                    <a:pt x="2947090" y="2257508"/>
                    <a:pt x="2949406" y="2255244"/>
                    <a:pt x="2949424" y="2255177"/>
                  </a:cubicBezTo>
                  <a:cubicBezTo>
                    <a:pt x="2944927" y="2253649"/>
                    <a:pt x="2943662" y="2253289"/>
                    <a:pt x="2941590" y="2248169"/>
                  </a:cubicBezTo>
                  <a:cubicBezTo>
                    <a:pt x="2941317" y="2248319"/>
                    <a:pt x="2940864" y="2248087"/>
                    <a:pt x="2936741" y="2252255"/>
                  </a:cubicBezTo>
                  <a:cubicBezTo>
                    <a:pt x="2943984" y="2238007"/>
                    <a:pt x="2950780" y="2237094"/>
                    <a:pt x="2960897" y="2233980"/>
                  </a:cubicBezTo>
                  <a:close/>
                  <a:moveTo>
                    <a:pt x="8994885" y="2217458"/>
                  </a:moveTo>
                  <a:cubicBezTo>
                    <a:pt x="8995590" y="2217402"/>
                    <a:pt x="8996355" y="2217422"/>
                    <a:pt x="8997186" y="2217495"/>
                  </a:cubicBezTo>
                  <a:cubicBezTo>
                    <a:pt x="8999401" y="2217689"/>
                    <a:pt x="9002087" y="2218258"/>
                    <a:pt x="9005380" y="2218759"/>
                  </a:cubicBezTo>
                  <a:cubicBezTo>
                    <a:pt x="8994185" y="2220525"/>
                    <a:pt x="8991072" y="2226781"/>
                    <a:pt x="8986342" y="2237797"/>
                  </a:cubicBezTo>
                  <a:cubicBezTo>
                    <a:pt x="8987914" y="2221964"/>
                    <a:pt x="8989949" y="2217849"/>
                    <a:pt x="8994885" y="2217458"/>
                  </a:cubicBezTo>
                  <a:close/>
                  <a:moveTo>
                    <a:pt x="2934148" y="2217458"/>
                  </a:moveTo>
                  <a:cubicBezTo>
                    <a:pt x="2934854" y="2217402"/>
                    <a:pt x="2935618" y="2217422"/>
                    <a:pt x="2936449" y="2217495"/>
                  </a:cubicBezTo>
                  <a:cubicBezTo>
                    <a:pt x="2938664" y="2217689"/>
                    <a:pt x="2941350" y="2218258"/>
                    <a:pt x="2944643" y="2218759"/>
                  </a:cubicBezTo>
                  <a:cubicBezTo>
                    <a:pt x="2933448" y="2220525"/>
                    <a:pt x="2930335" y="2226781"/>
                    <a:pt x="2925605" y="2237797"/>
                  </a:cubicBezTo>
                  <a:cubicBezTo>
                    <a:pt x="2927177" y="2221964"/>
                    <a:pt x="2929212" y="2217849"/>
                    <a:pt x="2934148" y="2217458"/>
                  </a:cubicBezTo>
                  <a:close/>
                  <a:moveTo>
                    <a:pt x="9098183" y="2195230"/>
                  </a:moveTo>
                  <a:cubicBezTo>
                    <a:pt x="9099792" y="2197301"/>
                    <a:pt x="9094898" y="2205094"/>
                    <a:pt x="9089930" y="2209246"/>
                  </a:cubicBezTo>
                  <a:cubicBezTo>
                    <a:pt x="9084963" y="2213398"/>
                    <a:pt x="9077644" y="2212972"/>
                    <a:pt x="9077672" y="2211251"/>
                  </a:cubicBezTo>
                  <a:cubicBezTo>
                    <a:pt x="9077700" y="2209530"/>
                    <a:pt x="9085470" y="2207247"/>
                    <a:pt x="9088889" y="2204577"/>
                  </a:cubicBezTo>
                  <a:cubicBezTo>
                    <a:pt x="9092307" y="2201907"/>
                    <a:pt x="9097047" y="2194238"/>
                    <a:pt x="9098183" y="2195230"/>
                  </a:cubicBezTo>
                  <a:close/>
                  <a:moveTo>
                    <a:pt x="3037447" y="2195230"/>
                  </a:moveTo>
                  <a:cubicBezTo>
                    <a:pt x="3039055" y="2197301"/>
                    <a:pt x="3034161" y="2205094"/>
                    <a:pt x="3029193" y="2209246"/>
                  </a:cubicBezTo>
                  <a:cubicBezTo>
                    <a:pt x="3024226" y="2213398"/>
                    <a:pt x="3016907" y="2212972"/>
                    <a:pt x="3016935" y="2211251"/>
                  </a:cubicBezTo>
                  <a:cubicBezTo>
                    <a:pt x="3016963" y="2209530"/>
                    <a:pt x="3024733" y="2207247"/>
                    <a:pt x="3028152" y="2204577"/>
                  </a:cubicBezTo>
                  <a:cubicBezTo>
                    <a:pt x="3031570" y="2201907"/>
                    <a:pt x="3036310" y="2194238"/>
                    <a:pt x="3037447" y="2195230"/>
                  </a:cubicBezTo>
                  <a:close/>
                  <a:moveTo>
                    <a:pt x="10078877" y="2178594"/>
                  </a:moveTo>
                  <a:cubicBezTo>
                    <a:pt x="10115334" y="2178932"/>
                    <a:pt x="10133563" y="2191939"/>
                    <a:pt x="10133563" y="2217615"/>
                  </a:cubicBezTo>
                  <a:lnTo>
                    <a:pt x="10133563" y="2253976"/>
                  </a:lnTo>
                  <a:cubicBezTo>
                    <a:pt x="10133563" y="2271038"/>
                    <a:pt x="10141544" y="2279991"/>
                    <a:pt x="10157507" y="2280836"/>
                  </a:cubicBezTo>
                  <a:lnTo>
                    <a:pt x="10157507" y="2299332"/>
                  </a:lnTo>
                  <a:cubicBezTo>
                    <a:pt x="10141544" y="2300177"/>
                    <a:pt x="10133563" y="2308961"/>
                    <a:pt x="10133563" y="2325685"/>
                  </a:cubicBezTo>
                  <a:lnTo>
                    <a:pt x="10133563" y="2363060"/>
                  </a:lnTo>
                  <a:cubicBezTo>
                    <a:pt x="10133563" y="2388398"/>
                    <a:pt x="10115334" y="2401236"/>
                    <a:pt x="10078877" y="2401574"/>
                  </a:cubicBezTo>
                  <a:lnTo>
                    <a:pt x="10078877" y="2382063"/>
                  </a:lnTo>
                  <a:cubicBezTo>
                    <a:pt x="10087837" y="2381894"/>
                    <a:pt x="10094196" y="2379867"/>
                    <a:pt x="10097955" y="2375982"/>
                  </a:cubicBezTo>
                  <a:cubicBezTo>
                    <a:pt x="10101714" y="2372097"/>
                    <a:pt x="10103594" y="2365678"/>
                    <a:pt x="10103594" y="2356725"/>
                  </a:cubicBezTo>
                  <a:lnTo>
                    <a:pt x="10103594" y="2321377"/>
                  </a:lnTo>
                  <a:cubicBezTo>
                    <a:pt x="10103594" y="2304232"/>
                    <a:pt x="10113738" y="2293800"/>
                    <a:pt x="10134026" y="2290084"/>
                  </a:cubicBezTo>
                  <a:lnTo>
                    <a:pt x="10134026" y="2289704"/>
                  </a:lnTo>
                  <a:cubicBezTo>
                    <a:pt x="10113738" y="2285734"/>
                    <a:pt x="10103594" y="2275219"/>
                    <a:pt x="10103594" y="2258157"/>
                  </a:cubicBezTo>
                  <a:lnTo>
                    <a:pt x="10103594" y="2222430"/>
                  </a:lnTo>
                  <a:cubicBezTo>
                    <a:pt x="10103594" y="2206635"/>
                    <a:pt x="10095355" y="2198569"/>
                    <a:pt x="10078877" y="2198232"/>
                  </a:cubicBezTo>
                  <a:close/>
                  <a:moveTo>
                    <a:pt x="10057558" y="2178594"/>
                  </a:moveTo>
                  <a:lnTo>
                    <a:pt x="10057558" y="2198232"/>
                  </a:lnTo>
                  <a:cubicBezTo>
                    <a:pt x="10041184" y="2198569"/>
                    <a:pt x="10032996" y="2206635"/>
                    <a:pt x="10032996" y="2222430"/>
                  </a:cubicBezTo>
                  <a:lnTo>
                    <a:pt x="10032996" y="2258157"/>
                  </a:lnTo>
                  <a:cubicBezTo>
                    <a:pt x="10032996" y="2275219"/>
                    <a:pt x="10022749" y="2285734"/>
                    <a:pt x="10002255" y="2289704"/>
                  </a:cubicBezTo>
                  <a:lnTo>
                    <a:pt x="10002255" y="2290084"/>
                  </a:lnTo>
                  <a:cubicBezTo>
                    <a:pt x="10022749" y="2293800"/>
                    <a:pt x="10032996" y="2304232"/>
                    <a:pt x="10032996" y="2321377"/>
                  </a:cubicBezTo>
                  <a:lnTo>
                    <a:pt x="10032996" y="2356725"/>
                  </a:lnTo>
                  <a:cubicBezTo>
                    <a:pt x="10032996" y="2365762"/>
                    <a:pt x="10034824" y="2372202"/>
                    <a:pt x="10038480" y="2376045"/>
                  </a:cubicBezTo>
                  <a:cubicBezTo>
                    <a:pt x="10042136" y="2379888"/>
                    <a:pt x="10048496" y="2381894"/>
                    <a:pt x="10057558" y="2382063"/>
                  </a:cubicBezTo>
                  <a:lnTo>
                    <a:pt x="10057558" y="2401574"/>
                  </a:lnTo>
                  <a:cubicBezTo>
                    <a:pt x="10020895" y="2401236"/>
                    <a:pt x="10002564" y="2388398"/>
                    <a:pt x="10002564" y="2363060"/>
                  </a:cubicBezTo>
                  <a:lnTo>
                    <a:pt x="10002564" y="2325685"/>
                  </a:lnTo>
                  <a:cubicBezTo>
                    <a:pt x="10002564" y="2308961"/>
                    <a:pt x="9994531" y="2300177"/>
                    <a:pt x="9978465" y="2299332"/>
                  </a:cubicBezTo>
                  <a:lnTo>
                    <a:pt x="9978465" y="2280836"/>
                  </a:lnTo>
                  <a:cubicBezTo>
                    <a:pt x="9994531" y="2279991"/>
                    <a:pt x="10002564" y="2271038"/>
                    <a:pt x="10002564" y="2253976"/>
                  </a:cubicBezTo>
                  <a:lnTo>
                    <a:pt x="10002564" y="2217615"/>
                  </a:lnTo>
                  <a:cubicBezTo>
                    <a:pt x="10002564" y="2191939"/>
                    <a:pt x="10020895" y="2178932"/>
                    <a:pt x="10057558" y="2178594"/>
                  </a:cubicBezTo>
                  <a:close/>
                  <a:moveTo>
                    <a:pt x="4015651" y="2178594"/>
                  </a:moveTo>
                  <a:cubicBezTo>
                    <a:pt x="4052109" y="2178932"/>
                    <a:pt x="4070337" y="2191939"/>
                    <a:pt x="4070337" y="2217615"/>
                  </a:cubicBezTo>
                  <a:lnTo>
                    <a:pt x="4070337" y="2253976"/>
                  </a:lnTo>
                  <a:cubicBezTo>
                    <a:pt x="4070337" y="2271038"/>
                    <a:pt x="4078318" y="2279991"/>
                    <a:pt x="4094281" y="2280836"/>
                  </a:cubicBezTo>
                  <a:lnTo>
                    <a:pt x="4094281" y="2299332"/>
                  </a:lnTo>
                  <a:cubicBezTo>
                    <a:pt x="4078318" y="2300177"/>
                    <a:pt x="4070337" y="2308961"/>
                    <a:pt x="4070337" y="2325685"/>
                  </a:cubicBezTo>
                  <a:lnTo>
                    <a:pt x="4070337" y="2363060"/>
                  </a:lnTo>
                  <a:cubicBezTo>
                    <a:pt x="4070337" y="2388398"/>
                    <a:pt x="4052109" y="2401236"/>
                    <a:pt x="4015651" y="2401574"/>
                  </a:cubicBezTo>
                  <a:lnTo>
                    <a:pt x="4015651" y="2382063"/>
                  </a:lnTo>
                  <a:cubicBezTo>
                    <a:pt x="4024611" y="2381894"/>
                    <a:pt x="4030970" y="2379867"/>
                    <a:pt x="4034729" y="2375982"/>
                  </a:cubicBezTo>
                  <a:cubicBezTo>
                    <a:pt x="4038488" y="2372097"/>
                    <a:pt x="4040368" y="2365678"/>
                    <a:pt x="4040368" y="2356725"/>
                  </a:cubicBezTo>
                  <a:lnTo>
                    <a:pt x="4040368" y="2321377"/>
                  </a:lnTo>
                  <a:cubicBezTo>
                    <a:pt x="4040368" y="2304232"/>
                    <a:pt x="4050512" y="2293800"/>
                    <a:pt x="4070800" y="2290084"/>
                  </a:cubicBezTo>
                  <a:lnTo>
                    <a:pt x="4070800" y="2289704"/>
                  </a:lnTo>
                  <a:cubicBezTo>
                    <a:pt x="4050512" y="2285734"/>
                    <a:pt x="4040368" y="2275219"/>
                    <a:pt x="4040368" y="2258157"/>
                  </a:cubicBezTo>
                  <a:lnTo>
                    <a:pt x="4040368" y="2222430"/>
                  </a:lnTo>
                  <a:cubicBezTo>
                    <a:pt x="4040368" y="2206635"/>
                    <a:pt x="4032129" y="2198569"/>
                    <a:pt x="4015651" y="2198232"/>
                  </a:cubicBezTo>
                  <a:close/>
                  <a:moveTo>
                    <a:pt x="3994333" y="2178594"/>
                  </a:moveTo>
                  <a:lnTo>
                    <a:pt x="3994333" y="2198232"/>
                  </a:lnTo>
                  <a:cubicBezTo>
                    <a:pt x="3977958" y="2198569"/>
                    <a:pt x="3969771" y="2206635"/>
                    <a:pt x="3969771" y="2222430"/>
                  </a:cubicBezTo>
                  <a:lnTo>
                    <a:pt x="3969771" y="2258157"/>
                  </a:lnTo>
                  <a:cubicBezTo>
                    <a:pt x="3969771" y="2275219"/>
                    <a:pt x="3959524" y="2285734"/>
                    <a:pt x="3939029" y="2289704"/>
                  </a:cubicBezTo>
                  <a:lnTo>
                    <a:pt x="3939029" y="2290084"/>
                  </a:lnTo>
                  <a:cubicBezTo>
                    <a:pt x="3959524" y="2293800"/>
                    <a:pt x="3969771" y="2304232"/>
                    <a:pt x="3969771" y="2321377"/>
                  </a:cubicBezTo>
                  <a:lnTo>
                    <a:pt x="3969771" y="2356725"/>
                  </a:lnTo>
                  <a:cubicBezTo>
                    <a:pt x="3969771" y="2365762"/>
                    <a:pt x="3971598" y="2372202"/>
                    <a:pt x="3975255" y="2376045"/>
                  </a:cubicBezTo>
                  <a:cubicBezTo>
                    <a:pt x="3978911" y="2379888"/>
                    <a:pt x="3985270" y="2381894"/>
                    <a:pt x="3994333" y="2382063"/>
                  </a:cubicBezTo>
                  <a:lnTo>
                    <a:pt x="3994333" y="2401574"/>
                  </a:lnTo>
                  <a:cubicBezTo>
                    <a:pt x="3957670" y="2401236"/>
                    <a:pt x="3939338" y="2388398"/>
                    <a:pt x="3939338" y="2363060"/>
                  </a:cubicBezTo>
                  <a:lnTo>
                    <a:pt x="3939338" y="2325685"/>
                  </a:lnTo>
                  <a:cubicBezTo>
                    <a:pt x="3939338" y="2308961"/>
                    <a:pt x="3931305" y="2300177"/>
                    <a:pt x="3915239" y="2299332"/>
                  </a:cubicBezTo>
                  <a:lnTo>
                    <a:pt x="3915239" y="2280836"/>
                  </a:lnTo>
                  <a:cubicBezTo>
                    <a:pt x="3931305" y="2279991"/>
                    <a:pt x="3939338" y="2271038"/>
                    <a:pt x="3939338" y="2253976"/>
                  </a:cubicBezTo>
                  <a:lnTo>
                    <a:pt x="3939338" y="2217615"/>
                  </a:lnTo>
                  <a:cubicBezTo>
                    <a:pt x="3939338" y="2191939"/>
                    <a:pt x="3957670" y="2178932"/>
                    <a:pt x="3994333" y="2178594"/>
                  </a:cubicBezTo>
                  <a:close/>
                  <a:moveTo>
                    <a:pt x="8993542" y="2176097"/>
                  </a:moveTo>
                  <a:cubicBezTo>
                    <a:pt x="8995495" y="2176172"/>
                    <a:pt x="8997465" y="2176341"/>
                    <a:pt x="8999446" y="2176614"/>
                  </a:cubicBezTo>
                  <a:cubicBezTo>
                    <a:pt x="9015289" y="2178802"/>
                    <a:pt x="9035671" y="2195416"/>
                    <a:pt x="9042722" y="2206032"/>
                  </a:cubicBezTo>
                  <a:cubicBezTo>
                    <a:pt x="9052204" y="2208626"/>
                    <a:pt x="9058241" y="2222362"/>
                    <a:pt x="9060713" y="2227184"/>
                  </a:cubicBezTo>
                  <a:cubicBezTo>
                    <a:pt x="9063185" y="2232006"/>
                    <a:pt x="9060308" y="2234762"/>
                    <a:pt x="9057552" y="2234964"/>
                  </a:cubicBezTo>
                  <a:cubicBezTo>
                    <a:pt x="9057512" y="2235552"/>
                    <a:pt x="9066052" y="2242380"/>
                    <a:pt x="9070666" y="2245069"/>
                  </a:cubicBezTo>
                  <a:cubicBezTo>
                    <a:pt x="9074237" y="2229545"/>
                    <a:pt x="9069055" y="2219126"/>
                    <a:pt x="9068979" y="2207735"/>
                  </a:cubicBezTo>
                  <a:cubicBezTo>
                    <a:pt x="9074409" y="2198253"/>
                    <a:pt x="9078866" y="2201656"/>
                    <a:pt x="9084296" y="2198010"/>
                  </a:cubicBezTo>
                  <a:cubicBezTo>
                    <a:pt x="9087538" y="2194282"/>
                    <a:pt x="9090536" y="2186421"/>
                    <a:pt x="9096209" y="2186826"/>
                  </a:cubicBezTo>
                  <a:cubicBezTo>
                    <a:pt x="9106096" y="2187231"/>
                    <a:pt x="9118658" y="2205628"/>
                    <a:pt x="9119063" y="2249309"/>
                  </a:cubicBezTo>
                  <a:cubicBezTo>
                    <a:pt x="9119306" y="2283994"/>
                    <a:pt x="9105448" y="2307253"/>
                    <a:pt x="9081379" y="2317627"/>
                  </a:cubicBezTo>
                  <a:cubicBezTo>
                    <a:pt x="9069070" y="2320909"/>
                    <a:pt x="9058506" y="2320704"/>
                    <a:pt x="9049352" y="2318345"/>
                  </a:cubicBezTo>
                  <a:lnTo>
                    <a:pt x="9045345" y="2316950"/>
                  </a:lnTo>
                  <a:lnTo>
                    <a:pt x="9044865" y="2319226"/>
                  </a:lnTo>
                  <a:cubicBezTo>
                    <a:pt x="9039980" y="2337966"/>
                    <a:pt x="9026245" y="2339407"/>
                    <a:pt x="9020111" y="2339265"/>
                  </a:cubicBezTo>
                  <a:cubicBezTo>
                    <a:pt x="9013101" y="2339103"/>
                    <a:pt x="9002728" y="2332619"/>
                    <a:pt x="8998473" y="2329540"/>
                  </a:cubicBezTo>
                  <a:cubicBezTo>
                    <a:pt x="8998351" y="2334240"/>
                    <a:pt x="8999445" y="2335902"/>
                    <a:pt x="8997500" y="2342182"/>
                  </a:cubicBezTo>
                  <a:cubicBezTo>
                    <a:pt x="9002606" y="2345546"/>
                    <a:pt x="9005685" y="2357540"/>
                    <a:pt x="9007225" y="2362848"/>
                  </a:cubicBezTo>
                  <a:cubicBezTo>
                    <a:pt x="9008765" y="2368156"/>
                    <a:pt x="9006861" y="2369372"/>
                    <a:pt x="9006739" y="2374032"/>
                  </a:cubicBezTo>
                  <a:cubicBezTo>
                    <a:pt x="9006618" y="2378691"/>
                    <a:pt x="9011480" y="2382419"/>
                    <a:pt x="9008927" y="2387890"/>
                  </a:cubicBezTo>
                  <a:cubicBezTo>
                    <a:pt x="9006374" y="2393360"/>
                    <a:pt x="8999729" y="2393644"/>
                    <a:pt x="8992881" y="2393725"/>
                  </a:cubicBezTo>
                  <a:cubicBezTo>
                    <a:pt x="8986033" y="2393806"/>
                    <a:pt x="8970716" y="2398506"/>
                    <a:pt x="8967839" y="2388376"/>
                  </a:cubicBezTo>
                  <a:cubicBezTo>
                    <a:pt x="8967479" y="2387110"/>
                    <a:pt x="8967227" y="2385601"/>
                    <a:pt x="8967075" y="2383892"/>
                  </a:cubicBezTo>
                  <a:cubicBezTo>
                    <a:pt x="8967061" y="2383440"/>
                    <a:pt x="8967048" y="2382989"/>
                    <a:pt x="8967035" y="2382538"/>
                  </a:cubicBezTo>
                  <a:lnTo>
                    <a:pt x="8963270" y="2386106"/>
                  </a:lnTo>
                  <a:cubicBezTo>
                    <a:pt x="8954664" y="2394207"/>
                    <a:pt x="8946905" y="2400836"/>
                    <a:pt x="8939637" y="2400532"/>
                  </a:cubicBezTo>
                  <a:cubicBezTo>
                    <a:pt x="8927521" y="2398101"/>
                    <a:pt x="8918161" y="2378813"/>
                    <a:pt x="8916054" y="2372087"/>
                  </a:cubicBezTo>
                  <a:cubicBezTo>
                    <a:pt x="8913946" y="2365360"/>
                    <a:pt x="8920794" y="2364104"/>
                    <a:pt x="8926994" y="2360173"/>
                  </a:cubicBezTo>
                  <a:cubicBezTo>
                    <a:pt x="8920794" y="2363780"/>
                    <a:pt x="8904019" y="2360822"/>
                    <a:pt x="8901952" y="2357742"/>
                  </a:cubicBezTo>
                  <a:cubicBezTo>
                    <a:pt x="8902560" y="2364144"/>
                    <a:pt x="8902195" y="2365076"/>
                    <a:pt x="8900980" y="2368683"/>
                  </a:cubicBezTo>
                  <a:cubicBezTo>
                    <a:pt x="8899764" y="2372289"/>
                    <a:pt x="8896563" y="2374396"/>
                    <a:pt x="8894658" y="2379380"/>
                  </a:cubicBezTo>
                  <a:cubicBezTo>
                    <a:pt x="8892754" y="2384364"/>
                    <a:pt x="8897130" y="2396804"/>
                    <a:pt x="8889553" y="2398587"/>
                  </a:cubicBezTo>
                  <a:cubicBezTo>
                    <a:pt x="8881975" y="2400370"/>
                    <a:pt x="8858433" y="2399681"/>
                    <a:pt x="8849194" y="2390078"/>
                  </a:cubicBezTo>
                  <a:cubicBezTo>
                    <a:pt x="8845304" y="2385337"/>
                    <a:pt x="8851625" y="2378003"/>
                    <a:pt x="8850167" y="2375977"/>
                  </a:cubicBezTo>
                  <a:cubicBezTo>
                    <a:pt x="8848708" y="2373950"/>
                    <a:pt x="8846277" y="2381933"/>
                    <a:pt x="8840442" y="2377922"/>
                  </a:cubicBezTo>
                  <a:cubicBezTo>
                    <a:pt x="8834607" y="2373910"/>
                    <a:pt x="8816818" y="2360700"/>
                    <a:pt x="8815157" y="2351907"/>
                  </a:cubicBezTo>
                  <a:cubicBezTo>
                    <a:pt x="8813495" y="2343114"/>
                    <a:pt x="8823626" y="2333875"/>
                    <a:pt x="8830474" y="2325163"/>
                  </a:cubicBezTo>
                  <a:cubicBezTo>
                    <a:pt x="8828812" y="2315722"/>
                    <a:pt x="8828123" y="2309401"/>
                    <a:pt x="8831932" y="2298420"/>
                  </a:cubicBezTo>
                  <a:cubicBezTo>
                    <a:pt x="8826827" y="2295300"/>
                    <a:pt x="8815724" y="2290883"/>
                    <a:pt x="8816372" y="2276296"/>
                  </a:cubicBezTo>
                  <a:lnTo>
                    <a:pt x="8818145" y="2262886"/>
                  </a:lnTo>
                  <a:lnTo>
                    <a:pt x="8818607" y="2271666"/>
                  </a:lnTo>
                  <a:lnTo>
                    <a:pt x="8819436" y="2272064"/>
                  </a:lnTo>
                  <a:lnTo>
                    <a:pt x="8819559" y="2273246"/>
                  </a:lnTo>
                  <a:cubicBezTo>
                    <a:pt x="8820590" y="2281682"/>
                    <a:pt x="8823352" y="2291027"/>
                    <a:pt x="8839247" y="2287188"/>
                  </a:cubicBezTo>
                  <a:cubicBezTo>
                    <a:pt x="8832410" y="2323464"/>
                    <a:pt x="8847851" y="2341451"/>
                    <a:pt x="8857593" y="2358296"/>
                  </a:cubicBezTo>
                  <a:lnTo>
                    <a:pt x="8858561" y="2360158"/>
                  </a:lnTo>
                  <a:lnTo>
                    <a:pt x="8858527" y="2361032"/>
                  </a:lnTo>
                  <a:cubicBezTo>
                    <a:pt x="8858234" y="2366174"/>
                    <a:pt x="8857499" y="2369738"/>
                    <a:pt x="8857117" y="2374565"/>
                  </a:cubicBezTo>
                  <a:cubicBezTo>
                    <a:pt x="8856010" y="2378367"/>
                    <a:pt x="8853286" y="2377947"/>
                    <a:pt x="8853795" y="2385970"/>
                  </a:cubicBezTo>
                  <a:cubicBezTo>
                    <a:pt x="8854124" y="2390969"/>
                    <a:pt x="8883459" y="2399021"/>
                    <a:pt x="8888189" y="2392615"/>
                  </a:cubicBezTo>
                  <a:cubicBezTo>
                    <a:pt x="8889566" y="2390400"/>
                    <a:pt x="8888967" y="2385311"/>
                    <a:pt x="8889356" y="2381659"/>
                  </a:cubicBezTo>
                  <a:cubicBezTo>
                    <a:pt x="8889955" y="2377588"/>
                    <a:pt x="8895223" y="2373158"/>
                    <a:pt x="8896001" y="2367381"/>
                  </a:cubicBezTo>
                  <a:cubicBezTo>
                    <a:pt x="8896510" y="2362786"/>
                    <a:pt x="8896458" y="2357585"/>
                    <a:pt x="8896282" y="2352171"/>
                  </a:cubicBezTo>
                  <a:lnTo>
                    <a:pt x="8896072" y="2346453"/>
                  </a:lnTo>
                  <a:lnTo>
                    <a:pt x="8897672" y="2348315"/>
                  </a:lnTo>
                  <a:cubicBezTo>
                    <a:pt x="8908014" y="2358863"/>
                    <a:pt x="8929950" y="2362416"/>
                    <a:pt x="8937310" y="2346098"/>
                  </a:cubicBezTo>
                  <a:cubicBezTo>
                    <a:pt x="8937400" y="2351336"/>
                    <a:pt x="8939106" y="2353342"/>
                    <a:pt x="8938208" y="2359927"/>
                  </a:cubicBezTo>
                  <a:cubicBezTo>
                    <a:pt x="8935634" y="2364088"/>
                    <a:pt x="8924169" y="2365016"/>
                    <a:pt x="8921056" y="2372679"/>
                  </a:cubicBezTo>
                  <a:cubicBezTo>
                    <a:pt x="8920128" y="2375882"/>
                    <a:pt x="8932311" y="2395070"/>
                    <a:pt x="8940094" y="2395758"/>
                  </a:cubicBezTo>
                  <a:cubicBezTo>
                    <a:pt x="8945752" y="2396417"/>
                    <a:pt x="8956258" y="2385311"/>
                    <a:pt x="8975386" y="2367830"/>
                  </a:cubicBezTo>
                  <a:cubicBezTo>
                    <a:pt x="8978347" y="2365124"/>
                    <a:pt x="8989545" y="2343883"/>
                    <a:pt x="8994604" y="2325713"/>
                  </a:cubicBezTo>
                  <a:cubicBezTo>
                    <a:pt x="8989447" y="2323123"/>
                    <a:pt x="8981974" y="2316954"/>
                    <a:pt x="8977626" y="2307326"/>
                  </a:cubicBezTo>
                  <a:lnTo>
                    <a:pt x="8977431" y="2306814"/>
                  </a:lnTo>
                  <a:lnTo>
                    <a:pt x="8980067" y="2308474"/>
                  </a:lnTo>
                  <a:cubicBezTo>
                    <a:pt x="8986701" y="2312894"/>
                    <a:pt x="8993436" y="2317743"/>
                    <a:pt x="8999363" y="2319157"/>
                  </a:cubicBezTo>
                  <a:cubicBezTo>
                    <a:pt x="9003734" y="2324186"/>
                    <a:pt x="9008822" y="2332179"/>
                    <a:pt x="9020826" y="2333705"/>
                  </a:cubicBezTo>
                  <a:cubicBezTo>
                    <a:pt x="9031063" y="2335441"/>
                    <a:pt x="9038337" y="2325773"/>
                    <a:pt x="9041929" y="2315206"/>
                  </a:cubicBezTo>
                  <a:lnTo>
                    <a:pt x="9038607" y="2314937"/>
                  </a:lnTo>
                  <a:cubicBezTo>
                    <a:pt x="9023340" y="2340530"/>
                    <a:pt x="9007206" y="2317189"/>
                    <a:pt x="9010626" y="2292639"/>
                  </a:cubicBezTo>
                  <a:lnTo>
                    <a:pt x="9011556" y="2287831"/>
                  </a:lnTo>
                  <a:lnTo>
                    <a:pt x="9013320" y="2289753"/>
                  </a:lnTo>
                  <a:cubicBezTo>
                    <a:pt x="9043798" y="2320813"/>
                    <a:pt x="9070447" y="2316272"/>
                    <a:pt x="9085573" y="2308022"/>
                  </a:cubicBezTo>
                  <a:cubicBezTo>
                    <a:pt x="9127002" y="2282488"/>
                    <a:pt x="9114863" y="2194367"/>
                    <a:pt x="9097517" y="2190112"/>
                  </a:cubicBezTo>
                  <a:cubicBezTo>
                    <a:pt x="9093550" y="2189139"/>
                    <a:pt x="9090782" y="2199362"/>
                    <a:pt x="9088177" y="2200889"/>
                  </a:cubicBezTo>
                  <a:cubicBezTo>
                    <a:pt x="9080185" y="2205109"/>
                    <a:pt x="9076683" y="2204481"/>
                    <a:pt x="9074527" y="2207803"/>
                  </a:cubicBezTo>
                  <a:cubicBezTo>
                    <a:pt x="9070262" y="2214033"/>
                    <a:pt x="9085965" y="2250098"/>
                    <a:pt x="9065993" y="2269010"/>
                  </a:cubicBezTo>
                  <a:lnTo>
                    <a:pt x="9064502" y="2270186"/>
                  </a:lnTo>
                  <a:lnTo>
                    <a:pt x="9064816" y="2269581"/>
                  </a:lnTo>
                  <a:cubicBezTo>
                    <a:pt x="9068600" y="2262268"/>
                    <a:pt x="9072574" y="2253894"/>
                    <a:pt x="9068062" y="2250369"/>
                  </a:cubicBezTo>
                  <a:cubicBezTo>
                    <a:pt x="9062763" y="2246149"/>
                    <a:pt x="9059441" y="2249381"/>
                    <a:pt x="9055400" y="2252794"/>
                  </a:cubicBezTo>
                  <a:cubicBezTo>
                    <a:pt x="9058004" y="2249830"/>
                    <a:pt x="9061147" y="2249292"/>
                    <a:pt x="9056747" y="2242287"/>
                  </a:cubicBezTo>
                  <a:cubicBezTo>
                    <a:pt x="9053244" y="2239922"/>
                    <a:pt x="9051358" y="2240521"/>
                    <a:pt x="9044893" y="2242197"/>
                  </a:cubicBezTo>
                  <a:cubicBezTo>
                    <a:pt x="9048994" y="2239144"/>
                    <a:pt x="9050311" y="2240311"/>
                    <a:pt x="9048305" y="2234385"/>
                  </a:cubicBezTo>
                  <a:cubicBezTo>
                    <a:pt x="9045566" y="2230703"/>
                    <a:pt x="9044191" y="2231011"/>
                    <a:pt x="9041452" y="2231219"/>
                  </a:cubicBezTo>
                  <a:lnTo>
                    <a:pt x="9039553" y="2231232"/>
                  </a:lnTo>
                  <a:lnTo>
                    <a:pt x="9041115" y="2230671"/>
                  </a:lnTo>
                  <a:cubicBezTo>
                    <a:pt x="9041990" y="2230377"/>
                    <a:pt x="9042782" y="2230138"/>
                    <a:pt x="9043456" y="2229984"/>
                  </a:cubicBezTo>
                  <a:cubicBezTo>
                    <a:pt x="9048844" y="2228757"/>
                    <a:pt x="9054741" y="2230448"/>
                    <a:pt x="9054771" y="2227380"/>
                  </a:cubicBezTo>
                  <a:cubicBezTo>
                    <a:pt x="9055430" y="2224027"/>
                    <a:pt x="9047018" y="2213580"/>
                    <a:pt x="9043276" y="2212742"/>
                  </a:cubicBezTo>
                  <a:cubicBezTo>
                    <a:pt x="9041278" y="2212114"/>
                    <a:pt x="9036047" y="2211586"/>
                    <a:pt x="9031296" y="2211273"/>
                  </a:cubicBezTo>
                  <a:lnTo>
                    <a:pt x="9030190" y="2211214"/>
                  </a:lnTo>
                  <a:lnTo>
                    <a:pt x="9030199" y="2211191"/>
                  </a:lnTo>
                  <a:cubicBezTo>
                    <a:pt x="9031327" y="2209633"/>
                    <a:pt x="9035082" y="2209061"/>
                    <a:pt x="9037978" y="2208791"/>
                  </a:cubicBezTo>
                  <a:cubicBezTo>
                    <a:pt x="9025825" y="2192747"/>
                    <a:pt x="9009451" y="2182449"/>
                    <a:pt x="8995322" y="2182659"/>
                  </a:cubicBezTo>
                  <a:cubicBezTo>
                    <a:pt x="8978290" y="2183168"/>
                    <a:pt x="8956947" y="2187538"/>
                    <a:pt x="8944854" y="2206277"/>
                  </a:cubicBezTo>
                  <a:cubicBezTo>
                    <a:pt x="8951035" y="2206209"/>
                    <a:pt x="8955633" y="2206237"/>
                    <a:pt x="8959086" y="2206604"/>
                  </a:cubicBezTo>
                  <a:lnTo>
                    <a:pt x="8959663" y="2206687"/>
                  </a:lnTo>
                  <a:lnTo>
                    <a:pt x="8957253" y="2207342"/>
                  </a:lnTo>
                  <a:cubicBezTo>
                    <a:pt x="8944447" y="2210423"/>
                    <a:pt x="8935525" y="2209963"/>
                    <a:pt x="8932654" y="2212459"/>
                  </a:cubicBezTo>
                  <a:cubicBezTo>
                    <a:pt x="8926651" y="2216659"/>
                    <a:pt x="8887781" y="2252469"/>
                    <a:pt x="8886178" y="2272744"/>
                  </a:cubicBezTo>
                  <a:cubicBezTo>
                    <a:pt x="8890295" y="2283506"/>
                    <a:pt x="8891069" y="2275901"/>
                    <a:pt x="8900160" y="2294856"/>
                  </a:cubicBezTo>
                  <a:lnTo>
                    <a:pt x="8914666" y="2278318"/>
                  </a:lnTo>
                  <a:lnTo>
                    <a:pt x="8897694" y="2313424"/>
                  </a:lnTo>
                  <a:cubicBezTo>
                    <a:pt x="8901926" y="2319604"/>
                    <a:pt x="8904811" y="2322911"/>
                    <a:pt x="8913623" y="2322805"/>
                  </a:cubicBezTo>
                  <a:cubicBezTo>
                    <a:pt x="8923034" y="2321557"/>
                    <a:pt x="8931726" y="2313843"/>
                    <a:pt x="8940778" y="2309362"/>
                  </a:cubicBezTo>
                  <a:cubicBezTo>
                    <a:pt x="8949724" y="2305639"/>
                    <a:pt x="8952383" y="2308201"/>
                    <a:pt x="8958186" y="2307621"/>
                  </a:cubicBezTo>
                  <a:cubicBezTo>
                    <a:pt x="8970413" y="2274457"/>
                    <a:pt x="8951209" y="2274609"/>
                    <a:pt x="8964423" y="2238571"/>
                  </a:cubicBezTo>
                  <a:cubicBezTo>
                    <a:pt x="8959726" y="2267680"/>
                    <a:pt x="8978377" y="2267694"/>
                    <a:pt x="8965149" y="2316470"/>
                  </a:cubicBezTo>
                  <a:lnTo>
                    <a:pt x="8963041" y="2316125"/>
                  </a:lnTo>
                  <a:lnTo>
                    <a:pt x="8960372" y="2315442"/>
                  </a:lnTo>
                  <a:lnTo>
                    <a:pt x="8957638" y="2315016"/>
                  </a:lnTo>
                  <a:lnTo>
                    <a:pt x="8956872" y="2314838"/>
                  </a:lnTo>
                  <a:cubicBezTo>
                    <a:pt x="8954803" y="2314430"/>
                    <a:pt x="8952627" y="2314212"/>
                    <a:pt x="8950101" y="2314609"/>
                  </a:cubicBezTo>
                  <a:lnTo>
                    <a:pt x="8949115" y="2314839"/>
                  </a:lnTo>
                  <a:lnTo>
                    <a:pt x="8948520" y="2314890"/>
                  </a:lnTo>
                  <a:cubicBezTo>
                    <a:pt x="8935318" y="2316946"/>
                    <a:pt x="8930463" y="2328586"/>
                    <a:pt x="8909292" y="2330832"/>
                  </a:cubicBezTo>
                  <a:cubicBezTo>
                    <a:pt x="8902980" y="2329601"/>
                    <a:pt x="8892886" y="2320325"/>
                    <a:pt x="8886952" y="2313113"/>
                  </a:cubicBezTo>
                  <a:lnTo>
                    <a:pt x="8886494" y="2312519"/>
                  </a:lnTo>
                  <a:lnTo>
                    <a:pt x="8888216" y="2309642"/>
                  </a:lnTo>
                  <a:cubicBezTo>
                    <a:pt x="8890056" y="2306776"/>
                    <a:pt x="8892069" y="2303846"/>
                    <a:pt x="8894295" y="2300838"/>
                  </a:cubicBezTo>
                  <a:cubicBezTo>
                    <a:pt x="8890404" y="2290391"/>
                    <a:pt x="8880136" y="2286769"/>
                    <a:pt x="8877233" y="2273807"/>
                  </a:cubicBezTo>
                  <a:cubicBezTo>
                    <a:pt x="8881932" y="2260397"/>
                    <a:pt x="8883848" y="2251656"/>
                    <a:pt x="8907496" y="2227649"/>
                  </a:cubicBezTo>
                  <a:cubicBezTo>
                    <a:pt x="8844635" y="2236659"/>
                    <a:pt x="8844821" y="2287266"/>
                    <a:pt x="8827441" y="2275031"/>
                  </a:cubicBezTo>
                  <a:lnTo>
                    <a:pt x="8823816" y="2271768"/>
                  </a:lnTo>
                  <a:lnTo>
                    <a:pt x="8824876" y="2271173"/>
                  </a:lnTo>
                  <a:cubicBezTo>
                    <a:pt x="8831282" y="2266858"/>
                    <a:pt x="8823696" y="2260644"/>
                    <a:pt x="8828830" y="2251267"/>
                  </a:cubicBezTo>
                  <a:lnTo>
                    <a:pt x="8818347" y="2261360"/>
                  </a:lnTo>
                  <a:lnTo>
                    <a:pt x="8819259" y="2254460"/>
                  </a:lnTo>
                  <a:cubicBezTo>
                    <a:pt x="8824355" y="2249390"/>
                    <a:pt x="8831243" y="2246533"/>
                    <a:pt x="8832905" y="2245905"/>
                  </a:cubicBezTo>
                  <a:cubicBezTo>
                    <a:pt x="8829784" y="2255427"/>
                    <a:pt x="8836592" y="2262073"/>
                    <a:pt x="8832905" y="2269731"/>
                  </a:cubicBezTo>
                  <a:cubicBezTo>
                    <a:pt x="8868361" y="2224632"/>
                    <a:pt x="8892835" y="2221755"/>
                    <a:pt x="8909246" y="2221349"/>
                  </a:cubicBezTo>
                  <a:cubicBezTo>
                    <a:pt x="8922010" y="2210004"/>
                    <a:pt x="8923104" y="2207045"/>
                    <a:pt x="8931857" y="2204817"/>
                  </a:cubicBezTo>
                  <a:lnTo>
                    <a:pt x="8937893" y="2204184"/>
                  </a:lnTo>
                  <a:lnTo>
                    <a:pt x="8938592" y="2202687"/>
                  </a:lnTo>
                  <a:cubicBezTo>
                    <a:pt x="8943964" y="2192018"/>
                    <a:pt x="8948653" y="2188690"/>
                    <a:pt x="8957871" y="2184151"/>
                  </a:cubicBezTo>
                  <a:cubicBezTo>
                    <a:pt x="8967090" y="2179613"/>
                    <a:pt x="8979876" y="2175571"/>
                    <a:pt x="8993542" y="2176097"/>
                  </a:cubicBezTo>
                  <a:close/>
                  <a:moveTo>
                    <a:pt x="2932806" y="2176097"/>
                  </a:moveTo>
                  <a:cubicBezTo>
                    <a:pt x="2934758" y="2176172"/>
                    <a:pt x="2936728" y="2176341"/>
                    <a:pt x="2938709" y="2176614"/>
                  </a:cubicBezTo>
                  <a:cubicBezTo>
                    <a:pt x="2954552" y="2178802"/>
                    <a:pt x="2974934" y="2195416"/>
                    <a:pt x="2981985" y="2206032"/>
                  </a:cubicBezTo>
                  <a:cubicBezTo>
                    <a:pt x="2991467" y="2208626"/>
                    <a:pt x="2997504" y="2222362"/>
                    <a:pt x="2999976" y="2227184"/>
                  </a:cubicBezTo>
                  <a:cubicBezTo>
                    <a:pt x="3002448" y="2232006"/>
                    <a:pt x="2999571" y="2234762"/>
                    <a:pt x="2996816" y="2234964"/>
                  </a:cubicBezTo>
                  <a:cubicBezTo>
                    <a:pt x="2996775" y="2235552"/>
                    <a:pt x="3005315" y="2242380"/>
                    <a:pt x="3009929" y="2245069"/>
                  </a:cubicBezTo>
                  <a:cubicBezTo>
                    <a:pt x="3013500" y="2229545"/>
                    <a:pt x="3008318" y="2219126"/>
                    <a:pt x="3008243" y="2207735"/>
                  </a:cubicBezTo>
                  <a:cubicBezTo>
                    <a:pt x="3013672" y="2198253"/>
                    <a:pt x="3018130" y="2201656"/>
                    <a:pt x="3023559" y="2198010"/>
                  </a:cubicBezTo>
                  <a:cubicBezTo>
                    <a:pt x="3026801" y="2194282"/>
                    <a:pt x="3029800" y="2186421"/>
                    <a:pt x="3035473" y="2186826"/>
                  </a:cubicBezTo>
                  <a:cubicBezTo>
                    <a:pt x="3045359" y="2187231"/>
                    <a:pt x="3057921" y="2205628"/>
                    <a:pt x="3058326" y="2249309"/>
                  </a:cubicBezTo>
                  <a:cubicBezTo>
                    <a:pt x="3058569" y="2283994"/>
                    <a:pt x="3044711" y="2307253"/>
                    <a:pt x="3020642" y="2317627"/>
                  </a:cubicBezTo>
                  <a:cubicBezTo>
                    <a:pt x="3008334" y="2320909"/>
                    <a:pt x="2997769" y="2320704"/>
                    <a:pt x="2988615" y="2318345"/>
                  </a:cubicBezTo>
                  <a:lnTo>
                    <a:pt x="2984609" y="2316950"/>
                  </a:lnTo>
                  <a:lnTo>
                    <a:pt x="2984128" y="2319226"/>
                  </a:lnTo>
                  <a:cubicBezTo>
                    <a:pt x="2979243" y="2337966"/>
                    <a:pt x="2965508" y="2339407"/>
                    <a:pt x="2959374" y="2339265"/>
                  </a:cubicBezTo>
                  <a:cubicBezTo>
                    <a:pt x="2952364" y="2339103"/>
                    <a:pt x="2941991" y="2332619"/>
                    <a:pt x="2937736" y="2329540"/>
                  </a:cubicBezTo>
                  <a:cubicBezTo>
                    <a:pt x="2937614" y="2334240"/>
                    <a:pt x="2938709" y="2335902"/>
                    <a:pt x="2936763" y="2342182"/>
                  </a:cubicBezTo>
                  <a:cubicBezTo>
                    <a:pt x="2941869" y="2345546"/>
                    <a:pt x="2944949" y="2357540"/>
                    <a:pt x="2946489" y="2362848"/>
                  </a:cubicBezTo>
                  <a:cubicBezTo>
                    <a:pt x="2948028" y="2368156"/>
                    <a:pt x="2946124" y="2369372"/>
                    <a:pt x="2946002" y="2374032"/>
                  </a:cubicBezTo>
                  <a:cubicBezTo>
                    <a:pt x="2945881" y="2378691"/>
                    <a:pt x="2950743" y="2382419"/>
                    <a:pt x="2948190" y="2387890"/>
                  </a:cubicBezTo>
                  <a:cubicBezTo>
                    <a:pt x="2945637" y="2393360"/>
                    <a:pt x="2938992" y="2393644"/>
                    <a:pt x="2932144" y="2393725"/>
                  </a:cubicBezTo>
                  <a:cubicBezTo>
                    <a:pt x="2925296" y="2393806"/>
                    <a:pt x="2909979" y="2398506"/>
                    <a:pt x="2907102" y="2388376"/>
                  </a:cubicBezTo>
                  <a:cubicBezTo>
                    <a:pt x="2906743" y="2387110"/>
                    <a:pt x="2906491" y="2385601"/>
                    <a:pt x="2906338" y="2383892"/>
                  </a:cubicBezTo>
                  <a:cubicBezTo>
                    <a:pt x="2906324" y="2383440"/>
                    <a:pt x="2906311" y="2382989"/>
                    <a:pt x="2906298" y="2382538"/>
                  </a:cubicBezTo>
                  <a:lnTo>
                    <a:pt x="2902533" y="2386106"/>
                  </a:lnTo>
                  <a:cubicBezTo>
                    <a:pt x="2893927" y="2394207"/>
                    <a:pt x="2886168" y="2400836"/>
                    <a:pt x="2878900" y="2400532"/>
                  </a:cubicBezTo>
                  <a:cubicBezTo>
                    <a:pt x="2866784" y="2398101"/>
                    <a:pt x="2857424" y="2378813"/>
                    <a:pt x="2855317" y="2372087"/>
                  </a:cubicBezTo>
                  <a:cubicBezTo>
                    <a:pt x="2853210" y="2365360"/>
                    <a:pt x="2860058" y="2364104"/>
                    <a:pt x="2866257" y="2360173"/>
                  </a:cubicBezTo>
                  <a:cubicBezTo>
                    <a:pt x="2860058" y="2363780"/>
                    <a:pt x="2843282" y="2360822"/>
                    <a:pt x="2841215" y="2357742"/>
                  </a:cubicBezTo>
                  <a:cubicBezTo>
                    <a:pt x="2841823" y="2364144"/>
                    <a:pt x="2841459" y="2365076"/>
                    <a:pt x="2840243" y="2368683"/>
                  </a:cubicBezTo>
                  <a:cubicBezTo>
                    <a:pt x="2839027" y="2372289"/>
                    <a:pt x="2835826" y="2374396"/>
                    <a:pt x="2833922" y="2379380"/>
                  </a:cubicBezTo>
                  <a:cubicBezTo>
                    <a:pt x="2832018" y="2384364"/>
                    <a:pt x="2836393" y="2396804"/>
                    <a:pt x="2828816" y="2398587"/>
                  </a:cubicBezTo>
                  <a:cubicBezTo>
                    <a:pt x="2821239" y="2400370"/>
                    <a:pt x="2797696" y="2399681"/>
                    <a:pt x="2788458" y="2390078"/>
                  </a:cubicBezTo>
                  <a:cubicBezTo>
                    <a:pt x="2784567" y="2385337"/>
                    <a:pt x="2790889" y="2378003"/>
                    <a:pt x="2789430" y="2375977"/>
                  </a:cubicBezTo>
                  <a:cubicBezTo>
                    <a:pt x="2787971" y="2373950"/>
                    <a:pt x="2785540" y="2381933"/>
                    <a:pt x="2779705" y="2377922"/>
                  </a:cubicBezTo>
                  <a:cubicBezTo>
                    <a:pt x="2773870" y="2373910"/>
                    <a:pt x="2756081" y="2360700"/>
                    <a:pt x="2754420" y="2351907"/>
                  </a:cubicBezTo>
                  <a:cubicBezTo>
                    <a:pt x="2752758" y="2343114"/>
                    <a:pt x="2762889" y="2333875"/>
                    <a:pt x="2769737" y="2325163"/>
                  </a:cubicBezTo>
                  <a:cubicBezTo>
                    <a:pt x="2768076" y="2315722"/>
                    <a:pt x="2767386" y="2309401"/>
                    <a:pt x="2771195" y="2298420"/>
                  </a:cubicBezTo>
                  <a:cubicBezTo>
                    <a:pt x="2766090" y="2295300"/>
                    <a:pt x="2754987" y="2290883"/>
                    <a:pt x="2755635" y="2276296"/>
                  </a:cubicBezTo>
                  <a:lnTo>
                    <a:pt x="2757408" y="2262887"/>
                  </a:lnTo>
                  <a:lnTo>
                    <a:pt x="2757870" y="2271666"/>
                  </a:lnTo>
                  <a:lnTo>
                    <a:pt x="2758699" y="2272064"/>
                  </a:lnTo>
                  <a:lnTo>
                    <a:pt x="2758822" y="2273246"/>
                  </a:lnTo>
                  <a:cubicBezTo>
                    <a:pt x="2759853" y="2281682"/>
                    <a:pt x="2762615" y="2291027"/>
                    <a:pt x="2778510" y="2287188"/>
                  </a:cubicBezTo>
                  <a:cubicBezTo>
                    <a:pt x="2771674" y="2323464"/>
                    <a:pt x="2787114" y="2341451"/>
                    <a:pt x="2796856" y="2358296"/>
                  </a:cubicBezTo>
                  <a:lnTo>
                    <a:pt x="2797825" y="2360158"/>
                  </a:lnTo>
                  <a:lnTo>
                    <a:pt x="2797791" y="2361032"/>
                  </a:lnTo>
                  <a:cubicBezTo>
                    <a:pt x="2797497" y="2366174"/>
                    <a:pt x="2796762" y="2369738"/>
                    <a:pt x="2796380" y="2374565"/>
                  </a:cubicBezTo>
                  <a:cubicBezTo>
                    <a:pt x="2795273" y="2378367"/>
                    <a:pt x="2792549" y="2377947"/>
                    <a:pt x="2793058" y="2385970"/>
                  </a:cubicBezTo>
                  <a:cubicBezTo>
                    <a:pt x="2793387" y="2390969"/>
                    <a:pt x="2822722" y="2399021"/>
                    <a:pt x="2827452" y="2392615"/>
                  </a:cubicBezTo>
                  <a:cubicBezTo>
                    <a:pt x="2828829" y="2390400"/>
                    <a:pt x="2828231" y="2385311"/>
                    <a:pt x="2828619" y="2381659"/>
                  </a:cubicBezTo>
                  <a:cubicBezTo>
                    <a:pt x="2829218" y="2377588"/>
                    <a:pt x="2834486" y="2373158"/>
                    <a:pt x="2835265" y="2367381"/>
                  </a:cubicBezTo>
                  <a:cubicBezTo>
                    <a:pt x="2835773" y="2362786"/>
                    <a:pt x="2835721" y="2357585"/>
                    <a:pt x="2835545" y="2352171"/>
                  </a:cubicBezTo>
                  <a:lnTo>
                    <a:pt x="2835336" y="2346453"/>
                  </a:lnTo>
                  <a:lnTo>
                    <a:pt x="2836935" y="2348315"/>
                  </a:lnTo>
                  <a:cubicBezTo>
                    <a:pt x="2847277" y="2358863"/>
                    <a:pt x="2869213" y="2362416"/>
                    <a:pt x="2876573" y="2346098"/>
                  </a:cubicBezTo>
                  <a:cubicBezTo>
                    <a:pt x="2876663" y="2351336"/>
                    <a:pt x="2878370" y="2353342"/>
                    <a:pt x="2877471" y="2359927"/>
                  </a:cubicBezTo>
                  <a:cubicBezTo>
                    <a:pt x="2874897" y="2364088"/>
                    <a:pt x="2863433" y="2365016"/>
                    <a:pt x="2860319" y="2372679"/>
                  </a:cubicBezTo>
                  <a:cubicBezTo>
                    <a:pt x="2859391" y="2375882"/>
                    <a:pt x="2871575" y="2395070"/>
                    <a:pt x="2879358" y="2395758"/>
                  </a:cubicBezTo>
                  <a:cubicBezTo>
                    <a:pt x="2885015" y="2396417"/>
                    <a:pt x="2895522" y="2385311"/>
                    <a:pt x="2914649" y="2367830"/>
                  </a:cubicBezTo>
                  <a:cubicBezTo>
                    <a:pt x="2917610" y="2365124"/>
                    <a:pt x="2928808" y="2343883"/>
                    <a:pt x="2933867" y="2325713"/>
                  </a:cubicBezTo>
                  <a:cubicBezTo>
                    <a:pt x="2928711" y="2323123"/>
                    <a:pt x="2921238" y="2316954"/>
                    <a:pt x="2916889" y="2307326"/>
                  </a:cubicBezTo>
                  <a:lnTo>
                    <a:pt x="2916694" y="2306814"/>
                  </a:lnTo>
                  <a:lnTo>
                    <a:pt x="2919331" y="2308474"/>
                  </a:lnTo>
                  <a:cubicBezTo>
                    <a:pt x="2925965" y="2312894"/>
                    <a:pt x="2932699" y="2317743"/>
                    <a:pt x="2938626" y="2319157"/>
                  </a:cubicBezTo>
                  <a:cubicBezTo>
                    <a:pt x="2942997" y="2324186"/>
                    <a:pt x="2948086" y="2332179"/>
                    <a:pt x="2960089" y="2333705"/>
                  </a:cubicBezTo>
                  <a:cubicBezTo>
                    <a:pt x="2970326" y="2335441"/>
                    <a:pt x="2977600" y="2325773"/>
                    <a:pt x="2981193" y="2315206"/>
                  </a:cubicBezTo>
                  <a:lnTo>
                    <a:pt x="2977870" y="2314937"/>
                  </a:lnTo>
                  <a:cubicBezTo>
                    <a:pt x="2962604" y="2340530"/>
                    <a:pt x="2946469" y="2317189"/>
                    <a:pt x="2949889" y="2292639"/>
                  </a:cubicBezTo>
                  <a:lnTo>
                    <a:pt x="2950820" y="2287831"/>
                  </a:lnTo>
                  <a:lnTo>
                    <a:pt x="2952584" y="2289753"/>
                  </a:lnTo>
                  <a:cubicBezTo>
                    <a:pt x="2983061" y="2320813"/>
                    <a:pt x="3009710" y="2316272"/>
                    <a:pt x="3024836" y="2308022"/>
                  </a:cubicBezTo>
                  <a:cubicBezTo>
                    <a:pt x="3066265" y="2282488"/>
                    <a:pt x="3054126" y="2194367"/>
                    <a:pt x="3036780" y="2190112"/>
                  </a:cubicBezTo>
                  <a:cubicBezTo>
                    <a:pt x="3032814" y="2189139"/>
                    <a:pt x="3030045" y="2199362"/>
                    <a:pt x="3027441" y="2200889"/>
                  </a:cubicBezTo>
                  <a:cubicBezTo>
                    <a:pt x="3019448" y="2205109"/>
                    <a:pt x="3015946" y="2204481"/>
                    <a:pt x="3013791" y="2207803"/>
                  </a:cubicBezTo>
                  <a:cubicBezTo>
                    <a:pt x="3009525" y="2214033"/>
                    <a:pt x="3025228" y="2250098"/>
                    <a:pt x="3005256" y="2269010"/>
                  </a:cubicBezTo>
                  <a:lnTo>
                    <a:pt x="3003766" y="2270186"/>
                  </a:lnTo>
                  <a:lnTo>
                    <a:pt x="3004079" y="2269581"/>
                  </a:lnTo>
                  <a:cubicBezTo>
                    <a:pt x="3007864" y="2262268"/>
                    <a:pt x="3011837" y="2253894"/>
                    <a:pt x="3007325" y="2250369"/>
                  </a:cubicBezTo>
                  <a:cubicBezTo>
                    <a:pt x="3002026" y="2246149"/>
                    <a:pt x="2998704" y="2249381"/>
                    <a:pt x="2994663" y="2252794"/>
                  </a:cubicBezTo>
                  <a:cubicBezTo>
                    <a:pt x="2997267" y="2249830"/>
                    <a:pt x="3000410" y="2249292"/>
                    <a:pt x="2996010" y="2242287"/>
                  </a:cubicBezTo>
                  <a:cubicBezTo>
                    <a:pt x="2992507" y="2239922"/>
                    <a:pt x="2990622" y="2240521"/>
                    <a:pt x="2984156" y="2242197"/>
                  </a:cubicBezTo>
                  <a:cubicBezTo>
                    <a:pt x="2988257" y="2239144"/>
                    <a:pt x="2989574" y="2240311"/>
                    <a:pt x="2987569" y="2234385"/>
                  </a:cubicBezTo>
                  <a:cubicBezTo>
                    <a:pt x="2984829" y="2230703"/>
                    <a:pt x="2983454" y="2231011"/>
                    <a:pt x="2980716" y="2231219"/>
                  </a:cubicBezTo>
                  <a:lnTo>
                    <a:pt x="2978816" y="2231232"/>
                  </a:lnTo>
                  <a:lnTo>
                    <a:pt x="2980378" y="2230671"/>
                  </a:lnTo>
                  <a:cubicBezTo>
                    <a:pt x="2981254" y="2230377"/>
                    <a:pt x="2982046" y="2230138"/>
                    <a:pt x="2982719" y="2229984"/>
                  </a:cubicBezTo>
                  <a:cubicBezTo>
                    <a:pt x="2988107" y="2228757"/>
                    <a:pt x="2994004" y="2230448"/>
                    <a:pt x="2994034" y="2227380"/>
                  </a:cubicBezTo>
                  <a:cubicBezTo>
                    <a:pt x="2994693" y="2224027"/>
                    <a:pt x="2986281" y="2213580"/>
                    <a:pt x="2982539" y="2212742"/>
                  </a:cubicBezTo>
                  <a:cubicBezTo>
                    <a:pt x="2980541" y="2212114"/>
                    <a:pt x="2975311" y="2211586"/>
                    <a:pt x="2970559" y="2211273"/>
                  </a:cubicBezTo>
                  <a:lnTo>
                    <a:pt x="2969453" y="2211214"/>
                  </a:lnTo>
                  <a:lnTo>
                    <a:pt x="2969462" y="2211191"/>
                  </a:lnTo>
                  <a:cubicBezTo>
                    <a:pt x="2970590" y="2209633"/>
                    <a:pt x="2974345" y="2209061"/>
                    <a:pt x="2977242" y="2208791"/>
                  </a:cubicBezTo>
                  <a:cubicBezTo>
                    <a:pt x="2965088" y="2192747"/>
                    <a:pt x="2948714" y="2182449"/>
                    <a:pt x="2934585" y="2182659"/>
                  </a:cubicBezTo>
                  <a:cubicBezTo>
                    <a:pt x="2917553" y="2183168"/>
                    <a:pt x="2896210" y="2187538"/>
                    <a:pt x="2884117" y="2206277"/>
                  </a:cubicBezTo>
                  <a:cubicBezTo>
                    <a:pt x="2890298" y="2206209"/>
                    <a:pt x="2894897" y="2206237"/>
                    <a:pt x="2898349" y="2206604"/>
                  </a:cubicBezTo>
                  <a:lnTo>
                    <a:pt x="2898926" y="2206687"/>
                  </a:lnTo>
                  <a:lnTo>
                    <a:pt x="2896516" y="2207342"/>
                  </a:lnTo>
                  <a:cubicBezTo>
                    <a:pt x="2883710" y="2210423"/>
                    <a:pt x="2874789" y="2209963"/>
                    <a:pt x="2871918" y="2212459"/>
                  </a:cubicBezTo>
                  <a:cubicBezTo>
                    <a:pt x="2865915" y="2216659"/>
                    <a:pt x="2827044" y="2252469"/>
                    <a:pt x="2825442" y="2272744"/>
                  </a:cubicBezTo>
                  <a:cubicBezTo>
                    <a:pt x="2829559" y="2283506"/>
                    <a:pt x="2830333" y="2275901"/>
                    <a:pt x="2839423" y="2294856"/>
                  </a:cubicBezTo>
                  <a:lnTo>
                    <a:pt x="2853929" y="2278318"/>
                  </a:lnTo>
                  <a:lnTo>
                    <a:pt x="2836957" y="2313424"/>
                  </a:lnTo>
                  <a:cubicBezTo>
                    <a:pt x="2841189" y="2319604"/>
                    <a:pt x="2844075" y="2322911"/>
                    <a:pt x="2852886" y="2322805"/>
                  </a:cubicBezTo>
                  <a:cubicBezTo>
                    <a:pt x="2862297" y="2321557"/>
                    <a:pt x="2870990" y="2313843"/>
                    <a:pt x="2880041" y="2309362"/>
                  </a:cubicBezTo>
                  <a:cubicBezTo>
                    <a:pt x="2888987" y="2305639"/>
                    <a:pt x="2891646" y="2308201"/>
                    <a:pt x="2897449" y="2307621"/>
                  </a:cubicBezTo>
                  <a:cubicBezTo>
                    <a:pt x="2909676" y="2274457"/>
                    <a:pt x="2890472" y="2274609"/>
                    <a:pt x="2903687" y="2238571"/>
                  </a:cubicBezTo>
                  <a:cubicBezTo>
                    <a:pt x="2898989" y="2267680"/>
                    <a:pt x="2917640" y="2267694"/>
                    <a:pt x="2904412" y="2316470"/>
                  </a:cubicBezTo>
                  <a:lnTo>
                    <a:pt x="2902304" y="2316125"/>
                  </a:lnTo>
                  <a:lnTo>
                    <a:pt x="2899635" y="2315442"/>
                  </a:lnTo>
                  <a:lnTo>
                    <a:pt x="2896902" y="2315016"/>
                  </a:lnTo>
                  <a:lnTo>
                    <a:pt x="2896135" y="2314838"/>
                  </a:lnTo>
                  <a:cubicBezTo>
                    <a:pt x="2894067" y="2314430"/>
                    <a:pt x="2891890" y="2314212"/>
                    <a:pt x="2889365" y="2314609"/>
                  </a:cubicBezTo>
                  <a:lnTo>
                    <a:pt x="2888379" y="2314839"/>
                  </a:lnTo>
                  <a:lnTo>
                    <a:pt x="2887783" y="2314890"/>
                  </a:lnTo>
                  <a:cubicBezTo>
                    <a:pt x="2874581" y="2316946"/>
                    <a:pt x="2869726" y="2328586"/>
                    <a:pt x="2848555" y="2330832"/>
                  </a:cubicBezTo>
                  <a:cubicBezTo>
                    <a:pt x="2842243" y="2329601"/>
                    <a:pt x="2832149" y="2320325"/>
                    <a:pt x="2826215" y="2313113"/>
                  </a:cubicBezTo>
                  <a:lnTo>
                    <a:pt x="2825757" y="2312519"/>
                  </a:lnTo>
                  <a:lnTo>
                    <a:pt x="2827479" y="2309642"/>
                  </a:lnTo>
                  <a:cubicBezTo>
                    <a:pt x="2829319" y="2306776"/>
                    <a:pt x="2831332" y="2303846"/>
                    <a:pt x="2833558" y="2300838"/>
                  </a:cubicBezTo>
                  <a:cubicBezTo>
                    <a:pt x="2829667" y="2290391"/>
                    <a:pt x="2819400" y="2286769"/>
                    <a:pt x="2816496" y="2273807"/>
                  </a:cubicBezTo>
                  <a:cubicBezTo>
                    <a:pt x="2821196" y="2260397"/>
                    <a:pt x="2823111" y="2251656"/>
                    <a:pt x="2846759" y="2227649"/>
                  </a:cubicBezTo>
                  <a:cubicBezTo>
                    <a:pt x="2783898" y="2236659"/>
                    <a:pt x="2784085" y="2287266"/>
                    <a:pt x="2766704" y="2275031"/>
                  </a:cubicBezTo>
                  <a:lnTo>
                    <a:pt x="2763080" y="2271768"/>
                  </a:lnTo>
                  <a:lnTo>
                    <a:pt x="2764140" y="2271173"/>
                  </a:lnTo>
                  <a:cubicBezTo>
                    <a:pt x="2770545" y="2266858"/>
                    <a:pt x="2762959" y="2260644"/>
                    <a:pt x="2768093" y="2251267"/>
                  </a:cubicBezTo>
                  <a:lnTo>
                    <a:pt x="2757610" y="2261359"/>
                  </a:lnTo>
                  <a:lnTo>
                    <a:pt x="2758523" y="2254460"/>
                  </a:lnTo>
                  <a:cubicBezTo>
                    <a:pt x="2763618" y="2249390"/>
                    <a:pt x="2770507" y="2246533"/>
                    <a:pt x="2772168" y="2245905"/>
                  </a:cubicBezTo>
                  <a:cubicBezTo>
                    <a:pt x="2769048" y="2255427"/>
                    <a:pt x="2775856" y="2262073"/>
                    <a:pt x="2772168" y="2269731"/>
                  </a:cubicBezTo>
                  <a:cubicBezTo>
                    <a:pt x="2807624" y="2224632"/>
                    <a:pt x="2832098" y="2221755"/>
                    <a:pt x="2848509" y="2221349"/>
                  </a:cubicBezTo>
                  <a:cubicBezTo>
                    <a:pt x="2861273" y="2210004"/>
                    <a:pt x="2862368" y="2207045"/>
                    <a:pt x="2871120" y="2204817"/>
                  </a:cubicBezTo>
                  <a:lnTo>
                    <a:pt x="2877156" y="2204184"/>
                  </a:lnTo>
                  <a:lnTo>
                    <a:pt x="2877855" y="2202687"/>
                  </a:lnTo>
                  <a:cubicBezTo>
                    <a:pt x="2883227" y="2192018"/>
                    <a:pt x="2887916" y="2188690"/>
                    <a:pt x="2897135" y="2184151"/>
                  </a:cubicBezTo>
                  <a:cubicBezTo>
                    <a:pt x="2906353" y="2179613"/>
                    <a:pt x="2919139" y="2175571"/>
                    <a:pt x="2932806" y="2176097"/>
                  </a:cubicBezTo>
                  <a:close/>
                  <a:moveTo>
                    <a:pt x="11424848" y="1933898"/>
                  </a:moveTo>
                  <a:lnTo>
                    <a:pt x="11414386" y="1982027"/>
                  </a:lnTo>
                  <a:lnTo>
                    <a:pt x="11457109" y="1982027"/>
                  </a:lnTo>
                  <a:lnTo>
                    <a:pt x="11467397" y="1933898"/>
                  </a:lnTo>
                  <a:close/>
                  <a:moveTo>
                    <a:pt x="5360511" y="1933898"/>
                  </a:moveTo>
                  <a:lnTo>
                    <a:pt x="5350048" y="1982027"/>
                  </a:lnTo>
                  <a:lnTo>
                    <a:pt x="5392771" y="1982027"/>
                  </a:lnTo>
                  <a:lnTo>
                    <a:pt x="5403060" y="1933898"/>
                  </a:lnTo>
                  <a:close/>
                  <a:moveTo>
                    <a:pt x="11211940" y="1847981"/>
                  </a:moveTo>
                  <a:cubicBezTo>
                    <a:pt x="11248397" y="1848319"/>
                    <a:pt x="11266626" y="1861326"/>
                    <a:pt x="11266626" y="1887002"/>
                  </a:cubicBezTo>
                  <a:lnTo>
                    <a:pt x="11266626" y="1923363"/>
                  </a:lnTo>
                  <a:cubicBezTo>
                    <a:pt x="11266626" y="1940425"/>
                    <a:pt x="11274607" y="1949378"/>
                    <a:pt x="11290570" y="1950223"/>
                  </a:cubicBezTo>
                  <a:lnTo>
                    <a:pt x="11290570" y="1968719"/>
                  </a:lnTo>
                  <a:cubicBezTo>
                    <a:pt x="11274607" y="1969564"/>
                    <a:pt x="11266626" y="1978348"/>
                    <a:pt x="11266626" y="1995072"/>
                  </a:cubicBezTo>
                  <a:lnTo>
                    <a:pt x="11266626" y="2032446"/>
                  </a:lnTo>
                  <a:cubicBezTo>
                    <a:pt x="11266626" y="2057785"/>
                    <a:pt x="11248397" y="2070623"/>
                    <a:pt x="11211940" y="2070961"/>
                  </a:cubicBezTo>
                  <a:lnTo>
                    <a:pt x="11211940" y="2051450"/>
                  </a:lnTo>
                  <a:cubicBezTo>
                    <a:pt x="11220900" y="2051282"/>
                    <a:pt x="11227259" y="2049254"/>
                    <a:pt x="11231018" y="2045369"/>
                  </a:cubicBezTo>
                  <a:cubicBezTo>
                    <a:pt x="11234777" y="2041485"/>
                    <a:pt x="11236657" y="2035065"/>
                    <a:pt x="11236657" y="2026112"/>
                  </a:cubicBezTo>
                  <a:lnTo>
                    <a:pt x="11236657" y="1990764"/>
                  </a:lnTo>
                  <a:cubicBezTo>
                    <a:pt x="11236657" y="1973619"/>
                    <a:pt x="11246801" y="1963187"/>
                    <a:pt x="11267089" y="1959471"/>
                  </a:cubicBezTo>
                  <a:lnTo>
                    <a:pt x="11267089" y="1959091"/>
                  </a:lnTo>
                  <a:cubicBezTo>
                    <a:pt x="11246801" y="1955121"/>
                    <a:pt x="11236657" y="1944606"/>
                    <a:pt x="11236657" y="1927544"/>
                  </a:cubicBezTo>
                  <a:lnTo>
                    <a:pt x="11236657" y="1891817"/>
                  </a:lnTo>
                  <a:cubicBezTo>
                    <a:pt x="11236657" y="1876022"/>
                    <a:pt x="11228418" y="1867956"/>
                    <a:pt x="11211940" y="1867619"/>
                  </a:cubicBezTo>
                  <a:close/>
                  <a:moveTo>
                    <a:pt x="11190621" y="1847981"/>
                  </a:moveTo>
                  <a:lnTo>
                    <a:pt x="11190621" y="1867619"/>
                  </a:lnTo>
                  <a:cubicBezTo>
                    <a:pt x="11174247" y="1867956"/>
                    <a:pt x="11166059" y="1876022"/>
                    <a:pt x="11166059" y="1891817"/>
                  </a:cubicBezTo>
                  <a:lnTo>
                    <a:pt x="11166059" y="1927544"/>
                  </a:lnTo>
                  <a:cubicBezTo>
                    <a:pt x="11166059" y="1944606"/>
                    <a:pt x="11155812" y="1955121"/>
                    <a:pt x="11135318" y="1959091"/>
                  </a:cubicBezTo>
                  <a:lnTo>
                    <a:pt x="11135318" y="1959471"/>
                  </a:lnTo>
                  <a:cubicBezTo>
                    <a:pt x="11155812" y="1963187"/>
                    <a:pt x="11166059" y="1973619"/>
                    <a:pt x="11166059" y="1990764"/>
                  </a:cubicBezTo>
                  <a:lnTo>
                    <a:pt x="11166059" y="2026112"/>
                  </a:lnTo>
                  <a:cubicBezTo>
                    <a:pt x="11166059" y="2035149"/>
                    <a:pt x="11167887" y="2041589"/>
                    <a:pt x="11171543" y="2045433"/>
                  </a:cubicBezTo>
                  <a:cubicBezTo>
                    <a:pt x="11175199" y="2049275"/>
                    <a:pt x="11181559" y="2051282"/>
                    <a:pt x="11190621" y="2051450"/>
                  </a:cubicBezTo>
                  <a:lnTo>
                    <a:pt x="11190621" y="2070961"/>
                  </a:lnTo>
                  <a:cubicBezTo>
                    <a:pt x="11153958" y="2070623"/>
                    <a:pt x="11135627" y="2057785"/>
                    <a:pt x="11135627" y="2032446"/>
                  </a:cubicBezTo>
                  <a:lnTo>
                    <a:pt x="11135627" y="1995072"/>
                  </a:lnTo>
                  <a:cubicBezTo>
                    <a:pt x="11135627" y="1978348"/>
                    <a:pt x="11127594" y="1969564"/>
                    <a:pt x="11111528" y="1968719"/>
                  </a:cubicBezTo>
                  <a:lnTo>
                    <a:pt x="11111528" y="1950223"/>
                  </a:lnTo>
                  <a:cubicBezTo>
                    <a:pt x="11127594" y="1949378"/>
                    <a:pt x="11135627" y="1940425"/>
                    <a:pt x="11135627" y="1923363"/>
                  </a:cubicBezTo>
                  <a:lnTo>
                    <a:pt x="11135627" y="1887002"/>
                  </a:lnTo>
                  <a:cubicBezTo>
                    <a:pt x="11135627" y="1861326"/>
                    <a:pt x="11153958" y="1848319"/>
                    <a:pt x="11190621" y="1847981"/>
                  </a:cubicBezTo>
                  <a:close/>
                  <a:moveTo>
                    <a:pt x="8161190" y="1847981"/>
                  </a:moveTo>
                  <a:cubicBezTo>
                    <a:pt x="8197647" y="1848319"/>
                    <a:pt x="8215876" y="1861326"/>
                    <a:pt x="8215876" y="1887002"/>
                  </a:cubicBezTo>
                  <a:lnTo>
                    <a:pt x="8215876" y="1923363"/>
                  </a:lnTo>
                  <a:cubicBezTo>
                    <a:pt x="8215876" y="1940425"/>
                    <a:pt x="8223857" y="1949378"/>
                    <a:pt x="8239820" y="1950223"/>
                  </a:cubicBezTo>
                  <a:lnTo>
                    <a:pt x="8239820" y="1968719"/>
                  </a:lnTo>
                  <a:cubicBezTo>
                    <a:pt x="8223857" y="1969564"/>
                    <a:pt x="8215876" y="1978348"/>
                    <a:pt x="8215876" y="1995072"/>
                  </a:cubicBezTo>
                  <a:lnTo>
                    <a:pt x="8215876" y="2032446"/>
                  </a:lnTo>
                  <a:cubicBezTo>
                    <a:pt x="8215876" y="2057785"/>
                    <a:pt x="8197647" y="2070623"/>
                    <a:pt x="8161190" y="2070961"/>
                  </a:cubicBezTo>
                  <a:lnTo>
                    <a:pt x="8161190" y="2051450"/>
                  </a:lnTo>
                  <a:cubicBezTo>
                    <a:pt x="8170150" y="2051282"/>
                    <a:pt x="8176509" y="2049254"/>
                    <a:pt x="8180268" y="2045369"/>
                  </a:cubicBezTo>
                  <a:cubicBezTo>
                    <a:pt x="8184027" y="2041485"/>
                    <a:pt x="8185907" y="2035065"/>
                    <a:pt x="8185907" y="2026112"/>
                  </a:cubicBezTo>
                  <a:lnTo>
                    <a:pt x="8185907" y="1990764"/>
                  </a:lnTo>
                  <a:cubicBezTo>
                    <a:pt x="8185907" y="1973619"/>
                    <a:pt x="8196051" y="1963187"/>
                    <a:pt x="8216339" y="1959471"/>
                  </a:cubicBezTo>
                  <a:lnTo>
                    <a:pt x="8216339" y="1959091"/>
                  </a:lnTo>
                  <a:cubicBezTo>
                    <a:pt x="8196051" y="1955121"/>
                    <a:pt x="8185907" y="1944606"/>
                    <a:pt x="8185907" y="1927544"/>
                  </a:cubicBezTo>
                  <a:lnTo>
                    <a:pt x="8185907" y="1891817"/>
                  </a:lnTo>
                  <a:cubicBezTo>
                    <a:pt x="8185907" y="1876022"/>
                    <a:pt x="8177668" y="1867956"/>
                    <a:pt x="8161190" y="1867619"/>
                  </a:cubicBezTo>
                  <a:close/>
                  <a:moveTo>
                    <a:pt x="8139871" y="1847981"/>
                  </a:moveTo>
                  <a:lnTo>
                    <a:pt x="8139871" y="1867619"/>
                  </a:lnTo>
                  <a:cubicBezTo>
                    <a:pt x="8123497" y="1867956"/>
                    <a:pt x="8115310" y="1876022"/>
                    <a:pt x="8115310" y="1891817"/>
                  </a:cubicBezTo>
                  <a:lnTo>
                    <a:pt x="8115310" y="1927544"/>
                  </a:lnTo>
                  <a:cubicBezTo>
                    <a:pt x="8115310" y="1944606"/>
                    <a:pt x="8105062" y="1955121"/>
                    <a:pt x="8084568" y="1959091"/>
                  </a:cubicBezTo>
                  <a:lnTo>
                    <a:pt x="8084568" y="1959471"/>
                  </a:lnTo>
                  <a:cubicBezTo>
                    <a:pt x="8105062" y="1963187"/>
                    <a:pt x="8115310" y="1973619"/>
                    <a:pt x="8115310" y="1990764"/>
                  </a:cubicBezTo>
                  <a:lnTo>
                    <a:pt x="8115310" y="2026112"/>
                  </a:lnTo>
                  <a:cubicBezTo>
                    <a:pt x="8115310" y="2035149"/>
                    <a:pt x="8117137" y="2041589"/>
                    <a:pt x="8120793" y="2045433"/>
                  </a:cubicBezTo>
                  <a:cubicBezTo>
                    <a:pt x="8124449" y="2049275"/>
                    <a:pt x="8130809" y="2051282"/>
                    <a:pt x="8139871" y="2051450"/>
                  </a:cubicBezTo>
                  <a:lnTo>
                    <a:pt x="8139871" y="2070961"/>
                  </a:lnTo>
                  <a:cubicBezTo>
                    <a:pt x="8103208" y="2070623"/>
                    <a:pt x="8084877" y="2057785"/>
                    <a:pt x="8084877" y="2032446"/>
                  </a:cubicBezTo>
                  <a:lnTo>
                    <a:pt x="8084877" y="1995072"/>
                  </a:lnTo>
                  <a:cubicBezTo>
                    <a:pt x="8084877" y="1978348"/>
                    <a:pt x="8076844" y="1969564"/>
                    <a:pt x="8060778" y="1968719"/>
                  </a:cubicBezTo>
                  <a:lnTo>
                    <a:pt x="8060778" y="1950223"/>
                  </a:lnTo>
                  <a:cubicBezTo>
                    <a:pt x="8076844" y="1949378"/>
                    <a:pt x="8084877" y="1940425"/>
                    <a:pt x="8084877" y="1923363"/>
                  </a:cubicBezTo>
                  <a:lnTo>
                    <a:pt x="8084877" y="1887002"/>
                  </a:lnTo>
                  <a:cubicBezTo>
                    <a:pt x="8084877" y="1861326"/>
                    <a:pt x="8103208" y="1848319"/>
                    <a:pt x="8139871" y="1847981"/>
                  </a:cubicBezTo>
                  <a:close/>
                  <a:moveTo>
                    <a:pt x="5151280" y="1847981"/>
                  </a:moveTo>
                  <a:cubicBezTo>
                    <a:pt x="5187738" y="1848319"/>
                    <a:pt x="5205966" y="1861326"/>
                    <a:pt x="5205966" y="1887002"/>
                  </a:cubicBezTo>
                  <a:lnTo>
                    <a:pt x="5205966" y="1923363"/>
                  </a:lnTo>
                  <a:cubicBezTo>
                    <a:pt x="5205966" y="1940425"/>
                    <a:pt x="5213948" y="1949378"/>
                    <a:pt x="5229911" y="1950223"/>
                  </a:cubicBezTo>
                  <a:lnTo>
                    <a:pt x="5229911" y="1968719"/>
                  </a:lnTo>
                  <a:cubicBezTo>
                    <a:pt x="5213948" y="1969564"/>
                    <a:pt x="5205966" y="1978348"/>
                    <a:pt x="5205966" y="1995072"/>
                  </a:cubicBezTo>
                  <a:lnTo>
                    <a:pt x="5205966" y="2032446"/>
                  </a:lnTo>
                  <a:cubicBezTo>
                    <a:pt x="5205966" y="2057785"/>
                    <a:pt x="5187738" y="2070623"/>
                    <a:pt x="5151280" y="2070961"/>
                  </a:cubicBezTo>
                  <a:lnTo>
                    <a:pt x="5151280" y="2051450"/>
                  </a:lnTo>
                  <a:cubicBezTo>
                    <a:pt x="5160241" y="2051282"/>
                    <a:pt x="5166599" y="2049254"/>
                    <a:pt x="5170358" y="2045369"/>
                  </a:cubicBezTo>
                  <a:cubicBezTo>
                    <a:pt x="5174118" y="2041485"/>
                    <a:pt x="5175999" y="2035065"/>
                    <a:pt x="5175999" y="2026112"/>
                  </a:cubicBezTo>
                  <a:lnTo>
                    <a:pt x="5175999" y="1990764"/>
                  </a:lnTo>
                  <a:cubicBezTo>
                    <a:pt x="5175999" y="1973619"/>
                    <a:pt x="5186142" y="1963187"/>
                    <a:pt x="5206429" y="1959471"/>
                  </a:cubicBezTo>
                  <a:lnTo>
                    <a:pt x="5206429" y="1959091"/>
                  </a:lnTo>
                  <a:cubicBezTo>
                    <a:pt x="5186142" y="1955121"/>
                    <a:pt x="5175999" y="1944606"/>
                    <a:pt x="5175999" y="1927544"/>
                  </a:cubicBezTo>
                  <a:lnTo>
                    <a:pt x="5175999" y="1891817"/>
                  </a:lnTo>
                  <a:cubicBezTo>
                    <a:pt x="5175999" y="1876022"/>
                    <a:pt x="5167759" y="1867956"/>
                    <a:pt x="5151280" y="1867619"/>
                  </a:cubicBezTo>
                  <a:close/>
                  <a:moveTo>
                    <a:pt x="5129963" y="1847981"/>
                  </a:moveTo>
                  <a:lnTo>
                    <a:pt x="5129963" y="1867619"/>
                  </a:lnTo>
                  <a:cubicBezTo>
                    <a:pt x="5113588" y="1867956"/>
                    <a:pt x="5105400" y="1876022"/>
                    <a:pt x="5105400" y="1891817"/>
                  </a:cubicBezTo>
                  <a:lnTo>
                    <a:pt x="5105400" y="1927544"/>
                  </a:lnTo>
                  <a:cubicBezTo>
                    <a:pt x="5105400" y="1944606"/>
                    <a:pt x="5095152" y="1955121"/>
                    <a:pt x="5074658" y="1959091"/>
                  </a:cubicBezTo>
                  <a:lnTo>
                    <a:pt x="5074658" y="1959471"/>
                  </a:lnTo>
                  <a:cubicBezTo>
                    <a:pt x="5095152" y="1963187"/>
                    <a:pt x="5105400" y="1973619"/>
                    <a:pt x="5105400" y="1990764"/>
                  </a:cubicBezTo>
                  <a:lnTo>
                    <a:pt x="5105400" y="2026112"/>
                  </a:lnTo>
                  <a:cubicBezTo>
                    <a:pt x="5105400" y="2035149"/>
                    <a:pt x="5107227" y="2041589"/>
                    <a:pt x="5110885" y="2045433"/>
                  </a:cubicBezTo>
                  <a:cubicBezTo>
                    <a:pt x="5114540" y="2049275"/>
                    <a:pt x="5120899" y="2051282"/>
                    <a:pt x="5129963" y="2051450"/>
                  </a:cubicBezTo>
                  <a:lnTo>
                    <a:pt x="5129963" y="2070961"/>
                  </a:lnTo>
                  <a:cubicBezTo>
                    <a:pt x="5093299" y="2070623"/>
                    <a:pt x="5074967" y="2057785"/>
                    <a:pt x="5074967" y="2032446"/>
                  </a:cubicBezTo>
                  <a:lnTo>
                    <a:pt x="5074967" y="1995072"/>
                  </a:lnTo>
                  <a:cubicBezTo>
                    <a:pt x="5074967" y="1978348"/>
                    <a:pt x="5066935" y="1969564"/>
                    <a:pt x="5050869" y="1968719"/>
                  </a:cubicBezTo>
                  <a:lnTo>
                    <a:pt x="5050869" y="1950223"/>
                  </a:lnTo>
                  <a:cubicBezTo>
                    <a:pt x="5066935" y="1949378"/>
                    <a:pt x="5074967" y="1940425"/>
                    <a:pt x="5074967" y="1923363"/>
                  </a:cubicBezTo>
                  <a:lnTo>
                    <a:pt x="5074967" y="1887002"/>
                  </a:lnTo>
                  <a:cubicBezTo>
                    <a:pt x="5074967" y="1861326"/>
                    <a:pt x="5093299" y="1848319"/>
                    <a:pt x="5129963" y="1847981"/>
                  </a:cubicBezTo>
                  <a:close/>
                  <a:moveTo>
                    <a:pt x="2097668" y="1847981"/>
                  </a:moveTo>
                  <a:cubicBezTo>
                    <a:pt x="2134123" y="1848319"/>
                    <a:pt x="2152352" y="1861326"/>
                    <a:pt x="2152352" y="1887002"/>
                  </a:cubicBezTo>
                  <a:lnTo>
                    <a:pt x="2152352" y="1923363"/>
                  </a:lnTo>
                  <a:cubicBezTo>
                    <a:pt x="2152352" y="1940425"/>
                    <a:pt x="2160334" y="1949378"/>
                    <a:pt x="2176297" y="1950223"/>
                  </a:cubicBezTo>
                  <a:lnTo>
                    <a:pt x="2176297" y="1968719"/>
                  </a:lnTo>
                  <a:cubicBezTo>
                    <a:pt x="2160334" y="1969564"/>
                    <a:pt x="2152352" y="1978348"/>
                    <a:pt x="2152352" y="1995072"/>
                  </a:cubicBezTo>
                  <a:lnTo>
                    <a:pt x="2152352" y="2032446"/>
                  </a:lnTo>
                  <a:cubicBezTo>
                    <a:pt x="2152352" y="2057785"/>
                    <a:pt x="2134123" y="2070623"/>
                    <a:pt x="2097668" y="2070961"/>
                  </a:cubicBezTo>
                  <a:lnTo>
                    <a:pt x="2097668" y="2051450"/>
                  </a:lnTo>
                  <a:cubicBezTo>
                    <a:pt x="2106627" y="2051282"/>
                    <a:pt x="2112985" y="2049254"/>
                    <a:pt x="2116745" y="2045369"/>
                  </a:cubicBezTo>
                  <a:cubicBezTo>
                    <a:pt x="2120503" y="2041485"/>
                    <a:pt x="2122383" y="2035065"/>
                    <a:pt x="2122383" y="2026112"/>
                  </a:cubicBezTo>
                  <a:lnTo>
                    <a:pt x="2122383" y="1990764"/>
                  </a:lnTo>
                  <a:cubicBezTo>
                    <a:pt x="2122383" y="1973619"/>
                    <a:pt x="2132527" y="1963187"/>
                    <a:pt x="2152815" y="1959471"/>
                  </a:cubicBezTo>
                  <a:lnTo>
                    <a:pt x="2152815" y="1959091"/>
                  </a:lnTo>
                  <a:cubicBezTo>
                    <a:pt x="2132527" y="1955121"/>
                    <a:pt x="2122383" y="1944606"/>
                    <a:pt x="2122383" y="1927544"/>
                  </a:cubicBezTo>
                  <a:lnTo>
                    <a:pt x="2122383" y="1891817"/>
                  </a:lnTo>
                  <a:cubicBezTo>
                    <a:pt x="2122383" y="1876022"/>
                    <a:pt x="2114144" y="1867956"/>
                    <a:pt x="2097668" y="1867619"/>
                  </a:cubicBezTo>
                  <a:close/>
                  <a:moveTo>
                    <a:pt x="2076347" y="1847981"/>
                  </a:moveTo>
                  <a:lnTo>
                    <a:pt x="2076347" y="1867619"/>
                  </a:lnTo>
                  <a:cubicBezTo>
                    <a:pt x="2059973" y="1867956"/>
                    <a:pt x="2051785" y="1876022"/>
                    <a:pt x="2051785" y="1891817"/>
                  </a:cubicBezTo>
                  <a:lnTo>
                    <a:pt x="2051785" y="1927544"/>
                  </a:lnTo>
                  <a:cubicBezTo>
                    <a:pt x="2051785" y="1944606"/>
                    <a:pt x="2041538" y="1955121"/>
                    <a:pt x="2021044" y="1959091"/>
                  </a:cubicBezTo>
                  <a:lnTo>
                    <a:pt x="2021044" y="1959471"/>
                  </a:lnTo>
                  <a:cubicBezTo>
                    <a:pt x="2041538" y="1963187"/>
                    <a:pt x="2051785" y="1973619"/>
                    <a:pt x="2051785" y="1990764"/>
                  </a:cubicBezTo>
                  <a:lnTo>
                    <a:pt x="2051785" y="2026112"/>
                  </a:lnTo>
                  <a:cubicBezTo>
                    <a:pt x="2051785" y="2035149"/>
                    <a:pt x="2053614" y="2041589"/>
                    <a:pt x="2057270" y="2045433"/>
                  </a:cubicBezTo>
                  <a:cubicBezTo>
                    <a:pt x="2060926" y="2049275"/>
                    <a:pt x="2067285" y="2051282"/>
                    <a:pt x="2076347" y="2051450"/>
                  </a:cubicBezTo>
                  <a:lnTo>
                    <a:pt x="2076347" y="2070961"/>
                  </a:lnTo>
                  <a:cubicBezTo>
                    <a:pt x="2039685" y="2070623"/>
                    <a:pt x="2021353" y="2057785"/>
                    <a:pt x="2021353" y="2032446"/>
                  </a:cubicBezTo>
                  <a:lnTo>
                    <a:pt x="2021353" y="1995072"/>
                  </a:lnTo>
                  <a:cubicBezTo>
                    <a:pt x="2021353" y="1978348"/>
                    <a:pt x="2013320" y="1969564"/>
                    <a:pt x="1997254" y="1968719"/>
                  </a:cubicBezTo>
                  <a:lnTo>
                    <a:pt x="1997254" y="1950223"/>
                  </a:lnTo>
                  <a:cubicBezTo>
                    <a:pt x="2013320" y="1949378"/>
                    <a:pt x="2021353" y="1940425"/>
                    <a:pt x="2021353" y="1923363"/>
                  </a:cubicBezTo>
                  <a:lnTo>
                    <a:pt x="2021353" y="1887002"/>
                  </a:lnTo>
                  <a:cubicBezTo>
                    <a:pt x="2021353" y="1861326"/>
                    <a:pt x="2039685" y="1848319"/>
                    <a:pt x="2076347" y="1847981"/>
                  </a:cubicBezTo>
                  <a:close/>
                  <a:moveTo>
                    <a:pt x="11415781" y="1842347"/>
                  </a:moveTo>
                  <a:lnTo>
                    <a:pt x="11443856" y="1842347"/>
                  </a:lnTo>
                  <a:lnTo>
                    <a:pt x="11430080" y="1909484"/>
                  </a:lnTo>
                  <a:lnTo>
                    <a:pt x="11472280" y="1909484"/>
                  </a:lnTo>
                  <a:lnTo>
                    <a:pt x="11486579" y="1842347"/>
                  </a:lnTo>
                  <a:lnTo>
                    <a:pt x="11514132" y="1842347"/>
                  </a:lnTo>
                  <a:lnTo>
                    <a:pt x="11500181" y="1909484"/>
                  </a:lnTo>
                  <a:lnTo>
                    <a:pt x="11539940" y="1909484"/>
                  </a:lnTo>
                  <a:lnTo>
                    <a:pt x="11534534" y="1933898"/>
                  </a:lnTo>
                  <a:lnTo>
                    <a:pt x="11494950" y="1933898"/>
                  </a:lnTo>
                  <a:lnTo>
                    <a:pt x="11484836" y="1982027"/>
                  </a:lnTo>
                  <a:lnTo>
                    <a:pt x="11528082" y="1982027"/>
                  </a:lnTo>
                  <a:lnTo>
                    <a:pt x="11521978" y="2006440"/>
                  </a:lnTo>
                  <a:lnTo>
                    <a:pt x="11479779" y="2006440"/>
                  </a:lnTo>
                  <a:lnTo>
                    <a:pt x="11465479" y="2070961"/>
                  </a:lnTo>
                  <a:lnTo>
                    <a:pt x="11437752" y="2070961"/>
                  </a:lnTo>
                  <a:lnTo>
                    <a:pt x="11451703" y="2006440"/>
                  </a:lnTo>
                  <a:lnTo>
                    <a:pt x="11409503" y="2006440"/>
                  </a:lnTo>
                  <a:lnTo>
                    <a:pt x="11395901" y="2070961"/>
                  </a:lnTo>
                  <a:lnTo>
                    <a:pt x="11368175" y="2070961"/>
                  </a:lnTo>
                  <a:lnTo>
                    <a:pt x="11381776" y="2006440"/>
                  </a:lnTo>
                  <a:lnTo>
                    <a:pt x="11341843" y="2006440"/>
                  </a:lnTo>
                  <a:lnTo>
                    <a:pt x="11346725" y="1982027"/>
                  </a:lnTo>
                  <a:lnTo>
                    <a:pt x="11387182" y="1982027"/>
                  </a:lnTo>
                  <a:lnTo>
                    <a:pt x="11396773" y="1933898"/>
                  </a:lnTo>
                  <a:lnTo>
                    <a:pt x="11354224" y="1933898"/>
                  </a:lnTo>
                  <a:lnTo>
                    <a:pt x="11359281" y="1909484"/>
                  </a:lnTo>
                  <a:lnTo>
                    <a:pt x="11401830" y="1909484"/>
                  </a:lnTo>
                  <a:close/>
                  <a:moveTo>
                    <a:pt x="5351443" y="1842347"/>
                  </a:moveTo>
                  <a:lnTo>
                    <a:pt x="5379518" y="1842347"/>
                  </a:lnTo>
                  <a:lnTo>
                    <a:pt x="5365742" y="1909484"/>
                  </a:lnTo>
                  <a:lnTo>
                    <a:pt x="5407943" y="1909484"/>
                  </a:lnTo>
                  <a:lnTo>
                    <a:pt x="5422241" y="1842347"/>
                  </a:lnTo>
                  <a:lnTo>
                    <a:pt x="5449794" y="1842347"/>
                  </a:lnTo>
                  <a:lnTo>
                    <a:pt x="5435844" y="1909484"/>
                  </a:lnTo>
                  <a:lnTo>
                    <a:pt x="5475602" y="1909484"/>
                  </a:lnTo>
                  <a:lnTo>
                    <a:pt x="5470197" y="1933898"/>
                  </a:lnTo>
                  <a:lnTo>
                    <a:pt x="5430612" y="1933898"/>
                  </a:lnTo>
                  <a:lnTo>
                    <a:pt x="5420499" y="1982027"/>
                  </a:lnTo>
                  <a:lnTo>
                    <a:pt x="5463745" y="1982027"/>
                  </a:lnTo>
                  <a:lnTo>
                    <a:pt x="5457641" y="2006440"/>
                  </a:lnTo>
                  <a:lnTo>
                    <a:pt x="5415441" y="2006440"/>
                  </a:lnTo>
                  <a:lnTo>
                    <a:pt x="5401143" y="2070961"/>
                  </a:lnTo>
                  <a:lnTo>
                    <a:pt x="5373415" y="2070961"/>
                  </a:lnTo>
                  <a:lnTo>
                    <a:pt x="5387365" y="2006440"/>
                  </a:lnTo>
                  <a:lnTo>
                    <a:pt x="5345166" y="2006440"/>
                  </a:lnTo>
                  <a:lnTo>
                    <a:pt x="5331563" y="2070961"/>
                  </a:lnTo>
                  <a:lnTo>
                    <a:pt x="5303838" y="2070961"/>
                  </a:lnTo>
                  <a:lnTo>
                    <a:pt x="5317438" y="2006440"/>
                  </a:lnTo>
                  <a:lnTo>
                    <a:pt x="5277506" y="2006440"/>
                  </a:lnTo>
                  <a:lnTo>
                    <a:pt x="5282388" y="1982027"/>
                  </a:lnTo>
                  <a:lnTo>
                    <a:pt x="5322844" y="1982027"/>
                  </a:lnTo>
                  <a:lnTo>
                    <a:pt x="5332435" y="1933898"/>
                  </a:lnTo>
                  <a:lnTo>
                    <a:pt x="5289887" y="1933898"/>
                  </a:lnTo>
                  <a:lnTo>
                    <a:pt x="5294944" y="1909484"/>
                  </a:lnTo>
                  <a:lnTo>
                    <a:pt x="5337492" y="1909484"/>
                  </a:lnTo>
                  <a:close/>
                  <a:moveTo>
                    <a:pt x="6225654" y="1697074"/>
                  </a:moveTo>
                  <a:cubicBezTo>
                    <a:pt x="6221135" y="1714973"/>
                    <a:pt x="6215991" y="1726272"/>
                    <a:pt x="6202463" y="1736321"/>
                  </a:cubicBezTo>
                  <a:cubicBezTo>
                    <a:pt x="6201095" y="1743665"/>
                    <a:pt x="6213404" y="1739740"/>
                    <a:pt x="6218875" y="1739711"/>
                  </a:cubicBezTo>
                  <a:cubicBezTo>
                    <a:pt x="6224346" y="1739681"/>
                    <a:pt x="6233831" y="1741153"/>
                    <a:pt x="6235287" y="1736143"/>
                  </a:cubicBezTo>
                  <a:cubicBezTo>
                    <a:pt x="6236269" y="1732694"/>
                    <a:pt x="6233860" y="1730048"/>
                    <a:pt x="6232344" y="1726688"/>
                  </a:cubicBezTo>
                  <a:cubicBezTo>
                    <a:pt x="6231571" y="1723001"/>
                    <a:pt x="6234440" y="1718422"/>
                    <a:pt x="6233325" y="1713487"/>
                  </a:cubicBezTo>
                  <a:cubicBezTo>
                    <a:pt x="6232210" y="1708551"/>
                    <a:pt x="6228925" y="1700761"/>
                    <a:pt x="6225654" y="1697074"/>
                  </a:cubicBezTo>
                  <a:close/>
                  <a:moveTo>
                    <a:pt x="179757" y="1697074"/>
                  </a:moveTo>
                  <a:cubicBezTo>
                    <a:pt x="175238" y="1714973"/>
                    <a:pt x="170094" y="1726272"/>
                    <a:pt x="156566" y="1736321"/>
                  </a:cubicBezTo>
                  <a:cubicBezTo>
                    <a:pt x="155198" y="1743665"/>
                    <a:pt x="167507" y="1739740"/>
                    <a:pt x="172978" y="1739711"/>
                  </a:cubicBezTo>
                  <a:cubicBezTo>
                    <a:pt x="178449" y="1739681"/>
                    <a:pt x="187934" y="1741153"/>
                    <a:pt x="189390" y="1736143"/>
                  </a:cubicBezTo>
                  <a:cubicBezTo>
                    <a:pt x="190372" y="1732694"/>
                    <a:pt x="187963" y="1730048"/>
                    <a:pt x="186447" y="1726688"/>
                  </a:cubicBezTo>
                  <a:cubicBezTo>
                    <a:pt x="185674" y="1723001"/>
                    <a:pt x="188543" y="1718422"/>
                    <a:pt x="187428" y="1713487"/>
                  </a:cubicBezTo>
                  <a:cubicBezTo>
                    <a:pt x="186313" y="1708551"/>
                    <a:pt x="183027" y="1700761"/>
                    <a:pt x="179757" y="1697074"/>
                  </a:cubicBezTo>
                  <a:close/>
                  <a:moveTo>
                    <a:pt x="6065633" y="1680662"/>
                  </a:moveTo>
                  <a:cubicBezTo>
                    <a:pt x="6060816" y="1686162"/>
                    <a:pt x="6051986" y="1696658"/>
                    <a:pt x="6051986" y="1700910"/>
                  </a:cubicBezTo>
                  <a:cubicBezTo>
                    <a:pt x="6052253" y="1706202"/>
                    <a:pt x="6066436" y="1721842"/>
                    <a:pt x="6073482" y="1722496"/>
                  </a:cubicBezTo>
                  <a:cubicBezTo>
                    <a:pt x="6079310" y="1722644"/>
                    <a:pt x="6079875" y="1719582"/>
                    <a:pt x="6082402" y="1715271"/>
                  </a:cubicBezTo>
                  <a:cubicBezTo>
                    <a:pt x="6074315" y="1703824"/>
                    <a:pt x="6070955" y="1697996"/>
                    <a:pt x="6065633" y="1680662"/>
                  </a:cubicBezTo>
                  <a:close/>
                  <a:moveTo>
                    <a:pt x="19736" y="1680662"/>
                  </a:moveTo>
                  <a:cubicBezTo>
                    <a:pt x="14919" y="1686162"/>
                    <a:pt x="6089" y="1696658"/>
                    <a:pt x="6089" y="1700910"/>
                  </a:cubicBezTo>
                  <a:cubicBezTo>
                    <a:pt x="6356" y="1706202"/>
                    <a:pt x="20539" y="1721842"/>
                    <a:pt x="27585" y="1722496"/>
                  </a:cubicBezTo>
                  <a:cubicBezTo>
                    <a:pt x="33413" y="1722644"/>
                    <a:pt x="33978" y="1719582"/>
                    <a:pt x="36505" y="1715271"/>
                  </a:cubicBezTo>
                  <a:cubicBezTo>
                    <a:pt x="28418" y="1703824"/>
                    <a:pt x="25058" y="1697996"/>
                    <a:pt x="19736" y="1680662"/>
                  </a:cubicBezTo>
                  <a:close/>
                  <a:moveTo>
                    <a:pt x="6049245" y="1612371"/>
                  </a:moveTo>
                  <a:lnTo>
                    <a:pt x="6049044" y="1613888"/>
                  </a:lnTo>
                  <a:lnTo>
                    <a:pt x="6048978" y="1612628"/>
                  </a:lnTo>
                  <a:close/>
                  <a:moveTo>
                    <a:pt x="3348" y="1612371"/>
                  </a:moveTo>
                  <a:lnTo>
                    <a:pt x="3147" y="1613888"/>
                  </a:lnTo>
                  <a:lnTo>
                    <a:pt x="3081" y="1612628"/>
                  </a:lnTo>
                  <a:close/>
                  <a:moveTo>
                    <a:pt x="6251165" y="1585177"/>
                  </a:moveTo>
                  <a:cubicBezTo>
                    <a:pt x="6251127" y="1585348"/>
                    <a:pt x="6248269" y="1586410"/>
                    <a:pt x="6247173" y="1588031"/>
                  </a:cubicBezTo>
                  <a:cubicBezTo>
                    <a:pt x="6251710" y="1589543"/>
                    <a:pt x="6253304" y="1590966"/>
                    <a:pt x="6254095" y="1596401"/>
                  </a:cubicBezTo>
                  <a:cubicBezTo>
                    <a:pt x="6254309" y="1596360"/>
                    <a:pt x="6255803" y="1595155"/>
                    <a:pt x="6260976" y="1594675"/>
                  </a:cubicBezTo>
                  <a:cubicBezTo>
                    <a:pt x="6249232" y="1599373"/>
                    <a:pt x="6243285" y="1604428"/>
                    <a:pt x="6234752" y="1613853"/>
                  </a:cubicBezTo>
                  <a:cubicBezTo>
                    <a:pt x="6237451" y="1608546"/>
                    <a:pt x="6239750" y="1606296"/>
                    <a:pt x="6239769" y="1606230"/>
                  </a:cubicBezTo>
                  <a:cubicBezTo>
                    <a:pt x="6235302" y="1604713"/>
                    <a:pt x="6234046" y="1604355"/>
                    <a:pt x="6231987" y="1599269"/>
                  </a:cubicBezTo>
                  <a:cubicBezTo>
                    <a:pt x="6231716" y="1599418"/>
                    <a:pt x="6231266" y="1599187"/>
                    <a:pt x="6227170" y="1603328"/>
                  </a:cubicBezTo>
                  <a:cubicBezTo>
                    <a:pt x="6234366" y="1589175"/>
                    <a:pt x="6241115" y="1588268"/>
                    <a:pt x="6251165" y="1585177"/>
                  </a:cubicBezTo>
                  <a:close/>
                  <a:moveTo>
                    <a:pt x="205268" y="1585177"/>
                  </a:moveTo>
                  <a:cubicBezTo>
                    <a:pt x="205230" y="1585348"/>
                    <a:pt x="202372" y="1586410"/>
                    <a:pt x="201276" y="1588031"/>
                  </a:cubicBezTo>
                  <a:cubicBezTo>
                    <a:pt x="205813" y="1589543"/>
                    <a:pt x="207407" y="1590966"/>
                    <a:pt x="208198" y="1596401"/>
                  </a:cubicBezTo>
                  <a:cubicBezTo>
                    <a:pt x="208412" y="1596360"/>
                    <a:pt x="209906" y="1595155"/>
                    <a:pt x="215079" y="1594675"/>
                  </a:cubicBezTo>
                  <a:cubicBezTo>
                    <a:pt x="203335" y="1599373"/>
                    <a:pt x="197388" y="1604428"/>
                    <a:pt x="188855" y="1613853"/>
                  </a:cubicBezTo>
                  <a:cubicBezTo>
                    <a:pt x="191553" y="1608546"/>
                    <a:pt x="193853" y="1606296"/>
                    <a:pt x="193872" y="1606230"/>
                  </a:cubicBezTo>
                  <a:cubicBezTo>
                    <a:pt x="189405" y="1604713"/>
                    <a:pt x="188149" y="1604355"/>
                    <a:pt x="186090" y="1599269"/>
                  </a:cubicBezTo>
                  <a:cubicBezTo>
                    <a:pt x="185819" y="1599418"/>
                    <a:pt x="185369" y="1599187"/>
                    <a:pt x="181273" y="1603328"/>
                  </a:cubicBezTo>
                  <a:cubicBezTo>
                    <a:pt x="188469" y="1589175"/>
                    <a:pt x="195218" y="1588268"/>
                    <a:pt x="205268" y="1585177"/>
                  </a:cubicBezTo>
                  <a:close/>
                  <a:moveTo>
                    <a:pt x="6224596" y="1568764"/>
                  </a:moveTo>
                  <a:cubicBezTo>
                    <a:pt x="6225296" y="1568709"/>
                    <a:pt x="6226055" y="1568729"/>
                    <a:pt x="6226880" y="1568802"/>
                  </a:cubicBezTo>
                  <a:cubicBezTo>
                    <a:pt x="6229081" y="1568994"/>
                    <a:pt x="6231749" y="1569559"/>
                    <a:pt x="6235020" y="1570057"/>
                  </a:cubicBezTo>
                  <a:cubicBezTo>
                    <a:pt x="6223900" y="1571811"/>
                    <a:pt x="6220808" y="1578025"/>
                    <a:pt x="6216110" y="1588967"/>
                  </a:cubicBezTo>
                  <a:cubicBezTo>
                    <a:pt x="6217671" y="1573240"/>
                    <a:pt x="6219693" y="1569153"/>
                    <a:pt x="6224596" y="1568764"/>
                  </a:cubicBezTo>
                  <a:close/>
                  <a:moveTo>
                    <a:pt x="178699" y="1568764"/>
                  </a:moveTo>
                  <a:cubicBezTo>
                    <a:pt x="179399" y="1568709"/>
                    <a:pt x="180158" y="1568729"/>
                    <a:pt x="180983" y="1568802"/>
                  </a:cubicBezTo>
                  <a:cubicBezTo>
                    <a:pt x="183184" y="1568994"/>
                    <a:pt x="185852" y="1569559"/>
                    <a:pt x="189123" y="1570057"/>
                  </a:cubicBezTo>
                  <a:cubicBezTo>
                    <a:pt x="178003" y="1571811"/>
                    <a:pt x="174911" y="1578025"/>
                    <a:pt x="170213" y="1588967"/>
                  </a:cubicBezTo>
                  <a:cubicBezTo>
                    <a:pt x="171774" y="1573240"/>
                    <a:pt x="173796" y="1569153"/>
                    <a:pt x="178699" y="1568764"/>
                  </a:cubicBezTo>
                  <a:close/>
                  <a:moveTo>
                    <a:pt x="6327199" y="1546688"/>
                  </a:moveTo>
                  <a:cubicBezTo>
                    <a:pt x="6328797" y="1548743"/>
                    <a:pt x="6323936" y="1556484"/>
                    <a:pt x="6319002" y="1560609"/>
                  </a:cubicBezTo>
                  <a:cubicBezTo>
                    <a:pt x="6314067" y="1564731"/>
                    <a:pt x="6306797" y="1564309"/>
                    <a:pt x="6306826" y="1562599"/>
                  </a:cubicBezTo>
                  <a:cubicBezTo>
                    <a:pt x="6306854" y="1560891"/>
                    <a:pt x="6314571" y="1558622"/>
                    <a:pt x="6317967" y="1555970"/>
                  </a:cubicBezTo>
                  <a:cubicBezTo>
                    <a:pt x="6321362" y="1553318"/>
                    <a:pt x="6326070" y="1545701"/>
                    <a:pt x="6327199" y="1546688"/>
                  </a:cubicBezTo>
                  <a:close/>
                  <a:moveTo>
                    <a:pt x="281302" y="1546688"/>
                  </a:moveTo>
                  <a:cubicBezTo>
                    <a:pt x="282899" y="1548743"/>
                    <a:pt x="278039" y="1556484"/>
                    <a:pt x="273104" y="1560609"/>
                  </a:cubicBezTo>
                  <a:cubicBezTo>
                    <a:pt x="268170" y="1564731"/>
                    <a:pt x="260900" y="1564309"/>
                    <a:pt x="260929" y="1562599"/>
                  </a:cubicBezTo>
                  <a:cubicBezTo>
                    <a:pt x="260957" y="1560891"/>
                    <a:pt x="268674" y="1558622"/>
                    <a:pt x="272070" y="1555970"/>
                  </a:cubicBezTo>
                  <a:cubicBezTo>
                    <a:pt x="275465" y="1553318"/>
                    <a:pt x="280173" y="1545701"/>
                    <a:pt x="281302" y="1546688"/>
                  </a:cubicBezTo>
                  <a:close/>
                  <a:moveTo>
                    <a:pt x="6223262" y="1527682"/>
                  </a:moveTo>
                  <a:cubicBezTo>
                    <a:pt x="6225201" y="1527757"/>
                    <a:pt x="6227158" y="1527924"/>
                    <a:pt x="6229125" y="1528196"/>
                  </a:cubicBezTo>
                  <a:cubicBezTo>
                    <a:pt x="6244862" y="1530369"/>
                    <a:pt x="6265107" y="1546871"/>
                    <a:pt x="6272110" y="1557416"/>
                  </a:cubicBezTo>
                  <a:cubicBezTo>
                    <a:pt x="6281529" y="1559992"/>
                    <a:pt x="6287526" y="1573636"/>
                    <a:pt x="6289981" y="1578426"/>
                  </a:cubicBezTo>
                  <a:cubicBezTo>
                    <a:pt x="6292436" y="1583215"/>
                    <a:pt x="6289578" y="1585952"/>
                    <a:pt x="6286841" y="1586153"/>
                  </a:cubicBezTo>
                  <a:cubicBezTo>
                    <a:pt x="6286801" y="1586737"/>
                    <a:pt x="6295283" y="1593519"/>
                    <a:pt x="6299867" y="1596190"/>
                  </a:cubicBezTo>
                  <a:cubicBezTo>
                    <a:pt x="6303414" y="1580771"/>
                    <a:pt x="6298267" y="1570421"/>
                    <a:pt x="6298191" y="1559107"/>
                  </a:cubicBezTo>
                  <a:cubicBezTo>
                    <a:pt x="6303585" y="1549688"/>
                    <a:pt x="6308012" y="1553069"/>
                    <a:pt x="6313405" y="1549447"/>
                  </a:cubicBezTo>
                  <a:cubicBezTo>
                    <a:pt x="6316625" y="1545744"/>
                    <a:pt x="6319604" y="1537936"/>
                    <a:pt x="6325238" y="1538338"/>
                  </a:cubicBezTo>
                  <a:cubicBezTo>
                    <a:pt x="6335059" y="1538741"/>
                    <a:pt x="6347536" y="1557015"/>
                    <a:pt x="6347938" y="1600401"/>
                  </a:cubicBezTo>
                  <a:cubicBezTo>
                    <a:pt x="6348180" y="1634854"/>
                    <a:pt x="6334415" y="1657956"/>
                    <a:pt x="6310507" y="1668260"/>
                  </a:cubicBezTo>
                  <a:cubicBezTo>
                    <a:pt x="6298282" y="1671520"/>
                    <a:pt x="6287788" y="1671316"/>
                    <a:pt x="6278696" y="1668973"/>
                  </a:cubicBezTo>
                  <a:lnTo>
                    <a:pt x="6274716" y="1667587"/>
                  </a:lnTo>
                  <a:lnTo>
                    <a:pt x="6274239" y="1669848"/>
                  </a:lnTo>
                  <a:cubicBezTo>
                    <a:pt x="6269387" y="1688462"/>
                    <a:pt x="6255744" y="1689893"/>
                    <a:pt x="6249652" y="1689752"/>
                  </a:cubicBezTo>
                  <a:cubicBezTo>
                    <a:pt x="6242689" y="1689591"/>
                    <a:pt x="6232385" y="1683151"/>
                    <a:pt x="6228159" y="1680092"/>
                  </a:cubicBezTo>
                  <a:cubicBezTo>
                    <a:pt x="6228038" y="1684761"/>
                    <a:pt x="6229125" y="1686411"/>
                    <a:pt x="6227193" y="1692650"/>
                  </a:cubicBezTo>
                  <a:cubicBezTo>
                    <a:pt x="6232264" y="1695990"/>
                    <a:pt x="6235323" y="1707904"/>
                    <a:pt x="6236853" y="1713176"/>
                  </a:cubicBezTo>
                  <a:cubicBezTo>
                    <a:pt x="6238382" y="1718449"/>
                    <a:pt x="6236491" y="1719656"/>
                    <a:pt x="6236370" y="1724285"/>
                  </a:cubicBezTo>
                  <a:cubicBezTo>
                    <a:pt x="6236249" y="1728913"/>
                    <a:pt x="6241079" y="1732616"/>
                    <a:pt x="6238543" y="1738050"/>
                  </a:cubicBezTo>
                  <a:cubicBezTo>
                    <a:pt x="6236008" y="1743483"/>
                    <a:pt x="6229407" y="1743765"/>
                    <a:pt x="6222605" y="1743846"/>
                  </a:cubicBezTo>
                  <a:cubicBezTo>
                    <a:pt x="6215803" y="1743926"/>
                    <a:pt x="6200589" y="1748595"/>
                    <a:pt x="6197731" y="1738533"/>
                  </a:cubicBezTo>
                  <a:cubicBezTo>
                    <a:pt x="6197374" y="1737275"/>
                    <a:pt x="6197124" y="1735776"/>
                    <a:pt x="6196972" y="1734079"/>
                  </a:cubicBezTo>
                  <a:cubicBezTo>
                    <a:pt x="6196959" y="1733630"/>
                    <a:pt x="6196946" y="1733182"/>
                    <a:pt x="6196932" y="1732734"/>
                  </a:cubicBezTo>
                  <a:lnTo>
                    <a:pt x="6193193" y="1736278"/>
                  </a:lnTo>
                  <a:cubicBezTo>
                    <a:pt x="6184645" y="1744325"/>
                    <a:pt x="6176938" y="1750909"/>
                    <a:pt x="6169719" y="1750607"/>
                  </a:cubicBezTo>
                  <a:cubicBezTo>
                    <a:pt x="6157684" y="1748192"/>
                    <a:pt x="6148387" y="1729034"/>
                    <a:pt x="6146294" y="1722353"/>
                  </a:cubicBezTo>
                  <a:cubicBezTo>
                    <a:pt x="6144201" y="1715672"/>
                    <a:pt x="6151003" y="1714424"/>
                    <a:pt x="6157161" y="1710520"/>
                  </a:cubicBezTo>
                  <a:cubicBezTo>
                    <a:pt x="6151003" y="1714102"/>
                    <a:pt x="6134340" y="1711164"/>
                    <a:pt x="6132288" y="1708105"/>
                  </a:cubicBezTo>
                  <a:cubicBezTo>
                    <a:pt x="6132891" y="1714464"/>
                    <a:pt x="6132529" y="1715390"/>
                    <a:pt x="6131322" y="1718972"/>
                  </a:cubicBezTo>
                  <a:cubicBezTo>
                    <a:pt x="6130114" y="1722554"/>
                    <a:pt x="6126935" y="1724647"/>
                    <a:pt x="6125043" y="1729598"/>
                  </a:cubicBezTo>
                  <a:cubicBezTo>
                    <a:pt x="6123151" y="1734548"/>
                    <a:pt x="6127498" y="1746904"/>
                    <a:pt x="6119972" y="1748675"/>
                  </a:cubicBezTo>
                  <a:cubicBezTo>
                    <a:pt x="6112445" y="1750446"/>
                    <a:pt x="6089061" y="1749762"/>
                    <a:pt x="6079884" y="1740223"/>
                  </a:cubicBezTo>
                  <a:cubicBezTo>
                    <a:pt x="6076021" y="1735514"/>
                    <a:pt x="6082299" y="1728229"/>
                    <a:pt x="6080850" y="1726217"/>
                  </a:cubicBezTo>
                  <a:cubicBezTo>
                    <a:pt x="6079402" y="1724204"/>
                    <a:pt x="6076987" y="1732133"/>
                    <a:pt x="6071191" y="1728149"/>
                  </a:cubicBezTo>
                  <a:cubicBezTo>
                    <a:pt x="6065395" y="1724164"/>
                    <a:pt x="6047726" y="1711043"/>
                    <a:pt x="6046076" y="1702309"/>
                  </a:cubicBezTo>
                  <a:cubicBezTo>
                    <a:pt x="6044426" y="1693575"/>
                    <a:pt x="6054488" y="1684399"/>
                    <a:pt x="6061290" y="1675746"/>
                  </a:cubicBezTo>
                  <a:cubicBezTo>
                    <a:pt x="6059640" y="1666368"/>
                    <a:pt x="6058955" y="1660089"/>
                    <a:pt x="6062739" y="1649182"/>
                  </a:cubicBezTo>
                  <a:cubicBezTo>
                    <a:pt x="6057667" y="1646083"/>
                    <a:pt x="6046639" y="1641696"/>
                    <a:pt x="6047283" y="1627206"/>
                  </a:cubicBezTo>
                  <a:lnTo>
                    <a:pt x="6049044" y="1613888"/>
                  </a:lnTo>
                  <a:lnTo>
                    <a:pt x="6049503" y="1622608"/>
                  </a:lnTo>
                  <a:lnTo>
                    <a:pt x="6050326" y="1623003"/>
                  </a:lnTo>
                  <a:lnTo>
                    <a:pt x="6050449" y="1624178"/>
                  </a:lnTo>
                  <a:cubicBezTo>
                    <a:pt x="6051473" y="1632556"/>
                    <a:pt x="6054216" y="1641839"/>
                    <a:pt x="6070004" y="1638025"/>
                  </a:cubicBezTo>
                  <a:cubicBezTo>
                    <a:pt x="6063214" y="1674057"/>
                    <a:pt x="6078550" y="1691924"/>
                    <a:pt x="6088227" y="1708655"/>
                  </a:cubicBezTo>
                  <a:lnTo>
                    <a:pt x="6089189" y="1710504"/>
                  </a:lnTo>
                  <a:lnTo>
                    <a:pt x="6089155" y="1711372"/>
                  </a:lnTo>
                  <a:cubicBezTo>
                    <a:pt x="6088864" y="1716480"/>
                    <a:pt x="6088133" y="1720020"/>
                    <a:pt x="6087754" y="1724815"/>
                  </a:cubicBezTo>
                  <a:cubicBezTo>
                    <a:pt x="6086654" y="1728591"/>
                    <a:pt x="6083948" y="1728174"/>
                    <a:pt x="6084454" y="1736143"/>
                  </a:cubicBezTo>
                  <a:cubicBezTo>
                    <a:pt x="6084781" y="1741108"/>
                    <a:pt x="6113919" y="1749106"/>
                    <a:pt x="6118617" y="1742743"/>
                  </a:cubicBezTo>
                  <a:cubicBezTo>
                    <a:pt x="6119984" y="1740543"/>
                    <a:pt x="6119390" y="1735489"/>
                    <a:pt x="6119776" y="1731861"/>
                  </a:cubicBezTo>
                  <a:cubicBezTo>
                    <a:pt x="6120371" y="1727818"/>
                    <a:pt x="6125604" y="1723417"/>
                    <a:pt x="6126377" y="1717679"/>
                  </a:cubicBezTo>
                  <a:cubicBezTo>
                    <a:pt x="6126882" y="1713115"/>
                    <a:pt x="6126830" y="1707949"/>
                    <a:pt x="6126656" y="1702571"/>
                  </a:cubicBezTo>
                  <a:lnTo>
                    <a:pt x="6126448" y="1696892"/>
                  </a:lnTo>
                  <a:lnTo>
                    <a:pt x="6128036" y="1698741"/>
                  </a:lnTo>
                  <a:cubicBezTo>
                    <a:pt x="6138309" y="1709219"/>
                    <a:pt x="6160097" y="1712747"/>
                    <a:pt x="6167408" y="1696539"/>
                  </a:cubicBezTo>
                  <a:cubicBezTo>
                    <a:pt x="6167497" y="1701742"/>
                    <a:pt x="6169192" y="1703734"/>
                    <a:pt x="6168300" y="1710276"/>
                  </a:cubicBezTo>
                  <a:cubicBezTo>
                    <a:pt x="6165743" y="1714408"/>
                    <a:pt x="6154355" y="1715330"/>
                    <a:pt x="6151263" y="1722942"/>
                  </a:cubicBezTo>
                  <a:cubicBezTo>
                    <a:pt x="6150341" y="1726123"/>
                    <a:pt x="6162443" y="1745182"/>
                    <a:pt x="6170173" y="1745865"/>
                  </a:cubicBezTo>
                  <a:cubicBezTo>
                    <a:pt x="6175792" y="1746519"/>
                    <a:pt x="6186229" y="1735489"/>
                    <a:pt x="6205228" y="1718125"/>
                  </a:cubicBezTo>
                  <a:cubicBezTo>
                    <a:pt x="6208169" y="1715437"/>
                    <a:pt x="6219291" y="1694339"/>
                    <a:pt x="6224316" y="1676291"/>
                  </a:cubicBezTo>
                  <a:cubicBezTo>
                    <a:pt x="6219194" y="1673719"/>
                    <a:pt x="6211772" y="1667591"/>
                    <a:pt x="6207453" y="1658029"/>
                  </a:cubicBezTo>
                  <a:lnTo>
                    <a:pt x="6207259" y="1657520"/>
                  </a:lnTo>
                  <a:lnTo>
                    <a:pt x="6209877" y="1659168"/>
                  </a:lnTo>
                  <a:cubicBezTo>
                    <a:pt x="6216467" y="1663558"/>
                    <a:pt x="6223157" y="1668375"/>
                    <a:pt x="6229044" y="1669780"/>
                  </a:cubicBezTo>
                  <a:cubicBezTo>
                    <a:pt x="6233385" y="1674775"/>
                    <a:pt x="6238439" y="1682713"/>
                    <a:pt x="6250362" y="1684230"/>
                  </a:cubicBezTo>
                  <a:cubicBezTo>
                    <a:pt x="6260530" y="1685954"/>
                    <a:pt x="6267755" y="1676351"/>
                    <a:pt x="6271323" y="1665855"/>
                  </a:cubicBezTo>
                  <a:lnTo>
                    <a:pt x="6268023" y="1665588"/>
                  </a:lnTo>
                  <a:cubicBezTo>
                    <a:pt x="6252859" y="1691009"/>
                    <a:pt x="6236833" y="1667824"/>
                    <a:pt x="6240230" y="1643440"/>
                  </a:cubicBezTo>
                  <a:lnTo>
                    <a:pt x="6241155" y="1638664"/>
                  </a:lnTo>
                  <a:lnTo>
                    <a:pt x="6242907" y="1640573"/>
                  </a:lnTo>
                  <a:cubicBezTo>
                    <a:pt x="6273179" y="1671425"/>
                    <a:pt x="6299649" y="1666914"/>
                    <a:pt x="6314674" y="1658720"/>
                  </a:cubicBezTo>
                  <a:cubicBezTo>
                    <a:pt x="6355823" y="1633357"/>
                    <a:pt x="6343767" y="1545829"/>
                    <a:pt x="6326537" y="1541603"/>
                  </a:cubicBezTo>
                  <a:cubicBezTo>
                    <a:pt x="6322597" y="1540636"/>
                    <a:pt x="6319847" y="1550790"/>
                    <a:pt x="6317260" y="1552307"/>
                  </a:cubicBezTo>
                  <a:cubicBezTo>
                    <a:pt x="6309322" y="1556499"/>
                    <a:pt x="6305843" y="1555874"/>
                    <a:pt x="6303702" y="1559175"/>
                  </a:cubicBezTo>
                  <a:cubicBezTo>
                    <a:pt x="6299465" y="1565363"/>
                    <a:pt x="6315063" y="1601185"/>
                    <a:pt x="6295225" y="1619971"/>
                  </a:cubicBezTo>
                  <a:lnTo>
                    <a:pt x="6293745" y="1621138"/>
                  </a:lnTo>
                  <a:lnTo>
                    <a:pt x="6294056" y="1620537"/>
                  </a:lnTo>
                  <a:cubicBezTo>
                    <a:pt x="6297815" y="1613273"/>
                    <a:pt x="6301762" y="1604955"/>
                    <a:pt x="6297280" y="1601454"/>
                  </a:cubicBezTo>
                  <a:cubicBezTo>
                    <a:pt x="6292017" y="1597262"/>
                    <a:pt x="6288717" y="1600473"/>
                    <a:pt x="6284703" y="1603863"/>
                  </a:cubicBezTo>
                  <a:cubicBezTo>
                    <a:pt x="6287290" y="1600919"/>
                    <a:pt x="6290412" y="1600384"/>
                    <a:pt x="6286041" y="1593427"/>
                  </a:cubicBezTo>
                  <a:cubicBezTo>
                    <a:pt x="6282562" y="1591078"/>
                    <a:pt x="6280689" y="1591672"/>
                    <a:pt x="6274267" y="1593337"/>
                  </a:cubicBezTo>
                  <a:cubicBezTo>
                    <a:pt x="6278340" y="1590305"/>
                    <a:pt x="6279648" y="1591464"/>
                    <a:pt x="6277656" y="1585577"/>
                  </a:cubicBezTo>
                  <a:cubicBezTo>
                    <a:pt x="6274936" y="1581920"/>
                    <a:pt x="6273570" y="1582227"/>
                    <a:pt x="6270849" y="1582433"/>
                  </a:cubicBezTo>
                  <a:lnTo>
                    <a:pt x="6268963" y="1582446"/>
                  </a:lnTo>
                  <a:lnTo>
                    <a:pt x="6270514" y="1581889"/>
                  </a:lnTo>
                  <a:cubicBezTo>
                    <a:pt x="6271384" y="1581596"/>
                    <a:pt x="6272171" y="1581359"/>
                    <a:pt x="6272840" y="1581207"/>
                  </a:cubicBezTo>
                  <a:cubicBezTo>
                    <a:pt x="6278192" y="1579988"/>
                    <a:pt x="6284049" y="1581667"/>
                    <a:pt x="6284079" y="1578620"/>
                  </a:cubicBezTo>
                  <a:cubicBezTo>
                    <a:pt x="6284733" y="1575290"/>
                    <a:pt x="6276378" y="1564913"/>
                    <a:pt x="6272661" y="1564081"/>
                  </a:cubicBezTo>
                  <a:cubicBezTo>
                    <a:pt x="6270677" y="1563456"/>
                    <a:pt x="6265481" y="1562933"/>
                    <a:pt x="6260762" y="1562621"/>
                  </a:cubicBezTo>
                  <a:lnTo>
                    <a:pt x="6259663" y="1562563"/>
                  </a:lnTo>
                  <a:lnTo>
                    <a:pt x="6259672" y="1562539"/>
                  </a:lnTo>
                  <a:cubicBezTo>
                    <a:pt x="6260792" y="1560992"/>
                    <a:pt x="6264522" y="1560424"/>
                    <a:pt x="6267399" y="1560156"/>
                  </a:cubicBezTo>
                  <a:cubicBezTo>
                    <a:pt x="6255327" y="1544219"/>
                    <a:pt x="6239063" y="1533991"/>
                    <a:pt x="6225030" y="1534200"/>
                  </a:cubicBezTo>
                  <a:cubicBezTo>
                    <a:pt x="6208112" y="1534705"/>
                    <a:pt x="6186912" y="1539046"/>
                    <a:pt x="6174900" y="1557658"/>
                  </a:cubicBezTo>
                  <a:cubicBezTo>
                    <a:pt x="6181040" y="1557592"/>
                    <a:pt x="6185608" y="1557619"/>
                    <a:pt x="6189037" y="1557983"/>
                  </a:cubicBezTo>
                  <a:lnTo>
                    <a:pt x="6189610" y="1558067"/>
                  </a:lnTo>
                  <a:lnTo>
                    <a:pt x="6187216" y="1558718"/>
                  </a:lnTo>
                  <a:cubicBezTo>
                    <a:pt x="6174496" y="1561777"/>
                    <a:pt x="6165635" y="1561320"/>
                    <a:pt x="6162783" y="1563799"/>
                  </a:cubicBezTo>
                  <a:cubicBezTo>
                    <a:pt x="6156821" y="1567971"/>
                    <a:pt x="6118212" y="1603540"/>
                    <a:pt x="6116620" y="1623678"/>
                  </a:cubicBezTo>
                  <a:cubicBezTo>
                    <a:pt x="6120709" y="1634368"/>
                    <a:pt x="6121478" y="1626814"/>
                    <a:pt x="6130507" y="1645641"/>
                  </a:cubicBezTo>
                  <a:lnTo>
                    <a:pt x="6144916" y="1629215"/>
                  </a:lnTo>
                  <a:lnTo>
                    <a:pt x="6128058" y="1664085"/>
                  </a:lnTo>
                  <a:cubicBezTo>
                    <a:pt x="6132262" y="1670223"/>
                    <a:pt x="6135127" y="1673508"/>
                    <a:pt x="6143880" y="1673403"/>
                  </a:cubicBezTo>
                  <a:cubicBezTo>
                    <a:pt x="6153228" y="1672163"/>
                    <a:pt x="6161862" y="1664501"/>
                    <a:pt x="6170852" y="1660051"/>
                  </a:cubicBezTo>
                  <a:cubicBezTo>
                    <a:pt x="6179738" y="1656352"/>
                    <a:pt x="6182379" y="1658898"/>
                    <a:pt x="6188143" y="1658321"/>
                  </a:cubicBezTo>
                  <a:cubicBezTo>
                    <a:pt x="6200288" y="1625380"/>
                    <a:pt x="6181213" y="1625531"/>
                    <a:pt x="6194339" y="1589735"/>
                  </a:cubicBezTo>
                  <a:cubicBezTo>
                    <a:pt x="6189673" y="1618649"/>
                    <a:pt x="6208199" y="1618663"/>
                    <a:pt x="6195059" y="1667111"/>
                  </a:cubicBezTo>
                  <a:lnTo>
                    <a:pt x="6192966" y="1666768"/>
                  </a:lnTo>
                  <a:lnTo>
                    <a:pt x="6190315" y="1666090"/>
                  </a:lnTo>
                  <a:lnTo>
                    <a:pt x="6187599" y="1665666"/>
                  </a:lnTo>
                  <a:lnTo>
                    <a:pt x="6186838" y="1665490"/>
                  </a:lnTo>
                  <a:cubicBezTo>
                    <a:pt x="6184783" y="1665084"/>
                    <a:pt x="6182621" y="1664867"/>
                    <a:pt x="6180113" y="1665262"/>
                  </a:cubicBezTo>
                  <a:lnTo>
                    <a:pt x="6179134" y="1665490"/>
                  </a:lnTo>
                  <a:lnTo>
                    <a:pt x="6178542" y="1665541"/>
                  </a:lnTo>
                  <a:cubicBezTo>
                    <a:pt x="6165429" y="1667583"/>
                    <a:pt x="6160606" y="1679146"/>
                    <a:pt x="6139578" y="1681375"/>
                  </a:cubicBezTo>
                  <a:cubicBezTo>
                    <a:pt x="6133308" y="1680153"/>
                    <a:pt x="6123282" y="1670940"/>
                    <a:pt x="6117388" y="1663777"/>
                  </a:cubicBezTo>
                  <a:lnTo>
                    <a:pt x="6116933" y="1663187"/>
                  </a:lnTo>
                  <a:lnTo>
                    <a:pt x="6118644" y="1660328"/>
                  </a:lnTo>
                  <a:cubicBezTo>
                    <a:pt x="6120471" y="1657482"/>
                    <a:pt x="6122471" y="1654573"/>
                    <a:pt x="6124682" y="1651583"/>
                  </a:cubicBezTo>
                  <a:cubicBezTo>
                    <a:pt x="6120817" y="1641207"/>
                    <a:pt x="6110618" y="1637609"/>
                    <a:pt x="6107734" y="1624735"/>
                  </a:cubicBezTo>
                  <a:cubicBezTo>
                    <a:pt x="6112402" y="1611415"/>
                    <a:pt x="6114305" y="1602734"/>
                    <a:pt x="6137794" y="1578887"/>
                  </a:cubicBezTo>
                  <a:cubicBezTo>
                    <a:pt x="6075356" y="1587837"/>
                    <a:pt x="6075541" y="1638103"/>
                    <a:pt x="6058278" y="1625950"/>
                  </a:cubicBezTo>
                  <a:lnTo>
                    <a:pt x="6054677" y="1622709"/>
                  </a:lnTo>
                  <a:lnTo>
                    <a:pt x="6055730" y="1622118"/>
                  </a:lnTo>
                  <a:cubicBezTo>
                    <a:pt x="6062093" y="1617832"/>
                    <a:pt x="6054558" y="1611660"/>
                    <a:pt x="6059657" y="1602346"/>
                  </a:cubicBezTo>
                  <a:lnTo>
                    <a:pt x="6049245" y="1612371"/>
                  </a:lnTo>
                  <a:lnTo>
                    <a:pt x="6050151" y="1605518"/>
                  </a:lnTo>
                  <a:cubicBezTo>
                    <a:pt x="6055212" y="1600482"/>
                    <a:pt x="6062055" y="1597644"/>
                    <a:pt x="6063705" y="1597020"/>
                  </a:cubicBezTo>
                  <a:cubicBezTo>
                    <a:pt x="6060605" y="1606479"/>
                    <a:pt x="6067367" y="1613080"/>
                    <a:pt x="6063705" y="1620686"/>
                  </a:cubicBezTo>
                  <a:cubicBezTo>
                    <a:pt x="6098922" y="1575890"/>
                    <a:pt x="6123232" y="1573032"/>
                    <a:pt x="6139532" y="1572630"/>
                  </a:cubicBezTo>
                  <a:cubicBezTo>
                    <a:pt x="6152211" y="1561361"/>
                    <a:pt x="6153297" y="1558422"/>
                    <a:pt x="6161991" y="1556208"/>
                  </a:cubicBezTo>
                  <a:lnTo>
                    <a:pt x="6167986" y="1555580"/>
                  </a:lnTo>
                  <a:lnTo>
                    <a:pt x="6168681" y="1554093"/>
                  </a:lnTo>
                  <a:cubicBezTo>
                    <a:pt x="6174017" y="1543496"/>
                    <a:pt x="6178674" y="1540190"/>
                    <a:pt x="6187831" y="1535682"/>
                  </a:cubicBezTo>
                  <a:cubicBezTo>
                    <a:pt x="6196987" y="1531174"/>
                    <a:pt x="6209687" y="1527159"/>
                    <a:pt x="6223262" y="1527682"/>
                  </a:cubicBezTo>
                  <a:close/>
                  <a:moveTo>
                    <a:pt x="177365" y="1527682"/>
                  </a:moveTo>
                  <a:cubicBezTo>
                    <a:pt x="179304" y="1527757"/>
                    <a:pt x="181261" y="1527924"/>
                    <a:pt x="183228" y="1528196"/>
                  </a:cubicBezTo>
                  <a:cubicBezTo>
                    <a:pt x="198965" y="1530369"/>
                    <a:pt x="219210" y="1546871"/>
                    <a:pt x="226214" y="1557416"/>
                  </a:cubicBezTo>
                  <a:cubicBezTo>
                    <a:pt x="235632" y="1559992"/>
                    <a:pt x="241629" y="1573636"/>
                    <a:pt x="244084" y="1578426"/>
                  </a:cubicBezTo>
                  <a:cubicBezTo>
                    <a:pt x="246539" y="1583215"/>
                    <a:pt x="243681" y="1585952"/>
                    <a:pt x="240944" y="1586153"/>
                  </a:cubicBezTo>
                  <a:cubicBezTo>
                    <a:pt x="240904" y="1586737"/>
                    <a:pt x="249386" y="1593519"/>
                    <a:pt x="253970" y="1596190"/>
                  </a:cubicBezTo>
                  <a:cubicBezTo>
                    <a:pt x="257517" y="1580771"/>
                    <a:pt x="252370" y="1570421"/>
                    <a:pt x="252294" y="1559107"/>
                  </a:cubicBezTo>
                  <a:cubicBezTo>
                    <a:pt x="257688" y="1549688"/>
                    <a:pt x="262115" y="1553069"/>
                    <a:pt x="267508" y="1549447"/>
                  </a:cubicBezTo>
                  <a:cubicBezTo>
                    <a:pt x="270728" y="1545744"/>
                    <a:pt x="273707" y="1537936"/>
                    <a:pt x="279341" y="1538338"/>
                  </a:cubicBezTo>
                  <a:cubicBezTo>
                    <a:pt x="289162" y="1538741"/>
                    <a:pt x="301639" y="1557015"/>
                    <a:pt x="302041" y="1600401"/>
                  </a:cubicBezTo>
                  <a:cubicBezTo>
                    <a:pt x="302283" y="1634854"/>
                    <a:pt x="288518" y="1657956"/>
                    <a:pt x="264610" y="1668260"/>
                  </a:cubicBezTo>
                  <a:cubicBezTo>
                    <a:pt x="252385" y="1671520"/>
                    <a:pt x="241891" y="1671316"/>
                    <a:pt x="232799" y="1668973"/>
                  </a:cubicBezTo>
                  <a:lnTo>
                    <a:pt x="228819" y="1667587"/>
                  </a:lnTo>
                  <a:lnTo>
                    <a:pt x="228342" y="1669848"/>
                  </a:lnTo>
                  <a:cubicBezTo>
                    <a:pt x="223490" y="1688462"/>
                    <a:pt x="209847" y="1689893"/>
                    <a:pt x="203755" y="1689752"/>
                  </a:cubicBezTo>
                  <a:cubicBezTo>
                    <a:pt x="196792" y="1689591"/>
                    <a:pt x="186488" y="1683151"/>
                    <a:pt x="182262" y="1680092"/>
                  </a:cubicBezTo>
                  <a:cubicBezTo>
                    <a:pt x="182141" y="1684761"/>
                    <a:pt x="183228" y="1686411"/>
                    <a:pt x="181296" y="1692650"/>
                  </a:cubicBezTo>
                  <a:cubicBezTo>
                    <a:pt x="186368" y="1695990"/>
                    <a:pt x="189426" y="1707904"/>
                    <a:pt x="190956" y="1713176"/>
                  </a:cubicBezTo>
                  <a:cubicBezTo>
                    <a:pt x="192485" y="1718449"/>
                    <a:pt x="190594" y="1719656"/>
                    <a:pt x="190473" y="1724285"/>
                  </a:cubicBezTo>
                  <a:cubicBezTo>
                    <a:pt x="190352" y="1728913"/>
                    <a:pt x="195182" y="1732616"/>
                    <a:pt x="192646" y="1738050"/>
                  </a:cubicBezTo>
                  <a:cubicBezTo>
                    <a:pt x="190110" y="1743483"/>
                    <a:pt x="183510" y="1743765"/>
                    <a:pt x="176708" y="1743846"/>
                  </a:cubicBezTo>
                  <a:cubicBezTo>
                    <a:pt x="169906" y="1743926"/>
                    <a:pt x="154692" y="1748595"/>
                    <a:pt x="151834" y="1738533"/>
                  </a:cubicBezTo>
                  <a:cubicBezTo>
                    <a:pt x="151477" y="1737275"/>
                    <a:pt x="151227" y="1735776"/>
                    <a:pt x="151075" y="1734079"/>
                  </a:cubicBezTo>
                  <a:cubicBezTo>
                    <a:pt x="151062" y="1733630"/>
                    <a:pt x="151049" y="1733182"/>
                    <a:pt x="151035" y="1732734"/>
                  </a:cubicBezTo>
                  <a:lnTo>
                    <a:pt x="147296" y="1736278"/>
                  </a:lnTo>
                  <a:cubicBezTo>
                    <a:pt x="138748" y="1744325"/>
                    <a:pt x="131041" y="1750909"/>
                    <a:pt x="123822" y="1750607"/>
                  </a:cubicBezTo>
                  <a:cubicBezTo>
                    <a:pt x="111787" y="1748192"/>
                    <a:pt x="102490" y="1729034"/>
                    <a:pt x="100397" y="1722353"/>
                  </a:cubicBezTo>
                  <a:cubicBezTo>
                    <a:pt x="98304" y="1715672"/>
                    <a:pt x="105106" y="1714424"/>
                    <a:pt x="111264" y="1710520"/>
                  </a:cubicBezTo>
                  <a:cubicBezTo>
                    <a:pt x="105106" y="1714102"/>
                    <a:pt x="88444" y="1711164"/>
                    <a:pt x="86391" y="1708105"/>
                  </a:cubicBezTo>
                  <a:cubicBezTo>
                    <a:pt x="86994" y="1714464"/>
                    <a:pt x="86632" y="1715390"/>
                    <a:pt x="85425" y="1718972"/>
                  </a:cubicBezTo>
                  <a:cubicBezTo>
                    <a:pt x="84217" y="1722554"/>
                    <a:pt x="81038" y="1724647"/>
                    <a:pt x="79146" y="1729598"/>
                  </a:cubicBezTo>
                  <a:cubicBezTo>
                    <a:pt x="77254" y="1734548"/>
                    <a:pt x="81601" y="1746904"/>
                    <a:pt x="74075" y="1748675"/>
                  </a:cubicBezTo>
                  <a:cubicBezTo>
                    <a:pt x="66548" y="1750446"/>
                    <a:pt x="43164" y="1749762"/>
                    <a:pt x="33987" y="1740223"/>
                  </a:cubicBezTo>
                  <a:cubicBezTo>
                    <a:pt x="30124" y="1735514"/>
                    <a:pt x="36402" y="1728229"/>
                    <a:pt x="34953" y="1726217"/>
                  </a:cubicBezTo>
                  <a:cubicBezTo>
                    <a:pt x="33505" y="1724204"/>
                    <a:pt x="31090" y="1732133"/>
                    <a:pt x="25294" y="1728149"/>
                  </a:cubicBezTo>
                  <a:cubicBezTo>
                    <a:pt x="19498" y="1724164"/>
                    <a:pt x="1829" y="1711043"/>
                    <a:pt x="179" y="1702309"/>
                  </a:cubicBezTo>
                  <a:cubicBezTo>
                    <a:pt x="-1471" y="1693575"/>
                    <a:pt x="8591" y="1684399"/>
                    <a:pt x="15393" y="1675746"/>
                  </a:cubicBezTo>
                  <a:cubicBezTo>
                    <a:pt x="13743" y="1666368"/>
                    <a:pt x="13058" y="1660089"/>
                    <a:pt x="16842" y="1649182"/>
                  </a:cubicBezTo>
                  <a:cubicBezTo>
                    <a:pt x="11770" y="1646083"/>
                    <a:pt x="742" y="1641696"/>
                    <a:pt x="1386" y="1627206"/>
                  </a:cubicBezTo>
                  <a:lnTo>
                    <a:pt x="3147" y="1613888"/>
                  </a:lnTo>
                  <a:lnTo>
                    <a:pt x="3606" y="1622608"/>
                  </a:lnTo>
                  <a:lnTo>
                    <a:pt x="4429" y="1623003"/>
                  </a:lnTo>
                  <a:lnTo>
                    <a:pt x="4552" y="1624178"/>
                  </a:lnTo>
                  <a:cubicBezTo>
                    <a:pt x="5576" y="1632556"/>
                    <a:pt x="8319" y="1641839"/>
                    <a:pt x="24107" y="1638025"/>
                  </a:cubicBezTo>
                  <a:cubicBezTo>
                    <a:pt x="17316" y="1674057"/>
                    <a:pt x="32653" y="1691924"/>
                    <a:pt x="42330" y="1708655"/>
                  </a:cubicBezTo>
                  <a:lnTo>
                    <a:pt x="43292" y="1710504"/>
                  </a:lnTo>
                  <a:lnTo>
                    <a:pt x="43258" y="1711372"/>
                  </a:lnTo>
                  <a:cubicBezTo>
                    <a:pt x="42967" y="1716480"/>
                    <a:pt x="42236" y="1720020"/>
                    <a:pt x="41857" y="1724815"/>
                  </a:cubicBezTo>
                  <a:cubicBezTo>
                    <a:pt x="40757" y="1728591"/>
                    <a:pt x="38051" y="1728174"/>
                    <a:pt x="38557" y="1736143"/>
                  </a:cubicBezTo>
                  <a:cubicBezTo>
                    <a:pt x="38884" y="1741108"/>
                    <a:pt x="68022" y="1749106"/>
                    <a:pt x="72720" y="1742743"/>
                  </a:cubicBezTo>
                  <a:cubicBezTo>
                    <a:pt x="74087" y="1740543"/>
                    <a:pt x="73493" y="1735489"/>
                    <a:pt x="73879" y="1731861"/>
                  </a:cubicBezTo>
                  <a:cubicBezTo>
                    <a:pt x="74474" y="1727818"/>
                    <a:pt x="79707" y="1723417"/>
                    <a:pt x="80480" y="1717679"/>
                  </a:cubicBezTo>
                  <a:cubicBezTo>
                    <a:pt x="80985" y="1713115"/>
                    <a:pt x="80933" y="1707949"/>
                    <a:pt x="80759" y="1702571"/>
                  </a:cubicBezTo>
                  <a:lnTo>
                    <a:pt x="80551" y="1696892"/>
                  </a:lnTo>
                  <a:lnTo>
                    <a:pt x="82139" y="1698741"/>
                  </a:lnTo>
                  <a:cubicBezTo>
                    <a:pt x="92412" y="1709219"/>
                    <a:pt x="114200" y="1712747"/>
                    <a:pt x="121511" y="1696539"/>
                  </a:cubicBezTo>
                  <a:cubicBezTo>
                    <a:pt x="121600" y="1701742"/>
                    <a:pt x="123295" y="1703734"/>
                    <a:pt x="122403" y="1710276"/>
                  </a:cubicBezTo>
                  <a:cubicBezTo>
                    <a:pt x="119846" y="1714408"/>
                    <a:pt x="108458" y="1715330"/>
                    <a:pt x="105366" y="1722942"/>
                  </a:cubicBezTo>
                  <a:cubicBezTo>
                    <a:pt x="104444" y="1726123"/>
                    <a:pt x="116546" y="1745182"/>
                    <a:pt x="124276" y="1745865"/>
                  </a:cubicBezTo>
                  <a:cubicBezTo>
                    <a:pt x="129895" y="1746519"/>
                    <a:pt x="140332" y="1735489"/>
                    <a:pt x="159331" y="1718125"/>
                  </a:cubicBezTo>
                  <a:cubicBezTo>
                    <a:pt x="162272" y="1715437"/>
                    <a:pt x="173394" y="1694339"/>
                    <a:pt x="178419" y="1676291"/>
                  </a:cubicBezTo>
                  <a:cubicBezTo>
                    <a:pt x="173297" y="1673719"/>
                    <a:pt x="165875" y="1667591"/>
                    <a:pt x="161556" y="1658029"/>
                  </a:cubicBezTo>
                  <a:lnTo>
                    <a:pt x="161362" y="1657520"/>
                  </a:lnTo>
                  <a:lnTo>
                    <a:pt x="163980" y="1659168"/>
                  </a:lnTo>
                  <a:cubicBezTo>
                    <a:pt x="170570" y="1663558"/>
                    <a:pt x="177260" y="1668375"/>
                    <a:pt x="183147" y="1669780"/>
                  </a:cubicBezTo>
                  <a:cubicBezTo>
                    <a:pt x="187488" y="1674775"/>
                    <a:pt x="192542" y="1682713"/>
                    <a:pt x="204465" y="1684230"/>
                  </a:cubicBezTo>
                  <a:cubicBezTo>
                    <a:pt x="214633" y="1685954"/>
                    <a:pt x="221858" y="1676351"/>
                    <a:pt x="225426" y="1665855"/>
                  </a:cubicBezTo>
                  <a:lnTo>
                    <a:pt x="222126" y="1665588"/>
                  </a:lnTo>
                  <a:cubicBezTo>
                    <a:pt x="206962" y="1691009"/>
                    <a:pt x="190936" y="1667824"/>
                    <a:pt x="194333" y="1643440"/>
                  </a:cubicBezTo>
                  <a:lnTo>
                    <a:pt x="195257" y="1638664"/>
                  </a:lnTo>
                  <a:lnTo>
                    <a:pt x="197010" y="1640573"/>
                  </a:lnTo>
                  <a:cubicBezTo>
                    <a:pt x="227282" y="1671425"/>
                    <a:pt x="253752" y="1666914"/>
                    <a:pt x="268777" y="1658720"/>
                  </a:cubicBezTo>
                  <a:cubicBezTo>
                    <a:pt x="309926" y="1633357"/>
                    <a:pt x="297870" y="1545829"/>
                    <a:pt x="280640" y="1541603"/>
                  </a:cubicBezTo>
                  <a:cubicBezTo>
                    <a:pt x="276700" y="1540636"/>
                    <a:pt x="273950" y="1550790"/>
                    <a:pt x="271363" y="1552307"/>
                  </a:cubicBezTo>
                  <a:cubicBezTo>
                    <a:pt x="263425" y="1556499"/>
                    <a:pt x="259946" y="1555874"/>
                    <a:pt x="257805" y="1559175"/>
                  </a:cubicBezTo>
                  <a:cubicBezTo>
                    <a:pt x="253568" y="1565363"/>
                    <a:pt x="269166" y="1601185"/>
                    <a:pt x="249328" y="1619971"/>
                  </a:cubicBezTo>
                  <a:lnTo>
                    <a:pt x="247848" y="1621138"/>
                  </a:lnTo>
                  <a:lnTo>
                    <a:pt x="248159" y="1620537"/>
                  </a:lnTo>
                  <a:cubicBezTo>
                    <a:pt x="251918" y="1613273"/>
                    <a:pt x="255865" y="1604955"/>
                    <a:pt x="251383" y="1601454"/>
                  </a:cubicBezTo>
                  <a:cubicBezTo>
                    <a:pt x="246120" y="1597262"/>
                    <a:pt x="242820" y="1600473"/>
                    <a:pt x="238806" y="1603863"/>
                  </a:cubicBezTo>
                  <a:cubicBezTo>
                    <a:pt x="241393" y="1600919"/>
                    <a:pt x="244515" y="1600384"/>
                    <a:pt x="240144" y="1593427"/>
                  </a:cubicBezTo>
                  <a:cubicBezTo>
                    <a:pt x="236665" y="1591078"/>
                    <a:pt x="234792" y="1591672"/>
                    <a:pt x="228370" y="1593337"/>
                  </a:cubicBezTo>
                  <a:cubicBezTo>
                    <a:pt x="232443" y="1590305"/>
                    <a:pt x="233751" y="1591464"/>
                    <a:pt x="231759" y="1585577"/>
                  </a:cubicBezTo>
                  <a:cubicBezTo>
                    <a:pt x="229039" y="1581920"/>
                    <a:pt x="227673" y="1582227"/>
                    <a:pt x="224953" y="1582433"/>
                  </a:cubicBezTo>
                  <a:lnTo>
                    <a:pt x="223066" y="1582446"/>
                  </a:lnTo>
                  <a:lnTo>
                    <a:pt x="224617" y="1581889"/>
                  </a:lnTo>
                  <a:cubicBezTo>
                    <a:pt x="225487" y="1581596"/>
                    <a:pt x="226274" y="1581359"/>
                    <a:pt x="226943" y="1581207"/>
                  </a:cubicBezTo>
                  <a:cubicBezTo>
                    <a:pt x="232295" y="1579988"/>
                    <a:pt x="238152" y="1581667"/>
                    <a:pt x="238182" y="1578620"/>
                  </a:cubicBezTo>
                  <a:cubicBezTo>
                    <a:pt x="238836" y="1575290"/>
                    <a:pt x="230481" y="1564913"/>
                    <a:pt x="226764" y="1564081"/>
                  </a:cubicBezTo>
                  <a:cubicBezTo>
                    <a:pt x="224780" y="1563456"/>
                    <a:pt x="219584" y="1562933"/>
                    <a:pt x="214865" y="1562621"/>
                  </a:cubicBezTo>
                  <a:lnTo>
                    <a:pt x="213766" y="1562563"/>
                  </a:lnTo>
                  <a:lnTo>
                    <a:pt x="213775" y="1562539"/>
                  </a:lnTo>
                  <a:cubicBezTo>
                    <a:pt x="214895" y="1560992"/>
                    <a:pt x="218625" y="1560424"/>
                    <a:pt x="221502" y="1560156"/>
                  </a:cubicBezTo>
                  <a:cubicBezTo>
                    <a:pt x="209430" y="1544219"/>
                    <a:pt x="193166" y="1533991"/>
                    <a:pt x="179133" y="1534200"/>
                  </a:cubicBezTo>
                  <a:cubicBezTo>
                    <a:pt x="162215" y="1534705"/>
                    <a:pt x="141015" y="1539046"/>
                    <a:pt x="129003" y="1557658"/>
                  </a:cubicBezTo>
                  <a:cubicBezTo>
                    <a:pt x="135143" y="1557592"/>
                    <a:pt x="139711" y="1557619"/>
                    <a:pt x="143140" y="1557983"/>
                  </a:cubicBezTo>
                  <a:lnTo>
                    <a:pt x="143713" y="1558067"/>
                  </a:lnTo>
                  <a:lnTo>
                    <a:pt x="141319" y="1558718"/>
                  </a:lnTo>
                  <a:cubicBezTo>
                    <a:pt x="128599" y="1561777"/>
                    <a:pt x="119738" y="1561320"/>
                    <a:pt x="116886" y="1563799"/>
                  </a:cubicBezTo>
                  <a:cubicBezTo>
                    <a:pt x="110924" y="1567971"/>
                    <a:pt x="72315" y="1603540"/>
                    <a:pt x="70723" y="1623678"/>
                  </a:cubicBezTo>
                  <a:cubicBezTo>
                    <a:pt x="74812" y="1634368"/>
                    <a:pt x="75581" y="1626814"/>
                    <a:pt x="84610" y="1645641"/>
                  </a:cubicBezTo>
                  <a:lnTo>
                    <a:pt x="99019" y="1629215"/>
                  </a:lnTo>
                  <a:lnTo>
                    <a:pt x="82161" y="1664085"/>
                  </a:lnTo>
                  <a:cubicBezTo>
                    <a:pt x="86365" y="1670223"/>
                    <a:pt x="89230" y="1673508"/>
                    <a:pt x="97983" y="1673403"/>
                  </a:cubicBezTo>
                  <a:cubicBezTo>
                    <a:pt x="107331" y="1672163"/>
                    <a:pt x="115965" y="1664501"/>
                    <a:pt x="124955" y="1660051"/>
                  </a:cubicBezTo>
                  <a:cubicBezTo>
                    <a:pt x="133841" y="1656352"/>
                    <a:pt x="136482" y="1658898"/>
                    <a:pt x="142246" y="1658321"/>
                  </a:cubicBezTo>
                  <a:cubicBezTo>
                    <a:pt x="154391" y="1625380"/>
                    <a:pt x="135316" y="1625531"/>
                    <a:pt x="148442" y="1589735"/>
                  </a:cubicBezTo>
                  <a:cubicBezTo>
                    <a:pt x="143776" y="1618649"/>
                    <a:pt x="162302" y="1618663"/>
                    <a:pt x="149162" y="1667111"/>
                  </a:cubicBezTo>
                  <a:lnTo>
                    <a:pt x="147069" y="1666768"/>
                  </a:lnTo>
                  <a:lnTo>
                    <a:pt x="144418" y="1666090"/>
                  </a:lnTo>
                  <a:lnTo>
                    <a:pt x="141702" y="1665666"/>
                  </a:lnTo>
                  <a:lnTo>
                    <a:pt x="140941" y="1665490"/>
                  </a:lnTo>
                  <a:cubicBezTo>
                    <a:pt x="138886" y="1665084"/>
                    <a:pt x="136724" y="1664867"/>
                    <a:pt x="134216" y="1665262"/>
                  </a:cubicBezTo>
                  <a:lnTo>
                    <a:pt x="133237" y="1665490"/>
                  </a:lnTo>
                  <a:lnTo>
                    <a:pt x="132645" y="1665541"/>
                  </a:lnTo>
                  <a:cubicBezTo>
                    <a:pt x="119532" y="1667583"/>
                    <a:pt x="114709" y="1679146"/>
                    <a:pt x="93681" y="1681375"/>
                  </a:cubicBezTo>
                  <a:cubicBezTo>
                    <a:pt x="87411" y="1680153"/>
                    <a:pt x="77385" y="1670940"/>
                    <a:pt x="71491" y="1663777"/>
                  </a:cubicBezTo>
                  <a:lnTo>
                    <a:pt x="71036" y="1663187"/>
                  </a:lnTo>
                  <a:lnTo>
                    <a:pt x="72747" y="1660328"/>
                  </a:lnTo>
                  <a:cubicBezTo>
                    <a:pt x="74574" y="1657482"/>
                    <a:pt x="76574" y="1654573"/>
                    <a:pt x="78785" y="1651583"/>
                  </a:cubicBezTo>
                  <a:cubicBezTo>
                    <a:pt x="74920" y="1641207"/>
                    <a:pt x="64721" y="1637609"/>
                    <a:pt x="61837" y="1624735"/>
                  </a:cubicBezTo>
                  <a:cubicBezTo>
                    <a:pt x="66505" y="1611415"/>
                    <a:pt x="68408" y="1602734"/>
                    <a:pt x="91897" y="1578887"/>
                  </a:cubicBezTo>
                  <a:cubicBezTo>
                    <a:pt x="29459" y="1587837"/>
                    <a:pt x="29644" y="1638103"/>
                    <a:pt x="12381" y="1625950"/>
                  </a:cubicBezTo>
                  <a:lnTo>
                    <a:pt x="8780" y="1622709"/>
                  </a:lnTo>
                  <a:lnTo>
                    <a:pt x="9833" y="1622118"/>
                  </a:lnTo>
                  <a:cubicBezTo>
                    <a:pt x="16196" y="1617832"/>
                    <a:pt x="8661" y="1611660"/>
                    <a:pt x="13760" y="1602346"/>
                  </a:cubicBezTo>
                  <a:lnTo>
                    <a:pt x="3348" y="1612371"/>
                  </a:lnTo>
                  <a:lnTo>
                    <a:pt x="4254" y="1605518"/>
                  </a:lnTo>
                  <a:cubicBezTo>
                    <a:pt x="9315" y="1600482"/>
                    <a:pt x="16157" y="1597644"/>
                    <a:pt x="17808" y="1597020"/>
                  </a:cubicBezTo>
                  <a:cubicBezTo>
                    <a:pt x="14708" y="1606479"/>
                    <a:pt x="21470" y="1613080"/>
                    <a:pt x="17808" y="1620686"/>
                  </a:cubicBezTo>
                  <a:cubicBezTo>
                    <a:pt x="53025" y="1575890"/>
                    <a:pt x="77335" y="1573032"/>
                    <a:pt x="93636" y="1572630"/>
                  </a:cubicBezTo>
                  <a:cubicBezTo>
                    <a:pt x="106314" y="1561361"/>
                    <a:pt x="107400" y="1558422"/>
                    <a:pt x="116094" y="1556208"/>
                  </a:cubicBezTo>
                  <a:lnTo>
                    <a:pt x="122089" y="1555580"/>
                  </a:lnTo>
                  <a:lnTo>
                    <a:pt x="122784" y="1554093"/>
                  </a:lnTo>
                  <a:cubicBezTo>
                    <a:pt x="128120" y="1543496"/>
                    <a:pt x="132777" y="1540190"/>
                    <a:pt x="141934" y="1535682"/>
                  </a:cubicBezTo>
                  <a:cubicBezTo>
                    <a:pt x="151090" y="1531174"/>
                    <a:pt x="163790" y="1527159"/>
                    <a:pt x="177365" y="1527682"/>
                  </a:cubicBezTo>
                  <a:close/>
                  <a:moveTo>
                    <a:pt x="7307218" y="1527636"/>
                  </a:moveTo>
                  <a:cubicBezTo>
                    <a:pt x="7337118" y="1527974"/>
                    <a:pt x="7352068" y="1540981"/>
                    <a:pt x="7352068" y="1566659"/>
                  </a:cubicBezTo>
                  <a:lnTo>
                    <a:pt x="7352068" y="1603018"/>
                  </a:lnTo>
                  <a:cubicBezTo>
                    <a:pt x="7352068" y="1620080"/>
                    <a:pt x="7358614" y="1629033"/>
                    <a:pt x="7371705" y="1629878"/>
                  </a:cubicBezTo>
                  <a:lnTo>
                    <a:pt x="7371705" y="1648374"/>
                  </a:lnTo>
                  <a:cubicBezTo>
                    <a:pt x="7358614" y="1649219"/>
                    <a:pt x="7352068" y="1658003"/>
                    <a:pt x="7352068" y="1674727"/>
                  </a:cubicBezTo>
                  <a:lnTo>
                    <a:pt x="7352068" y="1712102"/>
                  </a:lnTo>
                  <a:cubicBezTo>
                    <a:pt x="7352068" y="1737440"/>
                    <a:pt x="7337118" y="1750278"/>
                    <a:pt x="7307218" y="1750616"/>
                  </a:cubicBezTo>
                  <a:lnTo>
                    <a:pt x="7307218" y="1731105"/>
                  </a:lnTo>
                  <a:cubicBezTo>
                    <a:pt x="7314567" y="1730936"/>
                    <a:pt x="7319782" y="1728909"/>
                    <a:pt x="7322865" y="1725024"/>
                  </a:cubicBezTo>
                  <a:cubicBezTo>
                    <a:pt x="7325948" y="1721139"/>
                    <a:pt x="7327489" y="1714720"/>
                    <a:pt x="7327489" y="1705767"/>
                  </a:cubicBezTo>
                  <a:lnTo>
                    <a:pt x="7327489" y="1670419"/>
                  </a:lnTo>
                  <a:cubicBezTo>
                    <a:pt x="7327489" y="1653274"/>
                    <a:pt x="7335809" y="1642843"/>
                    <a:pt x="7352448" y="1639126"/>
                  </a:cubicBezTo>
                  <a:lnTo>
                    <a:pt x="7352448" y="1638746"/>
                  </a:lnTo>
                  <a:cubicBezTo>
                    <a:pt x="7335809" y="1634776"/>
                    <a:pt x="7327489" y="1624261"/>
                    <a:pt x="7327489" y="1607199"/>
                  </a:cubicBezTo>
                  <a:lnTo>
                    <a:pt x="7327489" y="1571472"/>
                  </a:lnTo>
                  <a:cubicBezTo>
                    <a:pt x="7327489" y="1555677"/>
                    <a:pt x="7320732" y="1547611"/>
                    <a:pt x="7307218" y="1547274"/>
                  </a:cubicBezTo>
                  <a:close/>
                  <a:moveTo>
                    <a:pt x="7289734" y="1527636"/>
                  </a:moveTo>
                  <a:lnTo>
                    <a:pt x="7289734" y="1547274"/>
                  </a:lnTo>
                  <a:cubicBezTo>
                    <a:pt x="7276305" y="1547611"/>
                    <a:pt x="7269590" y="1555677"/>
                    <a:pt x="7269590" y="1571472"/>
                  </a:cubicBezTo>
                  <a:lnTo>
                    <a:pt x="7269590" y="1607199"/>
                  </a:lnTo>
                  <a:cubicBezTo>
                    <a:pt x="7269590" y="1624261"/>
                    <a:pt x="7261186" y="1634776"/>
                    <a:pt x="7244378" y="1638746"/>
                  </a:cubicBezTo>
                  <a:lnTo>
                    <a:pt x="7244378" y="1639126"/>
                  </a:lnTo>
                  <a:cubicBezTo>
                    <a:pt x="7261186" y="1642843"/>
                    <a:pt x="7269590" y="1653274"/>
                    <a:pt x="7269590" y="1670419"/>
                  </a:cubicBezTo>
                  <a:lnTo>
                    <a:pt x="7269590" y="1705767"/>
                  </a:lnTo>
                  <a:cubicBezTo>
                    <a:pt x="7269590" y="1714804"/>
                    <a:pt x="7271089" y="1721244"/>
                    <a:pt x="7274088" y="1725087"/>
                  </a:cubicBezTo>
                  <a:cubicBezTo>
                    <a:pt x="7277086" y="1728930"/>
                    <a:pt x="7282302" y="1730936"/>
                    <a:pt x="7289734" y="1731105"/>
                  </a:cubicBezTo>
                  <a:lnTo>
                    <a:pt x="7289734" y="1750616"/>
                  </a:lnTo>
                  <a:cubicBezTo>
                    <a:pt x="7259666" y="1750278"/>
                    <a:pt x="7244632" y="1737440"/>
                    <a:pt x="7244632" y="1712102"/>
                  </a:cubicBezTo>
                  <a:lnTo>
                    <a:pt x="7244632" y="1674727"/>
                  </a:lnTo>
                  <a:cubicBezTo>
                    <a:pt x="7244632" y="1658003"/>
                    <a:pt x="7238043" y="1649219"/>
                    <a:pt x="7224867" y="1648374"/>
                  </a:cubicBezTo>
                  <a:lnTo>
                    <a:pt x="7224867" y="1629878"/>
                  </a:lnTo>
                  <a:cubicBezTo>
                    <a:pt x="7238043" y="1629033"/>
                    <a:pt x="7244632" y="1620080"/>
                    <a:pt x="7244632" y="1603018"/>
                  </a:cubicBezTo>
                  <a:lnTo>
                    <a:pt x="7244632" y="1566659"/>
                  </a:lnTo>
                  <a:cubicBezTo>
                    <a:pt x="7244632" y="1540981"/>
                    <a:pt x="7259666" y="1527974"/>
                    <a:pt x="7289734" y="1527636"/>
                  </a:cubicBezTo>
                  <a:close/>
                  <a:moveTo>
                    <a:pt x="1251166" y="1527636"/>
                  </a:moveTo>
                  <a:cubicBezTo>
                    <a:pt x="1281066" y="1527974"/>
                    <a:pt x="1296016" y="1540981"/>
                    <a:pt x="1296016" y="1566659"/>
                  </a:cubicBezTo>
                  <a:lnTo>
                    <a:pt x="1296016" y="1603018"/>
                  </a:lnTo>
                  <a:cubicBezTo>
                    <a:pt x="1296016" y="1620080"/>
                    <a:pt x="1302562" y="1629033"/>
                    <a:pt x="1315653" y="1629878"/>
                  </a:cubicBezTo>
                  <a:lnTo>
                    <a:pt x="1315653" y="1648374"/>
                  </a:lnTo>
                  <a:cubicBezTo>
                    <a:pt x="1302562" y="1649219"/>
                    <a:pt x="1296016" y="1658003"/>
                    <a:pt x="1296016" y="1674727"/>
                  </a:cubicBezTo>
                  <a:lnTo>
                    <a:pt x="1296016" y="1712102"/>
                  </a:lnTo>
                  <a:cubicBezTo>
                    <a:pt x="1296016" y="1737440"/>
                    <a:pt x="1281066" y="1750278"/>
                    <a:pt x="1251166" y="1750616"/>
                  </a:cubicBezTo>
                  <a:lnTo>
                    <a:pt x="1251166" y="1731105"/>
                  </a:lnTo>
                  <a:cubicBezTo>
                    <a:pt x="1258515" y="1730936"/>
                    <a:pt x="1263730" y="1728909"/>
                    <a:pt x="1266813" y="1725024"/>
                  </a:cubicBezTo>
                  <a:cubicBezTo>
                    <a:pt x="1269896" y="1721139"/>
                    <a:pt x="1271437" y="1714720"/>
                    <a:pt x="1271437" y="1705767"/>
                  </a:cubicBezTo>
                  <a:lnTo>
                    <a:pt x="1271437" y="1670419"/>
                  </a:lnTo>
                  <a:cubicBezTo>
                    <a:pt x="1271437" y="1653274"/>
                    <a:pt x="1279757" y="1642843"/>
                    <a:pt x="1296396" y="1639126"/>
                  </a:cubicBezTo>
                  <a:lnTo>
                    <a:pt x="1296396" y="1638746"/>
                  </a:lnTo>
                  <a:cubicBezTo>
                    <a:pt x="1279757" y="1634776"/>
                    <a:pt x="1271437" y="1624261"/>
                    <a:pt x="1271437" y="1607199"/>
                  </a:cubicBezTo>
                  <a:lnTo>
                    <a:pt x="1271437" y="1571472"/>
                  </a:lnTo>
                  <a:cubicBezTo>
                    <a:pt x="1271437" y="1555677"/>
                    <a:pt x="1264680" y="1547611"/>
                    <a:pt x="1251166" y="1547274"/>
                  </a:cubicBezTo>
                  <a:close/>
                  <a:moveTo>
                    <a:pt x="1233682" y="1527636"/>
                  </a:moveTo>
                  <a:lnTo>
                    <a:pt x="1233682" y="1547274"/>
                  </a:lnTo>
                  <a:cubicBezTo>
                    <a:pt x="1220253" y="1547611"/>
                    <a:pt x="1213538" y="1555677"/>
                    <a:pt x="1213538" y="1571472"/>
                  </a:cubicBezTo>
                  <a:lnTo>
                    <a:pt x="1213538" y="1607199"/>
                  </a:lnTo>
                  <a:cubicBezTo>
                    <a:pt x="1213538" y="1624261"/>
                    <a:pt x="1205134" y="1634776"/>
                    <a:pt x="1188326" y="1638746"/>
                  </a:cubicBezTo>
                  <a:lnTo>
                    <a:pt x="1188326" y="1639126"/>
                  </a:lnTo>
                  <a:cubicBezTo>
                    <a:pt x="1205134" y="1642843"/>
                    <a:pt x="1213538" y="1653274"/>
                    <a:pt x="1213538" y="1670419"/>
                  </a:cubicBezTo>
                  <a:lnTo>
                    <a:pt x="1213538" y="1705767"/>
                  </a:lnTo>
                  <a:cubicBezTo>
                    <a:pt x="1213538" y="1714804"/>
                    <a:pt x="1215037" y="1721244"/>
                    <a:pt x="1218036" y="1725087"/>
                  </a:cubicBezTo>
                  <a:cubicBezTo>
                    <a:pt x="1221034" y="1728930"/>
                    <a:pt x="1226250" y="1730936"/>
                    <a:pt x="1233682" y="1731105"/>
                  </a:cubicBezTo>
                  <a:lnTo>
                    <a:pt x="1233682" y="1750616"/>
                  </a:lnTo>
                  <a:cubicBezTo>
                    <a:pt x="1203614" y="1750278"/>
                    <a:pt x="1188580" y="1737440"/>
                    <a:pt x="1188580" y="1712102"/>
                  </a:cubicBezTo>
                  <a:lnTo>
                    <a:pt x="1188580" y="1674727"/>
                  </a:lnTo>
                  <a:cubicBezTo>
                    <a:pt x="1188580" y="1658003"/>
                    <a:pt x="1181991" y="1649219"/>
                    <a:pt x="1168815" y="1648374"/>
                  </a:cubicBezTo>
                  <a:lnTo>
                    <a:pt x="1168815" y="1629878"/>
                  </a:lnTo>
                  <a:cubicBezTo>
                    <a:pt x="1181991" y="1629033"/>
                    <a:pt x="1188580" y="1620080"/>
                    <a:pt x="1188580" y="1603018"/>
                  </a:cubicBezTo>
                  <a:lnTo>
                    <a:pt x="1188580" y="1566659"/>
                  </a:lnTo>
                  <a:cubicBezTo>
                    <a:pt x="1188580" y="1540981"/>
                    <a:pt x="1203614" y="1527974"/>
                    <a:pt x="1233682" y="1527636"/>
                  </a:cubicBezTo>
                  <a:close/>
                  <a:moveTo>
                    <a:pt x="11615831" y="1214333"/>
                  </a:moveTo>
                  <a:cubicBezTo>
                    <a:pt x="11645731" y="1214672"/>
                    <a:pt x="11660680" y="1227678"/>
                    <a:pt x="11660680" y="1253354"/>
                  </a:cubicBezTo>
                  <a:lnTo>
                    <a:pt x="11660680" y="1289715"/>
                  </a:lnTo>
                  <a:cubicBezTo>
                    <a:pt x="11660680" y="1306777"/>
                    <a:pt x="11667226" y="1315730"/>
                    <a:pt x="11680318" y="1316575"/>
                  </a:cubicBezTo>
                  <a:lnTo>
                    <a:pt x="11680318" y="1335071"/>
                  </a:lnTo>
                  <a:cubicBezTo>
                    <a:pt x="11667226" y="1335916"/>
                    <a:pt x="11660680" y="1344700"/>
                    <a:pt x="11660680" y="1361425"/>
                  </a:cubicBezTo>
                  <a:lnTo>
                    <a:pt x="11660680" y="1398799"/>
                  </a:lnTo>
                  <a:cubicBezTo>
                    <a:pt x="11660680" y="1424137"/>
                    <a:pt x="11645731" y="1436975"/>
                    <a:pt x="11615831" y="1437313"/>
                  </a:cubicBezTo>
                  <a:lnTo>
                    <a:pt x="11615831" y="1417802"/>
                  </a:lnTo>
                  <a:cubicBezTo>
                    <a:pt x="11623179" y="1417633"/>
                    <a:pt x="11628395" y="1415607"/>
                    <a:pt x="11631478" y="1411722"/>
                  </a:cubicBezTo>
                  <a:cubicBezTo>
                    <a:pt x="11634560" y="1407836"/>
                    <a:pt x="11636102" y="1401417"/>
                    <a:pt x="11636102" y="1392464"/>
                  </a:cubicBezTo>
                  <a:lnTo>
                    <a:pt x="11636102" y="1357116"/>
                  </a:lnTo>
                  <a:cubicBezTo>
                    <a:pt x="11636102" y="1339971"/>
                    <a:pt x="11644422" y="1329539"/>
                    <a:pt x="11661061" y="1325823"/>
                  </a:cubicBezTo>
                  <a:lnTo>
                    <a:pt x="11661061" y="1325443"/>
                  </a:lnTo>
                  <a:cubicBezTo>
                    <a:pt x="11644422" y="1321474"/>
                    <a:pt x="11636102" y="1310959"/>
                    <a:pt x="11636102" y="1293896"/>
                  </a:cubicBezTo>
                  <a:lnTo>
                    <a:pt x="11636102" y="1258169"/>
                  </a:lnTo>
                  <a:cubicBezTo>
                    <a:pt x="11636102" y="1242374"/>
                    <a:pt x="11629345" y="1234308"/>
                    <a:pt x="11615831" y="1233971"/>
                  </a:cubicBezTo>
                  <a:close/>
                  <a:moveTo>
                    <a:pt x="11598347" y="1214333"/>
                  </a:moveTo>
                  <a:lnTo>
                    <a:pt x="11598347" y="1233971"/>
                  </a:lnTo>
                  <a:cubicBezTo>
                    <a:pt x="11584918" y="1234308"/>
                    <a:pt x="11578203" y="1242374"/>
                    <a:pt x="11578203" y="1258169"/>
                  </a:cubicBezTo>
                  <a:lnTo>
                    <a:pt x="11578203" y="1293896"/>
                  </a:lnTo>
                  <a:cubicBezTo>
                    <a:pt x="11578203" y="1310959"/>
                    <a:pt x="11569799" y="1321474"/>
                    <a:pt x="11552991" y="1325443"/>
                  </a:cubicBezTo>
                  <a:lnTo>
                    <a:pt x="11552991" y="1325823"/>
                  </a:lnTo>
                  <a:cubicBezTo>
                    <a:pt x="11569799" y="1329539"/>
                    <a:pt x="11578203" y="1339971"/>
                    <a:pt x="11578203" y="1357116"/>
                  </a:cubicBezTo>
                  <a:lnTo>
                    <a:pt x="11578203" y="1392464"/>
                  </a:lnTo>
                  <a:cubicBezTo>
                    <a:pt x="11578203" y="1401501"/>
                    <a:pt x="11579702" y="1407941"/>
                    <a:pt x="11582701" y="1411784"/>
                  </a:cubicBezTo>
                  <a:cubicBezTo>
                    <a:pt x="11585699" y="1415627"/>
                    <a:pt x="11590914" y="1417633"/>
                    <a:pt x="11598347" y="1417802"/>
                  </a:cubicBezTo>
                  <a:lnTo>
                    <a:pt x="11598347" y="1437313"/>
                  </a:lnTo>
                  <a:cubicBezTo>
                    <a:pt x="11568278" y="1436975"/>
                    <a:pt x="11553244" y="1424137"/>
                    <a:pt x="11553244" y="1398799"/>
                  </a:cubicBezTo>
                  <a:lnTo>
                    <a:pt x="11553244" y="1361425"/>
                  </a:lnTo>
                  <a:cubicBezTo>
                    <a:pt x="11553244" y="1344700"/>
                    <a:pt x="11546656" y="1335916"/>
                    <a:pt x="11533480" y="1335071"/>
                  </a:cubicBezTo>
                  <a:lnTo>
                    <a:pt x="11533480" y="1316575"/>
                  </a:lnTo>
                  <a:cubicBezTo>
                    <a:pt x="11546656" y="1315730"/>
                    <a:pt x="11553244" y="1306777"/>
                    <a:pt x="11553244" y="1289715"/>
                  </a:cubicBezTo>
                  <a:lnTo>
                    <a:pt x="11553244" y="1253354"/>
                  </a:lnTo>
                  <a:cubicBezTo>
                    <a:pt x="11553244" y="1227678"/>
                    <a:pt x="11568278" y="1214672"/>
                    <a:pt x="11598347" y="1214333"/>
                  </a:cubicBezTo>
                  <a:close/>
                  <a:moveTo>
                    <a:pt x="10941808" y="1214333"/>
                  </a:moveTo>
                  <a:cubicBezTo>
                    <a:pt x="10971708" y="1214672"/>
                    <a:pt x="10986657" y="1227678"/>
                    <a:pt x="10986657" y="1253354"/>
                  </a:cubicBezTo>
                  <a:lnTo>
                    <a:pt x="10986657" y="1289715"/>
                  </a:lnTo>
                  <a:cubicBezTo>
                    <a:pt x="10986657" y="1306777"/>
                    <a:pt x="10993203" y="1315730"/>
                    <a:pt x="11006295" y="1316575"/>
                  </a:cubicBezTo>
                  <a:lnTo>
                    <a:pt x="11006295" y="1335071"/>
                  </a:lnTo>
                  <a:cubicBezTo>
                    <a:pt x="10993203" y="1335916"/>
                    <a:pt x="10986657" y="1344700"/>
                    <a:pt x="10986657" y="1361425"/>
                  </a:cubicBezTo>
                  <a:lnTo>
                    <a:pt x="10986657" y="1398799"/>
                  </a:lnTo>
                  <a:cubicBezTo>
                    <a:pt x="10986657" y="1424137"/>
                    <a:pt x="10971708" y="1436975"/>
                    <a:pt x="10941808" y="1437313"/>
                  </a:cubicBezTo>
                  <a:lnTo>
                    <a:pt x="10941808" y="1417802"/>
                  </a:lnTo>
                  <a:cubicBezTo>
                    <a:pt x="10949156" y="1417633"/>
                    <a:pt x="10954372" y="1415607"/>
                    <a:pt x="10957455" y="1411722"/>
                  </a:cubicBezTo>
                  <a:cubicBezTo>
                    <a:pt x="10960537" y="1407836"/>
                    <a:pt x="10962079" y="1401417"/>
                    <a:pt x="10962079" y="1392464"/>
                  </a:cubicBezTo>
                  <a:lnTo>
                    <a:pt x="10962079" y="1357116"/>
                  </a:lnTo>
                  <a:cubicBezTo>
                    <a:pt x="10962079" y="1339971"/>
                    <a:pt x="10970399" y="1329539"/>
                    <a:pt x="10987038" y="1325823"/>
                  </a:cubicBezTo>
                  <a:lnTo>
                    <a:pt x="10987038" y="1325443"/>
                  </a:lnTo>
                  <a:cubicBezTo>
                    <a:pt x="10970399" y="1321474"/>
                    <a:pt x="10962079" y="1310959"/>
                    <a:pt x="10962079" y="1293896"/>
                  </a:cubicBezTo>
                  <a:lnTo>
                    <a:pt x="10962079" y="1258169"/>
                  </a:lnTo>
                  <a:cubicBezTo>
                    <a:pt x="10962079" y="1242374"/>
                    <a:pt x="10955322" y="1234308"/>
                    <a:pt x="10941808" y="1233971"/>
                  </a:cubicBezTo>
                  <a:close/>
                  <a:moveTo>
                    <a:pt x="10924324" y="1214333"/>
                  </a:moveTo>
                  <a:lnTo>
                    <a:pt x="10924324" y="1233971"/>
                  </a:lnTo>
                  <a:cubicBezTo>
                    <a:pt x="10910895" y="1234308"/>
                    <a:pt x="10904180" y="1242374"/>
                    <a:pt x="10904180" y="1258169"/>
                  </a:cubicBezTo>
                  <a:lnTo>
                    <a:pt x="10904180" y="1293896"/>
                  </a:lnTo>
                  <a:cubicBezTo>
                    <a:pt x="10904180" y="1310959"/>
                    <a:pt x="10895776" y="1321474"/>
                    <a:pt x="10878968" y="1325443"/>
                  </a:cubicBezTo>
                  <a:lnTo>
                    <a:pt x="10878968" y="1325823"/>
                  </a:lnTo>
                  <a:cubicBezTo>
                    <a:pt x="10895776" y="1329539"/>
                    <a:pt x="10904180" y="1339971"/>
                    <a:pt x="10904180" y="1357116"/>
                  </a:cubicBezTo>
                  <a:lnTo>
                    <a:pt x="10904180" y="1392464"/>
                  </a:lnTo>
                  <a:cubicBezTo>
                    <a:pt x="10904180" y="1401501"/>
                    <a:pt x="10905679" y="1407941"/>
                    <a:pt x="10908678" y="1411784"/>
                  </a:cubicBezTo>
                  <a:cubicBezTo>
                    <a:pt x="10911676" y="1415627"/>
                    <a:pt x="10916891" y="1417633"/>
                    <a:pt x="10924324" y="1417802"/>
                  </a:cubicBezTo>
                  <a:lnTo>
                    <a:pt x="10924324" y="1437313"/>
                  </a:lnTo>
                  <a:cubicBezTo>
                    <a:pt x="10894255" y="1436975"/>
                    <a:pt x="10879221" y="1424137"/>
                    <a:pt x="10879221" y="1398799"/>
                  </a:cubicBezTo>
                  <a:lnTo>
                    <a:pt x="10879221" y="1361425"/>
                  </a:lnTo>
                  <a:cubicBezTo>
                    <a:pt x="10879221" y="1344700"/>
                    <a:pt x="10872633" y="1335916"/>
                    <a:pt x="10859457" y="1335071"/>
                  </a:cubicBezTo>
                  <a:lnTo>
                    <a:pt x="10859457" y="1316575"/>
                  </a:lnTo>
                  <a:cubicBezTo>
                    <a:pt x="10872633" y="1315730"/>
                    <a:pt x="10879221" y="1306777"/>
                    <a:pt x="10879221" y="1289715"/>
                  </a:cubicBezTo>
                  <a:lnTo>
                    <a:pt x="10879221" y="1253354"/>
                  </a:lnTo>
                  <a:cubicBezTo>
                    <a:pt x="10879221" y="1227678"/>
                    <a:pt x="10894255" y="1214672"/>
                    <a:pt x="10924324" y="1214333"/>
                  </a:cubicBezTo>
                  <a:close/>
                  <a:moveTo>
                    <a:pt x="9743358" y="1214333"/>
                  </a:moveTo>
                  <a:cubicBezTo>
                    <a:pt x="9773258" y="1214672"/>
                    <a:pt x="9788207" y="1227678"/>
                    <a:pt x="9788207" y="1253354"/>
                  </a:cubicBezTo>
                  <a:lnTo>
                    <a:pt x="9788207" y="1289715"/>
                  </a:lnTo>
                  <a:cubicBezTo>
                    <a:pt x="9788207" y="1306777"/>
                    <a:pt x="9794753" y="1315730"/>
                    <a:pt x="9807845" y="1316575"/>
                  </a:cubicBezTo>
                  <a:lnTo>
                    <a:pt x="9807845" y="1335071"/>
                  </a:lnTo>
                  <a:cubicBezTo>
                    <a:pt x="9794753" y="1335916"/>
                    <a:pt x="9788207" y="1344700"/>
                    <a:pt x="9788207" y="1361425"/>
                  </a:cubicBezTo>
                  <a:lnTo>
                    <a:pt x="9788207" y="1398799"/>
                  </a:lnTo>
                  <a:cubicBezTo>
                    <a:pt x="9788207" y="1424137"/>
                    <a:pt x="9773258" y="1436975"/>
                    <a:pt x="9743358" y="1437313"/>
                  </a:cubicBezTo>
                  <a:lnTo>
                    <a:pt x="9743358" y="1417802"/>
                  </a:lnTo>
                  <a:cubicBezTo>
                    <a:pt x="9750706" y="1417633"/>
                    <a:pt x="9755922" y="1415607"/>
                    <a:pt x="9759005" y="1411722"/>
                  </a:cubicBezTo>
                  <a:cubicBezTo>
                    <a:pt x="9762087" y="1407836"/>
                    <a:pt x="9763629" y="1401417"/>
                    <a:pt x="9763629" y="1392464"/>
                  </a:cubicBezTo>
                  <a:lnTo>
                    <a:pt x="9763629" y="1357116"/>
                  </a:lnTo>
                  <a:cubicBezTo>
                    <a:pt x="9763629" y="1339971"/>
                    <a:pt x="9771949" y="1329539"/>
                    <a:pt x="9788588" y="1325823"/>
                  </a:cubicBezTo>
                  <a:lnTo>
                    <a:pt x="9788588" y="1325443"/>
                  </a:lnTo>
                  <a:cubicBezTo>
                    <a:pt x="9771949" y="1321474"/>
                    <a:pt x="9763629" y="1310959"/>
                    <a:pt x="9763629" y="1293896"/>
                  </a:cubicBezTo>
                  <a:lnTo>
                    <a:pt x="9763629" y="1258169"/>
                  </a:lnTo>
                  <a:cubicBezTo>
                    <a:pt x="9763629" y="1242374"/>
                    <a:pt x="9756872" y="1234308"/>
                    <a:pt x="9743358" y="1233971"/>
                  </a:cubicBezTo>
                  <a:close/>
                  <a:moveTo>
                    <a:pt x="9725874" y="1214333"/>
                  </a:moveTo>
                  <a:lnTo>
                    <a:pt x="9725874" y="1233971"/>
                  </a:lnTo>
                  <a:cubicBezTo>
                    <a:pt x="9712445" y="1234308"/>
                    <a:pt x="9705730" y="1242374"/>
                    <a:pt x="9705730" y="1258169"/>
                  </a:cubicBezTo>
                  <a:lnTo>
                    <a:pt x="9705730" y="1293896"/>
                  </a:lnTo>
                  <a:cubicBezTo>
                    <a:pt x="9705730" y="1310959"/>
                    <a:pt x="9697326" y="1321474"/>
                    <a:pt x="9680518" y="1325443"/>
                  </a:cubicBezTo>
                  <a:lnTo>
                    <a:pt x="9680518" y="1325823"/>
                  </a:lnTo>
                  <a:cubicBezTo>
                    <a:pt x="9697326" y="1329539"/>
                    <a:pt x="9705730" y="1339971"/>
                    <a:pt x="9705730" y="1357116"/>
                  </a:cubicBezTo>
                  <a:lnTo>
                    <a:pt x="9705730" y="1392464"/>
                  </a:lnTo>
                  <a:cubicBezTo>
                    <a:pt x="9705730" y="1401501"/>
                    <a:pt x="9707229" y="1407941"/>
                    <a:pt x="9710228" y="1411784"/>
                  </a:cubicBezTo>
                  <a:cubicBezTo>
                    <a:pt x="9713226" y="1415627"/>
                    <a:pt x="9718441" y="1417633"/>
                    <a:pt x="9725874" y="1417802"/>
                  </a:cubicBezTo>
                  <a:lnTo>
                    <a:pt x="9725874" y="1437313"/>
                  </a:lnTo>
                  <a:cubicBezTo>
                    <a:pt x="9695805" y="1436975"/>
                    <a:pt x="9680771" y="1424137"/>
                    <a:pt x="9680771" y="1398799"/>
                  </a:cubicBezTo>
                  <a:lnTo>
                    <a:pt x="9680771" y="1361425"/>
                  </a:lnTo>
                  <a:cubicBezTo>
                    <a:pt x="9680771" y="1344700"/>
                    <a:pt x="9674183" y="1335916"/>
                    <a:pt x="9661007" y="1335071"/>
                  </a:cubicBezTo>
                  <a:lnTo>
                    <a:pt x="9661007" y="1316575"/>
                  </a:lnTo>
                  <a:cubicBezTo>
                    <a:pt x="9674183" y="1315730"/>
                    <a:pt x="9680771" y="1306777"/>
                    <a:pt x="9680771" y="1289715"/>
                  </a:cubicBezTo>
                  <a:lnTo>
                    <a:pt x="9680771" y="1253354"/>
                  </a:lnTo>
                  <a:cubicBezTo>
                    <a:pt x="9680771" y="1227678"/>
                    <a:pt x="9695805" y="1214672"/>
                    <a:pt x="9725874" y="1214333"/>
                  </a:cubicBezTo>
                  <a:close/>
                  <a:moveTo>
                    <a:pt x="8119156" y="1214333"/>
                  </a:moveTo>
                  <a:cubicBezTo>
                    <a:pt x="8149056" y="1214672"/>
                    <a:pt x="8164005" y="1227678"/>
                    <a:pt x="8164005" y="1253354"/>
                  </a:cubicBezTo>
                  <a:lnTo>
                    <a:pt x="8164005" y="1289715"/>
                  </a:lnTo>
                  <a:cubicBezTo>
                    <a:pt x="8164005" y="1306777"/>
                    <a:pt x="8170551" y="1315730"/>
                    <a:pt x="8183643" y="1316575"/>
                  </a:cubicBezTo>
                  <a:lnTo>
                    <a:pt x="8183643" y="1335071"/>
                  </a:lnTo>
                  <a:cubicBezTo>
                    <a:pt x="8170551" y="1335916"/>
                    <a:pt x="8164005" y="1344700"/>
                    <a:pt x="8164005" y="1361425"/>
                  </a:cubicBezTo>
                  <a:lnTo>
                    <a:pt x="8164005" y="1398799"/>
                  </a:lnTo>
                  <a:cubicBezTo>
                    <a:pt x="8164005" y="1424137"/>
                    <a:pt x="8149056" y="1436975"/>
                    <a:pt x="8119156" y="1437313"/>
                  </a:cubicBezTo>
                  <a:lnTo>
                    <a:pt x="8119156" y="1417802"/>
                  </a:lnTo>
                  <a:cubicBezTo>
                    <a:pt x="8126504" y="1417633"/>
                    <a:pt x="8131720" y="1415607"/>
                    <a:pt x="8134803" y="1411722"/>
                  </a:cubicBezTo>
                  <a:cubicBezTo>
                    <a:pt x="8137885" y="1407836"/>
                    <a:pt x="8139427" y="1401417"/>
                    <a:pt x="8139427" y="1392464"/>
                  </a:cubicBezTo>
                  <a:lnTo>
                    <a:pt x="8139427" y="1357116"/>
                  </a:lnTo>
                  <a:cubicBezTo>
                    <a:pt x="8139427" y="1339971"/>
                    <a:pt x="8147747" y="1329539"/>
                    <a:pt x="8164386" y="1325823"/>
                  </a:cubicBezTo>
                  <a:lnTo>
                    <a:pt x="8164386" y="1325443"/>
                  </a:lnTo>
                  <a:cubicBezTo>
                    <a:pt x="8147747" y="1321474"/>
                    <a:pt x="8139427" y="1310959"/>
                    <a:pt x="8139427" y="1293896"/>
                  </a:cubicBezTo>
                  <a:lnTo>
                    <a:pt x="8139427" y="1258169"/>
                  </a:lnTo>
                  <a:cubicBezTo>
                    <a:pt x="8139427" y="1242374"/>
                    <a:pt x="8132670" y="1234308"/>
                    <a:pt x="8119156" y="1233971"/>
                  </a:cubicBezTo>
                  <a:close/>
                  <a:moveTo>
                    <a:pt x="8101672" y="1214333"/>
                  </a:moveTo>
                  <a:lnTo>
                    <a:pt x="8101672" y="1233971"/>
                  </a:lnTo>
                  <a:cubicBezTo>
                    <a:pt x="8088243" y="1234308"/>
                    <a:pt x="8081528" y="1242374"/>
                    <a:pt x="8081528" y="1258169"/>
                  </a:cubicBezTo>
                  <a:lnTo>
                    <a:pt x="8081528" y="1293896"/>
                  </a:lnTo>
                  <a:cubicBezTo>
                    <a:pt x="8081528" y="1310959"/>
                    <a:pt x="8073124" y="1321474"/>
                    <a:pt x="8056316" y="1325443"/>
                  </a:cubicBezTo>
                  <a:lnTo>
                    <a:pt x="8056316" y="1325823"/>
                  </a:lnTo>
                  <a:cubicBezTo>
                    <a:pt x="8073124" y="1329539"/>
                    <a:pt x="8081528" y="1339971"/>
                    <a:pt x="8081528" y="1357116"/>
                  </a:cubicBezTo>
                  <a:lnTo>
                    <a:pt x="8081528" y="1392464"/>
                  </a:lnTo>
                  <a:cubicBezTo>
                    <a:pt x="8081528" y="1401501"/>
                    <a:pt x="8083027" y="1407941"/>
                    <a:pt x="8086026" y="1411784"/>
                  </a:cubicBezTo>
                  <a:cubicBezTo>
                    <a:pt x="8089024" y="1415627"/>
                    <a:pt x="8094240" y="1417633"/>
                    <a:pt x="8101672" y="1417802"/>
                  </a:cubicBezTo>
                  <a:lnTo>
                    <a:pt x="8101672" y="1437313"/>
                  </a:lnTo>
                  <a:cubicBezTo>
                    <a:pt x="8071604" y="1436975"/>
                    <a:pt x="8056570" y="1424137"/>
                    <a:pt x="8056570" y="1398799"/>
                  </a:cubicBezTo>
                  <a:lnTo>
                    <a:pt x="8056570" y="1361425"/>
                  </a:lnTo>
                  <a:cubicBezTo>
                    <a:pt x="8056570" y="1344700"/>
                    <a:pt x="8049981" y="1335916"/>
                    <a:pt x="8036805" y="1335071"/>
                  </a:cubicBezTo>
                  <a:lnTo>
                    <a:pt x="8036805" y="1316575"/>
                  </a:lnTo>
                  <a:cubicBezTo>
                    <a:pt x="8049981" y="1315730"/>
                    <a:pt x="8056570" y="1306777"/>
                    <a:pt x="8056570" y="1289715"/>
                  </a:cubicBezTo>
                  <a:lnTo>
                    <a:pt x="8056570" y="1253354"/>
                  </a:lnTo>
                  <a:cubicBezTo>
                    <a:pt x="8056570" y="1227678"/>
                    <a:pt x="8071604" y="1214672"/>
                    <a:pt x="8101672" y="1214333"/>
                  </a:cubicBezTo>
                  <a:close/>
                  <a:moveTo>
                    <a:pt x="5543447" y="1214333"/>
                  </a:moveTo>
                  <a:cubicBezTo>
                    <a:pt x="5573347" y="1214672"/>
                    <a:pt x="5588296" y="1227678"/>
                    <a:pt x="5588296" y="1253354"/>
                  </a:cubicBezTo>
                  <a:lnTo>
                    <a:pt x="5588296" y="1289715"/>
                  </a:lnTo>
                  <a:cubicBezTo>
                    <a:pt x="5588296" y="1306777"/>
                    <a:pt x="5594843" y="1315730"/>
                    <a:pt x="5607934" y="1316575"/>
                  </a:cubicBezTo>
                  <a:lnTo>
                    <a:pt x="5607934" y="1335071"/>
                  </a:lnTo>
                  <a:cubicBezTo>
                    <a:pt x="5594843" y="1335916"/>
                    <a:pt x="5588296" y="1344700"/>
                    <a:pt x="5588296" y="1361425"/>
                  </a:cubicBezTo>
                  <a:lnTo>
                    <a:pt x="5588296" y="1398799"/>
                  </a:lnTo>
                  <a:cubicBezTo>
                    <a:pt x="5588296" y="1424137"/>
                    <a:pt x="5573347" y="1436975"/>
                    <a:pt x="5543447" y="1437313"/>
                  </a:cubicBezTo>
                  <a:lnTo>
                    <a:pt x="5543447" y="1417802"/>
                  </a:lnTo>
                  <a:cubicBezTo>
                    <a:pt x="5550795" y="1417633"/>
                    <a:pt x="5556010" y="1415607"/>
                    <a:pt x="5559093" y="1411722"/>
                  </a:cubicBezTo>
                  <a:cubicBezTo>
                    <a:pt x="5562177" y="1407836"/>
                    <a:pt x="5563718" y="1401417"/>
                    <a:pt x="5563718" y="1392464"/>
                  </a:cubicBezTo>
                  <a:lnTo>
                    <a:pt x="5563718" y="1357116"/>
                  </a:lnTo>
                  <a:cubicBezTo>
                    <a:pt x="5563718" y="1339971"/>
                    <a:pt x="5572037" y="1329539"/>
                    <a:pt x="5588677" y="1325823"/>
                  </a:cubicBezTo>
                  <a:lnTo>
                    <a:pt x="5588677" y="1325443"/>
                  </a:lnTo>
                  <a:cubicBezTo>
                    <a:pt x="5572037" y="1321474"/>
                    <a:pt x="5563718" y="1310959"/>
                    <a:pt x="5563718" y="1293896"/>
                  </a:cubicBezTo>
                  <a:lnTo>
                    <a:pt x="5563718" y="1258169"/>
                  </a:lnTo>
                  <a:cubicBezTo>
                    <a:pt x="5563718" y="1242374"/>
                    <a:pt x="5556961" y="1234308"/>
                    <a:pt x="5543447" y="1233971"/>
                  </a:cubicBezTo>
                  <a:close/>
                  <a:moveTo>
                    <a:pt x="5525964" y="1214333"/>
                  </a:moveTo>
                  <a:lnTo>
                    <a:pt x="5525964" y="1233971"/>
                  </a:lnTo>
                  <a:cubicBezTo>
                    <a:pt x="5512533" y="1234308"/>
                    <a:pt x="5505819" y="1242374"/>
                    <a:pt x="5505819" y="1258169"/>
                  </a:cubicBezTo>
                  <a:lnTo>
                    <a:pt x="5505819" y="1293896"/>
                  </a:lnTo>
                  <a:cubicBezTo>
                    <a:pt x="5505819" y="1310959"/>
                    <a:pt x="5497414" y="1321474"/>
                    <a:pt x="5480606" y="1325443"/>
                  </a:cubicBezTo>
                  <a:lnTo>
                    <a:pt x="5480606" y="1325823"/>
                  </a:lnTo>
                  <a:cubicBezTo>
                    <a:pt x="5497414" y="1329539"/>
                    <a:pt x="5505819" y="1339971"/>
                    <a:pt x="5505819" y="1357116"/>
                  </a:cubicBezTo>
                  <a:lnTo>
                    <a:pt x="5505819" y="1392464"/>
                  </a:lnTo>
                  <a:cubicBezTo>
                    <a:pt x="5505819" y="1401501"/>
                    <a:pt x="5507318" y="1407941"/>
                    <a:pt x="5510316" y="1411784"/>
                  </a:cubicBezTo>
                  <a:cubicBezTo>
                    <a:pt x="5513314" y="1415627"/>
                    <a:pt x="5518530" y="1417633"/>
                    <a:pt x="5525964" y="1417802"/>
                  </a:cubicBezTo>
                  <a:lnTo>
                    <a:pt x="5525964" y="1437313"/>
                  </a:lnTo>
                  <a:cubicBezTo>
                    <a:pt x="5495894" y="1436975"/>
                    <a:pt x="5480860" y="1424137"/>
                    <a:pt x="5480860" y="1398799"/>
                  </a:cubicBezTo>
                  <a:lnTo>
                    <a:pt x="5480860" y="1361425"/>
                  </a:lnTo>
                  <a:cubicBezTo>
                    <a:pt x="5480860" y="1344700"/>
                    <a:pt x="5474272" y="1335916"/>
                    <a:pt x="5461096" y="1335071"/>
                  </a:cubicBezTo>
                  <a:lnTo>
                    <a:pt x="5461096" y="1316575"/>
                  </a:lnTo>
                  <a:cubicBezTo>
                    <a:pt x="5474272" y="1315730"/>
                    <a:pt x="5480860" y="1306777"/>
                    <a:pt x="5480860" y="1289715"/>
                  </a:cubicBezTo>
                  <a:lnTo>
                    <a:pt x="5480860" y="1253354"/>
                  </a:lnTo>
                  <a:cubicBezTo>
                    <a:pt x="5480860" y="1227678"/>
                    <a:pt x="5495894" y="1214672"/>
                    <a:pt x="5525964" y="1214333"/>
                  </a:cubicBezTo>
                  <a:close/>
                  <a:moveTo>
                    <a:pt x="4877346" y="1214333"/>
                  </a:moveTo>
                  <a:cubicBezTo>
                    <a:pt x="4907245" y="1214672"/>
                    <a:pt x="4922195" y="1227678"/>
                    <a:pt x="4922195" y="1253354"/>
                  </a:cubicBezTo>
                  <a:lnTo>
                    <a:pt x="4922195" y="1289715"/>
                  </a:lnTo>
                  <a:cubicBezTo>
                    <a:pt x="4922195" y="1306777"/>
                    <a:pt x="4928740" y="1315730"/>
                    <a:pt x="4941832" y="1316575"/>
                  </a:cubicBezTo>
                  <a:lnTo>
                    <a:pt x="4941832" y="1335071"/>
                  </a:lnTo>
                  <a:cubicBezTo>
                    <a:pt x="4928740" y="1335916"/>
                    <a:pt x="4922195" y="1344700"/>
                    <a:pt x="4922195" y="1361425"/>
                  </a:cubicBezTo>
                  <a:lnTo>
                    <a:pt x="4922195" y="1398799"/>
                  </a:lnTo>
                  <a:cubicBezTo>
                    <a:pt x="4922195" y="1424137"/>
                    <a:pt x="4907245" y="1436975"/>
                    <a:pt x="4877346" y="1437313"/>
                  </a:cubicBezTo>
                  <a:lnTo>
                    <a:pt x="4877346" y="1417802"/>
                  </a:lnTo>
                  <a:cubicBezTo>
                    <a:pt x="4884693" y="1417633"/>
                    <a:pt x="4889908" y="1415607"/>
                    <a:pt x="4892991" y="1411722"/>
                  </a:cubicBezTo>
                  <a:cubicBezTo>
                    <a:pt x="4896075" y="1407836"/>
                    <a:pt x="4897617" y="1401417"/>
                    <a:pt x="4897617" y="1392464"/>
                  </a:cubicBezTo>
                  <a:lnTo>
                    <a:pt x="4897617" y="1357116"/>
                  </a:lnTo>
                  <a:cubicBezTo>
                    <a:pt x="4897617" y="1339971"/>
                    <a:pt x="4905936" y="1329539"/>
                    <a:pt x="4922575" y="1325823"/>
                  </a:cubicBezTo>
                  <a:lnTo>
                    <a:pt x="4922575" y="1325443"/>
                  </a:lnTo>
                  <a:cubicBezTo>
                    <a:pt x="4905936" y="1321474"/>
                    <a:pt x="4897617" y="1310959"/>
                    <a:pt x="4897617" y="1293896"/>
                  </a:cubicBezTo>
                  <a:lnTo>
                    <a:pt x="4897617" y="1258169"/>
                  </a:lnTo>
                  <a:cubicBezTo>
                    <a:pt x="4897617" y="1242374"/>
                    <a:pt x="4890859" y="1234308"/>
                    <a:pt x="4877346" y="1233971"/>
                  </a:cubicBezTo>
                  <a:close/>
                  <a:moveTo>
                    <a:pt x="4859861" y="1214333"/>
                  </a:moveTo>
                  <a:lnTo>
                    <a:pt x="4859861" y="1233971"/>
                  </a:lnTo>
                  <a:cubicBezTo>
                    <a:pt x="4846432" y="1234308"/>
                    <a:pt x="4839717" y="1242374"/>
                    <a:pt x="4839717" y="1258169"/>
                  </a:cubicBezTo>
                  <a:lnTo>
                    <a:pt x="4839717" y="1293896"/>
                  </a:lnTo>
                  <a:cubicBezTo>
                    <a:pt x="4839717" y="1310959"/>
                    <a:pt x="4831313" y="1321474"/>
                    <a:pt x="4814505" y="1325443"/>
                  </a:cubicBezTo>
                  <a:lnTo>
                    <a:pt x="4814505" y="1325823"/>
                  </a:lnTo>
                  <a:cubicBezTo>
                    <a:pt x="4831313" y="1329539"/>
                    <a:pt x="4839717" y="1339971"/>
                    <a:pt x="4839717" y="1357116"/>
                  </a:cubicBezTo>
                  <a:lnTo>
                    <a:pt x="4839717" y="1392464"/>
                  </a:lnTo>
                  <a:cubicBezTo>
                    <a:pt x="4839717" y="1401501"/>
                    <a:pt x="4841217" y="1407941"/>
                    <a:pt x="4844214" y="1411784"/>
                  </a:cubicBezTo>
                  <a:cubicBezTo>
                    <a:pt x="4847212" y="1415627"/>
                    <a:pt x="4852428" y="1417633"/>
                    <a:pt x="4859861" y="1417802"/>
                  </a:cubicBezTo>
                  <a:lnTo>
                    <a:pt x="4859861" y="1437313"/>
                  </a:lnTo>
                  <a:cubicBezTo>
                    <a:pt x="4829792" y="1436975"/>
                    <a:pt x="4814758" y="1424137"/>
                    <a:pt x="4814758" y="1398799"/>
                  </a:cubicBezTo>
                  <a:lnTo>
                    <a:pt x="4814758" y="1361425"/>
                  </a:lnTo>
                  <a:cubicBezTo>
                    <a:pt x="4814758" y="1344700"/>
                    <a:pt x="4808170" y="1335916"/>
                    <a:pt x="4794994" y="1335071"/>
                  </a:cubicBezTo>
                  <a:lnTo>
                    <a:pt x="4794994" y="1316575"/>
                  </a:lnTo>
                  <a:cubicBezTo>
                    <a:pt x="4808170" y="1315730"/>
                    <a:pt x="4814758" y="1306777"/>
                    <a:pt x="4814758" y="1289715"/>
                  </a:cubicBezTo>
                  <a:lnTo>
                    <a:pt x="4814758" y="1253354"/>
                  </a:lnTo>
                  <a:cubicBezTo>
                    <a:pt x="4814758" y="1227678"/>
                    <a:pt x="4829792" y="1214672"/>
                    <a:pt x="4859861" y="1214333"/>
                  </a:cubicBezTo>
                  <a:close/>
                  <a:moveTo>
                    <a:pt x="2052800" y="1214333"/>
                  </a:moveTo>
                  <a:cubicBezTo>
                    <a:pt x="2082700" y="1214672"/>
                    <a:pt x="2097651" y="1227678"/>
                    <a:pt x="2097651" y="1253354"/>
                  </a:cubicBezTo>
                  <a:lnTo>
                    <a:pt x="2097651" y="1289715"/>
                  </a:lnTo>
                  <a:cubicBezTo>
                    <a:pt x="2097651" y="1306777"/>
                    <a:pt x="2104196" y="1315730"/>
                    <a:pt x="2117288" y="1316575"/>
                  </a:cubicBezTo>
                  <a:lnTo>
                    <a:pt x="2117288" y="1335071"/>
                  </a:lnTo>
                  <a:cubicBezTo>
                    <a:pt x="2104196" y="1335916"/>
                    <a:pt x="2097651" y="1344700"/>
                    <a:pt x="2097651" y="1361425"/>
                  </a:cubicBezTo>
                  <a:lnTo>
                    <a:pt x="2097651" y="1398799"/>
                  </a:lnTo>
                  <a:cubicBezTo>
                    <a:pt x="2097651" y="1424137"/>
                    <a:pt x="2082700" y="1436975"/>
                    <a:pt x="2052800" y="1437313"/>
                  </a:cubicBezTo>
                  <a:lnTo>
                    <a:pt x="2052800" y="1417802"/>
                  </a:lnTo>
                  <a:cubicBezTo>
                    <a:pt x="2060149" y="1417633"/>
                    <a:pt x="2065365" y="1415607"/>
                    <a:pt x="2068447" y="1411722"/>
                  </a:cubicBezTo>
                  <a:cubicBezTo>
                    <a:pt x="2071531" y="1407836"/>
                    <a:pt x="2073072" y="1401417"/>
                    <a:pt x="2073072" y="1392464"/>
                  </a:cubicBezTo>
                  <a:lnTo>
                    <a:pt x="2073072" y="1357116"/>
                  </a:lnTo>
                  <a:cubicBezTo>
                    <a:pt x="2073072" y="1339971"/>
                    <a:pt x="2081392" y="1329539"/>
                    <a:pt x="2098031" y="1325823"/>
                  </a:cubicBezTo>
                  <a:lnTo>
                    <a:pt x="2098031" y="1325443"/>
                  </a:lnTo>
                  <a:cubicBezTo>
                    <a:pt x="2081392" y="1321474"/>
                    <a:pt x="2073072" y="1310959"/>
                    <a:pt x="2073072" y="1293896"/>
                  </a:cubicBezTo>
                  <a:lnTo>
                    <a:pt x="2073072" y="1258169"/>
                  </a:lnTo>
                  <a:cubicBezTo>
                    <a:pt x="2073072" y="1242374"/>
                    <a:pt x="2066315" y="1234308"/>
                    <a:pt x="2052800" y="1233971"/>
                  </a:cubicBezTo>
                  <a:close/>
                  <a:moveTo>
                    <a:pt x="2035316" y="1214333"/>
                  </a:moveTo>
                  <a:lnTo>
                    <a:pt x="2035316" y="1233971"/>
                  </a:lnTo>
                  <a:cubicBezTo>
                    <a:pt x="2021887" y="1234308"/>
                    <a:pt x="2015173" y="1242374"/>
                    <a:pt x="2015173" y="1258169"/>
                  </a:cubicBezTo>
                  <a:lnTo>
                    <a:pt x="2015173" y="1293896"/>
                  </a:lnTo>
                  <a:cubicBezTo>
                    <a:pt x="2015173" y="1310959"/>
                    <a:pt x="2006768" y="1321474"/>
                    <a:pt x="1989960" y="1325443"/>
                  </a:cubicBezTo>
                  <a:lnTo>
                    <a:pt x="1989960" y="1325823"/>
                  </a:lnTo>
                  <a:cubicBezTo>
                    <a:pt x="2006768" y="1329539"/>
                    <a:pt x="2015173" y="1339971"/>
                    <a:pt x="2015173" y="1357116"/>
                  </a:cubicBezTo>
                  <a:lnTo>
                    <a:pt x="2015173" y="1392464"/>
                  </a:lnTo>
                  <a:cubicBezTo>
                    <a:pt x="2015173" y="1401501"/>
                    <a:pt x="2016672" y="1407941"/>
                    <a:pt x="2019670" y="1411784"/>
                  </a:cubicBezTo>
                  <a:cubicBezTo>
                    <a:pt x="2022669" y="1415627"/>
                    <a:pt x="2027883" y="1417633"/>
                    <a:pt x="2035316" y="1417802"/>
                  </a:cubicBezTo>
                  <a:lnTo>
                    <a:pt x="2035316" y="1437313"/>
                  </a:lnTo>
                  <a:cubicBezTo>
                    <a:pt x="2005247" y="1436975"/>
                    <a:pt x="1990214" y="1424137"/>
                    <a:pt x="1990214" y="1398799"/>
                  </a:cubicBezTo>
                  <a:lnTo>
                    <a:pt x="1990214" y="1361425"/>
                  </a:lnTo>
                  <a:cubicBezTo>
                    <a:pt x="1990214" y="1344700"/>
                    <a:pt x="1983625" y="1335916"/>
                    <a:pt x="1970449" y="1335071"/>
                  </a:cubicBezTo>
                  <a:lnTo>
                    <a:pt x="1970449" y="1316575"/>
                  </a:lnTo>
                  <a:cubicBezTo>
                    <a:pt x="1983625" y="1315730"/>
                    <a:pt x="1990214" y="1306777"/>
                    <a:pt x="1990214" y="1289715"/>
                  </a:cubicBezTo>
                  <a:lnTo>
                    <a:pt x="1990214" y="1253354"/>
                  </a:lnTo>
                  <a:cubicBezTo>
                    <a:pt x="1990214" y="1227678"/>
                    <a:pt x="2005247" y="1214672"/>
                    <a:pt x="2035316" y="1214333"/>
                  </a:cubicBezTo>
                  <a:close/>
                  <a:moveTo>
                    <a:pt x="8998507" y="1084932"/>
                  </a:moveTo>
                  <a:cubicBezTo>
                    <a:pt x="8993957" y="1102952"/>
                    <a:pt x="8988778" y="1114327"/>
                    <a:pt x="8975158" y="1124444"/>
                  </a:cubicBezTo>
                  <a:cubicBezTo>
                    <a:pt x="8973781" y="1131838"/>
                    <a:pt x="8986174" y="1127887"/>
                    <a:pt x="8991682" y="1127857"/>
                  </a:cubicBezTo>
                  <a:cubicBezTo>
                    <a:pt x="8997190" y="1127827"/>
                    <a:pt x="9006739" y="1129309"/>
                    <a:pt x="9008205" y="1124265"/>
                  </a:cubicBezTo>
                  <a:cubicBezTo>
                    <a:pt x="9009193" y="1120792"/>
                    <a:pt x="9006768" y="1118128"/>
                    <a:pt x="9005242" y="1114746"/>
                  </a:cubicBezTo>
                  <a:cubicBezTo>
                    <a:pt x="9004464" y="1111034"/>
                    <a:pt x="9007352" y="1106424"/>
                    <a:pt x="9006230" y="1101455"/>
                  </a:cubicBezTo>
                  <a:cubicBezTo>
                    <a:pt x="9005107" y="1096486"/>
                    <a:pt x="9001799" y="1088643"/>
                    <a:pt x="8998507" y="1084932"/>
                  </a:cubicBezTo>
                  <a:close/>
                  <a:moveTo>
                    <a:pt x="2937770" y="1084932"/>
                  </a:moveTo>
                  <a:cubicBezTo>
                    <a:pt x="2933221" y="1102952"/>
                    <a:pt x="2928041" y="1114327"/>
                    <a:pt x="2914421" y="1124444"/>
                  </a:cubicBezTo>
                  <a:cubicBezTo>
                    <a:pt x="2913045" y="1131838"/>
                    <a:pt x="2925438" y="1127887"/>
                    <a:pt x="2930946" y="1127857"/>
                  </a:cubicBezTo>
                  <a:cubicBezTo>
                    <a:pt x="2936453" y="1127827"/>
                    <a:pt x="2946002" y="1129309"/>
                    <a:pt x="2947468" y="1124265"/>
                  </a:cubicBezTo>
                  <a:cubicBezTo>
                    <a:pt x="2948456" y="1120792"/>
                    <a:pt x="2946032" y="1118128"/>
                    <a:pt x="2944505" y="1114746"/>
                  </a:cubicBezTo>
                  <a:cubicBezTo>
                    <a:pt x="2943727" y="1111034"/>
                    <a:pt x="2946616" y="1106424"/>
                    <a:pt x="2945494" y="1101455"/>
                  </a:cubicBezTo>
                  <a:cubicBezTo>
                    <a:pt x="2944370" y="1096486"/>
                    <a:pt x="2941063" y="1088643"/>
                    <a:pt x="2937770" y="1084932"/>
                  </a:cubicBezTo>
                  <a:close/>
                  <a:moveTo>
                    <a:pt x="8837402" y="1068408"/>
                  </a:moveTo>
                  <a:cubicBezTo>
                    <a:pt x="8832553" y="1073946"/>
                    <a:pt x="8823663" y="1084513"/>
                    <a:pt x="8823663" y="1088793"/>
                  </a:cubicBezTo>
                  <a:cubicBezTo>
                    <a:pt x="8823932" y="1094121"/>
                    <a:pt x="8838210" y="1109867"/>
                    <a:pt x="8845305" y="1110525"/>
                  </a:cubicBezTo>
                  <a:cubicBezTo>
                    <a:pt x="8851172" y="1110675"/>
                    <a:pt x="8851741" y="1107592"/>
                    <a:pt x="8854285" y="1103251"/>
                  </a:cubicBezTo>
                  <a:cubicBezTo>
                    <a:pt x="8846143" y="1091727"/>
                    <a:pt x="8842760" y="1085860"/>
                    <a:pt x="8837402" y="1068408"/>
                  </a:cubicBezTo>
                  <a:close/>
                  <a:moveTo>
                    <a:pt x="2776666" y="1068408"/>
                  </a:moveTo>
                  <a:cubicBezTo>
                    <a:pt x="2771816" y="1073946"/>
                    <a:pt x="2762926" y="1084513"/>
                    <a:pt x="2762926" y="1088793"/>
                  </a:cubicBezTo>
                  <a:cubicBezTo>
                    <a:pt x="2763195" y="1094121"/>
                    <a:pt x="2777474" y="1109867"/>
                    <a:pt x="2784568" y="1110525"/>
                  </a:cubicBezTo>
                  <a:cubicBezTo>
                    <a:pt x="2790435" y="1110675"/>
                    <a:pt x="2791004" y="1107592"/>
                    <a:pt x="2793548" y="1103251"/>
                  </a:cubicBezTo>
                  <a:cubicBezTo>
                    <a:pt x="2785406" y="1091727"/>
                    <a:pt x="2782024" y="1085860"/>
                    <a:pt x="2776666" y="1068408"/>
                  </a:cubicBezTo>
                  <a:close/>
                  <a:moveTo>
                    <a:pt x="8820903" y="999655"/>
                  </a:moveTo>
                  <a:lnTo>
                    <a:pt x="8820701" y="1001181"/>
                  </a:lnTo>
                  <a:lnTo>
                    <a:pt x="8820634" y="999913"/>
                  </a:lnTo>
                  <a:close/>
                  <a:moveTo>
                    <a:pt x="2760166" y="999654"/>
                  </a:moveTo>
                  <a:lnTo>
                    <a:pt x="2759965" y="1001182"/>
                  </a:lnTo>
                  <a:lnTo>
                    <a:pt x="2759898" y="999913"/>
                  </a:lnTo>
                  <a:close/>
                  <a:moveTo>
                    <a:pt x="9024190" y="972275"/>
                  </a:moveTo>
                  <a:cubicBezTo>
                    <a:pt x="9024153" y="972448"/>
                    <a:pt x="9021275" y="973518"/>
                    <a:pt x="9020171" y="975149"/>
                  </a:cubicBezTo>
                  <a:cubicBezTo>
                    <a:pt x="9024740" y="976671"/>
                    <a:pt x="9026344" y="978104"/>
                    <a:pt x="9027141" y="983577"/>
                  </a:cubicBezTo>
                  <a:cubicBezTo>
                    <a:pt x="9027356" y="983536"/>
                    <a:pt x="9028860" y="982322"/>
                    <a:pt x="9034068" y="981839"/>
                  </a:cubicBezTo>
                  <a:cubicBezTo>
                    <a:pt x="9022244" y="986569"/>
                    <a:pt x="9016258" y="991658"/>
                    <a:pt x="9007667" y="1001147"/>
                  </a:cubicBezTo>
                  <a:cubicBezTo>
                    <a:pt x="9010383" y="995803"/>
                    <a:pt x="9012698" y="993539"/>
                    <a:pt x="9012717" y="993472"/>
                  </a:cubicBezTo>
                  <a:cubicBezTo>
                    <a:pt x="9008220" y="991944"/>
                    <a:pt x="9006955" y="991584"/>
                    <a:pt x="9004883" y="986464"/>
                  </a:cubicBezTo>
                  <a:cubicBezTo>
                    <a:pt x="9004610" y="986614"/>
                    <a:pt x="9004157" y="986382"/>
                    <a:pt x="9000033" y="990550"/>
                  </a:cubicBezTo>
                  <a:cubicBezTo>
                    <a:pt x="9007277" y="976302"/>
                    <a:pt x="9014072" y="975389"/>
                    <a:pt x="9024190" y="972275"/>
                  </a:cubicBezTo>
                  <a:close/>
                  <a:moveTo>
                    <a:pt x="2963453" y="972275"/>
                  </a:moveTo>
                  <a:cubicBezTo>
                    <a:pt x="2963416" y="972448"/>
                    <a:pt x="2960539" y="973518"/>
                    <a:pt x="2959436" y="975149"/>
                  </a:cubicBezTo>
                  <a:cubicBezTo>
                    <a:pt x="2964003" y="976671"/>
                    <a:pt x="2965608" y="978104"/>
                    <a:pt x="2966404" y="983577"/>
                  </a:cubicBezTo>
                  <a:cubicBezTo>
                    <a:pt x="2966619" y="983536"/>
                    <a:pt x="2968123" y="982322"/>
                    <a:pt x="2973332" y="981839"/>
                  </a:cubicBezTo>
                  <a:cubicBezTo>
                    <a:pt x="2961509" y="986569"/>
                    <a:pt x="2955521" y="991658"/>
                    <a:pt x="2946930" y="1001147"/>
                  </a:cubicBezTo>
                  <a:cubicBezTo>
                    <a:pt x="2949646" y="995803"/>
                    <a:pt x="2951962" y="993539"/>
                    <a:pt x="2951980" y="993472"/>
                  </a:cubicBezTo>
                  <a:cubicBezTo>
                    <a:pt x="2947484" y="991944"/>
                    <a:pt x="2946218" y="991584"/>
                    <a:pt x="2944146" y="986464"/>
                  </a:cubicBezTo>
                  <a:cubicBezTo>
                    <a:pt x="2943873" y="986614"/>
                    <a:pt x="2943420" y="986382"/>
                    <a:pt x="2939297" y="990550"/>
                  </a:cubicBezTo>
                  <a:cubicBezTo>
                    <a:pt x="2946540" y="976302"/>
                    <a:pt x="2953336" y="975389"/>
                    <a:pt x="2963453" y="972275"/>
                  </a:cubicBezTo>
                  <a:close/>
                  <a:moveTo>
                    <a:pt x="8997441" y="955753"/>
                  </a:moveTo>
                  <a:cubicBezTo>
                    <a:pt x="8998146" y="955697"/>
                    <a:pt x="8998911" y="955717"/>
                    <a:pt x="8999742" y="955790"/>
                  </a:cubicBezTo>
                  <a:cubicBezTo>
                    <a:pt x="9001957" y="955984"/>
                    <a:pt x="9004643" y="956553"/>
                    <a:pt x="9007936" y="957054"/>
                  </a:cubicBezTo>
                  <a:cubicBezTo>
                    <a:pt x="8996741" y="958820"/>
                    <a:pt x="8993628" y="965076"/>
                    <a:pt x="8988898" y="976092"/>
                  </a:cubicBezTo>
                  <a:cubicBezTo>
                    <a:pt x="8990470" y="960259"/>
                    <a:pt x="8992505" y="956144"/>
                    <a:pt x="8997441" y="955753"/>
                  </a:cubicBezTo>
                  <a:close/>
                  <a:moveTo>
                    <a:pt x="2936704" y="955753"/>
                  </a:moveTo>
                  <a:cubicBezTo>
                    <a:pt x="2937410" y="955697"/>
                    <a:pt x="2938175" y="955717"/>
                    <a:pt x="2939005" y="955790"/>
                  </a:cubicBezTo>
                  <a:cubicBezTo>
                    <a:pt x="2941220" y="955984"/>
                    <a:pt x="2943906" y="956553"/>
                    <a:pt x="2947199" y="957054"/>
                  </a:cubicBezTo>
                  <a:cubicBezTo>
                    <a:pt x="2936004" y="958820"/>
                    <a:pt x="2932891" y="965076"/>
                    <a:pt x="2928161" y="976092"/>
                  </a:cubicBezTo>
                  <a:cubicBezTo>
                    <a:pt x="2929733" y="960259"/>
                    <a:pt x="2931769" y="956144"/>
                    <a:pt x="2936704" y="955753"/>
                  </a:cubicBezTo>
                  <a:close/>
                  <a:moveTo>
                    <a:pt x="9100739" y="933525"/>
                  </a:moveTo>
                  <a:cubicBezTo>
                    <a:pt x="9102348" y="935596"/>
                    <a:pt x="9097454" y="943389"/>
                    <a:pt x="9092486" y="947541"/>
                  </a:cubicBezTo>
                  <a:cubicBezTo>
                    <a:pt x="9087519" y="951693"/>
                    <a:pt x="9080200" y="951267"/>
                    <a:pt x="9080228" y="949546"/>
                  </a:cubicBezTo>
                  <a:cubicBezTo>
                    <a:pt x="9080256" y="947825"/>
                    <a:pt x="9088026" y="945542"/>
                    <a:pt x="9091445" y="942872"/>
                  </a:cubicBezTo>
                  <a:cubicBezTo>
                    <a:pt x="9094863" y="940202"/>
                    <a:pt x="9099603" y="932533"/>
                    <a:pt x="9100739" y="933525"/>
                  </a:cubicBezTo>
                  <a:close/>
                  <a:moveTo>
                    <a:pt x="3040003" y="933525"/>
                  </a:moveTo>
                  <a:cubicBezTo>
                    <a:pt x="3041611" y="935596"/>
                    <a:pt x="3036717" y="943389"/>
                    <a:pt x="3031749" y="947541"/>
                  </a:cubicBezTo>
                  <a:cubicBezTo>
                    <a:pt x="3026782" y="951693"/>
                    <a:pt x="3019463" y="951267"/>
                    <a:pt x="3019491" y="949546"/>
                  </a:cubicBezTo>
                  <a:cubicBezTo>
                    <a:pt x="3019519" y="947825"/>
                    <a:pt x="3027290" y="945542"/>
                    <a:pt x="3030708" y="942872"/>
                  </a:cubicBezTo>
                  <a:cubicBezTo>
                    <a:pt x="3034127" y="940202"/>
                    <a:pt x="3038867" y="932533"/>
                    <a:pt x="3040003" y="933525"/>
                  </a:cubicBezTo>
                  <a:close/>
                  <a:moveTo>
                    <a:pt x="10081433" y="916889"/>
                  </a:moveTo>
                  <a:cubicBezTo>
                    <a:pt x="10117890" y="917227"/>
                    <a:pt x="10136119" y="930234"/>
                    <a:pt x="10136119" y="955910"/>
                  </a:cubicBezTo>
                  <a:lnTo>
                    <a:pt x="10136119" y="992271"/>
                  </a:lnTo>
                  <a:cubicBezTo>
                    <a:pt x="10136119" y="1009333"/>
                    <a:pt x="10144100" y="1018286"/>
                    <a:pt x="10160063" y="1019131"/>
                  </a:cubicBezTo>
                  <a:lnTo>
                    <a:pt x="10160063" y="1037627"/>
                  </a:lnTo>
                  <a:cubicBezTo>
                    <a:pt x="10144100" y="1038472"/>
                    <a:pt x="10136119" y="1047256"/>
                    <a:pt x="10136119" y="1063980"/>
                  </a:cubicBezTo>
                  <a:lnTo>
                    <a:pt x="10136119" y="1101355"/>
                  </a:lnTo>
                  <a:cubicBezTo>
                    <a:pt x="10136119" y="1126693"/>
                    <a:pt x="10117890" y="1139531"/>
                    <a:pt x="10081433" y="1139869"/>
                  </a:cubicBezTo>
                  <a:lnTo>
                    <a:pt x="10081433" y="1120358"/>
                  </a:lnTo>
                  <a:cubicBezTo>
                    <a:pt x="10090393" y="1120189"/>
                    <a:pt x="10096752" y="1118162"/>
                    <a:pt x="10100511" y="1114277"/>
                  </a:cubicBezTo>
                  <a:cubicBezTo>
                    <a:pt x="10104270" y="1110392"/>
                    <a:pt x="10106150" y="1103973"/>
                    <a:pt x="10106150" y="1095020"/>
                  </a:cubicBezTo>
                  <a:lnTo>
                    <a:pt x="10106150" y="1059672"/>
                  </a:lnTo>
                  <a:cubicBezTo>
                    <a:pt x="10106150" y="1042527"/>
                    <a:pt x="10116294" y="1032095"/>
                    <a:pt x="10136582" y="1028379"/>
                  </a:cubicBezTo>
                  <a:lnTo>
                    <a:pt x="10136582" y="1027999"/>
                  </a:lnTo>
                  <a:cubicBezTo>
                    <a:pt x="10116294" y="1024029"/>
                    <a:pt x="10106150" y="1013514"/>
                    <a:pt x="10106150" y="996452"/>
                  </a:cubicBezTo>
                  <a:lnTo>
                    <a:pt x="10106150" y="960725"/>
                  </a:lnTo>
                  <a:cubicBezTo>
                    <a:pt x="10106150" y="944930"/>
                    <a:pt x="10097911" y="936864"/>
                    <a:pt x="10081433" y="936527"/>
                  </a:cubicBezTo>
                  <a:close/>
                  <a:moveTo>
                    <a:pt x="10060114" y="916889"/>
                  </a:moveTo>
                  <a:lnTo>
                    <a:pt x="10060114" y="936527"/>
                  </a:lnTo>
                  <a:cubicBezTo>
                    <a:pt x="10043740" y="936864"/>
                    <a:pt x="10035552" y="944930"/>
                    <a:pt x="10035552" y="960725"/>
                  </a:cubicBezTo>
                  <a:lnTo>
                    <a:pt x="10035552" y="996452"/>
                  </a:lnTo>
                  <a:cubicBezTo>
                    <a:pt x="10035552" y="1013514"/>
                    <a:pt x="10025305" y="1024029"/>
                    <a:pt x="10004811" y="1027999"/>
                  </a:cubicBezTo>
                  <a:lnTo>
                    <a:pt x="10004811" y="1028379"/>
                  </a:lnTo>
                  <a:cubicBezTo>
                    <a:pt x="10025305" y="1032095"/>
                    <a:pt x="10035552" y="1042527"/>
                    <a:pt x="10035552" y="1059672"/>
                  </a:cubicBezTo>
                  <a:lnTo>
                    <a:pt x="10035552" y="1095020"/>
                  </a:lnTo>
                  <a:cubicBezTo>
                    <a:pt x="10035552" y="1104057"/>
                    <a:pt x="10037380" y="1110497"/>
                    <a:pt x="10041036" y="1114340"/>
                  </a:cubicBezTo>
                  <a:cubicBezTo>
                    <a:pt x="10044692" y="1118183"/>
                    <a:pt x="10051052" y="1120189"/>
                    <a:pt x="10060114" y="1120358"/>
                  </a:cubicBezTo>
                  <a:lnTo>
                    <a:pt x="10060114" y="1139869"/>
                  </a:lnTo>
                  <a:cubicBezTo>
                    <a:pt x="10023451" y="1139531"/>
                    <a:pt x="10005120" y="1126693"/>
                    <a:pt x="10005120" y="1101355"/>
                  </a:cubicBezTo>
                  <a:lnTo>
                    <a:pt x="10005120" y="1063980"/>
                  </a:lnTo>
                  <a:cubicBezTo>
                    <a:pt x="10005120" y="1047256"/>
                    <a:pt x="9997087" y="1038472"/>
                    <a:pt x="9981021" y="1037627"/>
                  </a:cubicBezTo>
                  <a:lnTo>
                    <a:pt x="9981021" y="1019131"/>
                  </a:lnTo>
                  <a:cubicBezTo>
                    <a:pt x="9997087" y="1018286"/>
                    <a:pt x="10005120" y="1009333"/>
                    <a:pt x="10005120" y="992271"/>
                  </a:cubicBezTo>
                  <a:lnTo>
                    <a:pt x="10005120" y="955910"/>
                  </a:lnTo>
                  <a:cubicBezTo>
                    <a:pt x="10005120" y="930234"/>
                    <a:pt x="10023451" y="917227"/>
                    <a:pt x="10060114" y="916889"/>
                  </a:cubicBezTo>
                  <a:close/>
                  <a:moveTo>
                    <a:pt x="4018207" y="916889"/>
                  </a:moveTo>
                  <a:cubicBezTo>
                    <a:pt x="4054665" y="917227"/>
                    <a:pt x="4072893" y="930234"/>
                    <a:pt x="4072893" y="955910"/>
                  </a:cubicBezTo>
                  <a:lnTo>
                    <a:pt x="4072893" y="992271"/>
                  </a:lnTo>
                  <a:cubicBezTo>
                    <a:pt x="4072893" y="1009333"/>
                    <a:pt x="4080874" y="1018286"/>
                    <a:pt x="4096837" y="1019131"/>
                  </a:cubicBezTo>
                  <a:lnTo>
                    <a:pt x="4096837" y="1037627"/>
                  </a:lnTo>
                  <a:cubicBezTo>
                    <a:pt x="4080874" y="1038472"/>
                    <a:pt x="4072893" y="1047256"/>
                    <a:pt x="4072893" y="1063980"/>
                  </a:cubicBezTo>
                  <a:lnTo>
                    <a:pt x="4072893" y="1101355"/>
                  </a:lnTo>
                  <a:cubicBezTo>
                    <a:pt x="4072893" y="1126693"/>
                    <a:pt x="4054665" y="1139531"/>
                    <a:pt x="4018207" y="1139869"/>
                  </a:cubicBezTo>
                  <a:lnTo>
                    <a:pt x="4018207" y="1120358"/>
                  </a:lnTo>
                  <a:cubicBezTo>
                    <a:pt x="4027167" y="1120189"/>
                    <a:pt x="4033526" y="1118162"/>
                    <a:pt x="4037285" y="1114277"/>
                  </a:cubicBezTo>
                  <a:cubicBezTo>
                    <a:pt x="4041044" y="1110392"/>
                    <a:pt x="4042924" y="1103973"/>
                    <a:pt x="4042924" y="1095020"/>
                  </a:cubicBezTo>
                  <a:lnTo>
                    <a:pt x="4042924" y="1059672"/>
                  </a:lnTo>
                  <a:cubicBezTo>
                    <a:pt x="4042924" y="1042527"/>
                    <a:pt x="4053068" y="1032095"/>
                    <a:pt x="4073356" y="1028379"/>
                  </a:cubicBezTo>
                  <a:lnTo>
                    <a:pt x="4073356" y="1027999"/>
                  </a:lnTo>
                  <a:cubicBezTo>
                    <a:pt x="4053068" y="1024029"/>
                    <a:pt x="4042924" y="1013514"/>
                    <a:pt x="4042924" y="996452"/>
                  </a:cubicBezTo>
                  <a:lnTo>
                    <a:pt x="4042924" y="960725"/>
                  </a:lnTo>
                  <a:cubicBezTo>
                    <a:pt x="4042924" y="944930"/>
                    <a:pt x="4034686" y="936864"/>
                    <a:pt x="4018207" y="936527"/>
                  </a:cubicBezTo>
                  <a:close/>
                  <a:moveTo>
                    <a:pt x="3996889" y="916889"/>
                  </a:moveTo>
                  <a:lnTo>
                    <a:pt x="3996889" y="936527"/>
                  </a:lnTo>
                  <a:cubicBezTo>
                    <a:pt x="3980514" y="936864"/>
                    <a:pt x="3972327" y="944930"/>
                    <a:pt x="3972327" y="960725"/>
                  </a:cubicBezTo>
                  <a:lnTo>
                    <a:pt x="3972327" y="996452"/>
                  </a:lnTo>
                  <a:cubicBezTo>
                    <a:pt x="3972327" y="1013514"/>
                    <a:pt x="3962079" y="1024029"/>
                    <a:pt x="3941585" y="1027999"/>
                  </a:cubicBezTo>
                  <a:lnTo>
                    <a:pt x="3941585" y="1028379"/>
                  </a:lnTo>
                  <a:cubicBezTo>
                    <a:pt x="3962079" y="1032095"/>
                    <a:pt x="3972327" y="1042527"/>
                    <a:pt x="3972327" y="1059672"/>
                  </a:cubicBezTo>
                  <a:lnTo>
                    <a:pt x="3972327" y="1095020"/>
                  </a:lnTo>
                  <a:cubicBezTo>
                    <a:pt x="3972327" y="1104057"/>
                    <a:pt x="3974154" y="1110497"/>
                    <a:pt x="3977811" y="1114340"/>
                  </a:cubicBezTo>
                  <a:cubicBezTo>
                    <a:pt x="3981466" y="1118183"/>
                    <a:pt x="3987826" y="1120189"/>
                    <a:pt x="3996889" y="1120358"/>
                  </a:cubicBezTo>
                  <a:lnTo>
                    <a:pt x="3996889" y="1139869"/>
                  </a:lnTo>
                  <a:cubicBezTo>
                    <a:pt x="3960225" y="1139531"/>
                    <a:pt x="3941894" y="1126693"/>
                    <a:pt x="3941894" y="1101355"/>
                  </a:cubicBezTo>
                  <a:lnTo>
                    <a:pt x="3941894" y="1063980"/>
                  </a:lnTo>
                  <a:cubicBezTo>
                    <a:pt x="3941894" y="1047256"/>
                    <a:pt x="3933861" y="1038472"/>
                    <a:pt x="3917795" y="1037627"/>
                  </a:cubicBezTo>
                  <a:lnTo>
                    <a:pt x="3917795" y="1019131"/>
                  </a:lnTo>
                  <a:cubicBezTo>
                    <a:pt x="3933861" y="1018286"/>
                    <a:pt x="3941894" y="1009333"/>
                    <a:pt x="3941894" y="992271"/>
                  </a:cubicBezTo>
                  <a:lnTo>
                    <a:pt x="3941894" y="955910"/>
                  </a:lnTo>
                  <a:cubicBezTo>
                    <a:pt x="3941894" y="930234"/>
                    <a:pt x="3960225" y="917227"/>
                    <a:pt x="3996889" y="916889"/>
                  </a:cubicBezTo>
                  <a:close/>
                  <a:moveTo>
                    <a:pt x="8996098" y="914392"/>
                  </a:moveTo>
                  <a:cubicBezTo>
                    <a:pt x="8998051" y="914467"/>
                    <a:pt x="9000021" y="914636"/>
                    <a:pt x="9002002" y="914909"/>
                  </a:cubicBezTo>
                  <a:cubicBezTo>
                    <a:pt x="9017845" y="917097"/>
                    <a:pt x="9038227" y="933711"/>
                    <a:pt x="9045278" y="944327"/>
                  </a:cubicBezTo>
                  <a:cubicBezTo>
                    <a:pt x="9054760" y="946921"/>
                    <a:pt x="9060797" y="960657"/>
                    <a:pt x="9063269" y="965479"/>
                  </a:cubicBezTo>
                  <a:cubicBezTo>
                    <a:pt x="9065741" y="970301"/>
                    <a:pt x="9062864" y="973057"/>
                    <a:pt x="9060108" y="973259"/>
                  </a:cubicBezTo>
                  <a:cubicBezTo>
                    <a:pt x="9060068" y="973847"/>
                    <a:pt x="9068608" y="980675"/>
                    <a:pt x="9073222" y="983364"/>
                  </a:cubicBezTo>
                  <a:cubicBezTo>
                    <a:pt x="9076793" y="967840"/>
                    <a:pt x="9071611" y="957421"/>
                    <a:pt x="9071535" y="946030"/>
                  </a:cubicBezTo>
                  <a:cubicBezTo>
                    <a:pt x="9076965" y="936548"/>
                    <a:pt x="9081422" y="939951"/>
                    <a:pt x="9086852" y="936305"/>
                  </a:cubicBezTo>
                  <a:cubicBezTo>
                    <a:pt x="9090094" y="932577"/>
                    <a:pt x="9093092" y="924716"/>
                    <a:pt x="9098765" y="925121"/>
                  </a:cubicBezTo>
                  <a:cubicBezTo>
                    <a:pt x="9108652" y="925526"/>
                    <a:pt x="9121214" y="943923"/>
                    <a:pt x="9121619" y="987604"/>
                  </a:cubicBezTo>
                  <a:cubicBezTo>
                    <a:pt x="9121862" y="1022289"/>
                    <a:pt x="9108004" y="1045548"/>
                    <a:pt x="9083935" y="1055922"/>
                  </a:cubicBezTo>
                  <a:cubicBezTo>
                    <a:pt x="9071626" y="1059204"/>
                    <a:pt x="9061062" y="1058999"/>
                    <a:pt x="9051908" y="1056640"/>
                  </a:cubicBezTo>
                  <a:lnTo>
                    <a:pt x="9047901" y="1055245"/>
                  </a:lnTo>
                  <a:lnTo>
                    <a:pt x="9047421" y="1057521"/>
                  </a:lnTo>
                  <a:cubicBezTo>
                    <a:pt x="9042536" y="1076261"/>
                    <a:pt x="9028801" y="1077702"/>
                    <a:pt x="9022667" y="1077560"/>
                  </a:cubicBezTo>
                  <a:cubicBezTo>
                    <a:pt x="9015657" y="1077398"/>
                    <a:pt x="9005284" y="1070914"/>
                    <a:pt x="9001029" y="1067835"/>
                  </a:cubicBezTo>
                  <a:cubicBezTo>
                    <a:pt x="9000907" y="1072535"/>
                    <a:pt x="9002001" y="1074197"/>
                    <a:pt x="9000056" y="1080477"/>
                  </a:cubicBezTo>
                  <a:cubicBezTo>
                    <a:pt x="9005162" y="1083841"/>
                    <a:pt x="9008241" y="1095835"/>
                    <a:pt x="9009781" y="1101143"/>
                  </a:cubicBezTo>
                  <a:cubicBezTo>
                    <a:pt x="9011321" y="1106451"/>
                    <a:pt x="9009417" y="1107667"/>
                    <a:pt x="9009295" y="1112327"/>
                  </a:cubicBezTo>
                  <a:cubicBezTo>
                    <a:pt x="9009174" y="1116986"/>
                    <a:pt x="9014036" y="1120714"/>
                    <a:pt x="9011483" y="1126185"/>
                  </a:cubicBezTo>
                  <a:cubicBezTo>
                    <a:pt x="9008930" y="1131655"/>
                    <a:pt x="9002285" y="1131939"/>
                    <a:pt x="8995437" y="1132020"/>
                  </a:cubicBezTo>
                  <a:cubicBezTo>
                    <a:pt x="8988589" y="1132101"/>
                    <a:pt x="8973272" y="1136801"/>
                    <a:pt x="8970395" y="1126671"/>
                  </a:cubicBezTo>
                  <a:cubicBezTo>
                    <a:pt x="8970035" y="1125405"/>
                    <a:pt x="8969783" y="1123896"/>
                    <a:pt x="8969631" y="1122187"/>
                  </a:cubicBezTo>
                  <a:cubicBezTo>
                    <a:pt x="8969617" y="1121735"/>
                    <a:pt x="8969604" y="1121284"/>
                    <a:pt x="8969591" y="1120833"/>
                  </a:cubicBezTo>
                  <a:lnTo>
                    <a:pt x="8965826" y="1124401"/>
                  </a:lnTo>
                  <a:cubicBezTo>
                    <a:pt x="8957220" y="1132502"/>
                    <a:pt x="8949461" y="1139131"/>
                    <a:pt x="8942193" y="1138827"/>
                  </a:cubicBezTo>
                  <a:cubicBezTo>
                    <a:pt x="8930077" y="1136396"/>
                    <a:pt x="8920717" y="1117108"/>
                    <a:pt x="8918610" y="1110382"/>
                  </a:cubicBezTo>
                  <a:cubicBezTo>
                    <a:pt x="8916502" y="1103655"/>
                    <a:pt x="8923350" y="1102399"/>
                    <a:pt x="8929550" y="1098468"/>
                  </a:cubicBezTo>
                  <a:cubicBezTo>
                    <a:pt x="8923350" y="1102075"/>
                    <a:pt x="8906575" y="1099117"/>
                    <a:pt x="8904508" y="1096037"/>
                  </a:cubicBezTo>
                  <a:cubicBezTo>
                    <a:pt x="8905116" y="1102439"/>
                    <a:pt x="8904751" y="1103371"/>
                    <a:pt x="8903536" y="1106978"/>
                  </a:cubicBezTo>
                  <a:cubicBezTo>
                    <a:pt x="8902320" y="1110584"/>
                    <a:pt x="8899119" y="1112691"/>
                    <a:pt x="8897214" y="1117675"/>
                  </a:cubicBezTo>
                  <a:cubicBezTo>
                    <a:pt x="8895310" y="1122659"/>
                    <a:pt x="8899686" y="1135099"/>
                    <a:pt x="8892109" y="1136882"/>
                  </a:cubicBezTo>
                  <a:cubicBezTo>
                    <a:pt x="8884531" y="1138665"/>
                    <a:pt x="8860989" y="1137976"/>
                    <a:pt x="8851750" y="1128373"/>
                  </a:cubicBezTo>
                  <a:cubicBezTo>
                    <a:pt x="8847860" y="1123632"/>
                    <a:pt x="8854181" y="1116298"/>
                    <a:pt x="8852723" y="1114272"/>
                  </a:cubicBezTo>
                  <a:cubicBezTo>
                    <a:pt x="8851264" y="1112245"/>
                    <a:pt x="8848833" y="1120228"/>
                    <a:pt x="8842998" y="1116217"/>
                  </a:cubicBezTo>
                  <a:cubicBezTo>
                    <a:pt x="8837163" y="1112205"/>
                    <a:pt x="8819374" y="1098995"/>
                    <a:pt x="8817713" y="1090202"/>
                  </a:cubicBezTo>
                  <a:cubicBezTo>
                    <a:pt x="8816051" y="1081409"/>
                    <a:pt x="8826182" y="1072170"/>
                    <a:pt x="8833030" y="1063458"/>
                  </a:cubicBezTo>
                  <a:cubicBezTo>
                    <a:pt x="8831368" y="1054017"/>
                    <a:pt x="8830679" y="1047696"/>
                    <a:pt x="8834488" y="1036715"/>
                  </a:cubicBezTo>
                  <a:cubicBezTo>
                    <a:pt x="8829383" y="1033595"/>
                    <a:pt x="8818280" y="1029178"/>
                    <a:pt x="8818928" y="1014591"/>
                  </a:cubicBezTo>
                  <a:lnTo>
                    <a:pt x="8820701" y="1001181"/>
                  </a:lnTo>
                  <a:lnTo>
                    <a:pt x="8821163" y="1009961"/>
                  </a:lnTo>
                  <a:lnTo>
                    <a:pt x="8821992" y="1010359"/>
                  </a:lnTo>
                  <a:lnTo>
                    <a:pt x="8822115" y="1011541"/>
                  </a:lnTo>
                  <a:cubicBezTo>
                    <a:pt x="8823146" y="1019977"/>
                    <a:pt x="8825908" y="1029322"/>
                    <a:pt x="8841803" y="1025483"/>
                  </a:cubicBezTo>
                  <a:cubicBezTo>
                    <a:pt x="8834966" y="1061759"/>
                    <a:pt x="8850407" y="1079746"/>
                    <a:pt x="8860149" y="1096591"/>
                  </a:cubicBezTo>
                  <a:lnTo>
                    <a:pt x="8861117" y="1098453"/>
                  </a:lnTo>
                  <a:lnTo>
                    <a:pt x="8861083" y="1099327"/>
                  </a:lnTo>
                  <a:cubicBezTo>
                    <a:pt x="8860790" y="1104469"/>
                    <a:pt x="8860055" y="1108033"/>
                    <a:pt x="8859673" y="1112860"/>
                  </a:cubicBezTo>
                  <a:cubicBezTo>
                    <a:pt x="8858566" y="1116662"/>
                    <a:pt x="8855842" y="1116242"/>
                    <a:pt x="8856351" y="1124265"/>
                  </a:cubicBezTo>
                  <a:cubicBezTo>
                    <a:pt x="8856680" y="1129264"/>
                    <a:pt x="8886015" y="1137316"/>
                    <a:pt x="8890745" y="1130910"/>
                  </a:cubicBezTo>
                  <a:cubicBezTo>
                    <a:pt x="8892122" y="1128695"/>
                    <a:pt x="8891523" y="1123606"/>
                    <a:pt x="8891912" y="1119954"/>
                  </a:cubicBezTo>
                  <a:cubicBezTo>
                    <a:pt x="8892511" y="1115883"/>
                    <a:pt x="8897779" y="1111453"/>
                    <a:pt x="8898557" y="1105676"/>
                  </a:cubicBezTo>
                  <a:cubicBezTo>
                    <a:pt x="8899066" y="1101081"/>
                    <a:pt x="8899014" y="1095880"/>
                    <a:pt x="8898838" y="1090466"/>
                  </a:cubicBezTo>
                  <a:lnTo>
                    <a:pt x="8898628" y="1084748"/>
                  </a:lnTo>
                  <a:lnTo>
                    <a:pt x="8900228" y="1086610"/>
                  </a:lnTo>
                  <a:cubicBezTo>
                    <a:pt x="8910570" y="1097158"/>
                    <a:pt x="8932506" y="1100711"/>
                    <a:pt x="8939866" y="1084393"/>
                  </a:cubicBezTo>
                  <a:cubicBezTo>
                    <a:pt x="8939956" y="1089631"/>
                    <a:pt x="8941662" y="1091637"/>
                    <a:pt x="8940764" y="1098222"/>
                  </a:cubicBezTo>
                  <a:cubicBezTo>
                    <a:pt x="8938190" y="1102383"/>
                    <a:pt x="8926725" y="1103311"/>
                    <a:pt x="8923612" y="1110974"/>
                  </a:cubicBezTo>
                  <a:cubicBezTo>
                    <a:pt x="8922684" y="1114177"/>
                    <a:pt x="8934867" y="1133365"/>
                    <a:pt x="8942650" y="1134053"/>
                  </a:cubicBezTo>
                  <a:cubicBezTo>
                    <a:pt x="8948308" y="1134712"/>
                    <a:pt x="8958814" y="1123606"/>
                    <a:pt x="8977942" y="1106125"/>
                  </a:cubicBezTo>
                  <a:cubicBezTo>
                    <a:pt x="8980903" y="1103419"/>
                    <a:pt x="8992101" y="1082178"/>
                    <a:pt x="8997160" y="1064008"/>
                  </a:cubicBezTo>
                  <a:cubicBezTo>
                    <a:pt x="8992003" y="1061418"/>
                    <a:pt x="8984530" y="1055249"/>
                    <a:pt x="8980182" y="1045621"/>
                  </a:cubicBezTo>
                  <a:lnTo>
                    <a:pt x="8979987" y="1045109"/>
                  </a:lnTo>
                  <a:lnTo>
                    <a:pt x="8982623" y="1046769"/>
                  </a:lnTo>
                  <a:cubicBezTo>
                    <a:pt x="8989257" y="1051189"/>
                    <a:pt x="8995992" y="1056038"/>
                    <a:pt x="9001919" y="1057452"/>
                  </a:cubicBezTo>
                  <a:cubicBezTo>
                    <a:pt x="9006290" y="1062481"/>
                    <a:pt x="9011378" y="1070474"/>
                    <a:pt x="9023382" y="1072000"/>
                  </a:cubicBezTo>
                  <a:cubicBezTo>
                    <a:pt x="9033619" y="1073736"/>
                    <a:pt x="9040893" y="1064068"/>
                    <a:pt x="9044485" y="1053501"/>
                  </a:cubicBezTo>
                  <a:lnTo>
                    <a:pt x="9041163" y="1053232"/>
                  </a:lnTo>
                  <a:cubicBezTo>
                    <a:pt x="9025896" y="1078825"/>
                    <a:pt x="9009762" y="1055484"/>
                    <a:pt x="9013182" y="1030934"/>
                  </a:cubicBezTo>
                  <a:lnTo>
                    <a:pt x="9014112" y="1026126"/>
                  </a:lnTo>
                  <a:lnTo>
                    <a:pt x="9015876" y="1028048"/>
                  </a:lnTo>
                  <a:cubicBezTo>
                    <a:pt x="9046354" y="1059108"/>
                    <a:pt x="9073003" y="1054567"/>
                    <a:pt x="9088129" y="1046317"/>
                  </a:cubicBezTo>
                  <a:cubicBezTo>
                    <a:pt x="9129558" y="1020783"/>
                    <a:pt x="9117419" y="932662"/>
                    <a:pt x="9100073" y="928407"/>
                  </a:cubicBezTo>
                  <a:cubicBezTo>
                    <a:pt x="9096106" y="927434"/>
                    <a:pt x="9093338" y="937657"/>
                    <a:pt x="9090733" y="939184"/>
                  </a:cubicBezTo>
                  <a:cubicBezTo>
                    <a:pt x="9082741" y="943404"/>
                    <a:pt x="9079239" y="942776"/>
                    <a:pt x="9077083" y="946098"/>
                  </a:cubicBezTo>
                  <a:cubicBezTo>
                    <a:pt x="9072818" y="952328"/>
                    <a:pt x="9088521" y="988393"/>
                    <a:pt x="9068549" y="1007305"/>
                  </a:cubicBezTo>
                  <a:lnTo>
                    <a:pt x="9067058" y="1008481"/>
                  </a:lnTo>
                  <a:lnTo>
                    <a:pt x="9067372" y="1007876"/>
                  </a:lnTo>
                  <a:cubicBezTo>
                    <a:pt x="9071156" y="1000563"/>
                    <a:pt x="9075130" y="992189"/>
                    <a:pt x="9070618" y="988664"/>
                  </a:cubicBezTo>
                  <a:cubicBezTo>
                    <a:pt x="9065319" y="984444"/>
                    <a:pt x="9061997" y="987676"/>
                    <a:pt x="9057956" y="991089"/>
                  </a:cubicBezTo>
                  <a:cubicBezTo>
                    <a:pt x="9060560" y="988125"/>
                    <a:pt x="9063703" y="987587"/>
                    <a:pt x="9059303" y="980582"/>
                  </a:cubicBezTo>
                  <a:cubicBezTo>
                    <a:pt x="9055800" y="978217"/>
                    <a:pt x="9053914" y="978816"/>
                    <a:pt x="9047449" y="980492"/>
                  </a:cubicBezTo>
                  <a:cubicBezTo>
                    <a:pt x="9051550" y="977439"/>
                    <a:pt x="9052867" y="978606"/>
                    <a:pt x="9050861" y="972680"/>
                  </a:cubicBezTo>
                  <a:cubicBezTo>
                    <a:pt x="9048122" y="968998"/>
                    <a:pt x="9046747" y="969306"/>
                    <a:pt x="9044008" y="969514"/>
                  </a:cubicBezTo>
                  <a:lnTo>
                    <a:pt x="9042109" y="969527"/>
                  </a:lnTo>
                  <a:lnTo>
                    <a:pt x="9043671" y="968966"/>
                  </a:lnTo>
                  <a:cubicBezTo>
                    <a:pt x="9044546" y="968672"/>
                    <a:pt x="9045338" y="968433"/>
                    <a:pt x="9046012" y="968279"/>
                  </a:cubicBezTo>
                  <a:cubicBezTo>
                    <a:pt x="9051400" y="967052"/>
                    <a:pt x="9057297" y="968743"/>
                    <a:pt x="9057327" y="965675"/>
                  </a:cubicBezTo>
                  <a:cubicBezTo>
                    <a:pt x="9057986" y="962322"/>
                    <a:pt x="9049574" y="951875"/>
                    <a:pt x="9045832" y="951037"/>
                  </a:cubicBezTo>
                  <a:cubicBezTo>
                    <a:pt x="9043834" y="950409"/>
                    <a:pt x="9038603" y="949881"/>
                    <a:pt x="9033852" y="949568"/>
                  </a:cubicBezTo>
                  <a:lnTo>
                    <a:pt x="9032746" y="949509"/>
                  </a:lnTo>
                  <a:lnTo>
                    <a:pt x="9032755" y="949486"/>
                  </a:lnTo>
                  <a:cubicBezTo>
                    <a:pt x="9033883" y="947928"/>
                    <a:pt x="9037638" y="947356"/>
                    <a:pt x="9040534" y="947086"/>
                  </a:cubicBezTo>
                  <a:cubicBezTo>
                    <a:pt x="9028381" y="931042"/>
                    <a:pt x="9012007" y="920744"/>
                    <a:pt x="8997878" y="920954"/>
                  </a:cubicBezTo>
                  <a:cubicBezTo>
                    <a:pt x="8980846" y="921463"/>
                    <a:pt x="8959503" y="925833"/>
                    <a:pt x="8947410" y="944572"/>
                  </a:cubicBezTo>
                  <a:cubicBezTo>
                    <a:pt x="8953591" y="944504"/>
                    <a:pt x="8958189" y="944532"/>
                    <a:pt x="8961642" y="944899"/>
                  </a:cubicBezTo>
                  <a:lnTo>
                    <a:pt x="8962219" y="944982"/>
                  </a:lnTo>
                  <a:lnTo>
                    <a:pt x="8959809" y="945637"/>
                  </a:lnTo>
                  <a:cubicBezTo>
                    <a:pt x="8947003" y="948718"/>
                    <a:pt x="8938081" y="948258"/>
                    <a:pt x="8935210" y="950754"/>
                  </a:cubicBezTo>
                  <a:cubicBezTo>
                    <a:pt x="8929207" y="954954"/>
                    <a:pt x="8890337" y="990764"/>
                    <a:pt x="8888734" y="1011039"/>
                  </a:cubicBezTo>
                  <a:cubicBezTo>
                    <a:pt x="8892851" y="1021801"/>
                    <a:pt x="8893625" y="1014196"/>
                    <a:pt x="8902716" y="1033151"/>
                  </a:cubicBezTo>
                  <a:lnTo>
                    <a:pt x="8917222" y="1016613"/>
                  </a:lnTo>
                  <a:lnTo>
                    <a:pt x="8900250" y="1051719"/>
                  </a:lnTo>
                  <a:cubicBezTo>
                    <a:pt x="8904482" y="1057899"/>
                    <a:pt x="8907367" y="1061206"/>
                    <a:pt x="8916179" y="1061100"/>
                  </a:cubicBezTo>
                  <a:cubicBezTo>
                    <a:pt x="8925590" y="1059852"/>
                    <a:pt x="8934282" y="1052138"/>
                    <a:pt x="8943334" y="1047657"/>
                  </a:cubicBezTo>
                  <a:cubicBezTo>
                    <a:pt x="8952280" y="1043934"/>
                    <a:pt x="8954939" y="1046496"/>
                    <a:pt x="8960742" y="1045916"/>
                  </a:cubicBezTo>
                  <a:cubicBezTo>
                    <a:pt x="8972969" y="1012752"/>
                    <a:pt x="8953765" y="1012904"/>
                    <a:pt x="8966979" y="976866"/>
                  </a:cubicBezTo>
                  <a:cubicBezTo>
                    <a:pt x="8962282" y="1005975"/>
                    <a:pt x="8980933" y="1005989"/>
                    <a:pt x="8967705" y="1054765"/>
                  </a:cubicBezTo>
                  <a:lnTo>
                    <a:pt x="8965597" y="1054420"/>
                  </a:lnTo>
                  <a:lnTo>
                    <a:pt x="8962928" y="1053737"/>
                  </a:lnTo>
                  <a:lnTo>
                    <a:pt x="8960194" y="1053311"/>
                  </a:lnTo>
                  <a:lnTo>
                    <a:pt x="8959428" y="1053133"/>
                  </a:lnTo>
                  <a:cubicBezTo>
                    <a:pt x="8957359" y="1052725"/>
                    <a:pt x="8955183" y="1052507"/>
                    <a:pt x="8952657" y="1052904"/>
                  </a:cubicBezTo>
                  <a:lnTo>
                    <a:pt x="8951671" y="1053134"/>
                  </a:lnTo>
                  <a:lnTo>
                    <a:pt x="8951076" y="1053185"/>
                  </a:lnTo>
                  <a:cubicBezTo>
                    <a:pt x="8937874" y="1055241"/>
                    <a:pt x="8933019" y="1066881"/>
                    <a:pt x="8911848" y="1069127"/>
                  </a:cubicBezTo>
                  <a:cubicBezTo>
                    <a:pt x="8905536" y="1067896"/>
                    <a:pt x="8895442" y="1058620"/>
                    <a:pt x="8889508" y="1051408"/>
                  </a:cubicBezTo>
                  <a:lnTo>
                    <a:pt x="8889050" y="1050814"/>
                  </a:lnTo>
                  <a:lnTo>
                    <a:pt x="8890772" y="1047937"/>
                  </a:lnTo>
                  <a:cubicBezTo>
                    <a:pt x="8892612" y="1045071"/>
                    <a:pt x="8894625" y="1042141"/>
                    <a:pt x="8896851" y="1039133"/>
                  </a:cubicBezTo>
                  <a:cubicBezTo>
                    <a:pt x="8892960" y="1028686"/>
                    <a:pt x="8882692" y="1025064"/>
                    <a:pt x="8879789" y="1012102"/>
                  </a:cubicBezTo>
                  <a:cubicBezTo>
                    <a:pt x="8884488" y="998692"/>
                    <a:pt x="8886404" y="989951"/>
                    <a:pt x="8910052" y="965944"/>
                  </a:cubicBezTo>
                  <a:cubicBezTo>
                    <a:pt x="8847191" y="974954"/>
                    <a:pt x="8847377" y="1025561"/>
                    <a:pt x="8829997" y="1013326"/>
                  </a:cubicBezTo>
                  <a:lnTo>
                    <a:pt x="8826372" y="1010063"/>
                  </a:lnTo>
                  <a:lnTo>
                    <a:pt x="8827432" y="1009468"/>
                  </a:lnTo>
                  <a:cubicBezTo>
                    <a:pt x="8833838" y="1005153"/>
                    <a:pt x="8826252" y="998939"/>
                    <a:pt x="8831386" y="989562"/>
                  </a:cubicBezTo>
                  <a:lnTo>
                    <a:pt x="8820903" y="999655"/>
                  </a:lnTo>
                  <a:lnTo>
                    <a:pt x="8821815" y="992755"/>
                  </a:lnTo>
                  <a:cubicBezTo>
                    <a:pt x="8826911" y="987685"/>
                    <a:pt x="8833799" y="984828"/>
                    <a:pt x="8835461" y="984200"/>
                  </a:cubicBezTo>
                  <a:cubicBezTo>
                    <a:pt x="8832340" y="993722"/>
                    <a:pt x="8839148" y="1000368"/>
                    <a:pt x="8835461" y="1008026"/>
                  </a:cubicBezTo>
                  <a:cubicBezTo>
                    <a:pt x="8870917" y="962927"/>
                    <a:pt x="8895391" y="960050"/>
                    <a:pt x="8911802" y="959644"/>
                  </a:cubicBezTo>
                  <a:cubicBezTo>
                    <a:pt x="8924566" y="948299"/>
                    <a:pt x="8925660" y="945340"/>
                    <a:pt x="8934413" y="943112"/>
                  </a:cubicBezTo>
                  <a:lnTo>
                    <a:pt x="8940449" y="942479"/>
                  </a:lnTo>
                  <a:lnTo>
                    <a:pt x="8941148" y="940982"/>
                  </a:lnTo>
                  <a:cubicBezTo>
                    <a:pt x="8946520" y="930313"/>
                    <a:pt x="8951209" y="926985"/>
                    <a:pt x="8960427" y="922446"/>
                  </a:cubicBezTo>
                  <a:cubicBezTo>
                    <a:pt x="8969646" y="917908"/>
                    <a:pt x="8982432" y="913866"/>
                    <a:pt x="8996098" y="914392"/>
                  </a:cubicBezTo>
                  <a:close/>
                  <a:moveTo>
                    <a:pt x="2935363" y="914392"/>
                  </a:moveTo>
                  <a:cubicBezTo>
                    <a:pt x="2937314" y="914467"/>
                    <a:pt x="2939284" y="914636"/>
                    <a:pt x="2941265" y="914909"/>
                  </a:cubicBezTo>
                  <a:cubicBezTo>
                    <a:pt x="2957109" y="917097"/>
                    <a:pt x="2977491" y="933711"/>
                    <a:pt x="2984542" y="944327"/>
                  </a:cubicBezTo>
                  <a:cubicBezTo>
                    <a:pt x="2994024" y="946921"/>
                    <a:pt x="3000060" y="960657"/>
                    <a:pt x="3002532" y="965479"/>
                  </a:cubicBezTo>
                  <a:cubicBezTo>
                    <a:pt x="3005004" y="970301"/>
                    <a:pt x="3002128" y="973057"/>
                    <a:pt x="2999373" y="973259"/>
                  </a:cubicBezTo>
                  <a:cubicBezTo>
                    <a:pt x="2999331" y="973847"/>
                    <a:pt x="3007872" y="980675"/>
                    <a:pt x="3012485" y="983364"/>
                  </a:cubicBezTo>
                  <a:cubicBezTo>
                    <a:pt x="3016056" y="967840"/>
                    <a:pt x="3010874" y="957421"/>
                    <a:pt x="3010799" y="946030"/>
                  </a:cubicBezTo>
                  <a:cubicBezTo>
                    <a:pt x="3016229" y="936548"/>
                    <a:pt x="3020687" y="939951"/>
                    <a:pt x="3026115" y="936305"/>
                  </a:cubicBezTo>
                  <a:cubicBezTo>
                    <a:pt x="3029357" y="932577"/>
                    <a:pt x="3032356" y="924716"/>
                    <a:pt x="3038029" y="925121"/>
                  </a:cubicBezTo>
                  <a:cubicBezTo>
                    <a:pt x="3047915" y="925526"/>
                    <a:pt x="3060477" y="943923"/>
                    <a:pt x="3060882" y="987604"/>
                  </a:cubicBezTo>
                  <a:cubicBezTo>
                    <a:pt x="3061126" y="1022289"/>
                    <a:pt x="3047267" y="1045548"/>
                    <a:pt x="3023198" y="1055922"/>
                  </a:cubicBezTo>
                  <a:cubicBezTo>
                    <a:pt x="3010890" y="1059204"/>
                    <a:pt x="3000326" y="1058999"/>
                    <a:pt x="2991171" y="1056640"/>
                  </a:cubicBezTo>
                  <a:lnTo>
                    <a:pt x="2987165" y="1055245"/>
                  </a:lnTo>
                  <a:lnTo>
                    <a:pt x="2986685" y="1057521"/>
                  </a:lnTo>
                  <a:cubicBezTo>
                    <a:pt x="2981800" y="1076261"/>
                    <a:pt x="2968064" y="1077702"/>
                    <a:pt x="2961930" y="1077560"/>
                  </a:cubicBezTo>
                  <a:cubicBezTo>
                    <a:pt x="2954920" y="1077398"/>
                    <a:pt x="2944547" y="1070914"/>
                    <a:pt x="2940292" y="1067835"/>
                  </a:cubicBezTo>
                  <a:cubicBezTo>
                    <a:pt x="2940170" y="1072535"/>
                    <a:pt x="2941265" y="1074197"/>
                    <a:pt x="2939319" y="1080477"/>
                  </a:cubicBezTo>
                  <a:cubicBezTo>
                    <a:pt x="2944425" y="1083841"/>
                    <a:pt x="2947505" y="1095835"/>
                    <a:pt x="2949045" y="1101143"/>
                  </a:cubicBezTo>
                  <a:cubicBezTo>
                    <a:pt x="2950584" y="1106451"/>
                    <a:pt x="2948681" y="1107667"/>
                    <a:pt x="2948558" y="1112327"/>
                  </a:cubicBezTo>
                  <a:cubicBezTo>
                    <a:pt x="2948437" y="1116986"/>
                    <a:pt x="2953299" y="1120714"/>
                    <a:pt x="2950746" y="1126185"/>
                  </a:cubicBezTo>
                  <a:cubicBezTo>
                    <a:pt x="2948193" y="1131655"/>
                    <a:pt x="2941548" y="1131939"/>
                    <a:pt x="2934701" y="1132020"/>
                  </a:cubicBezTo>
                  <a:cubicBezTo>
                    <a:pt x="2927853" y="1132101"/>
                    <a:pt x="2912536" y="1136801"/>
                    <a:pt x="2909658" y="1126671"/>
                  </a:cubicBezTo>
                  <a:cubicBezTo>
                    <a:pt x="2909299" y="1125405"/>
                    <a:pt x="2909047" y="1123896"/>
                    <a:pt x="2908894" y="1122187"/>
                  </a:cubicBezTo>
                  <a:cubicBezTo>
                    <a:pt x="2908881" y="1121735"/>
                    <a:pt x="2908868" y="1121284"/>
                    <a:pt x="2908854" y="1120833"/>
                  </a:cubicBezTo>
                  <a:lnTo>
                    <a:pt x="2905089" y="1124401"/>
                  </a:lnTo>
                  <a:cubicBezTo>
                    <a:pt x="2896483" y="1132502"/>
                    <a:pt x="2888724" y="1139131"/>
                    <a:pt x="2881456" y="1138827"/>
                  </a:cubicBezTo>
                  <a:cubicBezTo>
                    <a:pt x="2869340" y="1136396"/>
                    <a:pt x="2859980" y="1117108"/>
                    <a:pt x="2857873" y="1110382"/>
                  </a:cubicBezTo>
                  <a:cubicBezTo>
                    <a:pt x="2855766" y="1103655"/>
                    <a:pt x="2862614" y="1102399"/>
                    <a:pt x="2868814" y="1098468"/>
                  </a:cubicBezTo>
                  <a:cubicBezTo>
                    <a:pt x="2862614" y="1102075"/>
                    <a:pt x="2845839" y="1099117"/>
                    <a:pt x="2843771" y="1096037"/>
                  </a:cubicBezTo>
                  <a:cubicBezTo>
                    <a:pt x="2844379" y="1102439"/>
                    <a:pt x="2844016" y="1103371"/>
                    <a:pt x="2842800" y="1106978"/>
                  </a:cubicBezTo>
                  <a:cubicBezTo>
                    <a:pt x="2841583" y="1110584"/>
                    <a:pt x="2838382" y="1112691"/>
                    <a:pt x="2836479" y="1117675"/>
                  </a:cubicBezTo>
                  <a:cubicBezTo>
                    <a:pt x="2834574" y="1122659"/>
                    <a:pt x="2838950" y="1135099"/>
                    <a:pt x="2831372" y="1136882"/>
                  </a:cubicBezTo>
                  <a:cubicBezTo>
                    <a:pt x="2823796" y="1138665"/>
                    <a:pt x="2800252" y="1137976"/>
                    <a:pt x="2791015" y="1128373"/>
                  </a:cubicBezTo>
                  <a:cubicBezTo>
                    <a:pt x="2787123" y="1123632"/>
                    <a:pt x="2793446" y="1116298"/>
                    <a:pt x="2791986" y="1114272"/>
                  </a:cubicBezTo>
                  <a:cubicBezTo>
                    <a:pt x="2790527" y="1112245"/>
                    <a:pt x="2788097" y="1120228"/>
                    <a:pt x="2782262" y="1116217"/>
                  </a:cubicBezTo>
                  <a:cubicBezTo>
                    <a:pt x="2776427" y="1112205"/>
                    <a:pt x="2758637" y="1098995"/>
                    <a:pt x="2756976" y="1090202"/>
                  </a:cubicBezTo>
                  <a:cubicBezTo>
                    <a:pt x="2755314" y="1081409"/>
                    <a:pt x="2765445" y="1072170"/>
                    <a:pt x="2772294" y="1063458"/>
                  </a:cubicBezTo>
                  <a:cubicBezTo>
                    <a:pt x="2770633" y="1054017"/>
                    <a:pt x="2769942" y="1047696"/>
                    <a:pt x="2773751" y="1036715"/>
                  </a:cubicBezTo>
                  <a:cubicBezTo>
                    <a:pt x="2768647" y="1033595"/>
                    <a:pt x="2757543" y="1029178"/>
                    <a:pt x="2758192" y="1014591"/>
                  </a:cubicBezTo>
                  <a:lnTo>
                    <a:pt x="2759965" y="1001182"/>
                  </a:lnTo>
                  <a:lnTo>
                    <a:pt x="2760426" y="1009961"/>
                  </a:lnTo>
                  <a:lnTo>
                    <a:pt x="2761256" y="1010359"/>
                  </a:lnTo>
                  <a:lnTo>
                    <a:pt x="2761379" y="1011541"/>
                  </a:lnTo>
                  <a:cubicBezTo>
                    <a:pt x="2762409" y="1019977"/>
                    <a:pt x="2765172" y="1029322"/>
                    <a:pt x="2781066" y="1025483"/>
                  </a:cubicBezTo>
                  <a:cubicBezTo>
                    <a:pt x="2774231" y="1061759"/>
                    <a:pt x="2789671" y="1079746"/>
                    <a:pt x="2799412" y="1096591"/>
                  </a:cubicBezTo>
                  <a:lnTo>
                    <a:pt x="2800381" y="1098453"/>
                  </a:lnTo>
                  <a:lnTo>
                    <a:pt x="2800347" y="1099327"/>
                  </a:lnTo>
                  <a:cubicBezTo>
                    <a:pt x="2800053" y="1104469"/>
                    <a:pt x="2799318" y="1108033"/>
                    <a:pt x="2798937" y="1112860"/>
                  </a:cubicBezTo>
                  <a:cubicBezTo>
                    <a:pt x="2797830" y="1116662"/>
                    <a:pt x="2795105" y="1116242"/>
                    <a:pt x="2795614" y="1124265"/>
                  </a:cubicBezTo>
                  <a:cubicBezTo>
                    <a:pt x="2795943" y="1129264"/>
                    <a:pt x="2825278" y="1137316"/>
                    <a:pt x="2830008" y="1130910"/>
                  </a:cubicBezTo>
                  <a:cubicBezTo>
                    <a:pt x="2831385" y="1128695"/>
                    <a:pt x="2830787" y="1123606"/>
                    <a:pt x="2831175" y="1119954"/>
                  </a:cubicBezTo>
                  <a:cubicBezTo>
                    <a:pt x="2831775" y="1115883"/>
                    <a:pt x="2837042" y="1111453"/>
                    <a:pt x="2837821" y="1105676"/>
                  </a:cubicBezTo>
                  <a:cubicBezTo>
                    <a:pt x="2838329" y="1101081"/>
                    <a:pt x="2838277" y="1095880"/>
                    <a:pt x="2838101" y="1090466"/>
                  </a:cubicBezTo>
                  <a:lnTo>
                    <a:pt x="2837893" y="1084748"/>
                  </a:lnTo>
                  <a:lnTo>
                    <a:pt x="2839491" y="1086610"/>
                  </a:lnTo>
                  <a:cubicBezTo>
                    <a:pt x="2849834" y="1097158"/>
                    <a:pt x="2871770" y="1100711"/>
                    <a:pt x="2879129" y="1084393"/>
                  </a:cubicBezTo>
                  <a:cubicBezTo>
                    <a:pt x="2879219" y="1089631"/>
                    <a:pt x="2880926" y="1091637"/>
                    <a:pt x="2880027" y="1098222"/>
                  </a:cubicBezTo>
                  <a:cubicBezTo>
                    <a:pt x="2877453" y="1102383"/>
                    <a:pt x="2865990" y="1103311"/>
                    <a:pt x="2862875" y="1110974"/>
                  </a:cubicBezTo>
                  <a:cubicBezTo>
                    <a:pt x="2861948" y="1114177"/>
                    <a:pt x="2874131" y="1133365"/>
                    <a:pt x="2881915" y="1134053"/>
                  </a:cubicBezTo>
                  <a:cubicBezTo>
                    <a:pt x="2887571" y="1134712"/>
                    <a:pt x="2898078" y="1123606"/>
                    <a:pt x="2917206" y="1106125"/>
                  </a:cubicBezTo>
                  <a:cubicBezTo>
                    <a:pt x="2920166" y="1103419"/>
                    <a:pt x="2931364" y="1082178"/>
                    <a:pt x="2936424" y="1064008"/>
                  </a:cubicBezTo>
                  <a:cubicBezTo>
                    <a:pt x="2931268" y="1061418"/>
                    <a:pt x="2923794" y="1055249"/>
                    <a:pt x="2919445" y="1045621"/>
                  </a:cubicBezTo>
                  <a:lnTo>
                    <a:pt x="2919250" y="1045109"/>
                  </a:lnTo>
                  <a:lnTo>
                    <a:pt x="2921887" y="1046769"/>
                  </a:lnTo>
                  <a:cubicBezTo>
                    <a:pt x="2928521" y="1051189"/>
                    <a:pt x="2935256" y="1056038"/>
                    <a:pt x="2941183" y="1057452"/>
                  </a:cubicBezTo>
                  <a:cubicBezTo>
                    <a:pt x="2945553" y="1062481"/>
                    <a:pt x="2950642" y="1070474"/>
                    <a:pt x="2962645" y="1072000"/>
                  </a:cubicBezTo>
                  <a:cubicBezTo>
                    <a:pt x="2972882" y="1073736"/>
                    <a:pt x="2980157" y="1064068"/>
                    <a:pt x="2983749" y="1053501"/>
                  </a:cubicBezTo>
                  <a:lnTo>
                    <a:pt x="2980427" y="1053232"/>
                  </a:lnTo>
                  <a:cubicBezTo>
                    <a:pt x="2965161" y="1078825"/>
                    <a:pt x="2949025" y="1055484"/>
                    <a:pt x="2952445" y="1030934"/>
                  </a:cubicBezTo>
                  <a:lnTo>
                    <a:pt x="2953376" y="1026126"/>
                  </a:lnTo>
                  <a:lnTo>
                    <a:pt x="2955141" y="1028048"/>
                  </a:lnTo>
                  <a:cubicBezTo>
                    <a:pt x="2985617" y="1059108"/>
                    <a:pt x="3012266" y="1054567"/>
                    <a:pt x="3027392" y="1046317"/>
                  </a:cubicBezTo>
                  <a:cubicBezTo>
                    <a:pt x="3068822" y="1020783"/>
                    <a:pt x="3056682" y="932662"/>
                    <a:pt x="3039336" y="928407"/>
                  </a:cubicBezTo>
                  <a:cubicBezTo>
                    <a:pt x="3035370" y="927434"/>
                    <a:pt x="3032601" y="937657"/>
                    <a:pt x="3029997" y="939184"/>
                  </a:cubicBezTo>
                  <a:cubicBezTo>
                    <a:pt x="3022004" y="943404"/>
                    <a:pt x="3018503" y="942776"/>
                    <a:pt x="3016347" y="946098"/>
                  </a:cubicBezTo>
                  <a:cubicBezTo>
                    <a:pt x="3012082" y="952328"/>
                    <a:pt x="3027784" y="988393"/>
                    <a:pt x="3007812" y="1007305"/>
                  </a:cubicBezTo>
                  <a:lnTo>
                    <a:pt x="3006322" y="1008481"/>
                  </a:lnTo>
                  <a:lnTo>
                    <a:pt x="3006635" y="1007876"/>
                  </a:lnTo>
                  <a:cubicBezTo>
                    <a:pt x="3010420" y="1000563"/>
                    <a:pt x="3014393" y="992189"/>
                    <a:pt x="3009881" y="988664"/>
                  </a:cubicBezTo>
                  <a:cubicBezTo>
                    <a:pt x="3004582" y="984444"/>
                    <a:pt x="3001260" y="987676"/>
                    <a:pt x="2997219" y="991089"/>
                  </a:cubicBezTo>
                  <a:cubicBezTo>
                    <a:pt x="2999824" y="988125"/>
                    <a:pt x="3002966" y="987587"/>
                    <a:pt x="2998567" y="980582"/>
                  </a:cubicBezTo>
                  <a:cubicBezTo>
                    <a:pt x="2995063" y="978217"/>
                    <a:pt x="2993178" y="978816"/>
                    <a:pt x="2986712" y="980492"/>
                  </a:cubicBezTo>
                  <a:cubicBezTo>
                    <a:pt x="2990813" y="977439"/>
                    <a:pt x="2992130" y="978606"/>
                    <a:pt x="2990126" y="972680"/>
                  </a:cubicBezTo>
                  <a:cubicBezTo>
                    <a:pt x="2987386" y="968998"/>
                    <a:pt x="2986010" y="969306"/>
                    <a:pt x="2983272" y="969514"/>
                  </a:cubicBezTo>
                  <a:lnTo>
                    <a:pt x="2981373" y="969527"/>
                  </a:lnTo>
                  <a:lnTo>
                    <a:pt x="2982934" y="968966"/>
                  </a:lnTo>
                  <a:cubicBezTo>
                    <a:pt x="2983810" y="968672"/>
                    <a:pt x="2984602" y="968433"/>
                    <a:pt x="2985276" y="968279"/>
                  </a:cubicBezTo>
                  <a:cubicBezTo>
                    <a:pt x="2990663" y="967052"/>
                    <a:pt x="2996560" y="968743"/>
                    <a:pt x="2996590" y="965675"/>
                  </a:cubicBezTo>
                  <a:cubicBezTo>
                    <a:pt x="2997249" y="962322"/>
                    <a:pt x="2988837" y="951875"/>
                    <a:pt x="2985096" y="951037"/>
                  </a:cubicBezTo>
                  <a:cubicBezTo>
                    <a:pt x="2983097" y="950409"/>
                    <a:pt x="2977868" y="949881"/>
                    <a:pt x="2973115" y="949568"/>
                  </a:cubicBezTo>
                  <a:lnTo>
                    <a:pt x="2972009" y="949509"/>
                  </a:lnTo>
                  <a:lnTo>
                    <a:pt x="2972018" y="949486"/>
                  </a:lnTo>
                  <a:cubicBezTo>
                    <a:pt x="2973146" y="947928"/>
                    <a:pt x="2976902" y="947356"/>
                    <a:pt x="2979799" y="947086"/>
                  </a:cubicBezTo>
                  <a:cubicBezTo>
                    <a:pt x="2967645" y="931042"/>
                    <a:pt x="2951270" y="920744"/>
                    <a:pt x="2937141" y="920954"/>
                  </a:cubicBezTo>
                  <a:cubicBezTo>
                    <a:pt x="2920109" y="921463"/>
                    <a:pt x="2898766" y="925833"/>
                    <a:pt x="2886673" y="944572"/>
                  </a:cubicBezTo>
                  <a:cubicBezTo>
                    <a:pt x="2892854" y="944504"/>
                    <a:pt x="2897453" y="944532"/>
                    <a:pt x="2900905" y="944899"/>
                  </a:cubicBezTo>
                  <a:lnTo>
                    <a:pt x="2901482" y="944982"/>
                  </a:lnTo>
                  <a:lnTo>
                    <a:pt x="2899072" y="945637"/>
                  </a:lnTo>
                  <a:cubicBezTo>
                    <a:pt x="2886267" y="948718"/>
                    <a:pt x="2877345" y="948258"/>
                    <a:pt x="2874475" y="950754"/>
                  </a:cubicBezTo>
                  <a:cubicBezTo>
                    <a:pt x="2868471" y="954954"/>
                    <a:pt x="2829600" y="990764"/>
                    <a:pt x="2827999" y="1011039"/>
                  </a:cubicBezTo>
                  <a:cubicBezTo>
                    <a:pt x="2832115" y="1021801"/>
                    <a:pt x="2832889" y="1014196"/>
                    <a:pt x="2841979" y="1033151"/>
                  </a:cubicBezTo>
                  <a:lnTo>
                    <a:pt x="2856485" y="1016613"/>
                  </a:lnTo>
                  <a:lnTo>
                    <a:pt x="2839513" y="1051719"/>
                  </a:lnTo>
                  <a:cubicBezTo>
                    <a:pt x="2843746" y="1057899"/>
                    <a:pt x="2846631" y="1061206"/>
                    <a:pt x="2855442" y="1061100"/>
                  </a:cubicBezTo>
                  <a:cubicBezTo>
                    <a:pt x="2864853" y="1059852"/>
                    <a:pt x="2873546" y="1052138"/>
                    <a:pt x="2882598" y="1047657"/>
                  </a:cubicBezTo>
                  <a:cubicBezTo>
                    <a:pt x="2891543" y="1043934"/>
                    <a:pt x="2894202" y="1046496"/>
                    <a:pt x="2900005" y="1045916"/>
                  </a:cubicBezTo>
                  <a:cubicBezTo>
                    <a:pt x="2912232" y="1012752"/>
                    <a:pt x="2893028" y="1012904"/>
                    <a:pt x="2906243" y="976866"/>
                  </a:cubicBezTo>
                  <a:cubicBezTo>
                    <a:pt x="2901546" y="1005975"/>
                    <a:pt x="2920196" y="1005989"/>
                    <a:pt x="2906969" y="1054765"/>
                  </a:cubicBezTo>
                  <a:lnTo>
                    <a:pt x="2904860" y="1054420"/>
                  </a:lnTo>
                  <a:lnTo>
                    <a:pt x="2902192" y="1053737"/>
                  </a:lnTo>
                  <a:lnTo>
                    <a:pt x="2899458" y="1053311"/>
                  </a:lnTo>
                  <a:lnTo>
                    <a:pt x="2898691" y="1053133"/>
                  </a:lnTo>
                  <a:cubicBezTo>
                    <a:pt x="2896623" y="1052725"/>
                    <a:pt x="2894446" y="1052507"/>
                    <a:pt x="2891922" y="1052904"/>
                  </a:cubicBezTo>
                  <a:lnTo>
                    <a:pt x="2890936" y="1053134"/>
                  </a:lnTo>
                  <a:lnTo>
                    <a:pt x="2890339" y="1053185"/>
                  </a:lnTo>
                  <a:cubicBezTo>
                    <a:pt x="2877138" y="1055241"/>
                    <a:pt x="2872282" y="1066881"/>
                    <a:pt x="2851111" y="1069127"/>
                  </a:cubicBezTo>
                  <a:cubicBezTo>
                    <a:pt x="2844800" y="1067896"/>
                    <a:pt x="2834705" y="1058620"/>
                    <a:pt x="2828772" y="1051408"/>
                  </a:cubicBezTo>
                  <a:lnTo>
                    <a:pt x="2828313" y="1050814"/>
                  </a:lnTo>
                  <a:lnTo>
                    <a:pt x="2830035" y="1047937"/>
                  </a:lnTo>
                  <a:cubicBezTo>
                    <a:pt x="2831875" y="1045071"/>
                    <a:pt x="2833889" y="1042141"/>
                    <a:pt x="2836114" y="1039133"/>
                  </a:cubicBezTo>
                  <a:cubicBezTo>
                    <a:pt x="2832224" y="1028686"/>
                    <a:pt x="2821956" y="1025064"/>
                    <a:pt x="2819053" y="1012102"/>
                  </a:cubicBezTo>
                  <a:cubicBezTo>
                    <a:pt x="2823752" y="998692"/>
                    <a:pt x="2825667" y="989951"/>
                    <a:pt x="2849315" y="965944"/>
                  </a:cubicBezTo>
                  <a:cubicBezTo>
                    <a:pt x="2786454" y="974954"/>
                    <a:pt x="2786641" y="1025561"/>
                    <a:pt x="2769260" y="1013326"/>
                  </a:cubicBezTo>
                  <a:lnTo>
                    <a:pt x="2765636" y="1010063"/>
                  </a:lnTo>
                  <a:lnTo>
                    <a:pt x="2766697" y="1009468"/>
                  </a:lnTo>
                  <a:cubicBezTo>
                    <a:pt x="2773102" y="1005153"/>
                    <a:pt x="2765516" y="998939"/>
                    <a:pt x="2770650" y="989562"/>
                  </a:cubicBezTo>
                  <a:lnTo>
                    <a:pt x="2760166" y="999654"/>
                  </a:lnTo>
                  <a:lnTo>
                    <a:pt x="2761079" y="992755"/>
                  </a:lnTo>
                  <a:cubicBezTo>
                    <a:pt x="2766175" y="987685"/>
                    <a:pt x="2773064" y="984828"/>
                    <a:pt x="2774724" y="984200"/>
                  </a:cubicBezTo>
                  <a:cubicBezTo>
                    <a:pt x="2771604" y="993722"/>
                    <a:pt x="2778412" y="1000368"/>
                    <a:pt x="2774724" y="1008026"/>
                  </a:cubicBezTo>
                  <a:cubicBezTo>
                    <a:pt x="2810180" y="962927"/>
                    <a:pt x="2834655" y="960050"/>
                    <a:pt x="2851066" y="959644"/>
                  </a:cubicBezTo>
                  <a:cubicBezTo>
                    <a:pt x="2863829" y="948299"/>
                    <a:pt x="2864924" y="945340"/>
                    <a:pt x="2873676" y="943112"/>
                  </a:cubicBezTo>
                  <a:lnTo>
                    <a:pt x="2879712" y="942479"/>
                  </a:lnTo>
                  <a:lnTo>
                    <a:pt x="2880412" y="940982"/>
                  </a:lnTo>
                  <a:cubicBezTo>
                    <a:pt x="2885783" y="930313"/>
                    <a:pt x="2890472" y="926985"/>
                    <a:pt x="2899691" y="922446"/>
                  </a:cubicBezTo>
                  <a:cubicBezTo>
                    <a:pt x="2908909" y="917908"/>
                    <a:pt x="2921696" y="913866"/>
                    <a:pt x="2935363" y="914392"/>
                  </a:cubicBezTo>
                  <a:close/>
                  <a:moveTo>
                    <a:pt x="11621423" y="638389"/>
                  </a:moveTo>
                  <a:cubicBezTo>
                    <a:pt x="11651323" y="638727"/>
                    <a:pt x="11666272" y="651734"/>
                    <a:pt x="11666272" y="677411"/>
                  </a:cubicBezTo>
                  <a:lnTo>
                    <a:pt x="11666272" y="713771"/>
                  </a:lnTo>
                  <a:cubicBezTo>
                    <a:pt x="11666272" y="730833"/>
                    <a:pt x="11672818" y="739786"/>
                    <a:pt x="11685910" y="740631"/>
                  </a:cubicBezTo>
                  <a:lnTo>
                    <a:pt x="11685910" y="759127"/>
                  </a:lnTo>
                  <a:cubicBezTo>
                    <a:pt x="11672818" y="759972"/>
                    <a:pt x="11666272" y="768757"/>
                    <a:pt x="11666272" y="785480"/>
                  </a:cubicBezTo>
                  <a:lnTo>
                    <a:pt x="11666272" y="822855"/>
                  </a:lnTo>
                  <a:cubicBezTo>
                    <a:pt x="11666272" y="848193"/>
                    <a:pt x="11651323" y="861031"/>
                    <a:pt x="11621423" y="861369"/>
                  </a:cubicBezTo>
                  <a:lnTo>
                    <a:pt x="11621423" y="841858"/>
                  </a:lnTo>
                  <a:cubicBezTo>
                    <a:pt x="11628771" y="841689"/>
                    <a:pt x="11633987" y="839662"/>
                    <a:pt x="11637070" y="835777"/>
                  </a:cubicBezTo>
                  <a:cubicBezTo>
                    <a:pt x="11640152" y="831892"/>
                    <a:pt x="11641694" y="825473"/>
                    <a:pt x="11641694" y="816520"/>
                  </a:cubicBezTo>
                  <a:lnTo>
                    <a:pt x="11641694" y="781173"/>
                  </a:lnTo>
                  <a:cubicBezTo>
                    <a:pt x="11641694" y="764027"/>
                    <a:pt x="11650014" y="753596"/>
                    <a:pt x="11666653" y="749879"/>
                  </a:cubicBezTo>
                  <a:lnTo>
                    <a:pt x="11666653" y="749500"/>
                  </a:lnTo>
                  <a:cubicBezTo>
                    <a:pt x="11650014" y="745529"/>
                    <a:pt x="11641694" y="735014"/>
                    <a:pt x="11641694" y="717952"/>
                  </a:cubicBezTo>
                  <a:lnTo>
                    <a:pt x="11641694" y="682226"/>
                  </a:lnTo>
                  <a:cubicBezTo>
                    <a:pt x="11641694" y="666431"/>
                    <a:pt x="11634937" y="658365"/>
                    <a:pt x="11621423" y="658027"/>
                  </a:cubicBezTo>
                  <a:close/>
                  <a:moveTo>
                    <a:pt x="11603939" y="638389"/>
                  </a:moveTo>
                  <a:lnTo>
                    <a:pt x="11603939" y="658027"/>
                  </a:lnTo>
                  <a:cubicBezTo>
                    <a:pt x="11590510" y="658365"/>
                    <a:pt x="11583795" y="666431"/>
                    <a:pt x="11583795" y="682226"/>
                  </a:cubicBezTo>
                  <a:lnTo>
                    <a:pt x="11583795" y="717952"/>
                  </a:lnTo>
                  <a:cubicBezTo>
                    <a:pt x="11583795" y="735014"/>
                    <a:pt x="11575391" y="745529"/>
                    <a:pt x="11558583" y="749500"/>
                  </a:cubicBezTo>
                  <a:lnTo>
                    <a:pt x="11558583" y="749879"/>
                  </a:lnTo>
                  <a:cubicBezTo>
                    <a:pt x="11575391" y="753596"/>
                    <a:pt x="11583795" y="764027"/>
                    <a:pt x="11583795" y="781173"/>
                  </a:cubicBezTo>
                  <a:lnTo>
                    <a:pt x="11583795" y="816520"/>
                  </a:lnTo>
                  <a:cubicBezTo>
                    <a:pt x="11583795" y="825557"/>
                    <a:pt x="11585294" y="831997"/>
                    <a:pt x="11588293" y="835840"/>
                  </a:cubicBezTo>
                  <a:cubicBezTo>
                    <a:pt x="11591291" y="839683"/>
                    <a:pt x="11596506" y="841689"/>
                    <a:pt x="11603939" y="841858"/>
                  </a:cubicBezTo>
                  <a:lnTo>
                    <a:pt x="11603939" y="861369"/>
                  </a:lnTo>
                  <a:cubicBezTo>
                    <a:pt x="11573870" y="861031"/>
                    <a:pt x="11558836" y="848193"/>
                    <a:pt x="11558836" y="822855"/>
                  </a:cubicBezTo>
                  <a:lnTo>
                    <a:pt x="11558836" y="785480"/>
                  </a:lnTo>
                  <a:cubicBezTo>
                    <a:pt x="11558836" y="768757"/>
                    <a:pt x="11552248" y="759972"/>
                    <a:pt x="11539072" y="759127"/>
                  </a:cubicBezTo>
                  <a:lnTo>
                    <a:pt x="11539072" y="740631"/>
                  </a:lnTo>
                  <a:cubicBezTo>
                    <a:pt x="11552248" y="739786"/>
                    <a:pt x="11558836" y="730833"/>
                    <a:pt x="11558836" y="713771"/>
                  </a:cubicBezTo>
                  <a:lnTo>
                    <a:pt x="11558836" y="677411"/>
                  </a:lnTo>
                  <a:cubicBezTo>
                    <a:pt x="11558836" y="651734"/>
                    <a:pt x="11573870" y="638727"/>
                    <a:pt x="11603939" y="638389"/>
                  </a:cubicBezTo>
                  <a:close/>
                  <a:moveTo>
                    <a:pt x="10947400" y="638389"/>
                  </a:moveTo>
                  <a:cubicBezTo>
                    <a:pt x="10977300" y="638727"/>
                    <a:pt x="10992249" y="651734"/>
                    <a:pt x="10992249" y="677411"/>
                  </a:cubicBezTo>
                  <a:lnTo>
                    <a:pt x="10992249" y="713771"/>
                  </a:lnTo>
                  <a:cubicBezTo>
                    <a:pt x="10992249" y="730833"/>
                    <a:pt x="10998795" y="739786"/>
                    <a:pt x="11011887" y="740631"/>
                  </a:cubicBezTo>
                  <a:lnTo>
                    <a:pt x="11011887" y="759127"/>
                  </a:lnTo>
                  <a:cubicBezTo>
                    <a:pt x="10998795" y="759972"/>
                    <a:pt x="10992249" y="768757"/>
                    <a:pt x="10992249" y="785480"/>
                  </a:cubicBezTo>
                  <a:lnTo>
                    <a:pt x="10992249" y="822855"/>
                  </a:lnTo>
                  <a:cubicBezTo>
                    <a:pt x="10992249" y="848193"/>
                    <a:pt x="10977300" y="861031"/>
                    <a:pt x="10947400" y="861369"/>
                  </a:cubicBezTo>
                  <a:lnTo>
                    <a:pt x="10947400" y="841858"/>
                  </a:lnTo>
                  <a:cubicBezTo>
                    <a:pt x="10954748" y="841689"/>
                    <a:pt x="10959964" y="839662"/>
                    <a:pt x="10963047" y="835777"/>
                  </a:cubicBezTo>
                  <a:cubicBezTo>
                    <a:pt x="10966129" y="831892"/>
                    <a:pt x="10967671" y="825473"/>
                    <a:pt x="10967671" y="816520"/>
                  </a:cubicBezTo>
                  <a:lnTo>
                    <a:pt x="10967671" y="781173"/>
                  </a:lnTo>
                  <a:cubicBezTo>
                    <a:pt x="10967671" y="764027"/>
                    <a:pt x="10975991" y="753596"/>
                    <a:pt x="10992630" y="749879"/>
                  </a:cubicBezTo>
                  <a:lnTo>
                    <a:pt x="10992630" y="749500"/>
                  </a:lnTo>
                  <a:cubicBezTo>
                    <a:pt x="10975991" y="745529"/>
                    <a:pt x="10967671" y="735014"/>
                    <a:pt x="10967671" y="717952"/>
                  </a:cubicBezTo>
                  <a:lnTo>
                    <a:pt x="10967671" y="682226"/>
                  </a:lnTo>
                  <a:cubicBezTo>
                    <a:pt x="10967671" y="666431"/>
                    <a:pt x="10960914" y="658365"/>
                    <a:pt x="10947400" y="658027"/>
                  </a:cubicBezTo>
                  <a:close/>
                  <a:moveTo>
                    <a:pt x="10929916" y="638389"/>
                  </a:moveTo>
                  <a:lnTo>
                    <a:pt x="10929916" y="658027"/>
                  </a:lnTo>
                  <a:cubicBezTo>
                    <a:pt x="10916487" y="658365"/>
                    <a:pt x="10909772" y="666431"/>
                    <a:pt x="10909772" y="682226"/>
                  </a:cubicBezTo>
                  <a:lnTo>
                    <a:pt x="10909772" y="717952"/>
                  </a:lnTo>
                  <a:cubicBezTo>
                    <a:pt x="10909772" y="735014"/>
                    <a:pt x="10901368" y="745529"/>
                    <a:pt x="10884560" y="749500"/>
                  </a:cubicBezTo>
                  <a:lnTo>
                    <a:pt x="10884560" y="749879"/>
                  </a:lnTo>
                  <a:cubicBezTo>
                    <a:pt x="10901368" y="753596"/>
                    <a:pt x="10909772" y="764027"/>
                    <a:pt x="10909772" y="781173"/>
                  </a:cubicBezTo>
                  <a:lnTo>
                    <a:pt x="10909772" y="816520"/>
                  </a:lnTo>
                  <a:cubicBezTo>
                    <a:pt x="10909772" y="825557"/>
                    <a:pt x="10911271" y="831997"/>
                    <a:pt x="10914270" y="835840"/>
                  </a:cubicBezTo>
                  <a:cubicBezTo>
                    <a:pt x="10917268" y="839683"/>
                    <a:pt x="10922483" y="841689"/>
                    <a:pt x="10929916" y="841858"/>
                  </a:cubicBezTo>
                  <a:lnTo>
                    <a:pt x="10929916" y="861369"/>
                  </a:lnTo>
                  <a:cubicBezTo>
                    <a:pt x="10899847" y="861031"/>
                    <a:pt x="10884813" y="848193"/>
                    <a:pt x="10884813" y="822855"/>
                  </a:cubicBezTo>
                  <a:lnTo>
                    <a:pt x="10884813" y="785480"/>
                  </a:lnTo>
                  <a:cubicBezTo>
                    <a:pt x="10884813" y="768757"/>
                    <a:pt x="10878225" y="759972"/>
                    <a:pt x="10865049" y="759127"/>
                  </a:cubicBezTo>
                  <a:lnTo>
                    <a:pt x="10865049" y="740631"/>
                  </a:lnTo>
                  <a:cubicBezTo>
                    <a:pt x="10878225" y="739786"/>
                    <a:pt x="10884813" y="730833"/>
                    <a:pt x="10884813" y="713771"/>
                  </a:cubicBezTo>
                  <a:lnTo>
                    <a:pt x="10884813" y="677411"/>
                  </a:lnTo>
                  <a:cubicBezTo>
                    <a:pt x="10884813" y="651734"/>
                    <a:pt x="10899847" y="638727"/>
                    <a:pt x="10929916" y="638389"/>
                  </a:cubicBezTo>
                  <a:close/>
                  <a:moveTo>
                    <a:pt x="9748950" y="638389"/>
                  </a:moveTo>
                  <a:cubicBezTo>
                    <a:pt x="9778850" y="638727"/>
                    <a:pt x="9793799" y="651734"/>
                    <a:pt x="9793799" y="677411"/>
                  </a:cubicBezTo>
                  <a:lnTo>
                    <a:pt x="9793799" y="713771"/>
                  </a:lnTo>
                  <a:cubicBezTo>
                    <a:pt x="9793799" y="730833"/>
                    <a:pt x="9800345" y="739786"/>
                    <a:pt x="9813437" y="740631"/>
                  </a:cubicBezTo>
                  <a:lnTo>
                    <a:pt x="9813437" y="759127"/>
                  </a:lnTo>
                  <a:cubicBezTo>
                    <a:pt x="9800345" y="759972"/>
                    <a:pt x="9793799" y="768757"/>
                    <a:pt x="9793799" y="785480"/>
                  </a:cubicBezTo>
                  <a:lnTo>
                    <a:pt x="9793799" y="822855"/>
                  </a:lnTo>
                  <a:cubicBezTo>
                    <a:pt x="9793799" y="848193"/>
                    <a:pt x="9778850" y="861031"/>
                    <a:pt x="9748950" y="861369"/>
                  </a:cubicBezTo>
                  <a:lnTo>
                    <a:pt x="9748950" y="841858"/>
                  </a:lnTo>
                  <a:cubicBezTo>
                    <a:pt x="9756298" y="841689"/>
                    <a:pt x="9761514" y="839662"/>
                    <a:pt x="9764597" y="835777"/>
                  </a:cubicBezTo>
                  <a:cubicBezTo>
                    <a:pt x="9767679" y="831892"/>
                    <a:pt x="9769221" y="825473"/>
                    <a:pt x="9769221" y="816520"/>
                  </a:cubicBezTo>
                  <a:lnTo>
                    <a:pt x="9769221" y="781173"/>
                  </a:lnTo>
                  <a:cubicBezTo>
                    <a:pt x="9769221" y="764027"/>
                    <a:pt x="9777541" y="753596"/>
                    <a:pt x="9794180" y="749879"/>
                  </a:cubicBezTo>
                  <a:lnTo>
                    <a:pt x="9794180" y="749500"/>
                  </a:lnTo>
                  <a:cubicBezTo>
                    <a:pt x="9777541" y="745529"/>
                    <a:pt x="9769221" y="735014"/>
                    <a:pt x="9769221" y="717952"/>
                  </a:cubicBezTo>
                  <a:lnTo>
                    <a:pt x="9769221" y="682226"/>
                  </a:lnTo>
                  <a:cubicBezTo>
                    <a:pt x="9769221" y="666431"/>
                    <a:pt x="9762464" y="658365"/>
                    <a:pt x="9748950" y="658027"/>
                  </a:cubicBezTo>
                  <a:close/>
                  <a:moveTo>
                    <a:pt x="9731466" y="638389"/>
                  </a:moveTo>
                  <a:lnTo>
                    <a:pt x="9731466" y="658027"/>
                  </a:lnTo>
                  <a:cubicBezTo>
                    <a:pt x="9718037" y="658365"/>
                    <a:pt x="9711322" y="666431"/>
                    <a:pt x="9711322" y="682226"/>
                  </a:cubicBezTo>
                  <a:lnTo>
                    <a:pt x="9711322" y="717952"/>
                  </a:lnTo>
                  <a:cubicBezTo>
                    <a:pt x="9711322" y="735014"/>
                    <a:pt x="9702918" y="745529"/>
                    <a:pt x="9686110" y="749500"/>
                  </a:cubicBezTo>
                  <a:lnTo>
                    <a:pt x="9686110" y="749879"/>
                  </a:lnTo>
                  <a:cubicBezTo>
                    <a:pt x="9702918" y="753596"/>
                    <a:pt x="9711322" y="764027"/>
                    <a:pt x="9711322" y="781173"/>
                  </a:cubicBezTo>
                  <a:lnTo>
                    <a:pt x="9711322" y="816520"/>
                  </a:lnTo>
                  <a:cubicBezTo>
                    <a:pt x="9711322" y="825557"/>
                    <a:pt x="9712821" y="831997"/>
                    <a:pt x="9715820" y="835840"/>
                  </a:cubicBezTo>
                  <a:cubicBezTo>
                    <a:pt x="9718818" y="839683"/>
                    <a:pt x="9724033" y="841689"/>
                    <a:pt x="9731466" y="841858"/>
                  </a:cubicBezTo>
                  <a:lnTo>
                    <a:pt x="9731466" y="861369"/>
                  </a:lnTo>
                  <a:cubicBezTo>
                    <a:pt x="9701397" y="861031"/>
                    <a:pt x="9686363" y="848193"/>
                    <a:pt x="9686363" y="822855"/>
                  </a:cubicBezTo>
                  <a:lnTo>
                    <a:pt x="9686363" y="785480"/>
                  </a:lnTo>
                  <a:cubicBezTo>
                    <a:pt x="9686363" y="768757"/>
                    <a:pt x="9679775" y="759972"/>
                    <a:pt x="9666599" y="759127"/>
                  </a:cubicBezTo>
                  <a:lnTo>
                    <a:pt x="9666599" y="740631"/>
                  </a:lnTo>
                  <a:cubicBezTo>
                    <a:pt x="9679775" y="739786"/>
                    <a:pt x="9686363" y="730833"/>
                    <a:pt x="9686363" y="713771"/>
                  </a:cubicBezTo>
                  <a:lnTo>
                    <a:pt x="9686363" y="677411"/>
                  </a:lnTo>
                  <a:cubicBezTo>
                    <a:pt x="9686363" y="651734"/>
                    <a:pt x="9701397" y="638727"/>
                    <a:pt x="9731466" y="638389"/>
                  </a:cubicBezTo>
                  <a:close/>
                  <a:moveTo>
                    <a:pt x="8124748" y="638389"/>
                  </a:moveTo>
                  <a:cubicBezTo>
                    <a:pt x="8154648" y="638727"/>
                    <a:pt x="8169597" y="651734"/>
                    <a:pt x="8169597" y="677411"/>
                  </a:cubicBezTo>
                  <a:lnTo>
                    <a:pt x="8169597" y="713771"/>
                  </a:lnTo>
                  <a:cubicBezTo>
                    <a:pt x="8169597" y="730833"/>
                    <a:pt x="8176143" y="739786"/>
                    <a:pt x="8189235" y="740631"/>
                  </a:cubicBezTo>
                  <a:lnTo>
                    <a:pt x="8189235" y="759127"/>
                  </a:lnTo>
                  <a:cubicBezTo>
                    <a:pt x="8176143" y="759972"/>
                    <a:pt x="8169597" y="768757"/>
                    <a:pt x="8169597" y="785480"/>
                  </a:cubicBezTo>
                  <a:lnTo>
                    <a:pt x="8169597" y="822855"/>
                  </a:lnTo>
                  <a:cubicBezTo>
                    <a:pt x="8169597" y="848193"/>
                    <a:pt x="8154648" y="861031"/>
                    <a:pt x="8124748" y="861369"/>
                  </a:cubicBezTo>
                  <a:lnTo>
                    <a:pt x="8124748" y="841858"/>
                  </a:lnTo>
                  <a:cubicBezTo>
                    <a:pt x="8132096" y="841689"/>
                    <a:pt x="8137312" y="839662"/>
                    <a:pt x="8140395" y="835777"/>
                  </a:cubicBezTo>
                  <a:cubicBezTo>
                    <a:pt x="8143477" y="831892"/>
                    <a:pt x="8145019" y="825473"/>
                    <a:pt x="8145019" y="816520"/>
                  </a:cubicBezTo>
                  <a:lnTo>
                    <a:pt x="8145019" y="781173"/>
                  </a:lnTo>
                  <a:cubicBezTo>
                    <a:pt x="8145019" y="764027"/>
                    <a:pt x="8153339" y="753596"/>
                    <a:pt x="8169978" y="749879"/>
                  </a:cubicBezTo>
                  <a:lnTo>
                    <a:pt x="8169978" y="749500"/>
                  </a:lnTo>
                  <a:cubicBezTo>
                    <a:pt x="8153339" y="745529"/>
                    <a:pt x="8145019" y="735014"/>
                    <a:pt x="8145019" y="717952"/>
                  </a:cubicBezTo>
                  <a:lnTo>
                    <a:pt x="8145019" y="682226"/>
                  </a:lnTo>
                  <a:cubicBezTo>
                    <a:pt x="8145019" y="666431"/>
                    <a:pt x="8138262" y="658365"/>
                    <a:pt x="8124748" y="658027"/>
                  </a:cubicBezTo>
                  <a:close/>
                  <a:moveTo>
                    <a:pt x="8107264" y="638389"/>
                  </a:moveTo>
                  <a:lnTo>
                    <a:pt x="8107264" y="658027"/>
                  </a:lnTo>
                  <a:cubicBezTo>
                    <a:pt x="8093835" y="658365"/>
                    <a:pt x="8087120" y="666431"/>
                    <a:pt x="8087120" y="682226"/>
                  </a:cubicBezTo>
                  <a:lnTo>
                    <a:pt x="8087120" y="717952"/>
                  </a:lnTo>
                  <a:cubicBezTo>
                    <a:pt x="8087120" y="735014"/>
                    <a:pt x="8078716" y="745529"/>
                    <a:pt x="8061908" y="749500"/>
                  </a:cubicBezTo>
                  <a:lnTo>
                    <a:pt x="8061908" y="749879"/>
                  </a:lnTo>
                  <a:cubicBezTo>
                    <a:pt x="8078716" y="753596"/>
                    <a:pt x="8087120" y="764027"/>
                    <a:pt x="8087120" y="781173"/>
                  </a:cubicBezTo>
                  <a:lnTo>
                    <a:pt x="8087120" y="816520"/>
                  </a:lnTo>
                  <a:cubicBezTo>
                    <a:pt x="8087120" y="825557"/>
                    <a:pt x="8088619" y="831997"/>
                    <a:pt x="8091618" y="835840"/>
                  </a:cubicBezTo>
                  <a:cubicBezTo>
                    <a:pt x="8094616" y="839683"/>
                    <a:pt x="8099832" y="841689"/>
                    <a:pt x="8107264" y="841858"/>
                  </a:cubicBezTo>
                  <a:lnTo>
                    <a:pt x="8107264" y="861369"/>
                  </a:lnTo>
                  <a:cubicBezTo>
                    <a:pt x="8077196" y="861031"/>
                    <a:pt x="8062162" y="848193"/>
                    <a:pt x="8062162" y="822855"/>
                  </a:cubicBezTo>
                  <a:lnTo>
                    <a:pt x="8062162" y="785480"/>
                  </a:lnTo>
                  <a:cubicBezTo>
                    <a:pt x="8062162" y="768757"/>
                    <a:pt x="8055573" y="759972"/>
                    <a:pt x="8042397" y="759127"/>
                  </a:cubicBezTo>
                  <a:lnTo>
                    <a:pt x="8042397" y="740631"/>
                  </a:lnTo>
                  <a:cubicBezTo>
                    <a:pt x="8055573" y="739786"/>
                    <a:pt x="8062162" y="730833"/>
                    <a:pt x="8062162" y="713771"/>
                  </a:cubicBezTo>
                  <a:lnTo>
                    <a:pt x="8062162" y="677411"/>
                  </a:lnTo>
                  <a:cubicBezTo>
                    <a:pt x="8062162" y="651734"/>
                    <a:pt x="8077196" y="638727"/>
                    <a:pt x="8107264" y="638389"/>
                  </a:cubicBezTo>
                  <a:close/>
                  <a:moveTo>
                    <a:pt x="5549040" y="638389"/>
                  </a:moveTo>
                  <a:cubicBezTo>
                    <a:pt x="5578939" y="638727"/>
                    <a:pt x="5593889" y="651734"/>
                    <a:pt x="5593889" y="677411"/>
                  </a:cubicBezTo>
                  <a:lnTo>
                    <a:pt x="5593889" y="713771"/>
                  </a:lnTo>
                  <a:cubicBezTo>
                    <a:pt x="5593889" y="730833"/>
                    <a:pt x="5600434" y="739786"/>
                    <a:pt x="5613526" y="740631"/>
                  </a:cubicBezTo>
                  <a:lnTo>
                    <a:pt x="5613526" y="759127"/>
                  </a:lnTo>
                  <a:cubicBezTo>
                    <a:pt x="5600434" y="759972"/>
                    <a:pt x="5593889" y="768757"/>
                    <a:pt x="5593889" y="785480"/>
                  </a:cubicBezTo>
                  <a:lnTo>
                    <a:pt x="5593889" y="822855"/>
                  </a:lnTo>
                  <a:cubicBezTo>
                    <a:pt x="5593889" y="848193"/>
                    <a:pt x="5578939" y="861031"/>
                    <a:pt x="5549040" y="861369"/>
                  </a:cubicBezTo>
                  <a:lnTo>
                    <a:pt x="5549040" y="841858"/>
                  </a:lnTo>
                  <a:cubicBezTo>
                    <a:pt x="5556387" y="841689"/>
                    <a:pt x="5561602" y="839662"/>
                    <a:pt x="5564686" y="835777"/>
                  </a:cubicBezTo>
                  <a:cubicBezTo>
                    <a:pt x="5567768" y="831892"/>
                    <a:pt x="5569311" y="825473"/>
                    <a:pt x="5569311" y="816520"/>
                  </a:cubicBezTo>
                  <a:lnTo>
                    <a:pt x="5569311" y="781173"/>
                  </a:lnTo>
                  <a:cubicBezTo>
                    <a:pt x="5569311" y="764027"/>
                    <a:pt x="5577629" y="753596"/>
                    <a:pt x="5594268" y="749879"/>
                  </a:cubicBezTo>
                  <a:lnTo>
                    <a:pt x="5594268" y="749500"/>
                  </a:lnTo>
                  <a:cubicBezTo>
                    <a:pt x="5577629" y="745529"/>
                    <a:pt x="5569311" y="735014"/>
                    <a:pt x="5569311" y="717952"/>
                  </a:cubicBezTo>
                  <a:lnTo>
                    <a:pt x="5569311" y="682226"/>
                  </a:lnTo>
                  <a:cubicBezTo>
                    <a:pt x="5569311" y="666431"/>
                    <a:pt x="5562554" y="658365"/>
                    <a:pt x="5549040" y="658027"/>
                  </a:cubicBezTo>
                  <a:close/>
                  <a:moveTo>
                    <a:pt x="5531555" y="638389"/>
                  </a:moveTo>
                  <a:lnTo>
                    <a:pt x="5531555" y="658027"/>
                  </a:lnTo>
                  <a:cubicBezTo>
                    <a:pt x="5518126" y="658365"/>
                    <a:pt x="5511412" y="666431"/>
                    <a:pt x="5511412" y="682226"/>
                  </a:cubicBezTo>
                  <a:lnTo>
                    <a:pt x="5511412" y="717952"/>
                  </a:lnTo>
                  <a:cubicBezTo>
                    <a:pt x="5511412" y="735014"/>
                    <a:pt x="5503007" y="745529"/>
                    <a:pt x="5486199" y="749500"/>
                  </a:cubicBezTo>
                  <a:lnTo>
                    <a:pt x="5486199" y="749879"/>
                  </a:lnTo>
                  <a:cubicBezTo>
                    <a:pt x="5503007" y="753596"/>
                    <a:pt x="5511412" y="764027"/>
                    <a:pt x="5511412" y="781173"/>
                  </a:cubicBezTo>
                  <a:lnTo>
                    <a:pt x="5511412" y="816520"/>
                  </a:lnTo>
                  <a:cubicBezTo>
                    <a:pt x="5511412" y="825557"/>
                    <a:pt x="5512910" y="831997"/>
                    <a:pt x="5515909" y="835840"/>
                  </a:cubicBezTo>
                  <a:cubicBezTo>
                    <a:pt x="5518906" y="839683"/>
                    <a:pt x="5524122" y="841689"/>
                    <a:pt x="5531555" y="841858"/>
                  </a:cubicBezTo>
                  <a:lnTo>
                    <a:pt x="5531555" y="861369"/>
                  </a:lnTo>
                  <a:cubicBezTo>
                    <a:pt x="5501487" y="861031"/>
                    <a:pt x="5486453" y="848193"/>
                    <a:pt x="5486453" y="822855"/>
                  </a:cubicBezTo>
                  <a:lnTo>
                    <a:pt x="5486453" y="785480"/>
                  </a:lnTo>
                  <a:cubicBezTo>
                    <a:pt x="5486453" y="768757"/>
                    <a:pt x="5479865" y="759972"/>
                    <a:pt x="5466689" y="759127"/>
                  </a:cubicBezTo>
                  <a:lnTo>
                    <a:pt x="5466689" y="740631"/>
                  </a:lnTo>
                  <a:cubicBezTo>
                    <a:pt x="5479865" y="739786"/>
                    <a:pt x="5486453" y="730833"/>
                    <a:pt x="5486453" y="713771"/>
                  </a:cubicBezTo>
                  <a:lnTo>
                    <a:pt x="5486453" y="677411"/>
                  </a:lnTo>
                  <a:cubicBezTo>
                    <a:pt x="5486453" y="651734"/>
                    <a:pt x="5501487" y="638727"/>
                    <a:pt x="5531555" y="638389"/>
                  </a:cubicBezTo>
                  <a:close/>
                  <a:moveTo>
                    <a:pt x="4882938" y="638389"/>
                  </a:moveTo>
                  <a:cubicBezTo>
                    <a:pt x="4912839" y="638727"/>
                    <a:pt x="4927787" y="651734"/>
                    <a:pt x="4927787" y="677411"/>
                  </a:cubicBezTo>
                  <a:lnTo>
                    <a:pt x="4927787" y="713771"/>
                  </a:lnTo>
                  <a:cubicBezTo>
                    <a:pt x="4927787" y="730833"/>
                    <a:pt x="4934333" y="739786"/>
                    <a:pt x="4947424" y="740631"/>
                  </a:cubicBezTo>
                  <a:lnTo>
                    <a:pt x="4947424" y="759127"/>
                  </a:lnTo>
                  <a:cubicBezTo>
                    <a:pt x="4934333" y="759972"/>
                    <a:pt x="4927787" y="768757"/>
                    <a:pt x="4927787" y="785480"/>
                  </a:cubicBezTo>
                  <a:lnTo>
                    <a:pt x="4927787" y="822855"/>
                  </a:lnTo>
                  <a:cubicBezTo>
                    <a:pt x="4927787" y="848193"/>
                    <a:pt x="4912839" y="861031"/>
                    <a:pt x="4882938" y="861369"/>
                  </a:cubicBezTo>
                  <a:lnTo>
                    <a:pt x="4882938" y="841858"/>
                  </a:lnTo>
                  <a:cubicBezTo>
                    <a:pt x="4890285" y="841689"/>
                    <a:pt x="4895501" y="839662"/>
                    <a:pt x="4898583" y="835777"/>
                  </a:cubicBezTo>
                  <a:cubicBezTo>
                    <a:pt x="4901667" y="831892"/>
                    <a:pt x="4903208" y="825473"/>
                    <a:pt x="4903208" y="816520"/>
                  </a:cubicBezTo>
                  <a:lnTo>
                    <a:pt x="4903208" y="781173"/>
                  </a:lnTo>
                  <a:cubicBezTo>
                    <a:pt x="4903208" y="764027"/>
                    <a:pt x="4911527" y="753596"/>
                    <a:pt x="4928167" y="749879"/>
                  </a:cubicBezTo>
                  <a:lnTo>
                    <a:pt x="4928167" y="749500"/>
                  </a:lnTo>
                  <a:cubicBezTo>
                    <a:pt x="4911527" y="745529"/>
                    <a:pt x="4903208" y="735014"/>
                    <a:pt x="4903208" y="717952"/>
                  </a:cubicBezTo>
                  <a:lnTo>
                    <a:pt x="4903208" y="682226"/>
                  </a:lnTo>
                  <a:cubicBezTo>
                    <a:pt x="4903208" y="666431"/>
                    <a:pt x="4896452" y="658365"/>
                    <a:pt x="4882938" y="658027"/>
                  </a:cubicBezTo>
                  <a:close/>
                  <a:moveTo>
                    <a:pt x="4865453" y="638389"/>
                  </a:moveTo>
                  <a:lnTo>
                    <a:pt x="4865453" y="658027"/>
                  </a:lnTo>
                  <a:cubicBezTo>
                    <a:pt x="4852023" y="658365"/>
                    <a:pt x="4845309" y="666431"/>
                    <a:pt x="4845309" y="682226"/>
                  </a:cubicBezTo>
                  <a:lnTo>
                    <a:pt x="4845309" y="717952"/>
                  </a:lnTo>
                  <a:cubicBezTo>
                    <a:pt x="4845309" y="735014"/>
                    <a:pt x="4836904" y="745529"/>
                    <a:pt x="4820097" y="749500"/>
                  </a:cubicBezTo>
                  <a:lnTo>
                    <a:pt x="4820097" y="749879"/>
                  </a:lnTo>
                  <a:cubicBezTo>
                    <a:pt x="4836904" y="753596"/>
                    <a:pt x="4845309" y="764027"/>
                    <a:pt x="4845309" y="781173"/>
                  </a:cubicBezTo>
                  <a:lnTo>
                    <a:pt x="4845309" y="816520"/>
                  </a:lnTo>
                  <a:cubicBezTo>
                    <a:pt x="4845309" y="825557"/>
                    <a:pt x="4846809" y="831997"/>
                    <a:pt x="4849806" y="835840"/>
                  </a:cubicBezTo>
                  <a:cubicBezTo>
                    <a:pt x="4852805" y="839683"/>
                    <a:pt x="4858021" y="841689"/>
                    <a:pt x="4865453" y="841858"/>
                  </a:cubicBezTo>
                  <a:lnTo>
                    <a:pt x="4865453" y="861369"/>
                  </a:lnTo>
                  <a:cubicBezTo>
                    <a:pt x="4835384" y="861031"/>
                    <a:pt x="4820350" y="848193"/>
                    <a:pt x="4820350" y="822855"/>
                  </a:cubicBezTo>
                  <a:lnTo>
                    <a:pt x="4820350" y="785480"/>
                  </a:lnTo>
                  <a:cubicBezTo>
                    <a:pt x="4820350" y="768757"/>
                    <a:pt x="4813762" y="759972"/>
                    <a:pt x="4800586" y="759127"/>
                  </a:cubicBezTo>
                  <a:lnTo>
                    <a:pt x="4800586" y="740631"/>
                  </a:lnTo>
                  <a:cubicBezTo>
                    <a:pt x="4813762" y="739786"/>
                    <a:pt x="4820350" y="730833"/>
                    <a:pt x="4820350" y="713771"/>
                  </a:cubicBezTo>
                  <a:lnTo>
                    <a:pt x="4820350" y="677411"/>
                  </a:lnTo>
                  <a:cubicBezTo>
                    <a:pt x="4820350" y="651734"/>
                    <a:pt x="4835384" y="638727"/>
                    <a:pt x="4865453" y="638389"/>
                  </a:cubicBezTo>
                  <a:close/>
                  <a:moveTo>
                    <a:pt x="2058393" y="638389"/>
                  </a:moveTo>
                  <a:cubicBezTo>
                    <a:pt x="2088293" y="638727"/>
                    <a:pt x="2103243" y="651734"/>
                    <a:pt x="2103243" y="677411"/>
                  </a:cubicBezTo>
                  <a:lnTo>
                    <a:pt x="2103243" y="713771"/>
                  </a:lnTo>
                  <a:cubicBezTo>
                    <a:pt x="2103243" y="730833"/>
                    <a:pt x="2109787" y="739786"/>
                    <a:pt x="2122880" y="740631"/>
                  </a:cubicBezTo>
                  <a:lnTo>
                    <a:pt x="2122880" y="759127"/>
                  </a:lnTo>
                  <a:cubicBezTo>
                    <a:pt x="2109787" y="759972"/>
                    <a:pt x="2103243" y="768757"/>
                    <a:pt x="2103243" y="785480"/>
                  </a:cubicBezTo>
                  <a:lnTo>
                    <a:pt x="2103243" y="822855"/>
                  </a:lnTo>
                  <a:cubicBezTo>
                    <a:pt x="2103243" y="848193"/>
                    <a:pt x="2088293" y="861031"/>
                    <a:pt x="2058393" y="861369"/>
                  </a:cubicBezTo>
                  <a:lnTo>
                    <a:pt x="2058393" y="841858"/>
                  </a:lnTo>
                  <a:cubicBezTo>
                    <a:pt x="2065740" y="841689"/>
                    <a:pt x="2070956" y="839662"/>
                    <a:pt x="2074040" y="835777"/>
                  </a:cubicBezTo>
                  <a:cubicBezTo>
                    <a:pt x="2077123" y="831892"/>
                    <a:pt x="2078664" y="825473"/>
                    <a:pt x="2078664" y="816520"/>
                  </a:cubicBezTo>
                  <a:lnTo>
                    <a:pt x="2078664" y="781173"/>
                  </a:lnTo>
                  <a:cubicBezTo>
                    <a:pt x="2078664" y="764027"/>
                    <a:pt x="2086984" y="753596"/>
                    <a:pt x="2103623" y="749879"/>
                  </a:cubicBezTo>
                  <a:lnTo>
                    <a:pt x="2103623" y="749500"/>
                  </a:lnTo>
                  <a:cubicBezTo>
                    <a:pt x="2086984" y="745529"/>
                    <a:pt x="2078664" y="735014"/>
                    <a:pt x="2078664" y="717952"/>
                  </a:cubicBezTo>
                  <a:lnTo>
                    <a:pt x="2078664" y="682226"/>
                  </a:lnTo>
                  <a:cubicBezTo>
                    <a:pt x="2078664" y="666431"/>
                    <a:pt x="2071907" y="658365"/>
                    <a:pt x="2058393" y="658027"/>
                  </a:cubicBezTo>
                  <a:close/>
                  <a:moveTo>
                    <a:pt x="2040908" y="638389"/>
                  </a:moveTo>
                  <a:lnTo>
                    <a:pt x="2040908" y="658027"/>
                  </a:lnTo>
                  <a:cubicBezTo>
                    <a:pt x="2027479" y="658365"/>
                    <a:pt x="2020765" y="666431"/>
                    <a:pt x="2020765" y="682226"/>
                  </a:cubicBezTo>
                  <a:lnTo>
                    <a:pt x="2020765" y="717952"/>
                  </a:lnTo>
                  <a:cubicBezTo>
                    <a:pt x="2020765" y="735014"/>
                    <a:pt x="2012361" y="745529"/>
                    <a:pt x="1995553" y="749500"/>
                  </a:cubicBezTo>
                  <a:lnTo>
                    <a:pt x="1995553" y="749879"/>
                  </a:lnTo>
                  <a:cubicBezTo>
                    <a:pt x="2012361" y="753596"/>
                    <a:pt x="2020765" y="764027"/>
                    <a:pt x="2020765" y="781173"/>
                  </a:cubicBezTo>
                  <a:lnTo>
                    <a:pt x="2020765" y="816520"/>
                  </a:lnTo>
                  <a:cubicBezTo>
                    <a:pt x="2020765" y="825557"/>
                    <a:pt x="2022263" y="831997"/>
                    <a:pt x="2025262" y="835840"/>
                  </a:cubicBezTo>
                  <a:cubicBezTo>
                    <a:pt x="2028260" y="839683"/>
                    <a:pt x="2033476" y="841689"/>
                    <a:pt x="2040908" y="841858"/>
                  </a:cubicBezTo>
                  <a:lnTo>
                    <a:pt x="2040908" y="861369"/>
                  </a:lnTo>
                  <a:cubicBezTo>
                    <a:pt x="2010839" y="861031"/>
                    <a:pt x="1995806" y="848193"/>
                    <a:pt x="1995806" y="822855"/>
                  </a:cubicBezTo>
                  <a:lnTo>
                    <a:pt x="1995806" y="785480"/>
                  </a:lnTo>
                  <a:cubicBezTo>
                    <a:pt x="1995806" y="768757"/>
                    <a:pt x="1989217" y="759972"/>
                    <a:pt x="1976041" y="759127"/>
                  </a:cubicBezTo>
                  <a:lnTo>
                    <a:pt x="1976041" y="740631"/>
                  </a:lnTo>
                  <a:cubicBezTo>
                    <a:pt x="1989217" y="739786"/>
                    <a:pt x="1995806" y="730833"/>
                    <a:pt x="1995806" y="713771"/>
                  </a:cubicBezTo>
                  <a:lnTo>
                    <a:pt x="1995806" y="677411"/>
                  </a:lnTo>
                  <a:cubicBezTo>
                    <a:pt x="1995806" y="651734"/>
                    <a:pt x="2010839" y="638727"/>
                    <a:pt x="2040908" y="638389"/>
                  </a:cubicBezTo>
                  <a:close/>
                  <a:moveTo>
                    <a:pt x="9005765" y="498119"/>
                  </a:moveTo>
                  <a:cubicBezTo>
                    <a:pt x="9001215" y="516139"/>
                    <a:pt x="8996036" y="527514"/>
                    <a:pt x="8982416" y="537631"/>
                  </a:cubicBezTo>
                  <a:cubicBezTo>
                    <a:pt x="8981039" y="545025"/>
                    <a:pt x="8993432" y="541074"/>
                    <a:pt x="8998940" y="541044"/>
                  </a:cubicBezTo>
                  <a:cubicBezTo>
                    <a:pt x="9004448" y="541014"/>
                    <a:pt x="9013997" y="542496"/>
                    <a:pt x="9015463" y="537452"/>
                  </a:cubicBezTo>
                  <a:cubicBezTo>
                    <a:pt x="9016451" y="533979"/>
                    <a:pt x="9014026" y="531315"/>
                    <a:pt x="9012500" y="527933"/>
                  </a:cubicBezTo>
                  <a:cubicBezTo>
                    <a:pt x="9011722" y="524221"/>
                    <a:pt x="9014610" y="519611"/>
                    <a:pt x="9013488" y="514642"/>
                  </a:cubicBezTo>
                  <a:cubicBezTo>
                    <a:pt x="9012365" y="509673"/>
                    <a:pt x="9009057" y="501830"/>
                    <a:pt x="9005765" y="498119"/>
                  </a:cubicBezTo>
                  <a:close/>
                  <a:moveTo>
                    <a:pt x="2945029" y="498119"/>
                  </a:moveTo>
                  <a:cubicBezTo>
                    <a:pt x="2940478" y="516139"/>
                    <a:pt x="2935299" y="527514"/>
                    <a:pt x="2921680" y="537631"/>
                  </a:cubicBezTo>
                  <a:cubicBezTo>
                    <a:pt x="2920303" y="545025"/>
                    <a:pt x="2932695" y="541074"/>
                    <a:pt x="2938203" y="541044"/>
                  </a:cubicBezTo>
                  <a:cubicBezTo>
                    <a:pt x="2943711" y="541014"/>
                    <a:pt x="2953261" y="542496"/>
                    <a:pt x="2954726" y="537452"/>
                  </a:cubicBezTo>
                  <a:cubicBezTo>
                    <a:pt x="2955715" y="533979"/>
                    <a:pt x="2953290" y="531315"/>
                    <a:pt x="2951763" y="527933"/>
                  </a:cubicBezTo>
                  <a:cubicBezTo>
                    <a:pt x="2950986" y="524221"/>
                    <a:pt x="2953874" y="519611"/>
                    <a:pt x="2952751" y="514642"/>
                  </a:cubicBezTo>
                  <a:cubicBezTo>
                    <a:pt x="2951629" y="509673"/>
                    <a:pt x="2948321" y="501830"/>
                    <a:pt x="2945029" y="498119"/>
                  </a:cubicBezTo>
                  <a:close/>
                  <a:moveTo>
                    <a:pt x="8844660" y="481595"/>
                  </a:moveTo>
                  <a:cubicBezTo>
                    <a:pt x="8839811" y="487133"/>
                    <a:pt x="8830921" y="497700"/>
                    <a:pt x="8830921" y="501980"/>
                  </a:cubicBezTo>
                  <a:cubicBezTo>
                    <a:pt x="8831190" y="507308"/>
                    <a:pt x="8845468" y="523054"/>
                    <a:pt x="8852563" y="523712"/>
                  </a:cubicBezTo>
                  <a:cubicBezTo>
                    <a:pt x="8858430" y="523862"/>
                    <a:pt x="8858999" y="520779"/>
                    <a:pt x="8861543" y="516438"/>
                  </a:cubicBezTo>
                  <a:cubicBezTo>
                    <a:pt x="8853401" y="504914"/>
                    <a:pt x="8850018" y="499047"/>
                    <a:pt x="8844660" y="481595"/>
                  </a:cubicBezTo>
                  <a:close/>
                  <a:moveTo>
                    <a:pt x="2783925" y="481595"/>
                  </a:moveTo>
                  <a:cubicBezTo>
                    <a:pt x="2779075" y="487133"/>
                    <a:pt x="2770185" y="497700"/>
                    <a:pt x="2770185" y="501980"/>
                  </a:cubicBezTo>
                  <a:cubicBezTo>
                    <a:pt x="2770454" y="507308"/>
                    <a:pt x="2784733" y="523054"/>
                    <a:pt x="2791826" y="523712"/>
                  </a:cubicBezTo>
                  <a:cubicBezTo>
                    <a:pt x="2797693" y="523862"/>
                    <a:pt x="2798263" y="520779"/>
                    <a:pt x="2800806" y="516438"/>
                  </a:cubicBezTo>
                  <a:cubicBezTo>
                    <a:pt x="2792664" y="504914"/>
                    <a:pt x="2789282" y="499047"/>
                    <a:pt x="2783925" y="481595"/>
                  </a:cubicBezTo>
                  <a:close/>
                  <a:moveTo>
                    <a:pt x="8828161" y="412842"/>
                  </a:moveTo>
                  <a:lnTo>
                    <a:pt x="8827959" y="414368"/>
                  </a:lnTo>
                  <a:lnTo>
                    <a:pt x="8827892" y="413100"/>
                  </a:lnTo>
                  <a:close/>
                  <a:moveTo>
                    <a:pt x="2767424" y="412841"/>
                  </a:moveTo>
                  <a:lnTo>
                    <a:pt x="2767222" y="414369"/>
                  </a:lnTo>
                  <a:lnTo>
                    <a:pt x="2767156" y="413100"/>
                  </a:lnTo>
                  <a:close/>
                  <a:moveTo>
                    <a:pt x="9031448" y="385462"/>
                  </a:moveTo>
                  <a:cubicBezTo>
                    <a:pt x="9031411" y="385635"/>
                    <a:pt x="9028533" y="386705"/>
                    <a:pt x="9027429" y="388336"/>
                  </a:cubicBezTo>
                  <a:cubicBezTo>
                    <a:pt x="9031998" y="389858"/>
                    <a:pt x="9033602" y="391291"/>
                    <a:pt x="9034399" y="396764"/>
                  </a:cubicBezTo>
                  <a:cubicBezTo>
                    <a:pt x="9034614" y="396723"/>
                    <a:pt x="9036118" y="395509"/>
                    <a:pt x="9041326" y="395026"/>
                  </a:cubicBezTo>
                  <a:cubicBezTo>
                    <a:pt x="9029502" y="399756"/>
                    <a:pt x="9023516" y="404845"/>
                    <a:pt x="9014925" y="414334"/>
                  </a:cubicBezTo>
                  <a:cubicBezTo>
                    <a:pt x="9017641" y="408990"/>
                    <a:pt x="9019956" y="406726"/>
                    <a:pt x="9019975" y="406659"/>
                  </a:cubicBezTo>
                  <a:cubicBezTo>
                    <a:pt x="9015478" y="405131"/>
                    <a:pt x="9014213" y="404771"/>
                    <a:pt x="9012141" y="399651"/>
                  </a:cubicBezTo>
                  <a:cubicBezTo>
                    <a:pt x="9011868" y="399801"/>
                    <a:pt x="9011415" y="399569"/>
                    <a:pt x="9007291" y="403737"/>
                  </a:cubicBezTo>
                  <a:cubicBezTo>
                    <a:pt x="9014535" y="389489"/>
                    <a:pt x="9021330" y="388576"/>
                    <a:pt x="9031448" y="385462"/>
                  </a:cubicBezTo>
                  <a:close/>
                  <a:moveTo>
                    <a:pt x="2970711" y="385462"/>
                  </a:moveTo>
                  <a:cubicBezTo>
                    <a:pt x="2970674" y="385635"/>
                    <a:pt x="2967797" y="386705"/>
                    <a:pt x="2966693" y="388336"/>
                  </a:cubicBezTo>
                  <a:cubicBezTo>
                    <a:pt x="2971262" y="389858"/>
                    <a:pt x="2972865" y="391291"/>
                    <a:pt x="2973663" y="396764"/>
                  </a:cubicBezTo>
                  <a:cubicBezTo>
                    <a:pt x="2973878" y="396723"/>
                    <a:pt x="2975381" y="395509"/>
                    <a:pt x="2980590" y="395026"/>
                  </a:cubicBezTo>
                  <a:cubicBezTo>
                    <a:pt x="2968766" y="399756"/>
                    <a:pt x="2962780" y="404845"/>
                    <a:pt x="2954189" y="414334"/>
                  </a:cubicBezTo>
                  <a:cubicBezTo>
                    <a:pt x="2956904" y="408990"/>
                    <a:pt x="2959221" y="406726"/>
                    <a:pt x="2959239" y="406659"/>
                  </a:cubicBezTo>
                  <a:cubicBezTo>
                    <a:pt x="2954741" y="405131"/>
                    <a:pt x="2953477" y="404771"/>
                    <a:pt x="2951404" y="399651"/>
                  </a:cubicBezTo>
                  <a:cubicBezTo>
                    <a:pt x="2951131" y="399801"/>
                    <a:pt x="2950678" y="399569"/>
                    <a:pt x="2946555" y="403737"/>
                  </a:cubicBezTo>
                  <a:cubicBezTo>
                    <a:pt x="2953799" y="389489"/>
                    <a:pt x="2960595" y="388576"/>
                    <a:pt x="2970711" y="385462"/>
                  </a:cubicBezTo>
                  <a:close/>
                  <a:moveTo>
                    <a:pt x="9004699" y="368940"/>
                  </a:moveTo>
                  <a:cubicBezTo>
                    <a:pt x="9005404" y="368884"/>
                    <a:pt x="9006169" y="368904"/>
                    <a:pt x="9007000" y="368977"/>
                  </a:cubicBezTo>
                  <a:cubicBezTo>
                    <a:pt x="9009215" y="369171"/>
                    <a:pt x="9011901" y="369740"/>
                    <a:pt x="9015194" y="370241"/>
                  </a:cubicBezTo>
                  <a:cubicBezTo>
                    <a:pt x="9003999" y="372007"/>
                    <a:pt x="9000886" y="378263"/>
                    <a:pt x="8996156" y="389279"/>
                  </a:cubicBezTo>
                  <a:cubicBezTo>
                    <a:pt x="8997728" y="373446"/>
                    <a:pt x="8999763" y="369331"/>
                    <a:pt x="9004699" y="368940"/>
                  </a:cubicBezTo>
                  <a:close/>
                  <a:moveTo>
                    <a:pt x="2943962" y="368940"/>
                  </a:moveTo>
                  <a:cubicBezTo>
                    <a:pt x="2944669" y="368884"/>
                    <a:pt x="2945432" y="368904"/>
                    <a:pt x="2946264" y="368977"/>
                  </a:cubicBezTo>
                  <a:cubicBezTo>
                    <a:pt x="2948478" y="369171"/>
                    <a:pt x="2951165" y="369740"/>
                    <a:pt x="2954458" y="370241"/>
                  </a:cubicBezTo>
                  <a:cubicBezTo>
                    <a:pt x="2943262" y="372007"/>
                    <a:pt x="2940149" y="378263"/>
                    <a:pt x="2935420" y="389279"/>
                  </a:cubicBezTo>
                  <a:cubicBezTo>
                    <a:pt x="2936991" y="373446"/>
                    <a:pt x="2939026" y="369331"/>
                    <a:pt x="2943962" y="368940"/>
                  </a:cubicBezTo>
                  <a:close/>
                  <a:moveTo>
                    <a:pt x="9107997" y="346712"/>
                  </a:moveTo>
                  <a:cubicBezTo>
                    <a:pt x="9109606" y="348783"/>
                    <a:pt x="9104712" y="356576"/>
                    <a:pt x="9099744" y="360728"/>
                  </a:cubicBezTo>
                  <a:cubicBezTo>
                    <a:pt x="9094777" y="364880"/>
                    <a:pt x="9087458" y="364454"/>
                    <a:pt x="9087486" y="362733"/>
                  </a:cubicBezTo>
                  <a:cubicBezTo>
                    <a:pt x="9087514" y="361012"/>
                    <a:pt x="9095284" y="358729"/>
                    <a:pt x="9098703" y="356059"/>
                  </a:cubicBezTo>
                  <a:cubicBezTo>
                    <a:pt x="9102121" y="353389"/>
                    <a:pt x="9106861" y="345720"/>
                    <a:pt x="9107997" y="346712"/>
                  </a:cubicBezTo>
                  <a:close/>
                  <a:moveTo>
                    <a:pt x="3047262" y="346712"/>
                  </a:moveTo>
                  <a:cubicBezTo>
                    <a:pt x="3048870" y="348783"/>
                    <a:pt x="3043975" y="356576"/>
                    <a:pt x="3039007" y="360728"/>
                  </a:cubicBezTo>
                  <a:cubicBezTo>
                    <a:pt x="3034040" y="364880"/>
                    <a:pt x="3026721" y="364454"/>
                    <a:pt x="3026750" y="362733"/>
                  </a:cubicBezTo>
                  <a:cubicBezTo>
                    <a:pt x="3026777" y="361012"/>
                    <a:pt x="3034547" y="358729"/>
                    <a:pt x="3037966" y="356059"/>
                  </a:cubicBezTo>
                  <a:cubicBezTo>
                    <a:pt x="3041384" y="353389"/>
                    <a:pt x="3046124" y="345720"/>
                    <a:pt x="3047262" y="346712"/>
                  </a:cubicBezTo>
                  <a:close/>
                  <a:moveTo>
                    <a:pt x="10088691" y="330076"/>
                  </a:moveTo>
                  <a:cubicBezTo>
                    <a:pt x="10125148" y="330414"/>
                    <a:pt x="10143377" y="343421"/>
                    <a:pt x="10143377" y="369097"/>
                  </a:cubicBezTo>
                  <a:lnTo>
                    <a:pt x="10143377" y="405458"/>
                  </a:lnTo>
                  <a:cubicBezTo>
                    <a:pt x="10143377" y="422520"/>
                    <a:pt x="10151358" y="431473"/>
                    <a:pt x="10167321" y="432318"/>
                  </a:cubicBezTo>
                  <a:lnTo>
                    <a:pt x="10167321" y="450814"/>
                  </a:lnTo>
                  <a:cubicBezTo>
                    <a:pt x="10151358" y="451659"/>
                    <a:pt x="10143377" y="460443"/>
                    <a:pt x="10143377" y="477167"/>
                  </a:cubicBezTo>
                  <a:lnTo>
                    <a:pt x="10143377" y="514542"/>
                  </a:lnTo>
                  <a:cubicBezTo>
                    <a:pt x="10143377" y="539880"/>
                    <a:pt x="10125148" y="552718"/>
                    <a:pt x="10088691" y="553056"/>
                  </a:cubicBezTo>
                  <a:lnTo>
                    <a:pt x="10088691" y="533545"/>
                  </a:lnTo>
                  <a:cubicBezTo>
                    <a:pt x="10097651" y="533376"/>
                    <a:pt x="10104010" y="531349"/>
                    <a:pt x="10107769" y="527464"/>
                  </a:cubicBezTo>
                  <a:cubicBezTo>
                    <a:pt x="10111528" y="523579"/>
                    <a:pt x="10113408" y="517160"/>
                    <a:pt x="10113408" y="508207"/>
                  </a:cubicBezTo>
                  <a:lnTo>
                    <a:pt x="10113408" y="472859"/>
                  </a:lnTo>
                  <a:cubicBezTo>
                    <a:pt x="10113408" y="455714"/>
                    <a:pt x="10123552" y="445282"/>
                    <a:pt x="10143840" y="441566"/>
                  </a:cubicBezTo>
                  <a:lnTo>
                    <a:pt x="10143840" y="441186"/>
                  </a:lnTo>
                  <a:cubicBezTo>
                    <a:pt x="10123552" y="437216"/>
                    <a:pt x="10113408" y="426701"/>
                    <a:pt x="10113408" y="409639"/>
                  </a:cubicBezTo>
                  <a:lnTo>
                    <a:pt x="10113408" y="373912"/>
                  </a:lnTo>
                  <a:cubicBezTo>
                    <a:pt x="10113408" y="358117"/>
                    <a:pt x="10105169" y="350051"/>
                    <a:pt x="10088691" y="349714"/>
                  </a:cubicBezTo>
                  <a:close/>
                  <a:moveTo>
                    <a:pt x="10067372" y="330076"/>
                  </a:moveTo>
                  <a:lnTo>
                    <a:pt x="10067372" y="349714"/>
                  </a:lnTo>
                  <a:cubicBezTo>
                    <a:pt x="10050998" y="350051"/>
                    <a:pt x="10042810" y="358117"/>
                    <a:pt x="10042810" y="373912"/>
                  </a:cubicBezTo>
                  <a:lnTo>
                    <a:pt x="10042810" y="409639"/>
                  </a:lnTo>
                  <a:cubicBezTo>
                    <a:pt x="10042810" y="426701"/>
                    <a:pt x="10032563" y="437216"/>
                    <a:pt x="10012069" y="441186"/>
                  </a:cubicBezTo>
                  <a:lnTo>
                    <a:pt x="10012069" y="441566"/>
                  </a:lnTo>
                  <a:cubicBezTo>
                    <a:pt x="10032563" y="445282"/>
                    <a:pt x="10042810" y="455714"/>
                    <a:pt x="10042810" y="472859"/>
                  </a:cubicBezTo>
                  <a:lnTo>
                    <a:pt x="10042810" y="508207"/>
                  </a:lnTo>
                  <a:cubicBezTo>
                    <a:pt x="10042810" y="517244"/>
                    <a:pt x="10044638" y="523684"/>
                    <a:pt x="10048294" y="527527"/>
                  </a:cubicBezTo>
                  <a:cubicBezTo>
                    <a:pt x="10051950" y="531370"/>
                    <a:pt x="10058310" y="533376"/>
                    <a:pt x="10067372" y="533545"/>
                  </a:cubicBezTo>
                  <a:lnTo>
                    <a:pt x="10067372" y="553056"/>
                  </a:lnTo>
                  <a:cubicBezTo>
                    <a:pt x="10030709" y="552718"/>
                    <a:pt x="10012378" y="539880"/>
                    <a:pt x="10012378" y="514542"/>
                  </a:cubicBezTo>
                  <a:lnTo>
                    <a:pt x="10012378" y="477167"/>
                  </a:lnTo>
                  <a:cubicBezTo>
                    <a:pt x="10012378" y="460443"/>
                    <a:pt x="10004345" y="451659"/>
                    <a:pt x="9988279" y="450814"/>
                  </a:cubicBezTo>
                  <a:lnTo>
                    <a:pt x="9988279" y="432318"/>
                  </a:lnTo>
                  <a:cubicBezTo>
                    <a:pt x="10004345" y="431473"/>
                    <a:pt x="10012378" y="422520"/>
                    <a:pt x="10012378" y="405458"/>
                  </a:cubicBezTo>
                  <a:lnTo>
                    <a:pt x="10012378" y="369097"/>
                  </a:lnTo>
                  <a:cubicBezTo>
                    <a:pt x="10012378" y="343421"/>
                    <a:pt x="10030709" y="330414"/>
                    <a:pt x="10067372" y="330076"/>
                  </a:cubicBezTo>
                  <a:close/>
                  <a:moveTo>
                    <a:pt x="4025465" y="330076"/>
                  </a:moveTo>
                  <a:cubicBezTo>
                    <a:pt x="4061923" y="330414"/>
                    <a:pt x="4080151" y="343421"/>
                    <a:pt x="4080151" y="369097"/>
                  </a:cubicBezTo>
                  <a:lnTo>
                    <a:pt x="4080151" y="405458"/>
                  </a:lnTo>
                  <a:cubicBezTo>
                    <a:pt x="4080151" y="422520"/>
                    <a:pt x="4088132" y="431473"/>
                    <a:pt x="4104095" y="432318"/>
                  </a:cubicBezTo>
                  <a:lnTo>
                    <a:pt x="4104095" y="450814"/>
                  </a:lnTo>
                  <a:cubicBezTo>
                    <a:pt x="4088132" y="451659"/>
                    <a:pt x="4080151" y="460443"/>
                    <a:pt x="4080151" y="477167"/>
                  </a:cubicBezTo>
                  <a:lnTo>
                    <a:pt x="4080151" y="514542"/>
                  </a:lnTo>
                  <a:cubicBezTo>
                    <a:pt x="4080151" y="539880"/>
                    <a:pt x="4061923" y="552718"/>
                    <a:pt x="4025465" y="553056"/>
                  </a:cubicBezTo>
                  <a:lnTo>
                    <a:pt x="4025465" y="533545"/>
                  </a:lnTo>
                  <a:cubicBezTo>
                    <a:pt x="4034425" y="533376"/>
                    <a:pt x="4040784" y="531349"/>
                    <a:pt x="4044543" y="527464"/>
                  </a:cubicBezTo>
                  <a:cubicBezTo>
                    <a:pt x="4048302" y="523579"/>
                    <a:pt x="4050182" y="517160"/>
                    <a:pt x="4050182" y="508207"/>
                  </a:cubicBezTo>
                  <a:lnTo>
                    <a:pt x="4050182" y="472859"/>
                  </a:lnTo>
                  <a:cubicBezTo>
                    <a:pt x="4050182" y="455714"/>
                    <a:pt x="4060326" y="445282"/>
                    <a:pt x="4080614" y="441566"/>
                  </a:cubicBezTo>
                  <a:lnTo>
                    <a:pt x="4080614" y="441186"/>
                  </a:lnTo>
                  <a:cubicBezTo>
                    <a:pt x="4060326" y="437216"/>
                    <a:pt x="4050182" y="426701"/>
                    <a:pt x="4050182" y="409639"/>
                  </a:cubicBezTo>
                  <a:lnTo>
                    <a:pt x="4050182" y="373912"/>
                  </a:lnTo>
                  <a:cubicBezTo>
                    <a:pt x="4050182" y="358117"/>
                    <a:pt x="4041943" y="350051"/>
                    <a:pt x="4025465" y="349714"/>
                  </a:cubicBezTo>
                  <a:close/>
                  <a:moveTo>
                    <a:pt x="4004147" y="330076"/>
                  </a:moveTo>
                  <a:lnTo>
                    <a:pt x="4004147" y="349714"/>
                  </a:lnTo>
                  <a:cubicBezTo>
                    <a:pt x="3987772" y="350051"/>
                    <a:pt x="3979585" y="358117"/>
                    <a:pt x="3979585" y="373912"/>
                  </a:cubicBezTo>
                  <a:lnTo>
                    <a:pt x="3979585" y="409639"/>
                  </a:lnTo>
                  <a:cubicBezTo>
                    <a:pt x="3979585" y="426701"/>
                    <a:pt x="3969338" y="437216"/>
                    <a:pt x="3948843" y="441186"/>
                  </a:cubicBezTo>
                  <a:lnTo>
                    <a:pt x="3948843" y="441566"/>
                  </a:lnTo>
                  <a:cubicBezTo>
                    <a:pt x="3969338" y="445282"/>
                    <a:pt x="3979585" y="455714"/>
                    <a:pt x="3979585" y="472859"/>
                  </a:cubicBezTo>
                  <a:lnTo>
                    <a:pt x="3979585" y="508207"/>
                  </a:lnTo>
                  <a:cubicBezTo>
                    <a:pt x="3979585" y="517244"/>
                    <a:pt x="3981412" y="523684"/>
                    <a:pt x="3985069" y="527527"/>
                  </a:cubicBezTo>
                  <a:cubicBezTo>
                    <a:pt x="3988725" y="531370"/>
                    <a:pt x="3995084" y="533376"/>
                    <a:pt x="4004147" y="533545"/>
                  </a:cubicBezTo>
                  <a:lnTo>
                    <a:pt x="4004147" y="553056"/>
                  </a:lnTo>
                  <a:cubicBezTo>
                    <a:pt x="3967484" y="552718"/>
                    <a:pt x="3949152" y="539880"/>
                    <a:pt x="3949152" y="514542"/>
                  </a:cubicBezTo>
                  <a:lnTo>
                    <a:pt x="3949152" y="477167"/>
                  </a:lnTo>
                  <a:cubicBezTo>
                    <a:pt x="3949152" y="460443"/>
                    <a:pt x="3941119" y="451659"/>
                    <a:pt x="3925053" y="450814"/>
                  </a:cubicBezTo>
                  <a:lnTo>
                    <a:pt x="3925053" y="432318"/>
                  </a:lnTo>
                  <a:cubicBezTo>
                    <a:pt x="3941119" y="431473"/>
                    <a:pt x="3949152" y="422520"/>
                    <a:pt x="3949152" y="405458"/>
                  </a:cubicBezTo>
                  <a:lnTo>
                    <a:pt x="3949152" y="369097"/>
                  </a:lnTo>
                  <a:cubicBezTo>
                    <a:pt x="3949152" y="343421"/>
                    <a:pt x="3967484" y="330414"/>
                    <a:pt x="4004147" y="330076"/>
                  </a:cubicBezTo>
                  <a:close/>
                  <a:moveTo>
                    <a:pt x="9003356" y="327579"/>
                  </a:moveTo>
                  <a:cubicBezTo>
                    <a:pt x="9005309" y="327654"/>
                    <a:pt x="9007279" y="327823"/>
                    <a:pt x="9009260" y="328096"/>
                  </a:cubicBezTo>
                  <a:cubicBezTo>
                    <a:pt x="9025103" y="330284"/>
                    <a:pt x="9045485" y="346898"/>
                    <a:pt x="9052536" y="357514"/>
                  </a:cubicBezTo>
                  <a:cubicBezTo>
                    <a:pt x="9062018" y="360108"/>
                    <a:pt x="9068055" y="373844"/>
                    <a:pt x="9070527" y="378666"/>
                  </a:cubicBezTo>
                  <a:cubicBezTo>
                    <a:pt x="9072999" y="383488"/>
                    <a:pt x="9070122" y="386244"/>
                    <a:pt x="9067366" y="386446"/>
                  </a:cubicBezTo>
                  <a:cubicBezTo>
                    <a:pt x="9067326" y="387034"/>
                    <a:pt x="9075866" y="393862"/>
                    <a:pt x="9080480" y="396551"/>
                  </a:cubicBezTo>
                  <a:cubicBezTo>
                    <a:pt x="9084051" y="381027"/>
                    <a:pt x="9078869" y="370608"/>
                    <a:pt x="9078793" y="359217"/>
                  </a:cubicBezTo>
                  <a:cubicBezTo>
                    <a:pt x="9084223" y="349735"/>
                    <a:pt x="9088680" y="353138"/>
                    <a:pt x="9094110" y="349492"/>
                  </a:cubicBezTo>
                  <a:cubicBezTo>
                    <a:pt x="9097352" y="345764"/>
                    <a:pt x="9100350" y="337903"/>
                    <a:pt x="9106023" y="338308"/>
                  </a:cubicBezTo>
                  <a:cubicBezTo>
                    <a:pt x="9115910" y="338713"/>
                    <a:pt x="9128472" y="357110"/>
                    <a:pt x="9128877" y="400791"/>
                  </a:cubicBezTo>
                  <a:cubicBezTo>
                    <a:pt x="9129120" y="435476"/>
                    <a:pt x="9115262" y="458735"/>
                    <a:pt x="9091193" y="469109"/>
                  </a:cubicBezTo>
                  <a:cubicBezTo>
                    <a:pt x="9078884" y="472391"/>
                    <a:pt x="9068320" y="472186"/>
                    <a:pt x="9059166" y="469827"/>
                  </a:cubicBezTo>
                  <a:lnTo>
                    <a:pt x="9055159" y="468432"/>
                  </a:lnTo>
                  <a:lnTo>
                    <a:pt x="9054679" y="470708"/>
                  </a:lnTo>
                  <a:cubicBezTo>
                    <a:pt x="9049794" y="489448"/>
                    <a:pt x="9036059" y="490889"/>
                    <a:pt x="9029925" y="490747"/>
                  </a:cubicBezTo>
                  <a:cubicBezTo>
                    <a:pt x="9022915" y="490585"/>
                    <a:pt x="9012542" y="484101"/>
                    <a:pt x="9008287" y="481022"/>
                  </a:cubicBezTo>
                  <a:cubicBezTo>
                    <a:pt x="9008165" y="485722"/>
                    <a:pt x="9009259" y="487384"/>
                    <a:pt x="9007314" y="493664"/>
                  </a:cubicBezTo>
                  <a:cubicBezTo>
                    <a:pt x="9012420" y="497028"/>
                    <a:pt x="9015499" y="509022"/>
                    <a:pt x="9017039" y="514330"/>
                  </a:cubicBezTo>
                  <a:cubicBezTo>
                    <a:pt x="9018579" y="519638"/>
                    <a:pt x="9016675" y="520854"/>
                    <a:pt x="9016553" y="525514"/>
                  </a:cubicBezTo>
                  <a:cubicBezTo>
                    <a:pt x="9016432" y="530173"/>
                    <a:pt x="9021294" y="533901"/>
                    <a:pt x="9018741" y="539372"/>
                  </a:cubicBezTo>
                  <a:cubicBezTo>
                    <a:pt x="9016188" y="544842"/>
                    <a:pt x="9009543" y="545126"/>
                    <a:pt x="9002695" y="545207"/>
                  </a:cubicBezTo>
                  <a:cubicBezTo>
                    <a:pt x="8995847" y="545288"/>
                    <a:pt x="8980530" y="549988"/>
                    <a:pt x="8977653" y="539858"/>
                  </a:cubicBezTo>
                  <a:cubicBezTo>
                    <a:pt x="8977293" y="538592"/>
                    <a:pt x="8977041" y="537083"/>
                    <a:pt x="8976889" y="535374"/>
                  </a:cubicBezTo>
                  <a:cubicBezTo>
                    <a:pt x="8976875" y="534922"/>
                    <a:pt x="8976862" y="534471"/>
                    <a:pt x="8976849" y="534020"/>
                  </a:cubicBezTo>
                  <a:lnTo>
                    <a:pt x="8973084" y="537588"/>
                  </a:lnTo>
                  <a:cubicBezTo>
                    <a:pt x="8964478" y="545689"/>
                    <a:pt x="8956719" y="552318"/>
                    <a:pt x="8949451" y="552014"/>
                  </a:cubicBezTo>
                  <a:cubicBezTo>
                    <a:pt x="8937335" y="549583"/>
                    <a:pt x="8927975" y="530295"/>
                    <a:pt x="8925868" y="523569"/>
                  </a:cubicBezTo>
                  <a:cubicBezTo>
                    <a:pt x="8923760" y="516842"/>
                    <a:pt x="8930608" y="515586"/>
                    <a:pt x="8936808" y="511655"/>
                  </a:cubicBezTo>
                  <a:cubicBezTo>
                    <a:pt x="8930608" y="515262"/>
                    <a:pt x="8913833" y="512304"/>
                    <a:pt x="8911766" y="509224"/>
                  </a:cubicBezTo>
                  <a:cubicBezTo>
                    <a:pt x="8912374" y="515626"/>
                    <a:pt x="8912009" y="516558"/>
                    <a:pt x="8910794" y="520165"/>
                  </a:cubicBezTo>
                  <a:cubicBezTo>
                    <a:pt x="8909578" y="523771"/>
                    <a:pt x="8906377" y="525878"/>
                    <a:pt x="8904472" y="530862"/>
                  </a:cubicBezTo>
                  <a:cubicBezTo>
                    <a:pt x="8902568" y="535846"/>
                    <a:pt x="8906944" y="548286"/>
                    <a:pt x="8899367" y="550069"/>
                  </a:cubicBezTo>
                  <a:cubicBezTo>
                    <a:pt x="8891789" y="551852"/>
                    <a:pt x="8868247" y="551163"/>
                    <a:pt x="8859008" y="541560"/>
                  </a:cubicBezTo>
                  <a:cubicBezTo>
                    <a:pt x="8855118" y="536819"/>
                    <a:pt x="8861439" y="529485"/>
                    <a:pt x="8859981" y="527459"/>
                  </a:cubicBezTo>
                  <a:cubicBezTo>
                    <a:pt x="8858522" y="525432"/>
                    <a:pt x="8856091" y="533415"/>
                    <a:pt x="8850256" y="529404"/>
                  </a:cubicBezTo>
                  <a:cubicBezTo>
                    <a:pt x="8844421" y="525392"/>
                    <a:pt x="8826632" y="512182"/>
                    <a:pt x="8824971" y="503389"/>
                  </a:cubicBezTo>
                  <a:cubicBezTo>
                    <a:pt x="8823309" y="494596"/>
                    <a:pt x="8833440" y="485357"/>
                    <a:pt x="8840288" y="476645"/>
                  </a:cubicBezTo>
                  <a:cubicBezTo>
                    <a:pt x="8838626" y="467204"/>
                    <a:pt x="8837937" y="460883"/>
                    <a:pt x="8841746" y="449902"/>
                  </a:cubicBezTo>
                  <a:cubicBezTo>
                    <a:pt x="8836641" y="446782"/>
                    <a:pt x="8825538" y="442365"/>
                    <a:pt x="8826186" y="427778"/>
                  </a:cubicBezTo>
                  <a:lnTo>
                    <a:pt x="8827959" y="414368"/>
                  </a:lnTo>
                  <a:lnTo>
                    <a:pt x="8828421" y="423148"/>
                  </a:lnTo>
                  <a:lnTo>
                    <a:pt x="8829250" y="423546"/>
                  </a:lnTo>
                  <a:lnTo>
                    <a:pt x="8829373" y="424728"/>
                  </a:lnTo>
                  <a:cubicBezTo>
                    <a:pt x="8830404" y="433164"/>
                    <a:pt x="8833166" y="442509"/>
                    <a:pt x="8849061" y="438670"/>
                  </a:cubicBezTo>
                  <a:cubicBezTo>
                    <a:pt x="8842224" y="474946"/>
                    <a:pt x="8857665" y="492933"/>
                    <a:pt x="8867407" y="509778"/>
                  </a:cubicBezTo>
                  <a:lnTo>
                    <a:pt x="8868375" y="511640"/>
                  </a:lnTo>
                  <a:lnTo>
                    <a:pt x="8868341" y="512514"/>
                  </a:lnTo>
                  <a:cubicBezTo>
                    <a:pt x="8868048" y="517656"/>
                    <a:pt x="8867313" y="521220"/>
                    <a:pt x="8866931" y="526047"/>
                  </a:cubicBezTo>
                  <a:cubicBezTo>
                    <a:pt x="8865824" y="529849"/>
                    <a:pt x="8863100" y="529429"/>
                    <a:pt x="8863609" y="537452"/>
                  </a:cubicBezTo>
                  <a:cubicBezTo>
                    <a:pt x="8863938" y="542451"/>
                    <a:pt x="8893273" y="550503"/>
                    <a:pt x="8898003" y="544097"/>
                  </a:cubicBezTo>
                  <a:cubicBezTo>
                    <a:pt x="8899380" y="541882"/>
                    <a:pt x="8898781" y="536793"/>
                    <a:pt x="8899170" y="533141"/>
                  </a:cubicBezTo>
                  <a:cubicBezTo>
                    <a:pt x="8899769" y="529070"/>
                    <a:pt x="8905037" y="524640"/>
                    <a:pt x="8905815" y="518863"/>
                  </a:cubicBezTo>
                  <a:cubicBezTo>
                    <a:pt x="8906324" y="514268"/>
                    <a:pt x="8906272" y="509067"/>
                    <a:pt x="8906096" y="503653"/>
                  </a:cubicBezTo>
                  <a:lnTo>
                    <a:pt x="8905886" y="497935"/>
                  </a:lnTo>
                  <a:lnTo>
                    <a:pt x="8907486" y="499797"/>
                  </a:lnTo>
                  <a:cubicBezTo>
                    <a:pt x="8917828" y="510345"/>
                    <a:pt x="8939764" y="513898"/>
                    <a:pt x="8947124" y="497580"/>
                  </a:cubicBezTo>
                  <a:cubicBezTo>
                    <a:pt x="8947214" y="502818"/>
                    <a:pt x="8948920" y="504824"/>
                    <a:pt x="8948022" y="511409"/>
                  </a:cubicBezTo>
                  <a:cubicBezTo>
                    <a:pt x="8945448" y="515570"/>
                    <a:pt x="8933983" y="516498"/>
                    <a:pt x="8930870" y="524161"/>
                  </a:cubicBezTo>
                  <a:cubicBezTo>
                    <a:pt x="8929942" y="527364"/>
                    <a:pt x="8942125" y="546552"/>
                    <a:pt x="8949908" y="547240"/>
                  </a:cubicBezTo>
                  <a:cubicBezTo>
                    <a:pt x="8955566" y="547899"/>
                    <a:pt x="8966072" y="536793"/>
                    <a:pt x="8985200" y="519312"/>
                  </a:cubicBezTo>
                  <a:cubicBezTo>
                    <a:pt x="8988161" y="516606"/>
                    <a:pt x="8999359" y="495365"/>
                    <a:pt x="9004418" y="477195"/>
                  </a:cubicBezTo>
                  <a:cubicBezTo>
                    <a:pt x="8999261" y="474605"/>
                    <a:pt x="8991788" y="468436"/>
                    <a:pt x="8987440" y="458808"/>
                  </a:cubicBezTo>
                  <a:lnTo>
                    <a:pt x="8987245" y="458296"/>
                  </a:lnTo>
                  <a:lnTo>
                    <a:pt x="8989881" y="459956"/>
                  </a:lnTo>
                  <a:cubicBezTo>
                    <a:pt x="8996515" y="464376"/>
                    <a:pt x="9003250" y="469225"/>
                    <a:pt x="9009177" y="470639"/>
                  </a:cubicBezTo>
                  <a:cubicBezTo>
                    <a:pt x="9013548" y="475668"/>
                    <a:pt x="9018636" y="483661"/>
                    <a:pt x="9030640" y="485187"/>
                  </a:cubicBezTo>
                  <a:cubicBezTo>
                    <a:pt x="9040877" y="486923"/>
                    <a:pt x="9048151" y="477255"/>
                    <a:pt x="9051743" y="466688"/>
                  </a:cubicBezTo>
                  <a:lnTo>
                    <a:pt x="9048421" y="466419"/>
                  </a:lnTo>
                  <a:cubicBezTo>
                    <a:pt x="9033154" y="492012"/>
                    <a:pt x="9017020" y="468671"/>
                    <a:pt x="9020440" y="444121"/>
                  </a:cubicBezTo>
                  <a:lnTo>
                    <a:pt x="9021370" y="439313"/>
                  </a:lnTo>
                  <a:lnTo>
                    <a:pt x="9023134" y="441235"/>
                  </a:lnTo>
                  <a:cubicBezTo>
                    <a:pt x="9053612" y="472295"/>
                    <a:pt x="9080261" y="467754"/>
                    <a:pt x="9095387" y="459504"/>
                  </a:cubicBezTo>
                  <a:cubicBezTo>
                    <a:pt x="9136816" y="433970"/>
                    <a:pt x="9124677" y="345849"/>
                    <a:pt x="9107331" y="341594"/>
                  </a:cubicBezTo>
                  <a:cubicBezTo>
                    <a:pt x="9103364" y="340621"/>
                    <a:pt x="9100596" y="350844"/>
                    <a:pt x="9097991" y="352371"/>
                  </a:cubicBezTo>
                  <a:cubicBezTo>
                    <a:pt x="9089999" y="356591"/>
                    <a:pt x="9086497" y="355963"/>
                    <a:pt x="9084341" y="359285"/>
                  </a:cubicBezTo>
                  <a:cubicBezTo>
                    <a:pt x="9080076" y="365515"/>
                    <a:pt x="9095779" y="401580"/>
                    <a:pt x="9075807" y="420492"/>
                  </a:cubicBezTo>
                  <a:lnTo>
                    <a:pt x="9074316" y="421668"/>
                  </a:lnTo>
                  <a:lnTo>
                    <a:pt x="9074630" y="421063"/>
                  </a:lnTo>
                  <a:cubicBezTo>
                    <a:pt x="9078414" y="413750"/>
                    <a:pt x="9082388" y="405376"/>
                    <a:pt x="9077876" y="401851"/>
                  </a:cubicBezTo>
                  <a:cubicBezTo>
                    <a:pt x="9072577" y="397631"/>
                    <a:pt x="9069255" y="400863"/>
                    <a:pt x="9065214" y="404276"/>
                  </a:cubicBezTo>
                  <a:cubicBezTo>
                    <a:pt x="9067818" y="401312"/>
                    <a:pt x="9070961" y="400774"/>
                    <a:pt x="9066561" y="393769"/>
                  </a:cubicBezTo>
                  <a:cubicBezTo>
                    <a:pt x="9063058" y="391404"/>
                    <a:pt x="9061172" y="392003"/>
                    <a:pt x="9054707" y="393679"/>
                  </a:cubicBezTo>
                  <a:cubicBezTo>
                    <a:pt x="9058808" y="390626"/>
                    <a:pt x="9060125" y="391793"/>
                    <a:pt x="9058119" y="385867"/>
                  </a:cubicBezTo>
                  <a:cubicBezTo>
                    <a:pt x="9055380" y="382185"/>
                    <a:pt x="9054005" y="382493"/>
                    <a:pt x="9051266" y="382701"/>
                  </a:cubicBezTo>
                  <a:lnTo>
                    <a:pt x="9049367" y="382714"/>
                  </a:lnTo>
                  <a:lnTo>
                    <a:pt x="9050929" y="382153"/>
                  </a:lnTo>
                  <a:cubicBezTo>
                    <a:pt x="9051804" y="381859"/>
                    <a:pt x="9052596" y="381620"/>
                    <a:pt x="9053270" y="381466"/>
                  </a:cubicBezTo>
                  <a:cubicBezTo>
                    <a:pt x="9058658" y="380239"/>
                    <a:pt x="9064555" y="381930"/>
                    <a:pt x="9064585" y="378862"/>
                  </a:cubicBezTo>
                  <a:cubicBezTo>
                    <a:pt x="9065244" y="375509"/>
                    <a:pt x="9056832" y="365062"/>
                    <a:pt x="9053090" y="364224"/>
                  </a:cubicBezTo>
                  <a:cubicBezTo>
                    <a:pt x="9051092" y="363596"/>
                    <a:pt x="9045861" y="363068"/>
                    <a:pt x="9041110" y="362755"/>
                  </a:cubicBezTo>
                  <a:lnTo>
                    <a:pt x="9040004" y="362696"/>
                  </a:lnTo>
                  <a:lnTo>
                    <a:pt x="9040013" y="362673"/>
                  </a:lnTo>
                  <a:cubicBezTo>
                    <a:pt x="9041141" y="361115"/>
                    <a:pt x="9044896" y="360543"/>
                    <a:pt x="9047792" y="360273"/>
                  </a:cubicBezTo>
                  <a:cubicBezTo>
                    <a:pt x="9035639" y="344229"/>
                    <a:pt x="9019265" y="333931"/>
                    <a:pt x="9005136" y="334141"/>
                  </a:cubicBezTo>
                  <a:cubicBezTo>
                    <a:pt x="8988104" y="334650"/>
                    <a:pt x="8966761" y="339020"/>
                    <a:pt x="8954668" y="357759"/>
                  </a:cubicBezTo>
                  <a:cubicBezTo>
                    <a:pt x="8960849" y="357691"/>
                    <a:pt x="8965447" y="357719"/>
                    <a:pt x="8968900" y="358086"/>
                  </a:cubicBezTo>
                  <a:lnTo>
                    <a:pt x="8969477" y="358169"/>
                  </a:lnTo>
                  <a:lnTo>
                    <a:pt x="8967067" y="358824"/>
                  </a:lnTo>
                  <a:cubicBezTo>
                    <a:pt x="8954261" y="361905"/>
                    <a:pt x="8945339" y="361445"/>
                    <a:pt x="8942468" y="363941"/>
                  </a:cubicBezTo>
                  <a:cubicBezTo>
                    <a:pt x="8936465" y="368141"/>
                    <a:pt x="8897595" y="403951"/>
                    <a:pt x="8895992" y="424226"/>
                  </a:cubicBezTo>
                  <a:cubicBezTo>
                    <a:pt x="8900109" y="434988"/>
                    <a:pt x="8900883" y="427383"/>
                    <a:pt x="8909974" y="446338"/>
                  </a:cubicBezTo>
                  <a:lnTo>
                    <a:pt x="8924480" y="429800"/>
                  </a:lnTo>
                  <a:lnTo>
                    <a:pt x="8907508" y="464906"/>
                  </a:lnTo>
                  <a:cubicBezTo>
                    <a:pt x="8911740" y="471086"/>
                    <a:pt x="8914625" y="474393"/>
                    <a:pt x="8923437" y="474287"/>
                  </a:cubicBezTo>
                  <a:cubicBezTo>
                    <a:pt x="8932848" y="473039"/>
                    <a:pt x="8941540" y="465325"/>
                    <a:pt x="8950592" y="460844"/>
                  </a:cubicBezTo>
                  <a:cubicBezTo>
                    <a:pt x="8959538" y="457121"/>
                    <a:pt x="8962197" y="459683"/>
                    <a:pt x="8968000" y="459103"/>
                  </a:cubicBezTo>
                  <a:cubicBezTo>
                    <a:pt x="8980227" y="425939"/>
                    <a:pt x="8961023" y="426091"/>
                    <a:pt x="8974237" y="390053"/>
                  </a:cubicBezTo>
                  <a:cubicBezTo>
                    <a:pt x="8969540" y="419162"/>
                    <a:pt x="8988191" y="419176"/>
                    <a:pt x="8974963" y="467952"/>
                  </a:cubicBezTo>
                  <a:lnTo>
                    <a:pt x="8972855" y="467607"/>
                  </a:lnTo>
                  <a:lnTo>
                    <a:pt x="8970186" y="466924"/>
                  </a:lnTo>
                  <a:lnTo>
                    <a:pt x="8967452" y="466498"/>
                  </a:lnTo>
                  <a:lnTo>
                    <a:pt x="8966686" y="466320"/>
                  </a:lnTo>
                  <a:cubicBezTo>
                    <a:pt x="8964617" y="465912"/>
                    <a:pt x="8962441" y="465694"/>
                    <a:pt x="8959915" y="466091"/>
                  </a:cubicBezTo>
                  <a:lnTo>
                    <a:pt x="8958929" y="466321"/>
                  </a:lnTo>
                  <a:lnTo>
                    <a:pt x="8958334" y="466372"/>
                  </a:lnTo>
                  <a:cubicBezTo>
                    <a:pt x="8945132" y="468428"/>
                    <a:pt x="8940277" y="480068"/>
                    <a:pt x="8919106" y="482314"/>
                  </a:cubicBezTo>
                  <a:cubicBezTo>
                    <a:pt x="8912794" y="481083"/>
                    <a:pt x="8902700" y="471807"/>
                    <a:pt x="8896766" y="464595"/>
                  </a:cubicBezTo>
                  <a:lnTo>
                    <a:pt x="8896308" y="464001"/>
                  </a:lnTo>
                  <a:lnTo>
                    <a:pt x="8898030" y="461124"/>
                  </a:lnTo>
                  <a:cubicBezTo>
                    <a:pt x="8899870" y="458258"/>
                    <a:pt x="8901883" y="455328"/>
                    <a:pt x="8904109" y="452320"/>
                  </a:cubicBezTo>
                  <a:cubicBezTo>
                    <a:pt x="8900218" y="441873"/>
                    <a:pt x="8889950" y="438251"/>
                    <a:pt x="8887047" y="425289"/>
                  </a:cubicBezTo>
                  <a:cubicBezTo>
                    <a:pt x="8891746" y="411879"/>
                    <a:pt x="8893662" y="403138"/>
                    <a:pt x="8917310" y="379131"/>
                  </a:cubicBezTo>
                  <a:cubicBezTo>
                    <a:pt x="8854449" y="388141"/>
                    <a:pt x="8854635" y="438748"/>
                    <a:pt x="8837255" y="426513"/>
                  </a:cubicBezTo>
                  <a:lnTo>
                    <a:pt x="8833630" y="423250"/>
                  </a:lnTo>
                  <a:lnTo>
                    <a:pt x="8834690" y="422655"/>
                  </a:lnTo>
                  <a:cubicBezTo>
                    <a:pt x="8841096" y="418340"/>
                    <a:pt x="8833510" y="412126"/>
                    <a:pt x="8838644" y="402749"/>
                  </a:cubicBezTo>
                  <a:lnTo>
                    <a:pt x="8828161" y="412842"/>
                  </a:lnTo>
                  <a:lnTo>
                    <a:pt x="8829073" y="405942"/>
                  </a:lnTo>
                  <a:cubicBezTo>
                    <a:pt x="8834169" y="400872"/>
                    <a:pt x="8841057" y="398015"/>
                    <a:pt x="8842719" y="397387"/>
                  </a:cubicBezTo>
                  <a:cubicBezTo>
                    <a:pt x="8839598" y="406909"/>
                    <a:pt x="8846406" y="413555"/>
                    <a:pt x="8842719" y="421213"/>
                  </a:cubicBezTo>
                  <a:cubicBezTo>
                    <a:pt x="8878175" y="376114"/>
                    <a:pt x="8902649" y="373237"/>
                    <a:pt x="8919060" y="372831"/>
                  </a:cubicBezTo>
                  <a:cubicBezTo>
                    <a:pt x="8931824" y="361486"/>
                    <a:pt x="8932918" y="358527"/>
                    <a:pt x="8941671" y="356299"/>
                  </a:cubicBezTo>
                  <a:lnTo>
                    <a:pt x="8947707" y="355666"/>
                  </a:lnTo>
                  <a:lnTo>
                    <a:pt x="8948406" y="354169"/>
                  </a:lnTo>
                  <a:cubicBezTo>
                    <a:pt x="8953778" y="343500"/>
                    <a:pt x="8958467" y="340172"/>
                    <a:pt x="8967685" y="335633"/>
                  </a:cubicBezTo>
                  <a:cubicBezTo>
                    <a:pt x="8976904" y="331095"/>
                    <a:pt x="8989690" y="327053"/>
                    <a:pt x="9003356" y="327579"/>
                  </a:cubicBezTo>
                  <a:close/>
                  <a:moveTo>
                    <a:pt x="2942620" y="327579"/>
                  </a:moveTo>
                  <a:cubicBezTo>
                    <a:pt x="2944572" y="327654"/>
                    <a:pt x="2946542" y="327823"/>
                    <a:pt x="2948523" y="328096"/>
                  </a:cubicBezTo>
                  <a:cubicBezTo>
                    <a:pt x="2964366" y="330284"/>
                    <a:pt x="2984748" y="346898"/>
                    <a:pt x="2991799" y="357514"/>
                  </a:cubicBezTo>
                  <a:cubicBezTo>
                    <a:pt x="3001281" y="360108"/>
                    <a:pt x="3007318" y="373844"/>
                    <a:pt x="3009790" y="378666"/>
                  </a:cubicBezTo>
                  <a:cubicBezTo>
                    <a:pt x="3012262" y="383488"/>
                    <a:pt x="3009385" y="386244"/>
                    <a:pt x="3006630" y="386446"/>
                  </a:cubicBezTo>
                  <a:cubicBezTo>
                    <a:pt x="3006589" y="387034"/>
                    <a:pt x="3015129" y="393862"/>
                    <a:pt x="3019743" y="396551"/>
                  </a:cubicBezTo>
                  <a:cubicBezTo>
                    <a:pt x="3023315" y="381027"/>
                    <a:pt x="3018132" y="370608"/>
                    <a:pt x="3018057" y="359217"/>
                  </a:cubicBezTo>
                  <a:cubicBezTo>
                    <a:pt x="3023486" y="349735"/>
                    <a:pt x="3027944" y="353138"/>
                    <a:pt x="3033374" y="349492"/>
                  </a:cubicBezTo>
                  <a:cubicBezTo>
                    <a:pt x="3036615" y="345764"/>
                    <a:pt x="3039614" y="337903"/>
                    <a:pt x="3045288" y="338308"/>
                  </a:cubicBezTo>
                  <a:cubicBezTo>
                    <a:pt x="3055173" y="338713"/>
                    <a:pt x="3067735" y="357110"/>
                    <a:pt x="3068141" y="400791"/>
                  </a:cubicBezTo>
                  <a:cubicBezTo>
                    <a:pt x="3068383" y="435476"/>
                    <a:pt x="3054526" y="458735"/>
                    <a:pt x="3030456" y="469109"/>
                  </a:cubicBezTo>
                  <a:cubicBezTo>
                    <a:pt x="3018148" y="472391"/>
                    <a:pt x="3007583" y="472186"/>
                    <a:pt x="2998429" y="469827"/>
                  </a:cubicBezTo>
                  <a:lnTo>
                    <a:pt x="2994423" y="468432"/>
                  </a:lnTo>
                  <a:lnTo>
                    <a:pt x="2993942" y="470708"/>
                  </a:lnTo>
                  <a:cubicBezTo>
                    <a:pt x="2989057" y="489448"/>
                    <a:pt x="2975322" y="490889"/>
                    <a:pt x="2969189" y="490747"/>
                  </a:cubicBezTo>
                  <a:cubicBezTo>
                    <a:pt x="2962178" y="490585"/>
                    <a:pt x="2951805" y="484101"/>
                    <a:pt x="2947551" y="481022"/>
                  </a:cubicBezTo>
                  <a:cubicBezTo>
                    <a:pt x="2947429" y="485722"/>
                    <a:pt x="2948523" y="487384"/>
                    <a:pt x="2946577" y="493664"/>
                  </a:cubicBezTo>
                  <a:cubicBezTo>
                    <a:pt x="2951683" y="497028"/>
                    <a:pt x="2954764" y="509022"/>
                    <a:pt x="2956304" y="514330"/>
                  </a:cubicBezTo>
                  <a:cubicBezTo>
                    <a:pt x="2957843" y="519638"/>
                    <a:pt x="2955938" y="520854"/>
                    <a:pt x="2955817" y="525514"/>
                  </a:cubicBezTo>
                  <a:cubicBezTo>
                    <a:pt x="2955696" y="530173"/>
                    <a:pt x="2960557" y="533901"/>
                    <a:pt x="2958005" y="539372"/>
                  </a:cubicBezTo>
                  <a:cubicBezTo>
                    <a:pt x="2955451" y="544842"/>
                    <a:pt x="2948807" y="545126"/>
                    <a:pt x="2941958" y="545207"/>
                  </a:cubicBezTo>
                  <a:cubicBezTo>
                    <a:pt x="2935110" y="545288"/>
                    <a:pt x="2919793" y="549988"/>
                    <a:pt x="2916916" y="539858"/>
                  </a:cubicBezTo>
                  <a:cubicBezTo>
                    <a:pt x="2916558" y="538592"/>
                    <a:pt x="2916306" y="537083"/>
                    <a:pt x="2916152" y="535374"/>
                  </a:cubicBezTo>
                  <a:cubicBezTo>
                    <a:pt x="2916138" y="534922"/>
                    <a:pt x="2916125" y="534471"/>
                    <a:pt x="2916113" y="534020"/>
                  </a:cubicBezTo>
                  <a:lnTo>
                    <a:pt x="2912347" y="537588"/>
                  </a:lnTo>
                  <a:cubicBezTo>
                    <a:pt x="2903741" y="545689"/>
                    <a:pt x="2895982" y="552318"/>
                    <a:pt x="2888714" y="552014"/>
                  </a:cubicBezTo>
                  <a:cubicBezTo>
                    <a:pt x="2876599" y="549583"/>
                    <a:pt x="2867238" y="530295"/>
                    <a:pt x="2865132" y="523569"/>
                  </a:cubicBezTo>
                  <a:cubicBezTo>
                    <a:pt x="2863024" y="516842"/>
                    <a:pt x="2869873" y="515586"/>
                    <a:pt x="2876071" y="511655"/>
                  </a:cubicBezTo>
                  <a:cubicBezTo>
                    <a:pt x="2869873" y="515262"/>
                    <a:pt x="2853096" y="512304"/>
                    <a:pt x="2851030" y="509224"/>
                  </a:cubicBezTo>
                  <a:cubicBezTo>
                    <a:pt x="2851638" y="515626"/>
                    <a:pt x="2851273" y="516558"/>
                    <a:pt x="2850057" y="520165"/>
                  </a:cubicBezTo>
                  <a:cubicBezTo>
                    <a:pt x="2848841" y="523771"/>
                    <a:pt x="2845641" y="525878"/>
                    <a:pt x="2843736" y="530862"/>
                  </a:cubicBezTo>
                  <a:cubicBezTo>
                    <a:pt x="2841832" y="535846"/>
                    <a:pt x="2846207" y="548286"/>
                    <a:pt x="2838631" y="550069"/>
                  </a:cubicBezTo>
                  <a:cubicBezTo>
                    <a:pt x="2831053" y="551852"/>
                    <a:pt x="2807511" y="551163"/>
                    <a:pt x="2798272" y="541560"/>
                  </a:cubicBezTo>
                  <a:cubicBezTo>
                    <a:pt x="2794381" y="536819"/>
                    <a:pt x="2800703" y="529485"/>
                    <a:pt x="2799245" y="527459"/>
                  </a:cubicBezTo>
                  <a:cubicBezTo>
                    <a:pt x="2797785" y="525432"/>
                    <a:pt x="2795354" y="533415"/>
                    <a:pt x="2789519" y="529404"/>
                  </a:cubicBezTo>
                  <a:cubicBezTo>
                    <a:pt x="2783684" y="525392"/>
                    <a:pt x="2765895" y="512182"/>
                    <a:pt x="2764234" y="503389"/>
                  </a:cubicBezTo>
                  <a:cubicBezTo>
                    <a:pt x="2762572" y="494596"/>
                    <a:pt x="2772704" y="485357"/>
                    <a:pt x="2779551" y="476645"/>
                  </a:cubicBezTo>
                  <a:cubicBezTo>
                    <a:pt x="2777890" y="467204"/>
                    <a:pt x="2777201" y="460883"/>
                    <a:pt x="2781010" y="449902"/>
                  </a:cubicBezTo>
                  <a:cubicBezTo>
                    <a:pt x="2775904" y="446782"/>
                    <a:pt x="2764801" y="442365"/>
                    <a:pt x="2765449" y="427778"/>
                  </a:cubicBezTo>
                  <a:lnTo>
                    <a:pt x="2767222" y="414369"/>
                  </a:lnTo>
                  <a:lnTo>
                    <a:pt x="2767684" y="423148"/>
                  </a:lnTo>
                  <a:lnTo>
                    <a:pt x="2768513" y="423546"/>
                  </a:lnTo>
                  <a:lnTo>
                    <a:pt x="2768636" y="424728"/>
                  </a:lnTo>
                  <a:cubicBezTo>
                    <a:pt x="2769668" y="433164"/>
                    <a:pt x="2772429" y="442509"/>
                    <a:pt x="2788324" y="438670"/>
                  </a:cubicBezTo>
                  <a:cubicBezTo>
                    <a:pt x="2781488" y="474946"/>
                    <a:pt x="2796928" y="492933"/>
                    <a:pt x="2806671" y="509778"/>
                  </a:cubicBezTo>
                  <a:lnTo>
                    <a:pt x="2807639" y="511640"/>
                  </a:lnTo>
                  <a:lnTo>
                    <a:pt x="2807605" y="512514"/>
                  </a:lnTo>
                  <a:cubicBezTo>
                    <a:pt x="2807312" y="517656"/>
                    <a:pt x="2806576" y="521220"/>
                    <a:pt x="2806194" y="526047"/>
                  </a:cubicBezTo>
                  <a:cubicBezTo>
                    <a:pt x="2805087" y="529849"/>
                    <a:pt x="2802363" y="529429"/>
                    <a:pt x="2802872" y="537452"/>
                  </a:cubicBezTo>
                  <a:cubicBezTo>
                    <a:pt x="2803201" y="542451"/>
                    <a:pt x="2832536" y="550503"/>
                    <a:pt x="2837267" y="544097"/>
                  </a:cubicBezTo>
                  <a:cubicBezTo>
                    <a:pt x="2838643" y="541882"/>
                    <a:pt x="2838045" y="536793"/>
                    <a:pt x="2838434" y="533141"/>
                  </a:cubicBezTo>
                  <a:cubicBezTo>
                    <a:pt x="2839032" y="529070"/>
                    <a:pt x="2844300" y="524640"/>
                    <a:pt x="2845079" y="518863"/>
                  </a:cubicBezTo>
                  <a:cubicBezTo>
                    <a:pt x="2845588" y="514268"/>
                    <a:pt x="2845536" y="509067"/>
                    <a:pt x="2845360" y="503653"/>
                  </a:cubicBezTo>
                  <a:lnTo>
                    <a:pt x="2845150" y="497935"/>
                  </a:lnTo>
                  <a:lnTo>
                    <a:pt x="2846749" y="499797"/>
                  </a:lnTo>
                  <a:cubicBezTo>
                    <a:pt x="2857091" y="510345"/>
                    <a:pt x="2879027" y="513898"/>
                    <a:pt x="2886388" y="497580"/>
                  </a:cubicBezTo>
                  <a:cubicBezTo>
                    <a:pt x="2886478" y="502818"/>
                    <a:pt x="2888184" y="504824"/>
                    <a:pt x="2887286" y="511409"/>
                  </a:cubicBezTo>
                  <a:cubicBezTo>
                    <a:pt x="2884711" y="515570"/>
                    <a:pt x="2873247" y="516498"/>
                    <a:pt x="2870133" y="524161"/>
                  </a:cubicBezTo>
                  <a:cubicBezTo>
                    <a:pt x="2869205" y="527364"/>
                    <a:pt x="2881389" y="546552"/>
                    <a:pt x="2889172" y="547240"/>
                  </a:cubicBezTo>
                  <a:cubicBezTo>
                    <a:pt x="2894829" y="547899"/>
                    <a:pt x="2905337" y="536793"/>
                    <a:pt x="2924463" y="519312"/>
                  </a:cubicBezTo>
                  <a:cubicBezTo>
                    <a:pt x="2927424" y="516606"/>
                    <a:pt x="2938623" y="495365"/>
                    <a:pt x="2943681" y="477195"/>
                  </a:cubicBezTo>
                  <a:cubicBezTo>
                    <a:pt x="2938525" y="474605"/>
                    <a:pt x="2931052" y="468436"/>
                    <a:pt x="2926703" y="458808"/>
                  </a:cubicBezTo>
                  <a:lnTo>
                    <a:pt x="2926509" y="458296"/>
                  </a:lnTo>
                  <a:lnTo>
                    <a:pt x="2929145" y="459956"/>
                  </a:lnTo>
                  <a:cubicBezTo>
                    <a:pt x="2935780" y="464376"/>
                    <a:pt x="2942513" y="469225"/>
                    <a:pt x="2948440" y="470639"/>
                  </a:cubicBezTo>
                  <a:cubicBezTo>
                    <a:pt x="2952812" y="475668"/>
                    <a:pt x="2957900" y="483661"/>
                    <a:pt x="2969904" y="485187"/>
                  </a:cubicBezTo>
                  <a:cubicBezTo>
                    <a:pt x="2980141" y="486923"/>
                    <a:pt x="2987414" y="477255"/>
                    <a:pt x="2991007" y="466688"/>
                  </a:cubicBezTo>
                  <a:lnTo>
                    <a:pt x="2987684" y="466419"/>
                  </a:lnTo>
                  <a:cubicBezTo>
                    <a:pt x="2972418" y="492012"/>
                    <a:pt x="2956284" y="468671"/>
                    <a:pt x="2959704" y="444121"/>
                  </a:cubicBezTo>
                  <a:lnTo>
                    <a:pt x="2960634" y="439313"/>
                  </a:lnTo>
                  <a:lnTo>
                    <a:pt x="2962398" y="441235"/>
                  </a:lnTo>
                  <a:cubicBezTo>
                    <a:pt x="2992875" y="472295"/>
                    <a:pt x="3019525" y="467754"/>
                    <a:pt x="3034650" y="459504"/>
                  </a:cubicBezTo>
                  <a:cubicBezTo>
                    <a:pt x="3076079" y="433970"/>
                    <a:pt x="3063940" y="345849"/>
                    <a:pt x="3046595" y="341594"/>
                  </a:cubicBezTo>
                  <a:cubicBezTo>
                    <a:pt x="3042628" y="340621"/>
                    <a:pt x="3039859" y="350844"/>
                    <a:pt x="3037256" y="352371"/>
                  </a:cubicBezTo>
                  <a:cubicBezTo>
                    <a:pt x="3029262" y="356591"/>
                    <a:pt x="3025760" y="355963"/>
                    <a:pt x="3023606" y="359285"/>
                  </a:cubicBezTo>
                  <a:cubicBezTo>
                    <a:pt x="3019339" y="365515"/>
                    <a:pt x="3035042" y="401580"/>
                    <a:pt x="3015070" y="420492"/>
                  </a:cubicBezTo>
                  <a:lnTo>
                    <a:pt x="3013581" y="421668"/>
                  </a:lnTo>
                  <a:lnTo>
                    <a:pt x="3013893" y="421063"/>
                  </a:lnTo>
                  <a:cubicBezTo>
                    <a:pt x="3017679" y="413750"/>
                    <a:pt x="3021652" y="405376"/>
                    <a:pt x="3017139" y="401851"/>
                  </a:cubicBezTo>
                  <a:cubicBezTo>
                    <a:pt x="3011840" y="397631"/>
                    <a:pt x="3008519" y="400863"/>
                    <a:pt x="3004477" y="404276"/>
                  </a:cubicBezTo>
                  <a:cubicBezTo>
                    <a:pt x="3007081" y="401312"/>
                    <a:pt x="3010224" y="400774"/>
                    <a:pt x="3005824" y="393769"/>
                  </a:cubicBezTo>
                  <a:cubicBezTo>
                    <a:pt x="3002321" y="391404"/>
                    <a:pt x="3000436" y="392003"/>
                    <a:pt x="2993971" y="393679"/>
                  </a:cubicBezTo>
                  <a:cubicBezTo>
                    <a:pt x="2998071" y="390626"/>
                    <a:pt x="2999389" y="391793"/>
                    <a:pt x="2997383" y="385867"/>
                  </a:cubicBezTo>
                  <a:cubicBezTo>
                    <a:pt x="2994643" y="382185"/>
                    <a:pt x="2993268" y="382493"/>
                    <a:pt x="2990530" y="382701"/>
                  </a:cubicBezTo>
                  <a:lnTo>
                    <a:pt x="2988630" y="382714"/>
                  </a:lnTo>
                  <a:lnTo>
                    <a:pt x="2990193" y="382153"/>
                  </a:lnTo>
                  <a:cubicBezTo>
                    <a:pt x="2991069" y="381859"/>
                    <a:pt x="2991860" y="381620"/>
                    <a:pt x="2992533" y="381466"/>
                  </a:cubicBezTo>
                  <a:cubicBezTo>
                    <a:pt x="2997922" y="380239"/>
                    <a:pt x="3003818" y="381930"/>
                    <a:pt x="3003849" y="378862"/>
                  </a:cubicBezTo>
                  <a:cubicBezTo>
                    <a:pt x="3004508" y="375509"/>
                    <a:pt x="2996095" y="365062"/>
                    <a:pt x="2992353" y="364224"/>
                  </a:cubicBezTo>
                  <a:cubicBezTo>
                    <a:pt x="2990356" y="363596"/>
                    <a:pt x="2985125" y="363068"/>
                    <a:pt x="2980373" y="362755"/>
                  </a:cubicBezTo>
                  <a:lnTo>
                    <a:pt x="2979267" y="362696"/>
                  </a:lnTo>
                  <a:lnTo>
                    <a:pt x="2979277" y="362673"/>
                  </a:lnTo>
                  <a:cubicBezTo>
                    <a:pt x="2980405" y="361115"/>
                    <a:pt x="2984159" y="360543"/>
                    <a:pt x="2987056" y="360273"/>
                  </a:cubicBezTo>
                  <a:cubicBezTo>
                    <a:pt x="2974902" y="344229"/>
                    <a:pt x="2958528" y="333931"/>
                    <a:pt x="2944399" y="334141"/>
                  </a:cubicBezTo>
                  <a:cubicBezTo>
                    <a:pt x="2927368" y="334650"/>
                    <a:pt x="2906024" y="339020"/>
                    <a:pt x="2893931" y="357759"/>
                  </a:cubicBezTo>
                  <a:cubicBezTo>
                    <a:pt x="2900113" y="357691"/>
                    <a:pt x="2904712" y="357719"/>
                    <a:pt x="2908163" y="358086"/>
                  </a:cubicBezTo>
                  <a:lnTo>
                    <a:pt x="2908741" y="358169"/>
                  </a:lnTo>
                  <a:lnTo>
                    <a:pt x="2906330" y="358824"/>
                  </a:lnTo>
                  <a:cubicBezTo>
                    <a:pt x="2893524" y="361905"/>
                    <a:pt x="2884603" y="361445"/>
                    <a:pt x="2881732" y="363941"/>
                  </a:cubicBezTo>
                  <a:cubicBezTo>
                    <a:pt x="2875729" y="368141"/>
                    <a:pt x="2836859" y="403951"/>
                    <a:pt x="2835256" y="424226"/>
                  </a:cubicBezTo>
                  <a:cubicBezTo>
                    <a:pt x="2839373" y="434988"/>
                    <a:pt x="2840148" y="427383"/>
                    <a:pt x="2849238" y="446338"/>
                  </a:cubicBezTo>
                  <a:lnTo>
                    <a:pt x="2863743" y="429800"/>
                  </a:lnTo>
                  <a:lnTo>
                    <a:pt x="2846772" y="464906"/>
                  </a:lnTo>
                  <a:cubicBezTo>
                    <a:pt x="2851003" y="471086"/>
                    <a:pt x="2853889" y="474393"/>
                    <a:pt x="2862700" y="474287"/>
                  </a:cubicBezTo>
                  <a:cubicBezTo>
                    <a:pt x="2872112" y="473039"/>
                    <a:pt x="2880804" y="465325"/>
                    <a:pt x="2889855" y="460844"/>
                  </a:cubicBezTo>
                  <a:cubicBezTo>
                    <a:pt x="2898801" y="457121"/>
                    <a:pt x="2901460" y="459683"/>
                    <a:pt x="2907263" y="459103"/>
                  </a:cubicBezTo>
                  <a:cubicBezTo>
                    <a:pt x="2919491" y="425939"/>
                    <a:pt x="2900286" y="426091"/>
                    <a:pt x="2913502" y="390053"/>
                  </a:cubicBezTo>
                  <a:cubicBezTo>
                    <a:pt x="2908803" y="419162"/>
                    <a:pt x="2927455" y="419176"/>
                    <a:pt x="2914226" y="467952"/>
                  </a:cubicBezTo>
                  <a:lnTo>
                    <a:pt x="2912119" y="467607"/>
                  </a:lnTo>
                  <a:lnTo>
                    <a:pt x="2909449" y="466924"/>
                  </a:lnTo>
                  <a:lnTo>
                    <a:pt x="2906717" y="466498"/>
                  </a:lnTo>
                  <a:lnTo>
                    <a:pt x="2905950" y="466320"/>
                  </a:lnTo>
                  <a:cubicBezTo>
                    <a:pt x="2903881" y="465912"/>
                    <a:pt x="2901705" y="465694"/>
                    <a:pt x="2899179" y="466091"/>
                  </a:cubicBezTo>
                  <a:lnTo>
                    <a:pt x="2898193" y="466321"/>
                  </a:lnTo>
                  <a:lnTo>
                    <a:pt x="2897597" y="466372"/>
                  </a:lnTo>
                  <a:cubicBezTo>
                    <a:pt x="2884395" y="468428"/>
                    <a:pt x="2879540" y="480068"/>
                    <a:pt x="2858370" y="482314"/>
                  </a:cubicBezTo>
                  <a:cubicBezTo>
                    <a:pt x="2852057" y="481083"/>
                    <a:pt x="2841963" y="471807"/>
                    <a:pt x="2836029" y="464595"/>
                  </a:cubicBezTo>
                  <a:lnTo>
                    <a:pt x="2835572" y="464001"/>
                  </a:lnTo>
                  <a:lnTo>
                    <a:pt x="2837293" y="461124"/>
                  </a:lnTo>
                  <a:cubicBezTo>
                    <a:pt x="2839133" y="458258"/>
                    <a:pt x="2841146" y="455328"/>
                    <a:pt x="2843373" y="452320"/>
                  </a:cubicBezTo>
                  <a:cubicBezTo>
                    <a:pt x="2839481" y="441873"/>
                    <a:pt x="2829215" y="438251"/>
                    <a:pt x="2826310" y="425289"/>
                  </a:cubicBezTo>
                  <a:cubicBezTo>
                    <a:pt x="2831010" y="411879"/>
                    <a:pt x="2832925" y="403138"/>
                    <a:pt x="2856573" y="379131"/>
                  </a:cubicBezTo>
                  <a:cubicBezTo>
                    <a:pt x="2793713" y="388141"/>
                    <a:pt x="2793899" y="438748"/>
                    <a:pt x="2776519" y="426513"/>
                  </a:cubicBezTo>
                  <a:lnTo>
                    <a:pt x="2772894" y="423250"/>
                  </a:lnTo>
                  <a:lnTo>
                    <a:pt x="2773954" y="422655"/>
                  </a:lnTo>
                  <a:cubicBezTo>
                    <a:pt x="2780359" y="418340"/>
                    <a:pt x="2772773" y="412126"/>
                    <a:pt x="2777907" y="402749"/>
                  </a:cubicBezTo>
                  <a:lnTo>
                    <a:pt x="2767424" y="412841"/>
                  </a:lnTo>
                  <a:lnTo>
                    <a:pt x="2768337" y="405942"/>
                  </a:lnTo>
                  <a:cubicBezTo>
                    <a:pt x="2773432" y="400872"/>
                    <a:pt x="2780321" y="398015"/>
                    <a:pt x="2781982" y="397387"/>
                  </a:cubicBezTo>
                  <a:cubicBezTo>
                    <a:pt x="2778863" y="406909"/>
                    <a:pt x="2785670" y="413555"/>
                    <a:pt x="2781982" y="421213"/>
                  </a:cubicBezTo>
                  <a:cubicBezTo>
                    <a:pt x="2817438" y="376114"/>
                    <a:pt x="2841912" y="373237"/>
                    <a:pt x="2858323" y="372831"/>
                  </a:cubicBezTo>
                  <a:cubicBezTo>
                    <a:pt x="2871087" y="361486"/>
                    <a:pt x="2872183" y="358527"/>
                    <a:pt x="2880935" y="356299"/>
                  </a:cubicBezTo>
                  <a:lnTo>
                    <a:pt x="2886970" y="355666"/>
                  </a:lnTo>
                  <a:lnTo>
                    <a:pt x="2887669" y="354169"/>
                  </a:lnTo>
                  <a:cubicBezTo>
                    <a:pt x="2893041" y="343500"/>
                    <a:pt x="2897730" y="340172"/>
                    <a:pt x="2906950" y="335633"/>
                  </a:cubicBezTo>
                  <a:cubicBezTo>
                    <a:pt x="2916168" y="331095"/>
                    <a:pt x="2928953" y="327053"/>
                    <a:pt x="2942620" y="327579"/>
                  </a:cubicBezTo>
                  <a:close/>
                  <a:moveTo>
                    <a:pt x="11439364" y="91551"/>
                  </a:moveTo>
                  <a:lnTo>
                    <a:pt x="11428902" y="139681"/>
                  </a:lnTo>
                  <a:lnTo>
                    <a:pt x="11471625" y="139681"/>
                  </a:lnTo>
                  <a:lnTo>
                    <a:pt x="11481913" y="91551"/>
                  </a:lnTo>
                  <a:close/>
                  <a:moveTo>
                    <a:pt x="5375028" y="91551"/>
                  </a:moveTo>
                  <a:lnTo>
                    <a:pt x="5364565" y="139681"/>
                  </a:lnTo>
                  <a:lnTo>
                    <a:pt x="5407288" y="139681"/>
                  </a:lnTo>
                  <a:lnTo>
                    <a:pt x="5417576" y="91551"/>
                  </a:lnTo>
                  <a:close/>
                  <a:moveTo>
                    <a:pt x="11226456" y="5634"/>
                  </a:moveTo>
                  <a:cubicBezTo>
                    <a:pt x="11262913" y="5972"/>
                    <a:pt x="11281142" y="18980"/>
                    <a:pt x="11281142" y="44655"/>
                  </a:cubicBezTo>
                  <a:lnTo>
                    <a:pt x="11281142" y="81016"/>
                  </a:lnTo>
                  <a:cubicBezTo>
                    <a:pt x="11281142" y="98078"/>
                    <a:pt x="11289123" y="107031"/>
                    <a:pt x="11305086" y="107876"/>
                  </a:cubicBezTo>
                  <a:lnTo>
                    <a:pt x="11305086" y="126372"/>
                  </a:lnTo>
                  <a:cubicBezTo>
                    <a:pt x="11289123" y="127218"/>
                    <a:pt x="11281142" y="136001"/>
                    <a:pt x="11281142" y="152725"/>
                  </a:cubicBezTo>
                  <a:lnTo>
                    <a:pt x="11281142" y="190100"/>
                  </a:lnTo>
                  <a:cubicBezTo>
                    <a:pt x="11281142" y="215438"/>
                    <a:pt x="11262913" y="228276"/>
                    <a:pt x="11226456" y="228614"/>
                  </a:cubicBezTo>
                  <a:lnTo>
                    <a:pt x="11226456" y="209103"/>
                  </a:lnTo>
                  <a:cubicBezTo>
                    <a:pt x="11235416" y="208935"/>
                    <a:pt x="11241775" y="206908"/>
                    <a:pt x="11245534" y="203022"/>
                  </a:cubicBezTo>
                  <a:cubicBezTo>
                    <a:pt x="11249293" y="199137"/>
                    <a:pt x="11251173" y="192718"/>
                    <a:pt x="11251173" y="183765"/>
                  </a:cubicBezTo>
                  <a:lnTo>
                    <a:pt x="11251173" y="148417"/>
                  </a:lnTo>
                  <a:cubicBezTo>
                    <a:pt x="11251173" y="131272"/>
                    <a:pt x="11261317" y="120840"/>
                    <a:pt x="11281605" y="117125"/>
                  </a:cubicBezTo>
                  <a:lnTo>
                    <a:pt x="11281605" y="116744"/>
                  </a:lnTo>
                  <a:cubicBezTo>
                    <a:pt x="11261317" y="112775"/>
                    <a:pt x="11251173" y="102259"/>
                    <a:pt x="11251173" y="85197"/>
                  </a:cubicBezTo>
                  <a:lnTo>
                    <a:pt x="11251173" y="49470"/>
                  </a:lnTo>
                  <a:cubicBezTo>
                    <a:pt x="11251173" y="33675"/>
                    <a:pt x="11242934" y="25609"/>
                    <a:pt x="11226456" y="25273"/>
                  </a:cubicBezTo>
                  <a:close/>
                  <a:moveTo>
                    <a:pt x="11205137" y="5634"/>
                  </a:moveTo>
                  <a:lnTo>
                    <a:pt x="11205137" y="25273"/>
                  </a:lnTo>
                  <a:cubicBezTo>
                    <a:pt x="11188763" y="25609"/>
                    <a:pt x="11180575" y="33675"/>
                    <a:pt x="11180575" y="49470"/>
                  </a:cubicBezTo>
                  <a:lnTo>
                    <a:pt x="11180575" y="85197"/>
                  </a:lnTo>
                  <a:cubicBezTo>
                    <a:pt x="11180575" y="102259"/>
                    <a:pt x="11170328" y="112775"/>
                    <a:pt x="11149834" y="116744"/>
                  </a:cubicBezTo>
                  <a:lnTo>
                    <a:pt x="11149834" y="117125"/>
                  </a:lnTo>
                  <a:cubicBezTo>
                    <a:pt x="11170328" y="120840"/>
                    <a:pt x="11180575" y="131272"/>
                    <a:pt x="11180575" y="148417"/>
                  </a:cubicBezTo>
                  <a:lnTo>
                    <a:pt x="11180575" y="183765"/>
                  </a:lnTo>
                  <a:cubicBezTo>
                    <a:pt x="11180575" y="192802"/>
                    <a:pt x="11182403" y="199242"/>
                    <a:pt x="11186059" y="203086"/>
                  </a:cubicBezTo>
                  <a:cubicBezTo>
                    <a:pt x="11189715" y="206928"/>
                    <a:pt x="11196075" y="208935"/>
                    <a:pt x="11205137" y="209103"/>
                  </a:cubicBezTo>
                  <a:lnTo>
                    <a:pt x="11205137" y="228614"/>
                  </a:lnTo>
                  <a:cubicBezTo>
                    <a:pt x="11168474" y="228276"/>
                    <a:pt x="11150143" y="215438"/>
                    <a:pt x="11150143" y="190100"/>
                  </a:cubicBezTo>
                  <a:lnTo>
                    <a:pt x="11150143" y="152725"/>
                  </a:lnTo>
                  <a:cubicBezTo>
                    <a:pt x="11150143" y="136001"/>
                    <a:pt x="11142110" y="127218"/>
                    <a:pt x="11126044" y="126372"/>
                  </a:cubicBezTo>
                  <a:lnTo>
                    <a:pt x="11126044" y="107876"/>
                  </a:lnTo>
                  <a:cubicBezTo>
                    <a:pt x="11142110" y="107031"/>
                    <a:pt x="11150143" y="98078"/>
                    <a:pt x="11150143" y="81016"/>
                  </a:cubicBezTo>
                  <a:lnTo>
                    <a:pt x="11150143" y="44655"/>
                  </a:lnTo>
                  <a:cubicBezTo>
                    <a:pt x="11150143" y="18980"/>
                    <a:pt x="11168474" y="5972"/>
                    <a:pt x="11205137" y="5634"/>
                  </a:cubicBezTo>
                  <a:close/>
                  <a:moveTo>
                    <a:pt x="8175706" y="5634"/>
                  </a:moveTo>
                  <a:cubicBezTo>
                    <a:pt x="8212163" y="5972"/>
                    <a:pt x="8230392" y="18980"/>
                    <a:pt x="8230392" y="44655"/>
                  </a:cubicBezTo>
                  <a:lnTo>
                    <a:pt x="8230392" y="81016"/>
                  </a:lnTo>
                  <a:cubicBezTo>
                    <a:pt x="8230392" y="98078"/>
                    <a:pt x="8238373" y="107031"/>
                    <a:pt x="8254336" y="107876"/>
                  </a:cubicBezTo>
                  <a:lnTo>
                    <a:pt x="8254336" y="126372"/>
                  </a:lnTo>
                  <a:cubicBezTo>
                    <a:pt x="8238373" y="127218"/>
                    <a:pt x="8230392" y="136001"/>
                    <a:pt x="8230392" y="152725"/>
                  </a:cubicBezTo>
                  <a:lnTo>
                    <a:pt x="8230392" y="190100"/>
                  </a:lnTo>
                  <a:cubicBezTo>
                    <a:pt x="8230392" y="215438"/>
                    <a:pt x="8212163" y="228276"/>
                    <a:pt x="8175706" y="228614"/>
                  </a:cubicBezTo>
                  <a:lnTo>
                    <a:pt x="8175706" y="209103"/>
                  </a:lnTo>
                  <a:cubicBezTo>
                    <a:pt x="8184666" y="208935"/>
                    <a:pt x="8191025" y="206908"/>
                    <a:pt x="8194784" y="203022"/>
                  </a:cubicBezTo>
                  <a:cubicBezTo>
                    <a:pt x="8198543" y="199137"/>
                    <a:pt x="8200423" y="192718"/>
                    <a:pt x="8200423" y="183765"/>
                  </a:cubicBezTo>
                  <a:lnTo>
                    <a:pt x="8200423" y="148417"/>
                  </a:lnTo>
                  <a:cubicBezTo>
                    <a:pt x="8200423" y="131272"/>
                    <a:pt x="8210567" y="120840"/>
                    <a:pt x="8230855" y="117125"/>
                  </a:cubicBezTo>
                  <a:lnTo>
                    <a:pt x="8230855" y="116744"/>
                  </a:lnTo>
                  <a:cubicBezTo>
                    <a:pt x="8210567" y="112775"/>
                    <a:pt x="8200423" y="102259"/>
                    <a:pt x="8200423" y="85197"/>
                  </a:cubicBezTo>
                  <a:lnTo>
                    <a:pt x="8200423" y="49470"/>
                  </a:lnTo>
                  <a:cubicBezTo>
                    <a:pt x="8200423" y="33675"/>
                    <a:pt x="8192184" y="25609"/>
                    <a:pt x="8175706" y="25273"/>
                  </a:cubicBezTo>
                  <a:close/>
                  <a:moveTo>
                    <a:pt x="8154387" y="5634"/>
                  </a:moveTo>
                  <a:lnTo>
                    <a:pt x="8154387" y="25273"/>
                  </a:lnTo>
                  <a:cubicBezTo>
                    <a:pt x="8138013" y="25609"/>
                    <a:pt x="8129826" y="33675"/>
                    <a:pt x="8129826" y="49470"/>
                  </a:cubicBezTo>
                  <a:lnTo>
                    <a:pt x="8129826" y="85197"/>
                  </a:lnTo>
                  <a:cubicBezTo>
                    <a:pt x="8129826" y="102259"/>
                    <a:pt x="8119578" y="112775"/>
                    <a:pt x="8099084" y="116744"/>
                  </a:cubicBezTo>
                  <a:lnTo>
                    <a:pt x="8099084" y="117125"/>
                  </a:lnTo>
                  <a:cubicBezTo>
                    <a:pt x="8119578" y="120840"/>
                    <a:pt x="8129826" y="131272"/>
                    <a:pt x="8129826" y="148417"/>
                  </a:cubicBezTo>
                  <a:lnTo>
                    <a:pt x="8129826" y="183765"/>
                  </a:lnTo>
                  <a:cubicBezTo>
                    <a:pt x="8129826" y="192802"/>
                    <a:pt x="8131653" y="199242"/>
                    <a:pt x="8135309" y="203086"/>
                  </a:cubicBezTo>
                  <a:cubicBezTo>
                    <a:pt x="8138965" y="206928"/>
                    <a:pt x="8145325" y="208935"/>
                    <a:pt x="8154387" y="209103"/>
                  </a:cubicBezTo>
                  <a:lnTo>
                    <a:pt x="8154387" y="228614"/>
                  </a:lnTo>
                  <a:cubicBezTo>
                    <a:pt x="8117724" y="228276"/>
                    <a:pt x="8099393" y="215438"/>
                    <a:pt x="8099393" y="190100"/>
                  </a:cubicBezTo>
                  <a:lnTo>
                    <a:pt x="8099393" y="152725"/>
                  </a:lnTo>
                  <a:cubicBezTo>
                    <a:pt x="8099393" y="136001"/>
                    <a:pt x="8091360" y="127218"/>
                    <a:pt x="8075294" y="126372"/>
                  </a:cubicBezTo>
                  <a:lnTo>
                    <a:pt x="8075294" y="107876"/>
                  </a:lnTo>
                  <a:cubicBezTo>
                    <a:pt x="8091360" y="107031"/>
                    <a:pt x="8099393" y="98078"/>
                    <a:pt x="8099393" y="81016"/>
                  </a:cubicBezTo>
                  <a:lnTo>
                    <a:pt x="8099393" y="44655"/>
                  </a:lnTo>
                  <a:cubicBezTo>
                    <a:pt x="8099393" y="18980"/>
                    <a:pt x="8117724" y="5972"/>
                    <a:pt x="8154387" y="5634"/>
                  </a:cubicBezTo>
                  <a:close/>
                  <a:moveTo>
                    <a:pt x="5165797" y="5634"/>
                  </a:moveTo>
                  <a:cubicBezTo>
                    <a:pt x="5202254" y="5972"/>
                    <a:pt x="5220483" y="18980"/>
                    <a:pt x="5220483" y="44655"/>
                  </a:cubicBezTo>
                  <a:lnTo>
                    <a:pt x="5220483" y="81016"/>
                  </a:lnTo>
                  <a:cubicBezTo>
                    <a:pt x="5220483" y="98078"/>
                    <a:pt x="5228463" y="107031"/>
                    <a:pt x="5244426" y="107876"/>
                  </a:cubicBezTo>
                  <a:lnTo>
                    <a:pt x="5244426" y="126372"/>
                  </a:lnTo>
                  <a:cubicBezTo>
                    <a:pt x="5228463" y="127218"/>
                    <a:pt x="5220483" y="136001"/>
                    <a:pt x="5220483" y="152725"/>
                  </a:cubicBezTo>
                  <a:lnTo>
                    <a:pt x="5220483" y="190100"/>
                  </a:lnTo>
                  <a:cubicBezTo>
                    <a:pt x="5220483" y="215438"/>
                    <a:pt x="5202254" y="228276"/>
                    <a:pt x="5165797" y="228614"/>
                  </a:cubicBezTo>
                  <a:lnTo>
                    <a:pt x="5165797" y="209103"/>
                  </a:lnTo>
                  <a:cubicBezTo>
                    <a:pt x="5174756" y="208935"/>
                    <a:pt x="5181116" y="206908"/>
                    <a:pt x="5184875" y="203022"/>
                  </a:cubicBezTo>
                  <a:cubicBezTo>
                    <a:pt x="5188633" y="199137"/>
                    <a:pt x="5190513" y="192718"/>
                    <a:pt x="5190513" y="183765"/>
                  </a:cubicBezTo>
                  <a:lnTo>
                    <a:pt x="5190513" y="148417"/>
                  </a:lnTo>
                  <a:cubicBezTo>
                    <a:pt x="5190513" y="131272"/>
                    <a:pt x="5200657" y="120840"/>
                    <a:pt x="5220946" y="117125"/>
                  </a:cubicBezTo>
                  <a:lnTo>
                    <a:pt x="5220946" y="116744"/>
                  </a:lnTo>
                  <a:cubicBezTo>
                    <a:pt x="5200657" y="112775"/>
                    <a:pt x="5190513" y="102259"/>
                    <a:pt x="5190513" y="85197"/>
                  </a:cubicBezTo>
                  <a:lnTo>
                    <a:pt x="5190513" y="49470"/>
                  </a:lnTo>
                  <a:cubicBezTo>
                    <a:pt x="5190513" y="33675"/>
                    <a:pt x="5182275" y="25609"/>
                    <a:pt x="5165797" y="25273"/>
                  </a:cubicBezTo>
                  <a:close/>
                  <a:moveTo>
                    <a:pt x="5144478" y="5634"/>
                  </a:moveTo>
                  <a:lnTo>
                    <a:pt x="5144478" y="25273"/>
                  </a:lnTo>
                  <a:cubicBezTo>
                    <a:pt x="5128103" y="25609"/>
                    <a:pt x="5119917" y="33675"/>
                    <a:pt x="5119917" y="49470"/>
                  </a:cubicBezTo>
                  <a:lnTo>
                    <a:pt x="5119917" y="85197"/>
                  </a:lnTo>
                  <a:cubicBezTo>
                    <a:pt x="5119917" y="102259"/>
                    <a:pt x="5109668" y="112775"/>
                    <a:pt x="5089175" y="116744"/>
                  </a:cubicBezTo>
                  <a:lnTo>
                    <a:pt x="5089175" y="117125"/>
                  </a:lnTo>
                  <a:cubicBezTo>
                    <a:pt x="5109668" y="120840"/>
                    <a:pt x="5119917" y="131272"/>
                    <a:pt x="5119917" y="148417"/>
                  </a:cubicBezTo>
                  <a:lnTo>
                    <a:pt x="5119917" y="183765"/>
                  </a:lnTo>
                  <a:cubicBezTo>
                    <a:pt x="5119917" y="192802"/>
                    <a:pt x="5121744" y="199242"/>
                    <a:pt x="5125400" y="203086"/>
                  </a:cubicBezTo>
                  <a:cubicBezTo>
                    <a:pt x="5129055" y="206928"/>
                    <a:pt x="5135416" y="208935"/>
                    <a:pt x="5144478" y="209103"/>
                  </a:cubicBezTo>
                  <a:lnTo>
                    <a:pt x="5144478" y="228614"/>
                  </a:lnTo>
                  <a:cubicBezTo>
                    <a:pt x="5107814" y="228276"/>
                    <a:pt x="5089484" y="215438"/>
                    <a:pt x="5089484" y="190100"/>
                  </a:cubicBezTo>
                  <a:lnTo>
                    <a:pt x="5089484" y="152725"/>
                  </a:lnTo>
                  <a:cubicBezTo>
                    <a:pt x="5089484" y="136001"/>
                    <a:pt x="5081450" y="127218"/>
                    <a:pt x="5065386" y="126372"/>
                  </a:cubicBezTo>
                  <a:lnTo>
                    <a:pt x="5065386" y="107876"/>
                  </a:lnTo>
                  <a:cubicBezTo>
                    <a:pt x="5081450" y="107031"/>
                    <a:pt x="5089484" y="98078"/>
                    <a:pt x="5089484" y="81016"/>
                  </a:cubicBezTo>
                  <a:lnTo>
                    <a:pt x="5089484" y="44655"/>
                  </a:lnTo>
                  <a:cubicBezTo>
                    <a:pt x="5089484" y="18980"/>
                    <a:pt x="5107814" y="5972"/>
                    <a:pt x="5144478" y="5634"/>
                  </a:cubicBezTo>
                  <a:close/>
                  <a:moveTo>
                    <a:pt x="2112183" y="5634"/>
                  </a:moveTo>
                  <a:cubicBezTo>
                    <a:pt x="2148640" y="5972"/>
                    <a:pt x="2166869" y="18980"/>
                    <a:pt x="2166869" y="44655"/>
                  </a:cubicBezTo>
                  <a:lnTo>
                    <a:pt x="2166869" y="81016"/>
                  </a:lnTo>
                  <a:cubicBezTo>
                    <a:pt x="2166869" y="98078"/>
                    <a:pt x="2174849" y="107031"/>
                    <a:pt x="2190814" y="107876"/>
                  </a:cubicBezTo>
                  <a:lnTo>
                    <a:pt x="2190814" y="126372"/>
                  </a:lnTo>
                  <a:cubicBezTo>
                    <a:pt x="2174849" y="127218"/>
                    <a:pt x="2166869" y="136001"/>
                    <a:pt x="2166869" y="152725"/>
                  </a:cubicBezTo>
                  <a:lnTo>
                    <a:pt x="2166869" y="190100"/>
                  </a:lnTo>
                  <a:cubicBezTo>
                    <a:pt x="2166869" y="215438"/>
                    <a:pt x="2148640" y="228276"/>
                    <a:pt x="2112183" y="228614"/>
                  </a:cubicBezTo>
                  <a:lnTo>
                    <a:pt x="2112183" y="209103"/>
                  </a:lnTo>
                  <a:cubicBezTo>
                    <a:pt x="2121142" y="208935"/>
                    <a:pt x="2127502" y="206908"/>
                    <a:pt x="2131261" y="203022"/>
                  </a:cubicBezTo>
                  <a:cubicBezTo>
                    <a:pt x="2135020" y="199137"/>
                    <a:pt x="2136900" y="192718"/>
                    <a:pt x="2136900" y="183765"/>
                  </a:cubicBezTo>
                  <a:lnTo>
                    <a:pt x="2136900" y="148417"/>
                  </a:lnTo>
                  <a:cubicBezTo>
                    <a:pt x="2136900" y="131272"/>
                    <a:pt x="2147043" y="120840"/>
                    <a:pt x="2167332" y="117125"/>
                  </a:cubicBezTo>
                  <a:lnTo>
                    <a:pt x="2167332" y="116744"/>
                  </a:lnTo>
                  <a:cubicBezTo>
                    <a:pt x="2147043" y="112775"/>
                    <a:pt x="2136900" y="102259"/>
                    <a:pt x="2136900" y="85197"/>
                  </a:cubicBezTo>
                  <a:lnTo>
                    <a:pt x="2136900" y="49470"/>
                  </a:lnTo>
                  <a:cubicBezTo>
                    <a:pt x="2136900" y="33675"/>
                    <a:pt x="2128661" y="25609"/>
                    <a:pt x="2112183" y="25273"/>
                  </a:cubicBezTo>
                  <a:close/>
                  <a:moveTo>
                    <a:pt x="2090864" y="5634"/>
                  </a:moveTo>
                  <a:lnTo>
                    <a:pt x="2090864" y="25273"/>
                  </a:lnTo>
                  <a:cubicBezTo>
                    <a:pt x="2074489" y="25609"/>
                    <a:pt x="2066302" y="33675"/>
                    <a:pt x="2066302" y="49470"/>
                  </a:cubicBezTo>
                  <a:lnTo>
                    <a:pt x="2066302" y="85197"/>
                  </a:lnTo>
                  <a:cubicBezTo>
                    <a:pt x="2066302" y="102259"/>
                    <a:pt x="2056055" y="112775"/>
                    <a:pt x="2035561" y="116744"/>
                  </a:cubicBezTo>
                  <a:lnTo>
                    <a:pt x="2035561" y="117125"/>
                  </a:lnTo>
                  <a:cubicBezTo>
                    <a:pt x="2056055" y="120840"/>
                    <a:pt x="2066302" y="131272"/>
                    <a:pt x="2066302" y="148417"/>
                  </a:cubicBezTo>
                  <a:lnTo>
                    <a:pt x="2066302" y="183765"/>
                  </a:lnTo>
                  <a:cubicBezTo>
                    <a:pt x="2066302" y="192802"/>
                    <a:pt x="2068130" y="199242"/>
                    <a:pt x="2071786" y="203086"/>
                  </a:cubicBezTo>
                  <a:cubicBezTo>
                    <a:pt x="2075442" y="206928"/>
                    <a:pt x="2081802" y="208935"/>
                    <a:pt x="2090864" y="209103"/>
                  </a:cubicBezTo>
                  <a:lnTo>
                    <a:pt x="2090864" y="228614"/>
                  </a:lnTo>
                  <a:cubicBezTo>
                    <a:pt x="2054202" y="228276"/>
                    <a:pt x="2035870" y="215438"/>
                    <a:pt x="2035870" y="190100"/>
                  </a:cubicBezTo>
                  <a:lnTo>
                    <a:pt x="2035870" y="152725"/>
                  </a:lnTo>
                  <a:cubicBezTo>
                    <a:pt x="2035870" y="136001"/>
                    <a:pt x="2027837" y="127218"/>
                    <a:pt x="2011770" y="126372"/>
                  </a:cubicBezTo>
                  <a:lnTo>
                    <a:pt x="2011770" y="107876"/>
                  </a:lnTo>
                  <a:cubicBezTo>
                    <a:pt x="2027837" y="107031"/>
                    <a:pt x="2035870" y="98078"/>
                    <a:pt x="2035870" y="81016"/>
                  </a:cubicBezTo>
                  <a:lnTo>
                    <a:pt x="2035870" y="44655"/>
                  </a:lnTo>
                  <a:cubicBezTo>
                    <a:pt x="2035870" y="18980"/>
                    <a:pt x="2054202" y="5972"/>
                    <a:pt x="2090864" y="5634"/>
                  </a:cubicBezTo>
                  <a:close/>
                  <a:moveTo>
                    <a:pt x="11430297" y="0"/>
                  </a:moveTo>
                  <a:lnTo>
                    <a:pt x="11458372" y="0"/>
                  </a:lnTo>
                  <a:lnTo>
                    <a:pt x="11444596" y="67137"/>
                  </a:lnTo>
                  <a:lnTo>
                    <a:pt x="11486796" y="67137"/>
                  </a:lnTo>
                  <a:lnTo>
                    <a:pt x="11501095" y="0"/>
                  </a:lnTo>
                  <a:lnTo>
                    <a:pt x="11528648" y="0"/>
                  </a:lnTo>
                  <a:lnTo>
                    <a:pt x="11514697" y="67137"/>
                  </a:lnTo>
                  <a:lnTo>
                    <a:pt x="11554456" y="67137"/>
                  </a:lnTo>
                  <a:lnTo>
                    <a:pt x="11549050" y="91551"/>
                  </a:lnTo>
                  <a:lnTo>
                    <a:pt x="11509466" y="91551"/>
                  </a:lnTo>
                  <a:lnTo>
                    <a:pt x="11499352" y="139681"/>
                  </a:lnTo>
                  <a:lnTo>
                    <a:pt x="11542598" y="139681"/>
                  </a:lnTo>
                  <a:lnTo>
                    <a:pt x="11536494" y="164093"/>
                  </a:lnTo>
                  <a:lnTo>
                    <a:pt x="11494295" y="164093"/>
                  </a:lnTo>
                  <a:lnTo>
                    <a:pt x="11479995" y="228614"/>
                  </a:lnTo>
                  <a:lnTo>
                    <a:pt x="11452268" y="228614"/>
                  </a:lnTo>
                  <a:lnTo>
                    <a:pt x="11466219" y="164093"/>
                  </a:lnTo>
                  <a:lnTo>
                    <a:pt x="11424019" y="164093"/>
                  </a:lnTo>
                  <a:lnTo>
                    <a:pt x="11410417" y="228614"/>
                  </a:lnTo>
                  <a:lnTo>
                    <a:pt x="11382691" y="228614"/>
                  </a:lnTo>
                  <a:lnTo>
                    <a:pt x="11396292" y="164093"/>
                  </a:lnTo>
                  <a:lnTo>
                    <a:pt x="11356359" y="164093"/>
                  </a:lnTo>
                  <a:lnTo>
                    <a:pt x="11361241" y="139681"/>
                  </a:lnTo>
                  <a:lnTo>
                    <a:pt x="11401698" y="139681"/>
                  </a:lnTo>
                  <a:lnTo>
                    <a:pt x="11411289" y="91551"/>
                  </a:lnTo>
                  <a:lnTo>
                    <a:pt x="11368740" y="91551"/>
                  </a:lnTo>
                  <a:lnTo>
                    <a:pt x="11373797" y="67137"/>
                  </a:lnTo>
                  <a:lnTo>
                    <a:pt x="11416346" y="67137"/>
                  </a:lnTo>
                  <a:close/>
                  <a:moveTo>
                    <a:pt x="5365960" y="0"/>
                  </a:moveTo>
                  <a:lnTo>
                    <a:pt x="5394034" y="0"/>
                  </a:lnTo>
                  <a:lnTo>
                    <a:pt x="5380258" y="67137"/>
                  </a:lnTo>
                  <a:lnTo>
                    <a:pt x="5422458" y="67137"/>
                  </a:lnTo>
                  <a:lnTo>
                    <a:pt x="5436757" y="0"/>
                  </a:lnTo>
                  <a:lnTo>
                    <a:pt x="5464310" y="0"/>
                  </a:lnTo>
                  <a:lnTo>
                    <a:pt x="5450359" y="67137"/>
                  </a:lnTo>
                  <a:lnTo>
                    <a:pt x="5490118" y="67137"/>
                  </a:lnTo>
                  <a:lnTo>
                    <a:pt x="5484714" y="91551"/>
                  </a:lnTo>
                  <a:lnTo>
                    <a:pt x="5445128" y="91551"/>
                  </a:lnTo>
                  <a:lnTo>
                    <a:pt x="5435014" y="139681"/>
                  </a:lnTo>
                  <a:lnTo>
                    <a:pt x="5478260" y="139681"/>
                  </a:lnTo>
                  <a:lnTo>
                    <a:pt x="5472158" y="164093"/>
                  </a:lnTo>
                  <a:lnTo>
                    <a:pt x="5429957" y="164093"/>
                  </a:lnTo>
                  <a:lnTo>
                    <a:pt x="5415658" y="228614"/>
                  </a:lnTo>
                  <a:lnTo>
                    <a:pt x="5387930" y="228614"/>
                  </a:lnTo>
                  <a:lnTo>
                    <a:pt x="5401881" y="164093"/>
                  </a:lnTo>
                  <a:lnTo>
                    <a:pt x="5359681" y="164093"/>
                  </a:lnTo>
                  <a:lnTo>
                    <a:pt x="5346079" y="228614"/>
                  </a:lnTo>
                  <a:lnTo>
                    <a:pt x="5318353" y="228614"/>
                  </a:lnTo>
                  <a:lnTo>
                    <a:pt x="5331955" y="164093"/>
                  </a:lnTo>
                  <a:lnTo>
                    <a:pt x="5292021" y="164093"/>
                  </a:lnTo>
                  <a:lnTo>
                    <a:pt x="5296904" y="139681"/>
                  </a:lnTo>
                  <a:lnTo>
                    <a:pt x="5337360" y="139681"/>
                  </a:lnTo>
                  <a:lnTo>
                    <a:pt x="5346952" y="91551"/>
                  </a:lnTo>
                  <a:lnTo>
                    <a:pt x="5304402" y="91551"/>
                  </a:lnTo>
                  <a:lnTo>
                    <a:pt x="5309459" y="67137"/>
                  </a:lnTo>
                  <a:lnTo>
                    <a:pt x="5352009" y="67137"/>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1" name="Freeform 20"/>
            <p:cNvSpPr/>
            <p:nvPr/>
          </p:nvSpPr>
          <p:spPr>
            <a:xfrm>
              <a:off x="62042" y="73882"/>
              <a:ext cx="12050057" cy="6072782"/>
            </a:xfrm>
            <a:custGeom>
              <a:avLst/>
              <a:gdLst>
                <a:gd name="connsiteX0" fmla="*/ 3287783 w 12050057"/>
                <a:gd name="connsiteY0" fmla="*/ 5849802 h 6072782"/>
                <a:gd name="connsiteX1" fmla="*/ 3302689 w 12050057"/>
                <a:gd name="connsiteY1" fmla="*/ 5849802 h 6072782"/>
                <a:gd name="connsiteX2" fmla="*/ 3302689 w 12050057"/>
                <a:gd name="connsiteY2" fmla="*/ 6072782 h 6072782"/>
                <a:gd name="connsiteX3" fmla="*/ 3267400 w 12050057"/>
                <a:gd name="connsiteY3" fmla="*/ 6072782 h 6072782"/>
                <a:gd name="connsiteX4" fmla="*/ 3267400 w 12050057"/>
                <a:gd name="connsiteY4" fmla="*/ 5892999 h 6072782"/>
                <a:gd name="connsiteX5" fmla="*/ 3246791 w 12050057"/>
                <a:gd name="connsiteY5" fmla="*/ 5904635 h 6072782"/>
                <a:gd name="connsiteX6" fmla="*/ 3221618 w 12050057"/>
                <a:gd name="connsiteY6" fmla="*/ 5913076 h 6072782"/>
                <a:gd name="connsiteX7" fmla="*/ 3221618 w 12050057"/>
                <a:gd name="connsiteY7" fmla="*/ 5882960 h 6072782"/>
                <a:gd name="connsiteX8" fmla="*/ 3238653 w 12050057"/>
                <a:gd name="connsiteY8" fmla="*/ 5876876 h 6072782"/>
                <a:gd name="connsiteX9" fmla="*/ 3254853 w 12050057"/>
                <a:gd name="connsiteY9" fmla="*/ 5869727 h 6072782"/>
                <a:gd name="connsiteX10" fmla="*/ 3270976 w 12050057"/>
                <a:gd name="connsiteY10" fmla="*/ 5860906 h 6072782"/>
                <a:gd name="connsiteX11" fmla="*/ 3287783 w 12050057"/>
                <a:gd name="connsiteY11" fmla="*/ 5849802 h 6072782"/>
                <a:gd name="connsiteX12" fmla="*/ 3287783 w 12050057"/>
                <a:gd name="connsiteY12" fmla="*/ 5494671 h 6072782"/>
                <a:gd name="connsiteX13" fmla="*/ 3302689 w 12050057"/>
                <a:gd name="connsiteY13" fmla="*/ 5494671 h 6072782"/>
                <a:gd name="connsiteX14" fmla="*/ 3302689 w 12050057"/>
                <a:gd name="connsiteY14" fmla="*/ 5717651 h 6072782"/>
                <a:gd name="connsiteX15" fmla="*/ 3267400 w 12050057"/>
                <a:gd name="connsiteY15" fmla="*/ 5717651 h 6072782"/>
                <a:gd name="connsiteX16" fmla="*/ 3267400 w 12050057"/>
                <a:gd name="connsiteY16" fmla="*/ 5537867 h 6072782"/>
                <a:gd name="connsiteX17" fmla="*/ 3246791 w 12050057"/>
                <a:gd name="connsiteY17" fmla="*/ 5549503 h 6072782"/>
                <a:gd name="connsiteX18" fmla="*/ 3221618 w 12050057"/>
                <a:gd name="connsiteY18" fmla="*/ 5557945 h 6072782"/>
                <a:gd name="connsiteX19" fmla="*/ 3221618 w 12050057"/>
                <a:gd name="connsiteY19" fmla="*/ 5527829 h 6072782"/>
                <a:gd name="connsiteX20" fmla="*/ 3238653 w 12050057"/>
                <a:gd name="connsiteY20" fmla="*/ 5521745 h 6072782"/>
                <a:gd name="connsiteX21" fmla="*/ 3254853 w 12050057"/>
                <a:gd name="connsiteY21" fmla="*/ 5514596 h 6072782"/>
                <a:gd name="connsiteX22" fmla="*/ 3270976 w 12050057"/>
                <a:gd name="connsiteY22" fmla="*/ 5505774 h 6072782"/>
                <a:gd name="connsiteX23" fmla="*/ 3287783 w 12050057"/>
                <a:gd name="connsiteY23" fmla="*/ 5494671 h 6072782"/>
                <a:gd name="connsiteX24" fmla="*/ 1423455 w 12050057"/>
                <a:gd name="connsiteY24" fmla="*/ 5494671 h 6072782"/>
                <a:gd name="connsiteX25" fmla="*/ 1438362 w 12050057"/>
                <a:gd name="connsiteY25" fmla="*/ 5494671 h 6072782"/>
                <a:gd name="connsiteX26" fmla="*/ 1438362 w 12050057"/>
                <a:gd name="connsiteY26" fmla="*/ 5717651 h 6072782"/>
                <a:gd name="connsiteX27" fmla="*/ 1403074 w 12050057"/>
                <a:gd name="connsiteY27" fmla="*/ 5717651 h 6072782"/>
                <a:gd name="connsiteX28" fmla="*/ 1403074 w 12050057"/>
                <a:gd name="connsiteY28" fmla="*/ 5537868 h 6072782"/>
                <a:gd name="connsiteX29" fmla="*/ 1382465 w 12050057"/>
                <a:gd name="connsiteY29" fmla="*/ 5549504 h 6072782"/>
                <a:gd name="connsiteX30" fmla="*/ 1357292 w 12050057"/>
                <a:gd name="connsiteY30" fmla="*/ 5557945 h 6072782"/>
                <a:gd name="connsiteX31" fmla="*/ 1357292 w 12050057"/>
                <a:gd name="connsiteY31" fmla="*/ 5527829 h 6072782"/>
                <a:gd name="connsiteX32" fmla="*/ 1374327 w 12050057"/>
                <a:gd name="connsiteY32" fmla="*/ 5521745 h 6072782"/>
                <a:gd name="connsiteX33" fmla="*/ 1390525 w 12050057"/>
                <a:gd name="connsiteY33" fmla="*/ 5514596 h 6072782"/>
                <a:gd name="connsiteX34" fmla="*/ 1406649 w 12050057"/>
                <a:gd name="connsiteY34" fmla="*/ 5505775 h 6072782"/>
                <a:gd name="connsiteX35" fmla="*/ 1423455 w 12050057"/>
                <a:gd name="connsiteY35" fmla="*/ 5494671 h 6072782"/>
                <a:gd name="connsiteX36" fmla="*/ 9366501 w 12050057"/>
                <a:gd name="connsiteY36" fmla="*/ 5157041 h 6072782"/>
                <a:gd name="connsiteX37" fmla="*/ 9381407 w 12050057"/>
                <a:gd name="connsiteY37" fmla="*/ 5157041 h 6072782"/>
                <a:gd name="connsiteX38" fmla="*/ 9381407 w 12050057"/>
                <a:gd name="connsiteY38" fmla="*/ 5380021 h 6072782"/>
                <a:gd name="connsiteX39" fmla="*/ 9346119 w 12050057"/>
                <a:gd name="connsiteY39" fmla="*/ 5380021 h 6072782"/>
                <a:gd name="connsiteX40" fmla="*/ 9346119 w 12050057"/>
                <a:gd name="connsiteY40" fmla="*/ 5200238 h 6072782"/>
                <a:gd name="connsiteX41" fmla="*/ 9325510 w 12050057"/>
                <a:gd name="connsiteY41" fmla="*/ 5211874 h 6072782"/>
                <a:gd name="connsiteX42" fmla="*/ 9300337 w 12050057"/>
                <a:gd name="connsiteY42" fmla="*/ 5220315 h 6072782"/>
                <a:gd name="connsiteX43" fmla="*/ 9300337 w 12050057"/>
                <a:gd name="connsiteY43" fmla="*/ 5190199 h 6072782"/>
                <a:gd name="connsiteX44" fmla="*/ 9317372 w 12050057"/>
                <a:gd name="connsiteY44" fmla="*/ 5184115 h 6072782"/>
                <a:gd name="connsiteX45" fmla="*/ 9333571 w 12050057"/>
                <a:gd name="connsiteY45" fmla="*/ 5176966 h 6072782"/>
                <a:gd name="connsiteX46" fmla="*/ 9349694 w 12050057"/>
                <a:gd name="connsiteY46" fmla="*/ 5168145 h 6072782"/>
                <a:gd name="connsiteX47" fmla="*/ 9366501 w 12050057"/>
                <a:gd name="connsiteY47" fmla="*/ 5157041 h 6072782"/>
                <a:gd name="connsiteX48" fmla="*/ 7520355 w 12050057"/>
                <a:gd name="connsiteY48" fmla="*/ 5157041 h 6072782"/>
                <a:gd name="connsiteX49" fmla="*/ 7535261 w 12050057"/>
                <a:gd name="connsiteY49" fmla="*/ 5157041 h 6072782"/>
                <a:gd name="connsiteX50" fmla="*/ 7535261 w 12050057"/>
                <a:gd name="connsiteY50" fmla="*/ 5380021 h 6072782"/>
                <a:gd name="connsiteX51" fmla="*/ 7499973 w 12050057"/>
                <a:gd name="connsiteY51" fmla="*/ 5380021 h 6072782"/>
                <a:gd name="connsiteX52" fmla="*/ 7499973 w 12050057"/>
                <a:gd name="connsiteY52" fmla="*/ 5200238 h 6072782"/>
                <a:gd name="connsiteX53" fmla="*/ 7479364 w 12050057"/>
                <a:gd name="connsiteY53" fmla="*/ 5211874 h 6072782"/>
                <a:gd name="connsiteX54" fmla="*/ 7454191 w 12050057"/>
                <a:gd name="connsiteY54" fmla="*/ 5220315 h 6072782"/>
                <a:gd name="connsiteX55" fmla="*/ 7454191 w 12050057"/>
                <a:gd name="connsiteY55" fmla="*/ 5190199 h 6072782"/>
                <a:gd name="connsiteX56" fmla="*/ 7471226 w 12050057"/>
                <a:gd name="connsiteY56" fmla="*/ 5184115 h 6072782"/>
                <a:gd name="connsiteX57" fmla="*/ 7487425 w 12050057"/>
                <a:gd name="connsiteY57" fmla="*/ 5176966 h 6072782"/>
                <a:gd name="connsiteX58" fmla="*/ 7503548 w 12050057"/>
                <a:gd name="connsiteY58" fmla="*/ 5168145 h 6072782"/>
                <a:gd name="connsiteX59" fmla="*/ 7520355 w 12050057"/>
                <a:gd name="connsiteY59" fmla="*/ 5157041 h 6072782"/>
                <a:gd name="connsiteX60" fmla="*/ 3287783 w 12050057"/>
                <a:gd name="connsiteY60" fmla="*/ 5157041 h 6072782"/>
                <a:gd name="connsiteX61" fmla="*/ 3302689 w 12050057"/>
                <a:gd name="connsiteY61" fmla="*/ 5157041 h 6072782"/>
                <a:gd name="connsiteX62" fmla="*/ 3302689 w 12050057"/>
                <a:gd name="connsiteY62" fmla="*/ 5380021 h 6072782"/>
                <a:gd name="connsiteX63" fmla="*/ 3267400 w 12050057"/>
                <a:gd name="connsiteY63" fmla="*/ 5380021 h 6072782"/>
                <a:gd name="connsiteX64" fmla="*/ 3267400 w 12050057"/>
                <a:gd name="connsiteY64" fmla="*/ 5200237 h 6072782"/>
                <a:gd name="connsiteX65" fmla="*/ 3246791 w 12050057"/>
                <a:gd name="connsiteY65" fmla="*/ 5211873 h 6072782"/>
                <a:gd name="connsiteX66" fmla="*/ 3221618 w 12050057"/>
                <a:gd name="connsiteY66" fmla="*/ 5220315 h 6072782"/>
                <a:gd name="connsiteX67" fmla="*/ 3221618 w 12050057"/>
                <a:gd name="connsiteY67" fmla="*/ 5190199 h 6072782"/>
                <a:gd name="connsiteX68" fmla="*/ 3238653 w 12050057"/>
                <a:gd name="connsiteY68" fmla="*/ 5184115 h 6072782"/>
                <a:gd name="connsiteX69" fmla="*/ 3254853 w 12050057"/>
                <a:gd name="connsiteY69" fmla="*/ 5176966 h 6072782"/>
                <a:gd name="connsiteX70" fmla="*/ 3270976 w 12050057"/>
                <a:gd name="connsiteY70" fmla="*/ 5168144 h 6072782"/>
                <a:gd name="connsiteX71" fmla="*/ 3287783 w 12050057"/>
                <a:gd name="connsiteY71" fmla="*/ 5157041 h 6072782"/>
                <a:gd name="connsiteX72" fmla="*/ 1423455 w 12050057"/>
                <a:gd name="connsiteY72" fmla="*/ 5157041 h 6072782"/>
                <a:gd name="connsiteX73" fmla="*/ 1438362 w 12050057"/>
                <a:gd name="connsiteY73" fmla="*/ 5157041 h 6072782"/>
                <a:gd name="connsiteX74" fmla="*/ 1438362 w 12050057"/>
                <a:gd name="connsiteY74" fmla="*/ 5380021 h 6072782"/>
                <a:gd name="connsiteX75" fmla="*/ 1403074 w 12050057"/>
                <a:gd name="connsiteY75" fmla="*/ 5380021 h 6072782"/>
                <a:gd name="connsiteX76" fmla="*/ 1403074 w 12050057"/>
                <a:gd name="connsiteY76" fmla="*/ 5200238 h 6072782"/>
                <a:gd name="connsiteX77" fmla="*/ 1382465 w 12050057"/>
                <a:gd name="connsiteY77" fmla="*/ 5211874 h 6072782"/>
                <a:gd name="connsiteX78" fmla="*/ 1357292 w 12050057"/>
                <a:gd name="connsiteY78" fmla="*/ 5220315 h 6072782"/>
                <a:gd name="connsiteX79" fmla="*/ 1357292 w 12050057"/>
                <a:gd name="connsiteY79" fmla="*/ 5190199 h 6072782"/>
                <a:gd name="connsiteX80" fmla="*/ 1374327 w 12050057"/>
                <a:gd name="connsiteY80" fmla="*/ 5184115 h 6072782"/>
                <a:gd name="connsiteX81" fmla="*/ 1390525 w 12050057"/>
                <a:gd name="connsiteY81" fmla="*/ 5176966 h 6072782"/>
                <a:gd name="connsiteX82" fmla="*/ 1406649 w 12050057"/>
                <a:gd name="connsiteY82" fmla="*/ 5168145 h 6072782"/>
                <a:gd name="connsiteX83" fmla="*/ 1423455 w 12050057"/>
                <a:gd name="connsiteY83" fmla="*/ 5157041 h 6072782"/>
                <a:gd name="connsiteX84" fmla="*/ 9366501 w 12050057"/>
                <a:gd name="connsiteY84" fmla="*/ 4843971 h 6072782"/>
                <a:gd name="connsiteX85" fmla="*/ 9381407 w 12050057"/>
                <a:gd name="connsiteY85" fmla="*/ 4843971 h 6072782"/>
                <a:gd name="connsiteX86" fmla="*/ 9381407 w 12050057"/>
                <a:gd name="connsiteY86" fmla="*/ 5066951 h 6072782"/>
                <a:gd name="connsiteX87" fmla="*/ 9346119 w 12050057"/>
                <a:gd name="connsiteY87" fmla="*/ 5066951 h 6072782"/>
                <a:gd name="connsiteX88" fmla="*/ 9346119 w 12050057"/>
                <a:gd name="connsiteY88" fmla="*/ 4887167 h 6072782"/>
                <a:gd name="connsiteX89" fmla="*/ 9325510 w 12050057"/>
                <a:gd name="connsiteY89" fmla="*/ 4898803 h 6072782"/>
                <a:gd name="connsiteX90" fmla="*/ 9300337 w 12050057"/>
                <a:gd name="connsiteY90" fmla="*/ 4907245 h 6072782"/>
                <a:gd name="connsiteX91" fmla="*/ 9300337 w 12050057"/>
                <a:gd name="connsiteY91" fmla="*/ 4877129 h 6072782"/>
                <a:gd name="connsiteX92" fmla="*/ 9317372 w 12050057"/>
                <a:gd name="connsiteY92" fmla="*/ 4871045 h 6072782"/>
                <a:gd name="connsiteX93" fmla="*/ 9333571 w 12050057"/>
                <a:gd name="connsiteY93" fmla="*/ 4863896 h 6072782"/>
                <a:gd name="connsiteX94" fmla="*/ 9349694 w 12050057"/>
                <a:gd name="connsiteY94" fmla="*/ 4855074 h 6072782"/>
                <a:gd name="connsiteX95" fmla="*/ 9366501 w 12050057"/>
                <a:gd name="connsiteY95" fmla="*/ 4843971 h 6072782"/>
                <a:gd name="connsiteX96" fmla="*/ 7520355 w 12050057"/>
                <a:gd name="connsiteY96" fmla="*/ 4843971 h 6072782"/>
                <a:gd name="connsiteX97" fmla="*/ 7535261 w 12050057"/>
                <a:gd name="connsiteY97" fmla="*/ 4843971 h 6072782"/>
                <a:gd name="connsiteX98" fmla="*/ 7535261 w 12050057"/>
                <a:gd name="connsiteY98" fmla="*/ 5066951 h 6072782"/>
                <a:gd name="connsiteX99" fmla="*/ 7499973 w 12050057"/>
                <a:gd name="connsiteY99" fmla="*/ 5066951 h 6072782"/>
                <a:gd name="connsiteX100" fmla="*/ 7499973 w 12050057"/>
                <a:gd name="connsiteY100" fmla="*/ 4887167 h 6072782"/>
                <a:gd name="connsiteX101" fmla="*/ 7479364 w 12050057"/>
                <a:gd name="connsiteY101" fmla="*/ 4898803 h 6072782"/>
                <a:gd name="connsiteX102" fmla="*/ 7454191 w 12050057"/>
                <a:gd name="connsiteY102" fmla="*/ 4907245 h 6072782"/>
                <a:gd name="connsiteX103" fmla="*/ 7454191 w 12050057"/>
                <a:gd name="connsiteY103" fmla="*/ 4877129 h 6072782"/>
                <a:gd name="connsiteX104" fmla="*/ 7471226 w 12050057"/>
                <a:gd name="connsiteY104" fmla="*/ 4871045 h 6072782"/>
                <a:gd name="connsiteX105" fmla="*/ 7487425 w 12050057"/>
                <a:gd name="connsiteY105" fmla="*/ 4863896 h 6072782"/>
                <a:gd name="connsiteX106" fmla="*/ 7503548 w 12050057"/>
                <a:gd name="connsiteY106" fmla="*/ 4855074 h 6072782"/>
                <a:gd name="connsiteX107" fmla="*/ 7520355 w 12050057"/>
                <a:gd name="connsiteY107" fmla="*/ 4843971 h 6072782"/>
                <a:gd name="connsiteX108" fmla="*/ 3287783 w 12050057"/>
                <a:gd name="connsiteY108" fmla="*/ 4843971 h 6072782"/>
                <a:gd name="connsiteX109" fmla="*/ 3302689 w 12050057"/>
                <a:gd name="connsiteY109" fmla="*/ 4843971 h 6072782"/>
                <a:gd name="connsiteX110" fmla="*/ 3302689 w 12050057"/>
                <a:gd name="connsiteY110" fmla="*/ 5066951 h 6072782"/>
                <a:gd name="connsiteX111" fmla="*/ 3267400 w 12050057"/>
                <a:gd name="connsiteY111" fmla="*/ 5066951 h 6072782"/>
                <a:gd name="connsiteX112" fmla="*/ 3267400 w 12050057"/>
                <a:gd name="connsiteY112" fmla="*/ 4887167 h 6072782"/>
                <a:gd name="connsiteX113" fmla="*/ 3246791 w 12050057"/>
                <a:gd name="connsiteY113" fmla="*/ 4898803 h 6072782"/>
                <a:gd name="connsiteX114" fmla="*/ 3221618 w 12050057"/>
                <a:gd name="connsiteY114" fmla="*/ 4907245 h 6072782"/>
                <a:gd name="connsiteX115" fmla="*/ 3221618 w 12050057"/>
                <a:gd name="connsiteY115" fmla="*/ 4877129 h 6072782"/>
                <a:gd name="connsiteX116" fmla="*/ 3238653 w 12050057"/>
                <a:gd name="connsiteY116" fmla="*/ 4871045 h 6072782"/>
                <a:gd name="connsiteX117" fmla="*/ 3254853 w 12050057"/>
                <a:gd name="connsiteY117" fmla="*/ 4863896 h 6072782"/>
                <a:gd name="connsiteX118" fmla="*/ 3270976 w 12050057"/>
                <a:gd name="connsiteY118" fmla="*/ 4855074 h 6072782"/>
                <a:gd name="connsiteX119" fmla="*/ 3287783 w 12050057"/>
                <a:gd name="connsiteY119" fmla="*/ 4843971 h 6072782"/>
                <a:gd name="connsiteX120" fmla="*/ 1423455 w 12050057"/>
                <a:gd name="connsiteY120" fmla="*/ 4843971 h 6072782"/>
                <a:gd name="connsiteX121" fmla="*/ 1438362 w 12050057"/>
                <a:gd name="connsiteY121" fmla="*/ 4843971 h 6072782"/>
                <a:gd name="connsiteX122" fmla="*/ 1438362 w 12050057"/>
                <a:gd name="connsiteY122" fmla="*/ 5066951 h 6072782"/>
                <a:gd name="connsiteX123" fmla="*/ 1403074 w 12050057"/>
                <a:gd name="connsiteY123" fmla="*/ 5066951 h 6072782"/>
                <a:gd name="connsiteX124" fmla="*/ 1403074 w 12050057"/>
                <a:gd name="connsiteY124" fmla="*/ 4887167 h 6072782"/>
                <a:gd name="connsiteX125" fmla="*/ 1382465 w 12050057"/>
                <a:gd name="connsiteY125" fmla="*/ 4898803 h 6072782"/>
                <a:gd name="connsiteX126" fmla="*/ 1357292 w 12050057"/>
                <a:gd name="connsiteY126" fmla="*/ 4907245 h 6072782"/>
                <a:gd name="connsiteX127" fmla="*/ 1357292 w 12050057"/>
                <a:gd name="connsiteY127" fmla="*/ 4877129 h 6072782"/>
                <a:gd name="connsiteX128" fmla="*/ 1374327 w 12050057"/>
                <a:gd name="connsiteY128" fmla="*/ 4871045 h 6072782"/>
                <a:gd name="connsiteX129" fmla="*/ 1390525 w 12050057"/>
                <a:gd name="connsiteY129" fmla="*/ 4863896 h 6072782"/>
                <a:gd name="connsiteX130" fmla="*/ 1406649 w 12050057"/>
                <a:gd name="connsiteY130" fmla="*/ 4855074 h 6072782"/>
                <a:gd name="connsiteX131" fmla="*/ 1423455 w 12050057"/>
                <a:gd name="connsiteY131" fmla="*/ 4843971 h 6072782"/>
                <a:gd name="connsiteX132" fmla="*/ 9366501 w 12050057"/>
                <a:gd name="connsiteY132" fmla="*/ 4506341 h 6072782"/>
                <a:gd name="connsiteX133" fmla="*/ 9381407 w 12050057"/>
                <a:gd name="connsiteY133" fmla="*/ 4506341 h 6072782"/>
                <a:gd name="connsiteX134" fmla="*/ 9381407 w 12050057"/>
                <a:gd name="connsiteY134" fmla="*/ 4729321 h 6072782"/>
                <a:gd name="connsiteX135" fmla="*/ 9346119 w 12050057"/>
                <a:gd name="connsiteY135" fmla="*/ 4729321 h 6072782"/>
                <a:gd name="connsiteX136" fmla="*/ 9346119 w 12050057"/>
                <a:gd name="connsiteY136" fmla="*/ 4549537 h 6072782"/>
                <a:gd name="connsiteX137" fmla="*/ 9325510 w 12050057"/>
                <a:gd name="connsiteY137" fmla="*/ 4561173 h 6072782"/>
                <a:gd name="connsiteX138" fmla="*/ 9300337 w 12050057"/>
                <a:gd name="connsiteY138" fmla="*/ 4569615 h 6072782"/>
                <a:gd name="connsiteX139" fmla="*/ 9300337 w 12050057"/>
                <a:gd name="connsiteY139" fmla="*/ 4539499 h 6072782"/>
                <a:gd name="connsiteX140" fmla="*/ 9317372 w 12050057"/>
                <a:gd name="connsiteY140" fmla="*/ 4533415 h 6072782"/>
                <a:gd name="connsiteX141" fmla="*/ 9333571 w 12050057"/>
                <a:gd name="connsiteY141" fmla="*/ 4526266 h 6072782"/>
                <a:gd name="connsiteX142" fmla="*/ 9349694 w 12050057"/>
                <a:gd name="connsiteY142" fmla="*/ 4517444 h 6072782"/>
                <a:gd name="connsiteX143" fmla="*/ 9366501 w 12050057"/>
                <a:gd name="connsiteY143" fmla="*/ 4506341 h 6072782"/>
                <a:gd name="connsiteX144" fmla="*/ 7520355 w 12050057"/>
                <a:gd name="connsiteY144" fmla="*/ 4506341 h 6072782"/>
                <a:gd name="connsiteX145" fmla="*/ 7535261 w 12050057"/>
                <a:gd name="connsiteY145" fmla="*/ 4506341 h 6072782"/>
                <a:gd name="connsiteX146" fmla="*/ 7535261 w 12050057"/>
                <a:gd name="connsiteY146" fmla="*/ 4729321 h 6072782"/>
                <a:gd name="connsiteX147" fmla="*/ 7499973 w 12050057"/>
                <a:gd name="connsiteY147" fmla="*/ 4729321 h 6072782"/>
                <a:gd name="connsiteX148" fmla="*/ 7499973 w 12050057"/>
                <a:gd name="connsiteY148" fmla="*/ 4549537 h 6072782"/>
                <a:gd name="connsiteX149" fmla="*/ 7479364 w 12050057"/>
                <a:gd name="connsiteY149" fmla="*/ 4561173 h 6072782"/>
                <a:gd name="connsiteX150" fmla="*/ 7454191 w 12050057"/>
                <a:gd name="connsiteY150" fmla="*/ 4569615 h 6072782"/>
                <a:gd name="connsiteX151" fmla="*/ 7454191 w 12050057"/>
                <a:gd name="connsiteY151" fmla="*/ 4539499 h 6072782"/>
                <a:gd name="connsiteX152" fmla="*/ 7471226 w 12050057"/>
                <a:gd name="connsiteY152" fmla="*/ 4533415 h 6072782"/>
                <a:gd name="connsiteX153" fmla="*/ 7487425 w 12050057"/>
                <a:gd name="connsiteY153" fmla="*/ 4526266 h 6072782"/>
                <a:gd name="connsiteX154" fmla="*/ 7503548 w 12050057"/>
                <a:gd name="connsiteY154" fmla="*/ 4517444 h 6072782"/>
                <a:gd name="connsiteX155" fmla="*/ 7520355 w 12050057"/>
                <a:gd name="connsiteY155" fmla="*/ 4506341 h 6072782"/>
                <a:gd name="connsiteX156" fmla="*/ 3287783 w 12050057"/>
                <a:gd name="connsiteY156" fmla="*/ 4506341 h 6072782"/>
                <a:gd name="connsiteX157" fmla="*/ 3302689 w 12050057"/>
                <a:gd name="connsiteY157" fmla="*/ 4506341 h 6072782"/>
                <a:gd name="connsiteX158" fmla="*/ 3302689 w 12050057"/>
                <a:gd name="connsiteY158" fmla="*/ 4729321 h 6072782"/>
                <a:gd name="connsiteX159" fmla="*/ 3267400 w 12050057"/>
                <a:gd name="connsiteY159" fmla="*/ 4729321 h 6072782"/>
                <a:gd name="connsiteX160" fmla="*/ 3267400 w 12050057"/>
                <a:gd name="connsiteY160" fmla="*/ 4549537 h 6072782"/>
                <a:gd name="connsiteX161" fmla="*/ 3246791 w 12050057"/>
                <a:gd name="connsiteY161" fmla="*/ 4561173 h 6072782"/>
                <a:gd name="connsiteX162" fmla="*/ 3221618 w 12050057"/>
                <a:gd name="connsiteY162" fmla="*/ 4569615 h 6072782"/>
                <a:gd name="connsiteX163" fmla="*/ 3221618 w 12050057"/>
                <a:gd name="connsiteY163" fmla="*/ 4539499 h 6072782"/>
                <a:gd name="connsiteX164" fmla="*/ 3238653 w 12050057"/>
                <a:gd name="connsiteY164" fmla="*/ 4533415 h 6072782"/>
                <a:gd name="connsiteX165" fmla="*/ 3254853 w 12050057"/>
                <a:gd name="connsiteY165" fmla="*/ 4526266 h 6072782"/>
                <a:gd name="connsiteX166" fmla="*/ 3270976 w 12050057"/>
                <a:gd name="connsiteY166" fmla="*/ 4517444 h 6072782"/>
                <a:gd name="connsiteX167" fmla="*/ 3287783 w 12050057"/>
                <a:gd name="connsiteY167" fmla="*/ 4506341 h 6072782"/>
                <a:gd name="connsiteX168" fmla="*/ 1423455 w 12050057"/>
                <a:gd name="connsiteY168" fmla="*/ 4506341 h 6072782"/>
                <a:gd name="connsiteX169" fmla="*/ 1438362 w 12050057"/>
                <a:gd name="connsiteY169" fmla="*/ 4506341 h 6072782"/>
                <a:gd name="connsiteX170" fmla="*/ 1438362 w 12050057"/>
                <a:gd name="connsiteY170" fmla="*/ 4729321 h 6072782"/>
                <a:gd name="connsiteX171" fmla="*/ 1403074 w 12050057"/>
                <a:gd name="connsiteY171" fmla="*/ 4729321 h 6072782"/>
                <a:gd name="connsiteX172" fmla="*/ 1403074 w 12050057"/>
                <a:gd name="connsiteY172" fmla="*/ 4549537 h 6072782"/>
                <a:gd name="connsiteX173" fmla="*/ 1382465 w 12050057"/>
                <a:gd name="connsiteY173" fmla="*/ 4561173 h 6072782"/>
                <a:gd name="connsiteX174" fmla="*/ 1357292 w 12050057"/>
                <a:gd name="connsiteY174" fmla="*/ 4569615 h 6072782"/>
                <a:gd name="connsiteX175" fmla="*/ 1357292 w 12050057"/>
                <a:gd name="connsiteY175" fmla="*/ 4539499 h 6072782"/>
                <a:gd name="connsiteX176" fmla="*/ 1374327 w 12050057"/>
                <a:gd name="connsiteY176" fmla="*/ 4533415 h 6072782"/>
                <a:gd name="connsiteX177" fmla="*/ 1390525 w 12050057"/>
                <a:gd name="connsiteY177" fmla="*/ 4526266 h 6072782"/>
                <a:gd name="connsiteX178" fmla="*/ 1406649 w 12050057"/>
                <a:gd name="connsiteY178" fmla="*/ 4517444 h 6072782"/>
                <a:gd name="connsiteX179" fmla="*/ 1423455 w 12050057"/>
                <a:gd name="connsiteY179" fmla="*/ 4506341 h 6072782"/>
                <a:gd name="connsiteX180" fmla="*/ 10276410 w 12050057"/>
                <a:gd name="connsiteY180" fmla="*/ 4158870 h 6072782"/>
                <a:gd name="connsiteX181" fmla="*/ 10291316 w 12050057"/>
                <a:gd name="connsiteY181" fmla="*/ 4158870 h 6072782"/>
                <a:gd name="connsiteX182" fmla="*/ 10291316 w 12050057"/>
                <a:gd name="connsiteY182" fmla="*/ 4381850 h 6072782"/>
                <a:gd name="connsiteX183" fmla="*/ 10256028 w 12050057"/>
                <a:gd name="connsiteY183" fmla="*/ 4381850 h 6072782"/>
                <a:gd name="connsiteX184" fmla="*/ 10256028 w 12050057"/>
                <a:gd name="connsiteY184" fmla="*/ 4202067 h 6072782"/>
                <a:gd name="connsiteX185" fmla="*/ 10235419 w 12050057"/>
                <a:gd name="connsiteY185" fmla="*/ 4213703 h 6072782"/>
                <a:gd name="connsiteX186" fmla="*/ 10210246 w 12050057"/>
                <a:gd name="connsiteY186" fmla="*/ 4222144 h 6072782"/>
                <a:gd name="connsiteX187" fmla="*/ 10210246 w 12050057"/>
                <a:gd name="connsiteY187" fmla="*/ 4192028 h 6072782"/>
                <a:gd name="connsiteX188" fmla="*/ 10227281 w 12050057"/>
                <a:gd name="connsiteY188" fmla="*/ 4185944 h 6072782"/>
                <a:gd name="connsiteX189" fmla="*/ 10243480 w 12050057"/>
                <a:gd name="connsiteY189" fmla="*/ 4178795 h 6072782"/>
                <a:gd name="connsiteX190" fmla="*/ 10259603 w 12050057"/>
                <a:gd name="connsiteY190" fmla="*/ 4169974 h 6072782"/>
                <a:gd name="connsiteX191" fmla="*/ 10276410 w 12050057"/>
                <a:gd name="connsiteY191" fmla="*/ 4158870 h 6072782"/>
                <a:gd name="connsiteX192" fmla="*/ 9366501 w 12050057"/>
                <a:gd name="connsiteY192" fmla="*/ 4158870 h 6072782"/>
                <a:gd name="connsiteX193" fmla="*/ 9381407 w 12050057"/>
                <a:gd name="connsiteY193" fmla="*/ 4158870 h 6072782"/>
                <a:gd name="connsiteX194" fmla="*/ 9381407 w 12050057"/>
                <a:gd name="connsiteY194" fmla="*/ 4381850 h 6072782"/>
                <a:gd name="connsiteX195" fmla="*/ 9346119 w 12050057"/>
                <a:gd name="connsiteY195" fmla="*/ 4381850 h 6072782"/>
                <a:gd name="connsiteX196" fmla="*/ 9346119 w 12050057"/>
                <a:gd name="connsiteY196" fmla="*/ 4202066 h 6072782"/>
                <a:gd name="connsiteX197" fmla="*/ 9325510 w 12050057"/>
                <a:gd name="connsiteY197" fmla="*/ 4213702 h 6072782"/>
                <a:gd name="connsiteX198" fmla="*/ 9300337 w 12050057"/>
                <a:gd name="connsiteY198" fmla="*/ 4222144 h 6072782"/>
                <a:gd name="connsiteX199" fmla="*/ 9300337 w 12050057"/>
                <a:gd name="connsiteY199" fmla="*/ 4192028 h 6072782"/>
                <a:gd name="connsiteX200" fmla="*/ 9317372 w 12050057"/>
                <a:gd name="connsiteY200" fmla="*/ 4185944 h 6072782"/>
                <a:gd name="connsiteX201" fmla="*/ 9333571 w 12050057"/>
                <a:gd name="connsiteY201" fmla="*/ 4178795 h 6072782"/>
                <a:gd name="connsiteX202" fmla="*/ 9349694 w 12050057"/>
                <a:gd name="connsiteY202" fmla="*/ 4169973 h 6072782"/>
                <a:gd name="connsiteX203" fmla="*/ 9366501 w 12050057"/>
                <a:gd name="connsiteY203" fmla="*/ 4158870 h 6072782"/>
                <a:gd name="connsiteX204" fmla="*/ 7520355 w 12050057"/>
                <a:gd name="connsiteY204" fmla="*/ 4158870 h 6072782"/>
                <a:gd name="connsiteX205" fmla="*/ 7535261 w 12050057"/>
                <a:gd name="connsiteY205" fmla="*/ 4158870 h 6072782"/>
                <a:gd name="connsiteX206" fmla="*/ 7535261 w 12050057"/>
                <a:gd name="connsiteY206" fmla="*/ 4381850 h 6072782"/>
                <a:gd name="connsiteX207" fmla="*/ 7499973 w 12050057"/>
                <a:gd name="connsiteY207" fmla="*/ 4381850 h 6072782"/>
                <a:gd name="connsiteX208" fmla="*/ 7499973 w 12050057"/>
                <a:gd name="connsiteY208" fmla="*/ 4202066 h 6072782"/>
                <a:gd name="connsiteX209" fmla="*/ 7479364 w 12050057"/>
                <a:gd name="connsiteY209" fmla="*/ 4213702 h 6072782"/>
                <a:gd name="connsiteX210" fmla="*/ 7454191 w 12050057"/>
                <a:gd name="connsiteY210" fmla="*/ 4222144 h 6072782"/>
                <a:gd name="connsiteX211" fmla="*/ 7454191 w 12050057"/>
                <a:gd name="connsiteY211" fmla="*/ 4192028 h 6072782"/>
                <a:gd name="connsiteX212" fmla="*/ 7471226 w 12050057"/>
                <a:gd name="connsiteY212" fmla="*/ 4185944 h 6072782"/>
                <a:gd name="connsiteX213" fmla="*/ 7487425 w 12050057"/>
                <a:gd name="connsiteY213" fmla="*/ 4178795 h 6072782"/>
                <a:gd name="connsiteX214" fmla="*/ 7503548 w 12050057"/>
                <a:gd name="connsiteY214" fmla="*/ 4169973 h 6072782"/>
                <a:gd name="connsiteX215" fmla="*/ 7520355 w 12050057"/>
                <a:gd name="connsiteY215" fmla="*/ 4158870 h 6072782"/>
                <a:gd name="connsiteX216" fmla="*/ 4159688 w 12050057"/>
                <a:gd name="connsiteY216" fmla="*/ 4158870 h 6072782"/>
                <a:gd name="connsiteX217" fmla="*/ 4174594 w 12050057"/>
                <a:gd name="connsiteY217" fmla="*/ 4158870 h 6072782"/>
                <a:gd name="connsiteX218" fmla="*/ 4174594 w 12050057"/>
                <a:gd name="connsiteY218" fmla="*/ 4381850 h 6072782"/>
                <a:gd name="connsiteX219" fmla="*/ 4139306 w 12050057"/>
                <a:gd name="connsiteY219" fmla="*/ 4381850 h 6072782"/>
                <a:gd name="connsiteX220" fmla="*/ 4139306 w 12050057"/>
                <a:gd name="connsiteY220" fmla="*/ 4202067 h 6072782"/>
                <a:gd name="connsiteX221" fmla="*/ 4118697 w 12050057"/>
                <a:gd name="connsiteY221" fmla="*/ 4213703 h 6072782"/>
                <a:gd name="connsiteX222" fmla="*/ 4093525 w 12050057"/>
                <a:gd name="connsiteY222" fmla="*/ 4222144 h 6072782"/>
                <a:gd name="connsiteX223" fmla="*/ 4093525 w 12050057"/>
                <a:gd name="connsiteY223" fmla="*/ 4192028 h 6072782"/>
                <a:gd name="connsiteX224" fmla="*/ 4110559 w 12050057"/>
                <a:gd name="connsiteY224" fmla="*/ 4185944 h 6072782"/>
                <a:gd name="connsiteX225" fmla="*/ 4126758 w 12050057"/>
                <a:gd name="connsiteY225" fmla="*/ 4178795 h 6072782"/>
                <a:gd name="connsiteX226" fmla="*/ 4142881 w 12050057"/>
                <a:gd name="connsiteY226" fmla="*/ 4169974 h 6072782"/>
                <a:gd name="connsiteX227" fmla="*/ 4159688 w 12050057"/>
                <a:gd name="connsiteY227" fmla="*/ 4158870 h 6072782"/>
                <a:gd name="connsiteX228" fmla="*/ 3287783 w 12050057"/>
                <a:gd name="connsiteY228" fmla="*/ 4158870 h 6072782"/>
                <a:gd name="connsiteX229" fmla="*/ 3302689 w 12050057"/>
                <a:gd name="connsiteY229" fmla="*/ 4158870 h 6072782"/>
                <a:gd name="connsiteX230" fmla="*/ 3302689 w 12050057"/>
                <a:gd name="connsiteY230" fmla="*/ 4381850 h 6072782"/>
                <a:gd name="connsiteX231" fmla="*/ 3267400 w 12050057"/>
                <a:gd name="connsiteY231" fmla="*/ 4381850 h 6072782"/>
                <a:gd name="connsiteX232" fmla="*/ 3267400 w 12050057"/>
                <a:gd name="connsiteY232" fmla="*/ 4202066 h 6072782"/>
                <a:gd name="connsiteX233" fmla="*/ 3246791 w 12050057"/>
                <a:gd name="connsiteY233" fmla="*/ 4213702 h 6072782"/>
                <a:gd name="connsiteX234" fmla="*/ 3221618 w 12050057"/>
                <a:gd name="connsiteY234" fmla="*/ 4222144 h 6072782"/>
                <a:gd name="connsiteX235" fmla="*/ 3221618 w 12050057"/>
                <a:gd name="connsiteY235" fmla="*/ 4192028 h 6072782"/>
                <a:gd name="connsiteX236" fmla="*/ 3238653 w 12050057"/>
                <a:gd name="connsiteY236" fmla="*/ 4185944 h 6072782"/>
                <a:gd name="connsiteX237" fmla="*/ 3254853 w 12050057"/>
                <a:gd name="connsiteY237" fmla="*/ 4178795 h 6072782"/>
                <a:gd name="connsiteX238" fmla="*/ 3270976 w 12050057"/>
                <a:gd name="connsiteY238" fmla="*/ 4169973 h 6072782"/>
                <a:gd name="connsiteX239" fmla="*/ 3287783 w 12050057"/>
                <a:gd name="connsiteY239" fmla="*/ 4158870 h 6072782"/>
                <a:gd name="connsiteX240" fmla="*/ 1423455 w 12050057"/>
                <a:gd name="connsiteY240" fmla="*/ 4158870 h 6072782"/>
                <a:gd name="connsiteX241" fmla="*/ 1438362 w 12050057"/>
                <a:gd name="connsiteY241" fmla="*/ 4158870 h 6072782"/>
                <a:gd name="connsiteX242" fmla="*/ 1438362 w 12050057"/>
                <a:gd name="connsiteY242" fmla="*/ 4381850 h 6072782"/>
                <a:gd name="connsiteX243" fmla="*/ 1403074 w 12050057"/>
                <a:gd name="connsiteY243" fmla="*/ 4381850 h 6072782"/>
                <a:gd name="connsiteX244" fmla="*/ 1403074 w 12050057"/>
                <a:gd name="connsiteY244" fmla="*/ 4202066 h 6072782"/>
                <a:gd name="connsiteX245" fmla="*/ 1382465 w 12050057"/>
                <a:gd name="connsiteY245" fmla="*/ 4213702 h 6072782"/>
                <a:gd name="connsiteX246" fmla="*/ 1357292 w 12050057"/>
                <a:gd name="connsiteY246" fmla="*/ 4222144 h 6072782"/>
                <a:gd name="connsiteX247" fmla="*/ 1357292 w 12050057"/>
                <a:gd name="connsiteY247" fmla="*/ 4192028 h 6072782"/>
                <a:gd name="connsiteX248" fmla="*/ 1374327 w 12050057"/>
                <a:gd name="connsiteY248" fmla="*/ 4185944 h 6072782"/>
                <a:gd name="connsiteX249" fmla="*/ 1390525 w 12050057"/>
                <a:gd name="connsiteY249" fmla="*/ 4178795 h 6072782"/>
                <a:gd name="connsiteX250" fmla="*/ 1406649 w 12050057"/>
                <a:gd name="connsiteY250" fmla="*/ 4169973 h 6072782"/>
                <a:gd name="connsiteX251" fmla="*/ 1423455 w 12050057"/>
                <a:gd name="connsiteY251" fmla="*/ 4158870 h 6072782"/>
                <a:gd name="connsiteX252" fmla="*/ 66164 w 12050057"/>
                <a:gd name="connsiteY252" fmla="*/ 4158870 h 6072782"/>
                <a:gd name="connsiteX253" fmla="*/ 81070 w 12050057"/>
                <a:gd name="connsiteY253" fmla="*/ 4158870 h 6072782"/>
                <a:gd name="connsiteX254" fmla="*/ 81070 w 12050057"/>
                <a:gd name="connsiteY254" fmla="*/ 4381850 h 6072782"/>
                <a:gd name="connsiteX255" fmla="*/ 45782 w 12050057"/>
                <a:gd name="connsiteY255" fmla="*/ 4381850 h 6072782"/>
                <a:gd name="connsiteX256" fmla="*/ 45782 w 12050057"/>
                <a:gd name="connsiteY256" fmla="*/ 4202067 h 6072782"/>
                <a:gd name="connsiteX257" fmla="*/ 25173 w 12050057"/>
                <a:gd name="connsiteY257" fmla="*/ 4213703 h 6072782"/>
                <a:gd name="connsiteX258" fmla="*/ 0 w 12050057"/>
                <a:gd name="connsiteY258" fmla="*/ 4222144 h 6072782"/>
                <a:gd name="connsiteX259" fmla="*/ 0 w 12050057"/>
                <a:gd name="connsiteY259" fmla="*/ 4192028 h 6072782"/>
                <a:gd name="connsiteX260" fmla="*/ 17035 w 12050057"/>
                <a:gd name="connsiteY260" fmla="*/ 4185944 h 6072782"/>
                <a:gd name="connsiteX261" fmla="*/ 33234 w 12050057"/>
                <a:gd name="connsiteY261" fmla="*/ 4178795 h 6072782"/>
                <a:gd name="connsiteX262" fmla="*/ 49357 w 12050057"/>
                <a:gd name="connsiteY262" fmla="*/ 4169974 h 6072782"/>
                <a:gd name="connsiteX263" fmla="*/ 66164 w 12050057"/>
                <a:gd name="connsiteY263" fmla="*/ 4158870 h 6072782"/>
                <a:gd name="connsiteX264" fmla="*/ 10276410 w 12050057"/>
                <a:gd name="connsiteY264" fmla="*/ 3811399 h 6072782"/>
                <a:gd name="connsiteX265" fmla="*/ 10291316 w 12050057"/>
                <a:gd name="connsiteY265" fmla="*/ 3811399 h 6072782"/>
                <a:gd name="connsiteX266" fmla="*/ 10291316 w 12050057"/>
                <a:gd name="connsiteY266" fmla="*/ 4034379 h 6072782"/>
                <a:gd name="connsiteX267" fmla="*/ 10256028 w 12050057"/>
                <a:gd name="connsiteY267" fmla="*/ 4034379 h 6072782"/>
                <a:gd name="connsiteX268" fmla="*/ 10256028 w 12050057"/>
                <a:gd name="connsiteY268" fmla="*/ 3854595 h 6072782"/>
                <a:gd name="connsiteX269" fmla="*/ 10235419 w 12050057"/>
                <a:gd name="connsiteY269" fmla="*/ 3866231 h 6072782"/>
                <a:gd name="connsiteX270" fmla="*/ 10210246 w 12050057"/>
                <a:gd name="connsiteY270" fmla="*/ 3874673 h 6072782"/>
                <a:gd name="connsiteX271" fmla="*/ 10210246 w 12050057"/>
                <a:gd name="connsiteY271" fmla="*/ 3844557 h 6072782"/>
                <a:gd name="connsiteX272" fmla="*/ 10227281 w 12050057"/>
                <a:gd name="connsiteY272" fmla="*/ 3838473 h 6072782"/>
                <a:gd name="connsiteX273" fmla="*/ 10243480 w 12050057"/>
                <a:gd name="connsiteY273" fmla="*/ 3831324 h 6072782"/>
                <a:gd name="connsiteX274" fmla="*/ 10259603 w 12050057"/>
                <a:gd name="connsiteY274" fmla="*/ 3822502 h 6072782"/>
                <a:gd name="connsiteX275" fmla="*/ 10276410 w 12050057"/>
                <a:gd name="connsiteY275" fmla="*/ 3811399 h 6072782"/>
                <a:gd name="connsiteX276" fmla="*/ 9366501 w 12050057"/>
                <a:gd name="connsiteY276" fmla="*/ 3811399 h 6072782"/>
                <a:gd name="connsiteX277" fmla="*/ 9381407 w 12050057"/>
                <a:gd name="connsiteY277" fmla="*/ 3811399 h 6072782"/>
                <a:gd name="connsiteX278" fmla="*/ 9381407 w 12050057"/>
                <a:gd name="connsiteY278" fmla="*/ 4034379 h 6072782"/>
                <a:gd name="connsiteX279" fmla="*/ 9346119 w 12050057"/>
                <a:gd name="connsiteY279" fmla="*/ 4034379 h 6072782"/>
                <a:gd name="connsiteX280" fmla="*/ 9346119 w 12050057"/>
                <a:gd name="connsiteY280" fmla="*/ 3854595 h 6072782"/>
                <a:gd name="connsiteX281" fmla="*/ 9325510 w 12050057"/>
                <a:gd name="connsiteY281" fmla="*/ 3866231 h 6072782"/>
                <a:gd name="connsiteX282" fmla="*/ 9300337 w 12050057"/>
                <a:gd name="connsiteY282" fmla="*/ 3874673 h 6072782"/>
                <a:gd name="connsiteX283" fmla="*/ 9300337 w 12050057"/>
                <a:gd name="connsiteY283" fmla="*/ 3844557 h 6072782"/>
                <a:gd name="connsiteX284" fmla="*/ 9317372 w 12050057"/>
                <a:gd name="connsiteY284" fmla="*/ 3838473 h 6072782"/>
                <a:gd name="connsiteX285" fmla="*/ 9333571 w 12050057"/>
                <a:gd name="connsiteY285" fmla="*/ 3831324 h 6072782"/>
                <a:gd name="connsiteX286" fmla="*/ 9349694 w 12050057"/>
                <a:gd name="connsiteY286" fmla="*/ 3822502 h 6072782"/>
                <a:gd name="connsiteX287" fmla="*/ 9366501 w 12050057"/>
                <a:gd name="connsiteY287" fmla="*/ 3811399 h 6072782"/>
                <a:gd name="connsiteX288" fmla="*/ 7520355 w 12050057"/>
                <a:gd name="connsiteY288" fmla="*/ 3811399 h 6072782"/>
                <a:gd name="connsiteX289" fmla="*/ 7535261 w 12050057"/>
                <a:gd name="connsiteY289" fmla="*/ 3811399 h 6072782"/>
                <a:gd name="connsiteX290" fmla="*/ 7535261 w 12050057"/>
                <a:gd name="connsiteY290" fmla="*/ 4034379 h 6072782"/>
                <a:gd name="connsiteX291" fmla="*/ 7499973 w 12050057"/>
                <a:gd name="connsiteY291" fmla="*/ 4034379 h 6072782"/>
                <a:gd name="connsiteX292" fmla="*/ 7499973 w 12050057"/>
                <a:gd name="connsiteY292" fmla="*/ 3854595 h 6072782"/>
                <a:gd name="connsiteX293" fmla="*/ 7479364 w 12050057"/>
                <a:gd name="connsiteY293" fmla="*/ 3866231 h 6072782"/>
                <a:gd name="connsiteX294" fmla="*/ 7454191 w 12050057"/>
                <a:gd name="connsiteY294" fmla="*/ 3874673 h 6072782"/>
                <a:gd name="connsiteX295" fmla="*/ 7454191 w 12050057"/>
                <a:gd name="connsiteY295" fmla="*/ 3844557 h 6072782"/>
                <a:gd name="connsiteX296" fmla="*/ 7471226 w 12050057"/>
                <a:gd name="connsiteY296" fmla="*/ 3838473 h 6072782"/>
                <a:gd name="connsiteX297" fmla="*/ 7487425 w 12050057"/>
                <a:gd name="connsiteY297" fmla="*/ 3831324 h 6072782"/>
                <a:gd name="connsiteX298" fmla="*/ 7503548 w 12050057"/>
                <a:gd name="connsiteY298" fmla="*/ 3822502 h 6072782"/>
                <a:gd name="connsiteX299" fmla="*/ 7520355 w 12050057"/>
                <a:gd name="connsiteY299" fmla="*/ 3811399 h 6072782"/>
                <a:gd name="connsiteX300" fmla="*/ 4159688 w 12050057"/>
                <a:gd name="connsiteY300" fmla="*/ 3811399 h 6072782"/>
                <a:gd name="connsiteX301" fmla="*/ 4174594 w 12050057"/>
                <a:gd name="connsiteY301" fmla="*/ 3811399 h 6072782"/>
                <a:gd name="connsiteX302" fmla="*/ 4174594 w 12050057"/>
                <a:gd name="connsiteY302" fmla="*/ 4034379 h 6072782"/>
                <a:gd name="connsiteX303" fmla="*/ 4139306 w 12050057"/>
                <a:gd name="connsiteY303" fmla="*/ 4034379 h 6072782"/>
                <a:gd name="connsiteX304" fmla="*/ 4139306 w 12050057"/>
                <a:gd name="connsiteY304" fmla="*/ 3854595 h 6072782"/>
                <a:gd name="connsiteX305" fmla="*/ 4118697 w 12050057"/>
                <a:gd name="connsiteY305" fmla="*/ 3866231 h 6072782"/>
                <a:gd name="connsiteX306" fmla="*/ 4093525 w 12050057"/>
                <a:gd name="connsiteY306" fmla="*/ 3874673 h 6072782"/>
                <a:gd name="connsiteX307" fmla="*/ 4093525 w 12050057"/>
                <a:gd name="connsiteY307" fmla="*/ 3844557 h 6072782"/>
                <a:gd name="connsiteX308" fmla="*/ 4110559 w 12050057"/>
                <a:gd name="connsiteY308" fmla="*/ 3838473 h 6072782"/>
                <a:gd name="connsiteX309" fmla="*/ 4126758 w 12050057"/>
                <a:gd name="connsiteY309" fmla="*/ 3831324 h 6072782"/>
                <a:gd name="connsiteX310" fmla="*/ 4142881 w 12050057"/>
                <a:gd name="connsiteY310" fmla="*/ 3822502 h 6072782"/>
                <a:gd name="connsiteX311" fmla="*/ 4159688 w 12050057"/>
                <a:gd name="connsiteY311" fmla="*/ 3811399 h 6072782"/>
                <a:gd name="connsiteX312" fmla="*/ 3287783 w 12050057"/>
                <a:gd name="connsiteY312" fmla="*/ 3811399 h 6072782"/>
                <a:gd name="connsiteX313" fmla="*/ 3302689 w 12050057"/>
                <a:gd name="connsiteY313" fmla="*/ 3811399 h 6072782"/>
                <a:gd name="connsiteX314" fmla="*/ 3302689 w 12050057"/>
                <a:gd name="connsiteY314" fmla="*/ 4034379 h 6072782"/>
                <a:gd name="connsiteX315" fmla="*/ 3267400 w 12050057"/>
                <a:gd name="connsiteY315" fmla="*/ 4034379 h 6072782"/>
                <a:gd name="connsiteX316" fmla="*/ 3267400 w 12050057"/>
                <a:gd name="connsiteY316" fmla="*/ 3854595 h 6072782"/>
                <a:gd name="connsiteX317" fmla="*/ 3246791 w 12050057"/>
                <a:gd name="connsiteY317" fmla="*/ 3866231 h 6072782"/>
                <a:gd name="connsiteX318" fmla="*/ 3221618 w 12050057"/>
                <a:gd name="connsiteY318" fmla="*/ 3874673 h 6072782"/>
                <a:gd name="connsiteX319" fmla="*/ 3221618 w 12050057"/>
                <a:gd name="connsiteY319" fmla="*/ 3844557 h 6072782"/>
                <a:gd name="connsiteX320" fmla="*/ 3238653 w 12050057"/>
                <a:gd name="connsiteY320" fmla="*/ 3838473 h 6072782"/>
                <a:gd name="connsiteX321" fmla="*/ 3254853 w 12050057"/>
                <a:gd name="connsiteY321" fmla="*/ 3831324 h 6072782"/>
                <a:gd name="connsiteX322" fmla="*/ 3270976 w 12050057"/>
                <a:gd name="connsiteY322" fmla="*/ 3822502 h 6072782"/>
                <a:gd name="connsiteX323" fmla="*/ 3287783 w 12050057"/>
                <a:gd name="connsiteY323" fmla="*/ 3811399 h 6072782"/>
                <a:gd name="connsiteX324" fmla="*/ 1423455 w 12050057"/>
                <a:gd name="connsiteY324" fmla="*/ 3811399 h 6072782"/>
                <a:gd name="connsiteX325" fmla="*/ 1438362 w 12050057"/>
                <a:gd name="connsiteY325" fmla="*/ 3811399 h 6072782"/>
                <a:gd name="connsiteX326" fmla="*/ 1438362 w 12050057"/>
                <a:gd name="connsiteY326" fmla="*/ 4034379 h 6072782"/>
                <a:gd name="connsiteX327" fmla="*/ 1403074 w 12050057"/>
                <a:gd name="connsiteY327" fmla="*/ 4034379 h 6072782"/>
                <a:gd name="connsiteX328" fmla="*/ 1403074 w 12050057"/>
                <a:gd name="connsiteY328" fmla="*/ 3854595 h 6072782"/>
                <a:gd name="connsiteX329" fmla="*/ 1382465 w 12050057"/>
                <a:gd name="connsiteY329" fmla="*/ 3866231 h 6072782"/>
                <a:gd name="connsiteX330" fmla="*/ 1357292 w 12050057"/>
                <a:gd name="connsiteY330" fmla="*/ 3874673 h 6072782"/>
                <a:gd name="connsiteX331" fmla="*/ 1357292 w 12050057"/>
                <a:gd name="connsiteY331" fmla="*/ 3844557 h 6072782"/>
                <a:gd name="connsiteX332" fmla="*/ 1374327 w 12050057"/>
                <a:gd name="connsiteY332" fmla="*/ 3838473 h 6072782"/>
                <a:gd name="connsiteX333" fmla="*/ 1390525 w 12050057"/>
                <a:gd name="connsiteY333" fmla="*/ 3831324 h 6072782"/>
                <a:gd name="connsiteX334" fmla="*/ 1406649 w 12050057"/>
                <a:gd name="connsiteY334" fmla="*/ 3822502 h 6072782"/>
                <a:gd name="connsiteX335" fmla="*/ 1423455 w 12050057"/>
                <a:gd name="connsiteY335" fmla="*/ 3811399 h 6072782"/>
                <a:gd name="connsiteX336" fmla="*/ 66164 w 12050057"/>
                <a:gd name="connsiteY336" fmla="*/ 3811399 h 6072782"/>
                <a:gd name="connsiteX337" fmla="*/ 81070 w 12050057"/>
                <a:gd name="connsiteY337" fmla="*/ 3811399 h 6072782"/>
                <a:gd name="connsiteX338" fmla="*/ 81070 w 12050057"/>
                <a:gd name="connsiteY338" fmla="*/ 4034379 h 6072782"/>
                <a:gd name="connsiteX339" fmla="*/ 45782 w 12050057"/>
                <a:gd name="connsiteY339" fmla="*/ 4034379 h 6072782"/>
                <a:gd name="connsiteX340" fmla="*/ 45782 w 12050057"/>
                <a:gd name="connsiteY340" fmla="*/ 3854596 h 6072782"/>
                <a:gd name="connsiteX341" fmla="*/ 25173 w 12050057"/>
                <a:gd name="connsiteY341" fmla="*/ 3866231 h 6072782"/>
                <a:gd name="connsiteX342" fmla="*/ 0 w 12050057"/>
                <a:gd name="connsiteY342" fmla="*/ 3874673 h 6072782"/>
                <a:gd name="connsiteX343" fmla="*/ 0 w 12050057"/>
                <a:gd name="connsiteY343" fmla="*/ 3844557 h 6072782"/>
                <a:gd name="connsiteX344" fmla="*/ 17035 w 12050057"/>
                <a:gd name="connsiteY344" fmla="*/ 3838473 h 6072782"/>
                <a:gd name="connsiteX345" fmla="*/ 33234 w 12050057"/>
                <a:gd name="connsiteY345" fmla="*/ 3831324 h 6072782"/>
                <a:gd name="connsiteX346" fmla="*/ 49357 w 12050057"/>
                <a:gd name="connsiteY346" fmla="*/ 3822503 h 6072782"/>
                <a:gd name="connsiteX347" fmla="*/ 66164 w 12050057"/>
                <a:gd name="connsiteY347" fmla="*/ 3811399 h 6072782"/>
                <a:gd name="connsiteX348" fmla="*/ 10276410 w 12050057"/>
                <a:gd name="connsiteY348" fmla="*/ 3487025 h 6072782"/>
                <a:gd name="connsiteX349" fmla="*/ 10291316 w 12050057"/>
                <a:gd name="connsiteY349" fmla="*/ 3487025 h 6072782"/>
                <a:gd name="connsiteX350" fmla="*/ 10291316 w 12050057"/>
                <a:gd name="connsiteY350" fmla="*/ 3710005 h 6072782"/>
                <a:gd name="connsiteX351" fmla="*/ 10256028 w 12050057"/>
                <a:gd name="connsiteY351" fmla="*/ 3710005 h 6072782"/>
                <a:gd name="connsiteX352" fmla="*/ 10256028 w 12050057"/>
                <a:gd name="connsiteY352" fmla="*/ 3530221 h 6072782"/>
                <a:gd name="connsiteX353" fmla="*/ 10235419 w 12050057"/>
                <a:gd name="connsiteY353" fmla="*/ 3541857 h 6072782"/>
                <a:gd name="connsiteX354" fmla="*/ 10210246 w 12050057"/>
                <a:gd name="connsiteY354" fmla="*/ 3550299 h 6072782"/>
                <a:gd name="connsiteX355" fmla="*/ 10210246 w 12050057"/>
                <a:gd name="connsiteY355" fmla="*/ 3520183 h 6072782"/>
                <a:gd name="connsiteX356" fmla="*/ 10227281 w 12050057"/>
                <a:gd name="connsiteY356" fmla="*/ 3514099 h 6072782"/>
                <a:gd name="connsiteX357" fmla="*/ 10243480 w 12050057"/>
                <a:gd name="connsiteY357" fmla="*/ 3506950 h 6072782"/>
                <a:gd name="connsiteX358" fmla="*/ 10259603 w 12050057"/>
                <a:gd name="connsiteY358" fmla="*/ 3498128 h 6072782"/>
                <a:gd name="connsiteX359" fmla="*/ 10276410 w 12050057"/>
                <a:gd name="connsiteY359" fmla="*/ 3487025 h 6072782"/>
                <a:gd name="connsiteX360" fmla="*/ 9366501 w 12050057"/>
                <a:gd name="connsiteY360" fmla="*/ 3487025 h 6072782"/>
                <a:gd name="connsiteX361" fmla="*/ 9381407 w 12050057"/>
                <a:gd name="connsiteY361" fmla="*/ 3487025 h 6072782"/>
                <a:gd name="connsiteX362" fmla="*/ 9381407 w 12050057"/>
                <a:gd name="connsiteY362" fmla="*/ 3710005 h 6072782"/>
                <a:gd name="connsiteX363" fmla="*/ 9346119 w 12050057"/>
                <a:gd name="connsiteY363" fmla="*/ 3710005 h 6072782"/>
                <a:gd name="connsiteX364" fmla="*/ 9346119 w 12050057"/>
                <a:gd name="connsiteY364" fmla="*/ 3530221 h 6072782"/>
                <a:gd name="connsiteX365" fmla="*/ 9325510 w 12050057"/>
                <a:gd name="connsiteY365" fmla="*/ 3541857 h 6072782"/>
                <a:gd name="connsiteX366" fmla="*/ 9300337 w 12050057"/>
                <a:gd name="connsiteY366" fmla="*/ 3550299 h 6072782"/>
                <a:gd name="connsiteX367" fmla="*/ 9300337 w 12050057"/>
                <a:gd name="connsiteY367" fmla="*/ 3520183 h 6072782"/>
                <a:gd name="connsiteX368" fmla="*/ 9317372 w 12050057"/>
                <a:gd name="connsiteY368" fmla="*/ 3514099 h 6072782"/>
                <a:gd name="connsiteX369" fmla="*/ 9333571 w 12050057"/>
                <a:gd name="connsiteY369" fmla="*/ 3506950 h 6072782"/>
                <a:gd name="connsiteX370" fmla="*/ 9349694 w 12050057"/>
                <a:gd name="connsiteY370" fmla="*/ 3498128 h 6072782"/>
                <a:gd name="connsiteX371" fmla="*/ 9366501 w 12050057"/>
                <a:gd name="connsiteY371" fmla="*/ 3487025 h 6072782"/>
                <a:gd name="connsiteX372" fmla="*/ 7520355 w 12050057"/>
                <a:gd name="connsiteY372" fmla="*/ 3487025 h 6072782"/>
                <a:gd name="connsiteX373" fmla="*/ 7535261 w 12050057"/>
                <a:gd name="connsiteY373" fmla="*/ 3487025 h 6072782"/>
                <a:gd name="connsiteX374" fmla="*/ 7535261 w 12050057"/>
                <a:gd name="connsiteY374" fmla="*/ 3710005 h 6072782"/>
                <a:gd name="connsiteX375" fmla="*/ 7499973 w 12050057"/>
                <a:gd name="connsiteY375" fmla="*/ 3710005 h 6072782"/>
                <a:gd name="connsiteX376" fmla="*/ 7499973 w 12050057"/>
                <a:gd name="connsiteY376" fmla="*/ 3530221 h 6072782"/>
                <a:gd name="connsiteX377" fmla="*/ 7479364 w 12050057"/>
                <a:gd name="connsiteY377" fmla="*/ 3541857 h 6072782"/>
                <a:gd name="connsiteX378" fmla="*/ 7454191 w 12050057"/>
                <a:gd name="connsiteY378" fmla="*/ 3550299 h 6072782"/>
                <a:gd name="connsiteX379" fmla="*/ 7454191 w 12050057"/>
                <a:gd name="connsiteY379" fmla="*/ 3520183 h 6072782"/>
                <a:gd name="connsiteX380" fmla="*/ 7471226 w 12050057"/>
                <a:gd name="connsiteY380" fmla="*/ 3514099 h 6072782"/>
                <a:gd name="connsiteX381" fmla="*/ 7487425 w 12050057"/>
                <a:gd name="connsiteY381" fmla="*/ 3506950 h 6072782"/>
                <a:gd name="connsiteX382" fmla="*/ 7503548 w 12050057"/>
                <a:gd name="connsiteY382" fmla="*/ 3498128 h 6072782"/>
                <a:gd name="connsiteX383" fmla="*/ 7520355 w 12050057"/>
                <a:gd name="connsiteY383" fmla="*/ 3487025 h 6072782"/>
                <a:gd name="connsiteX384" fmla="*/ 4159688 w 12050057"/>
                <a:gd name="connsiteY384" fmla="*/ 3487025 h 6072782"/>
                <a:gd name="connsiteX385" fmla="*/ 4174594 w 12050057"/>
                <a:gd name="connsiteY385" fmla="*/ 3487025 h 6072782"/>
                <a:gd name="connsiteX386" fmla="*/ 4174594 w 12050057"/>
                <a:gd name="connsiteY386" fmla="*/ 3710005 h 6072782"/>
                <a:gd name="connsiteX387" fmla="*/ 4139306 w 12050057"/>
                <a:gd name="connsiteY387" fmla="*/ 3710005 h 6072782"/>
                <a:gd name="connsiteX388" fmla="*/ 4139306 w 12050057"/>
                <a:gd name="connsiteY388" fmla="*/ 3530221 h 6072782"/>
                <a:gd name="connsiteX389" fmla="*/ 4118697 w 12050057"/>
                <a:gd name="connsiteY389" fmla="*/ 3541857 h 6072782"/>
                <a:gd name="connsiteX390" fmla="*/ 4093525 w 12050057"/>
                <a:gd name="connsiteY390" fmla="*/ 3550299 h 6072782"/>
                <a:gd name="connsiteX391" fmla="*/ 4093525 w 12050057"/>
                <a:gd name="connsiteY391" fmla="*/ 3520183 h 6072782"/>
                <a:gd name="connsiteX392" fmla="*/ 4110559 w 12050057"/>
                <a:gd name="connsiteY392" fmla="*/ 3514099 h 6072782"/>
                <a:gd name="connsiteX393" fmla="*/ 4126758 w 12050057"/>
                <a:gd name="connsiteY393" fmla="*/ 3506950 h 6072782"/>
                <a:gd name="connsiteX394" fmla="*/ 4142881 w 12050057"/>
                <a:gd name="connsiteY394" fmla="*/ 3498128 h 6072782"/>
                <a:gd name="connsiteX395" fmla="*/ 4159688 w 12050057"/>
                <a:gd name="connsiteY395" fmla="*/ 3487025 h 6072782"/>
                <a:gd name="connsiteX396" fmla="*/ 3287783 w 12050057"/>
                <a:gd name="connsiteY396" fmla="*/ 3487025 h 6072782"/>
                <a:gd name="connsiteX397" fmla="*/ 3302689 w 12050057"/>
                <a:gd name="connsiteY397" fmla="*/ 3487025 h 6072782"/>
                <a:gd name="connsiteX398" fmla="*/ 3302689 w 12050057"/>
                <a:gd name="connsiteY398" fmla="*/ 3710005 h 6072782"/>
                <a:gd name="connsiteX399" fmla="*/ 3267400 w 12050057"/>
                <a:gd name="connsiteY399" fmla="*/ 3710005 h 6072782"/>
                <a:gd name="connsiteX400" fmla="*/ 3267400 w 12050057"/>
                <a:gd name="connsiteY400" fmla="*/ 3530221 h 6072782"/>
                <a:gd name="connsiteX401" fmla="*/ 3246791 w 12050057"/>
                <a:gd name="connsiteY401" fmla="*/ 3541857 h 6072782"/>
                <a:gd name="connsiteX402" fmla="*/ 3221618 w 12050057"/>
                <a:gd name="connsiteY402" fmla="*/ 3550299 h 6072782"/>
                <a:gd name="connsiteX403" fmla="*/ 3221618 w 12050057"/>
                <a:gd name="connsiteY403" fmla="*/ 3520183 h 6072782"/>
                <a:gd name="connsiteX404" fmla="*/ 3238653 w 12050057"/>
                <a:gd name="connsiteY404" fmla="*/ 3514099 h 6072782"/>
                <a:gd name="connsiteX405" fmla="*/ 3254853 w 12050057"/>
                <a:gd name="connsiteY405" fmla="*/ 3506950 h 6072782"/>
                <a:gd name="connsiteX406" fmla="*/ 3270976 w 12050057"/>
                <a:gd name="connsiteY406" fmla="*/ 3498128 h 6072782"/>
                <a:gd name="connsiteX407" fmla="*/ 3287783 w 12050057"/>
                <a:gd name="connsiteY407" fmla="*/ 3487025 h 6072782"/>
                <a:gd name="connsiteX408" fmla="*/ 1423455 w 12050057"/>
                <a:gd name="connsiteY408" fmla="*/ 3487025 h 6072782"/>
                <a:gd name="connsiteX409" fmla="*/ 1438362 w 12050057"/>
                <a:gd name="connsiteY409" fmla="*/ 3487025 h 6072782"/>
                <a:gd name="connsiteX410" fmla="*/ 1438362 w 12050057"/>
                <a:gd name="connsiteY410" fmla="*/ 3710005 h 6072782"/>
                <a:gd name="connsiteX411" fmla="*/ 1403074 w 12050057"/>
                <a:gd name="connsiteY411" fmla="*/ 3710005 h 6072782"/>
                <a:gd name="connsiteX412" fmla="*/ 1403074 w 12050057"/>
                <a:gd name="connsiteY412" fmla="*/ 3530221 h 6072782"/>
                <a:gd name="connsiteX413" fmla="*/ 1382465 w 12050057"/>
                <a:gd name="connsiteY413" fmla="*/ 3541857 h 6072782"/>
                <a:gd name="connsiteX414" fmla="*/ 1357292 w 12050057"/>
                <a:gd name="connsiteY414" fmla="*/ 3550299 h 6072782"/>
                <a:gd name="connsiteX415" fmla="*/ 1357292 w 12050057"/>
                <a:gd name="connsiteY415" fmla="*/ 3520183 h 6072782"/>
                <a:gd name="connsiteX416" fmla="*/ 1374327 w 12050057"/>
                <a:gd name="connsiteY416" fmla="*/ 3514099 h 6072782"/>
                <a:gd name="connsiteX417" fmla="*/ 1390525 w 12050057"/>
                <a:gd name="connsiteY417" fmla="*/ 3506950 h 6072782"/>
                <a:gd name="connsiteX418" fmla="*/ 1406649 w 12050057"/>
                <a:gd name="connsiteY418" fmla="*/ 3498128 h 6072782"/>
                <a:gd name="connsiteX419" fmla="*/ 1423455 w 12050057"/>
                <a:gd name="connsiteY419" fmla="*/ 3487025 h 6072782"/>
                <a:gd name="connsiteX420" fmla="*/ 66164 w 12050057"/>
                <a:gd name="connsiteY420" fmla="*/ 3487025 h 6072782"/>
                <a:gd name="connsiteX421" fmla="*/ 81070 w 12050057"/>
                <a:gd name="connsiteY421" fmla="*/ 3487025 h 6072782"/>
                <a:gd name="connsiteX422" fmla="*/ 81070 w 12050057"/>
                <a:gd name="connsiteY422" fmla="*/ 3710005 h 6072782"/>
                <a:gd name="connsiteX423" fmla="*/ 45783 w 12050057"/>
                <a:gd name="connsiteY423" fmla="*/ 3710005 h 6072782"/>
                <a:gd name="connsiteX424" fmla="*/ 45783 w 12050057"/>
                <a:gd name="connsiteY424" fmla="*/ 3530222 h 6072782"/>
                <a:gd name="connsiteX425" fmla="*/ 25173 w 12050057"/>
                <a:gd name="connsiteY425" fmla="*/ 3541857 h 6072782"/>
                <a:gd name="connsiteX426" fmla="*/ 0 w 12050057"/>
                <a:gd name="connsiteY426" fmla="*/ 3550299 h 6072782"/>
                <a:gd name="connsiteX427" fmla="*/ 0 w 12050057"/>
                <a:gd name="connsiteY427" fmla="*/ 3520183 h 6072782"/>
                <a:gd name="connsiteX428" fmla="*/ 17035 w 12050057"/>
                <a:gd name="connsiteY428" fmla="*/ 3514099 h 6072782"/>
                <a:gd name="connsiteX429" fmla="*/ 33235 w 12050057"/>
                <a:gd name="connsiteY429" fmla="*/ 3506950 h 6072782"/>
                <a:gd name="connsiteX430" fmla="*/ 49357 w 12050057"/>
                <a:gd name="connsiteY430" fmla="*/ 3498129 h 6072782"/>
                <a:gd name="connsiteX431" fmla="*/ 66164 w 12050057"/>
                <a:gd name="connsiteY431" fmla="*/ 3487025 h 6072782"/>
                <a:gd name="connsiteX432" fmla="*/ 10253447 w 12050057"/>
                <a:gd name="connsiteY432" fmla="*/ 3110161 h 6072782"/>
                <a:gd name="connsiteX433" fmla="*/ 10268353 w 12050057"/>
                <a:gd name="connsiteY433" fmla="*/ 3110161 h 6072782"/>
                <a:gd name="connsiteX434" fmla="*/ 10268353 w 12050057"/>
                <a:gd name="connsiteY434" fmla="*/ 3333141 h 6072782"/>
                <a:gd name="connsiteX435" fmla="*/ 10233065 w 12050057"/>
                <a:gd name="connsiteY435" fmla="*/ 3333141 h 6072782"/>
                <a:gd name="connsiteX436" fmla="*/ 10233065 w 12050057"/>
                <a:gd name="connsiteY436" fmla="*/ 3153358 h 6072782"/>
                <a:gd name="connsiteX437" fmla="*/ 10212456 w 12050057"/>
                <a:gd name="connsiteY437" fmla="*/ 3164993 h 6072782"/>
                <a:gd name="connsiteX438" fmla="*/ 10187283 w 12050057"/>
                <a:gd name="connsiteY438" fmla="*/ 3173435 h 6072782"/>
                <a:gd name="connsiteX439" fmla="*/ 10187283 w 12050057"/>
                <a:gd name="connsiteY439" fmla="*/ 3143319 h 6072782"/>
                <a:gd name="connsiteX440" fmla="*/ 10204318 w 12050057"/>
                <a:gd name="connsiteY440" fmla="*/ 3137235 h 6072782"/>
                <a:gd name="connsiteX441" fmla="*/ 10220517 w 12050057"/>
                <a:gd name="connsiteY441" fmla="*/ 3130086 h 6072782"/>
                <a:gd name="connsiteX442" fmla="*/ 10236640 w 12050057"/>
                <a:gd name="connsiteY442" fmla="*/ 3121265 h 6072782"/>
                <a:gd name="connsiteX443" fmla="*/ 10253447 w 12050057"/>
                <a:gd name="connsiteY443" fmla="*/ 3110161 h 6072782"/>
                <a:gd name="connsiteX444" fmla="*/ 9361419 w 12050057"/>
                <a:gd name="connsiteY444" fmla="*/ 3110161 h 6072782"/>
                <a:gd name="connsiteX445" fmla="*/ 9376325 w 12050057"/>
                <a:gd name="connsiteY445" fmla="*/ 3110161 h 6072782"/>
                <a:gd name="connsiteX446" fmla="*/ 9376325 w 12050057"/>
                <a:gd name="connsiteY446" fmla="*/ 3333141 h 6072782"/>
                <a:gd name="connsiteX447" fmla="*/ 9341037 w 12050057"/>
                <a:gd name="connsiteY447" fmla="*/ 3333141 h 6072782"/>
                <a:gd name="connsiteX448" fmla="*/ 9341037 w 12050057"/>
                <a:gd name="connsiteY448" fmla="*/ 3153358 h 6072782"/>
                <a:gd name="connsiteX449" fmla="*/ 9320428 w 12050057"/>
                <a:gd name="connsiteY449" fmla="*/ 3164993 h 6072782"/>
                <a:gd name="connsiteX450" fmla="*/ 9295255 w 12050057"/>
                <a:gd name="connsiteY450" fmla="*/ 3173435 h 6072782"/>
                <a:gd name="connsiteX451" fmla="*/ 9295255 w 12050057"/>
                <a:gd name="connsiteY451" fmla="*/ 3143319 h 6072782"/>
                <a:gd name="connsiteX452" fmla="*/ 9312290 w 12050057"/>
                <a:gd name="connsiteY452" fmla="*/ 3137235 h 6072782"/>
                <a:gd name="connsiteX453" fmla="*/ 9328489 w 12050057"/>
                <a:gd name="connsiteY453" fmla="*/ 3130086 h 6072782"/>
                <a:gd name="connsiteX454" fmla="*/ 9344612 w 12050057"/>
                <a:gd name="connsiteY454" fmla="*/ 3121265 h 6072782"/>
                <a:gd name="connsiteX455" fmla="*/ 9361419 w 12050057"/>
                <a:gd name="connsiteY455" fmla="*/ 3110161 h 6072782"/>
                <a:gd name="connsiteX456" fmla="*/ 7495249 w 12050057"/>
                <a:gd name="connsiteY456" fmla="*/ 3110161 h 6072782"/>
                <a:gd name="connsiteX457" fmla="*/ 7510155 w 12050057"/>
                <a:gd name="connsiteY457" fmla="*/ 3110161 h 6072782"/>
                <a:gd name="connsiteX458" fmla="*/ 7510155 w 12050057"/>
                <a:gd name="connsiteY458" fmla="*/ 3333141 h 6072782"/>
                <a:gd name="connsiteX459" fmla="*/ 7474867 w 12050057"/>
                <a:gd name="connsiteY459" fmla="*/ 3333141 h 6072782"/>
                <a:gd name="connsiteX460" fmla="*/ 7474867 w 12050057"/>
                <a:gd name="connsiteY460" fmla="*/ 3153358 h 6072782"/>
                <a:gd name="connsiteX461" fmla="*/ 7454258 w 12050057"/>
                <a:gd name="connsiteY461" fmla="*/ 3164993 h 6072782"/>
                <a:gd name="connsiteX462" fmla="*/ 7429085 w 12050057"/>
                <a:gd name="connsiteY462" fmla="*/ 3173435 h 6072782"/>
                <a:gd name="connsiteX463" fmla="*/ 7429085 w 12050057"/>
                <a:gd name="connsiteY463" fmla="*/ 3143319 h 6072782"/>
                <a:gd name="connsiteX464" fmla="*/ 7446120 w 12050057"/>
                <a:gd name="connsiteY464" fmla="*/ 3137235 h 6072782"/>
                <a:gd name="connsiteX465" fmla="*/ 7462319 w 12050057"/>
                <a:gd name="connsiteY465" fmla="*/ 3130086 h 6072782"/>
                <a:gd name="connsiteX466" fmla="*/ 7478442 w 12050057"/>
                <a:gd name="connsiteY466" fmla="*/ 3121265 h 6072782"/>
                <a:gd name="connsiteX467" fmla="*/ 7495249 w 12050057"/>
                <a:gd name="connsiteY467" fmla="*/ 3110161 h 6072782"/>
                <a:gd name="connsiteX468" fmla="*/ 4199831 w 12050057"/>
                <a:gd name="connsiteY468" fmla="*/ 3110161 h 6072782"/>
                <a:gd name="connsiteX469" fmla="*/ 4214738 w 12050057"/>
                <a:gd name="connsiteY469" fmla="*/ 3110161 h 6072782"/>
                <a:gd name="connsiteX470" fmla="*/ 4214738 w 12050057"/>
                <a:gd name="connsiteY470" fmla="*/ 3333141 h 6072782"/>
                <a:gd name="connsiteX471" fmla="*/ 4179450 w 12050057"/>
                <a:gd name="connsiteY471" fmla="*/ 3333141 h 6072782"/>
                <a:gd name="connsiteX472" fmla="*/ 4179450 w 12050057"/>
                <a:gd name="connsiteY472" fmla="*/ 3153358 h 6072782"/>
                <a:gd name="connsiteX473" fmla="*/ 4158840 w 12050057"/>
                <a:gd name="connsiteY473" fmla="*/ 3164993 h 6072782"/>
                <a:gd name="connsiteX474" fmla="*/ 4133668 w 12050057"/>
                <a:gd name="connsiteY474" fmla="*/ 3173435 h 6072782"/>
                <a:gd name="connsiteX475" fmla="*/ 4133668 w 12050057"/>
                <a:gd name="connsiteY475" fmla="*/ 3143319 h 6072782"/>
                <a:gd name="connsiteX476" fmla="*/ 4150703 w 12050057"/>
                <a:gd name="connsiteY476" fmla="*/ 3137235 h 6072782"/>
                <a:gd name="connsiteX477" fmla="*/ 4166902 w 12050057"/>
                <a:gd name="connsiteY477" fmla="*/ 3130086 h 6072782"/>
                <a:gd name="connsiteX478" fmla="*/ 4183024 w 12050057"/>
                <a:gd name="connsiteY478" fmla="*/ 3121265 h 6072782"/>
                <a:gd name="connsiteX479" fmla="*/ 4199831 w 12050057"/>
                <a:gd name="connsiteY479" fmla="*/ 3110161 h 6072782"/>
                <a:gd name="connsiteX480" fmla="*/ 3304505 w 12050057"/>
                <a:gd name="connsiteY480" fmla="*/ 3110161 h 6072782"/>
                <a:gd name="connsiteX481" fmla="*/ 3319411 w 12050057"/>
                <a:gd name="connsiteY481" fmla="*/ 3110161 h 6072782"/>
                <a:gd name="connsiteX482" fmla="*/ 3319411 w 12050057"/>
                <a:gd name="connsiteY482" fmla="*/ 3333141 h 6072782"/>
                <a:gd name="connsiteX483" fmla="*/ 3284123 w 12050057"/>
                <a:gd name="connsiteY483" fmla="*/ 3333141 h 6072782"/>
                <a:gd name="connsiteX484" fmla="*/ 3284123 w 12050057"/>
                <a:gd name="connsiteY484" fmla="*/ 3153358 h 6072782"/>
                <a:gd name="connsiteX485" fmla="*/ 3263514 w 12050057"/>
                <a:gd name="connsiteY485" fmla="*/ 3164993 h 6072782"/>
                <a:gd name="connsiteX486" fmla="*/ 3238342 w 12050057"/>
                <a:gd name="connsiteY486" fmla="*/ 3173435 h 6072782"/>
                <a:gd name="connsiteX487" fmla="*/ 3238342 w 12050057"/>
                <a:gd name="connsiteY487" fmla="*/ 3143319 h 6072782"/>
                <a:gd name="connsiteX488" fmla="*/ 3255376 w 12050057"/>
                <a:gd name="connsiteY488" fmla="*/ 3137235 h 6072782"/>
                <a:gd name="connsiteX489" fmla="*/ 3271575 w 12050057"/>
                <a:gd name="connsiteY489" fmla="*/ 3130086 h 6072782"/>
                <a:gd name="connsiteX490" fmla="*/ 3287699 w 12050057"/>
                <a:gd name="connsiteY490" fmla="*/ 3121265 h 6072782"/>
                <a:gd name="connsiteX491" fmla="*/ 3304505 w 12050057"/>
                <a:gd name="connsiteY491" fmla="*/ 3110161 h 6072782"/>
                <a:gd name="connsiteX492" fmla="*/ 1423456 w 12050057"/>
                <a:gd name="connsiteY492" fmla="*/ 3110161 h 6072782"/>
                <a:gd name="connsiteX493" fmla="*/ 1438361 w 12050057"/>
                <a:gd name="connsiteY493" fmla="*/ 3110161 h 6072782"/>
                <a:gd name="connsiteX494" fmla="*/ 1438361 w 12050057"/>
                <a:gd name="connsiteY494" fmla="*/ 3333141 h 6072782"/>
                <a:gd name="connsiteX495" fmla="*/ 1403074 w 12050057"/>
                <a:gd name="connsiteY495" fmla="*/ 3333141 h 6072782"/>
                <a:gd name="connsiteX496" fmla="*/ 1403074 w 12050057"/>
                <a:gd name="connsiteY496" fmla="*/ 3153358 h 6072782"/>
                <a:gd name="connsiteX497" fmla="*/ 1382464 w 12050057"/>
                <a:gd name="connsiteY497" fmla="*/ 3164993 h 6072782"/>
                <a:gd name="connsiteX498" fmla="*/ 1357291 w 12050057"/>
                <a:gd name="connsiteY498" fmla="*/ 3173435 h 6072782"/>
                <a:gd name="connsiteX499" fmla="*/ 1357291 w 12050057"/>
                <a:gd name="connsiteY499" fmla="*/ 3143319 h 6072782"/>
                <a:gd name="connsiteX500" fmla="*/ 1374326 w 12050057"/>
                <a:gd name="connsiteY500" fmla="*/ 3137235 h 6072782"/>
                <a:gd name="connsiteX501" fmla="*/ 1390526 w 12050057"/>
                <a:gd name="connsiteY501" fmla="*/ 3130086 h 6072782"/>
                <a:gd name="connsiteX502" fmla="*/ 1406648 w 12050057"/>
                <a:gd name="connsiteY502" fmla="*/ 3121265 h 6072782"/>
                <a:gd name="connsiteX503" fmla="*/ 1423456 w 12050057"/>
                <a:gd name="connsiteY503" fmla="*/ 3110161 h 6072782"/>
                <a:gd name="connsiteX504" fmla="*/ 12035151 w 12050057"/>
                <a:gd name="connsiteY504" fmla="*/ 2809130 h 6072782"/>
                <a:gd name="connsiteX505" fmla="*/ 12050057 w 12050057"/>
                <a:gd name="connsiteY505" fmla="*/ 2809130 h 6072782"/>
                <a:gd name="connsiteX506" fmla="*/ 12050057 w 12050057"/>
                <a:gd name="connsiteY506" fmla="*/ 3032110 h 6072782"/>
                <a:gd name="connsiteX507" fmla="*/ 12014769 w 12050057"/>
                <a:gd name="connsiteY507" fmla="*/ 3032110 h 6072782"/>
                <a:gd name="connsiteX508" fmla="*/ 12014769 w 12050057"/>
                <a:gd name="connsiteY508" fmla="*/ 2852327 h 6072782"/>
                <a:gd name="connsiteX509" fmla="*/ 11994160 w 12050057"/>
                <a:gd name="connsiteY509" fmla="*/ 2863962 h 6072782"/>
                <a:gd name="connsiteX510" fmla="*/ 11968987 w 12050057"/>
                <a:gd name="connsiteY510" fmla="*/ 2872404 h 6072782"/>
                <a:gd name="connsiteX511" fmla="*/ 11968987 w 12050057"/>
                <a:gd name="connsiteY511" fmla="*/ 2842288 h 6072782"/>
                <a:gd name="connsiteX512" fmla="*/ 11986022 w 12050057"/>
                <a:gd name="connsiteY512" fmla="*/ 2836204 h 6072782"/>
                <a:gd name="connsiteX513" fmla="*/ 12002221 w 12050057"/>
                <a:gd name="connsiteY513" fmla="*/ 2829055 h 6072782"/>
                <a:gd name="connsiteX514" fmla="*/ 12018344 w 12050057"/>
                <a:gd name="connsiteY514" fmla="*/ 2820234 h 6072782"/>
                <a:gd name="connsiteX515" fmla="*/ 12035151 w 12050057"/>
                <a:gd name="connsiteY515" fmla="*/ 2809130 h 6072782"/>
                <a:gd name="connsiteX516" fmla="*/ 10410370 w 12050057"/>
                <a:gd name="connsiteY516" fmla="*/ 2809130 h 6072782"/>
                <a:gd name="connsiteX517" fmla="*/ 10425276 w 12050057"/>
                <a:gd name="connsiteY517" fmla="*/ 2809130 h 6072782"/>
                <a:gd name="connsiteX518" fmla="*/ 10425276 w 12050057"/>
                <a:gd name="connsiteY518" fmla="*/ 3032110 h 6072782"/>
                <a:gd name="connsiteX519" fmla="*/ 10389988 w 12050057"/>
                <a:gd name="connsiteY519" fmla="*/ 3032110 h 6072782"/>
                <a:gd name="connsiteX520" fmla="*/ 10389988 w 12050057"/>
                <a:gd name="connsiteY520" fmla="*/ 2852327 h 6072782"/>
                <a:gd name="connsiteX521" fmla="*/ 10369379 w 12050057"/>
                <a:gd name="connsiteY521" fmla="*/ 2863962 h 6072782"/>
                <a:gd name="connsiteX522" fmla="*/ 10344206 w 12050057"/>
                <a:gd name="connsiteY522" fmla="*/ 2872404 h 6072782"/>
                <a:gd name="connsiteX523" fmla="*/ 10344206 w 12050057"/>
                <a:gd name="connsiteY523" fmla="*/ 2842288 h 6072782"/>
                <a:gd name="connsiteX524" fmla="*/ 10361241 w 12050057"/>
                <a:gd name="connsiteY524" fmla="*/ 2836204 h 6072782"/>
                <a:gd name="connsiteX525" fmla="*/ 10377440 w 12050057"/>
                <a:gd name="connsiteY525" fmla="*/ 2829055 h 6072782"/>
                <a:gd name="connsiteX526" fmla="*/ 10393563 w 12050057"/>
                <a:gd name="connsiteY526" fmla="*/ 2820234 h 6072782"/>
                <a:gd name="connsiteX527" fmla="*/ 10410370 w 12050057"/>
                <a:gd name="connsiteY527" fmla="*/ 2809130 h 6072782"/>
                <a:gd name="connsiteX528" fmla="*/ 9532663 w 12050057"/>
                <a:gd name="connsiteY528" fmla="*/ 2809130 h 6072782"/>
                <a:gd name="connsiteX529" fmla="*/ 9547569 w 12050057"/>
                <a:gd name="connsiteY529" fmla="*/ 2809130 h 6072782"/>
                <a:gd name="connsiteX530" fmla="*/ 9547569 w 12050057"/>
                <a:gd name="connsiteY530" fmla="*/ 3032110 h 6072782"/>
                <a:gd name="connsiteX531" fmla="*/ 9512281 w 12050057"/>
                <a:gd name="connsiteY531" fmla="*/ 3032110 h 6072782"/>
                <a:gd name="connsiteX532" fmla="*/ 9512281 w 12050057"/>
                <a:gd name="connsiteY532" fmla="*/ 2852327 h 6072782"/>
                <a:gd name="connsiteX533" fmla="*/ 9491672 w 12050057"/>
                <a:gd name="connsiteY533" fmla="*/ 2863962 h 6072782"/>
                <a:gd name="connsiteX534" fmla="*/ 9466499 w 12050057"/>
                <a:gd name="connsiteY534" fmla="*/ 2872404 h 6072782"/>
                <a:gd name="connsiteX535" fmla="*/ 9466499 w 12050057"/>
                <a:gd name="connsiteY535" fmla="*/ 2842288 h 6072782"/>
                <a:gd name="connsiteX536" fmla="*/ 9483534 w 12050057"/>
                <a:gd name="connsiteY536" fmla="*/ 2836204 h 6072782"/>
                <a:gd name="connsiteX537" fmla="*/ 9499733 w 12050057"/>
                <a:gd name="connsiteY537" fmla="*/ 2829055 h 6072782"/>
                <a:gd name="connsiteX538" fmla="*/ 9515856 w 12050057"/>
                <a:gd name="connsiteY538" fmla="*/ 2820234 h 6072782"/>
                <a:gd name="connsiteX539" fmla="*/ 9532663 w 12050057"/>
                <a:gd name="connsiteY539" fmla="*/ 2809130 h 6072782"/>
                <a:gd name="connsiteX540" fmla="*/ 8660208 w 12050057"/>
                <a:gd name="connsiteY540" fmla="*/ 2809130 h 6072782"/>
                <a:gd name="connsiteX541" fmla="*/ 8675114 w 12050057"/>
                <a:gd name="connsiteY541" fmla="*/ 2809130 h 6072782"/>
                <a:gd name="connsiteX542" fmla="*/ 8675114 w 12050057"/>
                <a:gd name="connsiteY542" fmla="*/ 3032110 h 6072782"/>
                <a:gd name="connsiteX543" fmla="*/ 8639826 w 12050057"/>
                <a:gd name="connsiteY543" fmla="*/ 3032110 h 6072782"/>
                <a:gd name="connsiteX544" fmla="*/ 8639826 w 12050057"/>
                <a:gd name="connsiteY544" fmla="*/ 2852327 h 6072782"/>
                <a:gd name="connsiteX545" fmla="*/ 8619217 w 12050057"/>
                <a:gd name="connsiteY545" fmla="*/ 2863962 h 6072782"/>
                <a:gd name="connsiteX546" fmla="*/ 8594044 w 12050057"/>
                <a:gd name="connsiteY546" fmla="*/ 2872404 h 6072782"/>
                <a:gd name="connsiteX547" fmla="*/ 8594044 w 12050057"/>
                <a:gd name="connsiteY547" fmla="*/ 2842288 h 6072782"/>
                <a:gd name="connsiteX548" fmla="*/ 8611079 w 12050057"/>
                <a:gd name="connsiteY548" fmla="*/ 2836204 h 6072782"/>
                <a:gd name="connsiteX549" fmla="*/ 8627278 w 12050057"/>
                <a:gd name="connsiteY549" fmla="*/ 2829055 h 6072782"/>
                <a:gd name="connsiteX550" fmla="*/ 8643401 w 12050057"/>
                <a:gd name="connsiteY550" fmla="*/ 2820234 h 6072782"/>
                <a:gd name="connsiteX551" fmla="*/ 8660208 w 12050057"/>
                <a:gd name="connsiteY551" fmla="*/ 2809130 h 6072782"/>
                <a:gd name="connsiteX552" fmla="*/ 6671075 w 12050057"/>
                <a:gd name="connsiteY552" fmla="*/ 2809130 h 6072782"/>
                <a:gd name="connsiteX553" fmla="*/ 6685982 w 12050057"/>
                <a:gd name="connsiteY553" fmla="*/ 2809130 h 6072782"/>
                <a:gd name="connsiteX554" fmla="*/ 6685982 w 12050057"/>
                <a:gd name="connsiteY554" fmla="*/ 3032110 h 6072782"/>
                <a:gd name="connsiteX555" fmla="*/ 6650694 w 12050057"/>
                <a:gd name="connsiteY555" fmla="*/ 3032110 h 6072782"/>
                <a:gd name="connsiteX556" fmla="*/ 6650694 w 12050057"/>
                <a:gd name="connsiteY556" fmla="*/ 2852327 h 6072782"/>
                <a:gd name="connsiteX557" fmla="*/ 6630084 w 12050057"/>
                <a:gd name="connsiteY557" fmla="*/ 2863962 h 6072782"/>
                <a:gd name="connsiteX558" fmla="*/ 6604912 w 12050057"/>
                <a:gd name="connsiteY558" fmla="*/ 2872404 h 6072782"/>
                <a:gd name="connsiteX559" fmla="*/ 6604912 w 12050057"/>
                <a:gd name="connsiteY559" fmla="*/ 2842288 h 6072782"/>
                <a:gd name="connsiteX560" fmla="*/ 6621947 w 12050057"/>
                <a:gd name="connsiteY560" fmla="*/ 2836204 h 6072782"/>
                <a:gd name="connsiteX561" fmla="*/ 6638146 w 12050057"/>
                <a:gd name="connsiteY561" fmla="*/ 2829055 h 6072782"/>
                <a:gd name="connsiteX562" fmla="*/ 6654268 w 12050057"/>
                <a:gd name="connsiteY562" fmla="*/ 2820234 h 6072782"/>
                <a:gd name="connsiteX563" fmla="*/ 6671075 w 12050057"/>
                <a:gd name="connsiteY563" fmla="*/ 2809130 h 6072782"/>
                <a:gd name="connsiteX564" fmla="*/ 5979097 w 12050057"/>
                <a:gd name="connsiteY564" fmla="*/ 2809130 h 6072782"/>
                <a:gd name="connsiteX565" fmla="*/ 5994004 w 12050057"/>
                <a:gd name="connsiteY565" fmla="*/ 2809130 h 6072782"/>
                <a:gd name="connsiteX566" fmla="*/ 5994004 w 12050057"/>
                <a:gd name="connsiteY566" fmla="*/ 3032110 h 6072782"/>
                <a:gd name="connsiteX567" fmla="*/ 5958717 w 12050057"/>
                <a:gd name="connsiteY567" fmla="*/ 3032110 h 6072782"/>
                <a:gd name="connsiteX568" fmla="*/ 5958717 w 12050057"/>
                <a:gd name="connsiteY568" fmla="*/ 2852327 h 6072782"/>
                <a:gd name="connsiteX569" fmla="*/ 5938106 w 12050057"/>
                <a:gd name="connsiteY569" fmla="*/ 2863962 h 6072782"/>
                <a:gd name="connsiteX570" fmla="*/ 5912934 w 12050057"/>
                <a:gd name="connsiteY570" fmla="*/ 2872404 h 6072782"/>
                <a:gd name="connsiteX571" fmla="*/ 5912934 w 12050057"/>
                <a:gd name="connsiteY571" fmla="*/ 2842288 h 6072782"/>
                <a:gd name="connsiteX572" fmla="*/ 5929969 w 12050057"/>
                <a:gd name="connsiteY572" fmla="*/ 2836204 h 6072782"/>
                <a:gd name="connsiteX573" fmla="*/ 5946169 w 12050057"/>
                <a:gd name="connsiteY573" fmla="*/ 2829055 h 6072782"/>
                <a:gd name="connsiteX574" fmla="*/ 5962291 w 12050057"/>
                <a:gd name="connsiteY574" fmla="*/ 2820234 h 6072782"/>
                <a:gd name="connsiteX575" fmla="*/ 5979097 w 12050057"/>
                <a:gd name="connsiteY575" fmla="*/ 2809130 h 6072782"/>
                <a:gd name="connsiteX576" fmla="*/ 4354317 w 12050057"/>
                <a:gd name="connsiteY576" fmla="*/ 2809130 h 6072782"/>
                <a:gd name="connsiteX577" fmla="*/ 4369224 w 12050057"/>
                <a:gd name="connsiteY577" fmla="*/ 2809130 h 6072782"/>
                <a:gd name="connsiteX578" fmla="*/ 4369224 w 12050057"/>
                <a:gd name="connsiteY578" fmla="*/ 3032110 h 6072782"/>
                <a:gd name="connsiteX579" fmla="*/ 4333935 w 12050057"/>
                <a:gd name="connsiteY579" fmla="*/ 3032110 h 6072782"/>
                <a:gd name="connsiteX580" fmla="*/ 4333935 w 12050057"/>
                <a:gd name="connsiteY580" fmla="*/ 2852327 h 6072782"/>
                <a:gd name="connsiteX581" fmla="*/ 4313325 w 12050057"/>
                <a:gd name="connsiteY581" fmla="*/ 2863962 h 6072782"/>
                <a:gd name="connsiteX582" fmla="*/ 4288153 w 12050057"/>
                <a:gd name="connsiteY582" fmla="*/ 2872404 h 6072782"/>
                <a:gd name="connsiteX583" fmla="*/ 4288153 w 12050057"/>
                <a:gd name="connsiteY583" fmla="*/ 2842288 h 6072782"/>
                <a:gd name="connsiteX584" fmla="*/ 4305189 w 12050057"/>
                <a:gd name="connsiteY584" fmla="*/ 2836204 h 6072782"/>
                <a:gd name="connsiteX585" fmla="*/ 4321387 w 12050057"/>
                <a:gd name="connsiteY585" fmla="*/ 2829055 h 6072782"/>
                <a:gd name="connsiteX586" fmla="*/ 4337509 w 12050057"/>
                <a:gd name="connsiteY586" fmla="*/ 2820234 h 6072782"/>
                <a:gd name="connsiteX587" fmla="*/ 4354317 w 12050057"/>
                <a:gd name="connsiteY587" fmla="*/ 2809130 h 6072782"/>
                <a:gd name="connsiteX588" fmla="*/ 3476611 w 12050057"/>
                <a:gd name="connsiteY588" fmla="*/ 2809130 h 6072782"/>
                <a:gd name="connsiteX589" fmla="*/ 3491518 w 12050057"/>
                <a:gd name="connsiteY589" fmla="*/ 2809130 h 6072782"/>
                <a:gd name="connsiteX590" fmla="*/ 3491518 w 12050057"/>
                <a:gd name="connsiteY590" fmla="*/ 3032110 h 6072782"/>
                <a:gd name="connsiteX591" fmla="*/ 3456230 w 12050057"/>
                <a:gd name="connsiteY591" fmla="*/ 3032110 h 6072782"/>
                <a:gd name="connsiteX592" fmla="*/ 3456230 w 12050057"/>
                <a:gd name="connsiteY592" fmla="*/ 2852327 h 6072782"/>
                <a:gd name="connsiteX593" fmla="*/ 3435620 w 12050057"/>
                <a:gd name="connsiteY593" fmla="*/ 2863962 h 6072782"/>
                <a:gd name="connsiteX594" fmla="*/ 3410447 w 12050057"/>
                <a:gd name="connsiteY594" fmla="*/ 2872404 h 6072782"/>
                <a:gd name="connsiteX595" fmla="*/ 3410447 w 12050057"/>
                <a:gd name="connsiteY595" fmla="*/ 2842288 h 6072782"/>
                <a:gd name="connsiteX596" fmla="*/ 3427483 w 12050057"/>
                <a:gd name="connsiteY596" fmla="*/ 2836204 h 6072782"/>
                <a:gd name="connsiteX597" fmla="*/ 3443682 w 12050057"/>
                <a:gd name="connsiteY597" fmla="*/ 2829055 h 6072782"/>
                <a:gd name="connsiteX598" fmla="*/ 3459804 w 12050057"/>
                <a:gd name="connsiteY598" fmla="*/ 2820234 h 6072782"/>
                <a:gd name="connsiteX599" fmla="*/ 3476611 w 12050057"/>
                <a:gd name="connsiteY599" fmla="*/ 2809130 h 6072782"/>
                <a:gd name="connsiteX600" fmla="*/ 2604156 w 12050057"/>
                <a:gd name="connsiteY600" fmla="*/ 2809130 h 6072782"/>
                <a:gd name="connsiteX601" fmla="*/ 2619062 w 12050057"/>
                <a:gd name="connsiteY601" fmla="*/ 2809130 h 6072782"/>
                <a:gd name="connsiteX602" fmla="*/ 2619062 w 12050057"/>
                <a:gd name="connsiteY602" fmla="*/ 3032110 h 6072782"/>
                <a:gd name="connsiteX603" fmla="*/ 2583774 w 12050057"/>
                <a:gd name="connsiteY603" fmla="*/ 3032110 h 6072782"/>
                <a:gd name="connsiteX604" fmla="*/ 2583774 w 12050057"/>
                <a:gd name="connsiteY604" fmla="*/ 2852327 h 6072782"/>
                <a:gd name="connsiteX605" fmla="*/ 2563165 w 12050057"/>
                <a:gd name="connsiteY605" fmla="*/ 2863962 h 6072782"/>
                <a:gd name="connsiteX606" fmla="*/ 2537992 w 12050057"/>
                <a:gd name="connsiteY606" fmla="*/ 2872404 h 6072782"/>
                <a:gd name="connsiteX607" fmla="*/ 2537992 w 12050057"/>
                <a:gd name="connsiteY607" fmla="*/ 2842288 h 6072782"/>
                <a:gd name="connsiteX608" fmla="*/ 2555027 w 12050057"/>
                <a:gd name="connsiteY608" fmla="*/ 2836204 h 6072782"/>
                <a:gd name="connsiteX609" fmla="*/ 2571226 w 12050057"/>
                <a:gd name="connsiteY609" fmla="*/ 2829055 h 6072782"/>
                <a:gd name="connsiteX610" fmla="*/ 2587349 w 12050057"/>
                <a:gd name="connsiteY610" fmla="*/ 2820234 h 6072782"/>
                <a:gd name="connsiteX611" fmla="*/ 2604156 w 12050057"/>
                <a:gd name="connsiteY611" fmla="*/ 2809130 h 6072782"/>
                <a:gd name="connsiteX612" fmla="*/ 619557 w 12050057"/>
                <a:gd name="connsiteY612" fmla="*/ 2809130 h 6072782"/>
                <a:gd name="connsiteX613" fmla="*/ 634463 w 12050057"/>
                <a:gd name="connsiteY613" fmla="*/ 2809130 h 6072782"/>
                <a:gd name="connsiteX614" fmla="*/ 634463 w 12050057"/>
                <a:gd name="connsiteY614" fmla="*/ 3032110 h 6072782"/>
                <a:gd name="connsiteX615" fmla="*/ 599174 w 12050057"/>
                <a:gd name="connsiteY615" fmla="*/ 3032110 h 6072782"/>
                <a:gd name="connsiteX616" fmla="*/ 599174 w 12050057"/>
                <a:gd name="connsiteY616" fmla="*/ 2852327 h 6072782"/>
                <a:gd name="connsiteX617" fmla="*/ 578566 w 12050057"/>
                <a:gd name="connsiteY617" fmla="*/ 2863962 h 6072782"/>
                <a:gd name="connsiteX618" fmla="*/ 553393 w 12050057"/>
                <a:gd name="connsiteY618" fmla="*/ 2872404 h 6072782"/>
                <a:gd name="connsiteX619" fmla="*/ 553393 w 12050057"/>
                <a:gd name="connsiteY619" fmla="*/ 2842288 h 6072782"/>
                <a:gd name="connsiteX620" fmla="*/ 570428 w 12050057"/>
                <a:gd name="connsiteY620" fmla="*/ 2836204 h 6072782"/>
                <a:gd name="connsiteX621" fmla="*/ 586626 w 12050057"/>
                <a:gd name="connsiteY621" fmla="*/ 2829055 h 6072782"/>
                <a:gd name="connsiteX622" fmla="*/ 602749 w 12050057"/>
                <a:gd name="connsiteY622" fmla="*/ 2820234 h 6072782"/>
                <a:gd name="connsiteX623" fmla="*/ 619557 w 12050057"/>
                <a:gd name="connsiteY623" fmla="*/ 2809130 h 6072782"/>
                <a:gd name="connsiteX624" fmla="*/ 10291704 w 12050057"/>
                <a:gd name="connsiteY624" fmla="*/ 2480736 h 6072782"/>
                <a:gd name="connsiteX625" fmla="*/ 10306610 w 12050057"/>
                <a:gd name="connsiteY625" fmla="*/ 2480736 h 6072782"/>
                <a:gd name="connsiteX626" fmla="*/ 10306610 w 12050057"/>
                <a:gd name="connsiteY626" fmla="*/ 2703716 h 6072782"/>
                <a:gd name="connsiteX627" fmla="*/ 10271322 w 12050057"/>
                <a:gd name="connsiteY627" fmla="*/ 2703716 h 6072782"/>
                <a:gd name="connsiteX628" fmla="*/ 10271322 w 12050057"/>
                <a:gd name="connsiteY628" fmla="*/ 2523933 h 6072782"/>
                <a:gd name="connsiteX629" fmla="*/ 10250713 w 12050057"/>
                <a:gd name="connsiteY629" fmla="*/ 2535568 h 6072782"/>
                <a:gd name="connsiteX630" fmla="*/ 10225540 w 12050057"/>
                <a:gd name="connsiteY630" fmla="*/ 2544010 h 6072782"/>
                <a:gd name="connsiteX631" fmla="*/ 10225540 w 12050057"/>
                <a:gd name="connsiteY631" fmla="*/ 2513894 h 6072782"/>
                <a:gd name="connsiteX632" fmla="*/ 10242575 w 12050057"/>
                <a:gd name="connsiteY632" fmla="*/ 2507810 h 6072782"/>
                <a:gd name="connsiteX633" fmla="*/ 10258774 w 12050057"/>
                <a:gd name="connsiteY633" fmla="*/ 2500661 h 6072782"/>
                <a:gd name="connsiteX634" fmla="*/ 10274897 w 12050057"/>
                <a:gd name="connsiteY634" fmla="*/ 2491839 h 6072782"/>
                <a:gd name="connsiteX635" fmla="*/ 10291704 w 12050057"/>
                <a:gd name="connsiteY635" fmla="*/ 2480736 h 6072782"/>
                <a:gd name="connsiteX636" fmla="*/ 7171000 w 12050057"/>
                <a:gd name="connsiteY636" fmla="*/ 2480736 h 6072782"/>
                <a:gd name="connsiteX637" fmla="*/ 7185906 w 12050057"/>
                <a:gd name="connsiteY637" fmla="*/ 2480736 h 6072782"/>
                <a:gd name="connsiteX638" fmla="*/ 7185906 w 12050057"/>
                <a:gd name="connsiteY638" fmla="*/ 2703716 h 6072782"/>
                <a:gd name="connsiteX639" fmla="*/ 7150618 w 12050057"/>
                <a:gd name="connsiteY639" fmla="*/ 2703716 h 6072782"/>
                <a:gd name="connsiteX640" fmla="*/ 7150618 w 12050057"/>
                <a:gd name="connsiteY640" fmla="*/ 2523933 h 6072782"/>
                <a:gd name="connsiteX641" fmla="*/ 7130009 w 12050057"/>
                <a:gd name="connsiteY641" fmla="*/ 2535568 h 6072782"/>
                <a:gd name="connsiteX642" fmla="*/ 7104836 w 12050057"/>
                <a:gd name="connsiteY642" fmla="*/ 2544010 h 6072782"/>
                <a:gd name="connsiteX643" fmla="*/ 7104836 w 12050057"/>
                <a:gd name="connsiteY643" fmla="*/ 2513894 h 6072782"/>
                <a:gd name="connsiteX644" fmla="*/ 7121871 w 12050057"/>
                <a:gd name="connsiteY644" fmla="*/ 2507810 h 6072782"/>
                <a:gd name="connsiteX645" fmla="*/ 7138070 w 12050057"/>
                <a:gd name="connsiteY645" fmla="*/ 2500661 h 6072782"/>
                <a:gd name="connsiteX646" fmla="*/ 7154193 w 12050057"/>
                <a:gd name="connsiteY646" fmla="*/ 2491839 h 6072782"/>
                <a:gd name="connsiteX647" fmla="*/ 7171000 w 12050057"/>
                <a:gd name="connsiteY647" fmla="*/ 2480736 h 6072782"/>
                <a:gd name="connsiteX648" fmla="*/ 6278970 w 12050057"/>
                <a:gd name="connsiteY648" fmla="*/ 2480736 h 6072782"/>
                <a:gd name="connsiteX649" fmla="*/ 6293876 w 12050057"/>
                <a:gd name="connsiteY649" fmla="*/ 2480736 h 6072782"/>
                <a:gd name="connsiteX650" fmla="*/ 6293876 w 12050057"/>
                <a:gd name="connsiteY650" fmla="*/ 2703716 h 6072782"/>
                <a:gd name="connsiteX651" fmla="*/ 6258588 w 12050057"/>
                <a:gd name="connsiteY651" fmla="*/ 2703716 h 6072782"/>
                <a:gd name="connsiteX652" fmla="*/ 6258588 w 12050057"/>
                <a:gd name="connsiteY652" fmla="*/ 2523933 h 6072782"/>
                <a:gd name="connsiteX653" fmla="*/ 6237979 w 12050057"/>
                <a:gd name="connsiteY653" fmla="*/ 2535568 h 6072782"/>
                <a:gd name="connsiteX654" fmla="*/ 6212806 w 12050057"/>
                <a:gd name="connsiteY654" fmla="*/ 2544010 h 6072782"/>
                <a:gd name="connsiteX655" fmla="*/ 6212806 w 12050057"/>
                <a:gd name="connsiteY655" fmla="*/ 2513894 h 6072782"/>
                <a:gd name="connsiteX656" fmla="*/ 6229841 w 12050057"/>
                <a:gd name="connsiteY656" fmla="*/ 2507810 h 6072782"/>
                <a:gd name="connsiteX657" fmla="*/ 6246040 w 12050057"/>
                <a:gd name="connsiteY657" fmla="*/ 2500661 h 6072782"/>
                <a:gd name="connsiteX658" fmla="*/ 6262163 w 12050057"/>
                <a:gd name="connsiteY658" fmla="*/ 2491839 h 6072782"/>
                <a:gd name="connsiteX659" fmla="*/ 6278970 w 12050057"/>
                <a:gd name="connsiteY659" fmla="*/ 2480736 h 6072782"/>
                <a:gd name="connsiteX660" fmla="*/ 4229236 w 12050057"/>
                <a:gd name="connsiteY660" fmla="*/ 2480736 h 6072782"/>
                <a:gd name="connsiteX661" fmla="*/ 4244142 w 12050057"/>
                <a:gd name="connsiteY661" fmla="*/ 2480736 h 6072782"/>
                <a:gd name="connsiteX662" fmla="*/ 4244142 w 12050057"/>
                <a:gd name="connsiteY662" fmla="*/ 2703716 h 6072782"/>
                <a:gd name="connsiteX663" fmla="*/ 4208855 w 12050057"/>
                <a:gd name="connsiteY663" fmla="*/ 2703716 h 6072782"/>
                <a:gd name="connsiteX664" fmla="*/ 4208855 w 12050057"/>
                <a:gd name="connsiteY664" fmla="*/ 2523933 h 6072782"/>
                <a:gd name="connsiteX665" fmla="*/ 4188245 w 12050057"/>
                <a:gd name="connsiteY665" fmla="*/ 2535568 h 6072782"/>
                <a:gd name="connsiteX666" fmla="*/ 4163072 w 12050057"/>
                <a:gd name="connsiteY666" fmla="*/ 2544010 h 6072782"/>
                <a:gd name="connsiteX667" fmla="*/ 4163072 w 12050057"/>
                <a:gd name="connsiteY667" fmla="*/ 2513894 h 6072782"/>
                <a:gd name="connsiteX668" fmla="*/ 4180107 w 12050057"/>
                <a:gd name="connsiteY668" fmla="*/ 2507810 h 6072782"/>
                <a:gd name="connsiteX669" fmla="*/ 4196307 w 12050057"/>
                <a:gd name="connsiteY669" fmla="*/ 2500661 h 6072782"/>
                <a:gd name="connsiteX670" fmla="*/ 4212429 w 12050057"/>
                <a:gd name="connsiteY670" fmla="*/ 2491839 h 6072782"/>
                <a:gd name="connsiteX671" fmla="*/ 4229236 w 12050057"/>
                <a:gd name="connsiteY671" fmla="*/ 2480736 h 6072782"/>
                <a:gd name="connsiteX672" fmla="*/ 1107649 w 12050057"/>
                <a:gd name="connsiteY672" fmla="*/ 2480736 h 6072782"/>
                <a:gd name="connsiteX673" fmla="*/ 1122555 w 12050057"/>
                <a:gd name="connsiteY673" fmla="*/ 2480736 h 6072782"/>
                <a:gd name="connsiteX674" fmla="*/ 1122555 w 12050057"/>
                <a:gd name="connsiteY674" fmla="*/ 2703716 h 6072782"/>
                <a:gd name="connsiteX675" fmla="*/ 1087267 w 12050057"/>
                <a:gd name="connsiteY675" fmla="*/ 2703716 h 6072782"/>
                <a:gd name="connsiteX676" fmla="*/ 1087267 w 12050057"/>
                <a:gd name="connsiteY676" fmla="*/ 2523933 h 6072782"/>
                <a:gd name="connsiteX677" fmla="*/ 1066658 w 12050057"/>
                <a:gd name="connsiteY677" fmla="*/ 2535568 h 6072782"/>
                <a:gd name="connsiteX678" fmla="*/ 1041486 w 12050057"/>
                <a:gd name="connsiteY678" fmla="*/ 2544010 h 6072782"/>
                <a:gd name="connsiteX679" fmla="*/ 1041486 w 12050057"/>
                <a:gd name="connsiteY679" fmla="*/ 2513894 h 6072782"/>
                <a:gd name="connsiteX680" fmla="*/ 1058521 w 12050057"/>
                <a:gd name="connsiteY680" fmla="*/ 2507810 h 6072782"/>
                <a:gd name="connsiteX681" fmla="*/ 1074719 w 12050057"/>
                <a:gd name="connsiteY681" fmla="*/ 2500661 h 6072782"/>
                <a:gd name="connsiteX682" fmla="*/ 1090842 w 12050057"/>
                <a:gd name="connsiteY682" fmla="*/ 2491839 h 6072782"/>
                <a:gd name="connsiteX683" fmla="*/ 1107649 w 12050057"/>
                <a:gd name="connsiteY683" fmla="*/ 2480736 h 6072782"/>
                <a:gd name="connsiteX684" fmla="*/ 213707 w 12050057"/>
                <a:gd name="connsiteY684" fmla="*/ 2480736 h 6072782"/>
                <a:gd name="connsiteX685" fmla="*/ 228613 w 12050057"/>
                <a:gd name="connsiteY685" fmla="*/ 2480736 h 6072782"/>
                <a:gd name="connsiteX686" fmla="*/ 228613 w 12050057"/>
                <a:gd name="connsiteY686" fmla="*/ 2703716 h 6072782"/>
                <a:gd name="connsiteX687" fmla="*/ 193325 w 12050057"/>
                <a:gd name="connsiteY687" fmla="*/ 2703716 h 6072782"/>
                <a:gd name="connsiteX688" fmla="*/ 193325 w 12050057"/>
                <a:gd name="connsiteY688" fmla="*/ 2523933 h 6072782"/>
                <a:gd name="connsiteX689" fmla="*/ 172716 w 12050057"/>
                <a:gd name="connsiteY689" fmla="*/ 2535568 h 6072782"/>
                <a:gd name="connsiteX690" fmla="*/ 147543 w 12050057"/>
                <a:gd name="connsiteY690" fmla="*/ 2544010 h 6072782"/>
                <a:gd name="connsiteX691" fmla="*/ 147543 w 12050057"/>
                <a:gd name="connsiteY691" fmla="*/ 2513894 h 6072782"/>
                <a:gd name="connsiteX692" fmla="*/ 164578 w 12050057"/>
                <a:gd name="connsiteY692" fmla="*/ 2507810 h 6072782"/>
                <a:gd name="connsiteX693" fmla="*/ 180778 w 12050057"/>
                <a:gd name="connsiteY693" fmla="*/ 2500661 h 6072782"/>
                <a:gd name="connsiteX694" fmla="*/ 196900 w 12050057"/>
                <a:gd name="connsiteY694" fmla="*/ 2491839 h 6072782"/>
                <a:gd name="connsiteX695" fmla="*/ 213707 w 12050057"/>
                <a:gd name="connsiteY695" fmla="*/ 2480736 h 6072782"/>
                <a:gd name="connsiteX696" fmla="*/ 11444638 w 12050057"/>
                <a:gd name="connsiteY696" fmla="*/ 2176765 h 6072782"/>
                <a:gd name="connsiteX697" fmla="*/ 11459544 w 12050057"/>
                <a:gd name="connsiteY697" fmla="*/ 2176765 h 6072782"/>
                <a:gd name="connsiteX698" fmla="*/ 11459544 w 12050057"/>
                <a:gd name="connsiteY698" fmla="*/ 2399745 h 6072782"/>
                <a:gd name="connsiteX699" fmla="*/ 11424256 w 12050057"/>
                <a:gd name="connsiteY699" fmla="*/ 2399745 h 6072782"/>
                <a:gd name="connsiteX700" fmla="*/ 11424256 w 12050057"/>
                <a:gd name="connsiteY700" fmla="*/ 2219962 h 6072782"/>
                <a:gd name="connsiteX701" fmla="*/ 11403647 w 12050057"/>
                <a:gd name="connsiteY701" fmla="*/ 2231597 h 6072782"/>
                <a:gd name="connsiteX702" fmla="*/ 11378474 w 12050057"/>
                <a:gd name="connsiteY702" fmla="*/ 2240039 h 6072782"/>
                <a:gd name="connsiteX703" fmla="*/ 11378474 w 12050057"/>
                <a:gd name="connsiteY703" fmla="*/ 2209923 h 6072782"/>
                <a:gd name="connsiteX704" fmla="*/ 11395509 w 12050057"/>
                <a:gd name="connsiteY704" fmla="*/ 2203839 h 6072782"/>
                <a:gd name="connsiteX705" fmla="*/ 11411708 w 12050057"/>
                <a:gd name="connsiteY705" fmla="*/ 2196690 h 6072782"/>
                <a:gd name="connsiteX706" fmla="*/ 11427831 w 12050057"/>
                <a:gd name="connsiteY706" fmla="*/ 2187868 h 6072782"/>
                <a:gd name="connsiteX707" fmla="*/ 11444638 w 12050057"/>
                <a:gd name="connsiteY707" fmla="*/ 2176765 h 6072782"/>
                <a:gd name="connsiteX708" fmla="*/ 9437758 w 12050057"/>
                <a:gd name="connsiteY708" fmla="*/ 2176765 h 6072782"/>
                <a:gd name="connsiteX709" fmla="*/ 9452664 w 12050057"/>
                <a:gd name="connsiteY709" fmla="*/ 2176765 h 6072782"/>
                <a:gd name="connsiteX710" fmla="*/ 9452664 w 12050057"/>
                <a:gd name="connsiteY710" fmla="*/ 2399745 h 6072782"/>
                <a:gd name="connsiteX711" fmla="*/ 9417376 w 12050057"/>
                <a:gd name="connsiteY711" fmla="*/ 2399745 h 6072782"/>
                <a:gd name="connsiteX712" fmla="*/ 9417376 w 12050057"/>
                <a:gd name="connsiteY712" fmla="*/ 2219962 h 6072782"/>
                <a:gd name="connsiteX713" fmla="*/ 9396767 w 12050057"/>
                <a:gd name="connsiteY713" fmla="*/ 2231597 h 6072782"/>
                <a:gd name="connsiteX714" fmla="*/ 9371594 w 12050057"/>
                <a:gd name="connsiteY714" fmla="*/ 2240039 h 6072782"/>
                <a:gd name="connsiteX715" fmla="*/ 9371594 w 12050057"/>
                <a:gd name="connsiteY715" fmla="*/ 2209923 h 6072782"/>
                <a:gd name="connsiteX716" fmla="*/ 9388629 w 12050057"/>
                <a:gd name="connsiteY716" fmla="*/ 2203839 h 6072782"/>
                <a:gd name="connsiteX717" fmla="*/ 9404828 w 12050057"/>
                <a:gd name="connsiteY717" fmla="*/ 2196690 h 6072782"/>
                <a:gd name="connsiteX718" fmla="*/ 9420951 w 12050057"/>
                <a:gd name="connsiteY718" fmla="*/ 2187868 h 6072782"/>
                <a:gd name="connsiteX719" fmla="*/ 9437758 w 12050057"/>
                <a:gd name="connsiteY719" fmla="*/ 2176765 h 6072782"/>
                <a:gd name="connsiteX720" fmla="*/ 8937428 w 12050057"/>
                <a:gd name="connsiteY720" fmla="*/ 2176765 h 6072782"/>
                <a:gd name="connsiteX721" fmla="*/ 8952334 w 12050057"/>
                <a:gd name="connsiteY721" fmla="*/ 2176765 h 6072782"/>
                <a:gd name="connsiteX722" fmla="*/ 8952334 w 12050057"/>
                <a:gd name="connsiteY722" fmla="*/ 2399745 h 6072782"/>
                <a:gd name="connsiteX723" fmla="*/ 8917046 w 12050057"/>
                <a:gd name="connsiteY723" fmla="*/ 2399745 h 6072782"/>
                <a:gd name="connsiteX724" fmla="*/ 8917046 w 12050057"/>
                <a:gd name="connsiteY724" fmla="*/ 2219962 h 6072782"/>
                <a:gd name="connsiteX725" fmla="*/ 8896437 w 12050057"/>
                <a:gd name="connsiteY725" fmla="*/ 2231597 h 6072782"/>
                <a:gd name="connsiteX726" fmla="*/ 8871264 w 12050057"/>
                <a:gd name="connsiteY726" fmla="*/ 2240039 h 6072782"/>
                <a:gd name="connsiteX727" fmla="*/ 8871264 w 12050057"/>
                <a:gd name="connsiteY727" fmla="*/ 2209923 h 6072782"/>
                <a:gd name="connsiteX728" fmla="*/ 8888299 w 12050057"/>
                <a:gd name="connsiteY728" fmla="*/ 2203839 h 6072782"/>
                <a:gd name="connsiteX729" fmla="*/ 8904498 w 12050057"/>
                <a:gd name="connsiteY729" fmla="*/ 2196690 h 6072782"/>
                <a:gd name="connsiteX730" fmla="*/ 8920621 w 12050057"/>
                <a:gd name="connsiteY730" fmla="*/ 2187868 h 6072782"/>
                <a:gd name="connsiteX731" fmla="*/ 8937428 w 12050057"/>
                <a:gd name="connsiteY731" fmla="*/ 2176765 h 6072782"/>
                <a:gd name="connsiteX732" fmla="*/ 7308531 w 12050057"/>
                <a:gd name="connsiteY732" fmla="*/ 2176765 h 6072782"/>
                <a:gd name="connsiteX733" fmla="*/ 7323437 w 12050057"/>
                <a:gd name="connsiteY733" fmla="*/ 2176765 h 6072782"/>
                <a:gd name="connsiteX734" fmla="*/ 7323437 w 12050057"/>
                <a:gd name="connsiteY734" fmla="*/ 2399745 h 6072782"/>
                <a:gd name="connsiteX735" fmla="*/ 7288149 w 12050057"/>
                <a:gd name="connsiteY735" fmla="*/ 2399745 h 6072782"/>
                <a:gd name="connsiteX736" fmla="*/ 7288149 w 12050057"/>
                <a:gd name="connsiteY736" fmla="*/ 2219962 h 6072782"/>
                <a:gd name="connsiteX737" fmla="*/ 7267540 w 12050057"/>
                <a:gd name="connsiteY737" fmla="*/ 2231597 h 6072782"/>
                <a:gd name="connsiteX738" fmla="*/ 7242367 w 12050057"/>
                <a:gd name="connsiteY738" fmla="*/ 2240039 h 6072782"/>
                <a:gd name="connsiteX739" fmla="*/ 7242367 w 12050057"/>
                <a:gd name="connsiteY739" fmla="*/ 2209923 h 6072782"/>
                <a:gd name="connsiteX740" fmla="*/ 7259402 w 12050057"/>
                <a:gd name="connsiteY740" fmla="*/ 2203839 h 6072782"/>
                <a:gd name="connsiteX741" fmla="*/ 7275601 w 12050057"/>
                <a:gd name="connsiteY741" fmla="*/ 2196690 h 6072782"/>
                <a:gd name="connsiteX742" fmla="*/ 7291724 w 12050057"/>
                <a:gd name="connsiteY742" fmla="*/ 2187868 h 6072782"/>
                <a:gd name="connsiteX743" fmla="*/ 7308531 w 12050057"/>
                <a:gd name="connsiteY743" fmla="*/ 2176765 h 6072782"/>
                <a:gd name="connsiteX744" fmla="*/ 6438588 w 12050057"/>
                <a:gd name="connsiteY744" fmla="*/ 2176765 h 6072782"/>
                <a:gd name="connsiteX745" fmla="*/ 6453494 w 12050057"/>
                <a:gd name="connsiteY745" fmla="*/ 2176765 h 6072782"/>
                <a:gd name="connsiteX746" fmla="*/ 6453494 w 12050057"/>
                <a:gd name="connsiteY746" fmla="*/ 2399745 h 6072782"/>
                <a:gd name="connsiteX747" fmla="*/ 6418206 w 12050057"/>
                <a:gd name="connsiteY747" fmla="*/ 2399745 h 6072782"/>
                <a:gd name="connsiteX748" fmla="*/ 6418206 w 12050057"/>
                <a:gd name="connsiteY748" fmla="*/ 2219962 h 6072782"/>
                <a:gd name="connsiteX749" fmla="*/ 6397597 w 12050057"/>
                <a:gd name="connsiteY749" fmla="*/ 2231597 h 6072782"/>
                <a:gd name="connsiteX750" fmla="*/ 6372424 w 12050057"/>
                <a:gd name="connsiteY750" fmla="*/ 2240039 h 6072782"/>
                <a:gd name="connsiteX751" fmla="*/ 6372424 w 12050057"/>
                <a:gd name="connsiteY751" fmla="*/ 2209923 h 6072782"/>
                <a:gd name="connsiteX752" fmla="*/ 6389459 w 12050057"/>
                <a:gd name="connsiteY752" fmla="*/ 2203839 h 6072782"/>
                <a:gd name="connsiteX753" fmla="*/ 6405658 w 12050057"/>
                <a:gd name="connsiteY753" fmla="*/ 2196690 h 6072782"/>
                <a:gd name="connsiteX754" fmla="*/ 6421781 w 12050057"/>
                <a:gd name="connsiteY754" fmla="*/ 2187868 h 6072782"/>
                <a:gd name="connsiteX755" fmla="*/ 6438588 w 12050057"/>
                <a:gd name="connsiteY755" fmla="*/ 2176765 h 6072782"/>
                <a:gd name="connsiteX756" fmla="*/ 5369222 w 12050057"/>
                <a:gd name="connsiteY756" fmla="*/ 2176765 h 6072782"/>
                <a:gd name="connsiteX757" fmla="*/ 5384128 w 12050057"/>
                <a:gd name="connsiteY757" fmla="*/ 2176765 h 6072782"/>
                <a:gd name="connsiteX758" fmla="*/ 5384128 w 12050057"/>
                <a:gd name="connsiteY758" fmla="*/ 2399745 h 6072782"/>
                <a:gd name="connsiteX759" fmla="*/ 5348840 w 12050057"/>
                <a:gd name="connsiteY759" fmla="*/ 2399745 h 6072782"/>
                <a:gd name="connsiteX760" fmla="*/ 5348840 w 12050057"/>
                <a:gd name="connsiteY760" fmla="*/ 2219962 h 6072782"/>
                <a:gd name="connsiteX761" fmla="*/ 5328231 w 12050057"/>
                <a:gd name="connsiteY761" fmla="*/ 2231597 h 6072782"/>
                <a:gd name="connsiteX762" fmla="*/ 5303059 w 12050057"/>
                <a:gd name="connsiteY762" fmla="*/ 2240039 h 6072782"/>
                <a:gd name="connsiteX763" fmla="*/ 5303059 w 12050057"/>
                <a:gd name="connsiteY763" fmla="*/ 2209923 h 6072782"/>
                <a:gd name="connsiteX764" fmla="*/ 5320094 w 12050057"/>
                <a:gd name="connsiteY764" fmla="*/ 2203839 h 6072782"/>
                <a:gd name="connsiteX765" fmla="*/ 5336292 w 12050057"/>
                <a:gd name="connsiteY765" fmla="*/ 2196690 h 6072782"/>
                <a:gd name="connsiteX766" fmla="*/ 5352415 w 12050057"/>
                <a:gd name="connsiteY766" fmla="*/ 2187868 h 6072782"/>
                <a:gd name="connsiteX767" fmla="*/ 5369222 w 12050057"/>
                <a:gd name="connsiteY767" fmla="*/ 2176765 h 6072782"/>
                <a:gd name="connsiteX768" fmla="*/ 3376912 w 12050057"/>
                <a:gd name="connsiteY768" fmla="*/ 2176765 h 6072782"/>
                <a:gd name="connsiteX769" fmla="*/ 3391818 w 12050057"/>
                <a:gd name="connsiteY769" fmla="*/ 2176765 h 6072782"/>
                <a:gd name="connsiteX770" fmla="*/ 3391818 w 12050057"/>
                <a:gd name="connsiteY770" fmla="*/ 2399745 h 6072782"/>
                <a:gd name="connsiteX771" fmla="*/ 3356530 w 12050057"/>
                <a:gd name="connsiteY771" fmla="*/ 2399745 h 6072782"/>
                <a:gd name="connsiteX772" fmla="*/ 3356530 w 12050057"/>
                <a:gd name="connsiteY772" fmla="*/ 2219962 h 6072782"/>
                <a:gd name="connsiteX773" fmla="*/ 3335922 w 12050057"/>
                <a:gd name="connsiteY773" fmla="*/ 2231597 h 6072782"/>
                <a:gd name="connsiteX774" fmla="*/ 3310748 w 12050057"/>
                <a:gd name="connsiteY774" fmla="*/ 2240039 h 6072782"/>
                <a:gd name="connsiteX775" fmla="*/ 3310748 w 12050057"/>
                <a:gd name="connsiteY775" fmla="*/ 2209923 h 6072782"/>
                <a:gd name="connsiteX776" fmla="*/ 3327783 w 12050057"/>
                <a:gd name="connsiteY776" fmla="*/ 2203839 h 6072782"/>
                <a:gd name="connsiteX777" fmla="*/ 3343983 w 12050057"/>
                <a:gd name="connsiteY777" fmla="*/ 2196690 h 6072782"/>
                <a:gd name="connsiteX778" fmla="*/ 3360105 w 12050057"/>
                <a:gd name="connsiteY778" fmla="*/ 2187868 h 6072782"/>
                <a:gd name="connsiteX779" fmla="*/ 3376912 w 12050057"/>
                <a:gd name="connsiteY779" fmla="*/ 2176765 h 6072782"/>
                <a:gd name="connsiteX780" fmla="*/ 2864708 w 12050057"/>
                <a:gd name="connsiteY780" fmla="*/ 2176765 h 6072782"/>
                <a:gd name="connsiteX781" fmla="*/ 2879614 w 12050057"/>
                <a:gd name="connsiteY781" fmla="*/ 2176765 h 6072782"/>
                <a:gd name="connsiteX782" fmla="*/ 2879614 w 12050057"/>
                <a:gd name="connsiteY782" fmla="*/ 2399745 h 6072782"/>
                <a:gd name="connsiteX783" fmla="*/ 2844327 w 12050057"/>
                <a:gd name="connsiteY783" fmla="*/ 2399745 h 6072782"/>
                <a:gd name="connsiteX784" fmla="*/ 2844327 w 12050057"/>
                <a:gd name="connsiteY784" fmla="*/ 2219962 h 6072782"/>
                <a:gd name="connsiteX785" fmla="*/ 2823717 w 12050057"/>
                <a:gd name="connsiteY785" fmla="*/ 2231597 h 6072782"/>
                <a:gd name="connsiteX786" fmla="*/ 2798544 w 12050057"/>
                <a:gd name="connsiteY786" fmla="*/ 2240039 h 6072782"/>
                <a:gd name="connsiteX787" fmla="*/ 2798544 w 12050057"/>
                <a:gd name="connsiteY787" fmla="*/ 2209923 h 6072782"/>
                <a:gd name="connsiteX788" fmla="*/ 2815579 w 12050057"/>
                <a:gd name="connsiteY788" fmla="*/ 2203839 h 6072782"/>
                <a:gd name="connsiteX789" fmla="*/ 2831779 w 12050057"/>
                <a:gd name="connsiteY789" fmla="*/ 2196690 h 6072782"/>
                <a:gd name="connsiteX790" fmla="*/ 2847901 w 12050057"/>
                <a:gd name="connsiteY790" fmla="*/ 2187868 h 6072782"/>
                <a:gd name="connsiteX791" fmla="*/ 2864708 w 12050057"/>
                <a:gd name="connsiteY791" fmla="*/ 2176765 h 6072782"/>
                <a:gd name="connsiteX792" fmla="*/ 1257354 w 12050057"/>
                <a:gd name="connsiteY792" fmla="*/ 2176765 h 6072782"/>
                <a:gd name="connsiteX793" fmla="*/ 1272260 w 12050057"/>
                <a:gd name="connsiteY793" fmla="*/ 2176765 h 6072782"/>
                <a:gd name="connsiteX794" fmla="*/ 1272260 w 12050057"/>
                <a:gd name="connsiteY794" fmla="*/ 2399745 h 6072782"/>
                <a:gd name="connsiteX795" fmla="*/ 1236972 w 12050057"/>
                <a:gd name="connsiteY795" fmla="*/ 2399745 h 6072782"/>
                <a:gd name="connsiteX796" fmla="*/ 1236972 w 12050057"/>
                <a:gd name="connsiteY796" fmla="*/ 2219962 h 6072782"/>
                <a:gd name="connsiteX797" fmla="*/ 1216363 w 12050057"/>
                <a:gd name="connsiteY797" fmla="*/ 2231597 h 6072782"/>
                <a:gd name="connsiteX798" fmla="*/ 1191190 w 12050057"/>
                <a:gd name="connsiteY798" fmla="*/ 2240039 h 6072782"/>
                <a:gd name="connsiteX799" fmla="*/ 1191190 w 12050057"/>
                <a:gd name="connsiteY799" fmla="*/ 2209923 h 6072782"/>
                <a:gd name="connsiteX800" fmla="*/ 1208225 w 12050057"/>
                <a:gd name="connsiteY800" fmla="*/ 2203839 h 6072782"/>
                <a:gd name="connsiteX801" fmla="*/ 1224424 w 12050057"/>
                <a:gd name="connsiteY801" fmla="*/ 2196690 h 6072782"/>
                <a:gd name="connsiteX802" fmla="*/ 1240547 w 12050057"/>
                <a:gd name="connsiteY802" fmla="*/ 2187868 h 6072782"/>
                <a:gd name="connsiteX803" fmla="*/ 1257354 w 12050057"/>
                <a:gd name="connsiteY803" fmla="*/ 2176765 h 6072782"/>
                <a:gd name="connsiteX804" fmla="*/ 384113 w 12050057"/>
                <a:gd name="connsiteY804" fmla="*/ 2176765 h 6072782"/>
                <a:gd name="connsiteX805" fmla="*/ 399019 w 12050057"/>
                <a:gd name="connsiteY805" fmla="*/ 2176765 h 6072782"/>
                <a:gd name="connsiteX806" fmla="*/ 399019 w 12050057"/>
                <a:gd name="connsiteY806" fmla="*/ 2399745 h 6072782"/>
                <a:gd name="connsiteX807" fmla="*/ 363731 w 12050057"/>
                <a:gd name="connsiteY807" fmla="*/ 2399745 h 6072782"/>
                <a:gd name="connsiteX808" fmla="*/ 363731 w 12050057"/>
                <a:gd name="connsiteY808" fmla="*/ 2219962 h 6072782"/>
                <a:gd name="connsiteX809" fmla="*/ 343122 w 12050057"/>
                <a:gd name="connsiteY809" fmla="*/ 2231597 h 6072782"/>
                <a:gd name="connsiteX810" fmla="*/ 317949 w 12050057"/>
                <a:gd name="connsiteY810" fmla="*/ 2240039 h 6072782"/>
                <a:gd name="connsiteX811" fmla="*/ 317949 w 12050057"/>
                <a:gd name="connsiteY811" fmla="*/ 2209923 h 6072782"/>
                <a:gd name="connsiteX812" fmla="*/ 334984 w 12050057"/>
                <a:gd name="connsiteY812" fmla="*/ 2203839 h 6072782"/>
                <a:gd name="connsiteX813" fmla="*/ 351183 w 12050057"/>
                <a:gd name="connsiteY813" fmla="*/ 2196690 h 6072782"/>
                <a:gd name="connsiteX814" fmla="*/ 367306 w 12050057"/>
                <a:gd name="connsiteY814" fmla="*/ 2187868 h 6072782"/>
                <a:gd name="connsiteX815" fmla="*/ 384113 w 12050057"/>
                <a:gd name="connsiteY815" fmla="*/ 2176765 h 6072782"/>
                <a:gd name="connsiteX816" fmla="*/ 10273078 w 12050057"/>
                <a:gd name="connsiteY816" fmla="*/ 1842347 h 6072782"/>
                <a:gd name="connsiteX817" fmla="*/ 10287984 w 12050057"/>
                <a:gd name="connsiteY817" fmla="*/ 1842347 h 6072782"/>
                <a:gd name="connsiteX818" fmla="*/ 10287984 w 12050057"/>
                <a:gd name="connsiteY818" fmla="*/ 2065327 h 6072782"/>
                <a:gd name="connsiteX819" fmla="*/ 10252696 w 12050057"/>
                <a:gd name="connsiteY819" fmla="*/ 2065327 h 6072782"/>
                <a:gd name="connsiteX820" fmla="*/ 10252696 w 12050057"/>
                <a:gd name="connsiteY820" fmla="*/ 1885543 h 6072782"/>
                <a:gd name="connsiteX821" fmla="*/ 10232087 w 12050057"/>
                <a:gd name="connsiteY821" fmla="*/ 1897179 h 6072782"/>
                <a:gd name="connsiteX822" fmla="*/ 10206914 w 12050057"/>
                <a:gd name="connsiteY822" fmla="*/ 1905621 h 6072782"/>
                <a:gd name="connsiteX823" fmla="*/ 10206914 w 12050057"/>
                <a:gd name="connsiteY823" fmla="*/ 1875505 h 6072782"/>
                <a:gd name="connsiteX824" fmla="*/ 10223949 w 12050057"/>
                <a:gd name="connsiteY824" fmla="*/ 1869421 h 6072782"/>
                <a:gd name="connsiteX825" fmla="*/ 10240148 w 12050057"/>
                <a:gd name="connsiteY825" fmla="*/ 1862272 h 6072782"/>
                <a:gd name="connsiteX826" fmla="*/ 10256271 w 12050057"/>
                <a:gd name="connsiteY826" fmla="*/ 1853450 h 6072782"/>
                <a:gd name="connsiteX827" fmla="*/ 10273078 w 12050057"/>
                <a:gd name="connsiteY827" fmla="*/ 1842347 h 6072782"/>
                <a:gd name="connsiteX828" fmla="*/ 9385054 w 12050057"/>
                <a:gd name="connsiteY828" fmla="*/ 1842347 h 6072782"/>
                <a:gd name="connsiteX829" fmla="*/ 9399960 w 12050057"/>
                <a:gd name="connsiteY829" fmla="*/ 1842347 h 6072782"/>
                <a:gd name="connsiteX830" fmla="*/ 9399960 w 12050057"/>
                <a:gd name="connsiteY830" fmla="*/ 2065327 h 6072782"/>
                <a:gd name="connsiteX831" fmla="*/ 9364672 w 12050057"/>
                <a:gd name="connsiteY831" fmla="*/ 2065327 h 6072782"/>
                <a:gd name="connsiteX832" fmla="*/ 9364672 w 12050057"/>
                <a:gd name="connsiteY832" fmla="*/ 1885543 h 6072782"/>
                <a:gd name="connsiteX833" fmla="*/ 9344063 w 12050057"/>
                <a:gd name="connsiteY833" fmla="*/ 1897179 h 6072782"/>
                <a:gd name="connsiteX834" fmla="*/ 9318890 w 12050057"/>
                <a:gd name="connsiteY834" fmla="*/ 1905621 h 6072782"/>
                <a:gd name="connsiteX835" fmla="*/ 9318890 w 12050057"/>
                <a:gd name="connsiteY835" fmla="*/ 1875505 h 6072782"/>
                <a:gd name="connsiteX836" fmla="*/ 9335925 w 12050057"/>
                <a:gd name="connsiteY836" fmla="*/ 1869421 h 6072782"/>
                <a:gd name="connsiteX837" fmla="*/ 9352124 w 12050057"/>
                <a:gd name="connsiteY837" fmla="*/ 1862272 h 6072782"/>
                <a:gd name="connsiteX838" fmla="*/ 9368247 w 12050057"/>
                <a:gd name="connsiteY838" fmla="*/ 1853450 h 6072782"/>
                <a:gd name="connsiteX839" fmla="*/ 9385054 w 12050057"/>
                <a:gd name="connsiteY839" fmla="*/ 1842347 h 6072782"/>
                <a:gd name="connsiteX840" fmla="*/ 7515223 w 12050057"/>
                <a:gd name="connsiteY840" fmla="*/ 1842347 h 6072782"/>
                <a:gd name="connsiteX841" fmla="*/ 7530129 w 12050057"/>
                <a:gd name="connsiteY841" fmla="*/ 1842347 h 6072782"/>
                <a:gd name="connsiteX842" fmla="*/ 7530129 w 12050057"/>
                <a:gd name="connsiteY842" fmla="*/ 2065327 h 6072782"/>
                <a:gd name="connsiteX843" fmla="*/ 7494841 w 12050057"/>
                <a:gd name="connsiteY843" fmla="*/ 2065327 h 6072782"/>
                <a:gd name="connsiteX844" fmla="*/ 7494841 w 12050057"/>
                <a:gd name="connsiteY844" fmla="*/ 1885543 h 6072782"/>
                <a:gd name="connsiteX845" fmla="*/ 7474232 w 12050057"/>
                <a:gd name="connsiteY845" fmla="*/ 1897179 h 6072782"/>
                <a:gd name="connsiteX846" fmla="*/ 7449059 w 12050057"/>
                <a:gd name="connsiteY846" fmla="*/ 1905621 h 6072782"/>
                <a:gd name="connsiteX847" fmla="*/ 7449059 w 12050057"/>
                <a:gd name="connsiteY847" fmla="*/ 1875505 h 6072782"/>
                <a:gd name="connsiteX848" fmla="*/ 7466094 w 12050057"/>
                <a:gd name="connsiteY848" fmla="*/ 1869421 h 6072782"/>
                <a:gd name="connsiteX849" fmla="*/ 7482293 w 12050057"/>
                <a:gd name="connsiteY849" fmla="*/ 1862272 h 6072782"/>
                <a:gd name="connsiteX850" fmla="*/ 7498416 w 12050057"/>
                <a:gd name="connsiteY850" fmla="*/ 1853450 h 6072782"/>
                <a:gd name="connsiteX851" fmla="*/ 7515223 w 12050057"/>
                <a:gd name="connsiteY851" fmla="*/ 1842347 h 6072782"/>
                <a:gd name="connsiteX852" fmla="*/ 6143623 w 12050057"/>
                <a:gd name="connsiteY852" fmla="*/ 1842347 h 6072782"/>
                <a:gd name="connsiteX853" fmla="*/ 6158529 w 12050057"/>
                <a:gd name="connsiteY853" fmla="*/ 1842347 h 6072782"/>
                <a:gd name="connsiteX854" fmla="*/ 6158529 w 12050057"/>
                <a:gd name="connsiteY854" fmla="*/ 2065327 h 6072782"/>
                <a:gd name="connsiteX855" fmla="*/ 6123241 w 12050057"/>
                <a:gd name="connsiteY855" fmla="*/ 2065327 h 6072782"/>
                <a:gd name="connsiteX856" fmla="*/ 6123241 w 12050057"/>
                <a:gd name="connsiteY856" fmla="*/ 1885543 h 6072782"/>
                <a:gd name="connsiteX857" fmla="*/ 6102632 w 12050057"/>
                <a:gd name="connsiteY857" fmla="*/ 1897179 h 6072782"/>
                <a:gd name="connsiteX858" fmla="*/ 6077459 w 12050057"/>
                <a:gd name="connsiteY858" fmla="*/ 1905621 h 6072782"/>
                <a:gd name="connsiteX859" fmla="*/ 6077459 w 12050057"/>
                <a:gd name="connsiteY859" fmla="*/ 1875505 h 6072782"/>
                <a:gd name="connsiteX860" fmla="*/ 6094494 w 12050057"/>
                <a:gd name="connsiteY860" fmla="*/ 1869421 h 6072782"/>
                <a:gd name="connsiteX861" fmla="*/ 6110693 w 12050057"/>
                <a:gd name="connsiteY861" fmla="*/ 1862272 h 6072782"/>
                <a:gd name="connsiteX862" fmla="*/ 6126816 w 12050057"/>
                <a:gd name="connsiteY862" fmla="*/ 1853450 h 6072782"/>
                <a:gd name="connsiteX863" fmla="*/ 6143623 w 12050057"/>
                <a:gd name="connsiteY863" fmla="*/ 1842347 h 6072782"/>
                <a:gd name="connsiteX864" fmla="*/ 4222720 w 12050057"/>
                <a:gd name="connsiteY864" fmla="*/ 1842347 h 6072782"/>
                <a:gd name="connsiteX865" fmla="*/ 4237627 w 12050057"/>
                <a:gd name="connsiteY865" fmla="*/ 1842347 h 6072782"/>
                <a:gd name="connsiteX866" fmla="*/ 4237627 w 12050057"/>
                <a:gd name="connsiteY866" fmla="*/ 2065327 h 6072782"/>
                <a:gd name="connsiteX867" fmla="*/ 4202339 w 12050057"/>
                <a:gd name="connsiteY867" fmla="*/ 2065327 h 6072782"/>
                <a:gd name="connsiteX868" fmla="*/ 4202339 w 12050057"/>
                <a:gd name="connsiteY868" fmla="*/ 1885543 h 6072782"/>
                <a:gd name="connsiteX869" fmla="*/ 4181729 w 12050057"/>
                <a:gd name="connsiteY869" fmla="*/ 1897179 h 6072782"/>
                <a:gd name="connsiteX870" fmla="*/ 4156556 w 12050057"/>
                <a:gd name="connsiteY870" fmla="*/ 1905621 h 6072782"/>
                <a:gd name="connsiteX871" fmla="*/ 4156556 w 12050057"/>
                <a:gd name="connsiteY871" fmla="*/ 1875505 h 6072782"/>
                <a:gd name="connsiteX872" fmla="*/ 4173591 w 12050057"/>
                <a:gd name="connsiteY872" fmla="*/ 1869421 h 6072782"/>
                <a:gd name="connsiteX873" fmla="*/ 4189791 w 12050057"/>
                <a:gd name="connsiteY873" fmla="*/ 1862272 h 6072782"/>
                <a:gd name="connsiteX874" fmla="*/ 4205915 w 12050057"/>
                <a:gd name="connsiteY874" fmla="*/ 1853450 h 6072782"/>
                <a:gd name="connsiteX875" fmla="*/ 4222720 w 12050057"/>
                <a:gd name="connsiteY875" fmla="*/ 1842347 h 6072782"/>
                <a:gd name="connsiteX876" fmla="*/ 3333016 w 12050057"/>
                <a:gd name="connsiteY876" fmla="*/ 1842347 h 6072782"/>
                <a:gd name="connsiteX877" fmla="*/ 3347923 w 12050057"/>
                <a:gd name="connsiteY877" fmla="*/ 1842347 h 6072782"/>
                <a:gd name="connsiteX878" fmla="*/ 3347923 w 12050057"/>
                <a:gd name="connsiteY878" fmla="*/ 2065327 h 6072782"/>
                <a:gd name="connsiteX879" fmla="*/ 3312636 w 12050057"/>
                <a:gd name="connsiteY879" fmla="*/ 2065327 h 6072782"/>
                <a:gd name="connsiteX880" fmla="*/ 3312636 w 12050057"/>
                <a:gd name="connsiteY880" fmla="*/ 1885543 h 6072782"/>
                <a:gd name="connsiteX881" fmla="*/ 3292025 w 12050057"/>
                <a:gd name="connsiteY881" fmla="*/ 1897179 h 6072782"/>
                <a:gd name="connsiteX882" fmla="*/ 3266852 w 12050057"/>
                <a:gd name="connsiteY882" fmla="*/ 1905621 h 6072782"/>
                <a:gd name="connsiteX883" fmla="*/ 3266852 w 12050057"/>
                <a:gd name="connsiteY883" fmla="*/ 1875505 h 6072782"/>
                <a:gd name="connsiteX884" fmla="*/ 3283887 w 12050057"/>
                <a:gd name="connsiteY884" fmla="*/ 1869421 h 6072782"/>
                <a:gd name="connsiteX885" fmla="*/ 3300088 w 12050057"/>
                <a:gd name="connsiteY885" fmla="*/ 1862272 h 6072782"/>
                <a:gd name="connsiteX886" fmla="*/ 3316209 w 12050057"/>
                <a:gd name="connsiteY886" fmla="*/ 1853450 h 6072782"/>
                <a:gd name="connsiteX887" fmla="*/ 3333016 w 12050057"/>
                <a:gd name="connsiteY887" fmla="*/ 1842347 h 6072782"/>
                <a:gd name="connsiteX888" fmla="*/ 1449476 w 12050057"/>
                <a:gd name="connsiteY888" fmla="*/ 1842347 h 6072782"/>
                <a:gd name="connsiteX889" fmla="*/ 1464382 w 12050057"/>
                <a:gd name="connsiteY889" fmla="*/ 1842347 h 6072782"/>
                <a:gd name="connsiteX890" fmla="*/ 1464382 w 12050057"/>
                <a:gd name="connsiteY890" fmla="*/ 2065327 h 6072782"/>
                <a:gd name="connsiteX891" fmla="*/ 1429094 w 12050057"/>
                <a:gd name="connsiteY891" fmla="*/ 2065327 h 6072782"/>
                <a:gd name="connsiteX892" fmla="*/ 1429094 w 12050057"/>
                <a:gd name="connsiteY892" fmla="*/ 1885543 h 6072782"/>
                <a:gd name="connsiteX893" fmla="*/ 1408485 w 12050057"/>
                <a:gd name="connsiteY893" fmla="*/ 1897179 h 6072782"/>
                <a:gd name="connsiteX894" fmla="*/ 1383312 w 12050057"/>
                <a:gd name="connsiteY894" fmla="*/ 1905621 h 6072782"/>
                <a:gd name="connsiteX895" fmla="*/ 1383312 w 12050057"/>
                <a:gd name="connsiteY895" fmla="*/ 1875505 h 6072782"/>
                <a:gd name="connsiteX896" fmla="*/ 1400347 w 12050057"/>
                <a:gd name="connsiteY896" fmla="*/ 1869421 h 6072782"/>
                <a:gd name="connsiteX897" fmla="*/ 1416546 w 12050057"/>
                <a:gd name="connsiteY897" fmla="*/ 1862272 h 6072782"/>
                <a:gd name="connsiteX898" fmla="*/ 1432669 w 12050057"/>
                <a:gd name="connsiteY898" fmla="*/ 1853450 h 6072782"/>
                <a:gd name="connsiteX899" fmla="*/ 1449476 w 12050057"/>
                <a:gd name="connsiteY899" fmla="*/ 1842347 h 6072782"/>
                <a:gd name="connsiteX900" fmla="*/ 77530 w 12050057"/>
                <a:gd name="connsiteY900" fmla="*/ 1842347 h 6072782"/>
                <a:gd name="connsiteX901" fmla="*/ 92436 w 12050057"/>
                <a:gd name="connsiteY901" fmla="*/ 1842347 h 6072782"/>
                <a:gd name="connsiteX902" fmla="*/ 92436 w 12050057"/>
                <a:gd name="connsiteY902" fmla="*/ 2065327 h 6072782"/>
                <a:gd name="connsiteX903" fmla="*/ 57148 w 12050057"/>
                <a:gd name="connsiteY903" fmla="*/ 2065327 h 6072782"/>
                <a:gd name="connsiteX904" fmla="*/ 57148 w 12050057"/>
                <a:gd name="connsiteY904" fmla="*/ 1885543 h 6072782"/>
                <a:gd name="connsiteX905" fmla="*/ 36539 w 12050057"/>
                <a:gd name="connsiteY905" fmla="*/ 1897179 h 6072782"/>
                <a:gd name="connsiteX906" fmla="*/ 11366 w 12050057"/>
                <a:gd name="connsiteY906" fmla="*/ 1905621 h 6072782"/>
                <a:gd name="connsiteX907" fmla="*/ 11366 w 12050057"/>
                <a:gd name="connsiteY907" fmla="*/ 1875505 h 6072782"/>
                <a:gd name="connsiteX908" fmla="*/ 28401 w 12050057"/>
                <a:gd name="connsiteY908" fmla="*/ 1869421 h 6072782"/>
                <a:gd name="connsiteX909" fmla="*/ 44600 w 12050057"/>
                <a:gd name="connsiteY909" fmla="*/ 1862272 h 6072782"/>
                <a:gd name="connsiteX910" fmla="*/ 60723 w 12050057"/>
                <a:gd name="connsiteY910" fmla="*/ 1853450 h 6072782"/>
                <a:gd name="connsiteX911" fmla="*/ 77530 w 12050057"/>
                <a:gd name="connsiteY911" fmla="*/ 1842347 h 6072782"/>
                <a:gd name="connsiteX912" fmla="*/ 12035151 w 12050057"/>
                <a:gd name="connsiteY912" fmla="*/ 1522003 h 6072782"/>
                <a:gd name="connsiteX913" fmla="*/ 12050057 w 12050057"/>
                <a:gd name="connsiteY913" fmla="*/ 1522003 h 6072782"/>
                <a:gd name="connsiteX914" fmla="*/ 12050057 w 12050057"/>
                <a:gd name="connsiteY914" fmla="*/ 1744983 h 6072782"/>
                <a:gd name="connsiteX915" fmla="*/ 12014769 w 12050057"/>
                <a:gd name="connsiteY915" fmla="*/ 1744983 h 6072782"/>
                <a:gd name="connsiteX916" fmla="*/ 12014769 w 12050057"/>
                <a:gd name="connsiteY916" fmla="*/ 1565200 h 6072782"/>
                <a:gd name="connsiteX917" fmla="*/ 11994160 w 12050057"/>
                <a:gd name="connsiteY917" fmla="*/ 1576835 h 6072782"/>
                <a:gd name="connsiteX918" fmla="*/ 11968987 w 12050057"/>
                <a:gd name="connsiteY918" fmla="*/ 1585277 h 6072782"/>
                <a:gd name="connsiteX919" fmla="*/ 11968987 w 12050057"/>
                <a:gd name="connsiteY919" fmla="*/ 1555161 h 6072782"/>
                <a:gd name="connsiteX920" fmla="*/ 11986022 w 12050057"/>
                <a:gd name="connsiteY920" fmla="*/ 1549077 h 6072782"/>
                <a:gd name="connsiteX921" fmla="*/ 12002221 w 12050057"/>
                <a:gd name="connsiteY921" fmla="*/ 1541928 h 6072782"/>
                <a:gd name="connsiteX922" fmla="*/ 12018344 w 12050057"/>
                <a:gd name="connsiteY922" fmla="*/ 1533106 h 6072782"/>
                <a:gd name="connsiteX923" fmla="*/ 12035151 w 12050057"/>
                <a:gd name="connsiteY923" fmla="*/ 1522003 h 6072782"/>
                <a:gd name="connsiteX924" fmla="*/ 10410370 w 12050057"/>
                <a:gd name="connsiteY924" fmla="*/ 1522003 h 6072782"/>
                <a:gd name="connsiteX925" fmla="*/ 10425276 w 12050057"/>
                <a:gd name="connsiteY925" fmla="*/ 1522003 h 6072782"/>
                <a:gd name="connsiteX926" fmla="*/ 10425276 w 12050057"/>
                <a:gd name="connsiteY926" fmla="*/ 1744983 h 6072782"/>
                <a:gd name="connsiteX927" fmla="*/ 10389988 w 12050057"/>
                <a:gd name="connsiteY927" fmla="*/ 1744983 h 6072782"/>
                <a:gd name="connsiteX928" fmla="*/ 10389988 w 12050057"/>
                <a:gd name="connsiteY928" fmla="*/ 1565200 h 6072782"/>
                <a:gd name="connsiteX929" fmla="*/ 10369379 w 12050057"/>
                <a:gd name="connsiteY929" fmla="*/ 1576835 h 6072782"/>
                <a:gd name="connsiteX930" fmla="*/ 10344206 w 12050057"/>
                <a:gd name="connsiteY930" fmla="*/ 1585277 h 6072782"/>
                <a:gd name="connsiteX931" fmla="*/ 10344206 w 12050057"/>
                <a:gd name="connsiteY931" fmla="*/ 1555161 h 6072782"/>
                <a:gd name="connsiteX932" fmla="*/ 10361241 w 12050057"/>
                <a:gd name="connsiteY932" fmla="*/ 1549077 h 6072782"/>
                <a:gd name="connsiteX933" fmla="*/ 10377440 w 12050057"/>
                <a:gd name="connsiteY933" fmla="*/ 1541928 h 6072782"/>
                <a:gd name="connsiteX934" fmla="*/ 10393563 w 12050057"/>
                <a:gd name="connsiteY934" fmla="*/ 1533106 h 6072782"/>
                <a:gd name="connsiteX935" fmla="*/ 10410370 w 12050057"/>
                <a:gd name="connsiteY935" fmla="*/ 1522003 h 6072782"/>
                <a:gd name="connsiteX936" fmla="*/ 9532663 w 12050057"/>
                <a:gd name="connsiteY936" fmla="*/ 1522003 h 6072782"/>
                <a:gd name="connsiteX937" fmla="*/ 9547569 w 12050057"/>
                <a:gd name="connsiteY937" fmla="*/ 1522003 h 6072782"/>
                <a:gd name="connsiteX938" fmla="*/ 9547569 w 12050057"/>
                <a:gd name="connsiteY938" fmla="*/ 1744983 h 6072782"/>
                <a:gd name="connsiteX939" fmla="*/ 9512281 w 12050057"/>
                <a:gd name="connsiteY939" fmla="*/ 1744983 h 6072782"/>
                <a:gd name="connsiteX940" fmla="*/ 9512281 w 12050057"/>
                <a:gd name="connsiteY940" fmla="*/ 1565200 h 6072782"/>
                <a:gd name="connsiteX941" fmla="*/ 9491672 w 12050057"/>
                <a:gd name="connsiteY941" fmla="*/ 1576835 h 6072782"/>
                <a:gd name="connsiteX942" fmla="*/ 9466499 w 12050057"/>
                <a:gd name="connsiteY942" fmla="*/ 1585277 h 6072782"/>
                <a:gd name="connsiteX943" fmla="*/ 9466499 w 12050057"/>
                <a:gd name="connsiteY943" fmla="*/ 1555161 h 6072782"/>
                <a:gd name="connsiteX944" fmla="*/ 9483534 w 12050057"/>
                <a:gd name="connsiteY944" fmla="*/ 1549077 h 6072782"/>
                <a:gd name="connsiteX945" fmla="*/ 9499733 w 12050057"/>
                <a:gd name="connsiteY945" fmla="*/ 1541928 h 6072782"/>
                <a:gd name="connsiteX946" fmla="*/ 9515856 w 12050057"/>
                <a:gd name="connsiteY946" fmla="*/ 1533106 h 6072782"/>
                <a:gd name="connsiteX947" fmla="*/ 9532663 w 12050057"/>
                <a:gd name="connsiteY947" fmla="*/ 1522003 h 6072782"/>
                <a:gd name="connsiteX948" fmla="*/ 8660208 w 12050057"/>
                <a:gd name="connsiteY948" fmla="*/ 1522003 h 6072782"/>
                <a:gd name="connsiteX949" fmla="*/ 8675114 w 12050057"/>
                <a:gd name="connsiteY949" fmla="*/ 1522003 h 6072782"/>
                <a:gd name="connsiteX950" fmla="*/ 8675114 w 12050057"/>
                <a:gd name="connsiteY950" fmla="*/ 1744983 h 6072782"/>
                <a:gd name="connsiteX951" fmla="*/ 8639826 w 12050057"/>
                <a:gd name="connsiteY951" fmla="*/ 1744983 h 6072782"/>
                <a:gd name="connsiteX952" fmla="*/ 8639826 w 12050057"/>
                <a:gd name="connsiteY952" fmla="*/ 1565200 h 6072782"/>
                <a:gd name="connsiteX953" fmla="*/ 8619217 w 12050057"/>
                <a:gd name="connsiteY953" fmla="*/ 1576835 h 6072782"/>
                <a:gd name="connsiteX954" fmla="*/ 8594044 w 12050057"/>
                <a:gd name="connsiteY954" fmla="*/ 1585277 h 6072782"/>
                <a:gd name="connsiteX955" fmla="*/ 8594044 w 12050057"/>
                <a:gd name="connsiteY955" fmla="*/ 1555161 h 6072782"/>
                <a:gd name="connsiteX956" fmla="*/ 8611079 w 12050057"/>
                <a:gd name="connsiteY956" fmla="*/ 1549077 h 6072782"/>
                <a:gd name="connsiteX957" fmla="*/ 8627278 w 12050057"/>
                <a:gd name="connsiteY957" fmla="*/ 1541928 h 6072782"/>
                <a:gd name="connsiteX958" fmla="*/ 8643401 w 12050057"/>
                <a:gd name="connsiteY958" fmla="*/ 1533106 h 6072782"/>
                <a:gd name="connsiteX959" fmla="*/ 8660208 w 12050057"/>
                <a:gd name="connsiteY959" fmla="*/ 1522003 h 6072782"/>
                <a:gd name="connsiteX960" fmla="*/ 6671076 w 12050057"/>
                <a:gd name="connsiteY960" fmla="*/ 1522003 h 6072782"/>
                <a:gd name="connsiteX961" fmla="*/ 6685982 w 12050057"/>
                <a:gd name="connsiteY961" fmla="*/ 1522003 h 6072782"/>
                <a:gd name="connsiteX962" fmla="*/ 6685982 w 12050057"/>
                <a:gd name="connsiteY962" fmla="*/ 1744983 h 6072782"/>
                <a:gd name="connsiteX963" fmla="*/ 6650694 w 12050057"/>
                <a:gd name="connsiteY963" fmla="*/ 1744983 h 6072782"/>
                <a:gd name="connsiteX964" fmla="*/ 6650694 w 12050057"/>
                <a:gd name="connsiteY964" fmla="*/ 1565200 h 6072782"/>
                <a:gd name="connsiteX965" fmla="*/ 6630085 w 12050057"/>
                <a:gd name="connsiteY965" fmla="*/ 1576835 h 6072782"/>
                <a:gd name="connsiteX966" fmla="*/ 6604912 w 12050057"/>
                <a:gd name="connsiteY966" fmla="*/ 1585277 h 6072782"/>
                <a:gd name="connsiteX967" fmla="*/ 6604912 w 12050057"/>
                <a:gd name="connsiteY967" fmla="*/ 1555161 h 6072782"/>
                <a:gd name="connsiteX968" fmla="*/ 6621947 w 12050057"/>
                <a:gd name="connsiteY968" fmla="*/ 1549077 h 6072782"/>
                <a:gd name="connsiteX969" fmla="*/ 6638146 w 12050057"/>
                <a:gd name="connsiteY969" fmla="*/ 1541928 h 6072782"/>
                <a:gd name="connsiteX970" fmla="*/ 6654269 w 12050057"/>
                <a:gd name="connsiteY970" fmla="*/ 1533106 h 6072782"/>
                <a:gd name="connsiteX971" fmla="*/ 6671076 w 12050057"/>
                <a:gd name="connsiteY971" fmla="*/ 1522003 h 6072782"/>
                <a:gd name="connsiteX972" fmla="*/ 5979098 w 12050057"/>
                <a:gd name="connsiteY972" fmla="*/ 1522003 h 6072782"/>
                <a:gd name="connsiteX973" fmla="*/ 5994004 w 12050057"/>
                <a:gd name="connsiteY973" fmla="*/ 1522003 h 6072782"/>
                <a:gd name="connsiteX974" fmla="*/ 5994004 w 12050057"/>
                <a:gd name="connsiteY974" fmla="*/ 1744983 h 6072782"/>
                <a:gd name="connsiteX975" fmla="*/ 5958716 w 12050057"/>
                <a:gd name="connsiteY975" fmla="*/ 1744983 h 6072782"/>
                <a:gd name="connsiteX976" fmla="*/ 5958716 w 12050057"/>
                <a:gd name="connsiteY976" fmla="*/ 1565200 h 6072782"/>
                <a:gd name="connsiteX977" fmla="*/ 5938107 w 12050057"/>
                <a:gd name="connsiteY977" fmla="*/ 1576835 h 6072782"/>
                <a:gd name="connsiteX978" fmla="*/ 5912934 w 12050057"/>
                <a:gd name="connsiteY978" fmla="*/ 1585277 h 6072782"/>
                <a:gd name="connsiteX979" fmla="*/ 5912934 w 12050057"/>
                <a:gd name="connsiteY979" fmla="*/ 1555161 h 6072782"/>
                <a:gd name="connsiteX980" fmla="*/ 5929969 w 12050057"/>
                <a:gd name="connsiteY980" fmla="*/ 1549077 h 6072782"/>
                <a:gd name="connsiteX981" fmla="*/ 5946168 w 12050057"/>
                <a:gd name="connsiteY981" fmla="*/ 1541928 h 6072782"/>
                <a:gd name="connsiteX982" fmla="*/ 5962291 w 12050057"/>
                <a:gd name="connsiteY982" fmla="*/ 1533106 h 6072782"/>
                <a:gd name="connsiteX983" fmla="*/ 5979098 w 12050057"/>
                <a:gd name="connsiteY983" fmla="*/ 1522003 h 6072782"/>
                <a:gd name="connsiteX984" fmla="*/ 4354317 w 12050057"/>
                <a:gd name="connsiteY984" fmla="*/ 1522003 h 6072782"/>
                <a:gd name="connsiteX985" fmla="*/ 4369223 w 12050057"/>
                <a:gd name="connsiteY985" fmla="*/ 1522003 h 6072782"/>
                <a:gd name="connsiteX986" fmla="*/ 4369223 w 12050057"/>
                <a:gd name="connsiteY986" fmla="*/ 1744983 h 6072782"/>
                <a:gd name="connsiteX987" fmla="*/ 4333935 w 12050057"/>
                <a:gd name="connsiteY987" fmla="*/ 1744983 h 6072782"/>
                <a:gd name="connsiteX988" fmla="*/ 4333935 w 12050057"/>
                <a:gd name="connsiteY988" fmla="*/ 1565200 h 6072782"/>
                <a:gd name="connsiteX989" fmla="*/ 4313326 w 12050057"/>
                <a:gd name="connsiteY989" fmla="*/ 1576835 h 6072782"/>
                <a:gd name="connsiteX990" fmla="*/ 4288153 w 12050057"/>
                <a:gd name="connsiteY990" fmla="*/ 1585277 h 6072782"/>
                <a:gd name="connsiteX991" fmla="*/ 4288153 w 12050057"/>
                <a:gd name="connsiteY991" fmla="*/ 1555161 h 6072782"/>
                <a:gd name="connsiteX992" fmla="*/ 4305188 w 12050057"/>
                <a:gd name="connsiteY992" fmla="*/ 1549077 h 6072782"/>
                <a:gd name="connsiteX993" fmla="*/ 4321387 w 12050057"/>
                <a:gd name="connsiteY993" fmla="*/ 1541928 h 6072782"/>
                <a:gd name="connsiteX994" fmla="*/ 4337511 w 12050057"/>
                <a:gd name="connsiteY994" fmla="*/ 1533106 h 6072782"/>
                <a:gd name="connsiteX995" fmla="*/ 4354317 w 12050057"/>
                <a:gd name="connsiteY995" fmla="*/ 1522003 h 6072782"/>
                <a:gd name="connsiteX996" fmla="*/ 3476610 w 12050057"/>
                <a:gd name="connsiteY996" fmla="*/ 1522003 h 6072782"/>
                <a:gd name="connsiteX997" fmla="*/ 3491517 w 12050057"/>
                <a:gd name="connsiteY997" fmla="*/ 1522003 h 6072782"/>
                <a:gd name="connsiteX998" fmla="*/ 3491517 w 12050057"/>
                <a:gd name="connsiteY998" fmla="*/ 1744983 h 6072782"/>
                <a:gd name="connsiteX999" fmla="*/ 3456229 w 12050057"/>
                <a:gd name="connsiteY999" fmla="*/ 1744983 h 6072782"/>
                <a:gd name="connsiteX1000" fmla="*/ 3456229 w 12050057"/>
                <a:gd name="connsiteY1000" fmla="*/ 1565200 h 6072782"/>
                <a:gd name="connsiteX1001" fmla="*/ 3435619 w 12050057"/>
                <a:gd name="connsiteY1001" fmla="*/ 1576835 h 6072782"/>
                <a:gd name="connsiteX1002" fmla="*/ 3410446 w 12050057"/>
                <a:gd name="connsiteY1002" fmla="*/ 1585277 h 6072782"/>
                <a:gd name="connsiteX1003" fmla="*/ 3410446 w 12050057"/>
                <a:gd name="connsiteY1003" fmla="*/ 1555161 h 6072782"/>
                <a:gd name="connsiteX1004" fmla="*/ 3427481 w 12050057"/>
                <a:gd name="connsiteY1004" fmla="*/ 1549077 h 6072782"/>
                <a:gd name="connsiteX1005" fmla="*/ 3443681 w 12050057"/>
                <a:gd name="connsiteY1005" fmla="*/ 1541928 h 6072782"/>
                <a:gd name="connsiteX1006" fmla="*/ 3459803 w 12050057"/>
                <a:gd name="connsiteY1006" fmla="*/ 1533106 h 6072782"/>
                <a:gd name="connsiteX1007" fmla="*/ 3476610 w 12050057"/>
                <a:gd name="connsiteY1007" fmla="*/ 1522003 h 6072782"/>
                <a:gd name="connsiteX1008" fmla="*/ 2604155 w 12050057"/>
                <a:gd name="connsiteY1008" fmla="*/ 1522003 h 6072782"/>
                <a:gd name="connsiteX1009" fmla="*/ 2619062 w 12050057"/>
                <a:gd name="connsiteY1009" fmla="*/ 1522003 h 6072782"/>
                <a:gd name="connsiteX1010" fmla="*/ 2619062 w 12050057"/>
                <a:gd name="connsiteY1010" fmla="*/ 1744983 h 6072782"/>
                <a:gd name="connsiteX1011" fmla="*/ 2583774 w 12050057"/>
                <a:gd name="connsiteY1011" fmla="*/ 1744983 h 6072782"/>
                <a:gd name="connsiteX1012" fmla="*/ 2583774 w 12050057"/>
                <a:gd name="connsiteY1012" fmla="*/ 1565200 h 6072782"/>
                <a:gd name="connsiteX1013" fmla="*/ 2563164 w 12050057"/>
                <a:gd name="connsiteY1013" fmla="*/ 1576835 h 6072782"/>
                <a:gd name="connsiteX1014" fmla="*/ 2537992 w 12050057"/>
                <a:gd name="connsiteY1014" fmla="*/ 1585277 h 6072782"/>
                <a:gd name="connsiteX1015" fmla="*/ 2537992 w 12050057"/>
                <a:gd name="connsiteY1015" fmla="*/ 1555161 h 6072782"/>
                <a:gd name="connsiteX1016" fmla="*/ 2555027 w 12050057"/>
                <a:gd name="connsiteY1016" fmla="*/ 1549077 h 6072782"/>
                <a:gd name="connsiteX1017" fmla="*/ 2571226 w 12050057"/>
                <a:gd name="connsiteY1017" fmla="*/ 1541928 h 6072782"/>
                <a:gd name="connsiteX1018" fmla="*/ 2587348 w 12050057"/>
                <a:gd name="connsiteY1018" fmla="*/ 1533106 h 6072782"/>
                <a:gd name="connsiteX1019" fmla="*/ 2604155 w 12050057"/>
                <a:gd name="connsiteY1019" fmla="*/ 1522003 h 6072782"/>
                <a:gd name="connsiteX1020" fmla="*/ 619557 w 12050057"/>
                <a:gd name="connsiteY1020" fmla="*/ 1522003 h 6072782"/>
                <a:gd name="connsiteX1021" fmla="*/ 634463 w 12050057"/>
                <a:gd name="connsiteY1021" fmla="*/ 1522003 h 6072782"/>
                <a:gd name="connsiteX1022" fmla="*/ 634463 w 12050057"/>
                <a:gd name="connsiteY1022" fmla="*/ 1744983 h 6072782"/>
                <a:gd name="connsiteX1023" fmla="*/ 599175 w 12050057"/>
                <a:gd name="connsiteY1023" fmla="*/ 1744983 h 6072782"/>
                <a:gd name="connsiteX1024" fmla="*/ 599175 w 12050057"/>
                <a:gd name="connsiteY1024" fmla="*/ 1565200 h 6072782"/>
                <a:gd name="connsiteX1025" fmla="*/ 578566 w 12050057"/>
                <a:gd name="connsiteY1025" fmla="*/ 1576835 h 6072782"/>
                <a:gd name="connsiteX1026" fmla="*/ 553393 w 12050057"/>
                <a:gd name="connsiteY1026" fmla="*/ 1585277 h 6072782"/>
                <a:gd name="connsiteX1027" fmla="*/ 553393 w 12050057"/>
                <a:gd name="connsiteY1027" fmla="*/ 1555161 h 6072782"/>
                <a:gd name="connsiteX1028" fmla="*/ 570428 w 12050057"/>
                <a:gd name="connsiteY1028" fmla="*/ 1549077 h 6072782"/>
                <a:gd name="connsiteX1029" fmla="*/ 586627 w 12050057"/>
                <a:gd name="connsiteY1029" fmla="*/ 1541928 h 6072782"/>
                <a:gd name="connsiteX1030" fmla="*/ 602750 w 12050057"/>
                <a:gd name="connsiteY1030" fmla="*/ 1533107 h 6072782"/>
                <a:gd name="connsiteX1031" fmla="*/ 619557 w 12050057"/>
                <a:gd name="connsiteY1031" fmla="*/ 1522003 h 6072782"/>
                <a:gd name="connsiteX1032" fmla="*/ 10298213 w 12050057"/>
                <a:gd name="connsiteY1032" fmla="*/ 1208699 h 6072782"/>
                <a:gd name="connsiteX1033" fmla="*/ 10313119 w 12050057"/>
                <a:gd name="connsiteY1033" fmla="*/ 1208699 h 6072782"/>
                <a:gd name="connsiteX1034" fmla="*/ 10313119 w 12050057"/>
                <a:gd name="connsiteY1034" fmla="*/ 1431679 h 6072782"/>
                <a:gd name="connsiteX1035" fmla="*/ 10277831 w 12050057"/>
                <a:gd name="connsiteY1035" fmla="*/ 1431679 h 6072782"/>
                <a:gd name="connsiteX1036" fmla="*/ 10277831 w 12050057"/>
                <a:gd name="connsiteY1036" fmla="*/ 1251896 h 6072782"/>
                <a:gd name="connsiteX1037" fmla="*/ 10257222 w 12050057"/>
                <a:gd name="connsiteY1037" fmla="*/ 1263531 h 6072782"/>
                <a:gd name="connsiteX1038" fmla="*/ 10232049 w 12050057"/>
                <a:gd name="connsiteY1038" fmla="*/ 1271973 h 6072782"/>
                <a:gd name="connsiteX1039" fmla="*/ 10232049 w 12050057"/>
                <a:gd name="connsiteY1039" fmla="*/ 1241857 h 6072782"/>
                <a:gd name="connsiteX1040" fmla="*/ 10249084 w 12050057"/>
                <a:gd name="connsiteY1040" fmla="*/ 1235773 h 6072782"/>
                <a:gd name="connsiteX1041" fmla="*/ 10265283 w 12050057"/>
                <a:gd name="connsiteY1041" fmla="*/ 1228624 h 6072782"/>
                <a:gd name="connsiteX1042" fmla="*/ 10281406 w 12050057"/>
                <a:gd name="connsiteY1042" fmla="*/ 1219802 h 6072782"/>
                <a:gd name="connsiteX1043" fmla="*/ 10298213 w 12050057"/>
                <a:gd name="connsiteY1043" fmla="*/ 1208699 h 6072782"/>
                <a:gd name="connsiteX1044" fmla="*/ 7177509 w 12050057"/>
                <a:gd name="connsiteY1044" fmla="*/ 1208699 h 6072782"/>
                <a:gd name="connsiteX1045" fmla="*/ 7192415 w 12050057"/>
                <a:gd name="connsiteY1045" fmla="*/ 1208699 h 6072782"/>
                <a:gd name="connsiteX1046" fmla="*/ 7192415 w 12050057"/>
                <a:gd name="connsiteY1046" fmla="*/ 1431679 h 6072782"/>
                <a:gd name="connsiteX1047" fmla="*/ 7157127 w 12050057"/>
                <a:gd name="connsiteY1047" fmla="*/ 1431679 h 6072782"/>
                <a:gd name="connsiteX1048" fmla="*/ 7157127 w 12050057"/>
                <a:gd name="connsiteY1048" fmla="*/ 1251896 h 6072782"/>
                <a:gd name="connsiteX1049" fmla="*/ 7136518 w 12050057"/>
                <a:gd name="connsiteY1049" fmla="*/ 1263531 h 6072782"/>
                <a:gd name="connsiteX1050" fmla="*/ 7111345 w 12050057"/>
                <a:gd name="connsiteY1050" fmla="*/ 1271973 h 6072782"/>
                <a:gd name="connsiteX1051" fmla="*/ 7111345 w 12050057"/>
                <a:gd name="connsiteY1051" fmla="*/ 1241857 h 6072782"/>
                <a:gd name="connsiteX1052" fmla="*/ 7128380 w 12050057"/>
                <a:gd name="connsiteY1052" fmla="*/ 1235773 h 6072782"/>
                <a:gd name="connsiteX1053" fmla="*/ 7144579 w 12050057"/>
                <a:gd name="connsiteY1053" fmla="*/ 1228624 h 6072782"/>
                <a:gd name="connsiteX1054" fmla="*/ 7160702 w 12050057"/>
                <a:gd name="connsiteY1054" fmla="*/ 1219802 h 6072782"/>
                <a:gd name="connsiteX1055" fmla="*/ 7177509 w 12050057"/>
                <a:gd name="connsiteY1055" fmla="*/ 1208699 h 6072782"/>
                <a:gd name="connsiteX1056" fmla="*/ 6285479 w 12050057"/>
                <a:gd name="connsiteY1056" fmla="*/ 1208699 h 6072782"/>
                <a:gd name="connsiteX1057" fmla="*/ 6300385 w 12050057"/>
                <a:gd name="connsiteY1057" fmla="*/ 1208699 h 6072782"/>
                <a:gd name="connsiteX1058" fmla="*/ 6300385 w 12050057"/>
                <a:gd name="connsiteY1058" fmla="*/ 1431679 h 6072782"/>
                <a:gd name="connsiteX1059" fmla="*/ 6265097 w 12050057"/>
                <a:gd name="connsiteY1059" fmla="*/ 1431679 h 6072782"/>
                <a:gd name="connsiteX1060" fmla="*/ 6265097 w 12050057"/>
                <a:gd name="connsiteY1060" fmla="*/ 1251896 h 6072782"/>
                <a:gd name="connsiteX1061" fmla="*/ 6244488 w 12050057"/>
                <a:gd name="connsiteY1061" fmla="*/ 1263531 h 6072782"/>
                <a:gd name="connsiteX1062" fmla="*/ 6219315 w 12050057"/>
                <a:gd name="connsiteY1062" fmla="*/ 1271973 h 6072782"/>
                <a:gd name="connsiteX1063" fmla="*/ 6219315 w 12050057"/>
                <a:gd name="connsiteY1063" fmla="*/ 1241857 h 6072782"/>
                <a:gd name="connsiteX1064" fmla="*/ 6236350 w 12050057"/>
                <a:gd name="connsiteY1064" fmla="*/ 1235773 h 6072782"/>
                <a:gd name="connsiteX1065" fmla="*/ 6252549 w 12050057"/>
                <a:gd name="connsiteY1065" fmla="*/ 1228624 h 6072782"/>
                <a:gd name="connsiteX1066" fmla="*/ 6268672 w 12050057"/>
                <a:gd name="connsiteY1066" fmla="*/ 1219802 h 6072782"/>
                <a:gd name="connsiteX1067" fmla="*/ 6285479 w 12050057"/>
                <a:gd name="connsiteY1067" fmla="*/ 1208699 h 6072782"/>
                <a:gd name="connsiteX1068" fmla="*/ 4235746 w 12050057"/>
                <a:gd name="connsiteY1068" fmla="*/ 1208699 h 6072782"/>
                <a:gd name="connsiteX1069" fmla="*/ 4250651 w 12050057"/>
                <a:gd name="connsiteY1069" fmla="*/ 1208699 h 6072782"/>
                <a:gd name="connsiteX1070" fmla="*/ 4250651 w 12050057"/>
                <a:gd name="connsiteY1070" fmla="*/ 1431679 h 6072782"/>
                <a:gd name="connsiteX1071" fmla="*/ 4215364 w 12050057"/>
                <a:gd name="connsiteY1071" fmla="*/ 1431679 h 6072782"/>
                <a:gd name="connsiteX1072" fmla="*/ 4215364 w 12050057"/>
                <a:gd name="connsiteY1072" fmla="*/ 1251896 h 6072782"/>
                <a:gd name="connsiteX1073" fmla="*/ 4194755 w 12050057"/>
                <a:gd name="connsiteY1073" fmla="*/ 1263531 h 6072782"/>
                <a:gd name="connsiteX1074" fmla="*/ 4169582 w 12050057"/>
                <a:gd name="connsiteY1074" fmla="*/ 1271973 h 6072782"/>
                <a:gd name="connsiteX1075" fmla="*/ 4169582 w 12050057"/>
                <a:gd name="connsiteY1075" fmla="*/ 1241857 h 6072782"/>
                <a:gd name="connsiteX1076" fmla="*/ 4186616 w 12050057"/>
                <a:gd name="connsiteY1076" fmla="*/ 1235773 h 6072782"/>
                <a:gd name="connsiteX1077" fmla="*/ 4202816 w 12050057"/>
                <a:gd name="connsiteY1077" fmla="*/ 1228624 h 6072782"/>
                <a:gd name="connsiteX1078" fmla="*/ 4218938 w 12050057"/>
                <a:gd name="connsiteY1078" fmla="*/ 1219802 h 6072782"/>
                <a:gd name="connsiteX1079" fmla="*/ 4235746 w 12050057"/>
                <a:gd name="connsiteY1079" fmla="*/ 1208699 h 6072782"/>
                <a:gd name="connsiteX1080" fmla="*/ 1114158 w 12050057"/>
                <a:gd name="connsiteY1080" fmla="*/ 1208699 h 6072782"/>
                <a:gd name="connsiteX1081" fmla="*/ 1129064 w 12050057"/>
                <a:gd name="connsiteY1081" fmla="*/ 1208699 h 6072782"/>
                <a:gd name="connsiteX1082" fmla="*/ 1129064 w 12050057"/>
                <a:gd name="connsiteY1082" fmla="*/ 1431679 h 6072782"/>
                <a:gd name="connsiteX1083" fmla="*/ 1093776 w 12050057"/>
                <a:gd name="connsiteY1083" fmla="*/ 1431679 h 6072782"/>
                <a:gd name="connsiteX1084" fmla="*/ 1093776 w 12050057"/>
                <a:gd name="connsiteY1084" fmla="*/ 1251896 h 6072782"/>
                <a:gd name="connsiteX1085" fmla="*/ 1073167 w 12050057"/>
                <a:gd name="connsiteY1085" fmla="*/ 1263531 h 6072782"/>
                <a:gd name="connsiteX1086" fmla="*/ 1047995 w 12050057"/>
                <a:gd name="connsiteY1086" fmla="*/ 1271973 h 6072782"/>
                <a:gd name="connsiteX1087" fmla="*/ 1047995 w 12050057"/>
                <a:gd name="connsiteY1087" fmla="*/ 1241857 h 6072782"/>
                <a:gd name="connsiteX1088" fmla="*/ 1065030 w 12050057"/>
                <a:gd name="connsiteY1088" fmla="*/ 1235773 h 6072782"/>
                <a:gd name="connsiteX1089" fmla="*/ 1081228 w 12050057"/>
                <a:gd name="connsiteY1089" fmla="*/ 1228624 h 6072782"/>
                <a:gd name="connsiteX1090" fmla="*/ 1097351 w 12050057"/>
                <a:gd name="connsiteY1090" fmla="*/ 1219802 h 6072782"/>
                <a:gd name="connsiteX1091" fmla="*/ 1114158 w 12050057"/>
                <a:gd name="connsiteY1091" fmla="*/ 1208699 h 6072782"/>
                <a:gd name="connsiteX1092" fmla="*/ 220216 w 12050057"/>
                <a:gd name="connsiteY1092" fmla="*/ 1208699 h 6072782"/>
                <a:gd name="connsiteX1093" fmla="*/ 235122 w 12050057"/>
                <a:gd name="connsiteY1093" fmla="*/ 1208699 h 6072782"/>
                <a:gd name="connsiteX1094" fmla="*/ 235122 w 12050057"/>
                <a:gd name="connsiteY1094" fmla="*/ 1431679 h 6072782"/>
                <a:gd name="connsiteX1095" fmla="*/ 199834 w 12050057"/>
                <a:gd name="connsiteY1095" fmla="*/ 1431679 h 6072782"/>
                <a:gd name="connsiteX1096" fmla="*/ 199834 w 12050057"/>
                <a:gd name="connsiteY1096" fmla="*/ 1251896 h 6072782"/>
                <a:gd name="connsiteX1097" fmla="*/ 179225 w 12050057"/>
                <a:gd name="connsiteY1097" fmla="*/ 1263531 h 6072782"/>
                <a:gd name="connsiteX1098" fmla="*/ 154052 w 12050057"/>
                <a:gd name="connsiteY1098" fmla="*/ 1271973 h 6072782"/>
                <a:gd name="connsiteX1099" fmla="*/ 154052 w 12050057"/>
                <a:gd name="connsiteY1099" fmla="*/ 1241857 h 6072782"/>
                <a:gd name="connsiteX1100" fmla="*/ 171087 w 12050057"/>
                <a:gd name="connsiteY1100" fmla="*/ 1235773 h 6072782"/>
                <a:gd name="connsiteX1101" fmla="*/ 187287 w 12050057"/>
                <a:gd name="connsiteY1101" fmla="*/ 1228624 h 6072782"/>
                <a:gd name="connsiteX1102" fmla="*/ 203409 w 12050057"/>
                <a:gd name="connsiteY1102" fmla="*/ 1219802 h 6072782"/>
                <a:gd name="connsiteX1103" fmla="*/ 220216 w 12050057"/>
                <a:gd name="connsiteY1103" fmla="*/ 1208699 h 6072782"/>
                <a:gd name="connsiteX1104" fmla="*/ 11447193 w 12050057"/>
                <a:gd name="connsiteY1104" fmla="*/ 915060 h 6072782"/>
                <a:gd name="connsiteX1105" fmla="*/ 11462099 w 12050057"/>
                <a:gd name="connsiteY1105" fmla="*/ 915060 h 6072782"/>
                <a:gd name="connsiteX1106" fmla="*/ 11462099 w 12050057"/>
                <a:gd name="connsiteY1106" fmla="*/ 1138040 h 6072782"/>
                <a:gd name="connsiteX1107" fmla="*/ 11426811 w 12050057"/>
                <a:gd name="connsiteY1107" fmla="*/ 1138040 h 6072782"/>
                <a:gd name="connsiteX1108" fmla="*/ 11426811 w 12050057"/>
                <a:gd name="connsiteY1108" fmla="*/ 958257 h 6072782"/>
                <a:gd name="connsiteX1109" fmla="*/ 11406202 w 12050057"/>
                <a:gd name="connsiteY1109" fmla="*/ 969892 h 6072782"/>
                <a:gd name="connsiteX1110" fmla="*/ 11381029 w 12050057"/>
                <a:gd name="connsiteY1110" fmla="*/ 978334 h 6072782"/>
                <a:gd name="connsiteX1111" fmla="*/ 11381029 w 12050057"/>
                <a:gd name="connsiteY1111" fmla="*/ 948218 h 6072782"/>
                <a:gd name="connsiteX1112" fmla="*/ 11398064 w 12050057"/>
                <a:gd name="connsiteY1112" fmla="*/ 942134 h 6072782"/>
                <a:gd name="connsiteX1113" fmla="*/ 11414263 w 12050057"/>
                <a:gd name="connsiteY1113" fmla="*/ 934985 h 6072782"/>
                <a:gd name="connsiteX1114" fmla="*/ 11430386 w 12050057"/>
                <a:gd name="connsiteY1114" fmla="*/ 926163 h 6072782"/>
                <a:gd name="connsiteX1115" fmla="*/ 11447193 w 12050057"/>
                <a:gd name="connsiteY1115" fmla="*/ 915060 h 6072782"/>
                <a:gd name="connsiteX1116" fmla="*/ 9440313 w 12050057"/>
                <a:gd name="connsiteY1116" fmla="*/ 915060 h 6072782"/>
                <a:gd name="connsiteX1117" fmla="*/ 9455219 w 12050057"/>
                <a:gd name="connsiteY1117" fmla="*/ 915060 h 6072782"/>
                <a:gd name="connsiteX1118" fmla="*/ 9455219 w 12050057"/>
                <a:gd name="connsiteY1118" fmla="*/ 1138040 h 6072782"/>
                <a:gd name="connsiteX1119" fmla="*/ 9419931 w 12050057"/>
                <a:gd name="connsiteY1119" fmla="*/ 1138040 h 6072782"/>
                <a:gd name="connsiteX1120" fmla="*/ 9419931 w 12050057"/>
                <a:gd name="connsiteY1120" fmla="*/ 958257 h 6072782"/>
                <a:gd name="connsiteX1121" fmla="*/ 9399322 w 12050057"/>
                <a:gd name="connsiteY1121" fmla="*/ 969892 h 6072782"/>
                <a:gd name="connsiteX1122" fmla="*/ 9374149 w 12050057"/>
                <a:gd name="connsiteY1122" fmla="*/ 978334 h 6072782"/>
                <a:gd name="connsiteX1123" fmla="*/ 9374149 w 12050057"/>
                <a:gd name="connsiteY1123" fmla="*/ 948218 h 6072782"/>
                <a:gd name="connsiteX1124" fmla="*/ 9391184 w 12050057"/>
                <a:gd name="connsiteY1124" fmla="*/ 942134 h 6072782"/>
                <a:gd name="connsiteX1125" fmla="*/ 9407383 w 12050057"/>
                <a:gd name="connsiteY1125" fmla="*/ 934985 h 6072782"/>
                <a:gd name="connsiteX1126" fmla="*/ 9423506 w 12050057"/>
                <a:gd name="connsiteY1126" fmla="*/ 926163 h 6072782"/>
                <a:gd name="connsiteX1127" fmla="*/ 9440313 w 12050057"/>
                <a:gd name="connsiteY1127" fmla="*/ 915060 h 6072782"/>
                <a:gd name="connsiteX1128" fmla="*/ 8939983 w 12050057"/>
                <a:gd name="connsiteY1128" fmla="*/ 915060 h 6072782"/>
                <a:gd name="connsiteX1129" fmla="*/ 8954889 w 12050057"/>
                <a:gd name="connsiteY1129" fmla="*/ 915060 h 6072782"/>
                <a:gd name="connsiteX1130" fmla="*/ 8954889 w 12050057"/>
                <a:gd name="connsiteY1130" fmla="*/ 1138040 h 6072782"/>
                <a:gd name="connsiteX1131" fmla="*/ 8919601 w 12050057"/>
                <a:gd name="connsiteY1131" fmla="*/ 1138040 h 6072782"/>
                <a:gd name="connsiteX1132" fmla="*/ 8919601 w 12050057"/>
                <a:gd name="connsiteY1132" fmla="*/ 958257 h 6072782"/>
                <a:gd name="connsiteX1133" fmla="*/ 8898992 w 12050057"/>
                <a:gd name="connsiteY1133" fmla="*/ 969892 h 6072782"/>
                <a:gd name="connsiteX1134" fmla="*/ 8873819 w 12050057"/>
                <a:gd name="connsiteY1134" fmla="*/ 978334 h 6072782"/>
                <a:gd name="connsiteX1135" fmla="*/ 8873819 w 12050057"/>
                <a:gd name="connsiteY1135" fmla="*/ 948218 h 6072782"/>
                <a:gd name="connsiteX1136" fmla="*/ 8890854 w 12050057"/>
                <a:gd name="connsiteY1136" fmla="*/ 942134 h 6072782"/>
                <a:gd name="connsiteX1137" fmla="*/ 8907053 w 12050057"/>
                <a:gd name="connsiteY1137" fmla="*/ 934985 h 6072782"/>
                <a:gd name="connsiteX1138" fmla="*/ 8923176 w 12050057"/>
                <a:gd name="connsiteY1138" fmla="*/ 926163 h 6072782"/>
                <a:gd name="connsiteX1139" fmla="*/ 8939983 w 12050057"/>
                <a:gd name="connsiteY1139" fmla="*/ 915060 h 6072782"/>
                <a:gd name="connsiteX1140" fmla="*/ 7311086 w 12050057"/>
                <a:gd name="connsiteY1140" fmla="*/ 915060 h 6072782"/>
                <a:gd name="connsiteX1141" fmla="*/ 7325992 w 12050057"/>
                <a:gd name="connsiteY1141" fmla="*/ 915060 h 6072782"/>
                <a:gd name="connsiteX1142" fmla="*/ 7325992 w 12050057"/>
                <a:gd name="connsiteY1142" fmla="*/ 1138040 h 6072782"/>
                <a:gd name="connsiteX1143" fmla="*/ 7290704 w 12050057"/>
                <a:gd name="connsiteY1143" fmla="*/ 1138040 h 6072782"/>
                <a:gd name="connsiteX1144" fmla="*/ 7290704 w 12050057"/>
                <a:gd name="connsiteY1144" fmla="*/ 958257 h 6072782"/>
                <a:gd name="connsiteX1145" fmla="*/ 7270095 w 12050057"/>
                <a:gd name="connsiteY1145" fmla="*/ 969892 h 6072782"/>
                <a:gd name="connsiteX1146" fmla="*/ 7244922 w 12050057"/>
                <a:gd name="connsiteY1146" fmla="*/ 978334 h 6072782"/>
                <a:gd name="connsiteX1147" fmla="*/ 7244922 w 12050057"/>
                <a:gd name="connsiteY1147" fmla="*/ 948218 h 6072782"/>
                <a:gd name="connsiteX1148" fmla="*/ 7261957 w 12050057"/>
                <a:gd name="connsiteY1148" fmla="*/ 942134 h 6072782"/>
                <a:gd name="connsiteX1149" fmla="*/ 7278156 w 12050057"/>
                <a:gd name="connsiteY1149" fmla="*/ 934985 h 6072782"/>
                <a:gd name="connsiteX1150" fmla="*/ 7294279 w 12050057"/>
                <a:gd name="connsiteY1150" fmla="*/ 926163 h 6072782"/>
                <a:gd name="connsiteX1151" fmla="*/ 7311086 w 12050057"/>
                <a:gd name="connsiteY1151" fmla="*/ 915060 h 6072782"/>
                <a:gd name="connsiteX1152" fmla="*/ 6441143 w 12050057"/>
                <a:gd name="connsiteY1152" fmla="*/ 915060 h 6072782"/>
                <a:gd name="connsiteX1153" fmla="*/ 6456049 w 12050057"/>
                <a:gd name="connsiteY1153" fmla="*/ 915060 h 6072782"/>
                <a:gd name="connsiteX1154" fmla="*/ 6456049 w 12050057"/>
                <a:gd name="connsiteY1154" fmla="*/ 1138040 h 6072782"/>
                <a:gd name="connsiteX1155" fmla="*/ 6420761 w 12050057"/>
                <a:gd name="connsiteY1155" fmla="*/ 1138040 h 6072782"/>
                <a:gd name="connsiteX1156" fmla="*/ 6420761 w 12050057"/>
                <a:gd name="connsiteY1156" fmla="*/ 958257 h 6072782"/>
                <a:gd name="connsiteX1157" fmla="*/ 6400152 w 12050057"/>
                <a:gd name="connsiteY1157" fmla="*/ 969892 h 6072782"/>
                <a:gd name="connsiteX1158" fmla="*/ 6374979 w 12050057"/>
                <a:gd name="connsiteY1158" fmla="*/ 978334 h 6072782"/>
                <a:gd name="connsiteX1159" fmla="*/ 6374979 w 12050057"/>
                <a:gd name="connsiteY1159" fmla="*/ 948218 h 6072782"/>
                <a:gd name="connsiteX1160" fmla="*/ 6392014 w 12050057"/>
                <a:gd name="connsiteY1160" fmla="*/ 942134 h 6072782"/>
                <a:gd name="connsiteX1161" fmla="*/ 6408213 w 12050057"/>
                <a:gd name="connsiteY1161" fmla="*/ 934985 h 6072782"/>
                <a:gd name="connsiteX1162" fmla="*/ 6424336 w 12050057"/>
                <a:gd name="connsiteY1162" fmla="*/ 926163 h 6072782"/>
                <a:gd name="connsiteX1163" fmla="*/ 6441143 w 12050057"/>
                <a:gd name="connsiteY1163" fmla="*/ 915060 h 6072782"/>
                <a:gd name="connsiteX1164" fmla="*/ 5371778 w 12050057"/>
                <a:gd name="connsiteY1164" fmla="*/ 915060 h 6072782"/>
                <a:gd name="connsiteX1165" fmla="*/ 5386684 w 12050057"/>
                <a:gd name="connsiteY1165" fmla="*/ 915060 h 6072782"/>
                <a:gd name="connsiteX1166" fmla="*/ 5386684 w 12050057"/>
                <a:gd name="connsiteY1166" fmla="*/ 1138040 h 6072782"/>
                <a:gd name="connsiteX1167" fmla="*/ 5351396 w 12050057"/>
                <a:gd name="connsiteY1167" fmla="*/ 1138040 h 6072782"/>
                <a:gd name="connsiteX1168" fmla="*/ 5351396 w 12050057"/>
                <a:gd name="connsiteY1168" fmla="*/ 958257 h 6072782"/>
                <a:gd name="connsiteX1169" fmla="*/ 5330786 w 12050057"/>
                <a:gd name="connsiteY1169" fmla="*/ 969892 h 6072782"/>
                <a:gd name="connsiteX1170" fmla="*/ 5305614 w 12050057"/>
                <a:gd name="connsiteY1170" fmla="*/ 978334 h 6072782"/>
                <a:gd name="connsiteX1171" fmla="*/ 5305614 w 12050057"/>
                <a:gd name="connsiteY1171" fmla="*/ 948218 h 6072782"/>
                <a:gd name="connsiteX1172" fmla="*/ 5322648 w 12050057"/>
                <a:gd name="connsiteY1172" fmla="*/ 942134 h 6072782"/>
                <a:gd name="connsiteX1173" fmla="*/ 5338848 w 12050057"/>
                <a:gd name="connsiteY1173" fmla="*/ 934985 h 6072782"/>
                <a:gd name="connsiteX1174" fmla="*/ 5354970 w 12050057"/>
                <a:gd name="connsiteY1174" fmla="*/ 926163 h 6072782"/>
                <a:gd name="connsiteX1175" fmla="*/ 5371778 w 12050057"/>
                <a:gd name="connsiteY1175" fmla="*/ 915060 h 6072782"/>
                <a:gd name="connsiteX1176" fmla="*/ 3379468 w 12050057"/>
                <a:gd name="connsiteY1176" fmla="*/ 915060 h 6072782"/>
                <a:gd name="connsiteX1177" fmla="*/ 3394374 w 12050057"/>
                <a:gd name="connsiteY1177" fmla="*/ 915060 h 6072782"/>
                <a:gd name="connsiteX1178" fmla="*/ 3394374 w 12050057"/>
                <a:gd name="connsiteY1178" fmla="*/ 1138040 h 6072782"/>
                <a:gd name="connsiteX1179" fmla="*/ 3359086 w 12050057"/>
                <a:gd name="connsiteY1179" fmla="*/ 1138040 h 6072782"/>
                <a:gd name="connsiteX1180" fmla="*/ 3359086 w 12050057"/>
                <a:gd name="connsiteY1180" fmla="*/ 958257 h 6072782"/>
                <a:gd name="connsiteX1181" fmla="*/ 3338478 w 12050057"/>
                <a:gd name="connsiteY1181" fmla="*/ 969892 h 6072782"/>
                <a:gd name="connsiteX1182" fmla="*/ 3313304 w 12050057"/>
                <a:gd name="connsiteY1182" fmla="*/ 978334 h 6072782"/>
                <a:gd name="connsiteX1183" fmla="*/ 3313304 w 12050057"/>
                <a:gd name="connsiteY1183" fmla="*/ 948218 h 6072782"/>
                <a:gd name="connsiteX1184" fmla="*/ 3330339 w 12050057"/>
                <a:gd name="connsiteY1184" fmla="*/ 942134 h 6072782"/>
                <a:gd name="connsiteX1185" fmla="*/ 3346539 w 12050057"/>
                <a:gd name="connsiteY1185" fmla="*/ 934985 h 6072782"/>
                <a:gd name="connsiteX1186" fmla="*/ 3362660 w 12050057"/>
                <a:gd name="connsiteY1186" fmla="*/ 926163 h 6072782"/>
                <a:gd name="connsiteX1187" fmla="*/ 3379468 w 12050057"/>
                <a:gd name="connsiteY1187" fmla="*/ 915060 h 6072782"/>
                <a:gd name="connsiteX1188" fmla="*/ 2867263 w 12050057"/>
                <a:gd name="connsiteY1188" fmla="*/ 915060 h 6072782"/>
                <a:gd name="connsiteX1189" fmla="*/ 2882170 w 12050057"/>
                <a:gd name="connsiteY1189" fmla="*/ 915060 h 6072782"/>
                <a:gd name="connsiteX1190" fmla="*/ 2882170 w 12050057"/>
                <a:gd name="connsiteY1190" fmla="*/ 1138040 h 6072782"/>
                <a:gd name="connsiteX1191" fmla="*/ 2846882 w 12050057"/>
                <a:gd name="connsiteY1191" fmla="*/ 1138040 h 6072782"/>
                <a:gd name="connsiteX1192" fmla="*/ 2846882 w 12050057"/>
                <a:gd name="connsiteY1192" fmla="*/ 958257 h 6072782"/>
                <a:gd name="connsiteX1193" fmla="*/ 2826273 w 12050057"/>
                <a:gd name="connsiteY1193" fmla="*/ 969892 h 6072782"/>
                <a:gd name="connsiteX1194" fmla="*/ 2801100 w 12050057"/>
                <a:gd name="connsiteY1194" fmla="*/ 978334 h 6072782"/>
                <a:gd name="connsiteX1195" fmla="*/ 2801100 w 12050057"/>
                <a:gd name="connsiteY1195" fmla="*/ 948218 h 6072782"/>
                <a:gd name="connsiteX1196" fmla="*/ 2818135 w 12050057"/>
                <a:gd name="connsiteY1196" fmla="*/ 942134 h 6072782"/>
                <a:gd name="connsiteX1197" fmla="*/ 2834335 w 12050057"/>
                <a:gd name="connsiteY1197" fmla="*/ 934985 h 6072782"/>
                <a:gd name="connsiteX1198" fmla="*/ 2850456 w 12050057"/>
                <a:gd name="connsiteY1198" fmla="*/ 926163 h 6072782"/>
                <a:gd name="connsiteX1199" fmla="*/ 2867263 w 12050057"/>
                <a:gd name="connsiteY1199" fmla="*/ 915060 h 6072782"/>
                <a:gd name="connsiteX1200" fmla="*/ 1259910 w 12050057"/>
                <a:gd name="connsiteY1200" fmla="*/ 915060 h 6072782"/>
                <a:gd name="connsiteX1201" fmla="*/ 1274816 w 12050057"/>
                <a:gd name="connsiteY1201" fmla="*/ 915060 h 6072782"/>
                <a:gd name="connsiteX1202" fmla="*/ 1274816 w 12050057"/>
                <a:gd name="connsiteY1202" fmla="*/ 1138040 h 6072782"/>
                <a:gd name="connsiteX1203" fmla="*/ 1239527 w 12050057"/>
                <a:gd name="connsiteY1203" fmla="*/ 1138040 h 6072782"/>
                <a:gd name="connsiteX1204" fmla="*/ 1239527 w 12050057"/>
                <a:gd name="connsiteY1204" fmla="*/ 958257 h 6072782"/>
                <a:gd name="connsiteX1205" fmla="*/ 1218918 w 12050057"/>
                <a:gd name="connsiteY1205" fmla="*/ 969892 h 6072782"/>
                <a:gd name="connsiteX1206" fmla="*/ 1193745 w 12050057"/>
                <a:gd name="connsiteY1206" fmla="*/ 978334 h 6072782"/>
                <a:gd name="connsiteX1207" fmla="*/ 1193745 w 12050057"/>
                <a:gd name="connsiteY1207" fmla="*/ 948218 h 6072782"/>
                <a:gd name="connsiteX1208" fmla="*/ 1210781 w 12050057"/>
                <a:gd name="connsiteY1208" fmla="*/ 942134 h 6072782"/>
                <a:gd name="connsiteX1209" fmla="*/ 1226979 w 12050057"/>
                <a:gd name="connsiteY1209" fmla="*/ 934985 h 6072782"/>
                <a:gd name="connsiteX1210" fmla="*/ 1243103 w 12050057"/>
                <a:gd name="connsiteY1210" fmla="*/ 926163 h 6072782"/>
                <a:gd name="connsiteX1211" fmla="*/ 1259910 w 12050057"/>
                <a:gd name="connsiteY1211" fmla="*/ 915060 h 6072782"/>
                <a:gd name="connsiteX1212" fmla="*/ 386669 w 12050057"/>
                <a:gd name="connsiteY1212" fmla="*/ 915060 h 6072782"/>
                <a:gd name="connsiteX1213" fmla="*/ 401575 w 12050057"/>
                <a:gd name="connsiteY1213" fmla="*/ 915060 h 6072782"/>
                <a:gd name="connsiteX1214" fmla="*/ 401575 w 12050057"/>
                <a:gd name="connsiteY1214" fmla="*/ 1138040 h 6072782"/>
                <a:gd name="connsiteX1215" fmla="*/ 366287 w 12050057"/>
                <a:gd name="connsiteY1215" fmla="*/ 1138040 h 6072782"/>
                <a:gd name="connsiteX1216" fmla="*/ 366287 w 12050057"/>
                <a:gd name="connsiteY1216" fmla="*/ 958257 h 6072782"/>
                <a:gd name="connsiteX1217" fmla="*/ 345678 w 12050057"/>
                <a:gd name="connsiteY1217" fmla="*/ 969892 h 6072782"/>
                <a:gd name="connsiteX1218" fmla="*/ 320505 w 12050057"/>
                <a:gd name="connsiteY1218" fmla="*/ 978334 h 6072782"/>
                <a:gd name="connsiteX1219" fmla="*/ 320505 w 12050057"/>
                <a:gd name="connsiteY1219" fmla="*/ 948218 h 6072782"/>
                <a:gd name="connsiteX1220" fmla="*/ 337540 w 12050057"/>
                <a:gd name="connsiteY1220" fmla="*/ 942134 h 6072782"/>
                <a:gd name="connsiteX1221" fmla="*/ 353739 w 12050057"/>
                <a:gd name="connsiteY1221" fmla="*/ 934985 h 6072782"/>
                <a:gd name="connsiteX1222" fmla="*/ 369861 w 12050057"/>
                <a:gd name="connsiteY1222" fmla="*/ 926163 h 6072782"/>
                <a:gd name="connsiteX1223" fmla="*/ 386669 w 12050057"/>
                <a:gd name="connsiteY1223" fmla="*/ 915060 h 6072782"/>
                <a:gd name="connsiteX1224" fmla="*/ 10303805 w 12050057"/>
                <a:gd name="connsiteY1224" fmla="*/ 632755 h 6072782"/>
                <a:gd name="connsiteX1225" fmla="*/ 10318711 w 12050057"/>
                <a:gd name="connsiteY1225" fmla="*/ 632755 h 6072782"/>
                <a:gd name="connsiteX1226" fmla="*/ 10318711 w 12050057"/>
                <a:gd name="connsiteY1226" fmla="*/ 855735 h 6072782"/>
                <a:gd name="connsiteX1227" fmla="*/ 10283423 w 12050057"/>
                <a:gd name="connsiteY1227" fmla="*/ 855735 h 6072782"/>
                <a:gd name="connsiteX1228" fmla="*/ 10283423 w 12050057"/>
                <a:gd name="connsiteY1228" fmla="*/ 675952 h 6072782"/>
                <a:gd name="connsiteX1229" fmla="*/ 10262814 w 12050057"/>
                <a:gd name="connsiteY1229" fmla="*/ 687587 h 6072782"/>
                <a:gd name="connsiteX1230" fmla="*/ 10237641 w 12050057"/>
                <a:gd name="connsiteY1230" fmla="*/ 696029 h 6072782"/>
                <a:gd name="connsiteX1231" fmla="*/ 10237641 w 12050057"/>
                <a:gd name="connsiteY1231" fmla="*/ 665913 h 6072782"/>
                <a:gd name="connsiteX1232" fmla="*/ 10254676 w 12050057"/>
                <a:gd name="connsiteY1232" fmla="*/ 659829 h 6072782"/>
                <a:gd name="connsiteX1233" fmla="*/ 10270875 w 12050057"/>
                <a:gd name="connsiteY1233" fmla="*/ 652680 h 6072782"/>
                <a:gd name="connsiteX1234" fmla="*/ 10286998 w 12050057"/>
                <a:gd name="connsiteY1234" fmla="*/ 643858 h 6072782"/>
                <a:gd name="connsiteX1235" fmla="*/ 10303805 w 12050057"/>
                <a:gd name="connsiteY1235" fmla="*/ 632755 h 6072782"/>
                <a:gd name="connsiteX1236" fmla="*/ 7183101 w 12050057"/>
                <a:gd name="connsiteY1236" fmla="*/ 632755 h 6072782"/>
                <a:gd name="connsiteX1237" fmla="*/ 7198007 w 12050057"/>
                <a:gd name="connsiteY1237" fmla="*/ 632755 h 6072782"/>
                <a:gd name="connsiteX1238" fmla="*/ 7198007 w 12050057"/>
                <a:gd name="connsiteY1238" fmla="*/ 855735 h 6072782"/>
                <a:gd name="connsiteX1239" fmla="*/ 7162719 w 12050057"/>
                <a:gd name="connsiteY1239" fmla="*/ 855735 h 6072782"/>
                <a:gd name="connsiteX1240" fmla="*/ 7162719 w 12050057"/>
                <a:gd name="connsiteY1240" fmla="*/ 675952 h 6072782"/>
                <a:gd name="connsiteX1241" fmla="*/ 7142110 w 12050057"/>
                <a:gd name="connsiteY1241" fmla="*/ 687587 h 6072782"/>
                <a:gd name="connsiteX1242" fmla="*/ 7116937 w 12050057"/>
                <a:gd name="connsiteY1242" fmla="*/ 696029 h 6072782"/>
                <a:gd name="connsiteX1243" fmla="*/ 7116937 w 12050057"/>
                <a:gd name="connsiteY1243" fmla="*/ 665913 h 6072782"/>
                <a:gd name="connsiteX1244" fmla="*/ 7133972 w 12050057"/>
                <a:gd name="connsiteY1244" fmla="*/ 659829 h 6072782"/>
                <a:gd name="connsiteX1245" fmla="*/ 7150171 w 12050057"/>
                <a:gd name="connsiteY1245" fmla="*/ 652680 h 6072782"/>
                <a:gd name="connsiteX1246" fmla="*/ 7166294 w 12050057"/>
                <a:gd name="connsiteY1246" fmla="*/ 643858 h 6072782"/>
                <a:gd name="connsiteX1247" fmla="*/ 7183101 w 12050057"/>
                <a:gd name="connsiteY1247" fmla="*/ 632755 h 6072782"/>
                <a:gd name="connsiteX1248" fmla="*/ 6291071 w 12050057"/>
                <a:gd name="connsiteY1248" fmla="*/ 632755 h 6072782"/>
                <a:gd name="connsiteX1249" fmla="*/ 6305977 w 12050057"/>
                <a:gd name="connsiteY1249" fmla="*/ 632755 h 6072782"/>
                <a:gd name="connsiteX1250" fmla="*/ 6305977 w 12050057"/>
                <a:gd name="connsiteY1250" fmla="*/ 855735 h 6072782"/>
                <a:gd name="connsiteX1251" fmla="*/ 6270689 w 12050057"/>
                <a:gd name="connsiteY1251" fmla="*/ 855735 h 6072782"/>
                <a:gd name="connsiteX1252" fmla="*/ 6270689 w 12050057"/>
                <a:gd name="connsiteY1252" fmla="*/ 675952 h 6072782"/>
                <a:gd name="connsiteX1253" fmla="*/ 6250080 w 12050057"/>
                <a:gd name="connsiteY1253" fmla="*/ 687587 h 6072782"/>
                <a:gd name="connsiteX1254" fmla="*/ 6224907 w 12050057"/>
                <a:gd name="connsiteY1254" fmla="*/ 696029 h 6072782"/>
                <a:gd name="connsiteX1255" fmla="*/ 6224907 w 12050057"/>
                <a:gd name="connsiteY1255" fmla="*/ 665913 h 6072782"/>
                <a:gd name="connsiteX1256" fmla="*/ 6241942 w 12050057"/>
                <a:gd name="connsiteY1256" fmla="*/ 659829 h 6072782"/>
                <a:gd name="connsiteX1257" fmla="*/ 6258141 w 12050057"/>
                <a:gd name="connsiteY1257" fmla="*/ 652680 h 6072782"/>
                <a:gd name="connsiteX1258" fmla="*/ 6274264 w 12050057"/>
                <a:gd name="connsiteY1258" fmla="*/ 643858 h 6072782"/>
                <a:gd name="connsiteX1259" fmla="*/ 6291071 w 12050057"/>
                <a:gd name="connsiteY1259" fmla="*/ 632755 h 6072782"/>
                <a:gd name="connsiteX1260" fmla="*/ 4241338 w 12050057"/>
                <a:gd name="connsiteY1260" fmla="*/ 632755 h 6072782"/>
                <a:gd name="connsiteX1261" fmla="*/ 4256243 w 12050057"/>
                <a:gd name="connsiteY1261" fmla="*/ 632755 h 6072782"/>
                <a:gd name="connsiteX1262" fmla="*/ 4256243 w 12050057"/>
                <a:gd name="connsiteY1262" fmla="*/ 855735 h 6072782"/>
                <a:gd name="connsiteX1263" fmla="*/ 4220955 w 12050057"/>
                <a:gd name="connsiteY1263" fmla="*/ 855735 h 6072782"/>
                <a:gd name="connsiteX1264" fmla="*/ 4220955 w 12050057"/>
                <a:gd name="connsiteY1264" fmla="*/ 675952 h 6072782"/>
                <a:gd name="connsiteX1265" fmla="*/ 4200346 w 12050057"/>
                <a:gd name="connsiteY1265" fmla="*/ 687587 h 6072782"/>
                <a:gd name="connsiteX1266" fmla="*/ 4175174 w 12050057"/>
                <a:gd name="connsiteY1266" fmla="*/ 696029 h 6072782"/>
                <a:gd name="connsiteX1267" fmla="*/ 4175174 w 12050057"/>
                <a:gd name="connsiteY1267" fmla="*/ 665913 h 6072782"/>
                <a:gd name="connsiteX1268" fmla="*/ 4192209 w 12050057"/>
                <a:gd name="connsiteY1268" fmla="*/ 659829 h 6072782"/>
                <a:gd name="connsiteX1269" fmla="*/ 4208407 w 12050057"/>
                <a:gd name="connsiteY1269" fmla="*/ 652680 h 6072782"/>
                <a:gd name="connsiteX1270" fmla="*/ 4224530 w 12050057"/>
                <a:gd name="connsiteY1270" fmla="*/ 643858 h 6072782"/>
                <a:gd name="connsiteX1271" fmla="*/ 4241338 w 12050057"/>
                <a:gd name="connsiteY1271" fmla="*/ 632755 h 6072782"/>
                <a:gd name="connsiteX1272" fmla="*/ 1119751 w 12050057"/>
                <a:gd name="connsiteY1272" fmla="*/ 632755 h 6072782"/>
                <a:gd name="connsiteX1273" fmla="*/ 1134657 w 12050057"/>
                <a:gd name="connsiteY1273" fmla="*/ 632755 h 6072782"/>
                <a:gd name="connsiteX1274" fmla="*/ 1134657 w 12050057"/>
                <a:gd name="connsiteY1274" fmla="*/ 855735 h 6072782"/>
                <a:gd name="connsiteX1275" fmla="*/ 1099369 w 12050057"/>
                <a:gd name="connsiteY1275" fmla="*/ 855735 h 6072782"/>
                <a:gd name="connsiteX1276" fmla="*/ 1099369 w 12050057"/>
                <a:gd name="connsiteY1276" fmla="*/ 675952 h 6072782"/>
                <a:gd name="connsiteX1277" fmla="*/ 1078760 w 12050057"/>
                <a:gd name="connsiteY1277" fmla="*/ 687587 h 6072782"/>
                <a:gd name="connsiteX1278" fmla="*/ 1053588 w 12050057"/>
                <a:gd name="connsiteY1278" fmla="*/ 696029 h 6072782"/>
                <a:gd name="connsiteX1279" fmla="*/ 1053588 w 12050057"/>
                <a:gd name="connsiteY1279" fmla="*/ 665913 h 6072782"/>
                <a:gd name="connsiteX1280" fmla="*/ 1070623 w 12050057"/>
                <a:gd name="connsiteY1280" fmla="*/ 659829 h 6072782"/>
                <a:gd name="connsiteX1281" fmla="*/ 1086821 w 12050057"/>
                <a:gd name="connsiteY1281" fmla="*/ 652680 h 6072782"/>
                <a:gd name="connsiteX1282" fmla="*/ 1102944 w 12050057"/>
                <a:gd name="connsiteY1282" fmla="*/ 643858 h 6072782"/>
                <a:gd name="connsiteX1283" fmla="*/ 1119751 w 12050057"/>
                <a:gd name="connsiteY1283" fmla="*/ 632755 h 6072782"/>
                <a:gd name="connsiteX1284" fmla="*/ 225809 w 12050057"/>
                <a:gd name="connsiteY1284" fmla="*/ 632755 h 6072782"/>
                <a:gd name="connsiteX1285" fmla="*/ 240715 w 12050057"/>
                <a:gd name="connsiteY1285" fmla="*/ 632755 h 6072782"/>
                <a:gd name="connsiteX1286" fmla="*/ 240715 w 12050057"/>
                <a:gd name="connsiteY1286" fmla="*/ 855735 h 6072782"/>
                <a:gd name="connsiteX1287" fmla="*/ 205427 w 12050057"/>
                <a:gd name="connsiteY1287" fmla="*/ 855735 h 6072782"/>
                <a:gd name="connsiteX1288" fmla="*/ 205427 w 12050057"/>
                <a:gd name="connsiteY1288" fmla="*/ 675952 h 6072782"/>
                <a:gd name="connsiteX1289" fmla="*/ 184818 w 12050057"/>
                <a:gd name="connsiteY1289" fmla="*/ 687587 h 6072782"/>
                <a:gd name="connsiteX1290" fmla="*/ 159645 w 12050057"/>
                <a:gd name="connsiteY1290" fmla="*/ 696029 h 6072782"/>
                <a:gd name="connsiteX1291" fmla="*/ 159645 w 12050057"/>
                <a:gd name="connsiteY1291" fmla="*/ 665913 h 6072782"/>
                <a:gd name="connsiteX1292" fmla="*/ 176680 w 12050057"/>
                <a:gd name="connsiteY1292" fmla="*/ 659829 h 6072782"/>
                <a:gd name="connsiteX1293" fmla="*/ 192880 w 12050057"/>
                <a:gd name="connsiteY1293" fmla="*/ 652680 h 6072782"/>
                <a:gd name="connsiteX1294" fmla="*/ 209002 w 12050057"/>
                <a:gd name="connsiteY1294" fmla="*/ 643858 h 6072782"/>
                <a:gd name="connsiteX1295" fmla="*/ 225809 w 12050057"/>
                <a:gd name="connsiteY1295" fmla="*/ 632755 h 6072782"/>
                <a:gd name="connsiteX1296" fmla="*/ 11454451 w 12050057"/>
                <a:gd name="connsiteY1296" fmla="*/ 328247 h 6072782"/>
                <a:gd name="connsiteX1297" fmla="*/ 11469357 w 12050057"/>
                <a:gd name="connsiteY1297" fmla="*/ 328247 h 6072782"/>
                <a:gd name="connsiteX1298" fmla="*/ 11469357 w 12050057"/>
                <a:gd name="connsiteY1298" fmla="*/ 551227 h 6072782"/>
                <a:gd name="connsiteX1299" fmla="*/ 11434069 w 12050057"/>
                <a:gd name="connsiteY1299" fmla="*/ 551227 h 6072782"/>
                <a:gd name="connsiteX1300" fmla="*/ 11434069 w 12050057"/>
                <a:gd name="connsiteY1300" fmla="*/ 371444 h 6072782"/>
                <a:gd name="connsiteX1301" fmla="*/ 11413460 w 12050057"/>
                <a:gd name="connsiteY1301" fmla="*/ 383079 h 6072782"/>
                <a:gd name="connsiteX1302" fmla="*/ 11388287 w 12050057"/>
                <a:gd name="connsiteY1302" fmla="*/ 391521 h 6072782"/>
                <a:gd name="connsiteX1303" fmla="*/ 11388287 w 12050057"/>
                <a:gd name="connsiteY1303" fmla="*/ 361405 h 6072782"/>
                <a:gd name="connsiteX1304" fmla="*/ 11405322 w 12050057"/>
                <a:gd name="connsiteY1304" fmla="*/ 355321 h 6072782"/>
                <a:gd name="connsiteX1305" fmla="*/ 11421521 w 12050057"/>
                <a:gd name="connsiteY1305" fmla="*/ 348172 h 6072782"/>
                <a:gd name="connsiteX1306" fmla="*/ 11437644 w 12050057"/>
                <a:gd name="connsiteY1306" fmla="*/ 339350 h 6072782"/>
                <a:gd name="connsiteX1307" fmla="*/ 11454451 w 12050057"/>
                <a:gd name="connsiteY1307" fmla="*/ 328247 h 6072782"/>
                <a:gd name="connsiteX1308" fmla="*/ 9447571 w 12050057"/>
                <a:gd name="connsiteY1308" fmla="*/ 328247 h 6072782"/>
                <a:gd name="connsiteX1309" fmla="*/ 9462477 w 12050057"/>
                <a:gd name="connsiteY1309" fmla="*/ 328247 h 6072782"/>
                <a:gd name="connsiteX1310" fmla="*/ 9462477 w 12050057"/>
                <a:gd name="connsiteY1310" fmla="*/ 551227 h 6072782"/>
                <a:gd name="connsiteX1311" fmla="*/ 9427189 w 12050057"/>
                <a:gd name="connsiteY1311" fmla="*/ 551227 h 6072782"/>
                <a:gd name="connsiteX1312" fmla="*/ 9427189 w 12050057"/>
                <a:gd name="connsiteY1312" fmla="*/ 371444 h 6072782"/>
                <a:gd name="connsiteX1313" fmla="*/ 9406580 w 12050057"/>
                <a:gd name="connsiteY1313" fmla="*/ 383079 h 6072782"/>
                <a:gd name="connsiteX1314" fmla="*/ 9381407 w 12050057"/>
                <a:gd name="connsiteY1314" fmla="*/ 391521 h 6072782"/>
                <a:gd name="connsiteX1315" fmla="*/ 9381407 w 12050057"/>
                <a:gd name="connsiteY1315" fmla="*/ 361405 h 6072782"/>
                <a:gd name="connsiteX1316" fmla="*/ 9398442 w 12050057"/>
                <a:gd name="connsiteY1316" fmla="*/ 355321 h 6072782"/>
                <a:gd name="connsiteX1317" fmla="*/ 9414641 w 12050057"/>
                <a:gd name="connsiteY1317" fmla="*/ 348172 h 6072782"/>
                <a:gd name="connsiteX1318" fmla="*/ 9430764 w 12050057"/>
                <a:gd name="connsiteY1318" fmla="*/ 339350 h 6072782"/>
                <a:gd name="connsiteX1319" fmla="*/ 9447571 w 12050057"/>
                <a:gd name="connsiteY1319" fmla="*/ 328247 h 6072782"/>
                <a:gd name="connsiteX1320" fmla="*/ 8947241 w 12050057"/>
                <a:gd name="connsiteY1320" fmla="*/ 328247 h 6072782"/>
                <a:gd name="connsiteX1321" fmla="*/ 8962147 w 12050057"/>
                <a:gd name="connsiteY1321" fmla="*/ 328247 h 6072782"/>
                <a:gd name="connsiteX1322" fmla="*/ 8962147 w 12050057"/>
                <a:gd name="connsiteY1322" fmla="*/ 551227 h 6072782"/>
                <a:gd name="connsiteX1323" fmla="*/ 8926859 w 12050057"/>
                <a:gd name="connsiteY1323" fmla="*/ 551227 h 6072782"/>
                <a:gd name="connsiteX1324" fmla="*/ 8926859 w 12050057"/>
                <a:gd name="connsiteY1324" fmla="*/ 371444 h 6072782"/>
                <a:gd name="connsiteX1325" fmla="*/ 8906250 w 12050057"/>
                <a:gd name="connsiteY1325" fmla="*/ 383079 h 6072782"/>
                <a:gd name="connsiteX1326" fmla="*/ 8881077 w 12050057"/>
                <a:gd name="connsiteY1326" fmla="*/ 391521 h 6072782"/>
                <a:gd name="connsiteX1327" fmla="*/ 8881077 w 12050057"/>
                <a:gd name="connsiteY1327" fmla="*/ 361405 h 6072782"/>
                <a:gd name="connsiteX1328" fmla="*/ 8898112 w 12050057"/>
                <a:gd name="connsiteY1328" fmla="*/ 355321 h 6072782"/>
                <a:gd name="connsiteX1329" fmla="*/ 8914311 w 12050057"/>
                <a:gd name="connsiteY1329" fmla="*/ 348172 h 6072782"/>
                <a:gd name="connsiteX1330" fmla="*/ 8930434 w 12050057"/>
                <a:gd name="connsiteY1330" fmla="*/ 339350 h 6072782"/>
                <a:gd name="connsiteX1331" fmla="*/ 8947241 w 12050057"/>
                <a:gd name="connsiteY1331" fmla="*/ 328247 h 6072782"/>
                <a:gd name="connsiteX1332" fmla="*/ 7318344 w 12050057"/>
                <a:gd name="connsiteY1332" fmla="*/ 328247 h 6072782"/>
                <a:gd name="connsiteX1333" fmla="*/ 7333250 w 12050057"/>
                <a:gd name="connsiteY1333" fmla="*/ 328247 h 6072782"/>
                <a:gd name="connsiteX1334" fmla="*/ 7333250 w 12050057"/>
                <a:gd name="connsiteY1334" fmla="*/ 551227 h 6072782"/>
                <a:gd name="connsiteX1335" fmla="*/ 7297962 w 12050057"/>
                <a:gd name="connsiteY1335" fmla="*/ 551227 h 6072782"/>
                <a:gd name="connsiteX1336" fmla="*/ 7297962 w 12050057"/>
                <a:gd name="connsiteY1336" fmla="*/ 371444 h 6072782"/>
                <a:gd name="connsiteX1337" fmla="*/ 7277353 w 12050057"/>
                <a:gd name="connsiteY1337" fmla="*/ 383079 h 6072782"/>
                <a:gd name="connsiteX1338" fmla="*/ 7252180 w 12050057"/>
                <a:gd name="connsiteY1338" fmla="*/ 391521 h 6072782"/>
                <a:gd name="connsiteX1339" fmla="*/ 7252180 w 12050057"/>
                <a:gd name="connsiteY1339" fmla="*/ 361405 h 6072782"/>
                <a:gd name="connsiteX1340" fmla="*/ 7269215 w 12050057"/>
                <a:gd name="connsiteY1340" fmla="*/ 355321 h 6072782"/>
                <a:gd name="connsiteX1341" fmla="*/ 7285414 w 12050057"/>
                <a:gd name="connsiteY1341" fmla="*/ 348172 h 6072782"/>
                <a:gd name="connsiteX1342" fmla="*/ 7301537 w 12050057"/>
                <a:gd name="connsiteY1342" fmla="*/ 339350 h 6072782"/>
                <a:gd name="connsiteX1343" fmla="*/ 7318344 w 12050057"/>
                <a:gd name="connsiteY1343" fmla="*/ 328247 h 6072782"/>
                <a:gd name="connsiteX1344" fmla="*/ 6448401 w 12050057"/>
                <a:gd name="connsiteY1344" fmla="*/ 328247 h 6072782"/>
                <a:gd name="connsiteX1345" fmla="*/ 6463307 w 12050057"/>
                <a:gd name="connsiteY1345" fmla="*/ 328247 h 6072782"/>
                <a:gd name="connsiteX1346" fmla="*/ 6463307 w 12050057"/>
                <a:gd name="connsiteY1346" fmla="*/ 551227 h 6072782"/>
                <a:gd name="connsiteX1347" fmla="*/ 6428019 w 12050057"/>
                <a:gd name="connsiteY1347" fmla="*/ 551227 h 6072782"/>
                <a:gd name="connsiteX1348" fmla="*/ 6428019 w 12050057"/>
                <a:gd name="connsiteY1348" fmla="*/ 371444 h 6072782"/>
                <a:gd name="connsiteX1349" fmla="*/ 6407410 w 12050057"/>
                <a:gd name="connsiteY1349" fmla="*/ 383079 h 6072782"/>
                <a:gd name="connsiteX1350" fmla="*/ 6382237 w 12050057"/>
                <a:gd name="connsiteY1350" fmla="*/ 391521 h 6072782"/>
                <a:gd name="connsiteX1351" fmla="*/ 6382237 w 12050057"/>
                <a:gd name="connsiteY1351" fmla="*/ 361405 h 6072782"/>
                <a:gd name="connsiteX1352" fmla="*/ 6399272 w 12050057"/>
                <a:gd name="connsiteY1352" fmla="*/ 355321 h 6072782"/>
                <a:gd name="connsiteX1353" fmla="*/ 6415471 w 12050057"/>
                <a:gd name="connsiteY1353" fmla="*/ 348172 h 6072782"/>
                <a:gd name="connsiteX1354" fmla="*/ 6431594 w 12050057"/>
                <a:gd name="connsiteY1354" fmla="*/ 339350 h 6072782"/>
                <a:gd name="connsiteX1355" fmla="*/ 6448401 w 12050057"/>
                <a:gd name="connsiteY1355" fmla="*/ 328247 h 6072782"/>
                <a:gd name="connsiteX1356" fmla="*/ 5379035 w 12050057"/>
                <a:gd name="connsiteY1356" fmla="*/ 328247 h 6072782"/>
                <a:gd name="connsiteX1357" fmla="*/ 5393942 w 12050057"/>
                <a:gd name="connsiteY1357" fmla="*/ 328247 h 6072782"/>
                <a:gd name="connsiteX1358" fmla="*/ 5393942 w 12050057"/>
                <a:gd name="connsiteY1358" fmla="*/ 551227 h 6072782"/>
                <a:gd name="connsiteX1359" fmla="*/ 5358654 w 12050057"/>
                <a:gd name="connsiteY1359" fmla="*/ 551227 h 6072782"/>
                <a:gd name="connsiteX1360" fmla="*/ 5358654 w 12050057"/>
                <a:gd name="connsiteY1360" fmla="*/ 371444 h 6072782"/>
                <a:gd name="connsiteX1361" fmla="*/ 5338044 w 12050057"/>
                <a:gd name="connsiteY1361" fmla="*/ 383079 h 6072782"/>
                <a:gd name="connsiteX1362" fmla="*/ 5312871 w 12050057"/>
                <a:gd name="connsiteY1362" fmla="*/ 391521 h 6072782"/>
                <a:gd name="connsiteX1363" fmla="*/ 5312871 w 12050057"/>
                <a:gd name="connsiteY1363" fmla="*/ 361405 h 6072782"/>
                <a:gd name="connsiteX1364" fmla="*/ 5329907 w 12050057"/>
                <a:gd name="connsiteY1364" fmla="*/ 355321 h 6072782"/>
                <a:gd name="connsiteX1365" fmla="*/ 5346106 w 12050057"/>
                <a:gd name="connsiteY1365" fmla="*/ 348172 h 6072782"/>
                <a:gd name="connsiteX1366" fmla="*/ 5362228 w 12050057"/>
                <a:gd name="connsiteY1366" fmla="*/ 339350 h 6072782"/>
                <a:gd name="connsiteX1367" fmla="*/ 5379035 w 12050057"/>
                <a:gd name="connsiteY1367" fmla="*/ 328247 h 6072782"/>
                <a:gd name="connsiteX1368" fmla="*/ 3386726 w 12050057"/>
                <a:gd name="connsiteY1368" fmla="*/ 328247 h 6072782"/>
                <a:gd name="connsiteX1369" fmla="*/ 3401632 w 12050057"/>
                <a:gd name="connsiteY1369" fmla="*/ 328247 h 6072782"/>
                <a:gd name="connsiteX1370" fmla="*/ 3401632 w 12050057"/>
                <a:gd name="connsiteY1370" fmla="*/ 551227 h 6072782"/>
                <a:gd name="connsiteX1371" fmla="*/ 3366344 w 12050057"/>
                <a:gd name="connsiteY1371" fmla="*/ 551227 h 6072782"/>
                <a:gd name="connsiteX1372" fmla="*/ 3366344 w 12050057"/>
                <a:gd name="connsiteY1372" fmla="*/ 371444 h 6072782"/>
                <a:gd name="connsiteX1373" fmla="*/ 3345736 w 12050057"/>
                <a:gd name="connsiteY1373" fmla="*/ 383079 h 6072782"/>
                <a:gd name="connsiteX1374" fmla="*/ 3320562 w 12050057"/>
                <a:gd name="connsiteY1374" fmla="*/ 391521 h 6072782"/>
                <a:gd name="connsiteX1375" fmla="*/ 3320562 w 12050057"/>
                <a:gd name="connsiteY1375" fmla="*/ 361405 h 6072782"/>
                <a:gd name="connsiteX1376" fmla="*/ 3337597 w 12050057"/>
                <a:gd name="connsiteY1376" fmla="*/ 355321 h 6072782"/>
                <a:gd name="connsiteX1377" fmla="*/ 3353797 w 12050057"/>
                <a:gd name="connsiteY1377" fmla="*/ 348172 h 6072782"/>
                <a:gd name="connsiteX1378" fmla="*/ 3369919 w 12050057"/>
                <a:gd name="connsiteY1378" fmla="*/ 339350 h 6072782"/>
                <a:gd name="connsiteX1379" fmla="*/ 3386726 w 12050057"/>
                <a:gd name="connsiteY1379" fmla="*/ 328247 h 6072782"/>
                <a:gd name="connsiteX1380" fmla="*/ 2874522 w 12050057"/>
                <a:gd name="connsiteY1380" fmla="*/ 328247 h 6072782"/>
                <a:gd name="connsiteX1381" fmla="*/ 2889428 w 12050057"/>
                <a:gd name="connsiteY1381" fmla="*/ 328247 h 6072782"/>
                <a:gd name="connsiteX1382" fmla="*/ 2889428 w 12050057"/>
                <a:gd name="connsiteY1382" fmla="*/ 551227 h 6072782"/>
                <a:gd name="connsiteX1383" fmla="*/ 2854142 w 12050057"/>
                <a:gd name="connsiteY1383" fmla="*/ 551227 h 6072782"/>
                <a:gd name="connsiteX1384" fmla="*/ 2854142 w 12050057"/>
                <a:gd name="connsiteY1384" fmla="*/ 371444 h 6072782"/>
                <a:gd name="connsiteX1385" fmla="*/ 2833531 w 12050057"/>
                <a:gd name="connsiteY1385" fmla="*/ 383079 h 6072782"/>
                <a:gd name="connsiteX1386" fmla="*/ 2808358 w 12050057"/>
                <a:gd name="connsiteY1386" fmla="*/ 391521 h 6072782"/>
                <a:gd name="connsiteX1387" fmla="*/ 2808358 w 12050057"/>
                <a:gd name="connsiteY1387" fmla="*/ 361405 h 6072782"/>
                <a:gd name="connsiteX1388" fmla="*/ 2825393 w 12050057"/>
                <a:gd name="connsiteY1388" fmla="*/ 355321 h 6072782"/>
                <a:gd name="connsiteX1389" fmla="*/ 2841593 w 12050057"/>
                <a:gd name="connsiteY1389" fmla="*/ 348172 h 6072782"/>
                <a:gd name="connsiteX1390" fmla="*/ 2857715 w 12050057"/>
                <a:gd name="connsiteY1390" fmla="*/ 339350 h 6072782"/>
                <a:gd name="connsiteX1391" fmla="*/ 2874522 w 12050057"/>
                <a:gd name="connsiteY1391" fmla="*/ 328247 h 6072782"/>
                <a:gd name="connsiteX1392" fmla="*/ 1267168 w 12050057"/>
                <a:gd name="connsiteY1392" fmla="*/ 328247 h 6072782"/>
                <a:gd name="connsiteX1393" fmla="*/ 1282074 w 12050057"/>
                <a:gd name="connsiteY1393" fmla="*/ 328247 h 6072782"/>
                <a:gd name="connsiteX1394" fmla="*/ 1282074 w 12050057"/>
                <a:gd name="connsiteY1394" fmla="*/ 551227 h 6072782"/>
                <a:gd name="connsiteX1395" fmla="*/ 1246786 w 12050057"/>
                <a:gd name="connsiteY1395" fmla="*/ 551227 h 6072782"/>
                <a:gd name="connsiteX1396" fmla="*/ 1246786 w 12050057"/>
                <a:gd name="connsiteY1396" fmla="*/ 371444 h 6072782"/>
                <a:gd name="connsiteX1397" fmla="*/ 1226177 w 12050057"/>
                <a:gd name="connsiteY1397" fmla="*/ 383079 h 6072782"/>
                <a:gd name="connsiteX1398" fmla="*/ 1201004 w 12050057"/>
                <a:gd name="connsiteY1398" fmla="*/ 391521 h 6072782"/>
                <a:gd name="connsiteX1399" fmla="*/ 1201004 w 12050057"/>
                <a:gd name="connsiteY1399" fmla="*/ 361405 h 6072782"/>
                <a:gd name="connsiteX1400" fmla="*/ 1218039 w 12050057"/>
                <a:gd name="connsiteY1400" fmla="*/ 355321 h 6072782"/>
                <a:gd name="connsiteX1401" fmla="*/ 1234238 w 12050057"/>
                <a:gd name="connsiteY1401" fmla="*/ 348172 h 6072782"/>
                <a:gd name="connsiteX1402" fmla="*/ 1250361 w 12050057"/>
                <a:gd name="connsiteY1402" fmla="*/ 339350 h 6072782"/>
                <a:gd name="connsiteX1403" fmla="*/ 1267168 w 12050057"/>
                <a:gd name="connsiteY1403" fmla="*/ 328247 h 6072782"/>
                <a:gd name="connsiteX1404" fmla="*/ 393927 w 12050057"/>
                <a:gd name="connsiteY1404" fmla="*/ 328247 h 6072782"/>
                <a:gd name="connsiteX1405" fmla="*/ 408833 w 12050057"/>
                <a:gd name="connsiteY1405" fmla="*/ 328247 h 6072782"/>
                <a:gd name="connsiteX1406" fmla="*/ 408833 w 12050057"/>
                <a:gd name="connsiteY1406" fmla="*/ 551227 h 6072782"/>
                <a:gd name="connsiteX1407" fmla="*/ 373545 w 12050057"/>
                <a:gd name="connsiteY1407" fmla="*/ 551227 h 6072782"/>
                <a:gd name="connsiteX1408" fmla="*/ 373545 w 12050057"/>
                <a:gd name="connsiteY1408" fmla="*/ 371444 h 6072782"/>
                <a:gd name="connsiteX1409" fmla="*/ 352936 w 12050057"/>
                <a:gd name="connsiteY1409" fmla="*/ 383079 h 6072782"/>
                <a:gd name="connsiteX1410" fmla="*/ 327763 w 12050057"/>
                <a:gd name="connsiteY1410" fmla="*/ 391521 h 6072782"/>
                <a:gd name="connsiteX1411" fmla="*/ 327763 w 12050057"/>
                <a:gd name="connsiteY1411" fmla="*/ 361405 h 6072782"/>
                <a:gd name="connsiteX1412" fmla="*/ 344798 w 12050057"/>
                <a:gd name="connsiteY1412" fmla="*/ 355321 h 6072782"/>
                <a:gd name="connsiteX1413" fmla="*/ 360997 w 12050057"/>
                <a:gd name="connsiteY1413" fmla="*/ 348172 h 6072782"/>
                <a:gd name="connsiteX1414" fmla="*/ 377120 w 12050057"/>
                <a:gd name="connsiteY1414" fmla="*/ 339350 h 6072782"/>
                <a:gd name="connsiteX1415" fmla="*/ 393927 w 12050057"/>
                <a:gd name="connsiteY1415" fmla="*/ 328247 h 6072782"/>
                <a:gd name="connsiteX1416" fmla="*/ 10287594 w 12050057"/>
                <a:gd name="connsiteY1416" fmla="*/ 0 h 6072782"/>
                <a:gd name="connsiteX1417" fmla="*/ 10302500 w 12050057"/>
                <a:gd name="connsiteY1417" fmla="*/ 0 h 6072782"/>
                <a:gd name="connsiteX1418" fmla="*/ 10302500 w 12050057"/>
                <a:gd name="connsiteY1418" fmla="*/ 222980 h 6072782"/>
                <a:gd name="connsiteX1419" fmla="*/ 10267212 w 12050057"/>
                <a:gd name="connsiteY1419" fmla="*/ 222980 h 6072782"/>
                <a:gd name="connsiteX1420" fmla="*/ 10267212 w 12050057"/>
                <a:gd name="connsiteY1420" fmla="*/ 43196 h 6072782"/>
                <a:gd name="connsiteX1421" fmla="*/ 10246603 w 12050057"/>
                <a:gd name="connsiteY1421" fmla="*/ 54832 h 6072782"/>
                <a:gd name="connsiteX1422" fmla="*/ 10221430 w 12050057"/>
                <a:gd name="connsiteY1422" fmla="*/ 63274 h 6072782"/>
                <a:gd name="connsiteX1423" fmla="*/ 10221430 w 12050057"/>
                <a:gd name="connsiteY1423" fmla="*/ 33158 h 6072782"/>
                <a:gd name="connsiteX1424" fmla="*/ 10238465 w 12050057"/>
                <a:gd name="connsiteY1424" fmla="*/ 27074 h 6072782"/>
                <a:gd name="connsiteX1425" fmla="*/ 10254664 w 12050057"/>
                <a:gd name="connsiteY1425" fmla="*/ 19925 h 6072782"/>
                <a:gd name="connsiteX1426" fmla="*/ 10270787 w 12050057"/>
                <a:gd name="connsiteY1426" fmla="*/ 11103 h 6072782"/>
                <a:gd name="connsiteX1427" fmla="*/ 10287594 w 12050057"/>
                <a:gd name="connsiteY1427" fmla="*/ 0 h 6072782"/>
                <a:gd name="connsiteX1428" fmla="*/ 9399570 w 12050057"/>
                <a:gd name="connsiteY1428" fmla="*/ 0 h 6072782"/>
                <a:gd name="connsiteX1429" fmla="*/ 9414476 w 12050057"/>
                <a:gd name="connsiteY1429" fmla="*/ 0 h 6072782"/>
                <a:gd name="connsiteX1430" fmla="*/ 9414476 w 12050057"/>
                <a:gd name="connsiteY1430" fmla="*/ 222980 h 6072782"/>
                <a:gd name="connsiteX1431" fmla="*/ 9379188 w 12050057"/>
                <a:gd name="connsiteY1431" fmla="*/ 222980 h 6072782"/>
                <a:gd name="connsiteX1432" fmla="*/ 9379188 w 12050057"/>
                <a:gd name="connsiteY1432" fmla="*/ 43196 h 6072782"/>
                <a:gd name="connsiteX1433" fmla="*/ 9358579 w 12050057"/>
                <a:gd name="connsiteY1433" fmla="*/ 54832 h 6072782"/>
                <a:gd name="connsiteX1434" fmla="*/ 9333406 w 12050057"/>
                <a:gd name="connsiteY1434" fmla="*/ 63274 h 6072782"/>
                <a:gd name="connsiteX1435" fmla="*/ 9333406 w 12050057"/>
                <a:gd name="connsiteY1435" fmla="*/ 33158 h 6072782"/>
                <a:gd name="connsiteX1436" fmla="*/ 9350441 w 12050057"/>
                <a:gd name="connsiteY1436" fmla="*/ 27074 h 6072782"/>
                <a:gd name="connsiteX1437" fmla="*/ 9366640 w 12050057"/>
                <a:gd name="connsiteY1437" fmla="*/ 19925 h 6072782"/>
                <a:gd name="connsiteX1438" fmla="*/ 9382763 w 12050057"/>
                <a:gd name="connsiteY1438" fmla="*/ 11103 h 6072782"/>
                <a:gd name="connsiteX1439" fmla="*/ 9399570 w 12050057"/>
                <a:gd name="connsiteY1439" fmla="*/ 0 h 6072782"/>
                <a:gd name="connsiteX1440" fmla="*/ 7529739 w 12050057"/>
                <a:gd name="connsiteY1440" fmla="*/ 0 h 6072782"/>
                <a:gd name="connsiteX1441" fmla="*/ 7544645 w 12050057"/>
                <a:gd name="connsiteY1441" fmla="*/ 0 h 6072782"/>
                <a:gd name="connsiteX1442" fmla="*/ 7544645 w 12050057"/>
                <a:gd name="connsiteY1442" fmla="*/ 222980 h 6072782"/>
                <a:gd name="connsiteX1443" fmla="*/ 7509357 w 12050057"/>
                <a:gd name="connsiteY1443" fmla="*/ 222980 h 6072782"/>
                <a:gd name="connsiteX1444" fmla="*/ 7509357 w 12050057"/>
                <a:gd name="connsiteY1444" fmla="*/ 43196 h 6072782"/>
                <a:gd name="connsiteX1445" fmla="*/ 7488748 w 12050057"/>
                <a:gd name="connsiteY1445" fmla="*/ 54832 h 6072782"/>
                <a:gd name="connsiteX1446" fmla="*/ 7463575 w 12050057"/>
                <a:gd name="connsiteY1446" fmla="*/ 63274 h 6072782"/>
                <a:gd name="connsiteX1447" fmla="*/ 7463575 w 12050057"/>
                <a:gd name="connsiteY1447" fmla="*/ 33158 h 6072782"/>
                <a:gd name="connsiteX1448" fmla="*/ 7480610 w 12050057"/>
                <a:gd name="connsiteY1448" fmla="*/ 27074 h 6072782"/>
                <a:gd name="connsiteX1449" fmla="*/ 7496809 w 12050057"/>
                <a:gd name="connsiteY1449" fmla="*/ 19925 h 6072782"/>
                <a:gd name="connsiteX1450" fmla="*/ 7512932 w 12050057"/>
                <a:gd name="connsiteY1450" fmla="*/ 11103 h 6072782"/>
                <a:gd name="connsiteX1451" fmla="*/ 7529739 w 12050057"/>
                <a:gd name="connsiteY1451" fmla="*/ 0 h 6072782"/>
                <a:gd name="connsiteX1452" fmla="*/ 6158139 w 12050057"/>
                <a:gd name="connsiteY1452" fmla="*/ 0 h 6072782"/>
                <a:gd name="connsiteX1453" fmla="*/ 6173045 w 12050057"/>
                <a:gd name="connsiteY1453" fmla="*/ 0 h 6072782"/>
                <a:gd name="connsiteX1454" fmla="*/ 6173045 w 12050057"/>
                <a:gd name="connsiteY1454" fmla="*/ 222980 h 6072782"/>
                <a:gd name="connsiteX1455" fmla="*/ 6137757 w 12050057"/>
                <a:gd name="connsiteY1455" fmla="*/ 222980 h 6072782"/>
                <a:gd name="connsiteX1456" fmla="*/ 6137757 w 12050057"/>
                <a:gd name="connsiteY1456" fmla="*/ 43196 h 6072782"/>
                <a:gd name="connsiteX1457" fmla="*/ 6117148 w 12050057"/>
                <a:gd name="connsiteY1457" fmla="*/ 54832 h 6072782"/>
                <a:gd name="connsiteX1458" fmla="*/ 6091975 w 12050057"/>
                <a:gd name="connsiteY1458" fmla="*/ 63274 h 6072782"/>
                <a:gd name="connsiteX1459" fmla="*/ 6091975 w 12050057"/>
                <a:gd name="connsiteY1459" fmla="*/ 33158 h 6072782"/>
                <a:gd name="connsiteX1460" fmla="*/ 6109010 w 12050057"/>
                <a:gd name="connsiteY1460" fmla="*/ 27074 h 6072782"/>
                <a:gd name="connsiteX1461" fmla="*/ 6125209 w 12050057"/>
                <a:gd name="connsiteY1461" fmla="*/ 19925 h 6072782"/>
                <a:gd name="connsiteX1462" fmla="*/ 6141332 w 12050057"/>
                <a:gd name="connsiteY1462" fmla="*/ 11103 h 6072782"/>
                <a:gd name="connsiteX1463" fmla="*/ 6158139 w 12050057"/>
                <a:gd name="connsiteY1463" fmla="*/ 0 h 6072782"/>
                <a:gd name="connsiteX1464" fmla="*/ 4237236 w 12050057"/>
                <a:gd name="connsiteY1464" fmla="*/ 0 h 6072782"/>
                <a:gd name="connsiteX1465" fmla="*/ 4252143 w 12050057"/>
                <a:gd name="connsiteY1465" fmla="*/ 0 h 6072782"/>
                <a:gd name="connsiteX1466" fmla="*/ 4252143 w 12050057"/>
                <a:gd name="connsiteY1466" fmla="*/ 222980 h 6072782"/>
                <a:gd name="connsiteX1467" fmla="*/ 4216854 w 12050057"/>
                <a:gd name="connsiteY1467" fmla="*/ 222980 h 6072782"/>
                <a:gd name="connsiteX1468" fmla="*/ 4216854 w 12050057"/>
                <a:gd name="connsiteY1468" fmla="*/ 43196 h 6072782"/>
                <a:gd name="connsiteX1469" fmla="*/ 4196246 w 12050057"/>
                <a:gd name="connsiteY1469" fmla="*/ 54832 h 6072782"/>
                <a:gd name="connsiteX1470" fmla="*/ 4171072 w 12050057"/>
                <a:gd name="connsiteY1470" fmla="*/ 63274 h 6072782"/>
                <a:gd name="connsiteX1471" fmla="*/ 4171072 w 12050057"/>
                <a:gd name="connsiteY1471" fmla="*/ 33158 h 6072782"/>
                <a:gd name="connsiteX1472" fmla="*/ 4188108 w 12050057"/>
                <a:gd name="connsiteY1472" fmla="*/ 27074 h 6072782"/>
                <a:gd name="connsiteX1473" fmla="*/ 4204308 w 12050057"/>
                <a:gd name="connsiteY1473" fmla="*/ 19925 h 6072782"/>
                <a:gd name="connsiteX1474" fmla="*/ 4220430 w 12050057"/>
                <a:gd name="connsiteY1474" fmla="*/ 11103 h 6072782"/>
                <a:gd name="connsiteX1475" fmla="*/ 4237236 w 12050057"/>
                <a:gd name="connsiteY1475" fmla="*/ 0 h 6072782"/>
                <a:gd name="connsiteX1476" fmla="*/ 3347533 w 12050057"/>
                <a:gd name="connsiteY1476" fmla="*/ 0 h 6072782"/>
                <a:gd name="connsiteX1477" fmla="*/ 3362439 w 12050057"/>
                <a:gd name="connsiteY1477" fmla="*/ 0 h 6072782"/>
                <a:gd name="connsiteX1478" fmla="*/ 3362439 w 12050057"/>
                <a:gd name="connsiteY1478" fmla="*/ 222980 h 6072782"/>
                <a:gd name="connsiteX1479" fmla="*/ 3327152 w 12050057"/>
                <a:gd name="connsiteY1479" fmla="*/ 222980 h 6072782"/>
                <a:gd name="connsiteX1480" fmla="*/ 3327152 w 12050057"/>
                <a:gd name="connsiteY1480" fmla="*/ 43196 h 6072782"/>
                <a:gd name="connsiteX1481" fmla="*/ 3306542 w 12050057"/>
                <a:gd name="connsiteY1481" fmla="*/ 54832 h 6072782"/>
                <a:gd name="connsiteX1482" fmla="*/ 3281369 w 12050057"/>
                <a:gd name="connsiteY1482" fmla="*/ 63274 h 6072782"/>
                <a:gd name="connsiteX1483" fmla="*/ 3281369 w 12050057"/>
                <a:gd name="connsiteY1483" fmla="*/ 33158 h 6072782"/>
                <a:gd name="connsiteX1484" fmla="*/ 3298404 w 12050057"/>
                <a:gd name="connsiteY1484" fmla="*/ 27074 h 6072782"/>
                <a:gd name="connsiteX1485" fmla="*/ 3314604 w 12050057"/>
                <a:gd name="connsiteY1485" fmla="*/ 19925 h 6072782"/>
                <a:gd name="connsiteX1486" fmla="*/ 3330727 w 12050057"/>
                <a:gd name="connsiteY1486" fmla="*/ 11103 h 6072782"/>
                <a:gd name="connsiteX1487" fmla="*/ 3347533 w 12050057"/>
                <a:gd name="connsiteY1487" fmla="*/ 0 h 6072782"/>
                <a:gd name="connsiteX1488" fmla="*/ 1463993 w 12050057"/>
                <a:gd name="connsiteY1488" fmla="*/ 0 h 6072782"/>
                <a:gd name="connsiteX1489" fmla="*/ 1478899 w 12050057"/>
                <a:gd name="connsiteY1489" fmla="*/ 0 h 6072782"/>
                <a:gd name="connsiteX1490" fmla="*/ 1478899 w 12050057"/>
                <a:gd name="connsiteY1490" fmla="*/ 222980 h 6072782"/>
                <a:gd name="connsiteX1491" fmla="*/ 1443611 w 12050057"/>
                <a:gd name="connsiteY1491" fmla="*/ 222980 h 6072782"/>
                <a:gd name="connsiteX1492" fmla="*/ 1443611 w 12050057"/>
                <a:gd name="connsiteY1492" fmla="*/ 43196 h 6072782"/>
                <a:gd name="connsiteX1493" fmla="*/ 1423002 w 12050057"/>
                <a:gd name="connsiteY1493" fmla="*/ 54832 h 6072782"/>
                <a:gd name="connsiteX1494" fmla="*/ 1397829 w 12050057"/>
                <a:gd name="connsiteY1494" fmla="*/ 63274 h 6072782"/>
                <a:gd name="connsiteX1495" fmla="*/ 1397829 w 12050057"/>
                <a:gd name="connsiteY1495" fmla="*/ 33158 h 6072782"/>
                <a:gd name="connsiteX1496" fmla="*/ 1414864 w 12050057"/>
                <a:gd name="connsiteY1496" fmla="*/ 27074 h 6072782"/>
                <a:gd name="connsiteX1497" fmla="*/ 1431063 w 12050057"/>
                <a:gd name="connsiteY1497" fmla="*/ 19925 h 6072782"/>
                <a:gd name="connsiteX1498" fmla="*/ 1447186 w 12050057"/>
                <a:gd name="connsiteY1498" fmla="*/ 11103 h 6072782"/>
                <a:gd name="connsiteX1499" fmla="*/ 1463993 w 12050057"/>
                <a:gd name="connsiteY1499" fmla="*/ 0 h 6072782"/>
                <a:gd name="connsiteX1500" fmla="*/ 92047 w 12050057"/>
                <a:gd name="connsiteY1500" fmla="*/ 0 h 6072782"/>
                <a:gd name="connsiteX1501" fmla="*/ 106953 w 12050057"/>
                <a:gd name="connsiteY1501" fmla="*/ 0 h 6072782"/>
                <a:gd name="connsiteX1502" fmla="*/ 106953 w 12050057"/>
                <a:gd name="connsiteY1502" fmla="*/ 222980 h 6072782"/>
                <a:gd name="connsiteX1503" fmla="*/ 71665 w 12050057"/>
                <a:gd name="connsiteY1503" fmla="*/ 222980 h 6072782"/>
                <a:gd name="connsiteX1504" fmla="*/ 71665 w 12050057"/>
                <a:gd name="connsiteY1504" fmla="*/ 43196 h 6072782"/>
                <a:gd name="connsiteX1505" fmla="*/ 51056 w 12050057"/>
                <a:gd name="connsiteY1505" fmla="*/ 54832 h 6072782"/>
                <a:gd name="connsiteX1506" fmla="*/ 25883 w 12050057"/>
                <a:gd name="connsiteY1506" fmla="*/ 63274 h 6072782"/>
                <a:gd name="connsiteX1507" fmla="*/ 25883 w 12050057"/>
                <a:gd name="connsiteY1507" fmla="*/ 33158 h 6072782"/>
                <a:gd name="connsiteX1508" fmla="*/ 42918 w 12050057"/>
                <a:gd name="connsiteY1508" fmla="*/ 27074 h 6072782"/>
                <a:gd name="connsiteX1509" fmla="*/ 59117 w 12050057"/>
                <a:gd name="connsiteY1509" fmla="*/ 19925 h 6072782"/>
                <a:gd name="connsiteX1510" fmla="*/ 75240 w 12050057"/>
                <a:gd name="connsiteY1510" fmla="*/ 11103 h 6072782"/>
                <a:gd name="connsiteX1511" fmla="*/ 92047 w 12050057"/>
                <a:gd name="connsiteY1511" fmla="*/ 0 h 607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Lst>
              <a:rect l="l" t="t" r="r" b="b"/>
              <a:pathLst>
                <a:path w="12050057" h="6072782">
                  <a:moveTo>
                    <a:pt x="3287783" y="5849802"/>
                  </a:moveTo>
                  <a:lnTo>
                    <a:pt x="3302689" y="5849802"/>
                  </a:lnTo>
                  <a:lnTo>
                    <a:pt x="3302689" y="6072782"/>
                  </a:lnTo>
                  <a:lnTo>
                    <a:pt x="3267400" y="6072782"/>
                  </a:lnTo>
                  <a:lnTo>
                    <a:pt x="3267400" y="5892999"/>
                  </a:lnTo>
                  <a:cubicBezTo>
                    <a:pt x="3261013" y="5897562"/>
                    <a:pt x="3254142" y="5901440"/>
                    <a:pt x="3246791" y="5904635"/>
                  </a:cubicBezTo>
                  <a:cubicBezTo>
                    <a:pt x="3239440" y="5907829"/>
                    <a:pt x="3231049" y="5910642"/>
                    <a:pt x="3221618" y="5913076"/>
                  </a:cubicBezTo>
                  <a:lnTo>
                    <a:pt x="3221618" y="5882960"/>
                  </a:lnTo>
                  <a:cubicBezTo>
                    <a:pt x="3227499" y="5881034"/>
                    <a:pt x="3233178" y="5879006"/>
                    <a:pt x="3238653" y="5876876"/>
                  </a:cubicBezTo>
                  <a:cubicBezTo>
                    <a:pt x="3244129" y="5874747"/>
                    <a:pt x="3249529" y="5872364"/>
                    <a:pt x="3254853" y="5869727"/>
                  </a:cubicBezTo>
                  <a:cubicBezTo>
                    <a:pt x="3260176" y="5867091"/>
                    <a:pt x="3265551" y="5864150"/>
                    <a:pt x="3270976" y="5860906"/>
                  </a:cubicBezTo>
                  <a:cubicBezTo>
                    <a:pt x="3276401" y="5857661"/>
                    <a:pt x="3282003" y="5853960"/>
                    <a:pt x="3287783" y="5849802"/>
                  </a:cubicBezTo>
                  <a:close/>
                  <a:moveTo>
                    <a:pt x="3287783" y="5494671"/>
                  </a:moveTo>
                  <a:lnTo>
                    <a:pt x="3302689" y="5494671"/>
                  </a:lnTo>
                  <a:lnTo>
                    <a:pt x="3302689" y="5717651"/>
                  </a:lnTo>
                  <a:lnTo>
                    <a:pt x="3267400" y="5717651"/>
                  </a:lnTo>
                  <a:lnTo>
                    <a:pt x="3267400" y="5537867"/>
                  </a:lnTo>
                  <a:cubicBezTo>
                    <a:pt x="3261013" y="5542430"/>
                    <a:pt x="3254142" y="5546309"/>
                    <a:pt x="3246791" y="5549503"/>
                  </a:cubicBezTo>
                  <a:cubicBezTo>
                    <a:pt x="3239440" y="5552697"/>
                    <a:pt x="3231049" y="5555511"/>
                    <a:pt x="3221618" y="5557945"/>
                  </a:cubicBezTo>
                  <a:lnTo>
                    <a:pt x="3221618" y="5527829"/>
                  </a:lnTo>
                  <a:cubicBezTo>
                    <a:pt x="3227499" y="5525902"/>
                    <a:pt x="3233178" y="5523874"/>
                    <a:pt x="3238653" y="5521745"/>
                  </a:cubicBezTo>
                  <a:cubicBezTo>
                    <a:pt x="3244129" y="5519616"/>
                    <a:pt x="3249529" y="5517232"/>
                    <a:pt x="3254853" y="5514596"/>
                  </a:cubicBezTo>
                  <a:cubicBezTo>
                    <a:pt x="3260176" y="5511960"/>
                    <a:pt x="3265551" y="5509019"/>
                    <a:pt x="3270976" y="5505774"/>
                  </a:cubicBezTo>
                  <a:cubicBezTo>
                    <a:pt x="3276401" y="5502529"/>
                    <a:pt x="3282003" y="5498828"/>
                    <a:pt x="3287783" y="5494671"/>
                  </a:cubicBezTo>
                  <a:close/>
                  <a:moveTo>
                    <a:pt x="1423455" y="5494671"/>
                  </a:moveTo>
                  <a:lnTo>
                    <a:pt x="1438362" y="5494671"/>
                  </a:lnTo>
                  <a:lnTo>
                    <a:pt x="1438362" y="5717651"/>
                  </a:lnTo>
                  <a:lnTo>
                    <a:pt x="1403074" y="5717651"/>
                  </a:lnTo>
                  <a:lnTo>
                    <a:pt x="1403074" y="5537868"/>
                  </a:lnTo>
                  <a:cubicBezTo>
                    <a:pt x="1396686" y="5542431"/>
                    <a:pt x="1389815" y="5546309"/>
                    <a:pt x="1382465" y="5549504"/>
                  </a:cubicBezTo>
                  <a:cubicBezTo>
                    <a:pt x="1375112" y="5552698"/>
                    <a:pt x="1366721" y="5555511"/>
                    <a:pt x="1357292" y="5557945"/>
                  </a:cubicBezTo>
                  <a:lnTo>
                    <a:pt x="1357292" y="5527829"/>
                  </a:lnTo>
                  <a:cubicBezTo>
                    <a:pt x="1363172" y="5525903"/>
                    <a:pt x="1368852" y="5523875"/>
                    <a:pt x="1374327" y="5521745"/>
                  </a:cubicBezTo>
                  <a:cubicBezTo>
                    <a:pt x="1379802" y="5519616"/>
                    <a:pt x="1385202" y="5517233"/>
                    <a:pt x="1390525" y="5514596"/>
                  </a:cubicBezTo>
                  <a:cubicBezTo>
                    <a:pt x="1395850" y="5511960"/>
                    <a:pt x="1401224" y="5509019"/>
                    <a:pt x="1406649" y="5505775"/>
                  </a:cubicBezTo>
                  <a:cubicBezTo>
                    <a:pt x="1412074" y="5502530"/>
                    <a:pt x="1417675" y="5498829"/>
                    <a:pt x="1423455" y="5494671"/>
                  </a:cubicBezTo>
                  <a:close/>
                  <a:moveTo>
                    <a:pt x="9366501" y="5157041"/>
                  </a:moveTo>
                  <a:lnTo>
                    <a:pt x="9381407" y="5157041"/>
                  </a:lnTo>
                  <a:lnTo>
                    <a:pt x="9381407" y="5380021"/>
                  </a:lnTo>
                  <a:lnTo>
                    <a:pt x="9346119" y="5380021"/>
                  </a:lnTo>
                  <a:lnTo>
                    <a:pt x="9346119" y="5200238"/>
                  </a:lnTo>
                  <a:cubicBezTo>
                    <a:pt x="9339731" y="5204801"/>
                    <a:pt x="9332861" y="5208679"/>
                    <a:pt x="9325510" y="5211874"/>
                  </a:cubicBezTo>
                  <a:cubicBezTo>
                    <a:pt x="9318158" y="5215068"/>
                    <a:pt x="9309767" y="5217881"/>
                    <a:pt x="9300337" y="5220315"/>
                  </a:cubicBezTo>
                  <a:lnTo>
                    <a:pt x="9300337" y="5190199"/>
                  </a:lnTo>
                  <a:cubicBezTo>
                    <a:pt x="9306218" y="5188273"/>
                    <a:pt x="9311897" y="5186245"/>
                    <a:pt x="9317372" y="5184115"/>
                  </a:cubicBezTo>
                  <a:cubicBezTo>
                    <a:pt x="9322848" y="5181986"/>
                    <a:pt x="9328248" y="5179603"/>
                    <a:pt x="9333571" y="5176966"/>
                  </a:cubicBezTo>
                  <a:cubicBezTo>
                    <a:pt x="9338895" y="5174330"/>
                    <a:pt x="9344269" y="5171389"/>
                    <a:pt x="9349694" y="5168145"/>
                  </a:cubicBezTo>
                  <a:cubicBezTo>
                    <a:pt x="9355119" y="5164900"/>
                    <a:pt x="9360721" y="5161199"/>
                    <a:pt x="9366501" y="5157041"/>
                  </a:cubicBezTo>
                  <a:close/>
                  <a:moveTo>
                    <a:pt x="7520355" y="5157041"/>
                  </a:moveTo>
                  <a:lnTo>
                    <a:pt x="7535261" y="5157041"/>
                  </a:lnTo>
                  <a:lnTo>
                    <a:pt x="7535261" y="5380021"/>
                  </a:lnTo>
                  <a:lnTo>
                    <a:pt x="7499973" y="5380021"/>
                  </a:lnTo>
                  <a:lnTo>
                    <a:pt x="7499973" y="5200238"/>
                  </a:lnTo>
                  <a:cubicBezTo>
                    <a:pt x="7493585" y="5204801"/>
                    <a:pt x="7486716" y="5208679"/>
                    <a:pt x="7479364" y="5211874"/>
                  </a:cubicBezTo>
                  <a:cubicBezTo>
                    <a:pt x="7472012" y="5215068"/>
                    <a:pt x="7463622" y="5217881"/>
                    <a:pt x="7454191" y="5220315"/>
                  </a:cubicBezTo>
                  <a:lnTo>
                    <a:pt x="7454191" y="5190199"/>
                  </a:lnTo>
                  <a:cubicBezTo>
                    <a:pt x="7460072" y="5188273"/>
                    <a:pt x="7465751" y="5186245"/>
                    <a:pt x="7471226" y="5184115"/>
                  </a:cubicBezTo>
                  <a:cubicBezTo>
                    <a:pt x="7476702" y="5181986"/>
                    <a:pt x="7482102" y="5179603"/>
                    <a:pt x="7487425" y="5176966"/>
                  </a:cubicBezTo>
                  <a:cubicBezTo>
                    <a:pt x="7492749" y="5174330"/>
                    <a:pt x="7498123" y="5171389"/>
                    <a:pt x="7503548" y="5168145"/>
                  </a:cubicBezTo>
                  <a:cubicBezTo>
                    <a:pt x="7508973" y="5164900"/>
                    <a:pt x="7514575" y="5161199"/>
                    <a:pt x="7520355" y="5157041"/>
                  </a:cubicBezTo>
                  <a:close/>
                  <a:moveTo>
                    <a:pt x="3287783" y="5157041"/>
                  </a:moveTo>
                  <a:lnTo>
                    <a:pt x="3302689" y="5157041"/>
                  </a:lnTo>
                  <a:lnTo>
                    <a:pt x="3302689" y="5380021"/>
                  </a:lnTo>
                  <a:lnTo>
                    <a:pt x="3267400" y="5380021"/>
                  </a:lnTo>
                  <a:lnTo>
                    <a:pt x="3267400" y="5200237"/>
                  </a:lnTo>
                  <a:cubicBezTo>
                    <a:pt x="3261013" y="5204800"/>
                    <a:pt x="3254142" y="5208679"/>
                    <a:pt x="3246791" y="5211873"/>
                  </a:cubicBezTo>
                  <a:cubicBezTo>
                    <a:pt x="3239440" y="5215067"/>
                    <a:pt x="3231049" y="5217881"/>
                    <a:pt x="3221618" y="5220315"/>
                  </a:cubicBezTo>
                  <a:lnTo>
                    <a:pt x="3221618" y="5190199"/>
                  </a:lnTo>
                  <a:cubicBezTo>
                    <a:pt x="3227499" y="5188272"/>
                    <a:pt x="3233178" y="5186244"/>
                    <a:pt x="3238653" y="5184115"/>
                  </a:cubicBezTo>
                  <a:cubicBezTo>
                    <a:pt x="3244129" y="5181986"/>
                    <a:pt x="3249529" y="5179602"/>
                    <a:pt x="3254853" y="5176966"/>
                  </a:cubicBezTo>
                  <a:cubicBezTo>
                    <a:pt x="3260176" y="5174330"/>
                    <a:pt x="3265551" y="5171389"/>
                    <a:pt x="3270976" y="5168144"/>
                  </a:cubicBezTo>
                  <a:cubicBezTo>
                    <a:pt x="3276401" y="5164899"/>
                    <a:pt x="3282003" y="5161198"/>
                    <a:pt x="3287783" y="5157041"/>
                  </a:cubicBezTo>
                  <a:close/>
                  <a:moveTo>
                    <a:pt x="1423455" y="5157041"/>
                  </a:moveTo>
                  <a:lnTo>
                    <a:pt x="1438362" y="5157041"/>
                  </a:lnTo>
                  <a:lnTo>
                    <a:pt x="1438362" y="5380021"/>
                  </a:lnTo>
                  <a:lnTo>
                    <a:pt x="1403074" y="5380021"/>
                  </a:lnTo>
                  <a:lnTo>
                    <a:pt x="1403074" y="5200238"/>
                  </a:lnTo>
                  <a:cubicBezTo>
                    <a:pt x="1396686" y="5204801"/>
                    <a:pt x="1389815" y="5208679"/>
                    <a:pt x="1382465" y="5211874"/>
                  </a:cubicBezTo>
                  <a:cubicBezTo>
                    <a:pt x="1375112" y="5215068"/>
                    <a:pt x="1366721" y="5217881"/>
                    <a:pt x="1357292" y="5220315"/>
                  </a:cubicBezTo>
                  <a:lnTo>
                    <a:pt x="1357292" y="5190199"/>
                  </a:lnTo>
                  <a:cubicBezTo>
                    <a:pt x="1363172" y="5188273"/>
                    <a:pt x="1368852" y="5186245"/>
                    <a:pt x="1374327" y="5184115"/>
                  </a:cubicBezTo>
                  <a:cubicBezTo>
                    <a:pt x="1379802" y="5181986"/>
                    <a:pt x="1385202" y="5179603"/>
                    <a:pt x="1390525" y="5176966"/>
                  </a:cubicBezTo>
                  <a:cubicBezTo>
                    <a:pt x="1395850" y="5174330"/>
                    <a:pt x="1401224" y="5171389"/>
                    <a:pt x="1406649" y="5168145"/>
                  </a:cubicBezTo>
                  <a:cubicBezTo>
                    <a:pt x="1412074" y="5164900"/>
                    <a:pt x="1417675" y="5161199"/>
                    <a:pt x="1423455" y="5157041"/>
                  </a:cubicBezTo>
                  <a:close/>
                  <a:moveTo>
                    <a:pt x="9366501" y="4843971"/>
                  </a:moveTo>
                  <a:lnTo>
                    <a:pt x="9381407" y="4843971"/>
                  </a:lnTo>
                  <a:lnTo>
                    <a:pt x="9381407" y="5066951"/>
                  </a:lnTo>
                  <a:lnTo>
                    <a:pt x="9346119" y="5066951"/>
                  </a:lnTo>
                  <a:lnTo>
                    <a:pt x="9346119" y="4887167"/>
                  </a:lnTo>
                  <a:cubicBezTo>
                    <a:pt x="9339731" y="4891730"/>
                    <a:pt x="9332861" y="4895609"/>
                    <a:pt x="9325510" y="4898803"/>
                  </a:cubicBezTo>
                  <a:cubicBezTo>
                    <a:pt x="9318158" y="4901997"/>
                    <a:pt x="9309767" y="4904811"/>
                    <a:pt x="9300337" y="4907245"/>
                  </a:cubicBezTo>
                  <a:lnTo>
                    <a:pt x="9300337" y="4877129"/>
                  </a:lnTo>
                  <a:cubicBezTo>
                    <a:pt x="9306218" y="4875202"/>
                    <a:pt x="9311897" y="4873174"/>
                    <a:pt x="9317372" y="4871045"/>
                  </a:cubicBezTo>
                  <a:cubicBezTo>
                    <a:pt x="9322848" y="4868916"/>
                    <a:pt x="9328248" y="4866532"/>
                    <a:pt x="9333571" y="4863896"/>
                  </a:cubicBezTo>
                  <a:cubicBezTo>
                    <a:pt x="9338895" y="4861260"/>
                    <a:pt x="9344269" y="4858319"/>
                    <a:pt x="9349694" y="4855074"/>
                  </a:cubicBezTo>
                  <a:cubicBezTo>
                    <a:pt x="9355119" y="4851829"/>
                    <a:pt x="9360721" y="4848128"/>
                    <a:pt x="9366501" y="4843971"/>
                  </a:cubicBezTo>
                  <a:close/>
                  <a:moveTo>
                    <a:pt x="7520355" y="4843971"/>
                  </a:moveTo>
                  <a:lnTo>
                    <a:pt x="7535261" y="4843971"/>
                  </a:lnTo>
                  <a:lnTo>
                    <a:pt x="7535261" y="5066951"/>
                  </a:lnTo>
                  <a:lnTo>
                    <a:pt x="7499973" y="5066951"/>
                  </a:lnTo>
                  <a:lnTo>
                    <a:pt x="7499973" y="4887167"/>
                  </a:lnTo>
                  <a:cubicBezTo>
                    <a:pt x="7493585" y="4891730"/>
                    <a:pt x="7486716" y="4895609"/>
                    <a:pt x="7479364" y="4898803"/>
                  </a:cubicBezTo>
                  <a:cubicBezTo>
                    <a:pt x="7472012" y="4901997"/>
                    <a:pt x="7463622" y="4904811"/>
                    <a:pt x="7454191" y="4907245"/>
                  </a:cubicBezTo>
                  <a:lnTo>
                    <a:pt x="7454191" y="4877129"/>
                  </a:lnTo>
                  <a:cubicBezTo>
                    <a:pt x="7460072" y="4875202"/>
                    <a:pt x="7465751" y="4873174"/>
                    <a:pt x="7471226" y="4871045"/>
                  </a:cubicBezTo>
                  <a:cubicBezTo>
                    <a:pt x="7476702" y="4868916"/>
                    <a:pt x="7482102" y="4866532"/>
                    <a:pt x="7487425" y="4863896"/>
                  </a:cubicBezTo>
                  <a:cubicBezTo>
                    <a:pt x="7492749" y="4861260"/>
                    <a:pt x="7498123" y="4858319"/>
                    <a:pt x="7503548" y="4855074"/>
                  </a:cubicBezTo>
                  <a:cubicBezTo>
                    <a:pt x="7508973" y="4851829"/>
                    <a:pt x="7514575" y="4848128"/>
                    <a:pt x="7520355" y="4843971"/>
                  </a:cubicBezTo>
                  <a:close/>
                  <a:moveTo>
                    <a:pt x="3287783" y="4843971"/>
                  </a:moveTo>
                  <a:lnTo>
                    <a:pt x="3302689" y="4843971"/>
                  </a:lnTo>
                  <a:lnTo>
                    <a:pt x="3302689" y="5066951"/>
                  </a:lnTo>
                  <a:lnTo>
                    <a:pt x="3267400" y="5066951"/>
                  </a:lnTo>
                  <a:lnTo>
                    <a:pt x="3267400" y="4887167"/>
                  </a:lnTo>
                  <a:cubicBezTo>
                    <a:pt x="3261013" y="4891730"/>
                    <a:pt x="3254142" y="4895609"/>
                    <a:pt x="3246791" y="4898803"/>
                  </a:cubicBezTo>
                  <a:cubicBezTo>
                    <a:pt x="3239440" y="4901997"/>
                    <a:pt x="3231049" y="4904811"/>
                    <a:pt x="3221618" y="4907245"/>
                  </a:cubicBezTo>
                  <a:lnTo>
                    <a:pt x="3221618" y="4877129"/>
                  </a:lnTo>
                  <a:cubicBezTo>
                    <a:pt x="3227499" y="4875202"/>
                    <a:pt x="3233178" y="4873174"/>
                    <a:pt x="3238653" y="4871045"/>
                  </a:cubicBezTo>
                  <a:cubicBezTo>
                    <a:pt x="3244129" y="4868916"/>
                    <a:pt x="3249529" y="4866532"/>
                    <a:pt x="3254853" y="4863896"/>
                  </a:cubicBezTo>
                  <a:cubicBezTo>
                    <a:pt x="3260176" y="4861260"/>
                    <a:pt x="3265551" y="4858319"/>
                    <a:pt x="3270976" y="4855074"/>
                  </a:cubicBezTo>
                  <a:cubicBezTo>
                    <a:pt x="3276401" y="4851829"/>
                    <a:pt x="3282003" y="4848128"/>
                    <a:pt x="3287783" y="4843971"/>
                  </a:cubicBezTo>
                  <a:close/>
                  <a:moveTo>
                    <a:pt x="1423455" y="4843971"/>
                  </a:moveTo>
                  <a:lnTo>
                    <a:pt x="1438362" y="4843971"/>
                  </a:lnTo>
                  <a:lnTo>
                    <a:pt x="1438362" y="5066951"/>
                  </a:lnTo>
                  <a:lnTo>
                    <a:pt x="1403074" y="5066951"/>
                  </a:lnTo>
                  <a:lnTo>
                    <a:pt x="1403074" y="4887167"/>
                  </a:lnTo>
                  <a:cubicBezTo>
                    <a:pt x="1396686" y="4891730"/>
                    <a:pt x="1389815" y="4895609"/>
                    <a:pt x="1382465" y="4898803"/>
                  </a:cubicBezTo>
                  <a:cubicBezTo>
                    <a:pt x="1375112" y="4901997"/>
                    <a:pt x="1366721" y="4904811"/>
                    <a:pt x="1357292" y="4907245"/>
                  </a:cubicBezTo>
                  <a:lnTo>
                    <a:pt x="1357292" y="4877129"/>
                  </a:lnTo>
                  <a:cubicBezTo>
                    <a:pt x="1363172" y="4875202"/>
                    <a:pt x="1368852" y="4873174"/>
                    <a:pt x="1374327" y="4871045"/>
                  </a:cubicBezTo>
                  <a:cubicBezTo>
                    <a:pt x="1379802" y="4868916"/>
                    <a:pt x="1385202" y="4866532"/>
                    <a:pt x="1390525" y="4863896"/>
                  </a:cubicBezTo>
                  <a:cubicBezTo>
                    <a:pt x="1395850" y="4861260"/>
                    <a:pt x="1401224" y="4858319"/>
                    <a:pt x="1406649" y="4855074"/>
                  </a:cubicBezTo>
                  <a:cubicBezTo>
                    <a:pt x="1412074" y="4851829"/>
                    <a:pt x="1417675" y="4848128"/>
                    <a:pt x="1423455" y="4843971"/>
                  </a:cubicBezTo>
                  <a:close/>
                  <a:moveTo>
                    <a:pt x="9366501" y="4506341"/>
                  </a:moveTo>
                  <a:lnTo>
                    <a:pt x="9381407" y="4506341"/>
                  </a:lnTo>
                  <a:lnTo>
                    <a:pt x="9381407" y="4729321"/>
                  </a:lnTo>
                  <a:lnTo>
                    <a:pt x="9346119" y="4729321"/>
                  </a:lnTo>
                  <a:lnTo>
                    <a:pt x="9346119" y="4549537"/>
                  </a:lnTo>
                  <a:cubicBezTo>
                    <a:pt x="9339731" y="4554100"/>
                    <a:pt x="9332861" y="4557979"/>
                    <a:pt x="9325510" y="4561173"/>
                  </a:cubicBezTo>
                  <a:cubicBezTo>
                    <a:pt x="9318158" y="4564367"/>
                    <a:pt x="9309767" y="4567181"/>
                    <a:pt x="9300337" y="4569615"/>
                  </a:cubicBezTo>
                  <a:lnTo>
                    <a:pt x="9300337" y="4539499"/>
                  </a:lnTo>
                  <a:cubicBezTo>
                    <a:pt x="9306218" y="4537572"/>
                    <a:pt x="9311897" y="4535544"/>
                    <a:pt x="9317372" y="4533415"/>
                  </a:cubicBezTo>
                  <a:cubicBezTo>
                    <a:pt x="9322848" y="4531286"/>
                    <a:pt x="9328248" y="4528902"/>
                    <a:pt x="9333571" y="4526266"/>
                  </a:cubicBezTo>
                  <a:cubicBezTo>
                    <a:pt x="9338895" y="4523630"/>
                    <a:pt x="9344269" y="4520689"/>
                    <a:pt x="9349694" y="4517444"/>
                  </a:cubicBezTo>
                  <a:cubicBezTo>
                    <a:pt x="9355119" y="4514199"/>
                    <a:pt x="9360721" y="4510498"/>
                    <a:pt x="9366501" y="4506341"/>
                  </a:cubicBezTo>
                  <a:close/>
                  <a:moveTo>
                    <a:pt x="7520355" y="4506341"/>
                  </a:moveTo>
                  <a:lnTo>
                    <a:pt x="7535261" y="4506341"/>
                  </a:lnTo>
                  <a:lnTo>
                    <a:pt x="7535261" y="4729321"/>
                  </a:lnTo>
                  <a:lnTo>
                    <a:pt x="7499973" y="4729321"/>
                  </a:lnTo>
                  <a:lnTo>
                    <a:pt x="7499973" y="4549537"/>
                  </a:lnTo>
                  <a:cubicBezTo>
                    <a:pt x="7493585" y="4554100"/>
                    <a:pt x="7486716" y="4557979"/>
                    <a:pt x="7479364" y="4561173"/>
                  </a:cubicBezTo>
                  <a:cubicBezTo>
                    <a:pt x="7472012" y="4564367"/>
                    <a:pt x="7463622" y="4567181"/>
                    <a:pt x="7454191" y="4569615"/>
                  </a:cubicBezTo>
                  <a:lnTo>
                    <a:pt x="7454191" y="4539499"/>
                  </a:lnTo>
                  <a:cubicBezTo>
                    <a:pt x="7460072" y="4537572"/>
                    <a:pt x="7465751" y="4535544"/>
                    <a:pt x="7471226" y="4533415"/>
                  </a:cubicBezTo>
                  <a:cubicBezTo>
                    <a:pt x="7476702" y="4531286"/>
                    <a:pt x="7482102" y="4528902"/>
                    <a:pt x="7487425" y="4526266"/>
                  </a:cubicBezTo>
                  <a:cubicBezTo>
                    <a:pt x="7492749" y="4523630"/>
                    <a:pt x="7498123" y="4520689"/>
                    <a:pt x="7503548" y="4517444"/>
                  </a:cubicBezTo>
                  <a:cubicBezTo>
                    <a:pt x="7508973" y="4514199"/>
                    <a:pt x="7514575" y="4510498"/>
                    <a:pt x="7520355" y="4506341"/>
                  </a:cubicBezTo>
                  <a:close/>
                  <a:moveTo>
                    <a:pt x="3287783" y="4506341"/>
                  </a:moveTo>
                  <a:lnTo>
                    <a:pt x="3302689" y="4506341"/>
                  </a:lnTo>
                  <a:lnTo>
                    <a:pt x="3302689" y="4729321"/>
                  </a:lnTo>
                  <a:lnTo>
                    <a:pt x="3267400" y="4729321"/>
                  </a:lnTo>
                  <a:lnTo>
                    <a:pt x="3267400" y="4549537"/>
                  </a:lnTo>
                  <a:cubicBezTo>
                    <a:pt x="3261013" y="4554100"/>
                    <a:pt x="3254142" y="4557979"/>
                    <a:pt x="3246791" y="4561173"/>
                  </a:cubicBezTo>
                  <a:cubicBezTo>
                    <a:pt x="3239440" y="4564367"/>
                    <a:pt x="3231049" y="4567181"/>
                    <a:pt x="3221618" y="4569615"/>
                  </a:cubicBezTo>
                  <a:lnTo>
                    <a:pt x="3221618" y="4539499"/>
                  </a:lnTo>
                  <a:cubicBezTo>
                    <a:pt x="3227499" y="4537572"/>
                    <a:pt x="3233178" y="4535544"/>
                    <a:pt x="3238653" y="4533415"/>
                  </a:cubicBezTo>
                  <a:cubicBezTo>
                    <a:pt x="3244129" y="4531286"/>
                    <a:pt x="3249529" y="4528902"/>
                    <a:pt x="3254853" y="4526266"/>
                  </a:cubicBezTo>
                  <a:cubicBezTo>
                    <a:pt x="3260176" y="4523630"/>
                    <a:pt x="3265551" y="4520689"/>
                    <a:pt x="3270976" y="4517444"/>
                  </a:cubicBezTo>
                  <a:cubicBezTo>
                    <a:pt x="3276401" y="4514199"/>
                    <a:pt x="3282003" y="4510498"/>
                    <a:pt x="3287783" y="4506341"/>
                  </a:cubicBezTo>
                  <a:close/>
                  <a:moveTo>
                    <a:pt x="1423455" y="4506341"/>
                  </a:moveTo>
                  <a:lnTo>
                    <a:pt x="1438362" y="4506341"/>
                  </a:lnTo>
                  <a:lnTo>
                    <a:pt x="1438362" y="4729321"/>
                  </a:lnTo>
                  <a:lnTo>
                    <a:pt x="1403074" y="4729321"/>
                  </a:lnTo>
                  <a:lnTo>
                    <a:pt x="1403074" y="4549537"/>
                  </a:lnTo>
                  <a:cubicBezTo>
                    <a:pt x="1396686" y="4554100"/>
                    <a:pt x="1389815" y="4557979"/>
                    <a:pt x="1382465" y="4561173"/>
                  </a:cubicBezTo>
                  <a:cubicBezTo>
                    <a:pt x="1375112" y="4564367"/>
                    <a:pt x="1366721" y="4567181"/>
                    <a:pt x="1357292" y="4569615"/>
                  </a:cubicBezTo>
                  <a:lnTo>
                    <a:pt x="1357292" y="4539499"/>
                  </a:lnTo>
                  <a:cubicBezTo>
                    <a:pt x="1363172" y="4537572"/>
                    <a:pt x="1368852" y="4535544"/>
                    <a:pt x="1374327" y="4533415"/>
                  </a:cubicBezTo>
                  <a:cubicBezTo>
                    <a:pt x="1379802" y="4531286"/>
                    <a:pt x="1385202" y="4528902"/>
                    <a:pt x="1390525" y="4526266"/>
                  </a:cubicBezTo>
                  <a:cubicBezTo>
                    <a:pt x="1395850" y="4523630"/>
                    <a:pt x="1401224" y="4520689"/>
                    <a:pt x="1406649" y="4517444"/>
                  </a:cubicBezTo>
                  <a:cubicBezTo>
                    <a:pt x="1412074" y="4514199"/>
                    <a:pt x="1417675" y="4510498"/>
                    <a:pt x="1423455" y="4506341"/>
                  </a:cubicBezTo>
                  <a:close/>
                  <a:moveTo>
                    <a:pt x="10276410" y="4158870"/>
                  </a:moveTo>
                  <a:lnTo>
                    <a:pt x="10291316" y="4158870"/>
                  </a:lnTo>
                  <a:lnTo>
                    <a:pt x="10291316" y="4381850"/>
                  </a:lnTo>
                  <a:lnTo>
                    <a:pt x="10256028" y="4381850"/>
                  </a:lnTo>
                  <a:lnTo>
                    <a:pt x="10256028" y="4202067"/>
                  </a:lnTo>
                  <a:cubicBezTo>
                    <a:pt x="10249640" y="4206630"/>
                    <a:pt x="10242770" y="4210508"/>
                    <a:pt x="10235419" y="4213703"/>
                  </a:cubicBezTo>
                  <a:cubicBezTo>
                    <a:pt x="10228067" y="4216897"/>
                    <a:pt x="10219676" y="4219710"/>
                    <a:pt x="10210246" y="4222144"/>
                  </a:cubicBezTo>
                  <a:lnTo>
                    <a:pt x="10210246" y="4192028"/>
                  </a:lnTo>
                  <a:cubicBezTo>
                    <a:pt x="10216127" y="4190102"/>
                    <a:pt x="10221806" y="4188074"/>
                    <a:pt x="10227281" y="4185944"/>
                  </a:cubicBezTo>
                  <a:cubicBezTo>
                    <a:pt x="10232757" y="4183815"/>
                    <a:pt x="10238157" y="4181432"/>
                    <a:pt x="10243480" y="4178795"/>
                  </a:cubicBezTo>
                  <a:cubicBezTo>
                    <a:pt x="10248804" y="4176159"/>
                    <a:pt x="10254178" y="4173218"/>
                    <a:pt x="10259603" y="4169974"/>
                  </a:cubicBezTo>
                  <a:cubicBezTo>
                    <a:pt x="10265028" y="4166729"/>
                    <a:pt x="10270630" y="4163028"/>
                    <a:pt x="10276410" y="4158870"/>
                  </a:cubicBezTo>
                  <a:close/>
                  <a:moveTo>
                    <a:pt x="9366501" y="4158870"/>
                  </a:moveTo>
                  <a:lnTo>
                    <a:pt x="9381407" y="4158870"/>
                  </a:lnTo>
                  <a:lnTo>
                    <a:pt x="9381407" y="4381850"/>
                  </a:lnTo>
                  <a:lnTo>
                    <a:pt x="9346119" y="4381850"/>
                  </a:lnTo>
                  <a:lnTo>
                    <a:pt x="9346119" y="4202066"/>
                  </a:lnTo>
                  <a:cubicBezTo>
                    <a:pt x="9339731" y="4206629"/>
                    <a:pt x="9332861" y="4210508"/>
                    <a:pt x="9325510" y="4213702"/>
                  </a:cubicBezTo>
                  <a:cubicBezTo>
                    <a:pt x="9318158" y="4216896"/>
                    <a:pt x="9309767" y="4219710"/>
                    <a:pt x="9300337" y="4222144"/>
                  </a:cubicBezTo>
                  <a:lnTo>
                    <a:pt x="9300337" y="4192028"/>
                  </a:lnTo>
                  <a:cubicBezTo>
                    <a:pt x="9306218" y="4190101"/>
                    <a:pt x="9311897" y="4188073"/>
                    <a:pt x="9317372" y="4185944"/>
                  </a:cubicBezTo>
                  <a:cubicBezTo>
                    <a:pt x="9322848" y="4183815"/>
                    <a:pt x="9328248" y="4181431"/>
                    <a:pt x="9333571" y="4178795"/>
                  </a:cubicBezTo>
                  <a:cubicBezTo>
                    <a:pt x="9338895" y="4176159"/>
                    <a:pt x="9344269" y="4173218"/>
                    <a:pt x="9349694" y="4169973"/>
                  </a:cubicBezTo>
                  <a:cubicBezTo>
                    <a:pt x="9355119" y="4166728"/>
                    <a:pt x="9360721" y="4163027"/>
                    <a:pt x="9366501" y="4158870"/>
                  </a:cubicBezTo>
                  <a:close/>
                  <a:moveTo>
                    <a:pt x="7520355" y="4158870"/>
                  </a:moveTo>
                  <a:lnTo>
                    <a:pt x="7535261" y="4158870"/>
                  </a:lnTo>
                  <a:lnTo>
                    <a:pt x="7535261" y="4381850"/>
                  </a:lnTo>
                  <a:lnTo>
                    <a:pt x="7499973" y="4381850"/>
                  </a:lnTo>
                  <a:lnTo>
                    <a:pt x="7499973" y="4202066"/>
                  </a:lnTo>
                  <a:cubicBezTo>
                    <a:pt x="7493585" y="4206629"/>
                    <a:pt x="7486716" y="4210508"/>
                    <a:pt x="7479364" y="4213702"/>
                  </a:cubicBezTo>
                  <a:cubicBezTo>
                    <a:pt x="7472012" y="4216896"/>
                    <a:pt x="7463622" y="4219710"/>
                    <a:pt x="7454191" y="4222144"/>
                  </a:cubicBezTo>
                  <a:lnTo>
                    <a:pt x="7454191" y="4192028"/>
                  </a:lnTo>
                  <a:cubicBezTo>
                    <a:pt x="7460072" y="4190101"/>
                    <a:pt x="7465751" y="4188073"/>
                    <a:pt x="7471226" y="4185944"/>
                  </a:cubicBezTo>
                  <a:cubicBezTo>
                    <a:pt x="7476702" y="4183815"/>
                    <a:pt x="7482102" y="4181431"/>
                    <a:pt x="7487425" y="4178795"/>
                  </a:cubicBezTo>
                  <a:cubicBezTo>
                    <a:pt x="7492749" y="4176159"/>
                    <a:pt x="7498123" y="4173218"/>
                    <a:pt x="7503548" y="4169973"/>
                  </a:cubicBezTo>
                  <a:cubicBezTo>
                    <a:pt x="7508973" y="4166728"/>
                    <a:pt x="7514575" y="4163027"/>
                    <a:pt x="7520355" y="4158870"/>
                  </a:cubicBezTo>
                  <a:close/>
                  <a:moveTo>
                    <a:pt x="4159688" y="4158870"/>
                  </a:moveTo>
                  <a:lnTo>
                    <a:pt x="4174594" y="4158870"/>
                  </a:lnTo>
                  <a:lnTo>
                    <a:pt x="4174594" y="4381850"/>
                  </a:lnTo>
                  <a:lnTo>
                    <a:pt x="4139306" y="4381850"/>
                  </a:lnTo>
                  <a:lnTo>
                    <a:pt x="4139306" y="4202067"/>
                  </a:lnTo>
                  <a:cubicBezTo>
                    <a:pt x="4132918" y="4206630"/>
                    <a:pt x="4126048" y="4210508"/>
                    <a:pt x="4118697" y="4213703"/>
                  </a:cubicBezTo>
                  <a:cubicBezTo>
                    <a:pt x="4111345" y="4216897"/>
                    <a:pt x="4102955" y="4219710"/>
                    <a:pt x="4093525" y="4222144"/>
                  </a:cubicBezTo>
                  <a:lnTo>
                    <a:pt x="4093525" y="4192028"/>
                  </a:lnTo>
                  <a:cubicBezTo>
                    <a:pt x="4099406" y="4190102"/>
                    <a:pt x="4105085" y="4188074"/>
                    <a:pt x="4110559" y="4185944"/>
                  </a:cubicBezTo>
                  <a:cubicBezTo>
                    <a:pt x="4116035" y="4183815"/>
                    <a:pt x="4121435" y="4181432"/>
                    <a:pt x="4126758" y="4178795"/>
                  </a:cubicBezTo>
                  <a:cubicBezTo>
                    <a:pt x="4132083" y="4176159"/>
                    <a:pt x="4137456" y="4173218"/>
                    <a:pt x="4142881" y="4169974"/>
                  </a:cubicBezTo>
                  <a:cubicBezTo>
                    <a:pt x="4148307" y="4166729"/>
                    <a:pt x="4153908" y="4163028"/>
                    <a:pt x="4159688" y="4158870"/>
                  </a:cubicBezTo>
                  <a:close/>
                  <a:moveTo>
                    <a:pt x="3287783" y="4158870"/>
                  </a:moveTo>
                  <a:lnTo>
                    <a:pt x="3302689" y="4158870"/>
                  </a:lnTo>
                  <a:lnTo>
                    <a:pt x="3302689" y="4381850"/>
                  </a:lnTo>
                  <a:lnTo>
                    <a:pt x="3267400" y="4381850"/>
                  </a:lnTo>
                  <a:lnTo>
                    <a:pt x="3267400" y="4202066"/>
                  </a:lnTo>
                  <a:cubicBezTo>
                    <a:pt x="3261013" y="4206629"/>
                    <a:pt x="3254142" y="4210508"/>
                    <a:pt x="3246791" y="4213702"/>
                  </a:cubicBezTo>
                  <a:cubicBezTo>
                    <a:pt x="3239440" y="4216896"/>
                    <a:pt x="3231049" y="4219710"/>
                    <a:pt x="3221618" y="4222144"/>
                  </a:cubicBezTo>
                  <a:lnTo>
                    <a:pt x="3221618" y="4192028"/>
                  </a:lnTo>
                  <a:cubicBezTo>
                    <a:pt x="3227499" y="4190101"/>
                    <a:pt x="3233178" y="4188073"/>
                    <a:pt x="3238653" y="4185944"/>
                  </a:cubicBezTo>
                  <a:cubicBezTo>
                    <a:pt x="3244129" y="4183815"/>
                    <a:pt x="3249529" y="4181431"/>
                    <a:pt x="3254853" y="4178795"/>
                  </a:cubicBezTo>
                  <a:cubicBezTo>
                    <a:pt x="3260176" y="4176159"/>
                    <a:pt x="3265551" y="4173218"/>
                    <a:pt x="3270976" y="4169973"/>
                  </a:cubicBezTo>
                  <a:cubicBezTo>
                    <a:pt x="3276401" y="4166728"/>
                    <a:pt x="3282003" y="4163027"/>
                    <a:pt x="3287783" y="4158870"/>
                  </a:cubicBezTo>
                  <a:close/>
                  <a:moveTo>
                    <a:pt x="1423455" y="4158870"/>
                  </a:moveTo>
                  <a:lnTo>
                    <a:pt x="1438362" y="4158870"/>
                  </a:lnTo>
                  <a:lnTo>
                    <a:pt x="1438362" y="4381850"/>
                  </a:lnTo>
                  <a:lnTo>
                    <a:pt x="1403074" y="4381850"/>
                  </a:lnTo>
                  <a:lnTo>
                    <a:pt x="1403074" y="4202066"/>
                  </a:lnTo>
                  <a:cubicBezTo>
                    <a:pt x="1396686" y="4206629"/>
                    <a:pt x="1389815" y="4210508"/>
                    <a:pt x="1382465" y="4213702"/>
                  </a:cubicBezTo>
                  <a:cubicBezTo>
                    <a:pt x="1375112" y="4216896"/>
                    <a:pt x="1366721" y="4219710"/>
                    <a:pt x="1357292" y="4222144"/>
                  </a:cubicBezTo>
                  <a:lnTo>
                    <a:pt x="1357292" y="4192028"/>
                  </a:lnTo>
                  <a:cubicBezTo>
                    <a:pt x="1363172" y="4190101"/>
                    <a:pt x="1368852" y="4188073"/>
                    <a:pt x="1374327" y="4185944"/>
                  </a:cubicBezTo>
                  <a:cubicBezTo>
                    <a:pt x="1379802" y="4183815"/>
                    <a:pt x="1385202" y="4181431"/>
                    <a:pt x="1390525" y="4178795"/>
                  </a:cubicBezTo>
                  <a:cubicBezTo>
                    <a:pt x="1395850" y="4176159"/>
                    <a:pt x="1401224" y="4173218"/>
                    <a:pt x="1406649" y="4169973"/>
                  </a:cubicBezTo>
                  <a:cubicBezTo>
                    <a:pt x="1412074" y="4166728"/>
                    <a:pt x="1417675" y="4163027"/>
                    <a:pt x="1423455" y="4158870"/>
                  </a:cubicBezTo>
                  <a:close/>
                  <a:moveTo>
                    <a:pt x="66164" y="4158870"/>
                  </a:moveTo>
                  <a:lnTo>
                    <a:pt x="81070" y="4158870"/>
                  </a:lnTo>
                  <a:lnTo>
                    <a:pt x="81070" y="4381850"/>
                  </a:lnTo>
                  <a:lnTo>
                    <a:pt x="45782" y="4381850"/>
                  </a:lnTo>
                  <a:lnTo>
                    <a:pt x="45782" y="4202067"/>
                  </a:lnTo>
                  <a:cubicBezTo>
                    <a:pt x="39394" y="4206630"/>
                    <a:pt x="32525" y="4210508"/>
                    <a:pt x="25173" y="4213703"/>
                  </a:cubicBezTo>
                  <a:cubicBezTo>
                    <a:pt x="17821" y="4216897"/>
                    <a:pt x="9431" y="4219710"/>
                    <a:pt x="0" y="4222144"/>
                  </a:cubicBezTo>
                  <a:lnTo>
                    <a:pt x="0" y="4192028"/>
                  </a:lnTo>
                  <a:cubicBezTo>
                    <a:pt x="5881" y="4190102"/>
                    <a:pt x="11560" y="4188074"/>
                    <a:pt x="17035" y="4185944"/>
                  </a:cubicBezTo>
                  <a:cubicBezTo>
                    <a:pt x="22511" y="4183815"/>
                    <a:pt x="27911" y="4181432"/>
                    <a:pt x="33234" y="4178795"/>
                  </a:cubicBezTo>
                  <a:cubicBezTo>
                    <a:pt x="38558" y="4176159"/>
                    <a:pt x="43932" y="4173218"/>
                    <a:pt x="49357" y="4169974"/>
                  </a:cubicBezTo>
                  <a:cubicBezTo>
                    <a:pt x="54782" y="4166729"/>
                    <a:pt x="60384" y="4163028"/>
                    <a:pt x="66164" y="4158870"/>
                  </a:cubicBezTo>
                  <a:close/>
                  <a:moveTo>
                    <a:pt x="10276410" y="3811399"/>
                  </a:moveTo>
                  <a:lnTo>
                    <a:pt x="10291316" y="3811399"/>
                  </a:lnTo>
                  <a:lnTo>
                    <a:pt x="10291316" y="4034379"/>
                  </a:lnTo>
                  <a:lnTo>
                    <a:pt x="10256028" y="4034379"/>
                  </a:lnTo>
                  <a:lnTo>
                    <a:pt x="10256028" y="3854595"/>
                  </a:lnTo>
                  <a:cubicBezTo>
                    <a:pt x="10249640" y="3859159"/>
                    <a:pt x="10242770" y="3863037"/>
                    <a:pt x="10235419" y="3866231"/>
                  </a:cubicBezTo>
                  <a:cubicBezTo>
                    <a:pt x="10228067" y="3869425"/>
                    <a:pt x="10219676" y="3872239"/>
                    <a:pt x="10210246" y="3874673"/>
                  </a:cubicBezTo>
                  <a:lnTo>
                    <a:pt x="10210246" y="3844557"/>
                  </a:lnTo>
                  <a:cubicBezTo>
                    <a:pt x="10216127" y="3842630"/>
                    <a:pt x="10221806" y="3840602"/>
                    <a:pt x="10227281" y="3838473"/>
                  </a:cubicBezTo>
                  <a:cubicBezTo>
                    <a:pt x="10232757" y="3836344"/>
                    <a:pt x="10238157" y="3833960"/>
                    <a:pt x="10243480" y="3831324"/>
                  </a:cubicBezTo>
                  <a:cubicBezTo>
                    <a:pt x="10248804" y="3828688"/>
                    <a:pt x="10254178" y="3825747"/>
                    <a:pt x="10259603" y="3822502"/>
                  </a:cubicBezTo>
                  <a:cubicBezTo>
                    <a:pt x="10265028" y="3819257"/>
                    <a:pt x="10270630" y="3815556"/>
                    <a:pt x="10276410" y="3811399"/>
                  </a:cubicBezTo>
                  <a:close/>
                  <a:moveTo>
                    <a:pt x="9366501" y="3811399"/>
                  </a:moveTo>
                  <a:lnTo>
                    <a:pt x="9381407" y="3811399"/>
                  </a:lnTo>
                  <a:lnTo>
                    <a:pt x="9381407" y="4034379"/>
                  </a:lnTo>
                  <a:lnTo>
                    <a:pt x="9346119" y="4034379"/>
                  </a:lnTo>
                  <a:lnTo>
                    <a:pt x="9346119" y="3854595"/>
                  </a:lnTo>
                  <a:cubicBezTo>
                    <a:pt x="9339731" y="3859159"/>
                    <a:pt x="9332861" y="3863037"/>
                    <a:pt x="9325510" y="3866231"/>
                  </a:cubicBezTo>
                  <a:cubicBezTo>
                    <a:pt x="9318158" y="3869425"/>
                    <a:pt x="9309767" y="3872239"/>
                    <a:pt x="9300337" y="3874673"/>
                  </a:cubicBezTo>
                  <a:lnTo>
                    <a:pt x="9300337" y="3844557"/>
                  </a:lnTo>
                  <a:cubicBezTo>
                    <a:pt x="9306218" y="3842630"/>
                    <a:pt x="9311897" y="3840602"/>
                    <a:pt x="9317372" y="3838473"/>
                  </a:cubicBezTo>
                  <a:cubicBezTo>
                    <a:pt x="9322848" y="3836344"/>
                    <a:pt x="9328248" y="3833960"/>
                    <a:pt x="9333571" y="3831324"/>
                  </a:cubicBezTo>
                  <a:cubicBezTo>
                    <a:pt x="9338895" y="3828688"/>
                    <a:pt x="9344269" y="3825747"/>
                    <a:pt x="9349694" y="3822502"/>
                  </a:cubicBezTo>
                  <a:cubicBezTo>
                    <a:pt x="9355119" y="3819257"/>
                    <a:pt x="9360721" y="3815556"/>
                    <a:pt x="9366501" y="3811399"/>
                  </a:cubicBezTo>
                  <a:close/>
                  <a:moveTo>
                    <a:pt x="7520355" y="3811399"/>
                  </a:moveTo>
                  <a:lnTo>
                    <a:pt x="7535261" y="3811399"/>
                  </a:lnTo>
                  <a:lnTo>
                    <a:pt x="7535261" y="4034379"/>
                  </a:lnTo>
                  <a:lnTo>
                    <a:pt x="7499973" y="4034379"/>
                  </a:lnTo>
                  <a:lnTo>
                    <a:pt x="7499973" y="3854595"/>
                  </a:lnTo>
                  <a:cubicBezTo>
                    <a:pt x="7493585" y="3859159"/>
                    <a:pt x="7486716" y="3863037"/>
                    <a:pt x="7479364" y="3866231"/>
                  </a:cubicBezTo>
                  <a:cubicBezTo>
                    <a:pt x="7472012" y="3869425"/>
                    <a:pt x="7463622" y="3872239"/>
                    <a:pt x="7454191" y="3874673"/>
                  </a:cubicBezTo>
                  <a:lnTo>
                    <a:pt x="7454191" y="3844557"/>
                  </a:lnTo>
                  <a:cubicBezTo>
                    <a:pt x="7460072" y="3842630"/>
                    <a:pt x="7465751" y="3840602"/>
                    <a:pt x="7471226" y="3838473"/>
                  </a:cubicBezTo>
                  <a:cubicBezTo>
                    <a:pt x="7476702" y="3836344"/>
                    <a:pt x="7482102" y="3833960"/>
                    <a:pt x="7487425" y="3831324"/>
                  </a:cubicBezTo>
                  <a:cubicBezTo>
                    <a:pt x="7492749" y="3828688"/>
                    <a:pt x="7498123" y="3825747"/>
                    <a:pt x="7503548" y="3822502"/>
                  </a:cubicBezTo>
                  <a:cubicBezTo>
                    <a:pt x="7508973" y="3819257"/>
                    <a:pt x="7514575" y="3815556"/>
                    <a:pt x="7520355" y="3811399"/>
                  </a:cubicBezTo>
                  <a:close/>
                  <a:moveTo>
                    <a:pt x="4159688" y="3811399"/>
                  </a:moveTo>
                  <a:lnTo>
                    <a:pt x="4174594" y="3811399"/>
                  </a:lnTo>
                  <a:lnTo>
                    <a:pt x="4174594" y="4034379"/>
                  </a:lnTo>
                  <a:lnTo>
                    <a:pt x="4139306" y="4034379"/>
                  </a:lnTo>
                  <a:lnTo>
                    <a:pt x="4139306" y="3854595"/>
                  </a:lnTo>
                  <a:cubicBezTo>
                    <a:pt x="4132918" y="3859159"/>
                    <a:pt x="4126048" y="3863037"/>
                    <a:pt x="4118697" y="3866231"/>
                  </a:cubicBezTo>
                  <a:cubicBezTo>
                    <a:pt x="4111345" y="3869425"/>
                    <a:pt x="4102955" y="3872239"/>
                    <a:pt x="4093525" y="3874673"/>
                  </a:cubicBezTo>
                  <a:lnTo>
                    <a:pt x="4093525" y="3844557"/>
                  </a:lnTo>
                  <a:cubicBezTo>
                    <a:pt x="4099406" y="3842630"/>
                    <a:pt x="4105085" y="3840602"/>
                    <a:pt x="4110559" y="3838473"/>
                  </a:cubicBezTo>
                  <a:cubicBezTo>
                    <a:pt x="4116035" y="3836344"/>
                    <a:pt x="4121435" y="3833960"/>
                    <a:pt x="4126758" y="3831324"/>
                  </a:cubicBezTo>
                  <a:cubicBezTo>
                    <a:pt x="4132083" y="3828688"/>
                    <a:pt x="4137456" y="3825747"/>
                    <a:pt x="4142881" y="3822502"/>
                  </a:cubicBezTo>
                  <a:cubicBezTo>
                    <a:pt x="4148307" y="3819257"/>
                    <a:pt x="4153908" y="3815556"/>
                    <a:pt x="4159688" y="3811399"/>
                  </a:cubicBezTo>
                  <a:close/>
                  <a:moveTo>
                    <a:pt x="3287783" y="3811399"/>
                  </a:moveTo>
                  <a:lnTo>
                    <a:pt x="3302689" y="3811399"/>
                  </a:lnTo>
                  <a:lnTo>
                    <a:pt x="3302689" y="4034379"/>
                  </a:lnTo>
                  <a:lnTo>
                    <a:pt x="3267400" y="4034379"/>
                  </a:lnTo>
                  <a:lnTo>
                    <a:pt x="3267400" y="3854595"/>
                  </a:lnTo>
                  <a:cubicBezTo>
                    <a:pt x="3261013" y="3859159"/>
                    <a:pt x="3254142" y="3863037"/>
                    <a:pt x="3246791" y="3866231"/>
                  </a:cubicBezTo>
                  <a:cubicBezTo>
                    <a:pt x="3239440" y="3869425"/>
                    <a:pt x="3231049" y="3872239"/>
                    <a:pt x="3221618" y="3874673"/>
                  </a:cubicBezTo>
                  <a:lnTo>
                    <a:pt x="3221618" y="3844557"/>
                  </a:lnTo>
                  <a:cubicBezTo>
                    <a:pt x="3227499" y="3842630"/>
                    <a:pt x="3233178" y="3840602"/>
                    <a:pt x="3238653" y="3838473"/>
                  </a:cubicBezTo>
                  <a:cubicBezTo>
                    <a:pt x="3244129" y="3836344"/>
                    <a:pt x="3249529" y="3833960"/>
                    <a:pt x="3254853" y="3831324"/>
                  </a:cubicBezTo>
                  <a:cubicBezTo>
                    <a:pt x="3260176" y="3828688"/>
                    <a:pt x="3265551" y="3825747"/>
                    <a:pt x="3270976" y="3822502"/>
                  </a:cubicBezTo>
                  <a:cubicBezTo>
                    <a:pt x="3276401" y="3819257"/>
                    <a:pt x="3282003" y="3815556"/>
                    <a:pt x="3287783" y="3811399"/>
                  </a:cubicBezTo>
                  <a:close/>
                  <a:moveTo>
                    <a:pt x="1423455" y="3811399"/>
                  </a:moveTo>
                  <a:lnTo>
                    <a:pt x="1438362" y="3811399"/>
                  </a:lnTo>
                  <a:lnTo>
                    <a:pt x="1438362" y="4034379"/>
                  </a:lnTo>
                  <a:lnTo>
                    <a:pt x="1403074" y="4034379"/>
                  </a:lnTo>
                  <a:lnTo>
                    <a:pt x="1403074" y="3854595"/>
                  </a:lnTo>
                  <a:cubicBezTo>
                    <a:pt x="1396686" y="3859159"/>
                    <a:pt x="1389815" y="3863037"/>
                    <a:pt x="1382465" y="3866231"/>
                  </a:cubicBezTo>
                  <a:cubicBezTo>
                    <a:pt x="1375112" y="3869425"/>
                    <a:pt x="1366721" y="3872239"/>
                    <a:pt x="1357292" y="3874673"/>
                  </a:cubicBezTo>
                  <a:lnTo>
                    <a:pt x="1357292" y="3844557"/>
                  </a:lnTo>
                  <a:cubicBezTo>
                    <a:pt x="1363172" y="3842630"/>
                    <a:pt x="1368852" y="3840602"/>
                    <a:pt x="1374327" y="3838473"/>
                  </a:cubicBezTo>
                  <a:cubicBezTo>
                    <a:pt x="1379802" y="3836344"/>
                    <a:pt x="1385202" y="3833960"/>
                    <a:pt x="1390525" y="3831324"/>
                  </a:cubicBezTo>
                  <a:cubicBezTo>
                    <a:pt x="1395850" y="3828688"/>
                    <a:pt x="1401224" y="3825747"/>
                    <a:pt x="1406649" y="3822502"/>
                  </a:cubicBezTo>
                  <a:cubicBezTo>
                    <a:pt x="1412074" y="3819257"/>
                    <a:pt x="1417675" y="3815556"/>
                    <a:pt x="1423455" y="3811399"/>
                  </a:cubicBezTo>
                  <a:close/>
                  <a:moveTo>
                    <a:pt x="66164" y="3811399"/>
                  </a:moveTo>
                  <a:lnTo>
                    <a:pt x="81070" y="3811399"/>
                  </a:lnTo>
                  <a:lnTo>
                    <a:pt x="81070" y="4034379"/>
                  </a:lnTo>
                  <a:lnTo>
                    <a:pt x="45782" y="4034379"/>
                  </a:lnTo>
                  <a:lnTo>
                    <a:pt x="45782" y="3854596"/>
                  </a:lnTo>
                  <a:cubicBezTo>
                    <a:pt x="39395" y="3859159"/>
                    <a:pt x="32525" y="3863037"/>
                    <a:pt x="25173" y="3866231"/>
                  </a:cubicBezTo>
                  <a:cubicBezTo>
                    <a:pt x="17821" y="3869426"/>
                    <a:pt x="9431" y="3872239"/>
                    <a:pt x="0" y="3874673"/>
                  </a:cubicBezTo>
                  <a:lnTo>
                    <a:pt x="0" y="3844557"/>
                  </a:lnTo>
                  <a:cubicBezTo>
                    <a:pt x="5881" y="3842631"/>
                    <a:pt x="11560" y="3840603"/>
                    <a:pt x="17035" y="3838473"/>
                  </a:cubicBezTo>
                  <a:cubicBezTo>
                    <a:pt x="22511" y="3836344"/>
                    <a:pt x="27911" y="3833961"/>
                    <a:pt x="33234" y="3831324"/>
                  </a:cubicBezTo>
                  <a:cubicBezTo>
                    <a:pt x="38558" y="3828688"/>
                    <a:pt x="43932" y="3825747"/>
                    <a:pt x="49357" y="3822503"/>
                  </a:cubicBezTo>
                  <a:cubicBezTo>
                    <a:pt x="54782" y="3819258"/>
                    <a:pt x="60384" y="3815557"/>
                    <a:pt x="66164" y="3811399"/>
                  </a:cubicBezTo>
                  <a:close/>
                  <a:moveTo>
                    <a:pt x="10276410" y="3487025"/>
                  </a:moveTo>
                  <a:lnTo>
                    <a:pt x="10291316" y="3487025"/>
                  </a:lnTo>
                  <a:lnTo>
                    <a:pt x="10291316" y="3710005"/>
                  </a:lnTo>
                  <a:lnTo>
                    <a:pt x="10256028" y="3710005"/>
                  </a:lnTo>
                  <a:lnTo>
                    <a:pt x="10256028" y="3530221"/>
                  </a:lnTo>
                  <a:cubicBezTo>
                    <a:pt x="10249640" y="3534785"/>
                    <a:pt x="10242770" y="3538663"/>
                    <a:pt x="10235419" y="3541857"/>
                  </a:cubicBezTo>
                  <a:cubicBezTo>
                    <a:pt x="10228067" y="3545051"/>
                    <a:pt x="10219676" y="3547865"/>
                    <a:pt x="10210246" y="3550299"/>
                  </a:cubicBezTo>
                  <a:lnTo>
                    <a:pt x="10210246" y="3520183"/>
                  </a:lnTo>
                  <a:cubicBezTo>
                    <a:pt x="10216127" y="3518256"/>
                    <a:pt x="10221806" y="3516228"/>
                    <a:pt x="10227281" y="3514099"/>
                  </a:cubicBezTo>
                  <a:cubicBezTo>
                    <a:pt x="10232757" y="3511970"/>
                    <a:pt x="10238157" y="3509586"/>
                    <a:pt x="10243480" y="3506950"/>
                  </a:cubicBezTo>
                  <a:cubicBezTo>
                    <a:pt x="10248804" y="3504314"/>
                    <a:pt x="10254178" y="3501373"/>
                    <a:pt x="10259603" y="3498128"/>
                  </a:cubicBezTo>
                  <a:cubicBezTo>
                    <a:pt x="10265028" y="3494883"/>
                    <a:pt x="10270630" y="3491182"/>
                    <a:pt x="10276410" y="3487025"/>
                  </a:cubicBezTo>
                  <a:close/>
                  <a:moveTo>
                    <a:pt x="9366501" y="3487025"/>
                  </a:moveTo>
                  <a:lnTo>
                    <a:pt x="9381407" y="3487025"/>
                  </a:lnTo>
                  <a:lnTo>
                    <a:pt x="9381407" y="3710005"/>
                  </a:lnTo>
                  <a:lnTo>
                    <a:pt x="9346119" y="3710005"/>
                  </a:lnTo>
                  <a:lnTo>
                    <a:pt x="9346119" y="3530221"/>
                  </a:lnTo>
                  <a:cubicBezTo>
                    <a:pt x="9339731" y="3534785"/>
                    <a:pt x="9332861" y="3538663"/>
                    <a:pt x="9325510" y="3541857"/>
                  </a:cubicBezTo>
                  <a:cubicBezTo>
                    <a:pt x="9318158" y="3545051"/>
                    <a:pt x="9309767" y="3547865"/>
                    <a:pt x="9300337" y="3550299"/>
                  </a:cubicBezTo>
                  <a:lnTo>
                    <a:pt x="9300337" y="3520183"/>
                  </a:lnTo>
                  <a:cubicBezTo>
                    <a:pt x="9306218" y="3518256"/>
                    <a:pt x="9311897" y="3516228"/>
                    <a:pt x="9317372" y="3514099"/>
                  </a:cubicBezTo>
                  <a:cubicBezTo>
                    <a:pt x="9322848" y="3511970"/>
                    <a:pt x="9328248" y="3509586"/>
                    <a:pt x="9333571" y="3506950"/>
                  </a:cubicBezTo>
                  <a:cubicBezTo>
                    <a:pt x="9338895" y="3504314"/>
                    <a:pt x="9344269" y="3501373"/>
                    <a:pt x="9349694" y="3498128"/>
                  </a:cubicBezTo>
                  <a:cubicBezTo>
                    <a:pt x="9355119" y="3494883"/>
                    <a:pt x="9360721" y="3491182"/>
                    <a:pt x="9366501" y="3487025"/>
                  </a:cubicBezTo>
                  <a:close/>
                  <a:moveTo>
                    <a:pt x="7520355" y="3487025"/>
                  </a:moveTo>
                  <a:lnTo>
                    <a:pt x="7535261" y="3487025"/>
                  </a:lnTo>
                  <a:lnTo>
                    <a:pt x="7535261" y="3710005"/>
                  </a:lnTo>
                  <a:lnTo>
                    <a:pt x="7499973" y="3710005"/>
                  </a:lnTo>
                  <a:lnTo>
                    <a:pt x="7499973" y="3530221"/>
                  </a:lnTo>
                  <a:cubicBezTo>
                    <a:pt x="7493585" y="3534785"/>
                    <a:pt x="7486716" y="3538663"/>
                    <a:pt x="7479364" y="3541857"/>
                  </a:cubicBezTo>
                  <a:cubicBezTo>
                    <a:pt x="7472012" y="3545051"/>
                    <a:pt x="7463622" y="3547865"/>
                    <a:pt x="7454191" y="3550299"/>
                  </a:cubicBezTo>
                  <a:lnTo>
                    <a:pt x="7454191" y="3520183"/>
                  </a:lnTo>
                  <a:cubicBezTo>
                    <a:pt x="7460072" y="3518256"/>
                    <a:pt x="7465751" y="3516228"/>
                    <a:pt x="7471226" y="3514099"/>
                  </a:cubicBezTo>
                  <a:cubicBezTo>
                    <a:pt x="7476702" y="3511970"/>
                    <a:pt x="7482102" y="3509586"/>
                    <a:pt x="7487425" y="3506950"/>
                  </a:cubicBezTo>
                  <a:cubicBezTo>
                    <a:pt x="7492749" y="3504314"/>
                    <a:pt x="7498123" y="3501373"/>
                    <a:pt x="7503548" y="3498128"/>
                  </a:cubicBezTo>
                  <a:cubicBezTo>
                    <a:pt x="7508973" y="3494883"/>
                    <a:pt x="7514575" y="3491182"/>
                    <a:pt x="7520355" y="3487025"/>
                  </a:cubicBezTo>
                  <a:close/>
                  <a:moveTo>
                    <a:pt x="4159688" y="3487025"/>
                  </a:moveTo>
                  <a:lnTo>
                    <a:pt x="4174594" y="3487025"/>
                  </a:lnTo>
                  <a:lnTo>
                    <a:pt x="4174594" y="3710005"/>
                  </a:lnTo>
                  <a:lnTo>
                    <a:pt x="4139306" y="3710005"/>
                  </a:lnTo>
                  <a:lnTo>
                    <a:pt x="4139306" y="3530221"/>
                  </a:lnTo>
                  <a:cubicBezTo>
                    <a:pt x="4132918" y="3534785"/>
                    <a:pt x="4126048" y="3538663"/>
                    <a:pt x="4118697" y="3541857"/>
                  </a:cubicBezTo>
                  <a:cubicBezTo>
                    <a:pt x="4111345" y="3545051"/>
                    <a:pt x="4102955" y="3547865"/>
                    <a:pt x="4093525" y="3550299"/>
                  </a:cubicBezTo>
                  <a:lnTo>
                    <a:pt x="4093525" y="3520183"/>
                  </a:lnTo>
                  <a:cubicBezTo>
                    <a:pt x="4099406" y="3518256"/>
                    <a:pt x="4105085" y="3516228"/>
                    <a:pt x="4110559" y="3514099"/>
                  </a:cubicBezTo>
                  <a:cubicBezTo>
                    <a:pt x="4116035" y="3511970"/>
                    <a:pt x="4121435" y="3509586"/>
                    <a:pt x="4126758" y="3506950"/>
                  </a:cubicBezTo>
                  <a:cubicBezTo>
                    <a:pt x="4132083" y="3504314"/>
                    <a:pt x="4137456" y="3501373"/>
                    <a:pt x="4142881" y="3498128"/>
                  </a:cubicBezTo>
                  <a:cubicBezTo>
                    <a:pt x="4148307" y="3494883"/>
                    <a:pt x="4153908" y="3491182"/>
                    <a:pt x="4159688" y="3487025"/>
                  </a:cubicBezTo>
                  <a:close/>
                  <a:moveTo>
                    <a:pt x="3287783" y="3487025"/>
                  </a:moveTo>
                  <a:lnTo>
                    <a:pt x="3302689" y="3487025"/>
                  </a:lnTo>
                  <a:lnTo>
                    <a:pt x="3302689" y="3710005"/>
                  </a:lnTo>
                  <a:lnTo>
                    <a:pt x="3267400" y="3710005"/>
                  </a:lnTo>
                  <a:lnTo>
                    <a:pt x="3267400" y="3530221"/>
                  </a:lnTo>
                  <a:cubicBezTo>
                    <a:pt x="3261013" y="3534785"/>
                    <a:pt x="3254142" y="3538663"/>
                    <a:pt x="3246791" y="3541857"/>
                  </a:cubicBezTo>
                  <a:cubicBezTo>
                    <a:pt x="3239440" y="3545051"/>
                    <a:pt x="3231049" y="3547865"/>
                    <a:pt x="3221618" y="3550299"/>
                  </a:cubicBezTo>
                  <a:lnTo>
                    <a:pt x="3221618" y="3520183"/>
                  </a:lnTo>
                  <a:cubicBezTo>
                    <a:pt x="3227499" y="3518256"/>
                    <a:pt x="3233178" y="3516228"/>
                    <a:pt x="3238653" y="3514099"/>
                  </a:cubicBezTo>
                  <a:cubicBezTo>
                    <a:pt x="3244129" y="3511970"/>
                    <a:pt x="3249529" y="3509586"/>
                    <a:pt x="3254853" y="3506950"/>
                  </a:cubicBezTo>
                  <a:cubicBezTo>
                    <a:pt x="3260176" y="3504314"/>
                    <a:pt x="3265551" y="3501373"/>
                    <a:pt x="3270976" y="3498128"/>
                  </a:cubicBezTo>
                  <a:cubicBezTo>
                    <a:pt x="3276401" y="3494883"/>
                    <a:pt x="3282003" y="3491182"/>
                    <a:pt x="3287783" y="3487025"/>
                  </a:cubicBezTo>
                  <a:close/>
                  <a:moveTo>
                    <a:pt x="1423455" y="3487025"/>
                  </a:moveTo>
                  <a:lnTo>
                    <a:pt x="1438362" y="3487025"/>
                  </a:lnTo>
                  <a:lnTo>
                    <a:pt x="1438362" y="3710005"/>
                  </a:lnTo>
                  <a:lnTo>
                    <a:pt x="1403074" y="3710005"/>
                  </a:lnTo>
                  <a:lnTo>
                    <a:pt x="1403074" y="3530221"/>
                  </a:lnTo>
                  <a:cubicBezTo>
                    <a:pt x="1396686" y="3534785"/>
                    <a:pt x="1389815" y="3538663"/>
                    <a:pt x="1382465" y="3541857"/>
                  </a:cubicBezTo>
                  <a:cubicBezTo>
                    <a:pt x="1375112" y="3545051"/>
                    <a:pt x="1366721" y="3547865"/>
                    <a:pt x="1357292" y="3550299"/>
                  </a:cubicBezTo>
                  <a:lnTo>
                    <a:pt x="1357292" y="3520183"/>
                  </a:lnTo>
                  <a:cubicBezTo>
                    <a:pt x="1363172" y="3518256"/>
                    <a:pt x="1368852" y="3516228"/>
                    <a:pt x="1374327" y="3514099"/>
                  </a:cubicBezTo>
                  <a:cubicBezTo>
                    <a:pt x="1379802" y="3511970"/>
                    <a:pt x="1385202" y="3509586"/>
                    <a:pt x="1390525" y="3506950"/>
                  </a:cubicBezTo>
                  <a:cubicBezTo>
                    <a:pt x="1395850" y="3504314"/>
                    <a:pt x="1401224" y="3501373"/>
                    <a:pt x="1406649" y="3498128"/>
                  </a:cubicBezTo>
                  <a:cubicBezTo>
                    <a:pt x="1412074" y="3494883"/>
                    <a:pt x="1417675" y="3491182"/>
                    <a:pt x="1423455" y="3487025"/>
                  </a:cubicBezTo>
                  <a:close/>
                  <a:moveTo>
                    <a:pt x="66164" y="3487025"/>
                  </a:moveTo>
                  <a:lnTo>
                    <a:pt x="81070" y="3487025"/>
                  </a:lnTo>
                  <a:lnTo>
                    <a:pt x="81070" y="3710005"/>
                  </a:lnTo>
                  <a:lnTo>
                    <a:pt x="45783" y="3710005"/>
                  </a:lnTo>
                  <a:lnTo>
                    <a:pt x="45783" y="3530222"/>
                  </a:lnTo>
                  <a:cubicBezTo>
                    <a:pt x="39395" y="3534785"/>
                    <a:pt x="32525" y="3538663"/>
                    <a:pt x="25173" y="3541857"/>
                  </a:cubicBezTo>
                  <a:cubicBezTo>
                    <a:pt x="17821" y="3545052"/>
                    <a:pt x="9431" y="3547865"/>
                    <a:pt x="0" y="3550299"/>
                  </a:cubicBezTo>
                  <a:lnTo>
                    <a:pt x="0" y="3520183"/>
                  </a:lnTo>
                  <a:cubicBezTo>
                    <a:pt x="5882" y="3518257"/>
                    <a:pt x="11560" y="3516229"/>
                    <a:pt x="17035" y="3514099"/>
                  </a:cubicBezTo>
                  <a:cubicBezTo>
                    <a:pt x="22511" y="3511970"/>
                    <a:pt x="27911" y="3509587"/>
                    <a:pt x="33235" y="3506950"/>
                  </a:cubicBezTo>
                  <a:cubicBezTo>
                    <a:pt x="38558" y="3504314"/>
                    <a:pt x="43932" y="3501373"/>
                    <a:pt x="49357" y="3498129"/>
                  </a:cubicBezTo>
                  <a:cubicBezTo>
                    <a:pt x="54782" y="3494884"/>
                    <a:pt x="60384" y="3491183"/>
                    <a:pt x="66164" y="3487025"/>
                  </a:cubicBezTo>
                  <a:close/>
                  <a:moveTo>
                    <a:pt x="10253447" y="3110161"/>
                  </a:moveTo>
                  <a:lnTo>
                    <a:pt x="10268353" y="3110161"/>
                  </a:lnTo>
                  <a:lnTo>
                    <a:pt x="10268353" y="3333141"/>
                  </a:lnTo>
                  <a:lnTo>
                    <a:pt x="10233065" y="3333141"/>
                  </a:lnTo>
                  <a:lnTo>
                    <a:pt x="10233065" y="3153358"/>
                  </a:lnTo>
                  <a:cubicBezTo>
                    <a:pt x="10226677" y="3157921"/>
                    <a:pt x="10219807" y="3161799"/>
                    <a:pt x="10212456" y="3164993"/>
                  </a:cubicBezTo>
                  <a:cubicBezTo>
                    <a:pt x="10205104" y="3168188"/>
                    <a:pt x="10196713" y="3171001"/>
                    <a:pt x="10187283" y="3173435"/>
                  </a:cubicBezTo>
                  <a:lnTo>
                    <a:pt x="10187283" y="3143319"/>
                  </a:lnTo>
                  <a:cubicBezTo>
                    <a:pt x="10193164" y="3141393"/>
                    <a:pt x="10198843" y="3139365"/>
                    <a:pt x="10204318" y="3137235"/>
                  </a:cubicBezTo>
                  <a:cubicBezTo>
                    <a:pt x="10209794" y="3135106"/>
                    <a:pt x="10215194" y="3132723"/>
                    <a:pt x="10220517" y="3130086"/>
                  </a:cubicBezTo>
                  <a:cubicBezTo>
                    <a:pt x="10225841" y="3127450"/>
                    <a:pt x="10231215" y="3124509"/>
                    <a:pt x="10236640" y="3121265"/>
                  </a:cubicBezTo>
                  <a:cubicBezTo>
                    <a:pt x="10242065" y="3118020"/>
                    <a:pt x="10247667" y="3114319"/>
                    <a:pt x="10253447" y="3110161"/>
                  </a:cubicBezTo>
                  <a:close/>
                  <a:moveTo>
                    <a:pt x="9361419" y="3110161"/>
                  </a:moveTo>
                  <a:lnTo>
                    <a:pt x="9376325" y="3110161"/>
                  </a:lnTo>
                  <a:lnTo>
                    <a:pt x="9376325" y="3333141"/>
                  </a:lnTo>
                  <a:lnTo>
                    <a:pt x="9341037" y="3333141"/>
                  </a:lnTo>
                  <a:lnTo>
                    <a:pt x="9341037" y="3153358"/>
                  </a:lnTo>
                  <a:cubicBezTo>
                    <a:pt x="9334649" y="3157921"/>
                    <a:pt x="9327779" y="3161799"/>
                    <a:pt x="9320428" y="3164993"/>
                  </a:cubicBezTo>
                  <a:cubicBezTo>
                    <a:pt x="9313076" y="3168188"/>
                    <a:pt x="9304685" y="3171001"/>
                    <a:pt x="9295255" y="3173435"/>
                  </a:cubicBezTo>
                  <a:lnTo>
                    <a:pt x="9295255" y="3143319"/>
                  </a:lnTo>
                  <a:cubicBezTo>
                    <a:pt x="9301136" y="3141393"/>
                    <a:pt x="9306815" y="3139365"/>
                    <a:pt x="9312290" y="3137235"/>
                  </a:cubicBezTo>
                  <a:cubicBezTo>
                    <a:pt x="9317766" y="3135106"/>
                    <a:pt x="9323166" y="3132723"/>
                    <a:pt x="9328489" y="3130086"/>
                  </a:cubicBezTo>
                  <a:cubicBezTo>
                    <a:pt x="9333813" y="3127450"/>
                    <a:pt x="9339187" y="3124509"/>
                    <a:pt x="9344612" y="3121265"/>
                  </a:cubicBezTo>
                  <a:cubicBezTo>
                    <a:pt x="9350037" y="3118020"/>
                    <a:pt x="9355639" y="3114319"/>
                    <a:pt x="9361419" y="3110161"/>
                  </a:cubicBezTo>
                  <a:close/>
                  <a:moveTo>
                    <a:pt x="7495249" y="3110161"/>
                  </a:moveTo>
                  <a:lnTo>
                    <a:pt x="7510155" y="3110161"/>
                  </a:lnTo>
                  <a:lnTo>
                    <a:pt x="7510155" y="3333141"/>
                  </a:lnTo>
                  <a:lnTo>
                    <a:pt x="7474867" y="3333141"/>
                  </a:lnTo>
                  <a:lnTo>
                    <a:pt x="7474867" y="3153358"/>
                  </a:lnTo>
                  <a:cubicBezTo>
                    <a:pt x="7468479" y="3157921"/>
                    <a:pt x="7461610" y="3161799"/>
                    <a:pt x="7454258" y="3164993"/>
                  </a:cubicBezTo>
                  <a:cubicBezTo>
                    <a:pt x="7446906" y="3168188"/>
                    <a:pt x="7438516" y="3171001"/>
                    <a:pt x="7429085" y="3173435"/>
                  </a:cubicBezTo>
                  <a:lnTo>
                    <a:pt x="7429085" y="3143319"/>
                  </a:lnTo>
                  <a:cubicBezTo>
                    <a:pt x="7434966" y="3141393"/>
                    <a:pt x="7440645" y="3139365"/>
                    <a:pt x="7446120" y="3137235"/>
                  </a:cubicBezTo>
                  <a:cubicBezTo>
                    <a:pt x="7451596" y="3135106"/>
                    <a:pt x="7456996" y="3132723"/>
                    <a:pt x="7462319" y="3130086"/>
                  </a:cubicBezTo>
                  <a:cubicBezTo>
                    <a:pt x="7467643" y="3127450"/>
                    <a:pt x="7473017" y="3124509"/>
                    <a:pt x="7478442" y="3121265"/>
                  </a:cubicBezTo>
                  <a:cubicBezTo>
                    <a:pt x="7483867" y="3118020"/>
                    <a:pt x="7489469" y="3114319"/>
                    <a:pt x="7495249" y="3110161"/>
                  </a:cubicBezTo>
                  <a:close/>
                  <a:moveTo>
                    <a:pt x="4199831" y="3110161"/>
                  </a:moveTo>
                  <a:lnTo>
                    <a:pt x="4214738" y="3110161"/>
                  </a:lnTo>
                  <a:lnTo>
                    <a:pt x="4214738" y="3333141"/>
                  </a:lnTo>
                  <a:lnTo>
                    <a:pt x="4179450" y="3333141"/>
                  </a:lnTo>
                  <a:lnTo>
                    <a:pt x="4179450" y="3153358"/>
                  </a:lnTo>
                  <a:cubicBezTo>
                    <a:pt x="4173062" y="3157921"/>
                    <a:pt x="4166192" y="3161799"/>
                    <a:pt x="4158840" y="3164993"/>
                  </a:cubicBezTo>
                  <a:cubicBezTo>
                    <a:pt x="4151489" y="3168188"/>
                    <a:pt x="4143098" y="3171001"/>
                    <a:pt x="4133668" y="3173435"/>
                  </a:cubicBezTo>
                  <a:lnTo>
                    <a:pt x="4133668" y="3143319"/>
                  </a:lnTo>
                  <a:cubicBezTo>
                    <a:pt x="4139550" y="3141393"/>
                    <a:pt x="4145227" y="3139365"/>
                    <a:pt x="4150703" y="3137235"/>
                  </a:cubicBezTo>
                  <a:cubicBezTo>
                    <a:pt x="4156179" y="3135106"/>
                    <a:pt x="4161578" y="3132723"/>
                    <a:pt x="4166902" y="3130086"/>
                  </a:cubicBezTo>
                  <a:cubicBezTo>
                    <a:pt x="4172225" y="3127450"/>
                    <a:pt x="4177600" y="3124509"/>
                    <a:pt x="4183024" y="3121265"/>
                  </a:cubicBezTo>
                  <a:cubicBezTo>
                    <a:pt x="4188450" y="3118020"/>
                    <a:pt x="4194052" y="3114319"/>
                    <a:pt x="4199831" y="3110161"/>
                  </a:cubicBezTo>
                  <a:close/>
                  <a:moveTo>
                    <a:pt x="3304505" y="3110161"/>
                  </a:moveTo>
                  <a:lnTo>
                    <a:pt x="3319411" y="3110161"/>
                  </a:lnTo>
                  <a:lnTo>
                    <a:pt x="3319411" y="3333141"/>
                  </a:lnTo>
                  <a:lnTo>
                    <a:pt x="3284123" y="3333141"/>
                  </a:lnTo>
                  <a:lnTo>
                    <a:pt x="3284123" y="3153358"/>
                  </a:lnTo>
                  <a:cubicBezTo>
                    <a:pt x="3277736" y="3157921"/>
                    <a:pt x="3270866" y="3161799"/>
                    <a:pt x="3263514" y="3164993"/>
                  </a:cubicBezTo>
                  <a:cubicBezTo>
                    <a:pt x="3256163" y="3168188"/>
                    <a:pt x="3247772" y="3171001"/>
                    <a:pt x="3238342" y="3173435"/>
                  </a:cubicBezTo>
                  <a:lnTo>
                    <a:pt x="3238342" y="3143319"/>
                  </a:lnTo>
                  <a:cubicBezTo>
                    <a:pt x="3244223" y="3141393"/>
                    <a:pt x="3249901" y="3139365"/>
                    <a:pt x="3255376" y="3137235"/>
                  </a:cubicBezTo>
                  <a:cubicBezTo>
                    <a:pt x="3260853" y="3135106"/>
                    <a:pt x="3266253" y="3132723"/>
                    <a:pt x="3271575" y="3130086"/>
                  </a:cubicBezTo>
                  <a:cubicBezTo>
                    <a:pt x="3276900" y="3127450"/>
                    <a:pt x="3282273" y="3124509"/>
                    <a:pt x="3287699" y="3121265"/>
                  </a:cubicBezTo>
                  <a:cubicBezTo>
                    <a:pt x="3293124" y="3118020"/>
                    <a:pt x="3298725" y="3114319"/>
                    <a:pt x="3304505" y="3110161"/>
                  </a:cubicBezTo>
                  <a:close/>
                  <a:moveTo>
                    <a:pt x="1423456" y="3110161"/>
                  </a:moveTo>
                  <a:lnTo>
                    <a:pt x="1438361" y="3110161"/>
                  </a:lnTo>
                  <a:lnTo>
                    <a:pt x="1438361" y="3333141"/>
                  </a:lnTo>
                  <a:lnTo>
                    <a:pt x="1403074" y="3333141"/>
                  </a:lnTo>
                  <a:lnTo>
                    <a:pt x="1403074" y="3153358"/>
                  </a:lnTo>
                  <a:cubicBezTo>
                    <a:pt x="1396685" y="3157921"/>
                    <a:pt x="1389816" y="3161799"/>
                    <a:pt x="1382464" y="3164993"/>
                  </a:cubicBezTo>
                  <a:cubicBezTo>
                    <a:pt x="1375112" y="3168188"/>
                    <a:pt x="1366721" y="3171001"/>
                    <a:pt x="1357291" y="3173435"/>
                  </a:cubicBezTo>
                  <a:lnTo>
                    <a:pt x="1357291" y="3143319"/>
                  </a:lnTo>
                  <a:cubicBezTo>
                    <a:pt x="1363172" y="3141393"/>
                    <a:pt x="1368851" y="3139365"/>
                    <a:pt x="1374326" y="3137235"/>
                  </a:cubicBezTo>
                  <a:cubicBezTo>
                    <a:pt x="1379802" y="3135106"/>
                    <a:pt x="1385202" y="3132723"/>
                    <a:pt x="1390526" y="3130086"/>
                  </a:cubicBezTo>
                  <a:cubicBezTo>
                    <a:pt x="1395849" y="3127450"/>
                    <a:pt x="1401223" y="3124509"/>
                    <a:pt x="1406648" y="3121265"/>
                  </a:cubicBezTo>
                  <a:cubicBezTo>
                    <a:pt x="1412073" y="3118020"/>
                    <a:pt x="1417676" y="3114319"/>
                    <a:pt x="1423456" y="3110161"/>
                  </a:cubicBezTo>
                  <a:close/>
                  <a:moveTo>
                    <a:pt x="12035151" y="2809130"/>
                  </a:moveTo>
                  <a:lnTo>
                    <a:pt x="12050057" y="2809130"/>
                  </a:lnTo>
                  <a:lnTo>
                    <a:pt x="12050057" y="3032110"/>
                  </a:lnTo>
                  <a:lnTo>
                    <a:pt x="12014769" y="3032110"/>
                  </a:lnTo>
                  <a:lnTo>
                    <a:pt x="12014769" y="2852327"/>
                  </a:lnTo>
                  <a:cubicBezTo>
                    <a:pt x="12008381" y="2856890"/>
                    <a:pt x="12001511" y="2860768"/>
                    <a:pt x="11994160" y="2863962"/>
                  </a:cubicBezTo>
                  <a:cubicBezTo>
                    <a:pt x="11986808" y="2867157"/>
                    <a:pt x="11978417" y="2869970"/>
                    <a:pt x="11968987" y="2872404"/>
                  </a:cubicBezTo>
                  <a:lnTo>
                    <a:pt x="11968987" y="2842288"/>
                  </a:lnTo>
                  <a:cubicBezTo>
                    <a:pt x="11974868" y="2840362"/>
                    <a:pt x="11980547" y="2838334"/>
                    <a:pt x="11986022" y="2836204"/>
                  </a:cubicBezTo>
                  <a:cubicBezTo>
                    <a:pt x="11991498" y="2834075"/>
                    <a:pt x="11996898" y="2831692"/>
                    <a:pt x="12002221" y="2829055"/>
                  </a:cubicBezTo>
                  <a:cubicBezTo>
                    <a:pt x="12007545" y="2826419"/>
                    <a:pt x="12012919" y="2823478"/>
                    <a:pt x="12018344" y="2820234"/>
                  </a:cubicBezTo>
                  <a:cubicBezTo>
                    <a:pt x="12023769" y="2816989"/>
                    <a:pt x="12029371" y="2813288"/>
                    <a:pt x="12035151" y="2809130"/>
                  </a:cubicBezTo>
                  <a:close/>
                  <a:moveTo>
                    <a:pt x="10410370" y="2809130"/>
                  </a:moveTo>
                  <a:lnTo>
                    <a:pt x="10425276" y="2809130"/>
                  </a:lnTo>
                  <a:lnTo>
                    <a:pt x="10425276" y="3032110"/>
                  </a:lnTo>
                  <a:lnTo>
                    <a:pt x="10389988" y="3032110"/>
                  </a:lnTo>
                  <a:lnTo>
                    <a:pt x="10389988" y="2852327"/>
                  </a:lnTo>
                  <a:cubicBezTo>
                    <a:pt x="10383600" y="2856890"/>
                    <a:pt x="10376730" y="2860768"/>
                    <a:pt x="10369379" y="2863962"/>
                  </a:cubicBezTo>
                  <a:cubicBezTo>
                    <a:pt x="10362027" y="2867157"/>
                    <a:pt x="10353636" y="2869970"/>
                    <a:pt x="10344206" y="2872404"/>
                  </a:cubicBezTo>
                  <a:lnTo>
                    <a:pt x="10344206" y="2842288"/>
                  </a:lnTo>
                  <a:cubicBezTo>
                    <a:pt x="10350087" y="2840362"/>
                    <a:pt x="10355766" y="2838334"/>
                    <a:pt x="10361241" y="2836204"/>
                  </a:cubicBezTo>
                  <a:cubicBezTo>
                    <a:pt x="10366717" y="2834075"/>
                    <a:pt x="10372117" y="2831692"/>
                    <a:pt x="10377440" y="2829055"/>
                  </a:cubicBezTo>
                  <a:cubicBezTo>
                    <a:pt x="10382764" y="2826419"/>
                    <a:pt x="10388138" y="2823478"/>
                    <a:pt x="10393563" y="2820234"/>
                  </a:cubicBezTo>
                  <a:cubicBezTo>
                    <a:pt x="10398988" y="2816989"/>
                    <a:pt x="10404590" y="2813288"/>
                    <a:pt x="10410370" y="2809130"/>
                  </a:cubicBezTo>
                  <a:close/>
                  <a:moveTo>
                    <a:pt x="9532663" y="2809130"/>
                  </a:moveTo>
                  <a:lnTo>
                    <a:pt x="9547569" y="2809130"/>
                  </a:lnTo>
                  <a:lnTo>
                    <a:pt x="9547569" y="3032110"/>
                  </a:lnTo>
                  <a:lnTo>
                    <a:pt x="9512281" y="3032110"/>
                  </a:lnTo>
                  <a:lnTo>
                    <a:pt x="9512281" y="2852327"/>
                  </a:lnTo>
                  <a:cubicBezTo>
                    <a:pt x="9505893" y="2856890"/>
                    <a:pt x="9499023" y="2860768"/>
                    <a:pt x="9491672" y="2863962"/>
                  </a:cubicBezTo>
                  <a:cubicBezTo>
                    <a:pt x="9484320" y="2867157"/>
                    <a:pt x="9475929" y="2869970"/>
                    <a:pt x="9466499" y="2872404"/>
                  </a:cubicBezTo>
                  <a:lnTo>
                    <a:pt x="9466499" y="2842288"/>
                  </a:lnTo>
                  <a:cubicBezTo>
                    <a:pt x="9472380" y="2840362"/>
                    <a:pt x="9478059" y="2838334"/>
                    <a:pt x="9483534" y="2836204"/>
                  </a:cubicBezTo>
                  <a:cubicBezTo>
                    <a:pt x="9489010" y="2834075"/>
                    <a:pt x="9494410" y="2831692"/>
                    <a:pt x="9499733" y="2829055"/>
                  </a:cubicBezTo>
                  <a:cubicBezTo>
                    <a:pt x="9505057" y="2826419"/>
                    <a:pt x="9510431" y="2823478"/>
                    <a:pt x="9515856" y="2820234"/>
                  </a:cubicBezTo>
                  <a:cubicBezTo>
                    <a:pt x="9521281" y="2816989"/>
                    <a:pt x="9526883" y="2813288"/>
                    <a:pt x="9532663" y="2809130"/>
                  </a:cubicBezTo>
                  <a:close/>
                  <a:moveTo>
                    <a:pt x="8660208" y="2809130"/>
                  </a:moveTo>
                  <a:lnTo>
                    <a:pt x="8675114" y="2809130"/>
                  </a:lnTo>
                  <a:lnTo>
                    <a:pt x="8675114" y="3032110"/>
                  </a:lnTo>
                  <a:lnTo>
                    <a:pt x="8639826" y="3032110"/>
                  </a:lnTo>
                  <a:lnTo>
                    <a:pt x="8639826" y="2852327"/>
                  </a:lnTo>
                  <a:cubicBezTo>
                    <a:pt x="8633438" y="2856890"/>
                    <a:pt x="8626568" y="2860768"/>
                    <a:pt x="8619217" y="2863962"/>
                  </a:cubicBezTo>
                  <a:cubicBezTo>
                    <a:pt x="8611865" y="2867157"/>
                    <a:pt x="8603474" y="2869970"/>
                    <a:pt x="8594044" y="2872404"/>
                  </a:cubicBezTo>
                  <a:lnTo>
                    <a:pt x="8594044" y="2842288"/>
                  </a:lnTo>
                  <a:cubicBezTo>
                    <a:pt x="8599925" y="2840362"/>
                    <a:pt x="8605604" y="2838334"/>
                    <a:pt x="8611079" y="2836204"/>
                  </a:cubicBezTo>
                  <a:cubicBezTo>
                    <a:pt x="8616555" y="2834075"/>
                    <a:pt x="8621955" y="2831692"/>
                    <a:pt x="8627278" y="2829055"/>
                  </a:cubicBezTo>
                  <a:cubicBezTo>
                    <a:pt x="8632602" y="2826419"/>
                    <a:pt x="8637976" y="2823478"/>
                    <a:pt x="8643401" y="2820234"/>
                  </a:cubicBezTo>
                  <a:cubicBezTo>
                    <a:pt x="8648826" y="2816989"/>
                    <a:pt x="8654428" y="2813288"/>
                    <a:pt x="8660208" y="2809130"/>
                  </a:cubicBezTo>
                  <a:close/>
                  <a:moveTo>
                    <a:pt x="6671075" y="2809130"/>
                  </a:moveTo>
                  <a:lnTo>
                    <a:pt x="6685982" y="2809130"/>
                  </a:lnTo>
                  <a:lnTo>
                    <a:pt x="6685982" y="3032110"/>
                  </a:lnTo>
                  <a:lnTo>
                    <a:pt x="6650694" y="3032110"/>
                  </a:lnTo>
                  <a:lnTo>
                    <a:pt x="6650694" y="2852327"/>
                  </a:lnTo>
                  <a:cubicBezTo>
                    <a:pt x="6644306" y="2856890"/>
                    <a:pt x="6637436" y="2860768"/>
                    <a:pt x="6630084" y="2863962"/>
                  </a:cubicBezTo>
                  <a:cubicBezTo>
                    <a:pt x="6622733" y="2867157"/>
                    <a:pt x="6614342" y="2869970"/>
                    <a:pt x="6604912" y="2872404"/>
                  </a:cubicBezTo>
                  <a:lnTo>
                    <a:pt x="6604912" y="2842288"/>
                  </a:lnTo>
                  <a:cubicBezTo>
                    <a:pt x="6610793" y="2840362"/>
                    <a:pt x="6616471" y="2838334"/>
                    <a:pt x="6621947" y="2836204"/>
                  </a:cubicBezTo>
                  <a:cubicBezTo>
                    <a:pt x="6627423" y="2834075"/>
                    <a:pt x="6632822" y="2831692"/>
                    <a:pt x="6638146" y="2829055"/>
                  </a:cubicBezTo>
                  <a:cubicBezTo>
                    <a:pt x="6643469" y="2826419"/>
                    <a:pt x="6648844" y="2823478"/>
                    <a:pt x="6654268" y="2820234"/>
                  </a:cubicBezTo>
                  <a:cubicBezTo>
                    <a:pt x="6659694" y="2816989"/>
                    <a:pt x="6665296" y="2813288"/>
                    <a:pt x="6671075" y="2809130"/>
                  </a:cubicBezTo>
                  <a:close/>
                  <a:moveTo>
                    <a:pt x="5979097" y="2809130"/>
                  </a:moveTo>
                  <a:lnTo>
                    <a:pt x="5994004" y="2809130"/>
                  </a:lnTo>
                  <a:lnTo>
                    <a:pt x="5994004" y="3032110"/>
                  </a:lnTo>
                  <a:lnTo>
                    <a:pt x="5958717" y="3032110"/>
                  </a:lnTo>
                  <a:lnTo>
                    <a:pt x="5958717" y="2852327"/>
                  </a:lnTo>
                  <a:cubicBezTo>
                    <a:pt x="5952328" y="2856890"/>
                    <a:pt x="5945458" y="2860768"/>
                    <a:pt x="5938106" y="2863962"/>
                  </a:cubicBezTo>
                  <a:cubicBezTo>
                    <a:pt x="5930755" y="2867157"/>
                    <a:pt x="5922364" y="2869970"/>
                    <a:pt x="5912934" y="2872404"/>
                  </a:cubicBezTo>
                  <a:lnTo>
                    <a:pt x="5912934" y="2842288"/>
                  </a:lnTo>
                  <a:cubicBezTo>
                    <a:pt x="5918816" y="2840362"/>
                    <a:pt x="5924493" y="2838334"/>
                    <a:pt x="5929969" y="2836204"/>
                  </a:cubicBezTo>
                  <a:cubicBezTo>
                    <a:pt x="5935446" y="2834075"/>
                    <a:pt x="5940845" y="2831692"/>
                    <a:pt x="5946169" y="2829055"/>
                  </a:cubicBezTo>
                  <a:cubicBezTo>
                    <a:pt x="5951492" y="2826419"/>
                    <a:pt x="5956866" y="2823478"/>
                    <a:pt x="5962291" y="2820234"/>
                  </a:cubicBezTo>
                  <a:cubicBezTo>
                    <a:pt x="5967716" y="2816989"/>
                    <a:pt x="5973318" y="2813288"/>
                    <a:pt x="5979097" y="2809130"/>
                  </a:cubicBezTo>
                  <a:close/>
                  <a:moveTo>
                    <a:pt x="4354317" y="2809130"/>
                  </a:moveTo>
                  <a:lnTo>
                    <a:pt x="4369224" y="2809130"/>
                  </a:lnTo>
                  <a:lnTo>
                    <a:pt x="4369224" y="3032110"/>
                  </a:lnTo>
                  <a:lnTo>
                    <a:pt x="4333935" y="3032110"/>
                  </a:lnTo>
                  <a:lnTo>
                    <a:pt x="4333935" y="2852327"/>
                  </a:lnTo>
                  <a:cubicBezTo>
                    <a:pt x="4327548" y="2856890"/>
                    <a:pt x="4320677" y="2860768"/>
                    <a:pt x="4313325" y="2863962"/>
                  </a:cubicBezTo>
                  <a:cubicBezTo>
                    <a:pt x="4305974" y="2867157"/>
                    <a:pt x="4297583" y="2869970"/>
                    <a:pt x="4288153" y="2872404"/>
                  </a:cubicBezTo>
                  <a:lnTo>
                    <a:pt x="4288153" y="2842288"/>
                  </a:lnTo>
                  <a:cubicBezTo>
                    <a:pt x="4294034" y="2840362"/>
                    <a:pt x="4299712" y="2838334"/>
                    <a:pt x="4305189" y="2836204"/>
                  </a:cubicBezTo>
                  <a:cubicBezTo>
                    <a:pt x="4310665" y="2834075"/>
                    <a:pt x="4316064" y="2831692"/>
                    <a:pt x="4321387" y="2829055"/>
                  </a:cubicBezTo>
                  <a:cubicBezTo>
                    <a:pt x="4326710" y="2826419"/>
                    <a:pt x="4332085" y="2823478"/>
                    <a:pt x="4337509" y="2820234"/>
                  </a:cubicBezTo>
                  <a:cubicBezTo>
                    <a:pt x="4342935" y="2816989"/>
                    <a:pt x="4348538" y="2813288"/>
                    <a:pt x="4354317" y="2809130"/>
                  </a:cubicBezTo>
                  <a:close/>
                  <a:moveTo>
                    <a:pt x="3476611" y="2809130"/>
                  </a:moveTo>
                  <a:lnTo>
                    <a:pt x="3491518" y="2809130"/>
                  </a:lnTo>
                  <a:lnTo>
                    <a:pt x="3491518" y="3032110"/>
                  </a:lnTo>
                  <a:lnTo>
                    <a:pt x="3456230" y="3032110"/>
                  </a:lnTo>
                  <a:lnTo>
                    <a:pt x="3456230" y="2852327"/>
                  </a:lnTo>
                  <a:cubicBezTo>
                    <a:pt x="3449841" y="2856890"/>
                    <a:pt x="3442972" y="2860768"/>
                    <a:pt x="3435620" y="2863962"/>
                  </a:cubicBezTo>
                  <a:cubicBezTo>
                    <a:pt x="3428268" y="2867157"/>
                    <a:pt x="3419878" y="2869970"/>
                    <a:pt x="3410447" y="2872404"/>
                  </a:cubicBezTo>
                  <a:lnTo>
                    <a:pt x="3410447" y="2842288"/>
                  </a:lnTo>
                  <a:cubicBezTo>
                    <a:pt x="3416328" y="2840362"/>
                    <a:pt x="3422007" y="2838334"/>
                    <a:pt x="3427483" y="2836204"/>
                  </a:cubicBezTo>
                  <a:cubicBezTo>
                    <a:pt x="3432958" y="2834075"/>
                    <a:pt x="3438357" y="2831692"/>
                    <a:pt x="3443682" y="2829055"/>
                  </a:cubicBezTo>
                  <a:cubicBezTo>
                    <a:pt x="3449005" y="2826419"/>
                    <a:pt x="3454379" y="2823478"/>
                    <a:pt x="3459804" y="2820234"/>
                  </a:cubicBezTo>
                  <a:cubicBezTo>
                    <a:pt x="3465229" y="2816989"/>
                    <a:pt x="3470831" y="2813288"/>
                    <a:pt x="3476611" y="2809130"/>
                  </a:cubicBezTo>
                  <a:close/>
                  <a:moveTo>
                    <a:pt x="2604156" y="2809130"/>
                  </a:moveTo>
                  <a:lnTo>
                    <a:pt x="2619062" y="2809130"/>
                  </a:lnTo>
                  <a:lnTo>
                    <a:pt x="2619062" y="3032110"/>
                  </a:lnTo>
                  <a:lnTo>
                    <a:pt x="2583774" y="3032110"/>
                  </a:lnTo>
                  <a:lnTo>
                    <a:pt x="2583774" y="2852327"/>
                  </a:lnTo>
                  <a:cubicBezTo>
                    <a:pt x="2577387" y="2856890"/>
                    <a:pt x="2570515" y="2860768"/>
                    <a:pt x="2563165" y="2863962"/>
                  </a:cubicBezTo>
                  <a:cubicBezTo>
                    <a:pt x="2555813" y="2867157"/>
                    <a:pt x="2547423" y="2869970"/>
                    <a:pt x="2537992" y="2872404"/>
                  </a:cubicBezTo>
                  <a:lnTo>
                    <a:pt x="2537992" y="2842288"/>
                  </a:lnTo>
                  <a:cubicBezTo>
                    <a:pt x="2543873" y="2840362"/>
                    <a:pt x="2549552" y="2838334"/>
                    <a:pt x="2555027" y="2836204"/>
                  </a:cubicBezTo>
                  <a:cubicBezTo>
                    <a:pt x="2560503" y="2834075"/>
                    <a:pt x="2565903" y="2831692"/>
                    <a:pt x="2571226" y="2829055"/>
                  </a:cubicBezTo>
                  <a:cubicBezTo>
                    <a:pt x="2576550" y="2826419"/>
                    <a:pt x="2581923" y="2823478"/>
                    <a:pt x="2587349" y="2820234"/>
                  </a:cubicBezTo>
                  <a:cubicBezTo>
                    <a:pt x="2592774" y="2816989"/>
                    <a:pt x="2598376" y="2813288"/>
                    <a:pt x="2604156" y="2809130"/>
                  </a:cubicBezTo>
                  <a:close/>
                  <a:moveTo>
                    <a:pt x="619557" y="2809130"/>
                  </a:moveTo>
                  <a:lnTo>
                    <a:pt x="634463" y="2809130"/>
                  </a:lnTo>
                  <a:lnTo>
                    <a:pt x="634463" y="3032110"/>
                  </a:lnTo>
                  <a:lnTo>
                    <a:pt x="599174" y="3032110"/>
                  </a:lnTo>
                  <a:lnTo>
                    <a:pt x="599174" y="2852327"/>
                  </a:lnTo>
                  <a:cubicBezTo>
                    <a:pt x="592787" y="2856890"/>
                    <a:pt x="585917" y="2860768"/>
                    <a:pt x="578566" y="2863962"/>
                  </a:cubicBezTo>
                  <a:cubicBezTo>
                    <a:pt x="571214" y="2867157"/>
                    <a:pt x="562824" y="2869970"/>
                    <a:pt x="553393" y="2872404"/>
                  </a:cubicBezTo>
                  <a:lnTo>
                    <a:pt x="553393" y="2842288"/>
                  </a:lnTo>
                  <a:cubicBezTo>
                    <a:pt x="559274" y="2840362"/>
                    <a:pt x="564952" y="2838334"/>
                    <a:pt x="570428" y="2836204"/>
                  </a:cubicBezTo>
                  <a:cubicBezTo>
                    <a:pt x="575904" y="2834075"/>
                    <a:pt x="581304" y="2831692"/>
                    <a:pt x="586626" y="2829055"/>
                  </a:cubicBezTo>
                  <a:cubicBezTo>
                    <a:pt x="591951" y="2826419"/>
                    <a:pt x="597325" y="2823478"/>
                    <a:pt x="602749" y="2820234"/>
                  </a:cubicBezTo>
                  <a:cubicBezTo>
                    <a:pt x="608174" y="2816989"/>
                    <a:pt x="613777" y="2813288"/>
                    <a:pt x="619557" y="2809130"/>
                  </a:cubicBezTo>
                  <a:close/>
                  <a:moveTo>
                    <a:pt x="10291704" y="2480736"/>
                  </a:moveTo>
                  <a:lnTo>
                    <a:pt x="10306610" y="2480736"/>
                  </a:lnTo>
                  <a:lnTo>
                    <a:pt x="10306610" y="2703716"/>
                  </a:lnTo>
                  <a:lnTo>
                    <a:pt x="10271322" y="2703716"/>
                  </a:lnTo>
                  <a:lnTo>
                    <a:pt x="10271322" y="2523933"/>
                  </a:lnTo>
                  <a:cubicBezTo>
                    <a:pt x="10264934" y="2528496"/>
                    <a:pt x="10258064" y="2532374"/>
                    <a:pt x="10250713" y="2535568"/>
                  </a:cubicBezTo>
                  <a:cubicBezTo>
                    <a:pt x="10243361" y="2538763"/>
                    <a:pt x="10234970" y="2541576"/>
                    <a:pt x="10225540" y="2544010"/>
                  </a:cubicBezTo>
                  <a:lnTo>
                    <a:pt x="10225540" y="2513894"/>
                  </a:lnTo>
                  <a:cubicBezTo>
                    <a:pt x="10231421" y="2511968"/>
                    <a:pt x="10237100" y="2509939"/>
                    <a:pt x="10242575" y="2507810"/>
                  </a:cubicBezTo>
                  <a:cubicBezTo>
                    <a:pt x="10248051" y="2505681"/>
                    <a:pt x="10253451" y="2503298"/>
                    <a:pt x="10258774" y="2500661"/>
                  </a:cubicBezTo>
                  <a:cubicBezTo>
                    <a:pt x="10264098" y="2498025"/>
                    <a:pt x="10269472" y="2495084"/>
                    <a:pt x="10274897" y="2491839"/>
                  </a:cubicBezTo>
                  <a:cubicBezTo>
                    <a:pt x="10280322" y="2488595"/>
                    <a:pt x="10285924" y="2484893"/>
                    <a:pt x="10291704" y="2480736"/>
                  </a:cubicBezTo>
                  <a:close/>
                  <a:moveTo>
                    <a:pt x="7171000" y="2480736"/>
                  </a:moveTo>
                  <a:lnTo>
                    <a:pt x="7185906" y="2480736"/>
                  </a:lnTo>
                  <a:lnTo>
                    <a:pt x="7185906" y="2703716"/>
                  </a:lnTo>
                  <a:lnTo>
                    <a:pt x="7150618" y="2703716"/>
                  </a:lnTo>
                  <a:lnTo>
                    <a:pt x="7150618" y="2523933"/>
                  </a:lnTo>
                  <a:cubicBezTo>
                    <a:pt x="7144230" y="2528496"/>
                    <a:pt x="7137361" y="2532374"/>
                    <a:pt x="7130009" y="2535568"/>
                  </a:cubicBezTo>
                  <a:cubicBezTo>
                    <a:pt x="7122657" y="2538763"/>
                    <a:pt x="7114267" y="2541576"/>
                    <a:pt x="7104836" y="2544010"/>
                  </a:cubicBezTo>
                  <a:lnTo>
                    <a:pt x="7104836" y="2513894"/>
                  </a:lnTo>
                  <a:cubicBezTo>
                    <a:pt x="7110717" y="2511968"/>
                    <a:pt x="7116396" y="2509939"/>
                    <a:pt x="7121871" y="2507810"/>
                  </a:cubicBezTo>
                  <a:cubicBezTo>
                    <a:pt x="7127347" y="2505681"/>
                    <a:pt x="7132747" y="2503298"/>
                    <a:pt x="7138070" y="2500661"/>
                  </a:cubicBezTo>
                  <a:cubicBezTo>
                    <a:pt x="7143394" y="2498025"/>
                    <a:pt x="7148768" y="2495084"/>
                    <a:pt x="7154193" y="2491839"/>
                  </a:cubicBezTo>
                  <a:cubicBezTo>
                    <a:pt x="7159618" y="2488595"/>
                    <a:pt x="7165220" y="2484893"/>
                    <a:pt x="7171000" y="2480736"/>
                  </a:cubicBezTo>
                  <a:close/>
                  <a:moveTo>
                    <a:pt x="6278970" y="2480736"/>
                  </a:moveTo>
                  <a:lnTo>
                    <a:pt x="6293876" y="2480736"/>
                  </a:lnTo>
                  <a:lnTo>
                    <a:pt x="6293876" y="2703716"/>
                  </a:lnTo>
                  <a:lnTo>
                    <a:pt x="6258588" y="2703716"/>
                  </a:lnTo>
                  <a:lnTo>
                    <a:pt x="6258588" y="2523933"/>
                  </a:lnTo>
                  <a:cubicBezTo>
                    <a:pt x="6252200" y="2528496"/>
                    <a:pt x="6245331" y="2532374"/>
                    <a:pt x="6237979" y="2535568"/>
                  </a:cubicBezTo>
                  <a:cubicBezTo>
                    <a:pt x="6230627" y="2538763"/>
                    <a:pt x="6222237" y="2541576"/>
                    <a:pt x="6212806" y="2544010"/>
                  </a:cubicBezTo>
                  <a:lnTo>
                    <a:pt x="6212806" y="2513894"/>
                  </a:lnTo>
                  <a:cubicBezTo>
                    <a:pt x="6218687" y="2511968"/>
                    <a:pt x="6224366" y="2509939"/>
                    <a:pt x="6229841" y="2507810"/>
                  </a:cubicBezTo>
                  <a:cubicBezTo>
                    <a:pt x="6235317" y="2505681"/>
                    <a:pt x="6240717" y="2503298"/>
                    <a:pt x="6246040" y="2500661"/>
                  </a:cubicBezTo>
                  <a:cubicBezTo>
                    <a:pt x="6251364" y="2498025"/>
                    <a:pt x="6256738" y="2495084"/>
                    <a:pt x="6262163" y="2491839"/>
                  </a:cubicBezTo>
                  <a:cubicBezTo>
                    <a:pt x="6267588" y="2488595"/>
                    <a:pt x="6273190" y="2484893"/>
                    <a:pt x="6278970" y="2480736"/>
                  </a:cubicBezTo>
                  <a:close/>
                  <a:moveTo>
                    <a:pt x="4229236" y="2480736"/>
                  </a:moveTo>
                  <a:lnTo>
                    <a:pt x="4244142" y="2480736"/>
                  </a:lnTo>
                  <a:lnTo>
                    <a:pt x="4244142" y="2703716"/>
                  </a:lnTo>
                  <a:lnTo>
                    <a:pt x="4208855" y="2703716"/>
                  </a:lnTo>
                  <a:lnTo>
                    <a:pt x="4208855" y="2523933"/>
                  </a:lnTo>
                  <a:cubicBezTo>
                    <a:pt x="4202466" y="2528496"/>
                    <a:pt x="4195597" y="2532374"/>
                    <a:pt x="4188245" y="2535568"/>
                  </a:cubicBezTo>
                  <a:cubicBezTo>
                    <a:pt x="4180894" y="2538763"/>
                    <a:pt x="4172503" y="2541576"/>
                    <a:pt x="4163072" y="2544010"/>
                  </a:cubicBezTo>
                  <a:lnTo>
                    <a:pt x="4163072" y="2513894"/>
                  </a:lnTo>
                  <a:cubicBezTo>
                    <a:pt x="4168953" y="2511968"/>
                    <a:pt x="4174632" y="2509939"/>
                    <a:pt x="4180107" y="2507810"/>
                  </a:cubicBezTo>
                  <a:cubicBezTo>
                    <a:pt x="4185583" y="2505681"/>
                    <a:pt x="4190984" y="2503298"/>
                    <a:pt x="4196307" y="2500661"/>
                  </a:cubicBezTo>
                  <a:cubicBezTo>
                    <a:pt x="4201631" y="2498025"/>
                    <a:pt x="4207006" y="2495084"/>
                    <a:pt x="4212429" y="2491839"/>
                  </a:cubicBezTo>
                  <a:cubicBezTo>
                    <a:pt x="4217854" y="2488595"/>
                    <a:pt x="4223456" y="2484893"/>
                    <a:pt x="4229236" y="2480736"/>
                  </a:cubicBezTo>
                  <a:close/>
                  <a:moveTo>
                    <a:pt x="1107649" y="2480736"/>
                  </a:moveTo>
                  <a:lnTo>
                    <a:pt x="1122555" y="2480736"/>
                  </a:lnTo>
                  <a:lnTo>
                    <a:pt x="1122555" y="2703716"/>
                  </a:lnTo>
                  <a:lnTo>
                    <a:pt x="1087267" y="2703716"/>
                  </a:lnTo>
                  <a:lnTo>
                    <a:pt x="1087267" y="2523933"/>
                  </a:lnTo>
                  <a:cubicBezTo>
                    <a:pt x="1080880" y="2528496"/>
                    <a:pt x="1074010" y="2532374"/>
                    <a:pt x="1066658" y="2535568"/>
                  </a:cubicBezTo>
                  <a:cubicBezTo>
                    <a:pt x="1059306" y="2538763"/>
                    <a:pt x="1050916" y="2541576"/>
                    <a:pt x="1041486" y="2544010"/>
                  </a:cubicBezTo>
                  <a:lnTo>
                    <a:pt x="1041486" y="2513894"/>
                  </a:lnTo>
                  <a:cubicBezTo>
                    <a:pt x="1047367" y="2511968"/>
                    <a:pt x="1053045" y="2509939"/>
                    <a:pt x="1058521" y="2507810"/>
                  </a:cubicBezTo>
                  <a:cubicBezTo>
                    <a:pt x="1063996" y="2505681"/>
                    <a:pt x="1069396" y="2503298"/>
                    <a:pt x="1074719" y="2500661"/>
                  </a:cubicBezTo>
                  <a:cubicBezTo>
                    <a:pt x="1080043" y="2498025"/>
                    <a:pt x="1085417" y="2495084"/>
                    <a:pt x="1090842" y="2491839"/>
                  </a:cubicBezTo>
                  <a:cubicBezTo>
                    <a:pt x="1096267" y="2488595"/>
                    <a:pt x="1101869" y="2484893"/>
                    <a:pt x="1107649" y="2480736"/>
                  </a:cubicBezTo>
                  <a:close/>
                  <a:moveTo>
                    <a:pt x="213707" y="2480736"/>
                  </a:moveTo>
                  <a:lnTo>
                    <a:pt x="228613" y="2480736"/>
                  </a:lnTo>
                  <a:lnTo>
                    <a:pt x="228613" y="2703716"/>
                  </a:lnTo>
                  <a:lnTo>
                    <a:pt x="193325" y="2703716"/>
                  </a:lnTo>
                  <a:lnTo>
                    <a:pt x="193325" y="2523933"/>
                  </a:lnTo>
                  <a:cubicBezTo>
                    <a:pt x="186938" y="2528496"/>
                    <a:pt x="180068" y="2532374"/>
                    <a:pt x="172716" y="2535568"/>
                  </a:cubicBezTo>
                  <a:cubicBezTo>
                    <a:pt x="165364" y="2538763"/>
                    <a:pt x="156974" y="2541576"/>
                    <a:pt x="147543" y="2544010"/>
                  </a:cubicBezTo>
                  <a:lnTo>
                    <a:pt x="147543" y="2513894"/>
                  </a:lnTo>
                  <a:cubicBezTo>
                    <a:pt x="153424" y="2511968"/>
                    <a:pt x="159103" y="2509939"/>
                    <a:pt x="164578" y="2507810"/>
                  </a:cubicBezTo>
                  <a:cubicBezTo>
                    <a:pt x="170054" y="2505681"/>
                    <a:pt x="175454" y="2503298"/>
                    <a:pt x="180778" y="2500661"/>
                  </a:cubicBezTo>
                  <a:cubicBezTo>
                    <a:pt x="186101" y="2498025"/>
                    <a:pt x="191475" y="2495084"/>
                    <a:pt x="196900" y="2491839"/>
                  </a:cubicBezTo>
                  <a:cubicBezTo>
                    <a:pt x="202325" y="2488595"/>
                    <a:pt x="207927" y="2484893"/>
                    <a:pt x="213707" y="2480736"/>
                  </a:cubicBezTo>
                  <a:close/>
                  <a:moveTo>
                    <a:pt x="11444638" y="2176765"/>
                  </a:moveTo>
                  <a:lnTo>
                    <a:pt x="11459544" y="2176765"/>
                  </a:lnTo>
                  <a:lnTo>
                    <a:pt x="11459544" y="2399745"/>
                  </a:lnTo>
                  <a:lnTo>
                    <a:pt x="11424256" y="2399745"/>
                  </a:lnTo>
                  <a:lnTo>
                    <a:pt x="11424256" y="2219962"/>
                  </a:lnTo>
                  <a:cubicBezTo>
                    <a:pt x="11417868" y="2224525"/>
                    <a:pt x="11410998" y="2228403"/>
                    <a:pt x="11403647" y="2231597"/>
                  </a:cubicBezTo>
                  <a:cubicBezTo>
                    <a:pt x="11396295" y="2234792"/>
                    <a:pt x="11387904" y="2237605"/>
                    <a:pt x="11378474" y="2240039"/>
                  </a:cubicBezTo>
                  <a:lnTo>
                    <a:pt x="11378474" y="2209923"/>
                  </a:lnTo>
                  <a:cubicBezTo>
                    <a:pt x="11384355" y="2207997"/>
                    <a:pt x="11390034" y="2205968"/>
                    <a:pt x="11395509" y="2203839"/>
                  </a:cubicBezTo>
                  <a:cubicBezTo>
                    <a:pt x="11400985" y="2201710"/>
                    <a:pt x="11406385" y="2199326"/>
                    <a:pt x="11411708" y="2196690"/>
                  </a:cubicBezTo>
                  <a:cubicBezTo>
                    <a:pt x="11417032" y="2194054"/>
                    <a:pt x="11422406" y="2191113"/>
                    <a:pt x="11427831" y="2187868"/>
                  </a:cubicBezTo>
                  <a:cubicBezTo>
                    <a:pt x="11433256" y="2184624"/>
                    <a:pt x="11438858" y="2180922"/>
                    <a:pt x="11444638" y="2176765"/>
                  </a:cubicBezTo>
                  <a:close/>
                  <a:moveTo>
                    <a:pt x="9437758" y="2176765"/>
                  </a:moveTo>
                  <a:lnTo>
                    <a:pt x="9452664" y="2176765"/>
                  </a:lnTo>
                  <a:lnTo>
                    <a:pt x="9452664" y="2399745"/>
                  </a:lnTo>
                  <a:lnTo>
                    <a:pt x="9417376" y="2399745"/>
                  </a:lnTo>
                  <a:lnTo>
                    <a:pt x="9417376" y="2219962"/>
                  </a:lnTo>
                  <a:cubicBezTo>
                    <a:pt x="9410988" y="2224525"/>
                    <a:pt x="9404118" y="2228403"/>
                    <a:pt x="9396767" y="2231597"/>
                  </a:cubicBezTo>
                  <a:cubicBezTo>
                    <a:pt x="9389415" y="2234792"/>
                    <a:pt x="9381024" y="2237605"/>
                    <a:pt x="9371594" y="2240039"/>
                  </a:cubicBezTo>
                  <a:lnTo>
                    <a:pt x="9371594" y="2209923"/>
                  </a:lnTo>
                  <a:cubicBezTo>
                    <a:pt x="9377475" y="2207997"/>
                    <a:pt x="9383154" y="2205968"/>
                    <a:pt x="9388629" y="2203839"/>
                  </a:cubicBezTo>
                  <a:cubicBezTo>
                    <a:pt x="9394105" y="2201710"/>
                    <a:pt x="9399505" y="2199326"/>
                    <a:pt x="9404828" y="2196690"/>
                  </a:cubicBezTo>
                  <a:cubicBezTo>
                    <a:pt x="9410152" y="2194054"/>
                    <a:pt x="9415526" y="2191113"/>
                    <a:pt x="9420951" y="2187868"/>
                  </a:cubicBezTo>
                  <a:cubicBezTo>
                    <a:pt x="9426376" y="2184624"/>
                    <a:pt x="9431978" y="2180922"/>
                    <a:pt x="9437758" y="2176765"/>
                  </a:cubicBezTo>
                  <a:close/>
                  <a:moveTo>
                    <a:pt x="8937428" y="2176765"/>
                  </a:moveTo>
                  <a:lnTo>
                    <a:pt x="8952334" y="2176765"/>
                  </a:lnTo>
                  <a:lnTo>
                    <a:pt x="8952334" y="2399745"/>
                  </a:lnTo>
                  <a:lnTo>
                    <a:pt x="8917046" y="2399745"/>
                  </a:lnTo>
                  <a:lnTo>
                    <a:pt x="8917046" y="2219962"/>
                  </a:lnTo>
                  <a:cubicBezTo>
                    <a:pt x="8910658" y="2224525"/>
                    <a:pt x="8903788" y="2228403"/>
                    <a:pt x="8896437" y="2231597"/>
                  </a:cubicBezTo>
                  <a:cubicBezTo>
                    <a:pt x="8889085" y="2234792"/>
                    <a:pt x="8880694" y="2237605"/>
                    <a:pt x="8871264" y="2240039"/>
                  </a:cubicBezTo>
                  <a:lnTo>
                    <a:pt x="8871264" y="2209923"/>
                  </a:lnTo>
                  <a:cubicBezTo>
                    <a:pt x="8877145" y="2207997"/>
                    <a:pt x="8882824" y="2205968"/>
                    <a:pt x="8888299" y="2203839"/>
                  </a:cubicBezTo>
                  <a:cubicBezTo>
                    <a:pt x="8893775" y="2201710"/>
                    <a:pt x="8899175" y="2199326"/>
                    <a:pt x="8904498" y="2196690"/>
                  </a:cubicBezTo>
                  <a:cubicBezTo>
                    <a:pt x="8909822" y="2194054"/>
                    <a:pt x="8915196" y="2191113"/>
                    <a:pt x="8920621" y="2187868"/>
                  </a:cubicBezTo>
                  <a:cubicBezTo>
                    <a:pt x="8926046" y="2184624"/>
                    <a:pt x="8931648" y="2180922"/>
                    <a:pt x="8937428" y="2176765"/>
                  </a:cubicBezTo>
                  <a:close/>
                  <a:moveTo>
                    <a:pt x="7308531" y="2176765"/>
                  </a:moveTo>
                  <a:lnTo>
                    <a:pt x="7323437" y="2176765"/>
                  </a:lnTo>
                  <a:lnTo>
                    <a:pt x="7323437" y="2399745"/>
                  </a:lnTo>
                  <a:lnTo>
                    <a:pt x="7288149" y="2399745"/>
                  </a:lnTo>
                  <a:lnTo>
                    <a:pt x="7288149" y="2219962"/>
                  </a:lnTo>
                  <a:cubicBezTo>
                    <a:pt x="7281761" y="2224525"/>
                    <a:pt x="7274892" y="2228403"/>
                    <a:pt x="7267540" y="2231597"/>
                  </a:cubicBezTo>
                  <a:cubicBezTo>
                    <a:pt x="7260188" y="2234792"/>
                    <a:pt x="7251798" y="2237605"/>
                    <a:pt x="7242367" y="2240039"/>
                  </a:cubicBezTo>
                  <a:lnTo>
                    <a:pt x="7242367" y="2209923"/>
                  </a:lnTo>
                  <a:cubicBezTo>
                    <a:pt x="7248248" y="2207997"/>
                    <a:pt x="7253927" y="2205968"/>
                    <a:pt x="7259402" y="2203839"/>
                  </a:cubicBezTo>
                  <a:cubicBezTo>
                    <a:pt x="7264878" y="2201710"/>
                    <a:pt x="7270278" y="2199326"/>
                    <a:pt x="7275601" y="2196690"/>
                  </a:cubicBezTo>
                  <a:cubicBezTo>
                    <a:pt x="7280925" y="2194054"/>
                    <a:pt x="7286299" y="2191113"/>
                    <a:pt x="7291724" y="2187868"/>
                  </a:cubicBezTo>
                  <a:cubicBezTo>
                    <a:pt x="7297149" y="2184624"/>
                    <a:pt x="7302751" y="2180922"/>
                    <a:pt x="7308531" y="2176765"/>
                  </a:cubicBezTo>
                  <a:close/>
                  <a:moveTo>
                    <a:pt x="6438588" y="2176765"/>
                  </a:moveTo>
                  <a:lnTo>
                    <a:pt x="6453494" y="2176765"/>
                  </a:lnTo>
                  <a:lnTo>
                    <a:pt x="6453494" y="2399745"/>
                  </a:lnTo>
                  <a:lnTo>
                    <a:pt x="6418206" y="2399745"/>
                  </a:lnTo>
                  <a:lnTo>
                    <a:pt x="6418206" y="2219962"/>
                  </a:lnTo>
                  <a:cubicBezTo>
                    <a:pt x="6411818" y="2224525"/>
                    <a:pt x="6404949" y="2228403"/>
                    <a:pt x="6397597" y="2231597"/>
                  </a:cubicBezTo>
                  <a:cubicBezTo>
                    <a:pt x="6390245" y="2234792"/>
                    <a:pt x="6381855" y="2237605"/>
                    <a:pt x="6372424" y="2240039"/>
                  </a:cubicBezTo>
                  <a:lnTo>
                    <a:pt x="6372424" y="2209923"/>
                  </a:lnTo>
                  <a:cubicBezTo>
                    <a:pt x="6378305" y="2207997"/>
                    <a:pt x="6383984" y="2205968"/>
                    <a:pt x="6389459" y="2203839"/>
                  </a:cubicBezTo>
                  <a:cubicBezTo>
                    <a:pt x="6394935" y="2201710"/>
                    <a:pt x="6400335" y="2199326"/>
                    <a:pt x="6405658" y="2196690"/>
                  </a:cubicBezTo>
                  <a:cubicBezTo>
                    <a:pt x="6410982" y="2194054"/>
                    <a:pt x="6416356" y="2191113"/>
                    <a:pt x="6421781" y="2187868"/>
                  </a:cubicBezTo>
                  <a:cubicBezTo>
                    <a:pt x="6427206" y="2184624"/>
                    <a:pt x="6432808" y="2180922"/>
                    <a:pt x="6438588" y="2176765"/>
                  </a:cubicBezTo>
                  <a:close/>
                  <a:moveTo>
                    <a:pt x="5369222" y="2176765"/>
                  </a:moveTo>
                  <a:lnTo>
                    <a:pt x="5384128" y="2176765"/>
                  </a:lnTo>
                  <a:lnTo>
                    <a:pt x="5384128" y="2399745"/>
                  </a:lnTo>
                  <a:lnTo>
                    <a:pt x="5348840" y="2399745"/>
                  </a:lnTo>
                  <a:lnTo>
                    <a:pt x="5348840" y="2219962"/>
                  </a:lnTo>
                  <a:cubicBezTo>
                    <a:pt x="5342452" y="2224525"/>
                    <a:pt x="5335584" y="2228403"/>
                    <a:pt x="5328231" y="2231597"/>
                  </a:cubicBezTo>
                  <a:cubicBezTo>
                    <a:pt x="5320879" y="2234792"/>
                    <a:pt x="5312490" y="2237605"/>
                    <a:pt x="5303059" y="2240039"/>
                  </a:cubicBezTo>
                  <a:lnTo>
                    <a:pt x="5303059" y="2209923"/>
                  </a:lnTo>
                  <a:cubicBezTo>
                    <a:pt x="5308939" y="2207997"/>
                    <a:pt x="5314620" y="2205968"/>
                    <a:pt x="5320094" y="2203839"/>
                  </a:cubicBezTo>
                  <a:cubicBezTo>
                    <a:pt x="5325569" y="2201710"/>
                    <a:pt x="5330970" y="2199326"/>
                    <a:pt x="5336292" y="2196690"/>
                  </a:cubicBezTo>
                  <a:cubicBezTo>
                    <a:pt x="5341617" y="2194054"/>
                    <a:pt x="5346990" y="2191113"/>
                    <a:pt x="5352415" y="2187868"/>
                  </a:cubicBezTo>
                  <a:cubicBezTo>
                    <a:pt x="5357840" y="2184624"/>
                    <a:pt x="5363442" y="2180922"/>
                    <a:pt x="5369222" y="2176765"/>
                  </a:cubicBezTo>
                  <a:close/>
                  <a:moveTo>
                    <a:pt x="3376912" y="2176765"/>
                  </a:moveTo>
                  <a:lnTo>
                    <a:pt x="3391818" y="2176765"/>
                  </a:lnTo>
                  <a:lnTo>
                    <a:pt x="3391818" y="2399745"/>
                  </a:lnTo>
                  <a:lnTo>
                    <a:pt x="3356530" y="2399745"/>
                  </a:lnTo>
                  <a:lnTo>
                    <a:pt x="3356530" y="2219962"/>
                  </a:lnTo>
                  <a:cubicBezTo>
                    <a:pt x="3350142" y="2224525"/>
                    <a:pt x="3343273" y="2228403"/>
                    <a:pt x="3335922" y="2231597"/>
                  </a:cubicBezTo>
                  <a:cubicBezTo>
                    <a:pt x="3328569" y="2234792"/>
                    <a:pt x="3320179" y="2237605"/>
                    <a:pt x="3310748" y="2240039"/>
                  </a:cubicBezTo>
                  <a:lnTo>
                    <a:pt x="3310748" y="2209923"/>
                  </a:lnTo>
                  <a:cubicBezTo>
                    <a:pt x="3316629" y="2207997"/>
                    <a:pt x="3322308" y="2205968"/>
                    <a:pt x="3327783" y="2203839"/>
                  </a:cubicBezTo>
                  <a:cubicBezTo>
                    <a:pt x="3333259" y="2201710"/>
                    <a:pt x="3338659" y="2199326"/>
                    <a:pt x="3343983" y="2196690"/>
                  </a:cubicBezTo>
                  <a:cubicBezTo>
                    <a:pt x="3349306" y="2194054"/>
                    <a:pt x="3354680" y="2191113"/>
                    <a:pt x="3360105" y="2187868"/>
                  </a:cubicBezTo>
                  <a:cubicBezTo>
                    <a:pt x="3365530" y="2184624"/>
                    <a:pt x="3371132" y="2180922"/>
                    <a:pt x="3376912" y="2176765"/>
                  </a:cubicBezTo>
                  <a:close/>
                  <a:moveTo>
                    <a:pt x="2864708" y="2176765"/>
                  </a:moveTo>
                  <a:lnTo>
                    <a:pt x="2879614" y="2176765"/>
                  </a:lnTo>
                  <a:lnTo>
                    <a:pt x="2879614" y="2399745"/>
                  </a:lnTo>
                  <a:lnTo>
                    <a:pt x="2844327" y="2399745"/>
                  </a:lnTo>
                  <a:lnTo>
                    <a:pt x="2844327" y="2219962"/>
                  </a:lnTo>
                  <a:cubicBezTo>
                    <a:pt x="2837938" y="2224525"/>
                    <a:pt x="2831069" y="2228403"/>
                    <a:pt x="2823717" y="2231597"/>
                  </a:cubicBezTo>
                  <a:cubicBezTo>
                    <a:pt x="2816365" y="2234792"/>
                    <a:pt x="2807975" y="2237605"/>
                    <a:pt x="2798544" y="2240039"/>
                  </a:cubicBezTo>
                  <a:lnTo>
                    <a:pt x="2798544" y="2209923"/>
                  </a:lnTo>
                  <a:cubicBezTo>
                    <a:pt x="2804425" y="2207997"/>
                    <a:pt x="2810104" y="2205968"/>
                    <a:pt x="2815579" y="2203839"/>
                  </a:cubicBezTo>
                  <a:cubicBezTo>
                    <a:pt x="2821055" y="2201710"/>
                    <a:pt x="2826455" y="2199326"/>
                    <a:pt x="2831779" y="2196690"/>
                  </a:cubicBezTo>
                  <a:cubicBezTo>
                    <a:pt x="2837102" y="2194054"/>
                    <a:pt x="2842476" y="2191113"/>
                    <a:pt x="2847901" y="2187868"/>
                  </a:cubicBezTo>
                  <a:cubicBezTo>
                    <a:pt x="2853326" y="2184624"/>
                    <a:pt x="2858928" y="2180922"/>
                    <a:pt x="2864708" y="2176765"/>
                  </a:cubicBezTo>
                  <a:close/>
                  <a:moveTo>
                    <a:pt x="1257354" y="2176765"/>
                  </a:moveTo>
                  <a:lnTo>
                    <a:pt x="1272260" y="2176765"/>
                  </a:lnTo>
                  <a:lnTo>
                    <a:pt x="1272260" y="2399745"/>
                  </a:lnTo>
                  <a:lnTo>
                    <a:pt x="1236972" y="2399745"/>
                  </a:lnTo>
                  <a:lnTo>
                    <a:pt x="1236972" y="2219962"/>
                  </a:lnTo>
                  <a:cubicBezTo>
                    <a:pt x="1230584" y="2224525"/>
                    <a:pt x="1223715" y="2228403"/>
                    <a:pt x="1216363" y="2231597"/>
                  </a:cubicBezTo>
                  <a:cubicBezTo>
                    <a:pt x="1209011" y="2234792"/>
                    <a:pt x="1200621" y="2237605"/>
                    <a:pt x="1191190" y="2240039"/>
                  </a:cubicBezTo>
                  <a:lnTo>
                    <a:pt x="1191190" y="2209923"/>
                  </a:lnTo>
                  <a:cubicBezTo>
                    <a:pt x="1197071" y="2207997"/>
                    <a:pt x="1202750" y="2205968"/>
                    <a:pt x="1208225" y="2203839"/>
                  </a:cubicBezTo>
                  <a:cubicBezTo>
                    <a:pt x="1213701" y="2201710"/>
                    <a:pt x="1219101" y="2199326"/>
                    <a:pt x="1224424" y="2196690"/>
                  </a:cubicBezTo>
                  <a:cubicBezTo>
                    <a:pt x="1229748" y="2194054"/>
                    <a:pt x="1235122" y="2191113"/>
                    <a:pt x="1240547" y="2187868"/>
                  </a:cubicBezTo>
                  <a:cubicBezTo>
                    <a:pt x="1245972" y="2184624"/>
                    <a:pt x="1251574" y="2180922"/>
                    <a:pt x="1257354" y="2176765"/>
                  </a:cubicBezTo>
                  <a:close/>
                  <a:moveTo>
                    <a:pt x="384113" y="2176765"/>
                  </a:moveTo>
                  <a:lnTo>
                    <a:pt x="399019" y="2176765"/>
                  </a:lnTo>
                  <a:lnTo>
                    <a:pt x="399019" y="2399745"/>
                  </a:lnTo>
                  <a:lnTo>
                    <a:pt x="363731" y="2399745"/>
                  </a:lnTo>
                  <a:lnTo>
                    <a:pt x="363731" y="2219962"/>
                  </a:lnTo>
                  <a:cubicBezTo>
                    <a:pt x="357343" y="2224525"/>
                    <a:pt x="350474" y="2228403"/>
                    <a:pt x="343122" y="2231597"/>
                  </a:cubicBezTo>
                  <a:cubicBezTo>
                    <a:pt x="335770" y="2234792"/>
                    <a:pt x="327380" y="2237605"/>
                    <a:pt x="317949" y="2240039"/>
                  </a:cubicBezTo>
                  <a:lnTo>
                    <a:pt x="317949" y="2209923"/>
                  </a:lnTo>
                  <a:cubicBezTo>
                    <a:pt x="323830" y="2207997"/>
                    <a:pt x="329509" y="2205968"/>
                    <a:pt x="334984" y="2203839"/>
                  </a:cubicBezTo>
                  <a:cubicBezTo>
                    <a:pt x="340460" y="2201710"/>
                    <a:pt x="345860" y="2199326"/>
                    <a:pt x="351183" y="2196690"/>
                  </a:cubicBezTo>
                  <a:cubicBezTo>
                    <a:pt x="356507" y="2194054"/>
                    <a:pt x="361881" y="2191113"/>
                    <a:pt x="367306" y="2187868"/>
                  </a:cubicBezTo>
                  <a:cubicBezTo>
                    <a:pt x="372731" y="2184624"/>
                    <a:pt x="378333" y="2180922"/>
                    <a:pt x="384113" y="2176765"/>
                  </a:cubicBezTo>
                  <a:close/>
                  <a:moveTo>
                    <a:pt x="10273078" y="1842347"/>
                  </a:moveTo>
                  <a:lnTo>
                    <a:pt x="10287984" y="1842347"/>
                  </a:lnTo>
                  <a:lnTo>
                    <a:pt x="10287984" y="2065327"/>
                  </a:lnTo>
                  <a:lnTo>
                    <a:pt x="10252696" y="2065327"/>
                  </a:lnTo>
                  <a:lnTo>
                    <a:pt x="10252696" y="1885543"/>
                  </a:lnTo>
                  <a:cubicBezTo>
                    <a:pt x="10246308" y="1890107"/>
                    <a:pt x="10239438" y="1893985"/>
                    <a:pt x="10232087" y="1897179"/>
                  </a:cubicBezTo>
                  <a:cubicBezTo>
                    <a:pt x="10224735" y="1900374"/>
                    <a:pt x="10216344" y="1903187"/>
                    <a:pt x="10206914" y="1905621"/>
                  </a:cubicBezTo>
                  <a:lnTo>
                    <a:pt x="10206914" y="1875505"/>
                  </a:lnTo>
                  <a:cubicBezTo>
                    <a:pt x="10212795" y="1873579"/>
                    <a:pt x="10218474" y="1871550"/>
                    <a:pt x="10223949" y="1869421"/>
                  </a:cubicBezTo>
                  <a:cubicBezTo>
                    <a:pt x="10229425" y="1867292"/>
                    <a:pt x="10234825" y="1864908"/>
                    <a:pt x="10240148" y="1862272"/>
                  </a:cubicBezTo>
                  <a:cubicBezTo>
                    <a:pt x="10245472" y="1859636"/>
                    <a:pt x="10250846" y="1856695"/>
                    <a:pt x="10256271" y="1853450"/>
                  </a:cubicBezTo>
                  <a:cubicBezTo>
                    <a:pt x="10261696" y="1850206"/>
                    <a:pt x="10267298" y="1846504"/>
                    <a:pt x="10273078" y="1842347"/>
                  </a:cubicBezTo>
                  <a:close/>
                  <a:moveTo>
                    <a:pt x="9385054" y="1842347"/>
                  </a:moveTo>
                  <a:lnTo>
                    <a:pt x="9399960" y="1842347"/>
                  </a:lnTo>
                  <a:lnTo>
                    <a:pt x="9399960" y="2065327"/>
                  </a:lnTo>
                  <a:lnTo>
                    <a:pt x="9364672" y="2065327"/>
                  </a:lnTo>
                  <a:lnTo>
                    <a:pt x="9364672" y="1885543"/>
                  </a:lnTo>
                  <a:cubicBezTo>
                    <a:pt x="9358284" y="1890107"/>
                    <a:pt x="9351414" y="1893985"/>
                    <a:pt x="9344063" y="1897179"/>
                  </a:cubicBezTo>
                  <a:cubicBezTo>
                    <a:pt x="9336711" y="1900374"/>
                    <a:pt x="9328320" y="1903187"/>
                    <a:pt x="9318890" y="1905621"/>
                  </a:cubicBezTo>
                  <a:lnTo>
                    <a:pt x="9318890" y="1875505"/>
                  </a:lnTo>
                  <a:cubicBezTo>
                    <a:pt x="9324771" y="1873579"/>
                    <a:pt x="9330450" y="1871550"/>
                    <a:pt x="9335925" y="1869421"/>
                  </a:cubicBezTo>
                  <a:cubicBezTo>
                    <a:pt x="9341401" y="1867292"/>
                    <a:pt x="9346801" y="1864908"/>
                    <a:pt x="9352124" y="1862272"/>
                  </a:cubicBezTo>
                  <a:cubicBezTo>
                    <a:pt x="9357448" y="1859636"/>
                    <a:pt x="9362822" y="1856695"/>
                    <a:pt x="9368247" y="1853450"/>
                  </a:cubicBezTo>
                  <a:cubicBezTo>
                    <a:pt x="9373672" y="1850206"/>
                    <a:pt x="9379274" y="1846504"/>
                    <a:pt x="9385054" y="1842347"/>
                  </a:cubicBezTo>
                  <a:close/>
                  <a:moveTo>
                    <a:pt x="7515223" y="1842347"/>
                  </a:moveTo>
                  <a:lnTo>
                    <a:pt x="7530129" y="1842347"/>
                  </a:lnTo>
                  <a:lnTo>
                    <a:pt x="7530129" y="2065327"/>
                  </a:lnTo>
                  <a:lnTo>
                    <a:pt x="7494841" y="2065327"/>
                  </a:lnTo>
                  <a:lnTo>
                    <a:pt x="7494841" y="1885543"/>
                  </a:lnTo>
                  <a:cubicBezTo>
                    <a:pt x="7488453" y="1890107"/>
                    <a:pt x="7481584" y="1893985"/>
                    <a:pt x="7474232" y="1897179"/>
                  </a:cubicBezTo>
                  <a:cubicBezTo>
                    <a:pt x="7466880" y="1900374"/>
                    <a:pt x="7458490" y="1903187"/>
                    <a:pt x="7449059" y="1905621"/>
                  </a:cubicBezTo>
                  <a:lnTo>
                    <a:pt x="7449059" y="1875505"/>
                  </a:lnTo>
                  <a:cubicBezTo>
                    <a:pt x="7454940" y="1873579"/>
                    <a:pt x="7460619" y="1871550"/>
                    <a:pt x="7466094" y="1869421"/>
                  </a:cubicBezTo>
                  <a:cubicBezTo>
                    <a:pt x="7471570" y="1867292"/>
                    <a:pt x="7476970" y="1864908"/>
                    <a:pt x="7482293" y="1862272"/>
                  </a:cubicBezTo>
                  <a:cubicBezTo>
                    <a:pt x="7487617" y="1859636"/>
                    <a:pt x="7492991" y="1856695"/>
                    <a:pt x="7498416" y="1853450"/>
                  </a:cubicBezTo>
                  <a:cubicBezTo>
                    <a:pt x="7503841" y="1850206"/>
                    <a:pt x="7509443" y="1846504"/>
                    <a:pt x="7515223" y="1842347"/>
                  </a:cubicBezTo>
                  <a:close/>
                  <a:moveTo>
                    <a:pt x="6143623" y="1842347"/>
                  </a:moveTo>
                  <a:lnTo>
                    <a:pt x="6158529" y="1842347"/>
                  </a:lnTo>
                  <a:lnTo>
                    <a:pt x="6158529" y="2065327"/>
                  </a:lnTo>
                  <a:lnTo>
                    <a:pt x="6123241" y="2065327"/>
                  </a:lnTo>
                  <a:lnTo>
                    <a:pt x="6123241" y="1885543"/>
                  </a:lnTo>
                  <a:cubicBezTo>
                    <a:pt x="6116853" y="1890107"/>
                    <a:pt x="6109984" y="1893985"/>
                    <a:pt x="6102632" y="1897179"/>
                  </a:cubicBezTo>
                  <a:cubicBezTo>
                    <a:pt x="6095280" y="1900374"/>
                    <a:pt x="6086890" y="1903187"/>
                    <a:pt x="6077459" y="1905621"/>
                  </a:cubicBezTo>
                  <a:lnTo>
                    <a:pt x="6077459" y="1875505"/>
                  </a:lnTo>
                  <a:cubicBezTo>
                    <a:pt x="6083340" y="1873579"/>
                    <a:pt x="6089019" y="1871550"/>
                    <a:pt x="6094494" y="1869421"/>
                  </a:cubicBezTo>
                  <a:cubicBezTo>
                    <a:pt x="6099970" y="1867292"/>
                    <a:pt x="6105370" y="1864908"/>
                    <a:pt x="6110693" y="1862272"/>
                  </a:cubicBezTo>
                  <a:cubicBezTo>
                    <a:pt x="6116017" y="1859636"/>
                    <a:pt x="6121391" y="1856695"/>
                    <a:pt x="6126816" y="1853450"/>
                  </a:cubicBezTo>
                  <a:cubicBezTo>
                    <a:pt x="6132241" y="1850206"/>
                    <a:pt x="6137843" y="1846504"/>
                    <a:pt x="6143623" y="1842347"/>
                  </a:cubicBezTo>
                  <a:close/>
                  <a:moveTo>
                    <a:pt x="4222720" y="1842347"/>
                  </a:moveTo>
                  <a:lnTo>
                    <a:pt x="4237627" y="1842347"/>
                  </a:lnTo>
                  <a:lnTo>
                    <a:pt x="4237627" y="2065327"/>
                  </a:lnTo>
                  <a:lnTo>
                    <a:pt x="4202339" y="2065327"/>
                  </a:lnTo>
                  <a:lnTo>
                    <a:pt x="4202339" y="1885543"/>
                  </a:lnTo>
                  <a:cubicBezTo>
                    <a:pt x="4195950" y="1890107"/>
                    <a:pt x="4189081" y="1893985"/>
                    <a:pt x="4181729" y="1897179"/>
                  </a:cubicBezTo>
                  <a:cubicBezTo>
                    <a:pt x="4174378" y="1900374"/>
                    <a:pt x="4165987" y="1903187"/>
                    <a:pt x="4156556" y="1905621"/>
                  </a:cubicBezTo>
                  <a:lnTo>
                    <a:pt x="4156556" y="1875505"/>
                  </a:lnTo>
                  <a:cubicBezTo>
                    <a:pt x="4162438" y="1873579"/>
                    <a:pt x="4168116" y="1871550"/>
                    <a:pt x="4173591" y="1869421"/>
                  </a:cubicBezTo>
                  <a:cubicBezTo>
                    <a:pt x="4179067" y="1867292"/>
                    <a:pt x="4184468" y="1864908"/>
                    <a:pt x="4189791" y="1862272"/>
                  </a:cubicBezTo>
                  <a:cubicBezTo>
                    <a:pt x="4195115" y="1859636"/>
                    <a:pt x="4200489" y="1856695"/>
                    <a:pt x="4205915" y="1853450"/>
                  </a:cubicBezTo>
                  <a:cubicBezTo>
                    <a:pt x="4211338" y="1850206"/>
                    <a:pt x="4216940" y="1846504"/>
                    <a:pt x="4222720" y="1842347"/>
                  </a:cubicBezTo>
                  <a:close/>
                  <a:moveTo>
                    <a:pt x="3333016" y="1842347"/>
                  </a:moveTo>
                  <a:lnTo>
                    <a:pt x="3347923" y="1842347"/>
                  </a:lnTo>
                  <a:lnTo>
                    <a:pt x="3347923" y="2065327"/>
                  </a:lnTo>
                  <a:lnTo>
                    <a:pt x="3312636" y="2065327"/>
                  </a:lnTo>
                  <a:lnTo>
                    <a:pt x="3312636" y="1885543"/>
                  </a:lnTo>
                  <a:cubicBezTo>
                    <a:pt x="3306247" y="1890107"/>
                    <a:pt x="3299377" y="1893985"/>
                    <a:pt x="3292025" y="1897179"/>
                  </a:cubicBezTo>
                  <a:cubicBezTo>
                    <a:pt x="3284674" y="1900374"/>
                    <a:pt x="3276283" y="1903187"/>
                    <a:pt x="3266852" y="1905621"/>
                  </a:cubicBezTo>
                  <a:lnTo>
                    <a:pt x="3266852" y="1875505"/>
                  </a:lnTo>
                  <a:cubicBezTo>
                    <a:pt x="3272734" y="1873579"/>
                    <a:pt x="3278412" y="1871550"/>
                    <a:pt x="3283887" y="1869421"/>
                  </a:cubicBezTo>
                  <a:cubicBezTo>
                    <a:pt x="3289365" y="1867292"/>
                    <a:pt x="3294763" y="1864908"/>
                    <a:pt x="3300088" y="1862272"/>
                  </a:cubicBezTo>
                  <a:cubicBezTo>
                    <a:pt x="3305410" y="1859636"/>
                    <a:pt x="3310784" y="1856695"/>
                    <a:pt x="3316209" y="1853450"/>
                  </a:cubicBezTo>
                  <a:cubicBezTo>
                    <a:pt x="3321634" y="1850206"/>
                    <a:pt x="3327236" y="1846504"/>
                    <a:pt x="3333016" y="1842347"/>
                  </a:cubicBezTo>
                  <a:close/>
                  <a:moveTo>
                    <a:pt x="1449476" y="1842347"/>
                  </a:moveTo>
                  <a:lnTo>
                    <a:pt x="1464382" y="1842347"/>
                  </a:lnTo>
                  <a:lnTo>
                    <a:pt x="1464382" y="2065327"/>
                  </a:lnTo>
                  <a:lnTo>
                    <a:pt x="1429094" y="2065327"/>
                  </a:lnTo>
                  <a:lnTo>
                    <a:pt x="1429094" y="1885543"/>
                  </a:lnTo>
                  <a:cubicBezTo>
                    <a:pt x="1422706" y="1890107"/>
                    <a:pt x="1415836" y="1893985"/>
                    <a:pt x="1408485" y="1897179"/>
                  </a:cubicBezTo>
                  <a:cubicBezTo>
                    <a:pt x="1401133" y="1900374"/>
                    <a:pt x="1392742" y="1903187"/>
                    <a:pt x="1383312" y="1905621"/>
                  </a:cubicBezTo>
                  <a:lnTo>
                    <a:pt x="1383312" y="1875505"/>
                  </a:lnTo>
                  <a:cubicBezTo>
                    <a:pt x="1389193" y="1873579"/>
                    <a:pt x="1394872" y="1871550"/>
                    <a:pt x="1400347" y="1869421"/>
                  </a:cubicBezTo>
                  <a:cubicBezTo>
                    <a:pt x="1405823" y="1867292"/>
                    <a:pt x="1411223" y="1864908"/>
                    <a:pt x="1416546" y="1862272"/>
                  </a:cubicBezTo>
                  <a:cubicBezTo>
                    <a:pt x="1421870" y="1859636"/>
                    <a:pt x="1427244" y="1856695"/>
                    <a:pt x="1432669" y="1853450"/>
                  </a:cubicBezTo>
                  <a:cubicBezTo>
                    <a:pt x="1438094" y="1850206"/>
                    <a:pt x="1443696" y="1846504"/>
                    <a:pt x="1449476" y="1842347"/>
                  </a:cubicBezTo>
                  <a:close/>
                  <a:moveTo>
                    <a:pt x="77530" y="1842347"/>
                  </a:moveTo>
                  <a:lnTo>
                    <a:pt x="92436" y="1842347"/>
                  </a:lnTo>
                  <a:lnTo>
                    <a:pt x="92436" y="2065327"/>
                  </a:lnTo>
                  <a:lnTo>
                    <a:pt x="57148" y="2065327"/>
                  </a:lnTo>
                  <a:lnTo>
                    <a:pt x="57148" y="1885543"/>
                  </a:lnTo>
                  <a:cubicBezTo>
                    <a:pt x="50760" y="1890107"/>
                    <a:pt x="43891" y="1893985"/>
                    <a:pt x="36539" y="1897179"/>
                  </a:cubicBezTo>
                  <a:cubicBezTo>
                    <a:pt x="29187" y="1900374"/>
                    <a:pt x="20797" y="1903187"/>
                    <a:pt x="11366" y="1905621"/>
                  </a:cubicBezTo>
                  <a:lnTo>
                    <a:pt x="11366" y="1875505"/>
                  </a:lnTo>
                  <a:cubicBezTo>
                    <a:pt x="17247" y="1873579"/>
                    <a:pt x="22926" y="1871550"/>
                    <a:pt x="28401" y="1869421"/>
                  </a:cubicBezTo>
                  <a:cubicBezTo>
                    <a:pt x="33877" y="1867292"/>
                    <a:pt x="39277" y="1864908"/>
                    <a:pt x="44600" y="1862272"/>
                  </a:cubicBezTo>
                  <a:cubicBezTo>
                    <a:pt x="49924" y="1859636"/>
                    <a:pt x="55298" y="1856695"/>
                    <a:pt x="60723" y="1853450"/>
                  </a:cubicBezTo>
                  <a:cubicBezTo>
                    <a:pt x="66148" y="1850206"/>
                    <a:pt x="71750" y="1846504"/>
                    <a:pt x="77530" y="1842347"/>
                  </a:cubicBezTo>
                  <a:close/>
                  <a:moveTo>
                    <a:pt x="12035151" y="1522003"/>
                  </a:moveTo>
                  <a:lnTo>
                    <a:pt x="12050057" y="1522003"/>
                  </a:lnTo>
                  <a:lnTo>
                    <a:pt x="12050057" y="1744983"/>
                  </a:lnTo>
                  <a:lnTo>
                    <a:pt x="12014769" y="1744983"/>
                  </a:lnTo>
                  <a:lnTo>
                    <a:pt x="12014769" y="1565200"/>
                  </a:lnTo>
                  <a:cubicBezTo>
                    <a:pt x="12008381" y="1569763"/>
                    <a:pt x="12001511" y="1573641"/>
                    <a:pt x="11994160" y="1576835"/>
                  </a:cubicBezTo>
                  <a:cubicBezTo>
                    <a:pt x="11986808" y="1580030"/>
                    <a:pt x="11978417" y="1582843"/>
                    <a:pt x="11968987" y="1585277"/>
                  </a:cubicBezTo>
                  <a:lnTo>
                    <a:pt x="11968987" y="1555161"/>
                  </a:lnTo>
                  <a:cubicBezTo>
                    <a:pt x="11974868" y="1553235"/>
                    <a:pt x="11980547" y="1551206"/>
                    <a:pt x="11986022" y="1549077"/>
                  </a:cubicBezTo>
                  <a:cubicBezTo>
                    <a:pt x="11991498" y="1546948"/>
                    <a:pt x="11996898" y="1544565"/>
                    <a:pt x="12002221" y="1541928"/>
                  </a:cubicBezTo>
                  <a:cubicBezTo>
                    <a:pt x="12007545" y="1539292"/>
                    <a:pt x="12012919" y="1536351"/>
                    <a:pt x="12018344" y="1533106"/>
                  </a:cubicBezTo>
                  <a:cubicBezTo>
                    <a:pt x="12023769" y="1529862"/>
                    <a:pt x="12029371" y="1526161"/>
                    <a:pt x="12035151" y="1522003"/>
                  </a:cubicBezTo>
                  <a:close/>
                  <a:moveTo>
                    <a:pt x="10410370" y="1522003"/>
                  </a:moveTo>
                  <a:lnTo>
                    <a:pt x="10425276" y="1522003"/>
                  </a:lnTo>
                  <a:lnTo>
                    <a:pt x="10425276" y="1744983"/>
                  </a:lnTo>
                  <a:lnTo>
                    <a:pt x="10389988" y="1744983"/>
                  </a:lnTo>
                  <a:lnTo>
                    <a:pt x="10389988" y="1565200"/>
                  </a:lnTo>
                  <a:cubicBezTo>
                    <a:pt x="10383600" y="1569763"/>
                    <a:pt x="10376730" y="1573641"/>
                    <a:pt x="10369379" y="1576835"/>
                  </a:cubicBezTo>
                  <a:cubicBezTo>
                    <a:pt x="10362027" y="1580030"/>
                    <a:pt x="10353636" y="1582843"/>
                    <a:pt x="10344206" y="1585277"/>
                  </a:cubicBezTo>
                  <a:lnTo>
                    <a:pt x="10344206" y="1555161"/>
                  </a:lnTo>
                  <a:cubicBezTo>
                    <a:pt x="10350087" y="1553235"/>
                    <a:pt x="10355766" y="1551206"/>
                    <a:pt x="10361241" y="1549077"/>
                  </a:cubicBezTo>
                  <a:cubicBezTo>
                    <a:pt x="10366717" y="1546948"/>
                    <a:pt x="10372117" y="1544565"/>
                    <a:pt x="10377440" y="1541928"/>
                  </a:cubicBezTo>
                  <a:cubicBezTo>
                    <a:pt x="10382764" y="1539292"/>
                    <a:pt x="10388138" y="1536351"/>
                    <a:pt x="10393563" y="1533106"/>
                  </a:cubicBezTo>
                  <a:cubicBezTo>
                    <a:pt x="10398988" y="1529862"/>
                    <a:pt x="10404590" y="1526161"/>
                    <a:pt x="10410370" y="1522003"/>
                  </a:cubicBezTo>
                  <a:close/>
                  <a:moveTo>
                    <a:pt x="9532663" y="1522003"/>
                  </a:moveTo>
                  <a:lnTo>
                    <a:pt x="9547569" y="1522003"/>
                  </a:lnTo>
                  <a:lnTo>
                    <a:pt x="9547569" y="1744983"/>
                  </a:lnTo>
                  <a:lnTo>
                    <a:pt x="9512281" y="1744983"/>
                  </a:lnTo>
                  <a:lnTo>
                    <a:pt x="9512281" y="1565200"/>
                  </a:lnTo>
                  <a:cubicBezTo>
                    <a:pt x="9505893" y="1569763"/>
                    <a:pt x="9499023" y="1573641"/>
                    <a:pt x="9491672" y="1576835"/>
                  </a:cubicBezTo>
                  <a:cubicBezTo>
                    <a:pt x="9484320" y="1580030"/>
                    <a:pt x="9475929" y="1582843"/>
                    <a:pt x="9466499" y="1585277"/>
                  </a:cubicBezTo>
                  <a:lnTo>
                    <a:pt x="9466499" y="1555161"/>
                  </a:lnTo>
                  <a:cubicBezTo>
                    <a:pt x="9472380" y="1553235"/>
                    <a:pt x="9478059" y="1551206"/>
                    <a:pt x="9483534" y="1549077"/>
                  </a:cubicBezTo>
                  <a:cubicBezTo>
                    <a:pt x="9489010" y="1546948"/>
                    <a:pt x="9494410" y="1544565"/>
                    <a:pt x="9499733" y="1541928"/>
                  </a:cubicBezTo>
                  <a:cubicBezTo>
                    <a:pt x="9505057" y="1539292"/>
                    <a:pt x="9510431" y="1536351"/>
                    <a:pt x="9515856" y="1533106"/>
                  </a:cubicBezTo>
                  <a:cubicBezTo>
                    <a:pt x="9521281" y="1529862"/>
                    <a:pt x="9526883" y="1526161"/>
                    <a:pt x="9532663" y="1522003"/>
                  </a:cubicBezTo>
                  <a:close/>
                  <a:moveTo>
                    <a:pt x="8660208" y="1522003"/>
                  </a:moveTo>
                  <a:lnTo>
                    <a:pt x="8675114" y="1522003"/>
                  </a:lnTo>
                  <a:lnTo>
                    <a:pt x="8675114" y="1744983"/>
                  </a:lnTo>
                  <a:lnTo>
                    <a:pt x="8639826" y="1744983"/>
                  </a:lnTo>
                  <a:lnTo>
                    <a:pt x="8639826" y="1565200"/>
                  </a:lnTo>
                  <a:cubicBezTo>
                    <a:pt x="8633438" y="1569763"/>
                    <a:pt x="8626568" y="1573641"/>
                    <a:pt x="8619217" y="1576835"/>
                  </a:cubicBezTo>
                  <a:cubicBezTo>
                    <a:pt x="8611865" y="1580030"/>
                    <a:pt x="8603474" y="1582843"/>
                    <a:pt x="8594044" y="1585277"/>
                  </a:cubicBezTo>
                  <a:lnTo>
                    <a:pt x="8594044" y="1555161"/>
                  </a:lnTo>
                  <a:cubicBezTo>
                    <a:pt x="8599925" y="1553235"/>
                    <a:pt x="8605604" y="1551206"/>
                    <a:pt x="8611079" y="1549077"/>
                  </a:cubicBezTo>
                  <a:cubicBezTo>
                    <a:pt x="8616555" y="1546948"/>
                    <a:pt x="8621955" y="1544565"/>
                    <a:pt x="8627278" y="1541928"/>
                  </a:cubicBezTo>
                  <a:cubicBezTo>
                    <a:pt x="8632602" y="1539292"/>
                    <a:pt x="8637976" y="1536351"/>
                    <a:pt x="8643401" y="1533106"/>
                  </a:cubicBezTo>
                  <a:cubicBezTo>
                    <a:pt x="8648826" y="1529862"/>
                    <a:pt x="8654428" y="1526161"/>
                    <a:pt x="8660208" y="1522003"/>
                  </a:cubicBezTo>
                  <a:close/>
                  <a:moveTo>
                    <a:pt x="6671076" y="1522003"/>
                  </a:moveTo>
                  <a:lnTo>
                    <a:pt x="6685982" y="1522003"/>
                  </a:lnTo>
                  <a:lnTo>
                    <a:pt x="6685982" y="1744983"/>
                  </a:lnTo>
                  <a:lnTo>
                    <a:pt x="6650694" y="1744983"/>
                  </a:lnTo>
                  <a:lnTo>
                    <a:pt x="6650694" y="1565200"/>
                  </a:lnTo>
                  <a:cubicBezTo>
                    <a:pt x="6644306" y="1569763"/>
                    <a:pt x="6637437" y="1573641"/>
                    <a:pt x="6630085" y="1576835"/>
                  </a:cubicBezTo>
                  <a:cubicBezTo>
                    <a:pt x="6622733" y="1580030"/>
                    <a:pt x="6614343" y="1582843"/>
                    <a:pt x="6604912" y="1585277"/>
                  </a:cubicBezTo>
                  <a:lnTo>
                    <a:pt x="6604912" y="1555161"/>
                  </a:lnTo>
                  <a:cubicBezTo>
                    <a:pt x="6610793" y="1553235"/>
                    <a:pt x="6616472" y="1551206"/>
                    <a:pt x="6621947" y="1549077"/>
                  </a:cubicBezTo>
                  <a:cubicBezTo>
                    <a:pt x="6627423" y="1546948"/>
                    <a:pt x="6632823" y="1544565"/>
                    <a:pt x="6638146" y="1541928"/>
                  </a:cubicBezTo>
                  <a:cubicBezTo>
                    <a:pt x="6643470" y="1539292"/>
                    <a:pt x="6648844" y="1536351"/>
                    <a:pt x="6654269" y="1533106"/>
                  </a:cubicBezTo>
                  <a:cubicBezTo>
                    <a:pt x="6659694" y="1529862"/>
                    <a:pt x="6665296" y="1526161"/>
                    <a:pt x="6671076" y="1522003"/>
                  </a:cubicBezTo>
                  <a:close/>
                  <a:moveTo>
                    <a:pt x="5979098" y="1522003"/>
                  </a:moveTo>
                  <a:lnTo>
                    <a:pt x="5994004" y="1522003"/>
                  </a:lnTo>
                  <a:lnTo>
                    <a:pt x="5994004" y="1744983"/>
                  </a:lnTo>
                  <a:lnTo>
                    <a:pt x="5958716" y="1744983"/>
                  </a:lnTo>
                  <a:lnTo>
                    <a:pt x="5958716" y="1565200"/>
                  </a:lnTo>
                  <a:cubicBezTo>
                    <a:pt x="5952328" y="1569763"/>
                    <a:pt x="5945459" y="1573641"/>
                    <a:pt x="5938107" y="1576835"/>
                  </a:cubicBezTo>
                  <a:cubicBezTo>
                    <a:pt x="5930755" y="1580030"/>
                    <a:pt x="5922365" y="1582843"/>
                    <a:pt x="5912934" y="1585277"/>
                  </a:cubicBezTo>
                  <a:lnTo>
                    <a:pt x="5912934" y="1555161"/>
                  </a:lnTo>
                  <a:cubicBezTo>
                    <a:pt x="5918815" y="1553235"/>
                    <a:pt x="5924495" y="1551206"/>
                    <a:pt x="5929969" y="1549077"/>
                  </a:cubicBezTo>
                  <a:cubicBezTo>
                    <a:pt x="5935446" y="1546948"/>
                    <a:pt x="5940845" y="1544565"/>
                    <a:pt x="5946168" y="1541928"/>
                  </a:cubicBezTo>
                  <a:cubicBezTo>
                    <a:pt x="5951492" y="1539292"/>
                    <a:pt x="5956866" y="1536351"/>
                    <a:pt x="5962291" y="1533106"/>
                  </a:cubicBezTo>
                  <a:cubicBezTo>
                    <a:pt x="5967716" y="1529862"/>
                    <a:pt x="5973318" y="1526161"/>
                    <a:pt x="5979098" y="1522003"/>
                  </a:cubicBezTo>
                  <a:close/>
                  <a:moveTo>
                    <a:pt x="4354317" y="1522003"/>
                  </a:moveTo>
                  <a:lnTo>
                    <a:pt x="4369223" y="1522003"/>
                  </a:lnTo>
                  <a:lnTo>
                    <a:pt x="4369223" y="1744983"/>
                  </a:lnTo>
                  <a:lnTo>
                    <a:pt x="4333935" y="1744983"/>
                  </a:lnTo>
                  <a:lnTo>
                    <a:pt x="4333935" y="1565200"/>
                  </a:lnTo>
                  <a:cubicBezTo>
                    <a:pt x="4327547" y="1569763"/>
                    <a:pt x="4320678" y="1573641"/>
                    <a:pt x="4313326" y="1576835"/>
                  </a:cubicBezTo>
                  <a:cubicBezTo>
                    <a:pt x="4305974" y="1580030"/>
                    <a:pt x="4297584" y="1582843"/>
                    <a:pt x="4288153" y="1585277"/>
                  </a:cubicBezTo>
                  <a:lnTo>
                    <a:pt x="4288153" y="1555161"/>
                  </a:lnTo>
                  <a:cubicBezTo>
                    <a:pt x="4294034" y="1553235"/>
                    <a:pt x="4299713" y="1551206"/>
                    <a:pt x="4305188" y="1549077"/>
                  </a:cubicBezTo>
                  <a:cubicBezTo>
                    <a:pt x="4310665" y="1546948"/>
                    <a:pt x="4316064" y="1544565"/>
                    <a:pt x="4321387" y="1541928"/>
                  </a:cubicBezTo>
                  <a:cubicBezTo>
                    <a:pt x="4326711" y="1539292"/>
                    <a:pt x="4332085" y="1536351"/>
                    <a:pt x="4337511" y="1533106"/>
                  </a:cubicBezTo>
                  <a:cubicBezTo>
                    <a:pt x="4342935" y="1529862"/>
                    <a:pt x="4348537" y="1526161"/>
                    <a:pt x="4354317" y="1522003"/>
                  </a:cubicBezTo>
                  <a:close/>
                  <a:moveTo>
                    <a:pt x="3476610" y="1522003"/>
                  </a:moveTo>
                  <a:lnTo>
                    <a:pt x="3491517" y="1522003"/>
                  </a:lnTo>
                  <a:lnTo>
                    <a:pt x="3491517" y="1744983"/>
                  </a:lnTo>
                  <a:lnTo>
                    <a:pt x="3456229" y="1744983"/>
                  </a:lnTo>
                  <a:lnTo>
                    <a:pt x="3456229" y="1565200"/>
                  </a:lnTo>
                  <a:cubicBezTo>
                    <a:pt x="3449840" y="1569763"/>
                    <a:pt x="3442970" y="1573641"/>
                    <a:pt x="3435619" y="1576835"/>
                  </a:cubicBezTo>
                  <a:cubicBezTo>
                    <a:pt x="3428268" y="1580030"/>
                    <a:pt x="3419877" y="1582843"/>
                    <a:pt x="3410446" y="1585277"/>
                  </a:cubicBezTo>
                  <a:lnTo>
                    <a:pt x="3410446" y="1555161"/>
                  </a:lnTo>
                  <a:cubicBezTo>
                    <a:pt x="3416328" y="1553235"/>
                    <a:pt x="3422006" y="1551206"/>
                    <a:pt x="3427481" y="1549077"/>
                  </a:cubicBezTo>
                  <a:cubicBezTo>
                    <a:pt x="3432958" y="1546948"/>
                    <a:pt x="3438357" y="1544565"/>
                    <a:pt x="3443681" y="1541928"/>
                  </a:cubicBezTo>
                  <a:cubicBezTo>
                    <a:pt x="3449004" y="1539292"/>
                    <a:pt x="3454378" y="1536351"/>
                    <a:pt x="3459803" y="1533106"/>
                  </a:cubicBezTo>
                  <a:cubicBezTo>
                    <a:pt x="3465228" y="1529862"/>
                    <a:pt x="3470830" y="1526161"/>
                    <a:pt x="3476610" y="1522003"/>
                  </a:cubicBezTo>
                  <a:close/>
                  <a:moveTo>
                    <a:pt x="2604155" y="1522003"/>
                  </a:moveTo>
                  <a:lnTo>
                    <a:pt x="2619062" y="1522003"/>
                  </a:lnTo>
                  <a:lnTo>
                    <a:pt x="2619062" y="1744983"/>
                  </a:lnTo>
                  <a:lnTo>
                    <a:pt x="2583774" y="1744983"/>
                  </a:lnTo>
                  <a:lnTo>
                    <a:pt x="2583774" y="1565200"/>
                  </a:lnTo>
                  <a:cubicBezTo>
                    <a:pt x="2577386" y="1569763"/>
                    <a:pt x="2570516" y="1573641"/>
                    <a:pt x="2563164" y="1576835"/>
                  </a:cubicBezTo>
                  <a:cubicBezTo>
                    <a:pt x="2555812" y="1580030"/>
                    <a:pt x="2547422" y="1582843"/>
                    <a:pt x="2537992" y="1585277"/>
                  </a:cubicBezTo>
                  <a:lnTo>
                    <a:pt x="2537992" y="1555161"/>
                  </a:lnTo>
                  <a:cubicBezTo>
                    <a:pt x="2543872" y="1553235"/>
                    <a:pt x="2549552" y="1551206"/>
                    <a:pt x="2555027" y="1549077"/>
                  </a:cubicBezTo>
                  <a:cubicBezTo>
                    <a:pt x="2560503" y="1546948"/>
                    <a:pt x="2565902" y="1544565"/>
                    <a:pt x="2571226" y="1541928"/>
                  </a:cubicBezTo>
                  <a:cubicBezTo>
                    <a:pt x="2576549" y="1539292"/>
                    <a:pt x="2581923" y="1536351"/>
                    <a:pt x="2587348" y="1533106"/>
                  </a:cubicBezTo>
                  <a:cubicBezTo>
                    <a:pt x="2592773" y="1529862"/>
                    <a:pt x="2598375" y="1526161"/>
                    <a:pt x="2604155" y="1522003"/>
                  </a:cubicBezTo>
                  <a:close/>
                  <a:moveTo>
                    <a:pt x="619557" y="1522003"/>
                  </a:moveTo>
                  <a:lnTo>
                    <a:pt x="634463" y="1522003"/>
                  </a:lnTo>
                  <a:lnTo>
                    <a:pt x="634463" y="1744983"/>
                  </a:lnTo>
                  <a:lnTo>
                    <a:pt x="599175" y="1744983"/>
                  </a:lnTo>
                  <a:lnTo>
                    <a:pt x="599175" y="1565200"/>
                  </a:lnTo>
                  <a:cubicBezTo>
                    <a:pt x="592787" y="1569763"/>
                    <a:pt x="585918" y="1573641"/>
                    <a:pt x="578566" y="1576835"/>
                  </a:cubicBezTo>
                  <a:cubicBezTo>
                    <a:pt x="571214" y="1580030"/>
                    <a:pt x="562824" y="1582843"/>
                    <a:pt x="553393" y="1585277"/>
                  </a:cubicBezTo>
                  <a:lnTo>
                    <a:pt x="553393" y="1555161"/>
                  </a:lnTo>
                  <a:cubicBezTo>
                    <a:pt x="559274" y="1553235"/>
                    <a:pt x="564953" y="1551206"/>
                    <a:pt x="570428" y="1549077"/>
                  </a:cubicBezTo>
                  <a:cubicBezTo>
                    <a:pt x="575904" y="1546948"/>
                    <a:pt x="581304" y="1544565"/>
                    <a:pt x="586627" y="1541928"/>
                  </a:cubicBezTo>
                  <a:cubicBezTo>
                    <a:pt x="591951" y="1539292"/>
                    <a:pt x="597325" y="1536351"/>
                    <a:pt x="602750" y="1533107"/>
                  </a:cubicBezTo>
                  <a:cubicBezTo>
                    <a:pt x="608175" y="1529862"/>
                    <a:pt x="613777" y="1526161"/>
                    <a:pt x="619557" y="1522003"/>
                  </a:cubicBezTo>
                  <a:close/>
                  <a:moveTo>
                    <a:pt x="10298213" y="1208699"/>
                  </a:moveTo>
                  <a:lnTo>
                    <a:pt x="10313119" y="1208699"/>
                  </a:lnTo>
                  <a:lnTo>
                    <a:pt x="10313119" y="1431679"/>
                  </a:lnTo>
                  <a:lnTo>
                    <a:pt x="10277831" y="1431679"/>
                  </a:lnTo>
                  <a:lnTo>
                    <a:pt x="10277831" y="1251896"/>
                  </a:lnTo>
                  <a:cubicBezTo>
                    <a:pt x="10271443" y="1256459"/>
                    <a:pt x="10264573" y="1260337"/>
                    <a:pt x="10257222" y="1263531"/>
                  </a:cubicBezTo>
                  <a:cubicBezTo>
                    <a:pt x="10249870" y="1266726"/>
                    <a:pt x="10241479" y="1269539"/>
                    <a:pt x="10232049" y="1271973"/>
                  </a:cubicBezTo>
                  <a:lnTo>
                    <a:pt x="10232049" y="1241857"/>
                  </a:lnTo>
                  <a:cubicBezTo>
                    <a:pt x="10237930" y="1239931"/>
                    <a:pt x="10243609" y="1237902"/>
                    <a:pt x="10249084" y="1235773"/>
                  </a:cubicBezTo>
                  <a:cubicBezTo>
                    <a:pt x="10254560" y="1233644"/>
                    <a:pt x="10259960" y="1231261"/>
                    <a:pt x="10265283" y="1228624"/>
                  </a:cubicBezTo>
                  <a:cubicBezTo>
                    <a:pt x="10270607" y="1225988"/>
                    <a:pt x="10275981" y="1223047"/>
                    <a:pt x="10281406" y="1219802"/>
                  </a:cubicBezTo>
                  <a:cubicBezTo>
                    <a:pt x="10286831" y="1216558"/>
                    <a:pt x="10292433" y="1212856"/>
                    <a:pt x="10298213" y="1208699"/>
                  </a:cubicBezTo>
                  <a:close/>
                  <a:moveTo>
                    <a:pt x="7177509" y="1208699"/>
                  </a:moveTo>
                  <a:lnTo>
                    <a:pt x="7192415" y="1208699"/>
                  </a:lnTo>
                  <a:lnTo>
                    <a:pt x="7192415" y="1431679"/>
                  </a:lnTo>
                  <a:lnTo>
                    <a:pt x="7157127" y="1431679"/>
                  </a:lnTo>
                  <a:lnTo>
                    <a:pt x="7157127" y="1251896"/>
                  </a:lnTo>
                  <a:cubicBezTo>
                    <a:pt x="7150739" y="1256459"/>
                    <a:pt x="7143870" y="1260337"/>
                    <a:pt x="7136518" y="1263531"/>
                  </a:cubicBezTo>
                  <a:cubicBezTo>
                    <a:pt x="7129166" y="1266726"/>
                    <a:pt x="7120776" y="1269539"/>
                    <a:pt x="7111345" y="1271973"/>
                  </a:cubicBezTo>
                  <a:lnTo>
                    <a:pt x="7111345" y="1241857"/>
                  </a:lnTo>
                  <a:cubicBezTo>
                    <a:pt x="7117226" y="1239931"/>
                    <a:pt x="7122905" y="1237902"/>
                    <a:pt x="7128380" y="1235773"/>
                  </a:cubicBezTo>
                  <a:cubicBezTo>
                    <a:pt x="7133856" y="1233644"/>
                    <a:pt x="7139256" y="1231261"/>
                    <a:pt x="7144579" y="1228624"/>
                  </a:cubicBezTo>
                  <a:cubicBezTo>
                    <a:pt x="7149903" y="1225988"/>
                    <a:pt x="7155277" y="1223047"/>
                    <a:pt x="7160702" y="1219802"/>
                  </a:cubicBezTo>
                  <a:cubicBezTo>
                    <a:pt x="7166127" y="1216558"/>
                    <a:pt x="7171729" y="1212856"/>
                    <a:pt x="7177509" y="1208699"/>
                  </a:cubicBezTo>
                  <a:close/>
                  <a:moveTo>
                    <a:pt x="6285479" y="1208699"/>
                  </a:moveTo>
                  <a:lnTo>
                    <a:pt x="6300385" y="1208699"/>
                  </a:lnTo>
                  <a:lnTo>
                    <a:pt x="6300385" y="1431679"/>
                  </a:lnTo>
                  <a:lnTo>
                    <a:pt x="6265097" y="1431679"/>
                  </a:lnTo>
                  <a:lnTo>
                    <a:pt x="6265097" y="1251896"/>
                  </a:lnTo>
                  <a:cubicBezTo>
                    <a:pt x="6258709" y="1256459"/>
                    <a:pt x="6251840" y="1260337"/>
                    <a:pt x="6244488" y="1263531"/>
                  </a:cubicBezTo>
                  <a:cubicBezTo>
                    <a:pt x="6237136" y="1266726"/>
                    <a:pt x="6228746" y="1269539"/>
                    <a:pt x="6219315" y="1271973"/>
                  </a:cubicBezTo>
                  <a:lnTo>
                    <a:pt x="6219315" y="1241857"/>
                  </a:lnTo>
                  <a:cubicBezTo>
                    <a:pt x="6225196" y="1239931"/>
                    <a:pt x="6230875" y="1237902"/>
                    <a:pt x="6236350" y="1235773"/>
                  </a:cubicBezTo>
                  <a:cubicBezTo>
                    <a:pt x="6241826" y="1233644"/>
                    <a:pt x="6247226" y="1231261"/>
                    <a:pt x="6252549" y="1228624"/>
                  </a:cubicBezTo>
                  <a:cubicBezTo>
                    <a:pt x="6257873" y="1225988"/>
                    <a:pt x="6263247" y="1223047"/>
                    <a:pt x="6268672" y="1219802"/>
                  </a:cubicBezTo>
                  <a:cubicBezTo>
                    <a:pt x="6274097" y="1216558"/>
                    <a:pt x="6279699" y="1212856"/>
                    <a:pt x="6285479" y="1208699"/>
                  </a:cubicBezTo>
                  <a:close/>
                  <a:moveTo>
                    <a:pt x="4235746" y="1208699"/>
                  </a:moveTo>
                  <a:lnTo>
                    <a:pt x="4250651" y="1208699"/>
                  </a:lnTo>
                  <a:lnTo>
                    <a:pt x="4250651" y="1431679"/>
                  </a:lnTo>
                  <a:lnTo>
                    <a:pt x="4215364" y="1431679"/>
                  </a:lnTo>
                  <a:lnTo>
                    <a:pt x="4215364" y="1251896"/>
                  </a:lnTo>
                  <a:cubicBezTo>
                    <a:pt x="4208975" y="1256459"/>
                    <a:pt x="4202106" y="1260337"/>
                    <a:pt x="4194755" y="1263531"/>
                  </a:cubicBezTo>
                  <a:cubicBezTo>
                    <a:pt x="4187404" y="1266726"/>
                    <a:pt x="4179012" y="1269539"/>
                    <a:pt x="4169582" y="1271973"/>
                  </a:cubicBezTo>
                  <a:lnTo>
                    <a:pt x="4169582" y="1241857"/>
                  </a:lnTo>
                  <a:cubicBezTo>
                    <a:pt x="4175462" y="1239931"/>
                    <a:pt x="4181141" y="1237902"/>
                    <a:pt x="4186616" y="1235773"/>
                  </a:cubicBezTo>
                  <a:cubicBezTo>
                    <a:pt x="4192092" y="1233644"/>
                    <a:pt x="4197494" y="1231261"/>
                    <a:pt x="4202816" y="1228624"/>
                  </a:cubicBezTo>
                  <a:cubicBezTo>
                    <a:pt x="4208141" y="1225988"/>
                    <a:pt x="4213514" y="1223047"/>
                    <a:pt x="4218938" y="1219802"/>
                  </a:cubicBezTo>
                  <a:cubicBezTo>
                    <a:pt x="4224363" y="1216558"/>
                    <a:pt x="4229965" y="1212856"/>
                    <a:pt x="4235746" y="1208699"/>
                  </a:cubicBezTo>
                  <a:close/>
                  <a:moveTo>
                    <a:pt x="1114158" y="1208699"/>
                  </a:moveTo>
                  <a:lnTo>
                    <a:pt x="1129064" y="1208699"/>
                  </a:lnTo>
                  <a:lnTo>
                    <a:pt x="1129064" y="1431679"/>
                  </a:lnTo>
                  <a:lnTo>
                    <a:pt x="1093776" y="1431679"/>
                  </a:lnTo>
                  <a:lnTo>
                    <a:pt x="1093776" y="1251896"/>
                  </a:lnTo>
                  <a:cubicBezTo>
                    <a:pt x="1087390" y="1256459"/>
                    <a:pt x="1080519" y="1260337"/>
                    <a:pt x="1073167" y="1263531"/>
                  </a:cubicBezTo>
                  <a:cubicBezTo>
                    <a:pt x="1065815" y="1266726"/>
                    <a:pt x="1057425" y="1269539"/>
                    <a:pt x="1047995" y="1271973"/>
                  </a:cubicBezTo>
                  <a:lnTo>
                    <a:pt x="1047995" y="1241857"/>
                  </a:lnTo>
                  <a:cubicBezTo>
                    <a:pt x="1053877" y="1239931"/>
                    <a:pt x="1059555" y="1237902"/>
                    <a:pt x="1065030" y="1235773"/>
                  </a:cubicBezTo>
                  <a:cubicBezTo>
                    <a:pt x="1070505" y="1233644"/>
                    <a:pt x="1075905" y="1231261"/>
                    <a:pt x="1081228" y="1228624"/>
                  </a:cubicBezTo>
                  <a:cubicBezTo>
                    <a:pt x="1086552" y="1225988"/>
                    <a:pt x="1091926" y="1223047"/>
                    <a:pt x="1097351" y="1219802"/>
                  </a:cubicBezTo>
                  <a:cubicBezTo>
                    <a:pt x="1102776" y="1216558"/>
                    <a:pt x="1108378" y="1212856"/>
                    <a:pt x="1114158" y="1208699"/>
                  </a:cubicBezTo>
                  <a:close/>
                  <a:moveTo>
                    <a:pt x="220216" y="1208699"/>
                  </a:moveTo>
                  <a:lnTo>
                    <a:pt x="235122" y="1208699"/>
                  </a:lnTo>
                  <a:lnTo>
                    <a:pt x="235122" y="1431679"/>
                  </a:lnTo>
                  <a:lnTo>
                    <a:pt x="199834" y="1431679"/>
                  </a:lnTo>
                  <a:lnTo>
                    <a:pt x="199834" y="1251896"/>
                  </a:lnTo>
                  <a:cubicBezTo>
                    <a:pt x="193447" y="1256459"/>
                    <a:pt x="186577" y="1260337"/>
                    <a:pt x="179225" y="1263531"/>
                  </a:cubicBezTo>
                  <a:cubicBezTo>
                    <a:pt x="171873" y="1266726"/>
                    <a:pt x="163483" y="1269539"/>
                    <a:pt x="154052" y="1271973"/>
                  </a:cubicBezTo>
                  <a:lnTo>
                    <a:pt x="154052" y="1241857"/>
                  </a:lnTo>
                  <a:cubicBezTo>
                    <a:pt x="159933" y="1239931"/>
                    <a:pt x="165612" y="1237902"/>
                    <a:pt x="171087" y="1235773"/>
                  </a:cubicBezTo>
                  <a:cubicBezTo>
                    <a:pt x="176563" y="1233644"/>
                    <a:pt x="181963" y="1231261"/>
                    <a:pt x="187287" y="1228624"/>
                  </a:cubicBezTo>
                  <a:cubicBezTo>
                    <a:pt x="192610" y="1225988"/>
                    <a:pt x="197984" y="1223047"/>
                    <a:pt x="203409" y="1219802"/>
                  </a:cubicBezTo>
                  <a:cubicBezTo>
                    <a:pt x="208834" y="1216558"/>
                    <a:pt x="214436" y="1212856"/>
                    <a:pt x="220216" y="1208699"/>
                  </a:cubicBezTo>
                  <a:close/>
                  <a:moveTo>
                    <a:pt x="11447193" y="915060"/>
                  </a:moveTo>
                  <a:lnTo>
                    <a:pt x="11462099" y="915060"/>
                  </a:lnTo>
                  <a:lnTo>
                    <a:pt x="11462099" y="1138040"/>
                  </a:lnTo>
                  <a:lnTo>
                    <a:pt x="11426811" y="1138040"/>
                  </a:lnTo>
                  <a:lnTo>
                    <a:pt x="11426811" y="958257"/>
                  </a:lnTo>
                  <a:cubicBezTo>
                    <a:pt x="11420423" y="962820"/>
                    <a:pt x="11413553" y="966698"/>
                    <a:pt x="11406202" y="969892"/>
                  </a:cubicBezTo>
                  <a:cubicBezTo>
                    <a:pt x="11398850" y="973087"/>
                    <a:pt x="11390459" y="975900"/>
                    <a:pt x="11381029" y="978334"/>
                  </a:cubicBezTo>
                  <a:lnTo>
                    <a:pt x="11381029" y="948218"/>
                  </a:lnTo>
                  <a:cubicBezTo>
                    <a:pt x="11386910" y="946292"/>
                    <a:pt x="11392589" y="944263"/>
                    <a:pt x="11398064" y="942134"/>
                  </a:cubicBezTo>
                  <a:cubicBezTo>
                    <a:pt x="11403540" y="940005"/>
                    <a:pt x="11408940" y="937621"/>
                    <a:pt x="11414263" y="934985"/>
                  </a:cubicBezTo>
                  <a:cubicBezTo>
                    <a:pt x="11419587" y="932349"/>
                    <a:pt x="11424961" y="929408"/>
                    <a:pt x="11430386" y="926163"/>
                  </a:cubicBezTo>
                  <a:cubicBezTo>
                    <a:pt x="11435811" y="922919"/>
                    <a:pt x="11441413" y="919217"/>
                    <a:pt x="11447193" y="915060"/>
                  </a:cubicBezTo>
                  <a:close/>
                  <a:moveTo>
                    <a:pt x="9440313" y="915060"/>
                  </a:moveTo>
                  <a:lnTo>
                    <a:pt x="9455219" y="915060"/>
                  </a:lnTo>
                  <a:lnTo>
                    <a:pt x="9455219" y="1138040"/>
                  </a:lnTo>
                  <a:lnTo>
                    <a:pt x="9419931" y="1138040"/>
                  </a:lnTo>
                  <a:lnTo>
                    <a:pt x="9419931" y="958257"/>
                  </a:lnTo>
                  <a:cubicBezTo>
                    <a:pt x="9413543" y="962820"/>
                    <a:pt x="9406673" y="966698"/>
                    <a:pt x="9399322" y="969892"/>
                  </a:cubicBezTo>
                  <a:cubicBezTo>
                    <a:pt x="9391970" y="973087"/>
                    <a:pt x="9383579" y="975900"/>
                    <a:pt x="9374149" y="978334"/>
                  </a:cubicBezTo>
                  <a:lnTo>
                    <a:pt x="9374149" y="948218"/>
                  </a:lnTo>
                  <a:cubicBezTo>
                    <a:pt x="9380030" y="946292"/>
                    <a:pt x="9385709" y="944263"/>
                    <a:pt x="9391184" y="942134"/>
                  </a:cubicBezTo>
                  <a:cubicBezTo>
                    <a:pt x="9396660" y="940005"/>
                    <a:pt x="9402060" y="937621"/>
                    <a:pt x="9407383" y="934985"/>
                  </a:cubicBezTo>
                  <a:cubicBezTo>
                    <a:pt x="9412707" y="932349"/>
                    <a:pt x="9418081" y="929408"/>
                    <a:pt x="9423506" y="926163"/>
                  </a:cubicBezTo>
                  <a:cubicBezTo>
                    <a:pt x="9428931" y="922919"/>
                    <a:pt x="9434533" y="919217"/>
                    <a:pt x="9440313" y="915060"/>
                  </a:cubicBezTo>
                  <a:close/>
                  <a:moveTo>
                    <a:pt x="8939983" y="915060"/>
                  </a:moveTo>
                  <a:lnTo>
                    <a:pt x="8954889" y="915060"/>
                  </a:lnTo>
                  <a:lnTo>
                    <a:pt x="8954889" y="1138040"/>
                  </a:lnTo>
                  <a:lnTo>
                    <a:pt x="8919601" y="1138040"/>
                  </a:lnTo>
                  <a:lnTo>
                    <a:pt x="8919601" y="958257"/>
                  </a:lnTo>
                  <a:cubicBezTo>
                    <a:pt x="8913213" y="962820"/>
                    <a:pt x="8906343" y="966698"/>
                    <a:pt x="8898992" y="969892"/>
                  </a:cubicBezTo>
                  <a:cubicBezTo>
                    <a:pt x="8891640" y="973087"/>
                    <a:pt x="8883249" y="975900"/>
                    <a:pt x="8873819" y="978334"/>
                  </a:cubicBezTo>
                  <a:lnTo>
                    <a:pt x="8873819" y="948218"/>
                  </a:lnTo>
                  <a:cubicBezTo>
                    <a:pt x="8879700" y="946292"/>
                    <a:pt x="8885379" y="944263"/>
                    <a:pt x="8890854" y="942134"/>
                  </a:cubicBezTo>
                  <a:cubicBezTo>
                    <a:pt x="8896330" y="940005"/>
                    <a:pt x="8901730" y="937621"/>
                    <a:pt x="8907053" y="934985"/>
                  </a:cubicBezTo>
                  <a:cubicBezTo>
                    <a:pt x="8912377" y="932349"/>
                    <a:pt x="8917751" y="929408"/>
                    <a:pt x="8923176" y="926163"/>
                  </a:cubicBezTo>
                  <a:cubicBezTo>
                    <a:pt x="8928601" y="922919"/>
                    <a:pt x="8934203" y="919217"/>
                    <a:pt x="8939983" y="915060"/>
                  </a:cubicBezTo>
                  <a:close/>
                  <a:moveTo>
                    <a:pt x="7311086" y="915060"/>
                  </a:moveTo>
                  <a:lnTo>
                    <a:pt x="7325992" y="915060"/>
                  </a:lnTo>
                  <a:lnTo>
                    <a:pt x="7325992" y="1138040"/>
                  </a:lnTo>
                  <a:lnTo>
                    <a:pt x="7290704" y="1138040"/>
                  </a:lnTo>
                  <a:lnTo>
                    <a:pt x="7290704" y="958257"/>
                  </a:lnTo>
                  <a:cubicBezTo>
                    <a:pt x="7284316" y="962820"/>
                    <a:pt x="7277447" y="966698"/>
                    <a:pt x="7270095" y="969892"/>
                  </a:cubicBezTo>
                  <a:cubicBezTo>
                    <a:pt x="7262743" y="973087"/>
                    <a:pt x="7254353" y="975900"/>
                    <a:pt x="7244922" y="978334"/>
                  </a:cubicBezTo>
                  <a:lnTo>
                    <a:pt x="7244922" y="948218"/>
                  </a:lnTo>
                  <a:cubicBezTo>
                    <a:pt x="7250803" y="946292"/>
                    <a:pt x="7256482" y="944263"/>
                    <a:pt x="7261957" y="942134"/>
                  </a:cubicBezTo>
                  <a:cubicBezTo>
                    <a:pt x="7267433" y="940005"/>
                    <a:pt x="7272833" y="937621"/>
                    <a:pt x="7278156" y="934985"/>
                  </a:cubicBezTo>
                  <a:cubicBezTo>
                    <a:pt x="7283480" y="932349"/>
                    <a:pt x="7288854" y="929408"/>
                    <a:pt x="7294279" y="926163"/>
                  </a:cubicBezTo>
                  <a:cubicBezTo>
                    <a:pt x="7299704" y="922919"/>
                    <a:pt x="7305306" y="919217"/>
                    <a:pt x="7311086" y="915060"/>
                  </a:cubicBezTo>
                  <a:close/>
                  <a:moveTo>
                    <a:pt x="6441143" y="915060"/>
                  </a:moveTo>
                  <a:lnTo>
                    <a:pt x="6456049" y="915060"/>
                  </a:lnTo>
                  <a:lnTo>
                    <a:pt x="6456049" y="1138040"/>
                  </a:lnTo>
                  <a:lnTo>
                    <a:pt x="6420761" y="1138040"/>
                  </a:lnTo>
                  <a:lnTo>
                    <a:pt x="6420761" y="958257"/>
                  </a:lnTo>
                  <a:cubicBezTo>
                    <a:pt x="6414373" y="962820"/>
                    <a:pt x="6407504" y="966698"/>
                    <a:pt x="6400152" y="969892"/>
                  </a:cubicBezTo>
                  <a:cubicBezTo>
                    <a:pt x="6392800" y="973087"/>
                    <a:pt x="6384410" y="975900"/>
                    <a:pt x="6374979" y="978334"/>
                  </a:cubicBezTo>
                  <a:lnTo>
                    <a:pt x="6374979" y="948218"/>
                  </a:lnTo>
                  <a:cubicBezTo>
                    <a:pt x="6380860" y="946292"/>
                    <a:pt x="6386539" y="944263"/>
                    <a:pt x="6392014" y="942134"/>
                  </a:cubicBezTo>
                  <a:cubicBezTo>
                    <a:pt x="6397490" y="940005"/>
                    <a:pt x="6402890" y="937621"/>
                    <a:pt x="6408213" y="934985"/>
                  </a:cubicBezTo>
                  <a:cubicBezTo>
                    <a:pt x="6413537" y="932349"/>
                    <a:pt x="6418911" y="929408"/>
                    <a:pt x="6424336" y="926163"/>
                  </a:cubicBezTo>
                  <a:cubicBezTo>
                    <a:pt x="6429761" y="922919"/>
                    <a:pt x="6435363" y="919217"/>
                    <a:pt x="6441143" y="915060"/>
                  </a:cubicBezTo>
                  <a:close/>
                  <a:moveTo>
                    <a:pt x="5371778" y="915060"/>
                  </a:moveTo>
                  <a:lnTo>
                    <a:pt x="5386684" y="915060"/>
                  </a:lnTo>
                  <a:lnTo>
                    <a:pt x="5386684" y="1138040"/>
                  </a:lnTo>
                  <a:lnTo>
                    <a:pt x="5351396" y="1138040"/>
                  </a:lnTo>
                  <a:lnTo>
                    <a:pt x="5351396" y="958257"/>
                  </a:lnTo>
                  <a:cubicBezTo>
                    <a:pt x="5345008" y="962820"/>
                    <a:pt x="5338140" y="966698"/>
                    <a:pt x="5330786" y="969892"/>
                  </a:cubicBezTo>
                  <a:cubicBezTo>
                    <a:pt x="5323434" y="973087"/>
                    <a:pt x="5315044" y="975900"/>
                    <a:pt x="5305614" y="978334"/>
                  </a:cubicBezTo>
                  <a:lnTo>
                    <a:pt x="5305614" y="948218"/>
                  </a:lnTo>
                  <a:cubicBezTo>
                    <a:pt x="5311494" y="946292"/>
                    <a:pt x="5317173" y="944263"/>
                    <a:pt x="5322648" y="942134"/>
                  </a:cubicBezTo>
                  <a:cubicBezTo>
                    <a:pt x="5328124" y="940005"/>
                    <a:pt x="5333524" y="937621"/>
                    <a:pt x="5338848" y="934985"/>
                  </a:cubicBezTo>
                  <a:cubicBezTo>
                    <a:pt x="5344171" y="932349"/>
                    <a:pt x="5349546" y="929408"/>
                    <a:pt x="5354970" y="926163"/>
                  </a:cubicBezTo>
                  <a:cubicBezTo>
                    <a:pt x="5360395" y="922919"/>
                    <a:pt x="5365998" y="919217"/>
                    <a:pt x="5371778" y="915060"/>
                  </a:cubicBezTo>
                  <a:close/>
                  <a:moveTo>
                    <a:pt x="3379468" y="915060"/>
                  </a:moveTo>
                  <a:lnTo>
                    <a:pt x="3394374" y="915060"/>
                  </a:lnTo>
                  <a:lnTo>
                    <a:pt x="3394374" y="1138040"/>
                  </a:lnTo>
                  <a:lnTo>
                    <a:pt x="3359086" y="1138040"/>
                  </a:lnTo>
                  <a:lnTo>
                    <a:pt x="3359086" y="958257"/>
                  </a:lnTo>
                  <a:cubicBezTo>
                    <a:pt x="3352698" y="962820"/>
                    <a:pt x="3345829" y="966698"/>
                    <a:pt x="3338478" y="969892"/>
                  </a:cubicBezTo>
                  <a:cubicBezTo>
                    <a:pt x="3331125" y="973087"/>
                    <a:pt x="3322734" y="975900"/>
                    <a:pt x="3313304" y="978334"/>
                  </a:cubicBezTo>
                  <a:lnTo>
                    <a:pt x="3313304" y="948218"/>
                  </a:lnTo>
                  <a:cubicBezTo>
                    <a:pt x="3319185" y="946292"/>
                    <a:pt x="3324864" y="944263"/>
                    <a:pt x="3330339" y="942134"/>
                  </a:cubicBezTo>
                  <a:cubicBezTo>
                    <a:pt x="3335815" y="940005"/>
                    <a:pt x="3341215" y="937621"/>
                    <a:pt x="3346539" y="934985"/>
                  </a:cubicBezTo>
                  <a:cubicBezTo>
                    <a:pt x="3351862" y="932349"/>
                    <a:pt x="3357236" y="929408"/>
                    <a:pt x="3362660" y="926163"/>
                  </a:cubicBezTo>
                  <a:cubicBezTo>
                    <a:pt x="3368085" y="922919"/>
                    <a:pt x="3373687" y="919217"/>
                    <a:pt x="3379468" y="915060"/>
                  </a:cubicBezTo>
                  <a:close/>
                  <a:moveTo>
                    <a:pt x="2867263" y="915060"/>
                  </a:moveTo>
                  <a:lnTo>
                    <a:pt x="2882170" y="915060"/>
                  </a:lnTo>
                  <a:lnTo>
                    <a:pt x="2882170" y="1138040"/>
                  </a:lnTo>
                  <a:lnTo>
                    <a:pt x="2846882" y="1138040"/>
                  </a:lnTo>
                  <a:lnTo>
                    <a:pt x="2846882" y="958257"/>
                  </a:lnTo>
                  <a:cubicBezTo>
                    <a:pt x="2840494" y="962820"/>
                    <a:pt x="2833625" y="966698"/>
                    <a:pt x="2826273" y="969892"/>
                  </a:cubicBezTo>
                  <a:cubicBezTo>
                    <a:pt x="2818921" y="973087"/>
                    <a:pt x="2810531" y="975900"/>
                    <a:pt x="2801100" y="978334"/>
                  </a:cubicBezTo>
                  <a:lnTo>
                    <a:pt x="2801100" y="948218"/>
                  </a:lnTo>
                  <a:cubicBezTo>
                    <a:pt x="2806981" y="946292"/>
                    <a:pt x="2812660" y="944263"/>
                    <a:pt x="2818135" y="942134"/>
                  </a:cubicBezTo>
                  <a:cubicBezTo>
                    <a:pt x="2823611" y="940005"/>
                    <a:pt x="2829011" y="937621"/>
                    <a:pt x="2834335" y="934985"/>
                  </a:cubicBezTo>
                  <a:cubicBezTo>
                    <a:pt x="2839658" y="932349"/>
                    <a:pt x="2845032" y="929408"/>
                    <a:pt x="2850456" y="926163"/>
                  </a:cubicBezTo>
                  <a:cubicBezTo>
                    <a:pt x="2855882" y="922919"/>
                    <a:pt x="2861484" y="919217"/>
                    <a:pt x="2867263" y="915060"/>
                  </a:cubicBezTo>
                  <a:close/>
                  <a:moveTo>
                    <a:pt x="1259910" y="915060"/>
                  </a:moveTo>
                  <a:lnTo>
                    <a:pt x="1274816" y="915060"/>
                  </a:lnTo>
                  <a:lnTo>
                    <a:pt x="1274816" y="1138040"/>
                  </a:lnTo>
                  <a:lnTo>
                    <a:pt x="1239527" y="1138040"/>
                  </a:lnTo>
                  <a:lnTo>
                    <a:pt x="1239527" y="958257"/>
                  </a:lnTo>
                  <a:cubicBezTo>
                    <a:pt x="1233140" y="962820"/>
                    <a:pt x="1226270" y="966698"/>
                    <a:pt x="1218918" y="969892"/>
                  </a:cubicBezTo>
                  <a:cubicBezTo>
                    <a:pt x="1211567" y="973087"/>
                    <a:pt x="1203176" y="975900"/>
                    <a:pt x="1193745" y="978334"/>
                  </a:cubicBezTo>
                  <a:lnTo>
                    <a:pt x="1193745" y="948218"/>
                  </a:lnTo>
                  <a:cubicBezTo>
                    <a:pt x="1199627" y="946292"/>
                    <a:pt x="1205305" y="944263"/>
                    <a:pt x="1210781" y="942134"/>
                  </a:cubicBezTo>
                  <a:cubicBezTo>
                    <a:pt x="1216257" y="940005"/>
                    <a:pt x="1221657" y="937621"/>
                    <a:pt x="1226979" y="934985"/>
                  </a:cubicBezTo>
                  <a:cubicBezTo>
                    <a:pt x="1232304" y="932349"/>
                    <a:pt x="1237678" y="929408"/>
                    <a:pt x="1243103" y="926163"/>
                  </a:cubicBezTo>
                  <a:cubicBezTo>
                    <a:pt x="1248527" y="922919"/>
                    <a:pt x="1254130" y="919217"/>
                    <a:pt x="1259910" y="915060"/>
                  </a:cubicBezTo>
                  <a:close/>
                  <a:moveTo>
                    <a:pt x="386669" y="915060"/>
                  </a:moveTo>
                  <a:lnTo>
                    <a:pt x="401575" y="915060"/>
                  </a:lnTo>
                  <a:lnTo>
                    <a:pt x="401575" y="1138040"/>
                  </a:lnTo>
                  <a:lnTo>
                    <a:pt x="366287" y="1138040"/>
                  </a:lnTo>
                  <a:lnTo>
                    <a:pt x="366287" y="958257"/>
                  </a:lnTo>
                  <a:cubicBezTo>
                    <a:pt x="359899" y="962820"/>
                    <a:pt x="353030" y="966698"/>
                    <a:pt x="345678" y="969892"/>
                  </a:cubicBezTo>
                  <a:cubicBezTo>
                    <a:pt x="338325" y="973087"/>
                    <a:pt x="329936" y="975900"/>
                    <a:pt x="320505" y="978334"/>
                  </a:cubicBezTo>
                  <a:lnTo>
                    <a:pt x="320505" y="948218"/>
                  </a:lnTo>
                  <a:cubicBezTo>
                    <a:pt x="326386" y="946292"/>
                    <a:pt x="332065" y="944263"/>
                    <a:pt x="337540" y="942134"/>
                  </a:cubicBezTo>
                  <a:cubicBezTo>
                    <a:pt x="343016" y="940005"/>
                    <a:pt x="348415" y="937621"/>
                    <a:pt x="353739" y="934985"/>
                  </a:cubicBezTo>
                  <a:cubicBezTo>
                    <a:pt x="359062" y="932349"/>
                    <a:pt x="364437" y="929408"/>
                    <a:pt x="369861" y="926163"/>
                  </a:cubicBezTo>
                  <a:cubicBezTo>
                    <a:pt x="375287" y="922919"/>
                    <a:pt x="380889" y="919217"/>
                    <a:pt x="386669" y="915060"/>
                  </a:cubicBezTo>
                  <a:close/>
                  <a:moveTo>
                    <a:pt x="10303805" y="632755"/>
                  </a:moveTo>
                  <a:lnTo>
                    <a:pt x="10318711" y="632755"/>
                  </a:lnTo>
                  <a:lnTo>
                    <a:pt x="10318711" y="855735"/>
                  </a:lnTo>
                  <a:lnTo>
                    <a:pt x="10283423" y="855735"/>
                  </a:lnTo>
                  <a:lnTo>
                    <a:pt x="10283423" y="675952"/>
                  </a:lnTo>
                  <a:cubicBezTo>
                    <a:pt x="10277035" y="680515"/>
                    <a:pt x="10270165" y="684393"/>
                    <a:pt x="10262814" y="687587"/>
                  </a:cubicBezTo>
                  <a:cubicBezTo>
                    <a:pt x="10255462" y="690782"/>
                    <a:pt x="10247071" y="693595"/>
                    <a:pt x="10237641" y="696029"/>
                  </a:cubicBezTo>
                  <a:lnTo>
                    <a:pt x="10237641" y="665913"/>
                  </a:lnTo>
                  <a:cubicBezTo>
                    <a:pt x="10243522" y="663987"/>
                    <a:pt x="10249201" y="661958"/>
                    <a:pt x="10254676" y="659829"/>
                  </a:cubicBezTo>
                  <a:cubicBezTo>
                    <a:pt x="10260152" y="657700"/>
                    <a:pt x="10265552" y="655317"/>
                    <a:pt x="10270875" y="652680"/>
                  </a:cubicBezTo>
                  <a:cubicBezTo>
                    <a:pt x="10276199" y="650044"/>
                    <a:pt x="10281573" y="647103"/>
                    <a:pt x="10286998" y="643858"/>
                  </a:cubicBezTo>
                  <a:cubicBezTo>
                    <a:pt x="10292423" y="640614"/>
                    <a:pt x="10298025" y="636912"/>
                    <a:pt x="10303805" y="632755"/>
                  </a:cubicBezTo>
                  <a:close/>
                  <a:moveTo>
                    <a:pt x="7183101" y="632755"/>
                  </a:moveTo>
                  <a:lnTo>
                    <a:pt x="7198007" y="632755"/>
                  </a:lnTo>
                  <a:lnTo>
                    <a:pt x="7198007" y="855735"/>
                  </a:lnTo>
                  <a:lnTo>
                    <a:pt x="7162719" y="855735"/>
                  </a:lnTo>
                  <a:lnTo>
                    <a:pt x="7162719" y="675952"/>
                  </a:lnTo>
                  <a:cubicBezTo>
                    <a:pt x="7156331" y="680515"/>
                    <a:pt x="7149462" y="684393"/>
                    <a:pt x="7142110" y="687587"/>
                  </a:cubicBezTo>
                  <a:cubicBezTo>
                    <a:pt x="7134758" y="690782"/>
                    <a:pt x="7126368" y="693595"/>
                    <a:pt x="7116937" y="696029"/>
                  </a:cubicBezTo>
                  <a:lnTo>
                    <a:pt x="7116937" y="665913"/>
                  </a:lnTo>
                  <a:cubicBezTo>
                    <a:pt x="7122818" y="663987"/>
                    <a:pt x="7128497" y="661958"/>
                    <a:pt x="7133972" y="659829"/>
                  </a:cubicBezTo>
                  <a:cubicBezTo>
                    <a:pt x="7139448" y="657700"/>
                    <a:pt x="7144848" y="655317"/>
                    <a:pt x="7150171" y="652680"/>
                  </a:cubicBezTo>
                  <a:cubicBezTo>
                    <a:pt x="7155495" y="650044"/>
                    <a:pt x="7160869" y="647103"/>
                    <a:pt x="7166294" y="643858"/>
                  </a:cubicBezTo>
                  <a:cubicBezTo>
                    <a:pt x="7171719" y="640614"/>
                    <a:pt x="7177321" y="636912"/>
                    <a:pt x="7183101" y="632755"/>
                  </a:cubicBezTo>
                  <a:close/>
                  <a:moveTo>
                    <a:pt x="6291071" y="632755"/>
                  </a:moveTo>
                  <a:lnTo>
                    <a:pt x="6305977" y="632755"/>
                  </a:lnTo>
                  <a:lnTo>
                    <a:pt x="6305977" y="855735"/>
                  </a:lnTo>
                  <a:lnTo>
                    <a:pt x="6270689" y="855735"/>
                  </a:lnTo>
                  <a:lnTo>
                    <a:pt x="6270689" y="675952"/>
                  </a:lnTo>
                  <a:cubicBezTo>
                    <a:pt x="6264301" y="680515"/>
                    <a:pt x="6257432" y="684393"/>
                    <a:pt x="6250080" y="687587"/>
                  </a:cubicBezTo>
                  <a:cubicBezTo>
                    <a:pt x="6242728" y="690782"/>
                    <a:pt x="6234338" y="693595"/>
                    <a:pt x="6224907" y="696029"/>
                  </a:cubicBezTo>
                  <a:lnTo>
                    <a:pt x="6224907" y="665913"/>
                  </a:lnTo>
                  <a:cubicBezTo>
                    <a:pt x="6230788" y="663987"/>
                    <a:pt x="6236467" y="661958"/>
                    <a:pt x="6241942" y="659829"/>
                  </a:cubicBezTo>
                  <a:cubicBezTo>
                    <a:pt x="6247418" y="657700"/>
                    <a:pt x="6252818" y="655317"/>
                    <a:pt x="6258141" y="652680"/>
                  </a:cubicBezTo>
                  <a:cubicBezTo>
                    <a:pt x="6263465" y="650044"/>
                    <a:pt x="6268839" y="647103"/>
                    <a:pt x="6274264" y="643858"/>
                  </a:cubicBezTo>
                  <a:cubicBezTo>
                    <a:pt x="6279689" y="640614"/>
                    <a:pt x="6285291" y="636912"/>
                    <a:pt x="6291071" y="632755"/>
                  </a:cubicBezTo>
                  <a:close/>
                  <a:moveTo>
                    <a:pt x="4241338" y="632755"/>
                  </a:moveTo>
                  <a:lnTo>
                    <a:pt x="4256243" y="632755"/>
                  </a:lnTo>
                  <a:lnTo>
                    <a:pt x="4256243" y="855735"/>
                  </a:lnTo>
                  <a:lnTo>
                    <a:pt x="4220955" y="855735"/>
                  </a:lnTo>
                  <a:lnTo>
                    <a:pt x="4220955" y="675952"/>
                  </a:lnTo>
                  <a:cubicBezTo>
                    <a:pt x="4214568" y="680515"/>
                    <a:pt x="4207698" y="684393"/>
                    <a:pt x="4200346" y="687587"/>
                  </a:cubicBezTo>
                  <a:cubicBezTo>
                    <a:pt x="4192994" y="690782"/>
                    <a:pt x="4184605" y="693595"/>
                    <a:pt x="4175174" y="696029"/>
                  </a:cubicBezTo>
                  <a:lnTo>
                    <a:pt x="4175174" y="665913"/>
                  </a:lnTo>
                  <a:cubicBezTo>
                    <a:pt x="4181055" y="663987"/>
                    <a:pt x="4186734" y="661958"/>
                    <a:pt x="4192209" y="659829"/>
                  </a:cubicBezTo>
                  <a:cubicBezTo>
                    <a:pt x="4197684" y="657700"/>
                    <a:pt x="4203084" y="655317"/>
                    <a:pt x="4208407" y="652680"/>
                  </a:cubicBezTo>
                  <a:cubicBezTo>
                    <a:pt x="4213732" y="650044"/>
                    <a:pt x="4219106" y="647103"/>
                    <a:pt x="4224530" y="643858"/>
                  </a:cubicBezTo>
                  <a:cubicBezTo>
                    <a:pt x="4229955" y="640614"/>
                    <a:pt x="4235558" y="636912"/>
                    <a:pt x="4241338" y="632755"/>
                  </a:cubicBezTo>
                  <a:close/>
                  <a:moveTo>
                    <a:pt x="1119751" y="632755"/>
                  </a:moveTo>
                  <a:lnTo>
                    <a:pt x="1134657" y="632755"/>
                  </a:lnTo>
                  <a:lnTo>
                    <a:pt x="1134657" y="855735"/>
                  </a:lnTo>
                  <a:lnTo>
                    <a:pt x="1099369" y="855735"/>
                  </a:lnTo>
                  <a:lnTo>
                    <a:pt x="1099369" y="675952"/>
                  </a:lnTo>
                  <a:cubicBezTo>
                    <a:pt x="1092982" y="680515"/>
                    <a:pt x="1086112" y="684393"/>
                    <a:pt x="1078760" y="687587"/>
                  </a:cubicBezTo>
                  <a:cubicBezTo>
                    <a:pt x="1071408" y="690782"/>
                    <a:pt x="1063018" y="693595"/>
                    <a:pt x="1053588" y="696029"/>
                  </a:cubicBezTo>
                  <a:lnTo>
                    <a:pt x="1053588" y="665913"/>
                  </a:lnTo>
                  <a:cubicBezTo>
                    <a:pt x="1059469" y="663987"/>
                    <a:pt x="1065147" y="661958"/>
                    <a:pt x="1070623" y="659829"/>
                  </a:cubicBezTo>
                  <a:cubicBezTo>
                    <a:pt x="1076098" y="657700"/>
                    <a:pt x="1081498" y="655317"/>
                    <a:pt x="1086821" y="652680"/>
                  </a:cubicBezTo>
                  <a:cubicBezTo>
                    <a:pt x="1092145" y="650044"/>
                    <a:pt x="1097519" y="647103"/>
                    <a:pt x="1102944" y="643858"/>
                  </a:cubicBezTo>
                  <a:cubicBezTo>
                    <a:pt x="1108369" y="640614"/>
                    <a:pt x="1113971" y="636912"/>
                    <a:pt x="1119751" y="632755"/>
                  </a:cubicBezTo>
                  <a:close/>
                  <a:moveTo>
                    <a:pt x="225809" y="632755"/>
                  </a:moveTo>
                  <a:lnTo>
                    <a:pt x="240715" y="632755"/>
                  </a:lnTo>
                  <a:lnTo>
                    <a:pt x="240715" y="855735"/>
                  </a:lnTo>
                  <a:lnTo>
                    <a:pt x="205427" y="855735"/>
                  </a:lnTo>
                  <a:lnTo>
                    <a:pt x="205427" y="675952"/>
                  </a:lnTo>
                  <a:cubicBezTo>
                    <a:pt x="199040" y="680515"/>
                    <a:pt x="192169" y="684393"/>
                    <a:pt x="184818" y="687587"/>
                  </a:cubicBezTo>
                  <a:cubicBezTo>
                    <a:pt x="177466" y="690782"/>
                    <a:pt x="169076" y="693595"/>
                    <a:pt x="159645" y="696029"/>
                  </a:cubicBezTo>
                  <a:lnTo>
                    <a:pt x="159645" y="665913"/>
                  </a:lnTo>
                  <a:cubicBezTo>
                    <a:pt x="165526" y="663987"/>
                    <a:pt x="171205" y="661958"/>
                    <a:pt x="176680" y="659829"/>
                  </a:cubicBezTo>
                  <a:cubicBezTo>
                    <a:pt x="182156" y="657700"/>
                    <a:pt x="187556" y="655317"/>
                    <a:pt x="192880" y="652680"/>
                  </a:cubicBezTo>
                  <a:cubicBezTo>
                    <a:pt x="198203" y="650044"/>
                    <a:pt x="203577" y="647103"/>
                    <a:pt x="209002" y="643858"/>
                  </a:cubicBezTo>
                  <a:cubicBezTo>
                    <a:pt x="214427" y="640614"/>
                    <a:pt x="220029" y="636912"/>
                    <a:pt x="225809" y="632755"/>
                  </a:cubicBezTo>
                  <a:close/>
                  <a:moveTo>
                    <a:pt x="11454451" y="328247"/>
                  </a:moveTo>
                  <a:lnTo>
                    <a:pt x="11469357" y="328247"/>
                  </a:lnTo>
                  <a:lnTo>
                    <a:pt x="11469357" y="551227"/>
                  </a:lnTo>
                  <a:lnTo>
                    <a:pt x="11434069" y="551227"/>
                  </a:lnTo>
                  <a:lnTo>
                    <a:pt x="11434069" y="371444"/>
                  </a:lnTo>
                  <a:cubicBezTo>
                    <a:pt x="11427681" y="376007"/>
                    <a:pt x="11420811" y="379885"/>
                    <a:pt x="11413460" y="383079"/>
                  </a:cubicBezTo>
                  <a:cubicBezTo>
                    <a:pt x="11406108" y="386274"/>
                    <a:pt x="11397717" y="389087"/>
                    <a:pt x="11388287" y="391521"/>
                  </a:cubicBezTo>
                  <a:lnTo>
                    <a:pt x="11388287" y="361405"/>
                  </a:lnTo>
                  <a:cubicBezTo>
                    <a:pt x="11394168" y="359479"/>
                    <a:pt x="11399847" y="357450"/>
                    <a:pt x="11405322" y="355321"/>
                  </a:cubicBezTo>
                  <a:cubicBezTo>
                    <a:pt x="11410798" y="353192"/>
                    <a:pt x="11416198" y="350808"/>
                    <a:pt x="11421521" y="348172"/>
                  </a:cubicBezTo>
                  <a:cubicBezTo>
                    <a:pt x="11426845" y="345536"/>
                    <a:pt x="11432219" y="342595"/>
                    <a:pt x="11437644" y="339350"/>
                  </a:cubicBezTo>
                  <a:cubicBezTo>
                    <a:pt x="11443069" y="336106"/>
                    <a:pt x="11448671" y="332404"/>
                    <a:pt x="11454451" y="328247"/>
                  </a:cubicBezTo>
                  <a:close/>
                  <a:moveTo>
                    <a:pt x="9447571" y="328247"/>
                  </a:moveTo>
                  <a:lnTo>
                    <a:pt x="9462477" y="328247"/>
                  </a:lnTo>
                  <a:lnTo>
                    <a:pt x="9462477" y="551227"/>
                  </a:lnTo>
                  <a:lnTo>
                    <a:pt x="9427189" y="551227"/>
                  </a:lnTo>
                  <a:lnTo>
                    <a:pt x="9427189" y="371444"/>
                  </a:lnTo>
                  <a:cubicBezTo>
                    <a:pt x="9420801" y="376007"/>
                    <a:pt x="9413931" y="379885"/>
                    <a:pt x="9406580" y="383079"/>
                  </a:cubicBezTo>
                  <a:cubicBezTo>
                    <a:pt x="9399228" y="386274"/>
                    <a:pt x="9390837" y="389087"/>
                    <a:pt x="9381407" y="391521"/>
                  </a:cubicBezTo>
                  <a:lnTo>
                    <a:pt x="9381407" y="361405"/>
                  </a:lnTo>
                  <a:cubicBezTo>
                    <a:pt x="9387288" y="359479"/>
                    <a:pt x="9392967" y="357450"/>
                    <a:pt x="9398442" y="355321"/>
                  </a:cubicBezTo>
                  <a:cubicBezTo>
                    <a:pt x="9403918" y="353192"/>
                    <a:pt x="9409318" y="350808"/>
                    <a:pt x="9414641" y="348172"/>
                  </a:cubicBezTo>
                  <a:cubicBezTo>
                    <a:pt x="9419965" y="345536"/>
                    <a:pt x="9425339" y="342595"/>
                    <a:pt x="9430764" y="339350"/>
                  </a:cubicBezTo>
                  <a:cubicBezTo>
                    <a:pt x="9436189" y="336106"/>
                    <a:pt x="9441791" y="332404"/>
                    <a:pt x="9447571" y="328247"/>
                  </a:cubicBezTo>
                  <a:close/>
                  <a:moveTo>
                    <a:pt x="8947241" y="328247"/>
                  </a:moveTo>
                  <a:lnTo>
                    <a:pt x="8962147" y="328247"/>
                  </a:lnTo>
                  <a:lnTo>
                    <a:pt x="8962147" y="551227"/>
                  </a:lnTo>
                  <a:lnTo>
                    <a:pt x="8926859" y="551227"/>
                  </a:lnTo>
                  <a:lnTo>
                    <a:pt x="8926859" y="371444"/>
                  </a:lnTo>
                  <a:cubicBezTo>
                    <a:pt x="8920471" y="376007"/>
                    <a:pt x="8913601" y="379885"/>
                    <a:pt x="8906250" y="383079"/>
                  </a:cubicBezTo>
                  <a:cubicBezTo>
                    <a:pt x="8898898" y="386274"/>
                    <a:pt x="8890507" y="389087"/>
                    <a:pt x="8881077" y="391521"/>
                  </a:cubicBezTo>
                  <a:lnTo>
                    <a:pt x="8881077" y="361405"/>
                  </a:lnTo>
                  <a:cubicBezTo>
                    <a:pt x="8886958" y="359479"/>
                    <a:pt x="8892637" y="357450"/>
                    <a:pt x="8898112" y="355321"/>
                  </a:cubicBezTo>
                  <a:cubicBezTo>
                    <a:pt x="8903588" y="353192"/>
                    <a:pt x="8908988" y="350808"/>
                    <a:pt x="8914311" y="348172"/>
                  </a:cubicBezTo>
                  <a:cubicBezTo>
                    <a:pt x="8919635" y="345536"/>
                    <a:pt x="8925009" y="342595"/>
                    <a:pt x="8930434" y="339350"/>
                  </a:cubicBezTo>
                  <a:cubicBezTo>
                    <a:pt x="8935859" y="336106"/>
                    <a:pt x="8941461" y="332404"/>
                    <a:pt x="8947241" y="328247"/>
                  </a:cubicBezTo>
                  <a:close/>
                  <a:moveTo>
                    <a:pt x="7318344" y="328247"/>
                  </a:moveTo>
                  <a:lnTo>
                    <a:pt x="7333250" y="328247"/>
                  </a:lnTo>
                  <a:lnTo>
                    <a:pt x="7333250" y="551227"/>
                  </a:lnTo>
                  <a:lnTo>
                    <a:pt x="7297962" y="551227"/>
                  </a:lnTo>
                  <a:lnTo>
                    <a:pt x="7297962" y="371444"/>
                  </a:lnTo>
                  <a:cubicBezTo>
                    <a:pt x="7291574" y="376007"/>
                    <a:pt x="7284705" y="379885"/>
                    <a:pt x="7277353" y="383079"/>
                  </a:cubicBezTo>
                  <a:cubicBezTo>
                    <a:pt x="7270001" y="386274"/>
                    <a:pt x="7261611" y="389087"/>
                    <a:pt x="7252180" y="391521"/>
                  </a:cubicBezTo>
                  <a:lnTo>
                    <a:pt x="7252180" y="361405"/>
                  </a:lnTo>
                  <a:cubicBezTo>
                    <a:pt x="7258061" y="359479"/>
                    <a:pt x="7263740" y="357450"/>
                    <a:pt x="7269215" y="355321"/>
                  </a:cubicBezTo>
                  <a:cubicBezTo>
                    <a:pt x="7274691" y="353192"/>
                    <a:pt x="7280091" y="350808"/>
                    <a:pt x="7285414" y="348172"/>
                  </a:cubicBezTo>
                  <a:cubicBezTo>
                    <a:pt x="7290738" y="345536"/>
                    <a:pt x="7296112" y="342595"/>
                    <a:pt x="7301537" y="339350"/>
                  </a:cubicBezTo>
                  <a:cubicBezTo>
                    <a:pt x="7306962" y="336106"/>
                    <a:pt x="7312564" y="332404"/>
                    <a:pt x="7318344" y="328247"/>
                  </a:cubicBezTo>
                  <a:close/>
                  <a:moveTo>
                    <a:pt x="6448401" y="328247"/>
                  </a:moveTo>
                  <a:lnTo>
                    <a:pt x="6463307" y="328247"/>
                  </a:lnTo>
                  <a:lnTo>
                    <a:pt x="6463307" y="551227"/>
                  </a:lnTo>
                  <a:lnTo>
                    <a:pt x="6428019" y="551227"/>
                  </a:lnTo>
                  <a:lnTo>
                    <a:pt x="6428019" y="371444"/>
                  </a:lnTo>
                  <a:cubicBezTo>
                    <a:pt x="6421631" y="376007"/>
                    <a:pt x="6414762" y="379885"/>
                    <a:pt x="6407410" y="383079"/>
                  </a:cubicBezTo>
                  <a:cubicBezTo>
                    <a:pt x="6400058" y="386274"/>
                    <a:pt x="6391668" y="389087"/>
                    <a:pt x="6382237" y="391521"/>
                  </a:cubicBezTo>
                  <a:lnTo>
                    <a:pt x="6382237" y="361405"/>
                  </a:lnTo>
                  <a:cubicBezTo>
                    <a:pt x="6388118" y="359479"/>
                    <a:pt x="6393797" y="357450"/>
                    <a:pt x="6399272" y="355321"/>
                  </a:cubicBezTo>
                  <a:cubicBezTo>
                    <a:pt x="6404748" y="353192"/>
                    <a:pt x="6410148" y="350808"/>
                    <a:pt x="6415471" y="348172"/>
                  </a:cubicBezTo>
                  <a:cubicBezTo>
                    <a:pt x="6420795" y="345536"/>
                    <a:pt x="6426169" y="342595"/>
                    <a:pt x="6431594" y="339350"/>
                  </a:cubicBezTo>
                  <a:cubicBezTo>
                    <a:pt x="6437019" y="336106"/>
                    <a:pt x="6442621" y="332404"/>
                    <a:pt x="6448401" y="328247"/>
                  </a:cubicBezTo>
                  <a:close/>
                  <a:moveTo>
                    <a:pt x="5379035" y="328247"/>
                  </a:moveTo>
                  <a:lnTo>
                    <a:pt x="5393942" y="328247"/>
                  </a:lnTo>
                  <a:lnTo>
                    <a:pt x="5393942" y="551227"/>
                  </a:lnTo>
                  <a:lnTo>
                    <a:pt x="5358654" y="551227"/>
                  </a:lnTo>
                  <a:lnTo>
                    <a:pt x="5358654" y="371444"/>
                  </a:lnTo>
                  <a:cubicBezTo>
                    <a:pt x="5352265" y="376007"/>
                    <a:pt x="5345396" y="379885"/>
                    <a:pt x="5338044" y="383079"/>
                  </a:cubicBezTo>
                  <a:cubicBezTo>
                    <a:pt x="5330692" y="386274"/>
                    <a:pt x="5322303" y="389087"/>
                    <a:pt x="5312871" y="391521"/>
                  </a:cubicBezTo>
                  <a:lnTo>
                    <a:pt x="5312871" y="361405"/>
                  </a:lnTo>
                  <a:cubicBezTo>
                    <a:pt x="5318752" y="359479"/>
                    <a:pt x="5324432" y="357450"/>
                    <a:pt x="5329907" y="355321"/>
                  </a:cubicBezTo>
                  <a:cubicBezTo>
                    <a:pt x="5335382" y="353192"/>
                    <a:pt x="5340783" y="350808"/>
                    <a:pt x="5346106" y="348172"/>
                  </a:cubicBezTo>
                  <a:cubicBezTo>
                    <a:pt x="5351430" y="345536"/>
                    <a:pt x="5356804" y="342595"/>
                    <a:pt x="5362228" y="339350"/>
                  </a:cubicBezTo>
                  <a:cubicBezTo>
                    <a:pt x="5367654" y="336106"/>
                    <a:pt x="5373256" y="332404"/>
                    <a:pt x="5379035" y="328247"/>
                  </a:cubicBezTo>
                  <a:close/>
                  <a:moveTo>
                    <a:pt x="3386726" y="328247"/>
                  </a:moveTo>
                  <a:lnTo>
                    <a:pt x="3401632" y="328247"/>
                  </a:lnTo>
                  <a:lnTo>
                    <a:pt x="3401632" y="551227"/>
                  </a:lnTo>
                  <a:lnTo>
                    <a:pt x="3366344" y="551227"/>
                  </a:lnTo>
                  <a:lnTo>
                    <a:pt x="3366344" y="371444"/>
                  </a:lnTo>
                  <a:cubicBezTo>
                    <a:pt x="3359956" y="376007"/>
                    <a:pt x="3353087" y="379885"/>
                    <a:pt x="3345736" y="383079"/>
                  </a:cubicBezTo>
                  <a:cubicBezTo>
                    <a:pt x="3338383" y="386274"/>
                    <a:pt x="3329993" y="389087"/>
                    <a:pt x="3320562" y="391521"/>
                  </a:cubicBezTo>
                  <a:lnTo>
                    <a:pt x="3320562" y="361405"/>
                  </a:lnTo>
                  <a:cubicBezTo>
                    <a:pt x="3326442" y="359479"/>
                    <a:pt x="3332122" y="357450"/>
                    <a:pt x="3337597" y="355321"/>
                  </a:cubicBezTo>
                  <a:cubicBezTo>
                    <a:pt x="3343073" y="353192"/>
                    <a:pt x="3348473" y="350808"/>
                    <a:pt x="3353797" y="348172"/>
                  </a:cubicBezTo>
                  <a:cubicBezTo>
                    <a:pt x="3359120" y="345536"/>
                    <a:pt x="3364494" y="342595"/>
                    <a:pt x="3369919" y="339350"/>
                  </a:cubicBezTo>
                  <a:cubicBezTo>
                    <a:pt x="3375344" y="336106"/>
                    <a:pt x="3380947" y="332404"/>
                    <a:pt x="3386726" y="328247"/>
                  </a:cubicBezTo>
                  <a:close/>
                  <a:moveTo>
                    <a:pt x="2874522" y="328247"/>
                  </a:moveTo>
                  <a:lnTo>
                    <a:pt x="2889428" y="328247"/>
                  </a:lnTo>
                  <a:lnTo>
                    <a:pt x="2889428" y="551227"/>
                  </a:lnTo>
                  <a:lnTo>
                    <a:pt x="2854142" y="551227"/>
                  </a:lnTo>
                  <a:lnTo>
                    <a:pt x="2854142" y="371444"/>
                  </a:lnTo>
                  <a:cubicBezTo>
                    <a:pt x="2847752" y="376007"/>
                    <a:pt x="2840883" y="379885"/>
                    <a:pt x="2833531" y="383079"/>
                  </a:cubicBezTo>
                  <a:cubicBezTo>
                    <a:pt x="2826179" y="386274"/>
                    <a:pt x="2817789" y="389087"/>
                    <a:pt x="2808358" y="391521"/>
                  </a:cubicBezTo>
                  <a:lnTo>
                    <a:pt x="2808358" y="361405"/>
                  </a:lnTo>
                  <a:cubicBezTo>
                    <a:pt x="2814239" y="359479"/>
                    <a:pt x="2819918" y="357450"/>
                    <a:pt x="2825393" y="355321"/>
                  </a:cubicBezTo>
                  <a:cubicBezTo>
                    <a:pt x="2830869" y="353192"/>
                    <a:pt x="2836269" y="350808"/>
                    <a:pt x="2841593" y="348172"/>
                  </a:cubicBezTo>
                  <a:cubicBezTo>
                    <a:pt x="2846916" y="345536"/>
                    <a:pt x="2852290" y="342595"/>
                    <a:pt x="2857715" y="339350"/>
                  </a:cubicBezTo>
                  <a:cubicBezTo>
                    <a:pt x="2863141" y="336106"/>
                    <a:pt x="2868742" y="332404"/>
                    <a:pt x="2874522" y="328247"/>
                  </a:cubicBezTo>
                  <a:close/>
                  <a:moveTo>
                    <a:pt x="1267168" y="328247"/>
                  </a:moveTo>
                  <a:lnTo>
                    <a:pt x="1282074" y="328247"/>
                  </a:lnTo>
                  <a:lnTo>
                    <a:pt x="1282074" y="551227"/>
                  </a:lnTo>
                  <a:lnTo>
                    <a:pt x="1246786" y="551227"/>
                  </a:lnTo>
                  <a:lnTo>
                    <a:pt x="1246786" y="371444"/>
                  </a:lnTo>
                  <a:cubicBezTo>
                    <a:pt x="1240398" y="376007"/>
                    <a:pt x="1233529" y="379885"/>
                    <a:pt x="1226177" y="383079"/>
                  </a:cubicBezTo>
                  <a:cubicBezTo>
                    <a:pt x="1218825" y="386274"/>
                    <a:pt x="1210435" y="389087"/>
                    <a:pt x="1201004" y="391521"/>
                  </a:cubicBezTo>
                  <a:lnTo>
                    <a:pt x="1201004" y="361405"/>
                  </a:lnTo>
                  <a:cubicBezTo>
                    <a:pt x="1206885" y="359479"/>
                    <a:pt x="1212564" y="357450"/>
                    <a:pt x="1218039" y="355321"/>
                  </a:cubicBezTo>
                  <a:cubicBezTo>
                    <a:pt x="1223515" y="353192"/>
                    <a:pt x="1228915" y="350808"/>
                    <a:pt x="1234238" y="348172"/>
                  </a:cubicBezTo>
                  <a:cubicBezTo>
                    <a:pt x="1239562" y="345536"/>
                    <a:pt x="1244936" y="342595"/>
                    <a:pt x="1250361" y="339350"/>
                  </a:cubicBezTo>
                  <a:cubicBezTo>
                    <a:pt x="1255786" y="336106"/>
                    <a:pt x="1261388" y="332404"/>
                    <a:pt x="1267168" y="328247"/>
                  </a:cubicBezTo>
                  <a:close/>
                  <a:moveTo>
                    <a:pt x="393927" y="328247"/>
                  </a:moveTo>
                  <a:lnTo>
                    <a:pt x="408833" y="328247"/>
                  </a:lnTo>
                  <a:lnTo>
                    <a:pt x="408833" y="551227"/>
                  </a:lnTo>
                  <a:lnTo>
                    <a:pt x="373545" y="551227"/>
                  </a:lnTo>
                  <a:lnTo>
                    <a:pt x="373545" y="371444"/>
                  </a:lnTo>
                  <a:cubicBezTo>
                    <a:pt x="367157" y="376007"/>
                    <a:pt x="360288" y="379885"/>
                    <a:pt x="352936" y="383079"/>
                  </a:cubicBezTo>
                  <a:cubicBezTo>
                    <a:pt x="345584" y="386274"/>
                    <a:pt x="337194" y="389087"/>
                    <a:pt x="327763" y="391521"/>
                  </a:cubicBezTo>
                  <a:lnTo>
                    <a:pt x="327763" y="361405"/>
                  </a:lnTo>
                  <a:cubicBezTo>
                    <a:pt x="333644" y="359479"/>
                    <a:pt x="339323" y="357450"/>
                    <a:pt x="344798" y="355321"/>
                  </a:cubicBezTo>
                  <a:cubicBezTo>
                    <a:pt x="350274" y="353192"/>
                    <a:pt x="355674" y="350808"/>
                    <a:pt x="360997" y="348172"/>
                  </a:cubicBezTo>
                  <a:cubicBezTo>
                    <a:pt x="366321" y="345536"/>
                    <a:pt x="371695" y="342595"/>
                    <a:pt x="377120" y="339350"/>
                  </a:cubicBezTo>
                  <a:cubicBezTo>
                    <a:pt x="382545" y="336106"/>
                    <a:pt x="388147" y="332404"/>
                    <a:pt x="393927" y="328247"/>
                  </a:cubicBezTo>
                  <a:close/>
                  <a:moveTo>
                    <a:pt x="10287594" y="0"/>
                  </a:moveTo>
                  <a:lnTo>
                    <a:pt x="10302500" y="0"/>
                  </a:lnTo>
                  <a:lnTo>
                    <a:pt x="10302500" y="222980"/>
                  </a:lnTo>
                  <a:lnTo>
                    <a:pt x="10267212" y="222980"/>
                  </a:lnTo>
                  <a:lnTo>
                    <a:pt x="10267212" y="43196"/>
                  </a:lnTo>
                  <a:cubicBezTo>
                    <a:pt x="10260824" y="47760"/>
                    <a:pt x="10253954" y="51638"/>
                    <a:pt x="10246603" y="54832"/>
                  </a:cubicBezTo>
                  <a:cubicBezTo>
                    <a:pt x="10239251" y="58027"/>
                    <a:pt x="10230860" y="60840"/>
                    <a:pt x="10221430" y="63274"/>
                  </a:cubicBezTo>
                  <a:lnTo>
                    <a:pt x="10221430" y="33158"/>
                  </a:lnTo>
                  <a:cubicBezTo>
                    <a:pt x="10227311" y="31232"/>
                    <a:pt x="10232990" y="29203"/>
                    <a:pt x="10238465" y="27074"/>
                  </a:cubicBezTo>
                  <a:cubicBezTo>
                    <a:pt x="10243941" y="24945"/>
                    <a:pt x="10249341" y="22561"/>
                    <a:pt x="10254664" y="19925"/>
                  </a:cubicBezTo>
                  <a:cubicBezTo>
                    <a:pt x="10259988" y="17289"/>
                    <a:pt x="10265362" y="14348"/>
                    <a:pt x="10270787" y="11103"/>
                  </a:cubicBezTo>
                  <a:cubicBezTo>
                    <a:pt x="10276212" y="7859"/>
                    <a:pt x="10281814" y="4157"/>
                    <a:pt x="10287594" y="0"/>
                  </a:cubicBezTo>
                  <a:close/>
                  <a:moveTo>
                    <a:pt x="9399570" y="0"/>
                  </a:moveTo>
                  <a:lnTo>
                    <a:pt x="9414476" y="0"/>
                  </a:lnTo>
                  <a:lnTo>
                    <a:pt x="9414476" y="222980"/>
                  </a:lnTo>
                  <a:lnTo>
                    <a:pt x="9379188" y="222980"/>
                  </a:lnTo>
                  <a:lnTo>
                    <a:pt x="9379188" y="43196"/>
                  </a:lnTo>
                  <a:cubicBezTo>
                    <a:pt x="9372800" y="47760"/>
                    <a:pt x="9365930" y="51638"/>
                    <a:pt x="9358579" y="54832"/>
                  </a:cubicBezTo>
                  <a:cubicBezTo>
                    <a:pt x="9351227" y="58027"/>
                    <a:pt x="9342836" y="60840"/>
                    <a:pt x="9333406" y="63274"/>
                  </a:cubicBezTo>
                  <a:lnTo>
                    <a:pt x="9333406" y="33158"/>
                  </a:lnTo>
                  <a:cubicBezTo>
                    <a:pt x="9339287" y="31232"/>
                    <a:pt x="9344966" y="29203"/>
                    <a:pt x="9350441" y="27074"/>
                  </a:cubicBezTo>
                  <a:cubicBezTo>
                    <a:pt x="9355917" y="24945"/>
                    <a:pt x="9361317" y="22561"/>
                    <a:pt x="9366640" y="19925"/>
                  </a:cubicBezTo>
                  <a:cubicBezTo>
                    <a:pt x="9371964" y="17289"/>
                    <a:pt x="9377338" y="14348"/>
                    <a:pt x="9382763" y="11103"/>
                  </a:cubicBezTo>
                  <a:cubicBezTo>
                    <a:pt x="9388188" y="7859"/>
                    <a:pt x="9393790" y="4157"/>
                    <a:pt x="9399570" y="0"/>
                  </a:cubicBezTo>
                  <a:close/>
                  <a:moveTo>
                    <a:pt x="7529739" y="0"/>
                  </a:moveTo>
                  <a:lnTo>
                    <a:pt x="7544645" y="0"/>
                  </a:lnTo>
                  <a:lnTo>
                    <a:pt x="7544645" y="222980"/>
                  </a:lnTo>
                  <a:lnTo>
                    <a:pt x="7509357" y="222980"/>
                  </a:lnTo>
                  <a:lnTo>
                    <a:pt x="7509357" y="43196"/>
                  </a:lnTo>
                  <a:cubicBezTo>
                    <a:pt x="7502969" y="47760"/>
                    <a:pt x="7496100" y="51638"/>
                    <a:pt x="7488748" y="54832"/>
                  </a:cubicBezTo>
                  <a:cubicBezTo>
                    <a:pt x="7481396" y="58027"/>
                    <a:pt x="7473006" y="60840"/>
                    <a:pt x="7463575" y="63274"/>
                  </a:cubicBezTo>
                  <a:lnTo>
                    <a:pt x="7463575" y="33158"/>
                  </a:lnTo>
                  <a:cubicBezTo>
                    <a:pt x="7469456" y="31232"/>
                    <a:pt x="7475135" y="29203"/>
                    <a:pt x="7480610" y="27074"/>
                  </a:cubicBezTo>
                  <a:cubicBezTo>
                    <a:pt x="7486086" y="24945"/>
                    <a:pt x="7491486" y="22561"/>
                    <a:pt x="7496809" y="19925"/>
                  </a:cubicBezTo>
                  <a:cubicBezTo>
                    <a:pt x="7502133" y="17289"/>
                    <a:pt x="7507507" y="14348"/>
                    <a:pt x="7512932" y="11103"/>
                  </a:cubicBezTo>
                  <a:cubicBezTo>
                    <a:pt x="7518357" y="7859"/>
                    <a:pt x="7523959" y="4157"/>
                    <a:pt x="7529739" y="0"/>
                  </a:cubicBezTo>
                  <a:close/>
                  <a:moveTo>
                    <a:pt x="6158139" y="0"/>
                  </a:moveTo>
                  <a:lnTo>
                    <a:pt x="6173045" y="0"/>
                  </a:lnTo>
                  <a:lnTo>
                    <a:pt x="6173045" y="222980"/>
                  </a:lnTo>
                  <a:lnTo>
                    <a:pt x="6137757" y="222980"/>
                  </a:lnTo>
                  <a:lnTo>
                    <a:pt x="6137757" y="43196"/>
                  </a:lnTo>
                  <a:cubicBezTo>
                    <a:pt x="6131369" y="47760"/>
                    <a:pt x="6124500" y="51638"/>
                    <a:pt x="6117148" y="54832"/>
                  </a:cubicBezTo>
                  <a:cubicBezTo>
                    <a:pt x="6109796" y="58027"/>
                    <a:pt x="6101406" y="60840"/>
                    <a:pt x="6091975" y="63274"/>
                  </a:cubicBezTo>
                  <a:lnTo>
                    <a:pt x="6091975" y="33158"/>
                  </a:lnTo>
                  <a:cubicBezTo>
                    <a:pt x="6097856" y="31232"/>
                    <a:pt x="6103535" y="29203"/>
                    <a:pt x="6109010" y="27074"/>
                  </a:cubicBezTo>
                  <a:cubicBezTo>
                    <a:pt x="6114486" y="24945"/>
                    <a:pt x="6119886" y="22561"/>
                    <a:pt x="6125209" y="19925"/>
                  </a:cubicBezTo>
                  <a:cubicBezTo>
                    <a:pt x="6130533" y="17289"/>
                    <a:pt x="6135907" y="14348"/>
                    <a:pt x="6141332" y="11103"/>
                  </a:cubicBezTo>
                  <a:cubicBezTo>
                    <a:pt x="6146757" y="7859"/>
                    <a:pt x="6152359" y="4157"/>
                    <a:pt x="6158139" y="0"/>
                  </a:cubicBezTo>
                  <a:close/>
                  <a:moveTo>
                    <a:pt x="4237236" y="0"/>
                  </a:moveTo>
                  <a:lnTo>
                    <a:pt x="4252143" y="0"/>
                  </a:lnTo>
                  <a:lnTo>
                    <a:pt x="4252143" y="222980"/>
                  </a:lnTo>
                  <a:lnTo>
                    <a:pt x="4216854" y="222980"/>
                  </a:lnTo>
                  <a:lnTo>
                    <a:pt x="4216854" y="43196"/>
                  </a:lnTo>
                  <a:cubicBezTo>
                    <a:pt x="4210467" y="47760"/>
                    <a:pt x="4203597" y="51638"/>
                    <a:pt x="4196246" y="54832"/>
                  </a:cubicBezTo>
                  <a:cubicBezTo>
                    <a:pt x="4188893" y="58027"/>
                    <a:pt x="4180504" y="60840"/>
                    <a:pt x="4171072" y="63274"/>
                  </a:cubicBezTo>
                  <a:lnTo>
                    <a:pt x="4171072" y="33158"/>
                  </a:lnTo>
                  <a:cubicBezTo>
                    <a:pt x="4176954" y="31232"/>
                    <a:pt x="4182634" y="29203"/>
                    <a:pt x="4188108" y="27074"/>
                  </a:cubicBezTo>
                  <a:cubicBezTo>
                    <a:pt x="4193583" y="24945"/>
                    <a:pt x="4198984" y="22561"/>
                    <a:pt x="4204308" y="19925"/>
                  </a:cubicBezTo>
                  <a:cubicBezTo>
                    <a:pt x="4209631" y="17289"/>
                    <a:pt x="4215005" y="14348"/>
                    <a:pt x="4220430" y="11103"/>
                  </a:cubicBezTo>
                  <a:cubicBezTo>
                    <a:pt x="4225855" y="7859"/>
                    <a:pt x="4231457" y="4157"/>
                    <a:pt x="4237236" y="0"/>
                  </a:cubicBezTo>
                  <a:close/>
                  <a:moveTo>
                    <a:pt x="3347533" y="0"/>
                  </a:moveTo>
                  <a:lnTo>
                    <a:pt x="3362439" y="0"/>
                  </a:lnTo>
                  <a:lnTo>
                    <a:pt x="3362439" y="222980"/>
                  </a:lnTo>
                  <a:lnTo>
                    <a:pt x="3327152" y="222980"/>
                  </a:lnTo>
                  <a:lnTo>
                    <a:pt x="3327152" y="43196"/>
                  </a:lnTo>
                  <a:cubicBezTo>
                    <a:pt x="3320764" y="47760"/>
                    <a:pt x="3313894" y="51638"/>
                    <a:pt x="3306542" y="54832"/>
                  </a:cubicBezTo>
                  <a:cubicBezTo>
                    <a:pt x="3299191" y="58027"/>
                    <a:pt x="3290800" y="60840"/>
                    <a:pt x="3281369" y="63274"/>
                  </a:cubicBezTo>
                  <a:lnTo>
                    <a:pt x="3281369" y="33158"/>
                  </a:lnTo>
                  <a:cubicBezTo>
                    <a:pt x="3287251" y="31232"/>
                    <a:pt x="3292929" y="29203"/>
                    <a:pt x="3298404" y="27074"/>
                  </a:cubicBezTo>
                  <a:cubicBezTo>
                    <a:pt x="3303881" y="24945"/>
                    <a:pt x="3309280" y="22561"/>
                    <a:pt x="3314604" y="19925"/>
                  </a:cubicBezTo>
                  <a:cubicBezTo>
                    <a:pt x="3319927" y="17289"/>
                    <a:pt x="3325301" y="14348"/>
                    <a:pt x="3330727" y="11103"/>
                  </a:cubicBezTo>
                  <a:cubicBezTo>
                    <a:pt x="3336151" y="7859"/>
                    <a:pt x="3341753" y="4157"/>
                    <a:pt x="3347533" y="0"/>
                  </a:cubicBezTo>
                  <a:close/>
                  <a:moveTo>
                    <a:pt x="1463993" y="0"/>
                  </a:moveTo>
                  <a:lnTo>
                    <a:pt x="1478899" y="0"/>
                  </a:lnTo>
                  <a:lnTo>
                    <a:pt x="1478899" y="222980"/>
                  </a:lnTo>
                  <a:lnTo>
                    <a:pt x="1443611" y="222980"/>
                  </a:lnTo>
                  <a:lnTo>
                    <a:pt x="1443611" y="43196"/>
                  </a:lnTo>
                  <a:cubicBezTo>
                    <a:pt x="1437223" y="47760"/>
                    <a:pt x="1430353" y="51638"/>
                    <a:pt x="1423002" y="54832"/>
                  </a:cubicBezTo>
                  <a:cubicBezTo>
                    <a:pt x="1415650" y="58027"/>
                    <a:pt x="1407259" y="60840"/>
                    <a:pt x="1397829" y="63274"/>
                  </a:cubicBezTo>
                  <a:lnTo>
                    <a:pt x="1397829" y="33158"/>
                  </a:lnTo>
                  <a:cubicBezTo>
                    <a:pt x="1403710" y="31232"/>
                    <a:pt x="1409389" y="29203"/>
                    <a:pt x="1414864" y="27074"/>
                  </a:cubicBezTo>
                  <a:cubicBezTo>
                    <a:pt x="1420340" y="24945"/>
                    <a:pt x="1425740" y="22561"/>
                    <a:pt x="1431063" y="19925"/>
                  </a:cubicBezTo>
                  <a:cubicBezTo>
                    <a:pt x="1436387" y="17289"/>
                    <a:pt x="1441761" y="14348"/>
                    <a:pt x="1447186" y="11103"/>
                  </a:cubicBezTo>
                  <a:cubicBezTo>
                    <a:pt x="1452611" y="7859"/>
                    <a:pt x="1458213" y="4157"/>
                    <a:pt x="1463993" y="0"/>
                  </a:cubicBezTo>
                  <a:close/>
                  <a:moveTo>
                    <a:pt x="92047" y="0"/>
                  </a:moveTo>
                  <a:lnTo>
                    <a:pt x="106953" y="0"/>
                  </a:lnTo>
                  <a:lnTo>
                    <a:pt x="106953" y="222980"/>
                  </a:lnTo>
                  <a:lnTo>
                    <a:pt x="71665" y="222980"/>
                  </a:lnTo>
                  <a:lnTo>
                    <a:pt x="71665" y="43196"/>
                  </a:lnTo>
                  <a:cubicBezTo>
                    <a:pt x="65277" y="47760"/>
                    <a:pt x="58408" y="51638"/>
                    <a:pt x="51056" y="54832"/>
                  </a:cubicBezTo>
                  <a:cubicBezTo>
                    <a:pt x="43704" y="58027"/>
                    <a:pt x="35314" y="60840"/>
                    <a:pt x="25883" y="63274"/>
                  </a:cubicBezTo>
                  <a:lnTo>
                    <a:pt x="25883" y="33158"/>
                  </a:lnTo>
                  <a:cubicBezTo>
                    <a:pt x="31764" y="31232"/>
                    <a:pt x="37443" y="29203"/>
                    <a:pt x="42918" y="27074"/>
                  </a:cubicBezTo>
                  <a:cubicBezTo>
                    <a:pt x="48394" y="24945"/>
                    <a:pt x="53794" y="22561"/>
                    <a:pt x="59117" y="19925"/>
                  </a:cubicBezTo>
                  <a:cubicBezTo>
                    <a:pt x="64441" y="17289"/>
                    <a:pt x="69815" y="14348"/>
                    <a:pt x="75240" y="11103"/>
                  </a:cubicBezTo>
                  <a:cubicBezTo>
                    <a:pt x="80665" y="7859"/>
                    <a:pt x="86267" y="4157"/>
                    <a:pt x="92047" y="0"/>
                  </a:cubicBezTo>
                  <a:close/>
                </a:path>
              </a:pathLst>
            </a:custGeom>
            <a:solidFill>
              <a:srgbClr val="D8D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 name="Freeform 21"/>
            <p:cNvSpPr/>
            <p:nvPr/>
          </p:nvSpPr>
          <p:spPr>
            <a:xfrm>
              <a:off x="257712" y="73882"/>
              <a:ext cx="11537287" cy="6072782"/>
            </a:xfrm>
            <a:custGeom>
              <a:avLst/>
              <a:gdLst>
                <a:gd name="connsiteX0" fmla="*/ 8823577 w 11537287"/>
                <a:gd name="connsiteY0" fmla="*/ 5849802 h 6072782"/>
                <a:gd name="connsiteX1" fmla="*/ 8868426 w 11537287"/>
                <a:gd name="connsiteY1" fmla="*/ 5888824 h 6072782"/>
                <a:gd name="connsiteX2" fmla="*/ 8868426 w 11537287"/>
                <a:gd name="connsiteY2" fmla="*/ 5925184 h 6072782"/>
                <a:gd name="connsiteX3" fmla="*/ 8888064 w 11537287"/>
                <a:gd name="connsiteY3" fmla="*/ 5952044 h 6072782"/>
                <a:gd name="connsiteX4" fmla="*/ 8888064 w 11537287"/>
                <a:gd name="connsiteY4" fmla="*/ 5970541 h 6072782"/>
                <a:gd name="connsiteX5" fmla="*/ 8868426 w 11537287"/>
                <a:gd name="connsiteY5" fmla="*/ 5996893 h 6072782"/>
                <a:gd name="connsiteX6" fmla="*/ 8868426 w 11537287"/>
                <a:gd name="connsiteY6" fmla="*/ 6034268 h 6072782"/>
                <a:gd name="connsiteX7" fmla="*/ 8823577 w 11537287"/>
                <a:gd name="connsiteY7" fmla="*/ 6072782 h 6072782"/>
                <a:gd name="connsiteX8" fmla="*/ 8823577 w 11537287"/>
                <a:gd name="connsiteY8" fmla="*/ 6053272 h 6072782"/>
                <a:gd name="connsiteX9" fmla="*/ 8839224 w 11537287"/>
                <a:gd name="connsiteY9" fmla="*/ 6047190 h 6072782"/>
                <a:gd name="connsiteX10" fmla="*/ 8843848 w 11537287"/>
                <a:gd name="connsiteY10" fmla="*/ 6027933 h 6072782"/>
                <a:gd name="connsiteX11" fmla="*/ 8843848 w 11537287"/>
                <a:gd name="connsiteY11" fmla="*/ 5992586 h 6072782"/>
                <a:gd name="connsiteX12" fmla="*/ 8868807 w 11537287"/>
                <a:gd name="connsiteY12" fmla="*/ 5961292 h 6072782"/>
                <a:gd name="connsiteX13" fmla="*/ 8868807 w 11537287"/>
                <a:gd name="connsiteY13" fmla="*/ 5960912 h 6072782"/>
                <a:gd name="connsiteX14" fmla="*/ 8843848 w 11537287"/>
                <a:gd name="connsiteY14" fmla="*/ 5929366 h 6072782"/>
                <a:gd name="connsiteX15" fmla="*/ 8843848 w 11537287"/>
                <a:gd name="connsiteY15" fmla="*/ 5893638 h 6072782"/>
                <a:gd name="connsiteX16" fmla="*/ 8823577 w 11537287"/>
                <a:gd name="connsiteY16" fmla="*/ 5869440 h 6072782"/>
                <a:gd name="connsiteX17" fmla="*/ 8806093 w 11537287"/>
                <a:gd name="connsiteY17" fmla="*/ 5849802 h 6072782"/>
                <a:gd name="connsiteX18" fmla="*/ 8806093 w 11537287"/>
                <a:gd name="connsiteY18" fmla="*/ 5869440 h 6072782"/>
                <a:gd name="connsiteX19" fmla="*/ 8785949 w 11537287"/>
                <a:gd name="connsiteY19" fmla="*/ 5893638 h 6072782"/>
                <a:gd name="connsiteX20" fmla="*/ 8785949 w 11537287"/>
                <a:gd name="connsiteY20" fmla="*/ 5929366 h 6072782"/>
                <a:gd name="connsiteX21" fmla="*/ 8760737 w 11537287"/>
                <a:gd name="connsiteY21" fmla="*/ 5960912 h 6072782"/>
                <a:gd name="connsiteX22" fmla="*/ 8760737 w 11537287"/>
                <a:gd name="connsiteY22" fmla="*/ 5961292 h 6072782"/>
                <a:gd name="connsiteX23" fmla="*/ 8785949 w 11537287"/>
                <a:gd name="connsiteY23" fmla="*/ 5992586 h 6072782"/>
                <a:gd name="connsiteX24" fmla="*/ 8785949 w 11537287"/>
                <a:gd name="connsiteY24" fmla="*/ 6027933 h 6072782"/>
                <a:gd name="connsiteX25" fmla="*/ 8790447 w 11537287"/>
                <a:gd name="connsiteY25" fmla="*/ 6047253 h 6072782"/>
                <a:gd name="connsiteX26" fmla="*/ 8806093 w 11537287"/>
                <a:gd name="connsiteY26" fmla="*/ 6053272 h 6072782"/>
                <a:gd name="connsiteX27" fmla="*/ 8806093 w 11537287"/>
                <a:gd name="connsiteY27" fmla="*/ 6072782 h 6072782"/>
                <a:gd name="connsiteX28" fmla="*/ 8760990 w 11537287"/>
                <a:gd name="connsiteY28" fmla="*/ 6034268 h 6072782"/>
                <a:gd name="connsiteX29" fmla="*/ 8760990 w 11537287"/>
                <a:gd name="connsiteY29" fmla="*/ 5996893 h 6072782"/>
                <a:gd name="connsiteX30" fmla="*/ 8741226 w 11537287"/>
                <a:gd name="connsiteY30" fmla="*/ 5970541 h 6072782"/>
                <a:gd name="connsiteX31" fmla="*/ 8741226 w 11537287"/>
                <a:gd name="connsiteY31" fmla="*/ 5952044 h 6072782"/>
                <a:gd name="connsiteX32" fmla="*/ 8760990 w 11537287"/>
                <a:gd name="connsiteY32" fmla="*/ 5925184 h 6072782"/>
                <a:gd name="connsiteX33" fmla="*/ 8760990 w 11537287"/>
                <a:gd name="connsiteY33" fmla="*/ 5888824 h 6072782"/>
                <a:gd name="connsiteX34" fmla="*/ 8806093 w 11537287"/>
                <a:gd name="connsiteY34" fmla="*/ 5849802 h 6072782"/>
                <a:gd name="connsiteX35" fmla="*/ 8823577 w 11537287"/>
                <a:gd name="connsiteY35" fmla="*/ 5494671 h 6072782"/>
                <a:gd name="connsiteX36" fmla="*/ 8868426 w 11537287"/>
                <a:gd name="connsiteY36" fmla="*/ 5533692 h 6072782"/>
                <a:gd name="connsiteX37" fmla="*/ 8868426 w 11537287"/>
                <a:gd name="connsiteY37" fmla="*/ 5570053 h 6072782"/>
                <a:gd name="connsiteX38" fmla="*/ 8888064 w 11537287"/>
                <a:gd name="connsiteY38" fmla="*/ 5596912 h 6072782"/>
                <a:gd name="connsiteX39" fmla="*/ 8888064 w 11537287"/>
                <a:gd name="connsiteY39" fmla="*/ 5615409 h 6072782"/>
                <a:gd name="connsiteX40" fmla="*/ 8868426 w 11537287"/>
                <a:gd name="connsiteY40" fmla="*/ 5641762 h 6072782"/>
                <a:gd name="connsiteX41" fmla="*/ 8868426 w 11537287"/>
                <a:gd name="connsiteY41" fmla="*/ 5679136 h 6072782"/>
                <a:gd name="connsiteX42" fmla="*/ 8823577 w 11537287"/>
                <a:gd name="connsiteY42" fmla="*/ 5717651 h 6072782"/>
                <a:gd name="connsiteX43" fmla="*/ 8823577 w 11537287"/>
                <a:gd name="connsiteY43" fmla="*/ 5698140 h 6072782"/>
                <a:gd name="connsiteX44" fmla="*/ 8839224 w 11537287"/>
                <a:gd name="connsiteY44" fmla="*/ 5692059 h 6072782"/>
                <a:gd name="connsiteX45" fmla="*/ 8843848 w 11537287"/>
                <a:gd name="connsiteY45" fmla="*/ 5672802 h 6072782"/>
                <a:gd name="connsiteX46" fmla="*/ 8843848 w 11537287"/>
                <a:gd name="connsiteY46" fmla="*/ 5637454 h 6072782"/>
                <a:gd name="connsiteX47" fmla="*/ 8868807 w 11537287"/>
                <a:gd name="connsiteY47" fmla="*/ 5606161 h 6072782"/>
                <a:gd name="connsiteX48" fmla="*/ 8868807 w 11537287"/>
                <a:gd name="connsiteY48" fmla="*/ 5605781 h 6072782"/>
                <a:gd name="connsiteX49" fmla="*/ 8843848 w 11537287"/>
                <a:gd name="connsiteY49" fmla="*/ 5574234 h 6072782"/>
                <a:gd name="connsiteX50" fmla="*/ 8843848 w 11537287"/>
                <a:gd name="connsiteY50" fmla="*/ 5538507 h 6072782"/>
                <a:gd name="connsiteX51" fmla="*/ 8823577 w 11537287"/>
                <a:gd name="connsiteY51" fmla="*/ 5514308 h 6072782"/>
                <a:gd name="connsiteX52" fmla="*/ 8806093 w 11537287"/>
                <a:gd name="connsiteY52" fmla="*/ 5494671 h 6072782"/>
                <a:gd name="connsiteX53" fmla="*/ 8806093 w 11537287"/>
                <a:gd name="connsiteY53" fmla="*/ 5514308 h 6072782"/>
                <a:gd name="connsiteX54" fmla="*/ 8785949 w 11537287"/>
                <a:gd name="connsiteY54" fmla="*/ 5538507 h 6072782"/>
                <a:gd name="connsiteX55" fmla="*/ 8785949 w 11537287"/>
                <a:gd name="connsiteY55" fmla="*/ 5574234 h 6072782"/>
                <a:gd name="connsiteX56" fmla="*/ 8760737 w 11537287"/>
                <a:gd name="connsiteY56" fmla="*/ 5605781 h 6072782"/>
                <a:gd name="connsiteX57" fmla="*/ 8760737 w 11537287"/>
                <a:gd name="connsiteY57" fmla="*/ 5606161 h 6072782"/>
                <a:gd name="connsiteX58" fmla="*/ 8785949 w 11537287"/>
                <a:gd name="connsiteY58" fmla="*/ 5637454 h 6072782"/>
                <a:gd name="connsiteX59" fmla="*/ 8785949 w 11537287"/>
                <a:gd name="connsiteY59" fmla="*/ 5672802 h 6072782"/>
                <a:gd name="connsiteX60" fmla="*/ 8790447 w 11537287"/>
                <a:gd name="connsiteY60" fmla="*/ 5692122 h 6072782"/>
                <a:gd name="connsiteX61" fmla="*/ 8806093 w 11537287"/>
                <a:gd name="connsiteY61" fmla="*/ 5698140 h 6072782"/>
                <a:gd name="connsiteX62" fmla="*/ 8806093 w 11537287"/>
                <a:gd name="connsiteY62" fmla="*/ 5717651 h 6072782"/>
                <a:gd name="connsiteX63" fmla="*/ 8760990 w 11537287"/>
                <a:gd name="connsiteY63" fmla="*/ 5679136 h 6072782"/>
                <a:gd name="connsiteX64" fmla="*/ 8760990 w 11537287"/>
                <a:gd name="connsiteY64" fmla="*/ 5641762 h 6072782"/>
                <a:gd name="connsiteX65" fmla="*/ 8741226 w 11537287"/>
                <a:gd name="connsiteY65" fmla="*/ 5615409 h 6072782"/>
                <a:gd name="connsiteX66" fmla="*/ 8741226 w 11537287"/>
                <a:gd name="connsiteY66" fmla="*/ 5596912 h 6072782"/>
                <a:gd name="connsiteX67" fmla="*/ 8760990 w 11537287"/>
                <a:gd name="connsiteY67" fmla="*/ 5570053 h 6072782"/>
                <a:gd name="connsiteX68" fmla="*/ 8760990 w 11537287"/>
                <a:gd name="connsiteY68" fmla="*/ 5533692 h 6072782"/>
                <a:gd name="connsiteX69" fmla="*/ 8806093 w 11537287"/>
                <a:gd name="connsiteY69" fmla="*/ 5494671 h 6072782"/>
                <a:gd name="connsiteX70" fmla="*/ 8823577 w 11537287"/>
                <a:gd name="connsiteY70" fmla="*/ 5157041 h 6072782"/>
                <a:gd name="connsiteX71" fmla="*/ 8868426 w 11537287"/>
                <a:gd name="connsiteY71" fmla="*/ 5196062 h 6072782"/>
                <a:gd name="connsiteX72" fmla="*/ 8868426 w 11537287"/>
                <a:gd name="connsiteY72" fmla="*/ 5232423 h 6072782"/>
                <a:gd name="connsiteX73" fmla="*/ 8888064 w 11537287"/>
                <a:gd name="connsiteY73" fmla="*/ 5259282 h 6072782"/>
                <a:gd name="connsiteX74" fmla="*/ 8888064 w 11537287"/>
                <a:gd name="connsiteY74" fmla="*/ 5277779 h 6072782"/>
                <a:gd name="connsiteX75" fmla="*/ 8868426 w 11537287"/>
                <a:gd name="connsiteY75" fmla="*/ 5304132 h 6072782"/>
                <a:gd name="connsiteX76" fmla="*/ 8868426 w 11537287"/>
                <a:gd name="connsiteY76" fmla="*/ 5341506 h 6072782"/>
                <a:gd name="connsiteX77" fmla="*/ 8823577 w 11537287"/>
                <a:gd name="connsiteY77" fmla="*/ 5380021 h 6072782"/>
                <a:gd name="connsiteX78" fmla="*/ 8823577 w 11537287"/>
                <a:gd name="connsiteY78" fmla="*/ 5360510 h 6072782"/>
                <a:gd name="connsiteX79" fmla="*/ 8839224 w 11537287"/>
                <a:gd name="connsiteY79" fmla="*/ 5354429 h 6072782"/>
                <a:gd name="connsiteX80" fmla="*/ 8843848 w 11537287"/>
                <a:gd name="connsiteY80" fmla="*/ 5335172 h 6072782"/>
                <a:gd name="connsiteX81" fmla="*/ 8843848 w 11537287"/>
                <a:gd name="connsiteY81" fmla="*/ 5299824 h 6072782"/>
                <a:gd name="connsiteX82" fmla="*/ 8868807 w 11537287"/>
                <a:gd name="connsiteY82" fmla="*/ 5268531 h 6072782"/>
                <a:gd name="connsiteX83" fmla="*/ 8868807 w 11537287"/>
                <a:gd name="connsiteY83" fmla="*/ 5268151 h 6072782"/>
                <a:gd name="connsiteX84" fmla="*/ 8843848 w 11537287"/>
                <a:gd name="connsiteY84" fmla="*/ 5236604 h 6072782"/>
                <a:gd name="connsiteX85" fmla="*/ 8843848 w 11537287"/>
                <a:gd name="connsiteY85" fmla="*/ 5200877 h 6072782"/>
                <a:gd name="connsiteX86" fmla="*/ 8823577 w 11537287"/>
                <a:gd name="connsiteY86" fmla="*/ 5176678 h 6072782"/>
                <a:gd name="connsiteX87" fmla="*/ 8806093 w 11537287"/>
                <a:gd name="connsiteY87" fmla="*/ 5157041 h 6072782"/>
                <a:gd name="connsiteX88" fmla="*/ 8806093 w 11537287"/>
                <a:gd name="connsiteY88" fmla="*/ 5176678 h 6072782"/>
                <a:gd name="connsiteX89" fmla="*/ 8785949 w 11537287"/>
                <a:gd name="connsiteY89" fmla="*/ 5200877 h 6072782"/>
                <a:gd name="connsiteX90" fmla="*/ 8785949 w 11537287"/>
                <a:gd name="connsiteY90" fmla="*/ 5236604 h 6072782"/>
                <a:gd name="connsiteX91" fmla="*/ 8760737 w 11537287"/>
                <a:gd name="connsiteY91" fmla="*/ 5268151 h 6072782"/>
                <a:gd name="connsiteX92" fmla="*/ 8760737 w 11537287"/>
                <a:gd name="connsiteY92" fmla="*/ 5268531 h 6072782"/>
                <a:gd name="connsiteX93" fmla="*/ 8785949 w 11537287"/>
                <a:gd name="connsiteY93" fmla="*/ 5299824 h 6072782"/>
                <a:gd name="connsiteX94" fmla="*/ 8785949 w 11537287"/>
                <a:gd name="connsiteY94" fmla="*/ 5335172 h 6072782"/>
                <a:gd name="connsiteX95" fmla="*/ 8790447 w 11537287"/>
                <a:gd name="connsiteY95" fmla="*/ 5354492 h 6072782"/>
                <a:gd name="connsiteX96" fmla="*/ 8806093 w 11537287"/>
                <a:gd name="connsiteY96" fmla="*/ 5360510 h 6072782"/>
                <a:gd name="connsiteX97" fmla="*/ 8806093 w 11537287"/>
                <a:gd name="connsiteY97" fmla="*/ 5380021 h 6072782"/>
                <a:gd name="connsiteX98" fmla="*/ 8760990 w 11537287"/>
                <a:gd name="connsiteY98" fmla="*/ 5341506 h 6072782"/>
                <a:gd name="connsiteX99" fmla="*/ 8760990 w 11537287"/>
                <a:gd name="connsiteY99" fmla="*/ 5304132 h 6072782"/>
                <a:gd name="connsiteX100" fmla="*/ 8741226 w 11537287"/>
                <a:gd name="connsiteY100" fmla="*/ 5277779 h 6072782"/>
                <a:gd name="connsiteX101" fmla="*/ 8741226 w 11537287"/>
                <a:gd name="connsiteY101" fmla="*/ 5259282 h 6072782"/>
                <a:gd name="connsiteX102" fmla="*/ 8760990 w 11537287"/>
                <a:gd name="connsiteY102" fmla="*/ 5232423 h 6072782"/>
                <a:gd name="connsiteX103" fmla="*/ 8760990 w 11537287"/>
                <a:gd name="connsiteY103" fmla="*/ 5196062 h 6072782"/>
                <a:gd name="connsiteX104" fmla="*/ 8806093 w 11537287"/>
                <a:gd name="connsiteY104" fmla="*/ 5157041 h 6072782"/>
                <a:gd name="connsiteX105" fmla="*/ 8823577 w 11537287"/>
                <a:gd name="connsiteY105" fmla="*/ 4843971 h 6072782"/>
                <a:gd name="connsiteX106" fmla="*/ 8868426 w 11537287"/>
                <a:gd name="connsiteY106" fmla="*/ 4882992 h 6072782"/>
                <a:gd name="connsiteX107" fmla="*/ 8868426 w 11537287"/>
                <a:gd name="connsiteY107" fmla="*/ 4919353 h 6072782"/>
                <a:gd name="connsiteX108" fmla="*/ 8888064 w 11537287"/>
                <a:gd name="connsiteY108" fmla="*/ 4946212 h 6072782"/>
                <a:gd name="connsiteX109" fmla="*/ 8888064 w 11537287"/>
                <a:gd name="connsiteY109" fmla="*/ 4964709 h 6072782"/>
                <a:gd name="connsiteX110" fmla="*/ 8868426 w 11537287"/>
                <a:gd name="connsiteY110" fmla="*/ 4991062 h 6072782"/>
                <a:gd name="connsiteX111" fmla="*/ 8868426 w 11537287"/>
                <a:gd name="connsiteY111" fmla="*/ 5028436 h 6072782"/>
                <a:gd name="connsiteX112" fmla="*/ 8823577 w 11537287"/>
                <a:gd name="connsiteY112" fmla="*/ 5066951 h 6072782"/>
                <a:gd name="connsiteX113" fmla="*/ 8823577 w 11537287"/>
                <a:gd name="connsiteY113" fmla="*/ 5047440 h 6072782"/>
                <a:gd name="connsiteX114" fmla="*/ 8839224 w 11537287"/>
                <a:gd name="connsiteY114" fmla="*/ 5041359 h 6072782"/>
                <a:gd name="connsiteX115" fmla="*/ 8843848 w 11537287"/>
                <a:gd name="connsiteY115" fmla="*/ 5022102 h 6072782"/>
                <a:gd name="connsiteX116" fmla="*/ 8843848 w 11537287"/>
                <a:gd name="connsiteY116" fmla="*/ 4986754 h 6072782"/>
                <a:gd name="connsiteX117" fmla="*/ 8868807 w 11537287"/>
                <a:gd name="connsiteY117" fmla="*/ 4955461 h 6072782"/>
                <a:gd name="connsiteX118" fmla="*/ 8868807 w 11537287"/>
                <a:gd name="connsiteY118" fmla="*/ 4955081 h 6072782"/>
                <a:gd name="connsiteX119" fmla="*/ 8843848 w 11537287"/>
                <a:gd name="connsiteY119" fmla="*/ 4923534 h 6072782"/>
                <a:gd name="connsiteX120" fmla="*/ 8843848 w 11537287"/>
                <a:gd name="connsiteY120" fmla="*/ 4887807 h 6072782"/>
                <a:gd name="connsiteX121" fmla="*/ 8823577 w 11537287"/>
                <a:gd name="connsiteY121" fmla="*/ 4863608 h 6072782"/>
                <a:gd name="connsiteX122" fmla="*/ 8806093 w 11537287"/>
                <a:gd name="connsiteY122" fmla="*/ 4843971 h 6072782"/>
                <a:gd name="connsiteX123" fmla="*/ 8806093 w 11537287"/>
                <a:gd name="connsiteY123" fmla="*/ 4863608 h 6072782"/>
                <a:gd name="connsiteX124" fmla="*/ 8785949 w 11537287"/>
                <a:gd name="connsiteY124" fmla="*/ 4887807 h 6072782"/>
                <a:gd name="connsiteX125" fmla="*/ 8785949 w 11537287"/>
                <a:gd name="connsiteY125" fmla="*/ 4923534 h 6072782"/>
                <a:gd name="connsiteX126" fmla="*/ 8760737 w 11537287"/>
                <a:gd name="connsiteY126" fmla="*/ 4955081 h 6072782"/>
                <a:gd name="connsiteX127" fmla="*/ 8760737 w 11537287"/>
                <a:gd name="connsiteY127" fmla="*/ 4955461 h 6072782"/>
                <a:gd name="connsiteX128" fmla="*/ 8785949 w 11537287"/>
                <a:gd name="connsiteY128" fmla="*/ 4986754 h 6072782"/>
                <a:gd name="connsiteX129" fmla="*/ 8785949 w 11537287"/>
                <a:gd name="connsiteY129" fmla="*/ 5022102 h 6072782"/>
                <a:gd name="connsiteX130" fmla="*/ 8790447 w 11537287"/>
                <a:gd name="connsiteY130" fmla="*/ 5041422 h 6072782"/>
                <a:gd name="connsiteX131" fmla="*/ 8806093 w 11537287"/>
                <a:gd name="connsiteY131" fmla="*/ 5047440 h 6072782"/>
                <a:gd name="connsiteX132" fmla="*/ 8806093 w 11537287"/>
                <a:gd name="connsiteY132" fmla="*/ 5066951 h 6072782"/>
                <a:gd name="connsiteX133" fmla="*/ 8760990 w 11537287"/>
                <a:gd name="connsiteY133" fmla="*/ 5028436 h 6072782"/>
                <a:gd name="connsiteX134" fmla="*/ 8760990 w 11537287"/>
                <a:gd name="connsiteY134" fmla="*/ 4991062 h 6072782"/>
                <a:gd name="connsiteX135" fmla="*/ 8741226 w 11537287"/>
                <a:gd name="connsiteY135" fmla="*/ 4964709 h 6072782"/>
                <a:gd name="connsiteX136" fmla="*/ 8741226 w 11537287"/>
                <a:gd name="connsiteY136" fmla="*/ 4946212 h 6072782"/>
                <a:gd name="connsiteX137" fmla="*/ 8760990 w 11537287"/>
                <a:gd name="connsiteY137" fmla="*/ 4919353 h 6072782"/>
                <a:gd name="connsiteX138" fmla="*/ 8760990 w 11537287"/>
                <a:gd name="connsiteY138" fmla="*/ 4882992 h 6072782"/>
                <a:gd name="connsiteX139" fmla="*/ 8806093 w 11537287"/>
                <a:gd name="connsiteY139" fmla="*/ 4843971 h 6072782"/>
                <a:gd name="connsiteX140" fmla="*/ 8825269 w 11537287"/>
                <a:gd name="connsiteY140" fmla="*/ 4503767 h 6072782"/>
                <a:gd name="connsiteX141" fmla="*/ 8870118 w 11537287"/>
                <a:gd name="connsiteY141" fmla="*/ 4542788 h 6072782"/>
                <a:gd name="connsiteX142" fmla="*/ 8870118 w 11537287"/>
                <a:gd name="connsiteY142" fmla="*/ 4579149 h 6072782"/>
                <a:gd name="connsiteX143" fmla="*/ 8889756 w 11537287"/>
                <a:gd name="connsiteY143" fmla="*/ 4606008 h 6072782"/>
                <a:gd name="connsiteX144" fmla="*/ 8889756 w 11537287"/>
                <a:gd name="connsiteY144" fmla="*/ 4624505 h 6072782"/>
                <a:gd name="connsiteX145" fmla="*/ 8870118 w 11537287"/>
                <a:gd name="connsiteY145" fmla="*/ 4650858 h 6072782"/>
                <a:gd name="connsiteX146" fmla="*/ 8870118 w 11537287"/>
                <a:gd name="connsiteY146" fmla="*/ 4688232 h 6072782"/>
                <a:gd name="connsiteX147" fmla="*/ 8825269 w 11537287"/>
                <a:gd name="connsiteY147" fmla="*/ 4726747 h 6072782"/>
                <a:gd name="connsiteX148" fmla="*/ 8825269 w 11537287"/>
                <a:gd name="connsiteY148" fmla="*/ 4707236 h 6072782"/>
                <a:gd name="connsiteX149" fmla="*/ 8840916 w 11537287"/>
                <a:gd name="connsiteY149" fmla="*/ 4701155 h 6072782"/>
                <a:gd name="connsiteX150" fmla="*/ 8845540 w 11537287"/>
                <a:gd name="connsiteY150" fmla="*/ 4681898 h 6072782"/>
                <a:gd name="connsiteX151" fmla="*/ 8845540 w 11537287"/>
                <a:gd name="connsiteY151" fmla="*/ 4646550 h 6072782"/>
                <a:gd name="connsiteX152" fmla="*/ 8870499 w 11537287"/>
                <a:gd name="connsiteY152" fmla="*/ 4615257 h 6072782"/>
                <a:gd name="connsiteX153" fmla="*/ 8870499 w 11537287"/>
                <a:gd name="connsiteY153" fmla="*/ 4614877 h 6072782"/>
                <a:gd name="connsiteX154" fmla="*/ 8845540 w 11537287"/>
                <a:gd name="connsiteY154" fmla="*/ 4583330 h 6072782"/>
                <a:gd name="connsiteX155" fmla="*/ 8845540 w 11537287"/>
                <a:gd name="connsiteY155" fmla="*/ 4547603 h 6072782"/>
                <a:gd name="connsiteX156" fmla="*/ 8825269 w 11537287"/>
                <a:gd name="connsiteY156" fmla="*/ 4523404 h 6072782"/>
                <a:gd name="connsiteX157" fmla="*/ 8807785 w 11537287"/>
                <a:gd name="connsiteY157" fmla="*/ 4503767 h 6072782"/>
                <a:gd name="connsiteX158" fmla="*/ 8807785 w 11537287"/>
                <a:gd name="connsiteY158" fmla="*/ 4523404 h 6072782"/>
                <a:gd name="connsiteX159" fmla="*/ 8787641 w 11537287"/>
                <a:gd name="connsiteY159" fmla="*/ 4547603 h 6072782"/>
                <a:gd name="connsiteX160" fmla="*/ 8787641 w 11537287"/>
                <a:gd name="connsiteY160" fmla="*/ 4583330 h 6072782"/>
                <a:gd name="connsiteX161" fmla="*/ 8762429 w 11537287"/>
                <a:gd name="connsiteY161" fmla="*/ 4614877 h 6072782"/>
                <a:gd name="connsiteX162" fmla="*/ 8762429 w 11537287"/>
                <a:gd name="connsiteY162" fmla="*/ 4615257 h 6072782"/>
                <a:gd name="connsiteX163" fmla="*/ 8787641 w 11537287"/>
                <a:gd name="connsiteY163" fmla="*/ 4646550 h 6072782"/>
                <a:gd name="connsiteX164" fmla="*/ 8787641 w 11537287"/>
                <a:gd name="connsiteY164" fmla="*/ 4681898 h 6072782"/>
                <a:gd name="connsiteX165" fmla="*/ 8792139 w 11537287"/>
                <a:gd name="connsiteY165" fmla="*/ 4701218 h 6072782"/>
                <a:gd name="connsiteX166" fmla="*/ 8807785 w 11537287"/>
                <a:gd name="connsiteY166" fmla="*/ 4707236 h 6072782"/>
                <a:gd name="connsiteX167" fmla="*/ 8807785 w 11537287"/>
                <a:gd name="connsiteY167" fmla="*/ 4726747 h 6072782"/>
                <a:gd name="connsiteX168" fmla="*/ 8762682 w 11537287"/>
                <a:gd name="connsiteY168" fmla="*/ 4688232 h 6072782"/>
                <a:gd name="connsiteX169" fmla="*/ 8762682 w 11537287"/>
                <a:gd name="connsiteY169" fmla="*/ 4650858 h 6072782"/>
                <a:gd name="connsiteX170" fmla="*/ 8742918 w 11537287"/>
                <a:gd name="connsiteY170" fmla="*/ 4624505 h 6072782"/>
                <a:gd name="connsiteX171" fmla="*/ 8742918 w 11537287"/>
                <a:gd name="connsiteY171" fmla="*/ 4606008 h 6072782"/>
                <a:gd name="connsiteX172" fmla="*/ 8762682 w 11537287"/>
                <a:gd name="connsiteY172" fmla="*/ 4579149 h 6072782"/>
                <a:gd name="connsiteX173" fmla="*/ 8762682 w 11537287"/>
                <a:gd name="connsiteY173" fmla="*/ 4542788 h 6072782"/>
                <a:gd name="connsiteX174" fmla="*/ 8807785 w 11537287"/>
                <a:gd name="connsiteY174" fmla="*/ 4503767 h 6072782"/>
                <a:gd name="connsiteX175" fmla="*/ 8826961 w 11537287"/>
                <a:gd name="connsiteY175" fmla="*/ 4163562 h 6072782"/>
                <a:gd name="connsiteX176" fmla="*/ 8871810 w 11537287"/>
                <a:gd name="connsiteY176" fmla="*/ 4202583 h 6072782"/>
                <a:gd name="connsiteX177" fmla="*/ 8871810 w 11537287"/>
                <a:gd name="connsiteY177" fmla="*/ 4238944 h 6072782"/>
                <a:gd name="connsiteX178" fmla="*/ 8891448 w 11537287"/>
                <a:gd name="connsiteY178" fmla="*/ 4265803 h 6072782"/>
                <a:gd name="connsiteX179" fmla="*/ 8891448 w 11537287"/>
                <a:gd name="connsiteY179" fmla="*/ 4284300 h 6072782"/>
                <a:gd name="connsiteX180" fmla="*/ 8871810 w 11537287"/>
                <a:gd name="connsiteY180" fmla="*/ 4310653 h 6072782"/>
                <a:gd name="connsiteX181" fmla="*/ 8871810 w 11537287"/>
                <a:gd name="connsiteY181" fmla="*/ 4348027 h 6072782"/>
                <a:gd name="connsiteX182" fmla="*/ 8826961 w 11537287"/>
                <a:gd name="connsiteY182" fmla="*/ 4386542 h 6072782"/>
                <a:gd name="connsiteX183" fmla="*/ 8826961 w 11537287"/>
                <a:gd name="connsiteY183" fmla="*/ 4367031 h 6072782"/>
                <a:gd name="connsiteX184" fmla="*/ 8842608 w 11537287"/>
                <a:gd name="connsiteY184" fmla="*/ 4360950 h 6072782"/>
                <a:gd name="connsiteX185" fmla="*/ 8847232 w 11537287"/>
                <a:gd name="connsiteY185" fmla="*/ 4341693 h 6072782"/>
                <a:gd name="connsiteX186" fmla="*/ 8847232 w 11537287"/>
                <a:gd name="connsiteY186" fmla="*/ 4306345 h 6072782"/>
                <a:gd name="connsiteX187" fmla="*/ 8872191 w 11537287"/>
                <a:gd name="connsiteY187" fmla="*/ 4275052 h 6072782"/>
                <a:gd name="connsiteX188" fmla="*/ 8872191 w 11537287"/>
                <a:gd name="connsiteY188" fmla="*/ 4274672 h 6072782"/>
                <a:gd name="connsiteX189" fmla="*/ 8847232 w 11537287"/>
                <a:gd name="connsiteY189" fmla="*/ 4243125 h 6072782"/>
                <a:gd name="connsiteX190" fmla="*/ 8847232 w 11537287"/>
                <a:gd name="connsiteY190" fmla="*/ 4207398 h 6072782"/>
                <a:gd name="connsiteX191" fmla="*/ 8826961 w 11537287"/>
                <a:gd name="connsiteY191" fmla="*/ 4183199 h 6072782"/>
                <a:gd name="connsiteX192" fmla="*/ 8809477 w 11537287"/>
                <a:gd name="connsiteY192" fmla="*/ 4163562 h 6072782"/>
                <a:gd name="connsiteX193" fmla="*/ 8809477 w 11537287"/>
                <a:gd name="connsiteY193" fmla="*/ 4183199 h 6072782"/>
                <a:gd name="connsiteX194" fmla="*/ 8789333 w 11537287"/>
                <a:gd name="connsiteY194" fmla="*/ 4207398 h 6072782"/>
                <a:gd name="connsiteX195" fmla="*/ 8789333 w 11537287"/>
                <a:gd name="connsiteY195" fmla="*/ 4243125 h 6072782"/>
                <a:gd name="connsiteX196" fmla="*/ 8764121 w 11537287"/>
                <a:gd name="connsiteY196" fmla="*/ 4274672 h 6072782"/>
                <a:gd name="connsiteX197" fmla="*/ 8764121 w 11537287"/>
                <a:gd name="connsiteY197" fmla="*/ 4275052 h 6072782"/>
                <a:gd name="connsiteX198" fmla="*/ 8789333 w 11537287"/>
                <a:gd name="connsiteY198" fmla="*/ 4306345 h 6072782"/>
                <a:gd name="connsiteX199" fmla="*/ 8789333 w 11537287"/>
                <a:gd name="connsiteY199" fmla="*/ 4341693 h 6072782"/>
                <a:gd name="connsiteX200" fmla="*/ 8793831 w 11537287"/>
                <a:gd name="connsiteY200" fmla="*/ 4361013 h 6072782"/>
                <a:gd name="connsiteX201" fmla="*/ 8809477 w 11537287"/>
                <a:gd name="connsiteY201" fmla="*/ 4367031 h 6072782"/>
                <a:gd name="connsiteX202" fmla="*/ 8809477 w 11537287"/>
                <a:gd name="connsiteY202" fmla="*/ 4386542 h 6072782"/>
                <a:gd name="connsiteX203" fmla="*/ 8764374 w 11537287"/>
                <a:gd name="connsiteY203" fmla="*/ 4348027 h 6072782"/>
                <a:gd name="connsiteX204" fmla="*/ 8764374 w 11537287"/>
                <a:gd name="connsiteY204" fmla="*/ 4310653 h 6072782"/>
                <a:gd name="connsiteX205" fmla="*/ 8744610 w 11537287"/>
                <a:gd name="connsiteY205" fmla="*/ 4284300 h 6072782"/>
                <a:gd name="connsiteX206" fmla="*/ 8744610 w 11537287"/>
                <a:gd name="connsiteY206" fmla="*/ 4265803 h 6072782"/>
                <a:gd name="connsiteX207" fmla="*/ 8764374 w 11537287"/>
                <a:gd name="connsiteY207" fmla="*/ 4238944 h 6072782"/>
                <a:gd name="connsiteX208" fmla="*/ 8764374 w 11537287"/>
                <a:gd name="connsiteY208" fmla="*/ 4202583 h 6072782"/>
                <a:gd name="connsiteX209" fmla="*/ 8809477 w 11537287"/>
                <a:gd name="connsiteY209" fmla="*/ 4163562 h 6072782"/>
                <a:gd name="connsiteX210" fmla="*/ 8828653 w 11537287"/>
                <a:gd name="connsiteY210" fmla="*/ 3823357 h 6072782"/>
                <a:gd name="connsiteX211" fmla="*/ 8873502 w 11537287"/>
                <a:gd name="connsiteY211" fmla="*/ 3862378 h 6072782"/>
                <a:gd name="connsiteX212" fmla="*/ 8873502 w 11537287"/>
                <a:gd name="connsiteY212" fmla="*/ 3898739 h 6072782"/>
                <a:gd name="connsiteX213" fmla="*/ 8893140 w 11537287"/>
                <a:gd name="connsiteY213" fmla="*/ 3925598 h 6072782"/>
                <a:gd name="connsiteX214" fmla="*/ 8893140 w 11537287"/>
                <a:gd name="connsiteY214" fmla="*/ 3944095 h 6072782"/>
                <a:gd name="connsiteX215" fmla="*/ 8873502 w 11537287"/>
                <a:gd name="connsiteY215" fmla="*/ 3970448 h 6072782"/>
                <a:gd name="connsiteX216" fmla="*/ 8873502 w 11537287"/>
                <a:gd name="connsiteY216" fmla="*/ 4007822 h 6072782"/>
                <a:gd name="connsiteX217" fmla="*/ 8828653 w 11537287"/>
                <a:gd name="connsiteY217" fmla="*/ 4046337 h 6072782"/>
                <a:gd name="connsiteX218" fmla="*/ 8828653 w 11537287"/>
                <a:gd name="connsiteY218" fmla="*/ 4026826 h 6072782"/>
                <a:gd name="connsiteX219" fmla="*/ 8844300 w 11537287"/>
                <a:gd name="connsiteY219" fmla="*/ 4020745 h 6072782"/>
                <a:gd name="connsiteX220" fmla="*/ 8848924 w 11537287"/>
                <a:gd name="connsiteY220" fmla="*/ 4001488 h 6072782"/>
                <a:gd name="connsiteX221" fmla="*/ 8848924 w 11537287"/>
                <a:gd name="connsiteY221" fmla="*/ 3966140 h 6072782"/>
                <a:gd name="connsiteX222" fmla="*/ 8873883 w 11537287"/>
                <a:gd name="connsiteY222" fmla="*/ 3934847 h 6072782"/>
                <a:gd name="connsiteX223" fmla="*/ 8873883 w 11537287"/>
                <a:gd name="connsiteY223" fmla="*/ 3934467 h 6072782"/>
                <a:gd name="connsiteX224" fmla="*/ 8848924 w 11537287"/>
                <a:gd name="connsiteY224" fmla="*/ 3902920 h 6072782"/>
                <a:gd name="connsiteX225" fmla="*/ 8848924 w 11537287"/>
                <a:gd name="connsiteY225" fmla="*/ 3867193 h 6072782"/>
                <a:gd name="connsiteX226" fmla="*/ 8828653 w 11537287"/>
                <a:gd name="connsiteY226" fmla="*/ 3842994 h 6072782"/>
                <a:gd name="connsiteX227" fmla="*/ 8811169 w 11537287"/>
                <a:gd name="connsiteY227" fmla="*/ 3823357 h 6072782"/>
                <a:gd name="connsiteX228" fmla="*/ 8811169 w 11537287"/>
                <a:gd name="connsiteY228" fmla="*/ 3842994 h 6072782"/>
                <a:gd name="connsiteX229" fmla="*/ 8791025 w 11537287"/>
                <a:gd name="connsiteY229" fmla="*/ 3867193 h 6072782"/>
                <a:gd name="connsiteX230" fmla="*/ 8791025 w 11537287"/>
                <a:gd name="connsiteY230" fmla="*/ 3902920 h 6072782"/>
                <a:gd name="connsiteX231" fmla="*/ 8765813 w 11537287"/>
                <a:gd name="connsiteY231" fmla="*/ 3934467 h 6072782"/>
                <a:gd name="connsiteX232" fmla="*/ 8765813 w 11537287"/>
                <a:gd name="connsiteY232" fmla="*/ 3934847 h 6072782"/>
                <a:gd name="connsiteX233" fmla="*/ 8791025 w 11537287"/>
                <a:gd name="connsiteY233" fmla="*/ 3966140 h 6072782"/>
                <a:gd name="connsiteX234" fmla="*/ 8791025 w 11537287"/>
                <a:gd name="connsiteY234" fmla="*/ 4001488 h 6072782"/>
                <a:gd name="connsiteX235" fmla="*/ 8795523 w 11537287"/>
                <a:gd name="connsiteY235" fmla="*/ 4020808 h 6072782"/>
                <a:gd name="connsiteX236" fmla="*/ 8811169 w 11537287"/>
                <a:gd name="connsiteY236" fmla="*/ 4026826 h 6072782"/>
                <a:gd name="connsiteX237" fmla="*/ 8811169 w 11537287"/>
                <a:gd name="connsiteY237" fmla="*/ 4046337 h 6072782"/>
                <a:gd name="connsiteX238" fmla="*/ 8766066 w 11537287"/>
                <a:gd name="connsiteY238" fmla="*/ 4007822 h 6072782"/>
                <a:gd name="connsiteX239" fmla="*/ 8766066 w 11537287"/>
                <a:gd name="connsiteY239" fmla="*/ 3970448 h 6072782"/>
                <a:gd name="connsiteX240" fmla="*/ 8746302 w 11537287"/>
                <a:gd name="connsiteY240" fmla="*/ 3944095 h 6072782"/>
                <a:gd name="connsiteX241" fmla="*/ 8746302 w 11537287"/>
                <a:gd name="connsiteY241" fmla="*/ 3925598 h 6072782"/>
                <a:gd name="connsiteX242" fmla="*/ 8766066 w 11537287"/>
                <a:gd name="connsiteY242" fmla="*/ 3898739 h 6072782"/>
                <a:gd name="connsiteX243" fmla="*/ 8766066 w 11537287"/>
                <a:gd name="connsiteY243" fmla="*/ 3862378 h 6072782"/>
                <a:gd name="connsiteX244" fmla="*/ 8811169 w 11537287"/>
                <a:gd name="connsiteY244" fmla="*/ 3823357 h 6072782"/>
                <a:gd name="connsiteX245" fmla="*/ 8830345 w 11537287"/>
                <a:gd name="connsiteY245" fmla="*/ 3483152 h 6072782"/>
                <a:gd name="connsiteX246" fmla="*/ 8875194 w 11537287"/>
                <a:gd name="connsiteY246" fmla="*/ 3522173 h 6072782"/>
                <a:gd name="connsiteX247" fmla="*/ 8875194 w 11537287"/>
                <a:gd name="connsiteY247" fmla="*/ 3558534 h 6072782"/>
                <a:gd name="connsiteX248" fmla="*/ 8894832 w 11537287"/>
                <a:gd name="connsiteY248" fmla="*/ 3585393 h 6072782"/>
                <a:gd name="connsiteX249" fmla="*/ 8894832 w 11537287"/>
                <a:gd name="connsiteY249" fmla="*/ 3603890 h 6072782"/>
                <a:gd name="connsiteX250" fmla="*/ 8875194 w 11537287"/>
                <a:gd name="connsiteY250" fmla="*/ 3630243 h 6072782"/>
                <a:gd name="connsiteX251" fmla="*/ 8875194 w 11537287"/>
                <a:gd name="connsiteY251" fmla="*/ 3667617 h 6072782"/>
                <a:gd name="connsiteX252" fmla="*/ 8830345 w 11537287"/>
                <a:gd name="connsiteY252" fmla="*/ 3706132 h 6072782"/>
                <a:gd name="connsiteX253" fmla="*/ 8830345 w 11537287"/>
                <a:gd name="connsiteY253" fmla="*/ 3686621 h 6072782"/>
                <a:gd name="connsiteX254" fmla="*/ 8845992 w 11537287"/>
                <a:gd name="connsiteY254" fmla="*/ 3680540 h 6072782"/>
                <a:gd name="connsiteX255" fmla="*/ 8850616 w 11537287"/>
                <a:gd name="connsiteY255" fmla="*/ 3661283 h 6072782"/>
                <a:gd name="connsiteX256" fmla="*/ 8850616 w 11537287"/>
                <a:gd name="connsiteY256" fmla="*/ 3625935 h 6072782"/>
                <a:gd name="connsiteX257" fmla="*/ 8875575 w 11537287"/>
                <a:gd name="connsiteY257" fmla="*/ 3594642 h 6072782"/>
                <a:gd name="connsiteX258" fmla="*/ 8875575 w 11537287"/>
                <a:gd name="connsiteY258" fmla="*/ 3594262 h 6072782"/>
                <a:gd name="connsiteX259" fmla="*/ 8850616 w 11537287"/>
                <a:gd name="connsiteY259" fmla="*/ 3562715 h 6072782"/>
                <a:gd name="connsiteX260" fmla="*/ 8850616 w 11537287"/>
                <a:gd name="connsiteY260" fmla="*/ 3526988 h 6072782"/>
                <a:gd name="connsiteX261" fmla="*/ 8830345 w 11537287"/>
                <a:gd name="connsiteY261" fmla="*/ 3502789 h 6072782"/>
                <a:gd name="connsiteX262" fmla="*/ 8812861 w 11537287"/>
                <a:gd name="connsiteY262" fmla="*/ 3483152 h 6072782"/>
                <a:gd name="connsiteX263" fmla="*/ 8812861 w 11537287"/>
                <a:gd name="connsiteY263" fmla="*/ 3502789 h 6072782"/>
                <a:gd name="connsiteX264" fmla="*/ 8792717 w 11537287"/>
                <a:gd name="connsiteY264" fmla="*/ 3526988 h 6072782"/>
                <a:gd name="connsiteX265" fmla="*/ 8792717 w 11537287"/>
                <a:gd name="connsiteY265" fmla="*/ 3562715 h 6072782"/>
                <a:gd name="connsiteX266" fmla="*/ 8767505 w 11537287"/>
                <a:gd name="connsiteY266" fmla="*/ 3594262 h 6072782"/>
                <a:gd name="connsiteX267" fmla="*/ 8767505 w 11537287"/>
                <a:gd name="connsiteY267" fmla="*/ 3594642 h 6072782"/>
                <a:gd name="connsiteX268" fmla="*/ 8792717 w 11537287"/>
                <a:gd name="connsiteY268" fmla="*/ 3625935 h 6072782"/>
                <a:gd name="connsiteX269" fmla="*/ 8792717 w 11537287"/>
                <a:gd name="connsiteY269" fmla="*/ 3661283 h 6072782"/>
                <a:gd name="connsiteX270" fmla="*/ 8797215 w 11537287"/>
                <a:gd name="connsiteY270" fmla="*/ 3680603 h 6072782"/>
                <a:gd name="connsiteX271" fmla="*/ 8812861 w 11537287"/>
                <a:gd name="connsiteY271" fmla="*/ 3686621 h 6072782"/>
                <a:gd name="connsiteX272" fmla="*/ 8812861 w 11537287"/>
                <a:gd name="connsiteY272" fmla="*/ 3706132 h 6072782"/>
                <a:gd name="connsiteX273" fmla="*/ 8767758 w 11537287"/>
                <a:gd name="connsiteY273" fmla="*/ 3667617 h 6072782"/>
                <a:gd name="connsiteX274" fmla="*/ 8767758 w 11537287"/>
                <a:gd name="connsiteY274" fmla="*/ 3630243 h 6072782"/>
                <a:gd name="connsiteX275" fmla="*/ 8747994 w 11537287"/>
                <a:gd name="connsiteY275" fmla="*/ 3603890 h 6072782"/>
                <a:gd name="connsiteX276" fmla="*/ 8747994 w 11537287"/>
                <a:gd name="connsiteY276" fmla="*/ 3585393 h 6072782"/>
                <a:gd name="connsiteX277" fmla="*/ 8767758 w 11537287"/>
                <a:gd name="connsiteY277" fmla="*/ 3558534 h 6072782"/>
                <a:gd name="connsiteX278" fmla="*/ 8767758 w 11537287"/>
                <a:gd name="connsiteY278" fmla="*/ 3522173 h 6072782"/>
                <a:gd name="connsiteX279" fmla="*/ 8812861 w 11537287"/>
                <a:gd name="connsiteY279" fmla="*/ 3483152 h 6072782"/>
                <a:gd name="connsiteX280" fmla="*/ 11401347 w 11537287"/>
                <a:gd name="connsiteY280" fmla="*/ 3198895 h 6072782"/>
                <a:gd name="connsiteX281" fmla="*/ 11390885 w 11537287"/>
                <a:gd name="connsiteY281" fmla="*/ 3247024 h 6072782"/>
                <a:gd name="connsiteX282" fmla="*/ 11433608 w 11537287"/>
                <a:gd name="connsiteY282" fmla="*/ 3247024 h 6072782"/>
                <a:gd name="connsiteX283" fmla="*/ 11443896 w 11537287"/>
                <a:gd name="connsiteY283" fmla="*/ 3198895 h 6072782"/>
                <a:gd name="connsiteX284" fmla="*/ 5351000 w 11537287"/>
                <a:gd name="connsiteY284" fmla="*/ 3198895 h 6072782"/>
                <a:gd name="connsiteX285" fmla="*/ 5340537 w 11537287"/>
                <a:gd name="connsiteY285" fmla="*/ 3247024 h 6072782"/>
                <a:gd name="connsiteX286" fmla="*/ 5383260 w 11537287"/>
                <a:gd name="connsiteY286" fmla="*/ 3247024 h 6072782"/>
                <a:gd name="connsiteX287" fmla="*/ 5393549 w 11537287"/>
                <a:gd name="connsiteY287" fmla="*/ 3198895 h 6072782"/>
                <a:gd name="connsiteX288" fmla="*/ 8818841 w 11537287"/>
                <a:gd name="connsiteY288" fmla="*/ 3110161 h 6072782"/>
                <a:gd name="connsiteX289" fmla="*/ 8863690 w 11537287"/>
                <a:gd name="connsiteY289" fmla="*/ 3149183 h 6072782"/>
                <a:gd name="connsiteX290" fmla="*/ 8863690 w 11537287"/>
                <a:gd name="connsiteY290" fmla="*/ 3185543 h 6072782"/>
                <a:gd name="connsiteX291" fmla="*/ 8883328 w 11537287"/>
                <a:gd name="connsiteY291" fmla="*/ 3212403 h 6072782"/>
                <a:gd name="connsiteX292" fmla="*/ 8883328 w 11537287"/>
                <a:gd name="connsiteY292" fmla="*/ 3230900 h 6072782"/>
                <a:gd name="connsiteX293" fmla="*/ 8863690 w 11537287"/>
                <a:gd name="connsiteY293" fmla="*/ 3257252 h 6072782"/>
                <a:gd name="connsiteX294" fmla="*/ 8863690 w 11537287"/>
                <a:gd name="connsiteY294" fmla="*/ 3294627 h 6072782"/>
                <a:gd name="connsiteX295" fmla="*/ 8818841 w 11537287"/>
                <a:gd name="connsiteY295" fmla="*/ 3333141 h 6072782"/>
                <a:gd name="connsiteX296" fmla="*/ 8818841 w 11537287"/>
                <a:gd name="connsiteY296" fmla="*/ 3313630 h 6072782"/>
                <a:gd name="connsiteX297" fmla="*/ 8834488 w 11537287"/>
                <a:gd name="connsiteY297" fmla="*/ 3307549 h 6072782"/>
                <a:gd name="connsiteX298" fmla="*/ 8839112 w 11537287"/>
                <a:gd name="connsiteY298" fmla="*/ 3288292 h 6072782"/>
                <a:gd name="connsiteX299" fmla="*/ 8839112 w 11537287"/>
                <a:gd name="connsiteY299" fmla="*/ 3252945 h 6072782"/>
                <a:gd name="connsiteX300" fmla="*/ 8864071 w 11537287"/>
                <a:gd name="connsiteY300" fmla="*/ 3221651 h 6072782"/>
                <a:gd name="connsiteX301" fmla="*/ 8864071 w 11537287"/>
                <a:gd name="connsiteY301" fmla="*/ 3221271 h 6072782"/>
                <a:gd name="connsiteX302" fmla="*/ 8839112 w 11537287"/>
                <a:gd name="connsiteY302" fmla="*/ 3189724 h 6072782"/>
                <a:gd name="connsiteX303" fmla="*/ 8839112 w 11537287"/>
                <a:gd name="connsiteY303" fmla="*/ 3153997 h 6072782"/>
                <a:gd name="connsiteX304" fmla="*/ 8818841 w 11537287"/>
                <a:gd name="connsiteY304" fmla="*/ 3129799 h 6072782"/>
                <a:gd name="connsiteX305" fmla="*/ 8801357 w 11537287"/>
                <a:gd name="connsiteY305" fmla="*/ 3110161 h 6072782"/>
                <a:gd name="connsiteX306" fmla="*/ 8801357 w 11537287"/>
                <a:gd name="connsiteY306" fmla="*/ 3129799 h 6072782"/>
                <a:gd name="connsiteX307" fmla="*/ 8781213 w 11537287"/>
                <a:gd name="connsiteY307" fmla="*/ 3153997 h 6072782"/>
                <a:gd name="connsiteX308" fmla="*/ 8781213 w 11537287"/>
                <a:gd name="connsiteY308" fmla="*/ 3189724 h 6072782"/>
                <a:gd name="connsiteX309" fmla="*/ 8756001 w 11537287"/>
                <a:gd name="connsiteY309" fmla="*/ 3221271 h 6072782"/>
                <a:gd name="connsiteX310" fmla="*/ 8756001 w 11537287"/>
                <a:gd name="connsiteY310" fmla="*/ 3221651 h 6072782"/>
                <a:gd name="connsiteX311" fmla="*/ 8781213 w 11537287"/>
                <a:gd name="connsiteY311" fmla="*/ 3252945 h 6072782"/>
                <a:gd name="connsiteX312" fmla="*/ 8781213 w 11537287"/>
                <a:gd name="connsiteY312" fmla="*/ 3288292 h 6072782"/>
                <a:gd name="connsiteX313" fmla="*/ 8785711 w 11537287"/>
                <a:gd name="connsiteY313" fmla="*/ 3307612 h 6072782"/>
                <a:gd name="connsiteX314" fmla="*/ 8801357 w 11537287"/>
                <a:gd name="connsiteY314" fmla="*/ 3313630 h 6072782"/>
                <a:gd name="connsiteX315" fmla="*/ 8801357 w 11537287"/>
                <a:gd name="connsiteY315" fmla="*/ 3333141 h 6072782"/>
                <a:gd name="connsiteX316" fmla="*/ 8756254 w 11537287"/>
                <a:gd name="connsiteY316" fmla="*/ 3294627 h 6072782"/>
                <a:gd name="connsiteX317" fmla="*/ 8756254 w 11537287"/>
                <a:gd name="connsiteY317" fmla="*/ 3257252 h 6072782"/>
                <a:gd name="connsiteX318" fmla="*/ 8736490 w 11537287"/>
                <a:gd name="connsiteY318" fmla="*/ 3230900 h 6072782"/>
                <a:gd name="connsiteX319" fmla="*/ 8736490 w 11537287"/>
                <a:gd name="connsiteY319" fmla="*/ 3212403 h 6072782"/>
                <a:gd name="connsiteX320" fmla="*/ 8756254 w 11537287"/>
                <a:gd name="connsiteY320" fmla="*/ 3185543 h 6072782"/>
                <a:gd name="connsiteX321" fmla="*/ 8756254 w 11537287"/>
                <a:gd name="connsiteY321" fmla="*/ 3149183 h 6072782"/>
                <a:gd name="connsiteX322" fmla="*/ 8801357 w 11537287"/>
                <a:gd name="connsiteY322" fmla="*/ 3110161 h 6072782"/>
                <a:gd name="connsiteX323" fmla="*/ 6939855 w 11537287"/>
                <a:gd name="connsiteY323" fmla="*/ 3110161 h 6072782"/>
                <a:gd name="connsiteX324" fmla="*/ 6984705 w 11537287"/>
                <a:gd name="connsiteY324" fmla="*/ 3149183 h 6072782"/>
                <a:gd name="connsiteX325" fmla="*/ 6984705 w 11537287"/>
                <a:gd name="connsiteY325" fmla="*/ 3185543 h 6072782"/>
                <a:gd name="connsiteX326" fmla="*/ 7004342 w 11537287"/>
                <a:gd name="connsiteY326" fmla="*/ 3212403 h 6072782"/>
                <a:gd name="connsiteX327" fmla="*/ 7004342 w 11537287"/>
                <a:gd name="connsiteY327" fmla="*/ 3230900 h 6072782"/>
                <a:gd name="connsiteX328" fmla="*/ 6984705 w 11537287"/>
                <a:gd name="connsiteY328" fmla="*/ 3257252 h 6072782"/>
                <a:gd name="connsiteX329" fmla="*/ 6984705 w 11537287"/>
                <a:gd name="connsiteY329" fmla="*/ 3294627 h 6072782"/>
                <a:gd name="connsiteX330" fmla="*/ 6939855 w 11537287"/>
                <a:gd name="connsiteY330" fmla="*/ 3333141 h 6072782"/>
                <a:gd name="connsiteX331" fmla="*/ 6939855 w 11537287"/>
                <a:gd name="connsiteY331" fmla="*/ 3313630 h 6072782"/>
                <a:gd name="connsiteX332" fmla="*/ 6955502 w 11537287"/>
                <a:gd name="connsiteY332" fmla="*/ 3307549 h 6072782"/>
                <a:gd name="connsiteX333" fmla="*/ 6960126 w 11537287"/>
                <a:gd name="connsiteY333" fmla="*/ 3288292 h 6072782"/>
                <a:gd name="connsiteX334" fmla="*/ 6960126 w 11537287"/>
                <a:gd name="connsiteY334" fmla="*/ 3252945 h 6072782"/>
                <a:gd name="connsiteX335" fmla="*/ 6985085 w 11537287"/>
                <a:gd name="connsiteY335" fmla="*/ 3221651 h 6072782"/>
                <a:gd name="connsiteX336" fmla="*/ 6985085 w 11537287"/>
                <a:gd name="connsiteY336" fmla="*/ 3221271 h 6072782"/>
                <a:gd name="connsiteX337" fmla="*/ 6960126 w 11537287"/>
                <a:gd name="connsiteY337" fmla="*/ 3189724 h 6072782"/>
                <a:gd name="connsiteX338" fmla="*/ 6960126 w 11537287"/>
                <a:gd name="connsiteY338" fmla="*/ 3153997 h 6072782"/>
                <a:gd name="connsiteX339" fmla="*/ 6939855 w 11537287"/>
                <a:gd name="connsiteY339" fmla="*/ 3129799 h 6072782"/>
                <a:gd name="connsiteX340" fmla="*/ 6922371 w 11537287"/>
                <a:gd name="connsiteY340" fmla="*/ 3110161 h 6072782"/>
                <a:gd name="connsiteX341" fmla="*/ 6922371 w 11537287"/>
                <a:gd name="connsiteY341" fmla="*/ 3129799 h 6072782"/>
                <a:gd name="connsiteX342" fmla="*/ 6902227 w 11537287"/>
                <a:gd name="connsiteY342" fmla="*/ 3153997 h 6072782"/>
                <a:gd name="connsiteX343" fmla="*/ 6902227 w 11537287"/>
                <a:gd name="connsiteY343" fmla="*/ 3189724 h 6072782"/>
                <a:gd name="connsiteX344" fmla="*/ 6877015 w 11537287"/>
                <a:gd name="connsiteY344" fmla="*/ 3221271 h 6072782"/>
                <a:gd name="connsiteX345" fmla="*/ 6877015 w 11537287"/>
                <a:gd name="connsiteY345" fmla="*/ 3221651 h 6072782"/>
                <a:gd name="connsiteX346" fmla="*/ 6902227 w 11537287"/>
                <a:gd name="connsiteY346" fmla="*/ 3252945 h 6072782"/>
                <a:gd name="connsiteX347" fmla="*/ 6902227 w 11537287"/>
                <a:gd name="connsiteY347" fmla="*/ 3288292 h 6072782"/>
                <a:gd name="connsiteX348" fmla="*/ 6906725 w 11537287"/>
                <a:gd name="connsiteY348" fmla="*/ 3307612 h 6072782"/>
                <a:gd name="connsiteX349" fmla="*/ 6922371 w 11537287"/>
                <a:gd name="connsiteY349" fmla="*/ 3313630 h 6072782"/>
                <a:gd name="connsiteX350" fmla="*/ 6922371 w 11537287"/>
                <a:gd name="connsiteY350" fmla="*/ 3333141 h 6072782"/>
                <a:gd name="connsiteX351" fmla="*/ 6877269 w 11537287"/>
                <a:gd name="connsiteY351" fmla="*/ 3294627 h 6072782"/>
                <a:gd name="connsiteX352" fmla="*/ 6877269 w 11537287"/>
                <a:gd name="connsiteY352" fmla="*/ 3257252 h 6072782"/>
                <a:gd name="connsiteX353" fmla="*/ 6857504 w 11537287"/>
                <a:gd name="connsiteY353" fmla="*/ 3230900 h 6072782"/>
                <a:gd name="connsiteX354" fmla="*/ 6857504 w 11537287"/>
                <a:gd name="connsiteY354" fmla="*/ 3212403 h 6072782"/>
                <a:gd name="connsiteX355" fmla="*/ 6877269 w 11537287"/>
                <a:gd name="connsiteY355" fmla="*/ 3185543 h 6072782"/>
                <a:gd name="connsiteX356" fmla="*/ 6877269 w 11537287"/>
                <a:gd name="connsiteY356" fmla="*/ 3149183 h 6072782"/>
                <a:gd name="connsiteX357" fmla="*/ 6922371 w 11537287"/>
                <a:gd name="connsiteY357" fmla="*/ 3110161 h 6072782"/>
                <a:gd name="connsiteX358" fmla="*/ 2753674 w 11537287"/>
                <a:gd name="connsiteY358" fmla="*/ 3110161 h 6072782"/>
                <a:gd name="connsiteX359" fmla="*/ 2798522 w 11537287"/>
                <a:gd name="connsiteY359" fmla="*/ 3149183 h 6072782"/>
                <a:gd name="connsiteX360" fmla="*/ 2798522 w 11537287"/>
                <a:gd name="connsiteY360" fmla="*/ 3185543 h 6072782"/>
                <a:gd name="connsiteX361" fmla="*/ 2818160 w 11537287"/>
                <a:gd name="connsiteY361" fmla="*/ 3212403 h 6072782"/>
                <a:gd name="connsiteX362" fmla="*/ 2818160 w 11537287"/>
                <a:gd name="connsiteY362" fmla="*/ 3230900 h 6072782"/>
                <a:gd name="connsiteX363" fmla="*/ 2798522 w 11537287"/>
                <a:gd name="connsiteY363" fmla="*/ 3257252 h 6072782"/>
                <a:gd name="connsiteX364" fmla="*/ 2798522 w 11537287"/>
                <a:gd name="connsiteY364" fmla="*/ 3294627 h 6072782"/>
                <a:gd name="connsiteX365" fmla="*/ 2753674 w 11537287"/>
                <a:gd name="connsiteY365" fmla="*/ 3333141 h 6072782"/>
                <a:gd name="connsiteX366" fmla="*/ 2753674 w 11537287"/>
                <a:gd name="connsiteY366" fmla="*/ 3313630 h 6072782"/>
                <a:gd name="connsiteX367" fmla="*/ 2769320 w 11537287"/>
                <a:gd name="connsiteY367" fmla="*/ 3307549 h 6072782"/>
                <a:gd name="connsiteX368" fmla="*/ 2773944 w 11537287"/>
                <a:gd name="connsiteY368" fmla="*/ 3288292 h 6072782"/>
                <a:gd name="connsiteX369" fmla="*/ 2773944 w 11537287"/>
                <a:gd name="connsiteY369" fmla="*/ 3252945 h 6072782"/>
                <a:gd name="connsiteX370" fmla="*/ 2798903 w 11537287"/>
                <a:gd name="connsiteY370" fmla="*/ 3221651 h 6072782"/>
                <a:gd name="connsiteX371" fmla="*/ 2798903 w 11537287"/>
                <a:gd name="connsiteY371" fmla="*/ 3221271 h 6072782"/>
                <a:gd name="connsiteX372" fmla="*/ 2773944 w 11537287"/>
                <a:gd name="connsiteY372" fmla="*/ 3189724 h 6072782"/>
                <a:gd name="connsiteX373" fmla="*/ 2773944 w 11537287"/>
                <a:gd name="connsiteY373" fmla="*/ 3153997 h 6072782"/>
                <a:gd name="connsiteX374" fmla="*/ 2753674 w 11537287"/>
                <a:gd name="connsiteY374" fmla="*/ 3129799 h 6072782"/>
                <a:gd name="connsiteX375" fmla="*/ 2736189 w 11537287"/>
                <a:gd name="connsiteY375" fmla="*/ 3110161 h 6072782"/>
                <a:gd name="connsiteX376" fmla="*/ 2736189 w 11537287"/>
                <a:gd name="connsiteY376" fmla="*/ 3129799 h 6072782"/>
                <a:gd name="connsiteX377" fmla="*/ 2716044 w 11537287"/>
                <a:gd name="connsiteY377" fmla="*/ 3153997 h 6072782"/>
                <a:gd name="connsiteX378" fmla="*/ 2716044 w 11537287"/>
                <a:gd name="connsiteY378" fmla="*/ 3189724 h 6072782"/>
                <a:gd name="connsiteX379" fmla="*/ 2690833 w 11537287"/>
                <a:gd name="connsiteY379" fmla="*/ 3221271 h 6072782"/>
                <a:gd name="connsiteX380" fmla="*/ 2690833 w 11537287"/>
                <a:gd name="connsiteY380" fmla="*/ 3221651 h 6072782"/>
                <a:gd name="connsiteX381" fmla="*/ 2716044 w 11537287"/>
                <a:gd name="connsiteY381" fmla="*/ 3252945 h 6072782"/>
                <a:gd name="connsiteX382" fmla="*/ 2716044 w 11537287"/>
                <a:gd name="connsiteY382" fmla="*/ 3288292 h 6072782"/>
                <a:gd name="connsiteX383" fmla="*/ 2720543 w 11537287"/>
                <a:gd name="connsiteY383" fmla="*/ 3307612 h 6072782"/>
                <a:gd name="connsiteX384" fmla="*/ 2736189 w 11537287"/>
                <a:gd name="connsiteY384" fmla="*/ 3313630 h 6072782"/>
                <a:gd name="connsiteX385" fmla="*/ 2736189 w 11537287"/>
                <a:gd name="connsiteY385" fmla="*/ 3333141 h 6072782"/>
                <a:gd name="connsiteX386" fmla="*/ 2691086 w 11537287"/>
                <a:gd name="connsiteY386" fmla="*/ 3294627 h 6072782"/>
                <a:gd name="connsiteX387" fmla="*/ 2691086 w 11537287"/>
                <a:gd name="connsiteY387" fmla="*/ 3257252 h 6072782"/>
                <a:gd name="connsiteX388" fmla="*/ 2671322 w 11537287"/>
                <a:gd name="connsiteY388" fmla="*/ 3230900 h 6072782"/>
                <a:gd name="connsiteX389" fmla="*/ 2671322 w 11537287"/>
                <a:gd name="connsiteY389" fmla="*/ 3212403 h 6072782"/>
                <a:gd name="connsiteX390" fmla="*/ 2691086 w 11537287"/>
                <a:gd name="connsiteY390" fmla="*/ 3185543 h 6072782"/>
                <a:gd name="connsiteX391" fmla="*/ 2691086 w 11537287"/>
                <a:gd name="connsiteY391" fmla="*/ 3149183 h 6072782"/>
                <a:gd name="connsiteX392" fmla="*/ 2736189 w 11537287"/>
                <a:gd name="connsiteY392" fmla="*/ 3110161 h 6072782"/>
                <a:gd name="connsiteX393" fmla="*/ 886774 w 11537287"/>
                <a:gd name="connsiteY393" fmla="*/ 3110161 h 6072782"/>
                <a:gd name="connsiteX394" fmla="*/ 931623 w 11537287"/>
                <a:gd name="connsiteY394" fmla="*/ 3149183 h 6072782"/>
                <a:gd name="connsiteX395" fmla="*/ 931623 w 11537287"/>
                <a:gd name="connsiteY395" fmla="*/ 3185543 h 6072782"/>
                <a:gd name="connsiteX396" fmla="*/ 951260 w 11537287"/>
                <a:gd name="connsiteY396" fmla="*/ 3212403 h 6072782"/>
                <a:gd name="connsiteX397" fmla="*/ 951260 w 11537287"/>
                <a:gd name="connsiteY397" fmla="*/ 3230900 h 6072782"/>
                <a:gd name="connsiteX398" fmla="*/ 931623 w 11537287"/>
                <a:gd name="connsiteY398" fmla="*/ 3257252 h 6072782"/>
                <a:gd name="connsiteX399" fmla="*/ 931623 w 11537287"/>
                <a:gd name="connsiteY399" fmla="*/ 3294627 h 6072782"/>
                <a:gd name="connsiteX400" fmla="*/ 886774 w 11537287"/>
                <a:gd name="connsiteY400" fmla="*/ 3333141 h 6072782"/>
                <a:gd name="connsiteX401" fmla="*/ 886774 w 11537287"/>
                <a:gd name="connsiteY401" fmla="*/ 3313630 h 6072782"/>
                <a:gd name="connsiteX402" fmla="*/ 902420 w 11537287"/>
                <a:gd name="connsiteY402" fmla="*/ 3307549 h 6072782"/>
                <a:gd name="connsiteX403" fmla="*/ 907044 w 11537287"/>
                <a:gd name="connsiteY403" fmla="*/ 3288292 h 6072782"/>
                <a:gd name="connsiteX404" fmla="*/ 907044 w 11537287"/>
                <a:gd name="connsiteY404" fmla="*/ 3252945 h 6072782"/>
                <a:gd name="connsiteX405" fmla="*/ 932003 w 11537287"/>
                <a:gd name="connsiteY405" fmla="*/ 3221651 h 6072782"/>
                <a:gd name="connsiteX406" fmla="*/ 932003 w 11537287"/>
                <a:gd name="connsiteY406" fmla="*/ 3221271 h 6072782"/>
                <a:gd name="connsiteX407" fmla="*/ 907044 w 11537287"/>
                <a:gd name="connsiteY407" fmla="*/ 3189724 h 6072782"/>
                <a:gd name="connsiteX408" fmla="*/ 907044 w 11537287"/>
                <a:gd name="connsiteY408" fmla="*/ 3153997 h 6072782"/>
                <a:gd name="connsiteX409" fmla="*/ 886774 w 11537287"/>
                <a:gd name="connsiteY409" fmla="*/ 3129799 h 6072782"/>
                <a:gd name="connsiteX410" fmla="*/ 869289 w 11537287"/>
                <a:gd name="connsiteY410" fmla="*/ 3110161 h 6072782"/>
                <a:gd name="connsiteX411" fmla="*/ 869289 w 11537287"/>
                <a:gd name="connsiteY411" fmla="*/ 3129799 h 6072782"/>
                <a:gd name="connsiteX412" fmla="*/ 849145 w 11537287"/>
                <a:gd name="connsiteY412" fmla="*/ 3153997 h 6072782"/>
                <a:gd name="connsiteX413" fmla="*/ 849145 w 11537287"/>
                <a:gd name="connsiteY413" fmla="*/ 3189724 h 6072782"/>
                <a:gd name="connsiteX414" fmla="*/ 823933 w 11537287"/>
                <a:gd name="connsiteY414" fmla="*/ 3221271 h 6072782"/>
                <a:gd name="connsiteX415" fmla="*/ 823933 w 11537287"/>
                <a:gd name="connsiteY415" fmla="*/ 3221651 h 6072782"/>
                <a:gd name="connsiteX416" fmla="*/ 849145 w 11537287"/>
                <a:gd name="connsiteY416" fmla="*/ 3252945 h 6072782"/>
                <a:gd name="connsiteX417" fmla="*/ 849145 w 11537287"/>
                <a:gd name="connsiteY417" fmla="*/ 3288292 h 6072782"/>
                <a:gd name="connsiteX418" fmla="*/ 853643 w 11537287"/>
                <a:gd name="connsiteY418" fmla="*/ 3307612 h 6072782"/>
                <a:gd name="connsiteX419" fmla="*/ 869289 w 11537287"/>
                <a:gd name="connsiteY419" fmla="*/ 3313630 h 6072782"/>
                <a:gd name="connsiteX420" fmla="*/ 869289 w 11537287"/>
                <a:gd name="connsiteY420" fmla="*/ 3333141 h 6072782"/>
                <a:gd name="connsiteX421" fmla="*/ 824187 w 11537287"/>
                <a:gd name="connsiteY421" fmla="*/ 3294627 h 6072782"/>
                <a:gd name="connsiteX422" fmla="*/ 824187 w 11537287"/>
                <a:gd name="connsiteY422" fmla="*/ 3257252 h 6072782"/>
                <a:gd name="connsiteX423" fmla="*/ 804422 w 11537287"/>
                <a:gd name="connsiteY423" fmla="*/ 3230900 h 6072782"/>
                <a:gd name="connsiteX424" fmla="*/ 804422 w 11537287"/>
                <a:gd name="connsiteY424" fmla="*/ 3212403 h 6072782"/>
                <a:gd name="connsiteX425" fmla="*/ 824187 w 11537287"/>
                <a:gd name="connsiteY425" fmla="*/ 3185543 h 6072782"/>
                <a:gd name="connsiteX426" fmla="*/ 824187 w 11537287"/>
                <a:gd name="connsiteY426" fmla="*/ 3149183 h 6072782"/>
                <a:gd name="connsiteX427" fmla="*/ 869289 w 11537287"/>
                <a:gd name="connsiteY427" fmla="*/ 3110161 h 6072782"/>
                <a:gd name="connsiteX428" fmla="*/ 11392280 w 11537287"/>
                <a:gd name="connsiteY428" fmla="*/ 3107344 h 6072782"/>
                <a:gd name="connsiteX429" fmla="*/ 11420355 w 11537287"/>
                <a:gd name="connsiteY429" fmla="*/ 3107344 h 6072782"/>
                <a:gd name="connsiteX430" fmla="*/ 11406579 w 11537287"/>
                <a:gd name="connsiteY430" fmla="*/ 3174481 h 6072782"/>
                <a:gd name="connsiteX431" fmla="*/ 11448779 w 11537287"/>
                <a:gd name="connsiteY431" fmla="*/ 3174481 h 6072782"/>
                <a:gd name="connsiteX432" fmla="*/ 11463078 w 11537287"/>
                <a:gd name="connsiteY432" fmla="*/ 3107344 h 6072782"/>
                <a:gd name="connsiteX433" fmla="*/ 11490631 w 11537287"/>
                <a:gd name="connsiteY433" fmla="*/ 3107344 h 6072782"/>
                <a:gd name="connsiteX434" fmla="*/ 11476680 w 11537287"/>
                <a:gd name="connsiteY434" fmla="*/ 3174481 h 6072782"/>
                <a:gd name="connsiteX435" fmla="*/ 11516439 w 11537287"/>
                <a:gd name="connsiteY435" fmla="*/ 3174481 h 6072782"/>
                <a:gd name="connsiteX436" fmla="*/ 11511033 w 11537287"/>
                <a:gd name="connsiteY436" fmla="*/ 3198895 h 6072782"/>
                <a:gd name="connsiteX437" fmla="*/ 11471449 w 11537287"/>
                <a:gd name="connsiteY437" fmla="*/ 3198895 h 6072782"/>
                <a:gd name="connsiteX438" fmla="*/ 11461335 w 11537287"/>
                <a:gd name="connsiteY438" fmla="*/ 3247024 h 6072782"/>
                <a:gd name="connsiteX439" fmla="*/ 11504581 w 11537287"/>
                <a:gd name="connsiteY439" fmla="*/ 3247024 h 6072782"/>
                <a:gd name="connsiteX440" fmla="*/ 11498477 w 11537287"/>
                <a:gd name="connsiteY440" fmla="*/ 3271437 h 6072782"/>
                <a:gd name="connsiteX441" fmla="*/ 11456278 w 11537287"/>
                <a:gd name="connsiteY441" fmla="*/ 3271437 h 6072782"/>
                <a:gd name="connsiteX442" fmla="*/ 11441978 w 11537287"/>
                <a:gd name="connsiteY442" fmla="*/ 3335958 h 6072782"/>
                <a:gd name="connsiteX443" fmla="*/ 11414251 w 11537287"/>
                <a:gd name="connsiteY443" fmla="*/ 3335958 h 6072782"/>
                <a:gd name="connsiteX444" fmla="*/ 11428202 w 11537287"/>
                <a:gd name="connsiteY444" fmla="*/ 3271437 h 6072782"/>
                <a:gd name="connsiteX445" fmla="*/ 11386002 w 11537287"/>
                <a:gd name="connsiteY445" fmla="*/ 3271437 h 6072782"/>
                <a:gd name="connsiteX446" fmla="*/ 11372400 w 11537287"/>
                <a:gd name="connsiteY446" fmla="*/ 3335958 h 6072782"/>
                <a:gd name="connsiteX447" fmla="*/ 11344674 w 11537287"/>
                <a:gd name="connsiteY447" fmla="*/ 3335958 h 6072782"/>
                <a:gd name="connsiteX448" fmla="*/ 11358275 w 11537287"/>
                <a:gd name="connsiteY448" fmla="*/ 3271437 h 6072782"/>
                <a:gd name="connsiteX449" fmla="*/ 11318342 w 11537287"/>
                <a:gd name="connsiteY449" fmla="*/ 3271437 h 6072782"/>
                <a:gd name="connsiteX450" fmla="*/ 11323224 w 11537287"/>
                <a:gd name="connsiteY450" fmla="*/ 3247024 h 6072782"/>
                <a:gd name="connsiteX451" fmla="*/ 11363681 w 11537287"/>
                <a:gd name="connsiteY451" fmla="*/ 3247024 h 6072782"/>
                <a:gd name="connsiteX452" fmla="*/ 11373272 w 11537287"/>
                <a:gd name="connsiteY452" fmla="*/ 3198895 h 6072782"/>
                <a:gd name="connsiteX453" fmla="*/ 11330723 w 11537287"/>
                <a:gd name="connsiteY453" fmla="*/ 3198895 h 6072782"/>
                <a:gd name="connsiteX454" fmla="*/ 11335780 w 11537287"/>
                <a:gd name="connsiteY454" fmla="*/ 3174481 h 6072782"/>
                <a:gd name="connsiteX455" fmla="*/ 11378329 w 11537287"/>
                <a:gd name="connsiteY455" fmla="*/ 3174481 h 6072782"/>
                <a:gd name="connsiteX456" fmla="*/ 5341932 w 11537287"/>
                <a:gd name="connsiteY456" fmla="*/ 3107344 h 6072782"/>
                <a:gd name="connsiteX457" fmla="*/ 5370007 w 11537287"/>
                <a:gd name="connsiteY457" fmla="*/ 3107344 h 6072782"/>
                <a:gd name="connsiteX458" fmla="*/ 5356231 w 11537287"/>
                <a:gd name="connsiteY458" fmla="*/ 3174481 h 6072782"/>
                <a:gd name="connsiteX459" fmla="*/ 5398431 w 11537287"/>
                <a:gd name="connsiteY459" fmla="*/ 3174481 h 6072782"/>
                <a:gd name="connsiteX460" fmla="*/ 5412730 w 11537287"/>
                <a:gd name="connsiteY460" fmla="*/ 3107344 h 6072782"/>
                <a:gd name="connsiteX461" fmla="*/ 5440283 w 11537287"/>
                <a:gd name="connsiteY461" fmla="*/ 3107344 h 6072782"/>
                <a:gd name="connsiteX462" fmla="*/ 5426332 w 11537287"/>
                <a:gd name="connsiteY462" fmla="*/ 3174481 h 6072782"/>
                <a:gd name="connsiteX463" fmla="*/ 5466091 w 11537287"/>
                <a:gd name="connsiteY463" fmla="*/ 3174481 h 6072782"/>
                <a:gd name="connsiteX464" fmla="*/ 5460686 w 11537287"/>
                <a:gd name="connsiteY464" fmla="*/ 3198895 h 6072782"/>
                <a:gd name="connsiteX465" fmla="*/ 5421101 w 11537287"/>
                <a:gd name="connsiteY465" fmla="*/ 3198895 h 6072782"/>
                <a:gd name="connsiteX466" fmla="*/ 5410987 w 11537287"/>
                <a:gd name="connsiteY466" fmla="*/ 3247024 h 6072782"/>
                <a:gd name="connsiteX467" fmla="*/ 5454233 w 11537287"/>
                <a:gd name="connsiteY467" fmla="*/ 3247024 h 6072782"/>
                <a:gd name="connsiteX468" fmla="*/ 5448130 w 11537287"/>
                <a:gd name="connsiteY468" fmla="*/ 3271437 h 6072782"/>
                <a:gd name="connsiteX469" fmla="*/ 5405930 w 11537287"/>
                <a:gd name="connsiteY469" fmla="*/ 3271437 h 6072782"/>
                <a:gd name="connsiteX470" fmla="*/ 5391631 w 11537287"/>
                <a:gd name="connsiteY470" fmla="*/ 3335958 h 6072782"/>
                <a:gd name="connsiteX471" fmla="*/ 5363903 w 11537287"/>
                <a:gd name="connsiteY471" fmla="*/ 3335958 h 6072782"/>
                <a:gd name="connsiteX472" fmla="*/ 5377854 w 11537287"/>
                <a:gd name="connsiteY472" fmla="*/ 3271437 h 6072782"/>
                <a:gd name="connsiteX473" fmla="*/ 5335654 w 11537287"/>
                <a:gd name="connsiteY473" fmla="*/ 3271437 h 6072782"/>
                <a:gd name="connsiteX474" fmla="*/ 5322052 w 11537287"/>
                <a:gd name="connsiteY474" fmla="*/ 3335958 h 6072782"/>
                <a:gd name="connsiteX475" fmla="*/ 5294326 w 11537287"/>
                <a:gd name="connsiteY475" fmla="*/ 3335958 h 6072782"/>
                <a:gd name="connsiteX476" fmla="*/ 5307927 w 11537287"/>
                <a:gd name="connsiteY476" fmla="*/ 3271437 h 6072782"/>
                <a:gd name="connsiteX477" fmla="*/ 5267994 w 11537287"/>
                <a:gd name="connsiteY477" fmla="*/ 3271437 h 6072782"/>
                <a:gd name="connsiteX478" fmla="*/ 5272877 w 11537287"/>
                <a:gd name="connsiteY478" fmla="*/ 3247024 h 6072782"/>
                <a:gd name="connsiteX479" fmla="*/ 5313333 w 11537287"/>
                <a:gd name="connsiteY479" fmla="*/ 3247024 h 6072782"/>
                <a:gd name="connsiteX480" fmla="*/ 5322924 w 11537287"/>
                <a:gd name="connsiteY480" fmla="*/ 3198895 h 6072782"/>
                <a:gd name="connsiteX481" fmla="*/ 5280375 w 11537287"/>
                <a:gd name="connsiteY481" fmla="*/ 3198895 h 6072782"/>
                <a:gd name="connsiteX482" fmla="*/ 5285432 w 11537287"/>
                <a:gd name="connsiteY482" fmla="*/ 3174481 h 6072782"/>
                <a:gd name="connsiteX483" fmla="*/ 5327981 w 11537287"/>
                <a:gd name="connsiteY483" fmla="*/ 3174481 h 6072782"/>
                <a:gd name="connsiteX484" fmla="*/ 179757 w 11537287"/>
                <a:gd name="connsiteY484" fmla="*/ 2978567 h 6072782"/>
                <a:gd name="connsiteX485" fmla="*/ 156566 w 11537287"/>
                <a:gd name="connsiteY485" fmla="*/ 3017814 h 6072782"/>
                <a:gd name="connsiteX486" fmla="*/ 172979 w 11537287"/>
                <a:gd name="connsiteY486" fmla="*/ 3021204 h 6072782"/>
                <a:gd name="connsiteX487" fmla="*/ 189390 w 11537287"/>
                <a:gd name="connsiteY487" fmla="*/ 3017636 h 6072782"/>
                <a:gd name="connsiteX488" fmla="*/ 186448 w 11537287"/>
                <a:gd name="connsiteY488" fmla="*/ 3008181 h 6072782"/>
                <a:gd name="connsiteX489" fmla="*/ 187429 w 11537287"/>
                <a:gd name="connsiteY489" fmla="*/ 2994980 h 6072782"/>
                <a:gd name="connsiteX490" fmla="*/ 179757 w 11537287"/>
                <a:gd name="connsiteY490" fmla="*/ 2978567 h 6072782"/>
                <a:gd name="connsiteX491" fmla="*/ 19737 w 11537287"/>
                <a:gd name="connsiteY491" fmla="*/ 2962155 h 6072782"/>
                <a:gd name="connsiteX492" fmla="*/ 6089 w 11537287"/>
                <a:gd name="connsiteY492" fmla="*/ 2982403 h 6072782"/>
                <a:gd name="connsiteX493" fmla="*/ 27587 w 11537287"/>
                <a:gd name="connsiteY493" fmla="*/ 3003989 h 6072782"/>
                <a:gd name="connsiteX494" fmla="*/ 36505 w 11537287"/>
                <a:gd name="connsiteY494" fmla="*/ 2996764 h 6072782"/>
                <a:gd name="connsiteX495" fmla="*/ 19737 w 11537287"/>
                <a:gd name="connsiteY495" fmla="*/ 2962155 h 6072782"/>
                <a:gd name="connsiteX496" fmla="*/ 3349 w 11537287"/>
                <a:gd name="connsiteY496" fmla="*/ 2893864 h 6072782"/>
                <a:gd name="connsiteX497" fmla="*/ 3148 w 11537287"/>
                <a:gd name="connsiteY497" fmla="*/ 2895381 h 6072782"/>
                <a:gd name="connsiteX498" fmla="*/ 3082 w 11537287"/>
                <a:gd name="connsiteY498" fmla="*/ 2894121 h 6072782"/>
                <a:gd name="connsiteX499" fmla="*/ 205269 w 11537287"/>
                <a:gd name="connsiteY499" fmla="*/ 2866669 h 6072782"/>
                <a:gd name="connsiteX500" fmla="*/ 201276 w 11537287"/>
                <a:gd name="connsiteY500" fmla="*/ 2869523 h 6072782"/>
                <a:gd name="connsiteX501" fmla="*/ 208199 w 11537287"/>
                <a:gd name="connsiteY501" fmla="*/ 2877894 h 6072782"/>
                <a:gd name="connsiteX502" fmla="*/ 215079 w 11537287"/>
                <a:gd name="connsiteY502" fmla="*/ 2876168 h 6072782"/>
                <a:gd name="connsiteX503" fmla="*/ 188855 w 11537287"/>
                <a:gd name="connsiteY503" fmla="*/ 2895346 h 6072782"/>
                <a:gd name="connsiteX504" fmla="*/ 193873 w 11537287"/>
                <a:gd name="connsiteY504" fmla="*/ 2887723 h 6072782"/>
                <a:gd name="connsiteX505" fmla="*/ 186090 w 11537287"/>
                <a:gd name="connsiteY505" fmla="*/ 2880762 h 6072782"/>
                <a:gd name="connsiteX506" fmla="*/ 181273 w 11537287"/>
                <a:gd name="connsiteY506" fmla="*/ 2884821 h 6072782"/>
                <a:gd name="connsiteX507" fmla="*/ 205269 w 11537287"/>
                <a:gd name="connsiteY507" fmla="*/ 2866669 h 6072782"/>
                <a:gd name="connsiteX508" fmla="*/ 178700 w 11537287"/>
                <a:gd name="connsiteY508" fmla="*/ 2850257 h 6072782"/>
                <a:gd name="connsiteX509" fmla="*/ 180984 w 11537287"/>
                <a:gd name="connsiteY509" fmla="*/ 2850294 h 6072782"/>
                <a:gd name="connsiteX510" fmla="*/ 189123 w 11537287"/>
                <a:gd name="connsiteY510" fmla="*/ 2851550 h 6072782"/>
                <a:gd name="connsiteX511" fmla="*/ 170213 w 11537287"/>
                <a:gd name="connsiteY511" fmla="*/ 2870460 h 6072782"/>
                <a:gd name="connsiteX512" fmla="*/ 178700 w 11537287"/>
                <a:gd name="connsiteY512" fmla="*/ 2850257 h 6072782"/>
                <a:gd name="connsiteX513" fmla="*/ 281302 w 11537287"/>
                <a:gd name="connsiteY513" fmla="*/ 2828180 h 6072782"/>
                <a:gd name="connsiteX514" fmla="*/ 273106 w 11537287"/>
                <a:gd name="connsiteY514" fmla="*/ 2842101 h 6072782"/>
                <a:gd name="connsiteX515" fmla="*/ 260930 w 11537287"/>
                <a:gd name="connsiteY515" fmla="*/ 2844092 h 6072782"/>
                <a:gd name="connsiteX516" fmla="*/ 272070 w 11537287"/>
                <a:gd name="connsiteY516" fmla="*/ 2837463 h 6072782"/>
                <a:gd name="connsiteX517" fmla="*/ 281302 w 11537287"/>
                <a:gd name="connsiteY517" fmla="*/ 2828180 h 6072782"/>
                <a:gd name="connsiteX518" fmla="*/ 177365 w 11537287"/>
                <a:gd name="connsiteY518" fmla="*/ 2809175 h 6072782"/>
                <a:gd name="connsiteX519" fmla="*/ 183229 w 11537287"/>
                <a:gd name="connsiteY519" fmla="*/ 2809689 h 6072782"/>
                <a:gd name="connsiteX520" fmla="*/ 226213 w 11537287"/>
                <a:gd name="connsiteY520" fmla="*/ 2838909 h 6072782"/>
                <a:gd name="connsiteX521" fmla="*/ 244084 w 11537287"/>
                <a:gd name="connsiteY521" fmla="*/ 2859919 h 6072782"/>
                <a:gd name="connsiteX522" fmla="*/ 240944 w 11537287"/>
                <a:gd name="connsiteY522" fmla="*/ 2867646 h 6072782"/>
                <a:gd name="connsiteX523" fmla="*/ 253970 w 11537287"/>
                <a:gd name="connsiteY523" fmla="*/ 2877683 h 6072782"/>
                <a:gd name="connsiteX524" fmla="*/ 252294 w 11537287"/>
                <a:gd name="connsiteY524" fmla="*/ 2840600 h 6072782"/>
                <a:gd name="connsiteX525" fmla="*/ 267509 w 11537287"/>
                <a:gd name="connsiteY525" fmla="*/ 2830940 h 6072782"/>
                <a:gd name="connsiteX526" fmla="*/ 279342 w 11537287"/>
                <a:gd name="connsiteY526" fmla="*/ 2819832 h 6072782"/>
                <a:gd name="connsiteX527" fmla="*/ 302041 w 11537287"/>
                <a:gd name="connsiteY527" fmla="*/ 2881894 h 6072782"/>
                <a:gd name="connsiteX528" fmla="*/ 264611 w 11537287"/>
                <a:gd name="connsiteY528" fmla="*/ 2949753 h 6072782"/>
                <a:gd name="connsiteX529" fmla="*/ 232799 w 11537287"/>
                <a:gd name="connsiteY529" fmla="*/ 2950466 h 6072782"/>
                <a:gd name="connsiteX530" fmla="*/ 228820 w 11537287"/>
                <a:gd name="connsiteY530" fmla="*/ 2949080 h 6072782"/>
                <a:gd name="connsiteX531" fmla="*/ 228342 w 11537287"/>
                <a:gd name="connsiteY531" fmla="*/ 2951341 h 6072782"/>
                <a:gd name="connsiteX532" fmla="*/ 203755 w 11537287"/>
                <a:gd name="connsiteY532" fmla="*/ 2971245 h 6072782"/>
                <a:gd name="connsiteX533" fmla="*/ 182263 w 11537287"/>
                <a:gd name="connsiteY533" fmla="*/ 2961586 h 6072782"/>
                <a:gd name="connsiteX534" fmla="*/ 181297 w 11537287"/>
                <a:gd name="connsiteY534" fmla="*/ 2974143 h 6072782"/>
                <a:gd name="connsiteX535" fmla="*/ 190956 w 11537287"/>
                <a:gd name="connsiteY535" fmla="*/ 2994669 h 6072782"/>
                <a:gd name="connsiteX536" fmla="*/ 190474 w 11537287"/>
                <a:gd name="connsiteY536" fmla="*/ 3005778 h 6072782"/>
                <a:gd name="connsiteX537" fmla="*/ 192646 w 11537287"/>
                <a:gd name="connsiteY537" fmla="*/ 3019543 h 6072782"/>
                <a:gd name="connsiteX538" fmla="*/ 176709 w 11537287"/>
                <a:gd name="connsiteY538" fmla="*/ 3025339 h 6072782"/>
                <a:gd name="connsiteX539" fmla="*/ 151834 w 11537287"/>
                <a:gd name="connsiteY539" fmla="*/ 3020026 h 6072782"/>
                <a:gd name="connsiteX540" fmla="*/ 151076 w 11537287"/>
                <a:gd name="connsiteY540" fmla="*/ 3015572 h 6072782"/>
                <a:gd name="connsiteX541" fmla="*/ 151036 w 11537287"/>
                <a:gd name="connsiteY541" fmla="*/ 3014227 h 6072782"/>
                <a:gd name="connsiteX542" fmla="*/ 147296 w 11537287"/>
                <a:gd name="connsiteY542" fmla="*/ 3017771 h 6072782"/>
                <a:gd name="connsiteX543" fmla="*/ 123822 w 11537287"/>
                <a:gd name="connsiteY543" fmla="*/ 3032100 h 6072782"/>
                <a:gd name="connsiteX544" fmla="*/ 100397 w 11537287"/>
                <a:gd name="connsiteY544" fmla="*/ 3003846 h 6072782"/>
                <a:gd name="connsiteX545" fmla="*/ 111264 w 11537287"/>
                <a:gd name="connsiteY545" fmla="*/ 2992013 h 6072782"/>
                <a:gd name="connsiteX546" fmla="*/ 86392 w 11537287"/>
                <a:gd name="connsiteY546" fmla="*/ 2989598 h 6072782"/>
                <a:gd name="connsiteX547" fmla="*/ 85426 w 11537287"/>
                <a:gd name="connsiteY547" fmla="*/ 3000465 h 6072782"/>
                <a:gd name="connsiteX548" fmla="*/ 79147 w 11537287"/>
                <a:gd name="connsiteY548" fmla="*/ 3011091 h 6072782"/>
                <a:gd name="connsiteX549" fmla="*/ 74075 w 11537287"/>
                <a:gd name="connsiteY549" fmla="*/ 3030168 h 6072782"/>
                <a:gd name="connsiteX550" fmla="*/ 33988 w 11537287"/>
                <a:gd name="connsiteY550" fmla="*/ 3021716 h 6072782"/>
                <a:gd name="connsiteX551" fmla="*/ 34954 w 11537287"/>
                <a:gd name="connsiteY551" fmla="*/ 3007710 h 6072782"/>
                <a:gd name="connsiteX552" fmla="*/ 25294 w 11537287"/>
                <a:gd name="connsiteY552" fmla="*/ 3009642 h 6072782"/>
                <a:gd name="connsiteX553" fmla="*/ 180 w 11537287"/>
                <a:gd name="connsiteY553" fmla="*/ 2983802 h 6072782"/>
                <a:gd name="connsiteX554" fmla="*/ 15393 w 11537287"/>
                <a:gd name="connsiteY554" fmla="*/ 2957239 h 6072782"/>
                <a:gd name="connsiteX555" fmla="*/ 16842 w 11537287"/>
                <a:gd name="connsiteY555" fmla="*/ 2930675 h 6072782"/>
                <a:gd name="connsiteX556" fmla="*/ 1387 w 11537287"/>
                <a:gd name="connsiteY556" fmla="*/ 2908699 h 6072782"/>
                <a:gd name="connsiteX557" fmla="*/ 3148 w 11537287"/>
                <a:gd name="connsiteY557" fmla="*/ 2895381 h 6072782"/>
                <a:gd name="connsiteX558" fmla="*/ 3607 w 11537287"/>
                <a:gd name="connsiteY558" fmla="*/ 2904101 h 6072782"/>
                <a:gd name="connsiteX559" fmla="*/ 4431 w 11537287"/>
                <a:gd name="connsiteY559" fmla="*/ 2904497 h 6072782"/>
                <a:gd name="connsiteX560" fmla="*/ 4552 w 11537287"/>
                <a:gd name="connsiteY560" fmla="*/ 2905671 h 6072782"/>
                <a:gd name="connsiteX561" fmla="*/ 24108 w 11537287"/>
                <a:gd name="connsiteY561" fmla="*/ 2919518 h 6072782"/>
                <a:gd name="connsiteX562" fmla="*/ 42330 w 11537287"/>
                <a:gd name="connsiteY562" fmla="*/ 2990148 h 6072782"/>
                <a:gd name="connsiteX563" fmla="*/ 43293 w 11537287"/>
                <a:gd name="connsiteY563" fmla="*/ 2991998 h 6072782"/>
                <a:gd name="connsiteX564" fmla="*/ 43258 w 11537287"/>
                <a:gd name="connsiteY564" fmla="*/ 2992865 h 6072782"/>
                <a:gd name="connsiteX565" fmla="*/ 41857 w 11537287"/>
                <a:gd name="connsiteY565" fmla="*/ 3006308 h 6072782"/>
                <a:gd name="connsiteX566" fmla="*/ 38558 w 11537287"/>
                <a:gd name="connsiteY566" fmla="*/ 3017636 h 6072782"/>
                <a:gd name="connsiteX567" fmla="*/ 72721 w 11537287"/>
                <a:gd name="connsiteY567" fmla="*/ 3024237 h 6072782"/>
                <a:gd name="connsiteX568" fmla="*/ 73879 w 11537287"/>
                <a:gd name="connsiteY568" fmla="*/ 3013354 h 6072782"/>
                <a:gd name="connsiteX569" fmla="*/ 80480 w 11537287"/>
                <a:gd name="connsiteY569" fmla="*/ 2999172 h 6072782"/>
                <a:gd name="connsiteX570" fmla="*/ 80759 w 11537287"/>
                <a:gd name="connsiteY570" fmla="*/ 2984064 h 6072782"/>
                <a:gd name="connsiteX571" fmla="*/ 80551 w 11537287"/>
                <a:gd name="connsiteY571" fmla="*/ 2978385 h 6072782"/>
                <a:gd name="connsiteX572" fmla="*/ 82139 w 11537287"/>
                <a:gd name="connsiteY572" fmla="*/ 2980235 h 6072782"/>
                <a:gd name="connsiteX573" fmla="*/ 121512 w 11537287"/>
                <a:gd name="connsiteY573" fmla="*/ 2978032 h 6072782"/>
                <a:gd name="connsiteX574" fmla="*/ 122403 w 11537287"/>
                <a:gd name="connsiteY574" fmla="*/ 2991769 h 6072782"/>
                <a:gd name="connsiteX575" fmla="*/ 105366 w 11537287"/>
                <a:gd name="connsiteY575" fmla="*/ 3004435 h 6072782"/>
                <a:gd name="connsiteX576" fmla="*/ 124276 w 11537287"/>
                <a:gd name="connsiteY576" fmla="*/ 3027358 h 6072782"/>
                <a:gd name="connsiteX577" fmla="*/ 159331 w 11537287"/>
                <a:gd name="connsiteY577" fmla="*/ 2999618 h 6072782"/>
                <a:gd name="connsiteX578" fmla="*/ 178419 w 11537287"/>
                <a:gd name="connsiteY578" fmla="*/ 2957784 h 6072782"/>
                <a:gd name="connsiteX579" fmla="*/ 161556 w 11537287"/>
                <a:gd name="connsiteY579" fmla="*/ 2939521 h 6072782"/>
                <a:gd name="connsiteX580" fmla="*/ 161363 w 11537287"/>
                <a:gd name="connsiteY580" fmla="*/ 2939013 h 6072782"/>
                <a:gd name="connsiteX581" fmla="*/ 163980 w 11537287"/>
                <a:gd name="connsiteY581" fmla="*/ 2940661 h 6072782"/>
                <a:gd name="connsiteX582" fmla="*/ 183147 w 11537287"/>
                <a:gd name="connsiteY582" fmla="*/ 2951273 h 6072782"/>
                <a:gd name="connsiteX583" fmla="*/ 204466 w 11537287"/>
                <a:gd name="connsiteY583" fmla="*/ 2965723 h 6072782"/>
                <a:gd name="connsiteX584" fmla="*/ 225427 w 11537287"/>
                <a:gd name="connsiteY584" fmla="*/ 2947348 h 6072782"/>
                <a:gd name="connsiteX585" fmla="*/ 222126 w 11537287"/>
                <a:gd name="connsiteY585" fmla="*/ 2947081 h 6072782"/>
                <a:gd name="connsiteX586" fmla="*/ 194333 w 11537287"/>
                <a:gd name="connsiteY586" fmla="*/ 2924933 h 6072782"/>
                <a:gd name="connsiteX587" fmla="*/ 195258 w 11537287"/>
                <a:gd name="connsiteY587" fmla="*/ 2920157 h 6072782"/>
                <a:gd name="connsiteX588" fmla="*/ 197010 w 11537287"/>
                <a:gd name="connsiteY588" fmla="*/ 2922067 h 6072782"/>
                <a:gd name="connsiteX589" fmla="*/ 268776 w 11537287"/>
                <a:gd name="connsiteY589" fmla="*/ 2940212 h 6072782"/>
                <a:gd name="connsiteX590" fmla="*/ 280640 w 11537287"/>
                <a:gd name="connsiteY590" fmla="*/ 2823096 h 6072782"/>
                <a:gd name="connsiteX591" fmla="*/ 271363 w 11537287"/>
                <a:gd name="connsiteY591" fmla="*/ 2833800 h 6072782"/>
                <a:gd name="connsiteX592" fmla="*/ 257805 w 11537287"/>
                <a:gd name="connsiteY592" fmla="*/ 2840668 h 6072782"/>
                <a:gd name="connsiteX593" fmla="*/ 249328 w 11537287"/>
                <a:gd name="connsiteY593" fmla="*/ 2901463 h 6072782"/>
                <a:gd name="connsiteX594" fmla="*/ 247848 w 11537287"/>
                <a:gd name="connsiteY594" fmla="*/ 2902631 h 6072782"/>
                <a:gd name="connsiteX595" fmla="*/ 248159 w 11537287"/>
                <a:gd name="connsiteY595" fmla="*/ 2902030 h 6072782"/>
                <a:gd name="connsiteX596" fmla="*/ 251383 w 11537287"/>
                <a:gd name="connsiteY596" fmla="*/ 2882948 h 6072782"/>
                <a:gd name="connsiteX597" fmla="*/ 238807 w 11537287"/>
                <a:gd name="connsiteY597" fmla="*/ 2885356 h 6072782"/>
                <a:gd name="connsiteX598" fmla="*/ 240145 w 11537287"/>
                <a:gd name="connsiteY598" fmla="*/ 2874920 h 6072782"/>
                <a:gd name="connsiteX599" fmla="*/ 228371 w 11537287"/>
                <a:gd name="connsiteY599" fmla="*/ 2874830 h 6072782"/>
                <a:gd name="connsiteX600" fmla="*/ 231760 w 11537287"/>
                <a:gd name="connsiteY600" fmla="*/ 2867070 h 6072782"/>
                <a:gd name="connsiteX601" fmla="*/ 224953 w 11537287"/>
                <a:gd name="connsiteY601" fmla="*/ 2863926 h 6072782"/>
                <a:gd name="connsiteX602" fmla="*/ 223066 w 11537287"/>
                <a:gd name="connsiteY602" fmla="*/ 2863939 h 6072782"/>
                <a:gd name="connsiteX603" fmla="*/ 224618 w 11537287"/>
                <a:gd name="connsiteY603" fmla="*/ 2863382 h 6072782"/>
                <a:gd name="connsiteX604" fmla="*/ 226943 w 11537287"/>
                <a:gd name="connsiteY604" fmla="*/ 2862700 h 6072782"/>
                <a:gd name="connsiteX605" fmla="*/ 238182 w 11537287"/>
                <a:gd name="connsiteY605" fmla="*/ 2860113 h 6072782"/>
                <a:gd name="connsiteX606" fmla="*/ 226764 w 11537287"/>
                <a:gd name="connsiteY606" fmla="*/ 2845574 h 6072782"/>
                <a:gd name="connsiteX607" fmla="*/ 214865 w 11537287"/>
                <a:gd name="connsiteY607" fmla="*/ 2844114 h 6072782"/>
                <a:gd name="connsiteX608" fmla="*/ 213767 w 11537287"/>
                <a:gd name="connsiteY608" fmla="*/ 2844056 h 6072782"/>
                <a:gd name="connsiteX609" fmla="*/ 213775 w 11537287"/>
                <a:gd name="connsiteY609" fmla="*/ 2844032 h 6072782"/>
                <a:gd name="connsiteX610" fmla="*/ 221503 w 11537287"/>
                <a:gd name="connsiteY610" fmla="*/ 2841649 h 6072782"/>
                <a:gd name="connsiteX611" fmla="*/ 179133 w 11537287"/>
                <a:gd name="connsiteY611" fmla="*/ 2815693 h 6072782"/>
                <a:gd name="connsiteX612" fmla="*/ 129003 w 11537287"/>
                <a:gd name="connsiteY612" fmla="*/ 2839152 h 6072782"/>
                <a:gd name="connsiteX613" fmla="*/ 143140 w 11537287"/>
                <a:gd name="connsiteY613" fmla="*/ 2839476 h 6072782"/>
                <a:gd name="connsiteX614" fmla="*/ 143713 w 11537287"/>
                <a:gd name="connsiteY614" fmla="*/ 2839559 h 6072782"/>
                <a:gd name="connsiteX615" fmla="*/ 141320 w 11537287"/>
                <a:gd name="connsiteY615" fmla="*/ 2840210 h 6072782"/>
                <a:gd name="connsiteX616" fmla="*/ 116887 w 11537287"/>
                <a:gd name="connsiteY616" fmla="*/ 2845292 h 6072782"/>
                <a:gd name="connsiteX617" fmla="*/ 70724 w 11537287"/>
                <a:gd name="connsiteY617" fmla="*/ 2905171 h 6072782"/>
                <a:gd name="connsiteX618" fmla="*/ 84610 w 11537287"/>
                <a:gd name="connsiteY618" fmla="*/ 2927135 h 6072782"/>
                <a:gd name="connsiteX619" fmla="*/ 99020 w 11537287"/>
                <a:gd name="connsiteY619" fmla="*/ 2910709 h 6072782"/>
                <a:gd name="connsiteX620" fmla="*/ 82161 w 11537287"/>
                <a:gd name="connsiteY620" fmla="*/ 2945578 h 6072782"/>
                <a:gd name="connsiteX621" fmla="*/ 97984 w 11537287"/>
                <a:gd name="connsiteY621" fmla="*/ 2954896 h 6072782"/>
                <a:gd name="connsiteX622" fmla="*/ 124956 w 11537287"/>
                <a:gd name="connsiteY622" fmla="*/ 2941543 h 6072782"/>
                <a:gd name="connsiteX623" fmla="*/ 142246 w 11537287"/>
                <a:gd name="connsiteY623" fmla="*/ 2939814 h 6072782"/>
                <a:gd name="connsiteX624" fmla="*/ 148442 w 11537287"/>
                <a:gd name="connsiteY624" fmla="*/ 2871228 h 6072782"/>
                <a:gd name="connsiteX625" fmla="*/ 149162 w 11537287"/>
                <a:gd name="connsiteY625" fmla="*/ 2948604 h 6072782"/>
                <a:gd name="connsiteX626" fmla="*/ 147070 w 11537287"/>
                <a:gd name="connsiteY626" fmla="*/ 2948261 h 6072782"/>
                <a:gd name="connsiteX627" fmla="*/ 144419 w 11537287"/>
                <a:gd name="connsiteY627" fmla="*/ 2947583 h 6072782"/>
                <a:gd name="connsiteX628" fmla="*/ 141703 w 11537287"/>
                <a:gd name="connsiteY628" fmla="*/ 2947159 h 6072782"/>
                <a:gd name="connsiteX629" fmla="*/ 140941 w 11537287"/>
                <a:gd name="connsiteY629" fmla="*/ 2946983 h 6072782"/>
                <a:gd name="connsiteX630" fmla="*/ 134217 w 11537287"/>
                <a:gd name="connsiteY630" fmla="*/ 2946755 h 6072782"/>
                <a:gd name="connsiteX631" fmla="*/ 133237 w 11537287"/>
                <a:gd name="connsiteY631" fmla="*/ 2946983 h 6072782"/>
                <a:gd name="connsiteX632" fmla="*/ 132646 w 11537287"/>
                <a:gd name="connsiteY632" fmla="*/ 2947035 h 6072782"/>
                <a:gd name="connsiteX633" fmla="*/ 93681 w 11537287"/>
                <a:gd name="connsiteY633" fmla="*/ 2962869 h 6072782"/>
                <a:gd name="connsiteX634" fmla="*/ 71492 w 11537287"/>
                <a:gd name="connsiteY634" fmla="*/ 2945269 h 6072782"/>
                <a:gd name="connsiteX635" fmla="*/ 71036 w 11537287"/>
                <a:gd name="connsiteY635" fmla="*/ 2944680 h 6072782"/>
                <a:gd name="connsiteX636" fmla="*/ 72748 w 11537287"/>
                <a:gd name="connsiteY636" fmla="*/ 2941821 h 6072782"/>
                <a:gd name="connsiteX637" fmla="*/ 78786 w 11537287"/>
                <a:gd name="connsiteY637" fmla="*/ 2933077 h 6072782"/>
                <a:gd name="connsiteX638" fmla="*/ 61837 w 11537287"/>
                <a:gd name="connsiteY638" fmla="*/ 2906228 h 6072782"/>
                <a:gd name="connsiteX639" fmla="*/ 91897 w 11537287"/>
                <a:gd name="connsiteY639" fmla="*/ 2860380 h 6072782"/>
                <a:gd name="connsiteX640" fmla="*/ 12381 w 11537287"/>
                <a:gd name="connsiteY640" fmla="*/ 2907443 h 6072782"/>
                <a:gd name="connsiteX641" fmla="*/ 8781 w 11537287"/>
                <a:gd name="connsiteY641" fmla="*/ 2904202 h 6072782"/>
                <a:gd name="connsiteX642" fmla="*/ 9833 w 11537287"/>
                <a:gd name="connsiteY642" fmla="*/ 2903611 h 6072782"/>
                <a:gd name="connsiteX643" fmla="*/ 13760 w 11537287"/>
                <a:gd name="connsiteY643" fmla="*/ 2883839 h 6072782"/>
                <a:gd name="connsiteX644" fmla="*/ 3349 w 11537287"/>
                <a:gd name="connsiteY644" fmla="*/ 2893864 h 6072782"/>
                <a:gd name="connsiteX645" fmla="*/ 4255 w 11537287"/>
                <a:gd name="connsiteY645" fmla="*/ 2887011 h 6072782"/>
                <a:gd name="connsiteX646" fmla="*/ 17808 w 11537287"/>
                <a:gd name="connsiteY646" fmla="*/ 2878513 h 6072782"/>
                <a:gd name="connsiteX647" fmla="*/ 17808 w 11537287"/>
                <a:gd name="connsiteY647" fmla="*/ 2902179 h 6072782"/>
                <a:gd name="connsiteX648" fmla="*/ 93637 w 11537287"/>
                <a:gd name="connsiteY648" fmla="*/ 2854123 h 6072782"/>
                <a:gd name="connsiteX649" fmla="*/ 116095 w 11537287"/>
                <a:gd name="connsiteY649" fmla="*/ 2837702 h 6072782"/>
                <a:gd name="connsiteX650" fmla="*/ 122090 w 11537287"/>
                <a:gd name="connsiteY650" fmla="*/ 2837073 h 6072782"/>
                <a:gd name="connsiteX651" fmla="*/ 122784 w 11537287"/>
                <a:gd name="connsiteY651" fmla="*/ 2835586 h 6072782"/>
                <a:gd name="connsiteX652" fmla="*/ 141934 w 11537287"/>
                <a:gd name="connsiteY652" fmla="*/ 2817175 h 6072782"/>
                <a:gd name="connsiteX653" fmla="*/ 177365 w 11537287"/>
                <a:gd name="connsiteY653" fmla="*/ 2809175 h 6072782"/>
                <a:gd name="connsiteX654" fmla="*/ 8115172 w 11537287"/>
                <a:gd name="connsiteY654" fmla="*/ 2809129 h 6072782"/>
                <a:gd name="connsiteX655" fmla="*/ 8160021 w 11537287"/>
                <a:gd name="connsiteY655" fmla="*/ 2848151 h 6072782"/>
                <a:gd name="connsiteX656" fmla="*/ 8160021 w 11537287"/>
                <a:gd name="connsiteY656" fmla="*/ 2884511 h 6072782"/>
                <a:gd name="connsiteX657" fmla="*/ 8179659 w 11537287"/>
                <a:gd name="connsiteY657" fmla="*/ 2911371 h 6072782"/>
                <a:gd name="connsiteX658" fmla="*/ 8179659 w 11537287"/>
                <a:gd name="connsiteY658" fmla="*/ 2929868 h 6072782"/>
                <a:gd name="connsiteX659" fmla="*/ 8160021 w 11537287"/>
                <a:gd name="connsiteY659" fmla="*/ 2956220 h 6072782"/>
                <a:gd name="connsiteX660" fmla="*/ 8160021 w 11537287"/>
                <a:gd name="connsiteY660" fmla="*/ 2993595 h 6072782"/>
                <a:gd name="connsiteX661" fmla="*/ 8115172 w 11537287"/>
                <a:gd name="connsiteY661" fmla="*/ 3032109 h 6072782"/>
                <a:gd name="connsiteX662" fmla="*/ 8115172 w 11537287"/>
                <a:gd name="connsiteY662" fmla="*/ 3012598 h 6072782"/>
                <a:gd name="connsiteX663" fmla="*/ 8130819 w 11537287"/>
                <a:gd name="connsiteY663" fmla="*/ 3006517 h 6072782"/>
                <a:gd name="connsiteX664" fmla="*/ 8135443 w 11537287"/>
                <a:gd name="connsiteY664" fmla="*/ 2987260 h 6072782"/>
                <a:gd name="connsiteX665" fmla="*/ 8135443 w 11537287"/>
                <a:gd name="connsiteY665" fmla="*/ 2951913 h 6072782"/>
                <a:gd name="connsiteX666" fmla="*/ 8160402 w 11537287"/>
                <a:gd name="connsiteY666" fmla="*/ 2920619 h 6072782"/>
                <a:gd name="connsiteX667" fmla="*/ 8160402 w 11537287"/>
                <a:gd name="connsiteY667" fmla="*/ 2920239 h 6072782"/>
                <a:gd name="connsiteX668" fmla="*/ 8135443 w 11537287"/>
                <a:gd name="connsiteY668" fmla="*/ 2888692 h 6072782"/>
                <a:gd name="connsiteX669" fmla="*/ 8135443 w 11537287"/>
                <a:gd name="connsiteY669" fmla="*/ 2852965 h 6072782"/>
                <a:gd name="connsiteX670" fmla="*/ 8115172 w 11537287"/>
                <a:gd name="connsiteY670" fmla="*/ 2828767 h 6072782"/>
                <a:gd name="connsiteX671" fmla="*/ 8097688 w 11537287"/>
                <a:gd name="connsiteY671" fmla="*/ 2809129 h 6072782"/>
                <a:gd name="connsiteX672" fmla="*/ 8097688 w 11537287"/>
                <a:gd name="connsiteY672" fmla="*/ 2828767 h 6072782"/>
                <a:gd name="connsiteX673" fmla="*/ 8077544 w 11537287"/>
                <a:gd name="connsiteY673" fmla="*/ 2852965 h 6072782"/>
                <a:gd name="connsiteX674" fmla="*/ 8077544 w 11537287"/>
                <a:gd name="connsiteY674" fmla="*/ 2888692 h 6072782"/>
                <a:gd name="connsiteX675" fmla="*/ 8052332 w 11537287"/>
                <a:gd name="connsiteY675" fmla="*/ 2920239 h 6072782"/>
                <a:gd name="connsiteX676" fmla="*/ 8052332 w 11537287"/>
                <a:gd name="connsiteY676" fmla="*/ 2920619 h 6072782"/>
                <a:gd name="connsiteX677" fmla="*/ 8077544 w 11537287"/>
                <a:gd name="connsiteY677" fmla="*/ 2951913 h 6072782"/>
                <a:gd name="connsiteX678" fmla="*/ 8077544 w 11537287"/>
                <a:gd name="connsiteY678" fmla="*/ 2987260 h 6072782"/>
                <a:gd name="connsiteX679" fmla="*/ 8082042 w 11537287"/>
                <a:gd name="connsiteY679" fmla="*/ 3006580 h 6072782"/>
                <a:gd name="connsiteX680" fmla="*/ 8097688 w 11537287"/>
                <a:gd name="connsiteY680" fmla="*/ 3012598 h 6072782"/>
                <a:gd name="connsiteX681" fmla="*/ 8097688 w 11537287"/>
                <a:gd name="connsiteY681" fmla="*/ 3032109 h 6072782"/>
                <a:gd name="connsiteX682" fmla="*/ 8052586 w 11537287"/>
                <a:gd name="connsiteY682" fmla="*/ 2993595 h 6072782"/>
                <a:gd name="connsiteX683" fmla="*/ 8052586 w 11537287"/>
                <a:gd name="connsiteY683" fmla="*/ 2956220 h 6072782"/>
                <a:gd name="connsiteX684" fmla="*/ 8032821 w 11537287"/>
                <a:gd name="connsiteY684" fmla="*/ 2929868 h 6072782"/>
                <a:gd name="connsiteX685" fmla="*/ 8032821 w 11537287"/>
                <a:gd name="connsiteY685" fmla="*/ 2911371 h 6072782"/>
                <a:gd name="connsiteX686" fmla="*/ 8052586 w 11537287"/>
                <a:gd name="connsiteY686" fmla="*/ 2884511 h 6072782"/>
                <a:gd name="connsiteX687" fmla="*/ 8052586 w 11537287"/>
                <a:gd name="connsiteY687" fmla="*/ 2848151 h 6072782"/>
                <a:gd name="connsiteX688" fmla="*/ 8097688 w 11537287"/>
                <a:gd name="connsiteY688" fmla="*/ 2809129 h 6072782"/>
                <a:gd name="connsiteX689" fmla="*/ 5416747 w 11537287"/>
                <a:gd name="connsiteY689" fmla="*/ 2809129 h 6072782"/>
                <a:gd name="connsiteX690" fmla="*/ 5461597 w 11537287"/>
                <a:gd name="connsiteY690" fmla="*/ 2848151 h 6072782"/>
                <a:gd name="connsiteX691" fmla="*/ 5461597 w 11537287"/>
                <a:gd name="connsiteY691" fmla="*/ 2884511 h 6072782"/>
                <a:gd name="connsiteX692" fmla="*/ 5481234 w 11537287"/>
                <a:gd name="connsiteY692" fmla="*/ 2911371 h 6072782"/>
                <a:gd name="connsiteX693" fmla="*/ 5481234 w 11537287"/>
                <a:gd name="connsiteY693" fmla="*/ 2929868 h 6072782"/>
                <a:gd name="connsiteX694" fmla="*/ 5461597 w 11537287"/>
                <a:gd name="connsiteY694" fmla="*/ 2956220 h 6072782"/>
                <a:gd name="connsiteX695" fmla="*/ 5461597 w 11537287"/>
                <a:gd name="connsiteY695" fmla="*/ 2993595 h 6072782"/>
                <a:gd name="connsiteX696" fmla="*/ 5416747 w 11537287"/>
                <a:gd name="connsiteY696" fmla="*/ 3032109 h 6072782"/>
                <a:gd name="connsiteX697" fmla="*/ 5416747 w 11537287"/>
                <a:gd name="connsiteY697" fmla="*/ 3012598 h 6072782"/>
                <a:gd name="connsiteX698" fmla="*/ 5432394 w 11537287"/>
                <a:gd name="connsiteY698" fmla="*/ 3006517 h 6072782"/>
                <a:gd name="connsiteX699" fmla="*/ 5437018 w 11537287"/>
                <a:gd name="connsiteY699" fmla="*/ 2987260 h 6072782"/>
                <a:gd name="connsiteX700" fmla="*/ 5437018 w 11537287"/>
                <a:gd name="connsiteY700" fmla="*/ 2951913 h 6072782"/>
                <a:gd name="connsiteX701" fmla="*/ 5461977 w 11537287"/>
                <a:gd name="connsiteY701" fmla="*/ 2920619 h 6072782"/>
                <a:gd name="connsiteX702" fmla="*/ 5461977 w 11537287"/>
                <a:gd name="connsiteY702" fmla="*/ 2920239 h 6072782"/>
                <a:gd name="connsiteX703" fmla="*/ 5437018 w 11537287"/>
                <a:gd name="connsiteY703" fmla="*/ 2888692 h 6072782"/>
                <a:gd name="connsiteX704" fmla="*/ 5437018 w 11537287"/>
                <a:gd name="connsiteY704" fmla="*/ 2852965 h 6072782"/>
                <a:gd name="connsiteX705" fmla="*/ 5416747 w 11537287"/>
                <a:gd name="connsiteY705" fmla="*/ 2828767 h 6072782"/>
                <a:gd name="connsiteX706" fmla="*/ 5399263 w 11537287"/>
                <a:gd name="connsiteY706" fmla="*/ 2809129 h 6072782"/>
                <a:gd name="connsiteX707" fmla="*/ 5399263 w 11537287"/>
                <a:gd name="connsiteY707" fmla="*/ 2828767 h 6072782"/>
                <a:gd name="connsiteX708" fmla="*/ 5379119 w 11537287"/>
                <a:gd name="connsiteY708" fmla="*/ 2852965 h 6072782"/>
                <a:gd name="connsiteX709" fmla="*/ 5379119 w 11537287"/>
                <a:gd name="connsiteY709" fmla="*/ 2888692 h 6072782"/>
                <a:gd name="connsiteX710" fmla="*/ 5353907 w 11537287"/>
                <a:gd name="connsiteY710" fmla="*/ 2920239 h 6072782"/>
                <a:gd name="connsiteX711" fmla="*/ 5353907 w 11537287"/>
                <a:gd name="connsiteY711" fmla="*/ 2920619 h 6072782"/>
                <a:gd name="connsiteX712" fmla="*/ 5379119 w 11537287"/>
                <a:gd name="connsiteY712" fmla="*/ 2951913 h 6072782"/>
                <a:gd name="connsiteX713" fmla="*/ 5379119 w 11537287"/>
                <a:gd name="connsiteY713" fmla="*/ 2987260 h 6072782"/>
                <a:gd name="connsiteX714" fmla="*/ 5383617 w 11537287"/>
                <a:gd name="connsiteY714" fmla="*/ 3006580 h 6072782"/>
                <a:gd name="connsiteX715" fmla="*/ 5399263 w 11537287"/>
                <a:gd name="connsiteY715" fmla="*/ 3012598 h 6072782"/>
                <a:gd name="connsiteX716" fmla="*/ 5399263 w 11537287"/>
                <a:gd name="connsiteY716" fmla="*/ 3032109 h 6072782"/>
                <a:gd name="connsiteX717" fmla="*/ 5354161 w 11537287"/>
                <a:gd name="connsiteY717" fmla="*/ 2993595 h 6072782"/>
                <a:gd name="connsiteX718" fmla="*/ 5354161 w 11537287"/>
                <a:gd name="connsiteY718" fmla="*/ 2956220 h 6072782"/>
                <a:gd name="connsiteX719" fmla="*/ 5334396 w 11537287"/>
                <a:gd name="connsiteY719" fmla="*/ 2929868 h 6072782"/>
                <a:gd name="connsiteX720" fmla="*/ 5334396 w 11537287"/>
                <a:gd name="connsiteY720" fmla="*/ 2911371 h 6072782"/>
                <a:gd name="connsiteX721" fmla="*/ 5354161 w 11537287"/>
                <a:gd name="connsiteY721" fmla="*/ 2884511 h 6072782"/>
                <a:gd name="connsiteX722" fmla="*/ 5354161 w 11537287"/>
                <a:gd name="connsiteY722" fmla="*/ 2848151 h 6072782"/>
                <a:gd name="connsiteX723" fmla="*/ 5399263 w 11537287"/>
                <a:gd name="connsiteY723" fmla="*/ 2809129 h 6072782"/>
                <a:gd name="connsiteX724" fmla="*/ 2059119 w 11537287"/>
                <a:gd name="connsiteY724" fmla="*/ 2809129 h 6072782"/>
                <a:gd name="connsiteX725" fmla="*/ 2103969 w 11537287"/>
                <a:gd name="connsiteY725" fmla="*/ 2848151 h 6072782"/>
                <a:gd name="connsiteX726" fmla="*/ 2103969 w 11537287"/>
                <a:gd name="connsiteY726" fmla="*/ 2884511 h 6072782"/>
                <a:gd name="connsiteX727" fmla="*/ 2123606 w 11537287"/>
                <a:gd name="connsiteY727" fmla="*/ 2911371 h 6072782"/>
                <a:gd name="connsiteX728" fmla="*/ 2123606 w 11537287"/>
                <a:gd name="connsiteY728" fmla="*/ 2929868 h 6072782"/>
                <a:gd name="connsiteX729" fmla="*/ 2103969 w 11537287"/>
                <a:gd name="connsiteY729" fmla="*/ 2956220 h 6072782"/>
                <a:gd name="connsiteX730" fmla="*/ 2103969 w 11537287"/>
                <a:gd name="connsiteY730" fmla="*/ 2993595 h 6072782"/>
                <a:gd name="connsiteX731" fmla="*/ 2059119 w 11537287"/>
                <a:gd name="connsiteY731" fmla="*/ 3032109 h 6072782"/>
                <a:gd name="connsiteX732" fmla="*/ 2059119 w 11537287"/>
                <a:gd name="connsiteY732" fmla="*/ 3012598 h 6072782"/>
                <a:gd name="connsiteX733" fmla="*/ 2074767 w 11537287"/>
                <a:gd name="connsiteY733" fmla="*/ 3006517 h 6072782"/>
                <a:gd name="connsiteX734" fmla="*/ 2079391 w 11537287"/>
                <a:gd name="connsiteY734" fmla="*/ 2987260 h 6072782"/>
                <a:gd name="connsiteX735" fmla="*/ 2079391 w 11537287"/>
                <a:gd name="connsiteY735" fmla="*/ 2951913 h 6072782"/>
                <a:gd name="connsiteX736" fmla="*/ 2104349 w 11537287"/>
                <a:gd name="connsiteY736" fmla="*/ 2920619 h 6072782"/>
                <a:gd name="connsiteX737" fmla="*/ 2104349 w 11537287"/>
                <a:gd name="connsiteY737" fmla="*/ 2920239 h 6072782"/>
                <a:gd name="connsiteX738" fmla="*/ 2079391 w 11537287"/>
                <a:gd name="connsiteY738" fmla="*/ 2888692 h 6072782"/>
                <a:gd name="connsiteX739" fmla="*/ 2079391 w 11537287"/>
                <a:gd name="connsiteY739" fmla="*/ 2852965 h 6072782"/>
                <a:gd name="connsiteX740" fmla="*/ 2059119 w 11537287"/>
                <a:gd name="connsiteY740" fmla="*/ 2828767 h 6072782"/>
                <a:gd name="connsiteX741" fmla="*/ 2041635 w 11537287"/>
                <a:gd name="connsiteY741" fmla="*/ 2809129 h 6072782"/>
                <a:gd name="connsiteX742" fmla="*/ 2041635 w 11537287"/>
                <a:gd name="connsiteY742" fmla="*/ 2828767 h 6072782"/>
                <a:gd name="connsiteX743" fmla="*/ 2021492 w 11537287"/>
                <a:gd name="connsiteY743" fmla="*/ 2852965 h 6072782"/>
                <a:gd name="connsiteX744" fmla="*/ 2021492 w 11537287"/>
                <a:gd name="connsiteY744" fmla="*/ 2888692 h 6072782"/>
                <a:gd name="connsiteX745" fmla="*/ 1996279 w 11537287"/>
                <a:gd name="connsiteY745" fmla="*/ 2920239 h 6072782"/>
                <a:gd name="connsiteX746" fmla="*/ 1996279 w 11537287"/>
                <a:gd name="connsiteY746" fmla="*/ 2920619 h 6072782"/>
                <a:gd name="connsiteX747" fmla="*/ 2021492 w 11537287"/>
                <a:gd name="connsiteY747" fmla="*/ 2951913 h 6072782"/>
                <a:gd name="connsiteX748" fmla="*/ 2021492 w 11537287"/>
                <a:gd name="connsiteY748" fmla="*/ 2987260 h 6072782"/>
                <a:gd name="connsiteX749" fmla="*/ 2025989 w 11537287"/>
                <a:gd name="connsiteY749" fmla="*/ 3006580 h 6072782"/>
                <a:gd name="connsiteX750" fmla="*/ 2041635 w 11537287"/>
                <a:gd name="connsiteY750" fmla="*/ 3012598 h 6072782"/>
                <a:gd name="connsiteX751" fmla="*/ 2041635 w 11537287"/>
                <a:gd name="connsiteY751" fmla="*/ 3032109 h 6072782"/>
                <a:gd name="connsiteX752" fmla="*/ 1996533 w 11537287"/>
                <a:gd name="connsiteY752" fmla="*/ 2993595 h 6072782"/>
                <a:gd name="connsiteX753" fmla="*/ 1996533 w 11537287"/>
                <a:gd name="connsiteY753" fmla="*/ 2956220 h 6072782"/>
                <a:gd name="connsiteX754" fmla="*/ 1976769 w 11537287"/>
                <a:gd name="connsiteY754" fmla="*/ 2929868 h 6072782"/>
                <a:gd name="connsiteX755" fmla="*/ 1976769 w 11537287"/>
                <a:gd name="connsiteY755" fmla="*/ 2911371 h 6072782"/>
                <a:gd name="connsiteX756" fmla="*/ 1996533 w 11537287"/>
                <a:gd name="connsiteY756" fmla="*/ 2884511 h 6072782"/>
                <a:gd name="connsiteX757" fmla="*/ 1996533 w 11537287"/>
                <a:gd name="connsiteY757" fmla="*/ 2848151 h 6072782"/>
                <a:gd name="connsiteX758" fmla="*/ 2041635 w 11537287"/>
                <a:gd name="connsiteY758" fmla="*/ 2809129 h 6072782"/>
                <a:gd name="connsiteX759" fmla="*/ 8323201 w 11537287"/>
                <a:gd name="connsiteY759" fmla="*/ 2569470 h 6072782"/>
                <a:gd name="connsiteX760" fmla="*/ 8312739 w 11537287"/>
                <a:gd name="connsiteY760" fmla="*/ 2617599 h 6072782"/>
                <a:gd name="connsiteX761" fmla="*/ 8355462 w 11537287"/>
                <a:gd name="connsiteY761" fmla="*/ 2617599 h 6072782"/>
                <a:gd name="connsiteX762" fmla="*/ 8365750 w 11537287"/>
                <a:gd name="connsiteY762" fmla="*/ 2569470 h 6072782"/>
                <a:gd name="connsiteX763" fmla="*/ 2259954 w 11537287"/>
                <a:gd name="connsiteY763" fmla="*/ 2569470 h 6072782"/>
                <a:gd name="connsiteX764" fmla="*/ 2249492 w 11537287"/>
                <a:gd name="connsiteY764" fmla="*/ 2617599 h 6072782"/>
                <a:gd name="connsiteX765" fmla="*/ 2292215 w 11537287"/>
                <a:gd name="connsiteY765" fmla="*/ 2617599 h 6072782"/>
                <a:gd name="connsiteX766" fmla="*/ 2302504 w 11537287"/>
                <a:gd name="connsiteY766" fmla="*/ 2569470 h 6072782"/>
                <a:gd name="connsiteX767" fmla="*/ 3665391 w 11537287"/>
                <a:gd name="connsiteY767" fmla="*/ 2480736 h 6072782"/>
                <a:gd name="connsiteX768" fmla="*/ 3710240 w 11537287"/>
                <a:gd name="connsiteY768" fmla="*/ 2519757 h 6072782"/>
                <a:gd name="connsiteX769" fmla="*/ 3710240 w 11537287"/>
                <a:gd name="connsiteY769" fmla="*/ 2556118 h 6072782"/>
                <a:gd name="connsiteX770" fmla="*/ 3729877 w 11537287"/>
                <a:gd name="connsiteY770" fmla="*/ 2582978 h 6072782"/>
                <a:gd name="connsiteX771" fmla="*/ 3729877 w 11537287"/>
                <a:gd name="connsiteY771" fmla="*/ 2601474 h 6072782"/>
                <a:gd name="connsiteX772" fmla="*/ 3710240 w 11537287"/>
                <a:gd name="connsiteY772" fmla="*/ 2627827 h 6072782"/>
                <a:gd name="connsiteX773" fmla="*/ 3710240 w 11537287"/>
                <a:gd name="connsiteY773" fmla="*/ 2665202 h 6072782"/>
                <a:gd name="connsiteX774" fmla="*/ 3665391 w 11537287"/>
                <a:gd name="connsiteY774" fmla="*/ 2703716 h 6072782"/>
                <a:gd name="connsiteX775" fmla="*/ 3665391 w 11537287"/>
                <a:gd name="connsiteY775" fmla="*/ 2684205 h 6072782"/>
                <a:gd name="connsiteX776" fmla="*/ 3681037 w 11537287"/>
                <a:gd name="connsiteY776" fmla="*/ 2678124 h 6072782"/>
                <a:gd name="connsiteX777" fmla="*/ 3685661 w 11537287"/>
                <a:gd name="connsiteY777" fmla="*/ 2658867 h 6072782"/>
                <a:gd name="connsiteX778" fmla="*/ 3685661 w 11537287"/>
                <a:gd name="connsiteY778" fmla="*/ 2623519 h 6072782"/>
                <a:gd name="connsiteX779" fmla="*/ 3710620 w 11537287"/>
                <a:gd name="connsiteY779" fmla="*/ 2592226 h 6072782"/>
                <a:gd name="connsiteX780" fmla="*/ 3710620 w 11537287"/>
                <a:gd name="connsiteY780" fmla="*/ 2591846 h 6072782"/>
                <a:gd name="connsiteX781" fmla="*/ 3685661 w 11537287"/>
                <a:gd name="connsiteY781" fmla="*/ 2560299 h 6072782"/>
                <a:gd name="connsiteX782" fmla="*/ 3685661 w 11537287"/>
                <a:gd name="connsiteY782" fmla="*/ 2524572 h 6072782"/>
                <a:gd name="connsiteX783" fmla="*/ 3665391 w 11537287"/>
                <a:gd name="connsiteY783" fmla="*/ 2500374 h 6072782"/>
                <a:gd name="connsiteX784" fmla="*/ 3647906 w 11537287"/>
                <a:gd name="connsiteY784" fmla="*/ 2480736 h 6072782"/>
                <a:gd name="connsiteX785" fmla="*/ 3647906 w 11537287"/>
                <a:gd name="connsiteY785" fmla="*/ 2500374 h 6072782"/>
                <a:gd name="connsiteX786" fmla="*/ 3627762 w 11537287"/>
                <a:gd name="connsiteY786" fmla="*/ 2524572 h 6072782"/>
                <a:gd name="connsiteX787" fmla="*/ 3627762 w 11537287"/>
                <a:gd name="connsiteY787" fmla="*/ 2560299 h 6072782"/>
                <a:gd name="connsiteX788" fmla="*/ 3602550 w 11537287"/>
                <a:gd name="connsiteY788" fmla="*/ 2591846 h 6072782"/>
                <a:gd name="connsiteX789" fmla="*/ 3602550 w 11537287"/>
                <a:gd name="connsiteY789" fmla="*/ 2592226 h 6072782"/>
                <a:gd name="connsiteX790" fmla="*/ 3627762 w 11537287"/>
                <a:gd name="connsiteY790" fmla="*/ 2623519 h 6072782"/>
                <a:gd name="connsiteX791" fmla="*/ 3627762 w 11537287"/>
                <a:gd name="connsiteY791" fmla="*/ 2658867 h 6072782"/>
                <a:gd name="connsiteX792" fmla="*/ 3632260 w 11537287"/>
                <a:gd name="connsiteY792" fmla="*/ 2678187 h 6072782"/>
                <a:gd name="connsiteX793" fmla="*/ 3647906 w 11537287"/>
                <a:gd name="connsiteY793" fmla="*/ 2684205 h 6072782"/>
                <a:gd name="connsiteX794" fmla="*/ 3647906 w 11537287"/>
                <a:gd name="connsiteY794" fmla="*/ 2703716 h 6072782"/>
                <a:gd name="connsiteX795" fmla="*/ 3602804 w 11537287"/>
                <a:gd name="connsiteY795" fmla="*/ 2665202 h 6072782"/>
                <a:gd name="connsiteX796" fmla="*/ 3602804 w 11537287"/>
                <a:gd name="connsiteY796" fmla="*/ 2627827 h 6072782"/>
                <a:gd name="connsiteX797" fmla="*/ 3583039 w 11537287"/>
                <a:gd name="connsiteY797" fmla="*/ 2601474 h 6072782"/>
                <a:gd name="connsiteX798" fmla="*/ 3583039 w 11537287"/>
                <a:gd name="connsiteY798" fmla="*/ 2582978 h 6072782"/>
                <a:gd name="connsiteX799" fmla="*/ 3602804 w 11537287"/>
                <a:gd name="connsiteY799" fmla="*/ 2556118 h 6072782"/>
                <a:gd name="connsiteX800" fmla="*/ 3602804 w 11537287"/>
                <a:gd name="connsiteY800" fmla="*/ 2519757 h 6072782"/>
                <a:gd name="connsiteX801" fmla="*/ 3647906 w 11537287"/>
                <a:gd name="connsiteY801" fmla="*/ 2480736 h 6072782"/>
                <a:gd name="connsiteX802" fmla="*/ 8314134 w 11537287"/>
                <a:gd name="connsiteY802" fmla="*/ 2477919 h 6072782"/>
                <a:gd name="connsiteX803" fmla="*/ 8342209 w 11537287"/>
                <a:gd name="connsiteY803" fmla="*/ 2477919 h 6072782"/>
                <a:gd name="connsiteX804" fmla="*/ 8328433 w 11537287"/>
                <a:gd name="connsiteY804" fmla="*/ 2545056 h 6072782"/>
                <a:gd name="connsiteX805" fmla="*/ 8370633 w 11537287"/>
                <a:gd name="connsiteY805" fmla="*/ 2545056 h 6072782"/>
                <a:gd name="connsiteX806" fmla="*/ 8384932 w 11537287"/>
                <a:gd name="connsiteY806" fmla="*/ 2477919 h 6072782"/>
                <a:gd name="connsiteX807" fmla="*/ 8412485 w 11537287"/>
                <a:gd name="connsiteY807" fmla="*/ 2477919 h 6072782"/>
                <a:gd name="connsiteX808" fmla="*/ 8398534 w 11537287"/>
                <a:gd name="connsiteY808" fmla="*/ 2545056 h 6072782"/>
                <a:gd name="connsiteX809" fmla="*/ 8438293 w 11537287"/>
                <a:gd name="connsiteY809" fmla="*/ 2545056 h 6072782"/>
                <a:gd name="connsiteX810" fmla="*/ 8432887 w 11537287"/>
                <a:gd name="connsiteY810" fmla="*/ 2569470 h 6072782"/>
                <a:gd name="connsiteX811" fmla="*/ 8393303 w 11537287"/>
                <a:gd name="connsiteY811" fmla="*/ 2569470 h 6072782"/>
                <a:gd name="connsiteX812" fmla="*/ 8383189 w 11537287"/>
                <a:gd name="connsiteY812" fmla="*/ 2617599 h 6072782"/>
                <a:gd name="connsiteX813" fmla="*/ 8426435 w 11537287"/>
                <a:gd name="connsiteY813" fmla="*/ 2617599 h 6072782"/>
                <a:gd name="connsiteX814" fmla="*/ 8420331 w 11537287"/>
                <a:gd name="connsiteY814" fmla="*/ 2642012 h 6072782"/>
                <a:gd name="connsiteX815" fmla="*/ 8378132 w 11537287"/>
                <a:gd name="connsiteY815" fmla="*/ 2642012 h 6072782"/>
                <a:gd name="connsiteX816" fmla="*/ 8363832 w 11537287"/>
                <a:gd name="connsiteY816" fmla="*/ 2706533 h 6072782"/>
                <a:gd name="connsiteX817" fmla="*/ 8336105 w 11537287"/>
                <a:gd name="connsiteY817" fmla="*/ 2706533 h 6072782"/>
                <a:gd name="connsiteX818" fmla="*/ 8350056 w 11537287"/>
                <a:gd name="connsiteY818" fmla="*/ 2642012 h 6072782"/>
                <a:gd name="connsiteX819" fmla="*/ 8307856 w 11537287"/>
                <a:gd name="connsiteY819" fmla="*/ 2642012 h 6072782"/>
                <a:gd name="connsiteX820" fmla="*/ 8294254 w 11537287"/>
                <a:gd name="connsiteY820" fmla="*/ 2706533 h 6072782"/>
                <a:gd name="connsiteX821" fmla="*/ 8266528 w 11537287"/>
                <a:gd name="connsiteY821" fmla="*/ 2706533 h 6072782"/>
                <a:gd name="connsiteX822" fmla="*/ 8280129 w 11537287"/>
                <a:gd name="connsiteY822" fmla="*/ 2642012 h 6072782"/>
                <a:gd name="connsiteX823" fmla="*/ 8240196 w 11537287"/>
                <a:gd name="connsiteY823" fmla="*/ 2642012 h 6072782"/>
                <a:gd name="connsiteX824" fmla="*/ 8245078 w 11537287"/>
                <a:gd name="connsiteY824" fmla="*/ 2617599 h 6072782"/>
                <a:gd name="connsiteX825" fmla="*/ 8285535 w 11537287"/>
                <a:gd name="connsiteY825" fmla="*/ 2617599 h 6072782"/>
                <a:gd name="connsiteX826" fmla="*/ 8295126 w 11537287"/>
                <a:gd name="connsiteY826" fmla="*/ 2569470 h 6072782"/>
                <a:gd name="connsiteX827" fmla="*/ 8252577 w 11537287"/>
                <a:gd name="connsiteY827" fmla="*/ 2569470 h 6072782"/>
                <a:gd name="connsiteX828" fmla="*/ 8257634 w 11537287"/>
                <a:gd name="connsiteY828" fmla="*/ 2545056 h 6072782"/>
                <a:gd name="connsiteX829" fmla="*/ 8300183 w 11537287"/>
                <a:gd name="connsiteY829" fmla="*/ 2545056 h 6072782"/>
                <a:gd name="connsiteX830" fmla="*/ 2250888 w 11537287"/>
                <a:gd name="connsiteY830" fmla="*/ 2477919 h 6072782"/>
                <a:gd name="connsiteX831" fmla="*/ 2278962 w 11537287"/>
                <a:gd name="connsiteY831" fmla="*/ 2477919 h 6072782"/>
                <a:gd name="connsiteX832" fmla="*/ 2265187 w 11537287"/>
                <a:gd name="connsiteY832" fmla="*/ 2545056 h 6072782"/>
                <a:gd name="connsiteX833" fmla="*/ 2307386 w 11537287"/>
                <a:gd name="connsiteY833" fmla="*/ 2545056 h 6072782"/>
                <a:gd name="connsiteX834" fmla="*/ 2321686 w 11537287"/>
                <a:gd name="connsiteY834" fmla="*/ 2477919 h 6072782"/>
                <a:gd name="connsiteX835" fmla="*/ 2349239 w 11537287"/>
                <a:gd name="connsiteY835" fmla="*/ 2477919 h 6072782"/>
                <a:gd name="connsiteX836" fmla="*/ 2335288 w 11537287"/>
                <a:gd name="connsiteY836" fmla="*/ 2545056 h 6072782"/>
                <a:gd name="connsiteX837" fmla="*/ 2375047 w 11537287"/>
                <a:gd name="connsiteY837" fmla="*/ 2545056 h 6072782"/>
                <a:gd name="connsiteX838" fmla="*/ 2369642 w 11537287"/>
                <a:gd name="connsiteY838" fmla="*/ 2569470 h 6072782"/>
                <a:gd name="connsiteX839" fmla="*/ 2330056 w 11537287"/>
                <a:gd name="connsiteY839" fmla="*/ 2569470 h 6072782"/>
                <a:gd name="connsiteX840" fmla="*/ 2319942 w 11537287"/>
                <a:gd name="connsiteY840" fmla="*/ 2617599 h 6072782"/>
                <a:gd name="connsiteX841" fmla="*/ 2363188 w 11537287"/>
                <a:gd name="connsiteY841" fmla="*/ 2617599 h 6072782"/>
                <a:gd name="connsiteX842" fmla="*/ 2357086 w 11537287"/>
                <a:gd name="connsiteY842" fmla="*/ 2642012 h 6072782"/>
                <a:gd name="connsiteX843" fmla="*/ 2314885 w 11537287"/>
                <a:gd name="connsiteY843" fmla="*/ 2642012 h 6072782"/>
                <a:gd name="connsiteX844" fmla="*/ 2300585 w 11537287"/>
                <a:gd name="connsiteY844" fmla="*/ 2706533 h 6072782"/>
                <a:gd name="connsiteX845" fmla="*/ 2272859 w 11537287"/>
                <a:gd name="connsiteY845" fmla="*/ 2706533 h 6072782"/>
                <a:gd name="connsiteX846" fmla="*/ 2286810 w 11537287"/>
                <a:gd name="connsiteY846" fmla="*/ 2642012 h 6072782"/>
                <a:gd name="connsiteX847" fmla="*/ 2244610 w 11537287"/>
                <a:gd name="connsiteY847" fmla="*/ 2642012 h 6072782"/>
                <a:gd name="connsiteX848" fmla="*/ 2231007 w 11537287"/>
                <a:gd name="connsiteY848" fmla="*/ 2706533 h 6072782"/>
                <a:gd name="connsiteX849" fmla="*/ 2203282 w 11537287"/>
                <a:gd name="connsiteY849" fmla="*/ 2706533 h 6072782"/>
                <a:gd name="connsiteX850" fmla="*/ 2216884 w 11537287"/>
                <a:gd name="connsiteY850" fmla="*/ 2642012 h 6072782"/>
                <a:gd name="connsiteX851" fmla="*/ 2176949 w 11537287"/>
                <a:gd name="connsiteY851" fmla="*/ 2642012 h 6072782"/>
                <a:gd name="connsiteX852" fmla="*/ 2181833 w 11537287"/>
                <a:gd name="connsiteY852" fmla="*/ 2617599 h 6072782"/>
                <a:gd name="connsiteX853" fmla="*/ 2222288 w 11537287"/>
                <a:gd name="connsiteY853" fmla="*/ 2617599 h 6072782"/>
                <a:gd name="connsiteX854" fmla="*/ 2231879 w 11537287"/>
                <a:gd name="connsiteY854" fmla="*/ 2569470 h 6072782"/>
                <a:gd name="connsiteX855" fmla="*/ 2189331 w 11537287"/>
                <a:gd name="connsiteY855" fmla="*/ 2569470 h 6072782"/>
                <a:gd name="connsiteX856" fmla="*/ 2194388 w 11537287"/>
                <a:gd name="connsiteY856" fmla="*/ 2545056 h 6072782"/>
                <a:gd name="connsiteX857" fmla="*/ 2236936 w 11537287"/>
                <a:gd name="connsiteY857" fmla="*/ 2545056 h 6072782"/>
                <a:gd name="connsiteX858" fmla="*/ 10887030 w 11537287"/>
                <a:gd name="connsiteY858" fmla="*/ 2172960 h 6072782"/>
                <a:gd name="connsiteX859" fmla="*/ 10941716 w 11537287"/>
                <a:gd name="connsiteY859" fmla="*/ 2211981 h 6072782"/>
                <a:gd name="connsiteX860" fmla="*/ 10941716 w 11537287"/>
                <a:gd name="connsiteY860" fmla="*/ 2248342 h 6072782"/>
                <a:gd name="connsiteX861" fmla="*/ 10965660 w 11537287"/>
                <a:gd name="connsiteY861" fmla="*/ 2275202 h 6072782"/>
                <a:gd name="connsiteX862" fmla="*/ 10965660 w 11537287"/>
                <a:gd name="connsiteY862" fmla="*/ 2293698 h 6072782"/>
                <a:gd name="connsiteX863" fmla="*/ 10941716 w 11537287"/>
                <a:gd name="connsiteY863" fmla="*/ 2320051 h 6072782"/>
                <a:gd name="connsiteX864" fmla="*/ 10941716 w 11537287"/>
                <a:gd name="connsiteY864" fmla="*/ 2357426 h 6072782"/>
                <a:gd name="connsiteX865" fmla="*/ 10887030 w 11537287"/>
                <a:gd name="connsiteY865" fmla="*/ 2395940 h 6072782"/>
                <a:gd name="connsiteX866" fmla="*/ 10887030 w 11537287"/>
                <a:gd name="connsiteY866" fmla="*/ 2376429 h 6072782"/>
                <a:gd name="connsiteX867" fmla="*/ 10906108 w 11537287"/>
                <a:gd name="connsiteY867" fmla="*/ 2370348 h 6072782"/>
                <a:gd name="connsiteX868" fmla="*/ 10911747 w 11537287"/>
                <a:gd name="connsiteY868" fmla="*/ 2351091 h 6072782"/>
                <a:gd name="connsiteX869" fmla="*/ 10911747 w 11537287"/>
                <a:gd name="connsiteY869" fmla="*/ 2315743 h 6072782"/>
                <a:gd name="connsiteX870" fmla="*/ 10942179 w 11537287"/>
                <a:gd name="connsiteY870" fmla="*/ 2284450 h 6072782"/>
                <a:gd name="connsiteX871" fmla="*/ 10942179 w 11537287"/>
                <a:gd name="connsiteY871" fmla="*/ 2284070 h 6072782"/>
                <a:gd name="connsiteX872" fmla="*/ 10911747 w 11537287"/>
                <a:gd name="connsiteY872" fmla="*/ 2252523 h 6072782"/>
                <a:gd name="connsiteX873" fmla="*/ 10911747 w 11537287"/>
                <a:gd name="connsiteY873" fmla="*/ 2216796 h 6072782"/>
                <a:gd name="connsiteX874" fmla="*/ 10887030 w 11537287"/>
                <a:gd name="connsiteY874" fmla="*/ 2192598 h 6072782"/>
                <a:gd name="connsiteX875" fmla="*/ 10865711 w 11537287"/>
                <a:gd name="connsiteY875" fmla="*/ 2172960 h 6072782"/>
                <a:gd name="connsiteX876" fmla="*/ 10865711 w 11537287"/>
                <a:gd name="connsiteY876" fmla="*/ 2192598 h 6072782"/>
                <a:gd name="connsiteX877" fmla="*/ 10841149 w 11537287"/>
                <a:gd name="connsiteY877" fmla="*/ 2216796 h 6072782"/>
                <a:gd name="connsiteX878" fmla="*/ 10841149 w 11537287"/>
                <a:gd name="connsiteY878" fmla="*/ 2252523 h 6072782"/>
                <a:gd name="connsiteX879" fmla="*/ 10810408 w 11537287"/>
                <a:gd name="connsiteY879" fmla="*/ 2284070 h 6072782"/>
                <a:gd name="connsiteX880" fmla="*/ 10810408 w 11537287"/>
                <a:gd name="connsiteY880" fmla="*/ 2284450 h 6072782"/>
                <a:gd name="connsiteX881" fmla="*/ 10841149 w 11537287"/>
                <a:gd name="connsiteY881" fmla="*/ 2315743 h 6072782"/>
                <a:gd name="connsiteX882" fmla="*/ 10841149 w 11537287"/>
                <a:gd name="connsiteY882" fmla="*/ 2351091 h 6072782"/>
                <a:gd name="connsiteX883" fmla="*/ 10846633 w 11537287"/>
                <a:gd name="connsiteY883" fmla="*/ 2370411 h 6072782"/>
                <a:gd name="connsiteX884" fmla="*/ 10865711 w 11537287"/>
                <a:gd name="connsiteY884" fmla="*/ 2376429 h 6072782"/>
                <a:gd name="connsiteX885" fmla="*/ 10865711 w 11537287"/>
                <a:gd name="connsiteY885" fmla="*/ 2395940 h 6072782"/>
                <a:gd name="connsiteX886" fmla="*/ 10810717 w 11537287"/>
                <a:gd name="connsiteY886" fmla="*/ 2357426 h 6072782"/>
                <a:gd name="connsiteX887" fmla="*/ 10810717 w 11537287"/>
                <a:gd name="connsiteY887" fmla="*/ 2320051 h 6072782"/>
                <a:gd name="connsiteX888" fmla="*/ 10786618 w 11537287"/>
                <a:gd name="connsiteY888" fmla="*/ 2293698 h 6072782"/>
                <a:gd name="connsiteX889" fmla="*/ 10786618 w 11537287"/>
                <a:gd name="connsiteY889" fmla="*/ 2275202 h 6072782"/>
                <a:gd name="connsiteX890" fmla="*/ 10810717 w 11537287"/>
                <a:gd name="connsiteY890" fmla="*/ 2248342 h 6072782"/>
                <a:gd name="connsiteX891" fmla="*/ 10810717 w 11537287"/>
                <a:gd name="connsiteY891" fmla="*/ 2211981 h 6072782"/>
                <a:gd name="connsiteX892" fmla="*/ 10865711 w 11537287"/>
                <a:gd name="connsiteY892" fmla="*/ 2172960 h 6072782"/>
                <a:gd name="connsiteX893" fmla="*/ 8381124 w 11537287"/>
                <a:gd name="connsiteY893" fmla="*/ 2172960 h 6072782"/>
                <a:gd name="connsiteX894" fmla="*/ 8435810 w 11537287"/>
                <a:gd name="connsiteY894" fmla="*/ 2211981 h 6072782"/>
                <a:gd name="connsiteX895" fmla="*/ 8435810 w 11537287"/>
                <a:gd name="connsiteY895" fmla="*/ 2248342 h 6072782"/>
                <a:gd name="connsiteX896" fmla="*/ 8459754 w 11537287"/>
                <a:gd name="connsiteY896" fmla="*/ 2275202 h 6072782"/>
                <a:gd name="connsiteX897" fmla="*/ 8459754 w 11537287"/>
                <a:gd name="connsiteY897" fmla="*/ 2293698 h 6072782"/>
                <a:gd name="connsiteX898" fmla="*/ 8435810 w 11537287"/>
                <a:gd name="connsiteY898" fmla="*/ 2320051 h 6072782"/>
                <a:gd name="connsiteX899" fmla="*/ 8435810 w 11537287"/>
                <a:gd name="connsiteY899" fmla="*/ 2357426 h 6072782"/>
                <a:gd name="connsiteX900" fmla="*/ 8381124 w 11537287"/>
                <a:gd name="connsiteY900" fmla="*/ 2395940 h 6072782"/>
                <a:gd name="connsiteX901" fmla="*/ 8381124 w 11537287"/>
                <a:gd name="connsiteY901" fmla="*/ 2376429 h 6072782"/>
                <a:gd name="connsiteX902" fmla="*/ 8400202 w 11537287"/>
                <a:gd name="connsiteY902" fmla="*/ 2370348 h 6072782"/>
                <a:gd name="connsiteX903" fmla="*/ 8405841 w 11537287"/>
                <a:gd name="connsiteY903" fmla="*/ 2351091 h 6072782"/>
                <a:gd name="connsiteX904" fmla="*/ 8405841 w 11537287"/>
                <a:gd name="connsiteY904" fmla="*/ 2315743 h 6072782"/>
                <a:gd name="connsiteX905" fmla="*/ 8436273 w 11537287"/>
                <a:gd name="connsiteY905" fmla="*/ 2284450 h 6072782"/>
                <a:gd name="connsiteX906" fmla="*/ 8436273 w 11537287"/>
                <a:gd name="connsiteY906" fmla="*/ 2284070 h 6072782"/>
                <a:gd name="connsiteX907" fmla="*/ 8405841 w 11537287"/>
                <a:gd name="connsiteY907" fmla="*/ 2252523 h 6072782"/>
                <a:gd name="connsiteX908" fmla="*/ 8405841 w 11537287"/>
                <a:gd name="connsiteY908" fmla="*/ 2216796 h 6072782"/>
                <a:gd name="connsiteX909" fmla="*/ 8381124 w 11537287"/>
                <a:gd name="connsiteY909" fmla="*/ 2192598 h 6072782"/>
                <a:gd name="connsiteX910" fmla="*/ 8359805 w 11537287"/>
                <a:gd name="connsiteY910" fmla="*/ 2172960 h 6072782"/>
                <a:gd name="connsiteX911" fmla="*/ 8359805 w 11537287"/>
                <a:gd name="connsiteY911" fmla="*/ 2192598 h 6072782"/>
                <a:gd name="connsiteX912" fmla="*/ 8335243 w 11537287"/>
                <a:gd name="connsiteY912" fmla="*/ 2216796 h 6072782"/>
                <a:gd name="connsiteX913" fmla="*/ 8335243 w 11537287"/>
                <a:gd name="connsiteY913" fmla="*/ 2252523 h 6072782"/>
                <a:gd name="connsiteX914" fmla="*/ 8304502 w 11537287"/>
                <a:gd name="connsiteY914" fmla="*/ 2284070 h 6072782"/>
                <a:gd name="connsiteX915" fmla="*/ 8304502 w 11537287"/>
                <a:gd name="connsiteY915" fmla="*/ 2284450 h 6072782"/>
                <a:gd name="connsiteX916" fmla="*/ 8335243 w 11537287"/>
                <a:gd name="connsiteY916" fmla="*/ 2315743 h 6072782"/>
                <a:gd name="connsiteX917" fmla="*/ 8335243 w 11537287"/>
                <a:gd name="connsiteY917" fmla="*/ 2351091 h 6072782"/>
                <a:gd name="connsiteX918" fmla="*/ 8340727 w 11537287"/>
                <a:gd name="connsiteY918" fmla="*/ 2370411 h 6072782"/>
                <a:gd name="connsiteX919" fmla="*/ 8359805 w 11537287"/>
                <a:gd name="connsiteY919" fmla="*/ 2376429 h 6072782"/>
                <a:gd name="connsiteX920" fmla="*/ 8359805 w 11537287"/>
                <a:gd name="connsiteY920" fmla="*/ 2395940 h 6072782"/>
                <a:gd name="connsiteX921" fmla="*/ 8304811 w 11537287"/>
                <a:gd name="connsiteY921" fmla="*/ 2357426 h 6072782"/>
                <a:gd name="connsiteX922" fmla="*/ 8304811 w 11537287"/>
                <a:gd name="connsiteY922" fmla="*/ 2320051 h 6072782"/>
                <a:gd name="connsiteX923" fmla="*/ 8280712 w 11537287"/>
                <a:gd name="connsiteY923" fmla="*/ 2293698 h 6072782"/>
                <a:gd name="connsiteX924" fmla="*/ 8280712 w 11537287"/>
                <a:gd name="connsiteY924" fmla="*/ 2275202 h 6072782"/>
                <a:gd name="connsiteX925" fmla="*/ 8304811 w 11537287"/>
                <a:gd name="connsiteY925" fmla="*/ 2248342 h 6072782"/>
                <a:gd name="connsiteX926" fmla="*/ 8304811 w 11537287"/>
                <a:gd name="connsiteY926" fmla="*/ 2211981 h 6072782"/>
                <a:gd name="connsiteX927" fmla="*/ 8359805 w 11537287"/>
                <a:gd name="connsiteY927" fmla="*/ 2172960 h 6072782"/>
                <a:gd name="connsiteX928" fmla="*/ 4831058 w 11537287"/>
                <a:gd name="connsiteY928" fmla="*/ 2172960 h 6072782"/>
                <a:gd name="connsiteX929" fmla="*/ 4885744 w 11537287"/>
                <a:gd name="connsiteY929" fmla="*/ 2211981 h 6072782"/>
                <a:gd name="connsiteX930" fmla="*/ 4885744 w 11537287"/>
                <a:gd name="connsiteY930" fmla="*/ 2248342 h 6072782"/>
                <a:gd name="connsiteX931" fmla="*/ 4909688 w 11537287"/>
                <a:gd name="connsiteY931" fmla="*/ 2275202 h 6072782"/>
                <a:gd name="connsiteX932" fmla="*/ 4909688 w 11537287"/>
                <a:gd name="connsiteY932" fmla="*/ 2293698 h 6072782"/>
                <a:gd name="connsiteX933" fmla="*/ 4885744 w 11537287"/>
                <a:gd name="connsiteY933" fmla="*/ 2320051 h 6072782"/>
                <a:gd name="connsiteX934" fmla="*/ 4885744 w 11537287"/>
                <a:gd name="connsiteY934" fmla="*/ 2357426 h 6072782"/>
                <a:gd name="connsiteX935" fmla="*/ 4831058 w 11537287"/>
                <a:gd name="connsiteY935" fmla="*/ 2395940 h 6072782"/>
                <a:gd name="connsiteX936" fmla="*/ 4831058 w 11537287"/>
                <a:gd name="connsiteY936" fmla="*/ 2376429 h 6072782"/>
                <a:gd name="connsiteX937" fmla="*/ 4850137 w 11537287"/>
                <a:gd name="connsiteY937" fmla="*/ 2370348 h 6072782"/>
                <a:gd name="connsiteX938" fmla="*/ 4855775 w 11537287"/>
                <a:gd name="connsiteY938" fmla="*/ 2351091 h 6072782"/>
                <a:gd name="connsiteX939" fmla="*/ 4855775 w 11537287"/>
                <a:gd name="connsiteY939" fmla="*/ 2315743 h 6072782"/>
                <a:gd name="connsiteX940" fmla="*/ 4886207 w 11537287"/>
                <a:gd name="connsiteY940" fmla="*/ 2284450 h 6072782"/>
                <a:gd name="connsiteX941" fmla="*/ 4886207 w 11537287"/>
                <a:gd name="connsiteY941" fmla="*/ 2284070 h 6072782"/>
                <a:gd name="connsiteX942" fmla="*/ 4855775 w 11537287"/>
                <a:gd name="connsiteY942" fmla="*/ 2252523 h 6072782"/>
                <a:gd name="connsiteX943" fmla="*/ 4855775 w 11537287"/>
                <a:gd name="connsiteY943" fmla="*/ 2216796 h 6072782"/>
                <a:gd name="connsiteX944" fmla="*/ 4831058 w 11537287"/>
                <a:gd name="connsiteY944" fmla="*/ 2192598 h 6072782"/>
                <a:gd name="connsiteX945" fmla="*/ 4809740 w 11537287"/>
                <a:gd name="connsiteY945" fmla="*/ 2172960 h 6072782"/>
                <a:gd name="connsiteX946" fmla="*/ 4809740 w 11537287"/>
                <a:gd name="connsiteY946" fmla="*/ 2192598 h 6072782"/>
                <a:gd name="connsiteX947" fmla="*/ 4785177 w 11537287"/>
                <a:gd name="connsiteY947" fmla="*/ 2216796 h 6072782"/>
                <a:gd name="connsiteX948" fmla="*/ 4785177 w 11537287"/>
                <a:gd name="connsiteY948" fmla="*/ 2252523 h 6072782"/>
                <a:gd name="connsiteX949" fmla="*/ 4754435 w 11537287"/>
                <a:gd name="connsiteY949" fmla="*/ 2284070 h 6072782"/>
                <a:gd name="connsiteX950" fmla="*/ 4754435 w 11537287"/>
                <a:gd name="connsiteY950" fmla="*/ 2284450 h 6072782"/>
                <a:gd name="connsiteX951" fmla="*/ 4785177 w 11537287"/>
                <a:gd name="connsiteY951" fmla="*/ 2315743 h 6072782"/>
                <a:gd name="connsiteX952" fmla="*/ 4785177 w 11537287"/>
                <a:gd name="connsiteY952" fmla="*/ 2351091 h 6072782"/>
                <a:gd name="connsiteX953" fmla="*/ 4790661 w 11537287"/>
                <a:gd name="connsiteY953" fmla="*/ 2370411 h 6072782"/>
                <a:gd name="connsiteX954" fmla="*/ 4809740 w 11537287"/>
                <a:gd name="connsiteY954" fmla="*/ 2376429 h 6072782"/>
                <a:gd name="connsiteX955" fmla="*/ 4809740 w 11537287"/>
                <a:gd name="connsiteY955" fmla="*/ 2395940 h 6072782"/>
                <a:gd name="connsiteX956" fmla="*/ 4754745 w 11537287"/>
                <a:gd name="connsiteY956" fmla="*/ 2357426 h 6072782"/>
                <a:gd name="connsiteX957" fmla="*/ 4754745 w 11537287"/>
                <a:gd name="connsiteY957" fmla="*/ 2320051 h 6072782"/>
                <a:gd name="connsiteX958" fmla="*/ 4730646 w 11537287"/>
                <a:gd name="connsiteY958" fmla="*/ 2293698 h 6072782"/>
                <a:gd name="connsiteX959" fmla="*/ 4730646 w 11537287"/>
                <a:gd name="connsiteY959" fmla="*/ 2275202 h 6072782"/>
                <a:gd name="connsiteX960" fmla="*/ 4754745 w 11537287"/>
                <a:gd name="connsiteY960" fmla="*/ 2248342 h 6072782"/>
                <a:gd name="connsiteX961" fmla="*/ 4754745 w 11537287"/>
                <a:gd name="connsiteY961" fmla="*/ 2211981 h 6072782"/>
                <a:gd name="connsiteX962" fmla="*/ 4809740 w 11537287"/>
                <a:gd name="connsiteY962" fmla="*/ 2172960 h 6072782"/>
                <a:gd name="connsiteX963" fmla="*/ 2326456 w 11537287"/>
                <a:gd name="connsiteY963" fmla="*/ 2172960 h 6072782"/>
                <a:gd name="connsiteX964" fmla="*/ 2381142 w 11537287"/>
                <a:gd name="connsiteY964" fmla="*/ 2211981 h 6072782"/>
                <a:gd name="connsiteX965" fmla="*/ 2381142 w 11537287"/>
                <a:gd name="connsiteY965" fmla="*/ 2248342 h 6072782"/>
                <a:gd name="connsiteX966" fmla="*/ 2405086 w 11537287"/>
                <a:gd name="connsiteY966" fmla="*/ 2275202 h 6072782"/>
                <a:gd name="connsiteX967" fmla="*/ 2405086 w 11537287"/>
                <a:gd name="connsiteY967" fmla="*/ 2293698 h 6072782"/>
                <a:gd name="connsiteX968" fmla="*/ 2381142 w 11537287"/>
                <a:gd name="connsiteY968" fmla="*/ 2320051 h 6072782"/>
                <a:gd name="connsiteX969" fmla="*/ 2381142 w 11537287"/>
                <a:gd name="connsiteY969" fmla="*/ 2357426 h 6072782"/>
                <a:gd name="connsiteX970" fmla="*/ 2326456 w 11537287"/>
                <a:gd name="connsiteY970" fmla="*/ 2395940 h 6072782"/>
                <a:gd name="connsiteX971" fmla="*/ 2326456 w 11537287"/>
                <a:gd name="connsiteY971" fmla="*/ 2376429 h 6072782"/>
                <a:gd name="connsiteX972" fmla="*/ 2345533 w 11537287"/>
                <a:gd name="connsiteY972" fmla="*/ 2370348 h 6072782"/>
                <a:gd name="connsiteX973" fmla="*/ 2351172 w 11537287"/>
                <a:gd name="connsiteY973" fmla="*/ 2351091 h 6072782"/>
                <a:gd name="connsiteX974" fmla="*/ 2351172 w 11537287"/>
                <a:gd name="connsiteY974" fmla="*/ 2315743 h 6072782"/>
                <a:gd name="connsiteX975" fmla="*/ 2381605 w 11537287"/>
                <a:gd name="connsiteY975" fmla="*/ 2284450 h 6072782"/>
                <a:gd name="connsiteX976" fmla="*/ 2381605 w 11537287"/>
                <a:gd name="connsiteY976" fmla="*/ 2284070 h 6072782"/>
                <a:gd name="connsiteX977" fmla="*/ 2351172 w 11537287"/>
                <a:gd name="connsiteY977" fmla="*/ 2252523 h 6072782"/>
                <a:gd name="connsiteX978" fmla="*/ 2351172 w 11537287"/>
                <a:gd name="connsiteY978" fmla="*/ 2216796 h 6072782"/>
                <a:gd name="connsiteX979" fmla="*/ 2326456 w 11537287"/>
                <a:gd name="connsiteY979" fmla="*/ 2192598 h 6072782"/>
                <a:gd name="connsiteX980" fmla="*/ 2305137 w 11537287"/>
                <a:gd name="connsiteY980" fmla="*/ 2172960 h 6072782"/>
                <a:gd name="connsiteX981" fmla="*/ 2305137 w 11537287"/>
                <a:gd name="connsiteY981" fmla="*/ 2192598 h 6072782"/>
                <a:gd name="connsiteX982" fmla="*/ 2280575 w 11537287"/>
                <a:gd name="connsiteY982" fmla="*/ 2216796 h 6072782"/>
                <a:gd name="connsiteX983" fmla="*/ 2280575 w 11537287"/>
                <a:gd name="connsiteY983" fmla="*/ 2252523 h 6072782"/>
                <a:gd name="connsiteX984" fmla="*/ 2249834 w 11537287"/>
                <a:gd name="connsiteY984" fmla="*/ 2284070 h 6072782"/>
                <a:gd name="connsiteX985" fmla="*/ 2249834 w 11537287"/>
                <a:gd name="connsiteY985" fmla="*/ 2284450 h 6072782"/>
                <a:gd name="connsiteX986" fmla="*/ 2280575 w 11537287"/>
                <a:gd name="connsiteY986" fmla="*/ 2315743 h 6072782"/>
                <a:gd name="connsiteX987" fmla="*/ 2280575 w 11537287"/>
                <a:gd name="connsiteY987" fmla="*/ 2351091 h 6072782"/>
                <a:gd name="connsiteX988" fmla="*/ 2286060 w 11537287"/>
                <a:gd name="connsiteY988" fmla="*/ 2370411 h 6072782"/>
                <a:gd name="connsiteX989" fmla="*/ 2305137 w 11537287"/>
                <a:gd name="connsiteY989" fmla="*/ 2376429 h 6072782"/>
                <a:gd name="connsiteX990" fmla="*/ 2305137 w 11537287"/>
                <a:gd name="connsiteY990" fmla="*/ 2395940 h 6072782"/>
                <a:gd name="connsiteX991" fmla="*/ 2250143 w 11537287"/>
                <a:gd name="connsiteY991" fmla="*/ 2357426 h 6072782"/>
                <a:gd name="connsiteX992" fmla="*/ 2250143 w 11537287"/>
                <a:gd name="connsiteY992" fmla="*/ 2320051 h 6072782"/>
                <a:gd name="connsiteX993" fmla="*/ 2226043 w 11537287"/>
                <a:gd name="connsiteY993" fmla="*/ 2293698 h 6072782"/>
                <a:gd name="connsiteX994" fmla="*/ 2226043 w 11537287"/>
                <a:gd name="connsiteY994" fmla="*/ 2275202 h 6072782"/>
                <a:gd name="connsiteX995" fmla="*/ 2250143 w 11537287"/>
                <a:gd name="connsiteY995" fmla="*/ 2248342 h 6072782"/>
                <a:gd name="connsiteX996" fmla="*/ 2250143 w 11537287"/>
                <a:gd name="connsiteY996" fmla="*/ 2211981 h 6072782"/>
                <a:gd name="connsiteX997" fmla="*/ 2305137 w 11537287"/>
                <a:gd name="connsiteY997" fmla="*/ 2172960 h 6072782"/>
                <a:gd name="connsiteX998" fmla="*/ 8838198 w 11537287"/>
                <a:gd name="connsiteY998" fmla="*/ 1842347 h 6072782"/>
                <a:gd name="connsiteX999" fmla="*/ 8892884 w 11537287"/>
                <a:gd name="connsiteY999" fmla="*/ 1881368 h 6072782"/>
                <a:gd name="connsiteX1000" fmla="*/ 8892884 w 11537287"/>
                <a:gd name="connsiteY1000" fmla="*/ 1917729 h 6072782"/>
                <a:gd name="connsiteX1001" fmla="*/ 8916828 w 11537287"/>
                <a:gd name="connsiteY1001" fmla="*/ 1944589 h 6072782"/>
                <a:gd name="connsiteX1002" fmla="*/ 8916828 w 11537287"/>
                <a:gd name="connsiteY1002" fmla="*/ 1963085 h 6072782"/>
                <a:gd name="connsiteX1003" fmla="*/ 8892884 w 11537287"/>
                <a:gd name="connsiteY1003" fmla="*/ 1989438 h 6072782"/>
                <a:gd name="connsiteX1004" fmla="*/ 8892884 w 11537287"/>
                <a:gd name="connsiteY1004" fmla="*/ 2026812 h 6072782"/>
                <a:gd name="connsiteX1005" fmla="*/ 8838198 w 11537287"/>
                <a:gd name="connsiteY1005" fmla="*/ 2065327 h 6072782"/>
                <a:gd name="connsiteX1006" fmla="*/ 8838198 w 11537287"/>
                <a:gd name="connsiteY1006" fmla="*/ 2045816 h 6072782"/>
                <a:gd name="connsiteX1007" fmla="*/ 8857276 w 11537287"/>
                <a:gd name="connsiteY1007" fmla="*/ 2039735 h 6072782"/>
                <a:gd name="connsiteX1008" fmla="*/ 8862915 w 11537287"/>
                <a:gd name="connsiteY1008" fmla="*/ 2020478 h 6072782"/>
                <a:gd name="connsiteX1009" fmla="*/ 8862915 w 11537287"/>
                <a:gd name="connsiteY1009" fmla="*/ 1985130 h 6072782"/>
                <a:gd name="connsiteX1010" fmla="*/ 8893347 w 11537287"/>
                <a:gd name="connsiteY1010" fmla="*/ 1953837 h 6072782"/>
                <a:gd name="connsiteX1011" fmla="*/ 8893347 w 11537287"/>
                <a:gd name="connsiteY1011" fmla="*/ 1953457 h 6072782"/>
                <a:gd name="connsiteX1012" fmla="*/ 8862915 w 11537287"/>
                <a:gd name="connsiteY1012" fmla="*/ 1921910 h 6072782"/>
                <a:gd name="connsiteX1013" fmla="*/ 8862915 w 11537287"/>
                <a:gd name="connsiteY1013" fmla="*/ 1886183 h 6072782"/>
                <a:gd name="connsiteX1014" fmla="*/ 8838198 w 11537287"/>
                <a:gd name="connsiteY1014" fmla="*/ 1861985 h 6072782"/>
                <a:gd name="connsiteX1015" fmla="*/ 8816879 w 11537287"/>
                <a:gd name="connsiteY1015" fmla="*/ 1842347 h 6072782"/>
                <a:gd name="connsiteX1016" fmla="*/ 8816879 w 11537287"/>
                <a:gd name="connsiteY1016" fmla="*/ 1861985 h 6072782"/>
                <a:gd name="connsiteX1017" fmla="*/ 8792317 w 11537287"/>
                <a:gd name="connsiteY1017" fmla="*/ 1886183 h 6072782"/>
                <a:gd name="connsiteX1018" fmla="*/ 8792317 w 11537287"/>
                <a:gd name="connsiteY1018" fmla="*/ 1921910 h 6072782"/>
                <a:gd name="connsiteX1019" fmla="*/ 8761576 w 11537287"/>
                <a:gd name="connsiteY1019" fmla="*/ 1953457 h 6072782"/>
                <a:gd name="connsiteX1020" fmla="*/ 8761576 w 11537287"/>
                <a:gd name="connsiteY1020" fmla="*/ 1953837 h 6072782"/>
                <a:gd name="connsiteX1021" fmla="*/ 8792317 w 11537287"/>
                <a:gd name="connsiteY1021" fmla="*/ 1985130 h 6072782"/>
                <a:gd name="connsiteX1022" fmla="*/ 8792317 w 11537287"/>
                <a:gd name="connsiteY1022" fmla="*/ 2020478 h 6072782"/>
                <a:gd name="connsiteX1023" fmla="*/ 8797801 w 11537287"/>
                <a:gd name="connsiteY1023" fmla="*/ 2039798 h 6072782"/>
                <a:gd name="connsiteX1024" fmla="*/ 8816879 w 11537287"/>
                <a:gd name="connsiteY1024" fmla="*/ 2045816 h 6072782"/>
                <a:gd name="connsiteX1025" fmla="*/ 8816879 w 11537287"/>
                <a:gd name="connsiteY1025" fmla="*/ 2065327 h 6072782"/>
                <a:gd name="connsiteX1026" fmla="*/ 8761885 w 11537287"/>
                <a:gd name="connsiteY1026" fmla="*/ 2026812 h 6072782"/>
                <a:gd name="connsiteX1027" fmla="*/ 8761885 w 11537287"/>
                <a:gd name="connsiteY1027" fmla="*/ 1989438 h 6072782"/>
                <a:gd name="connsiteX1028" fmla="*/ 8737786 w 11537287"/>
                <a:gd name="connsiteY1028" fmla="*/ 1963085 h 6072782"/>
                <a:gd name="connsiteX1029" fmla="*/ 8737786 w 11537287"/>
                <a:gd name="connsiteY1029" fmla="*/ 1944589 h 6072782"/>
                <a:gd name="connsiteX1030" fmla="*/ 8761885 w 11537287"/>
                <a:gd name="connsiteY1030" fmla="*/ 1917729 h 6072782"/>
                <a:gd name="connsiteX1031" fmla="*/ 8761885 w 11537287"/>
                <a:gd name="connsiteY1031" fmla="*/ 1881368 h 6072782"/>
                <a:gd name="connsiteX1032" fmla="*/ 8816879 w 11537287"/>
                <a:gd name="connsiteY1032" fmla="*/ 1842347 h 6072782"/>
                <a:gd name="connsiteX1033" fmla="*/ 2766419 w 11537287"/>
                <a:gd name="connsiteY1033" fmla="*/ 1842347 h 6072782"/>
                <a:gd name="connsiteX1034" fmla="*/ 2821104 w 11537287"/>
                <a:gd name="connsiteY1034" fmla="*/ 1881368 h 6072782"/>
                <a:gd name="connsiteX1035" fmla="*/ 2821104 w 11537287"/>
                <a:gd name="connsiteY1035" fmla="*/ 1917729 h 6072782"/>
                <a:gd name="connsiteX1036" fmla="*/ 2845049 w 11537287"/>
                <a:gd name="connsiteY1036" fmla="*/ 1944589 h 6072782"/>
                <a:gd name="connsiteX1037" fmla="*/ 2845049 w 11537287"/>
                <a:gd name="connsiteY1037" fmla="*/ 1963085 h 6072782"/>
                <a:gd name="connsiteX1038" fmla="*/ 2821104 w 11537287"/>
                <a:gd name="connsiteY1038" fmla="*/ 1989438 h 6072782"/>
                <a:gd name="connsiteX1039" fmla="*/ 2821104 w 11537287"/>
                <a:gd name="connsiteY1039" fmla="*/ 2026812 h 6072782"/>
                <a:gd name="connsiteX1040" fmla="*/ 2766419 w 11537287"/>
                <a:gd name="connsiteY1040" fmla="*/ 2065327 h 6072782"/>
                <a:gd name="connsiteX1041" fmla="*/ 2766419 w 11537287"/>
                <a:gd name="connsiteY1041" fmla="*/ 2045816 h 6072782"/>
                <a:gd name="connsiteX1042" fmla="*/ 2785497 w 11537287"/>
                <a:gd name="connsiteY1042" fmla="*/ 2039735 h 6072782"/>
                <a:gd name="connsiteX1043" fmla="*/ 2791136 w 11537287"/>
                <a:gd name="connsiteY1043" fmla="*/ 2020478 h 6072782"/>
                <a:gd name="connsiteX1044" fmla="*/ 2791136 w 11537287"/>
                <a:gd name="connsiteY1044" fmla="*/ 1985130 h 6072782"/>
                <a:gd name="connsiteX1045" fmla="*/ 2821568 w 11537287"/>
                <a:gd name="connsiteY1045" fmla="*/ 1953837 h 6072782"/>
                <a:gd name="connsiteX1046" fmla="*/ 2821568 w 11537287"/>
                <a:gd name="connsiteY1046" fmla="*/ 1953457 h 6072782"/>
                <a:gd name="connsiteX1047" fmla="*/ 2791136 w 11537287"/>
                <a:gd name="connsiteY1047" fmla="*/ 1921910 h 6072782"/>
                <a:gd name="connsiteX1048" fmla="*/ 2791136 w 11537287"/>
                <a:gd name="connsiteY1048" fmla="*/ 1886183 h 6072782"/>
                <a:gd name="connsiteX1049" fmla="*/ 2766419 w 11537287"/>
                <a:gd name="connsiteY1049" fmla="*/ 1861985 h 6072782"/>
                <a:gd name="connsiteX1050" fmla="*/ 2745100 w 11537287"/>
                <a:gd name="connsiteY1050" fmla="*/ 1842347 h 6072782"/>
                <a:gd name="connsiteX1051" fmla="*/ 2745100 w 11537287"/>
                <a:gd name="connsiteY1051" fmla="*/ 1861985 h 6072782"/>
                <a:gd name="connsiteX1052" fmla="*/ 2720538 w 11537287"/>
                <a:gd name="connsiteY1052" fmla="*/ 1886183 h 6072782"/>
                <a:gd name="connsiteX1053" fmla="*/ 2720538 w 11537287"/>
                <a:gd name="connsiteY1053" fmla="*/ 1921910 h 6072782"/>
                <a:gd name="connsiteX1054" fmla="*/ 2689797 w 11537287"/>
                <a:gd name="connsiteY1054" fmla="*/ 1953457 h 6072782"/>
                <a:gd name="connsiteX1055" fmla="*/ 2689797 w 11537287"/>
                <a:gd name="connsiteY1055" fmla="*/ 1953837 h 6072782"/>
                <a:gd name="connsiteX1056" fmla="*/ 2720538 w 11537287"/>
                <a:gd name="connsiteY1056" fmla="*/ 1985130 h 6072782"/>
                <a:gd name="connsiteX1057" fmla="*/ 2720538 w 11537287"/>
                <a:gd name="connsiteY1057" fmla="*/ 2020478 h 6072782"/>
                <a:gd name="connsiteX1058" fmla="*/ 2726022 w 11537287"/>
                <a:gd name="connsiteY1058" fmla="*/ 2039798 h 6072782"/>
                <a:gd name="connsiteX1059" fmla="*/ 2745100 w 11537287"/>
                <a:gd name="connsiteY1059" fmla="*/ 2045816 h 6072782"/>
                <a:gd name="connsiteX1060" fmla="*/ 2745100 w 11537287"/>
                <a:gd name="connsiteY1060" fmla="*/ 2065327 h 6072782"/>
                <a:gd name="connsiteX1061" fmla="*/ 2690106 w 11537287"/>
                <a:gd name="connsiteY1061" fmla="*/ 2026812 h 6072782"/>
                <a:gd name="connsiteX1062" fmla="*/ 2690106 w 11537287"/>
                <a:gd name="connsiteY1062" fmla="*/ 1989438 h 6072782"/>
                <a:gd name="connsiteX1063" fmla="*/ 2666006 w 11537287"/>
                <a:gd name="connsiteY1063" fmla="*/ 1963085 h 6072782"/>
                <a:gd name="connsiteX1064" fmla="*/ 2666006 w 11537287"/>
                <a:gd name="connsiteY1064" fmla="*/ 1944589 h 6072782"/>
                <a:gd name="connsiteX1065" fmla="*/ 2690106 w 11537287"/>
                <a:gd name="connsiteY1065" fmla="*/ 1917729 h 6072782"/>
                <a:gd name="connsiteX1066" fmla="*/ 2690106 w 11537287"/>
                <a:gd name="connsiteY1066" fmla="*/ 1881368 h 6072782"/>
                <a:gd name="connsiteX1067" fmla="*/ 2745100 w 11537287"/>
                <a:gd name="connsiteY1067" fmla="*/ 1842347 h 6072782"/>
                <a:gd name="connsiteX1068" fmla="*/ 11472800 w 11537287"/>
                <a:gd name="connsiteY1068" fmla="*/ 1522002 h 6072782"/>
                <a:gd name="connsiteX1069" fmla="*/ 11517649 w 11537287"/>
                <a:gd name="connsiteY1069" fmla="*/ 1561024 h 6072782"/>
                <a:gd name="connsiteX1070" fmla="*/ 11517649 w 11537287"/>
                <a:gd name="connsiteY1070" fmla="*/ 1597384 h 6072782"/>
                <a:gd name="connsiteX1071" fmla="*/ 11537287 w 11537287"/>
                <a:gd name="connsiteY1071" fmla="*/ 1624244 h 6072782"/>
                <a:gd name="connsiteX1072" fmla="*/ 11537287 w 11537287"/>
                <a:gd name="connsiteY1072" fmla="*/ 1642740 h 6072782"/>
                <a:gd name="connsiteX1073" fmla="*/ 11517649 w 11537287"/>
                <a:gd name="connsiteY1073" fmla="*/ 1669093 h 6072782"/>
                <a:gd name="connsiteX1074" fmla="*/ 11517649 w 11537287"/>
                <a:gd name="connsiteY1074" fmla="*/ 1706468 h 6072782"/>
                <a:gd name="connsiteX1075" fmla="*/ 11472800 w 11537287"/>
                <a:gd name="connsiteY1075" fmla="*/ 1744982 h 6072782"/>
                <a:gd name="connsiteX1076" fmla="*/ 11472800 w 11537287"/>
                <a:gd name="connsiteY1076" fmla="*/ 1725471 h 6072782"/>
                <a:gd name="connsiteX1077" fmla="*/ 11488447 w 11537287"/>
                <a:gd name="connsiteY1077" fmla="*/ 1719390 h 6072782"/>
                <a:gd name="connsiteX1078" fmla="*/ 11493071 w 11537287"/>
                <a:gd name="connsiteY1078" fmla="*/ 1700133 h 6072782"/>
                <a:gd name="connsiteX1079" fmla="*/ 11493071 w 11537287"/>
                <a:gd name="connsiteY1079" fmla="*/ 1664785 h 6072782"/>
                <a:gd name="connsiteX1080" fmla="*/ 11518030 w 11537287"/>
                <a:gd name="connsiteY1080" fmla="*/ 1633492 h 6072782"/>
                <a:gd name="connsiteX1081" fmla="*/ 11518030 w 11537287"/>
                <a:gd name="connsiteY1081" fmla="*/ 1633112 h 6072782"/>
                <a:gd name="connsiteX1082" fmla="*/ 11493071 w 11537287"/>
                <a:gd name="connsiteY1082" fmla="*/ 1601565 h 6072782"/>
                <a:gd name="connsiteX1083" fmla="*/ 11493071 w 11537287"/>
                <a:gd name="connsiteY1083" fmla="*/ 1565838 h 6072782"/>
                <a:gd name="connsiteX1084" fmla="*/ 11472800 w 11537287"/>
                <a:gd name="connsiteY1084" fmla="*/ 1541640 h 6072782"/>
                <a:gd name="connsiteX1085" fmla="*/ 11455316 w 11537287"/>
                <a:gd name="connsiteY1085" fmla="*/ 1522002 h 6072782"/>
                <a:gd name="connsiteX1086" fmla="*/ 11455316 w 11537287"/>
                <a:gd name="connsiteY1086" fmla="*/ 1541640 h 6072782"/>
                <a:gd name="connsiteX1087" fmla="*/ 11435172 w 11537287"/>
                <a:gd name="connsiteY1087" fmla="*/ 1565838 h 6072782"/>
                <a:gd name="connsiteX1088" fmla="*/ 11435172 w 11537287"/>
                <a:gd name="connsiteY1088" fmla="*/ 1601565 h 6072782"/>
                <a:gd name="connsiteX1089" fmla="*/ 11409960 w 11537287"/>
                <a:gd name="connsiteY1089" fmla="*/ 1633112 h 6072782"/>
                <a:gd name="connsiteX1090" fmla="*/ 11409960 w 11537287"/>
                <a:gd name="connsiteY1090" fmla="*/ 1633492 h 6072782"/>
                <a:gd name="connsiteX1091" fmla="*/ 11435172 w 11537287"/>
                <a:gd name="connsiteY1091" fmla="*/ 1664785 h 6072782"/>
                <a:gd name="connsiteX1092" fmla="*/ 11435172 w 11537287"/>
                <a:gd name="connsiteY1092" fmla="*/ 1700133 h 6072782"/>
                <a:gd name="connsiteX1093" fmla="*/ 11439670 w 11537287"/>
                <a:gd name="connsiteY1093" fmla="*/ 1719453 h 6072782"/>
                <a:gd name="connsiteX1094" fmla="*/ 11455316 w 11537287"/>
                <a:gd name="connsiteY1094" fmla="*/ 1725471 h 6072782"/>
                <a:gd name="connsiteX1095" fmla="*/ 11455316 w 11537287"/>
                <a:gd name="connsiteY1095" fmla="*/ 1744982 h 6072782"/>
                <a:gd name="connsiteX1096" fmla="*/ 11410213 w 11537287"/>
                <a:gd name="connsiteY1096" fmla="*/ 1706468 h 6072782"/>
                <a:gd name="connsiteX1097" fmla="*/ 11410213 w 11537287"/>
                <a:gd name="connsiteY1097" fmla="*/ 1669093 h 6072782"/>
                <a:gd name="connsiteX1098" fmla="*/ 11390449 w 11537287"/>
                <a:gd name="connsiteY1098" fmla="*/ 1642740 h 6072782"/>
                <a:gd name="connsiteX1099" fmla="*/ 11390449 w 11537287"/>
                <a:gd name="connsiteY1099" fmla="*/ 1624244 h 6072782"/>
                <a:gd name="connsiteX1100" fmla="*/ 11410213 w 11537287"/>
                <a:gd name="connsiteY1100" fmla="*/ 1597384 h 6072782"/>
                <a:gd name="connsiteX1101" fmla="*/ 11410213 w 11537287"/>
                <a:gd name="connsiteY1101" fmla="*/ 1561024 h 6072782"/>
                <a:gd name="connsiteX1102" fmla="*/ 11455316 w 11537287"/>
                <a:gd name="connsiteY1102" fmla="*/ 1522002 h 6072782"/>
                <a:gd name="connsiteX1103" fmla="*/ 8115172 w 11537287"/>
                <a:gd name="connsiteY1103" fmla="*/ 1522002 h 6072782"/>
                <a:gd name="connsiteX1104" fmla="*/ 8160021 w 11537287"/>
                <a:gd name="connsiteY1104" fmla="*/ 1561024 h 6072782"/>
                <a:gd name="connsiteX1105" fmla="*/ 8160021 w 11537287"/>
                <a:gd name="connsiteY1105" fmla="*/ 1597384 h 6072782"/>
                <a:gd name="connsiteX1106" fmla="*/ 8179659 w 11537287"/>
                <a:gd name="connsiteY1106" fmla="*/ 1624244 h 6072782"/>
                <a:gd name="connsiteX1107" fmla="*/ 8179659 w 11537287"/>
                <a:gd name="connsiteY1107" fmla="*/ 1642741 h 6072782"/>
                <a:gd name="connsiteX1108" fmla="*/ 8160021 w 11537287"/>
                <a:gd name="connsiteY1108" fmla="*/ 1669093 h 6072782"/>
                <a:gd name="connsiteX1109" fmla="*/ 8160021 w 11537287"/>
                <a:gd name="connsiteY1109" fmla="*/ 1706468 h 6072782"/>
                <a:gd name="connsiteX1110" fmla="*/ 8115172 w 11537287"/>
                <a:gd name="connsiteY1110" fmla="*/ 1744982 h 6072782"/>
                <a:gd name="connsiteX1111" fmla="*/ 8115172 w 11537287"/>
                <a:gd name="connsiteY1111" fmla="*/ 1725471 h 6072782"/>
                <a:gd name="connsiteX1112" fmla="*/ 8130819 w 11537287"/>
                <a:gd name="connsiteY1112" fmla="*/ 1719390 h 6072782"/>
                <a:gd name="connsiteX1113" fmla="*/ 8135443 w 11537287"/>
                <a:gd name="connsiteY1113" fmla="*/ 1700133 h 6072782"/>
                <a:gd name="connsiteX1114" fmla="*/ 8135443 w 11537287"/>
                <a:gd name="connsiteY1114" fmla="*/ 1664786 h 6072782"/>
                <a:gd name="connsiteX1115" fmla="*/ 8160402 w 11537287"/>
                <a:gd name="connsiteY1115" fmla="*/ 1633492 h 6072782"/>
                <a:gd name="connsiteX1116" fmla="*/ 8160402 w 11537287"/>
                <a:gd name="connsiteY1116" fmla="*/ 1633112 h 6072782"/>
                <a:gd name="connsiteX1117" fmla="*/ 8135443 w 11537287"/>
                <a:gd name="connsiteY1117" fmla="*/ 1601565 h 6072782"/>
                <a:gd name="connsiteX1118" fmla="*/ 8135443 w 11537287"/>
                <a:gd name="connsiteY1118" fmla="*/ 1565838 h 6072782"/>
                <a:gd name="connsiteX1119" fmla="*/ 8115172 w 11537287"/>
                <a:gd name="connsiteY1119" fmla="*/ 1541640 h 6072782"/>
                <a:gd name="connsiteX1120" fmla="*/ 8097688 w 11537287"/>
                <a:gd name="connsiteY1120" fmla="*/ 1522002 h 6072782"/>
                <a:gd name="connsiteX1121" fmla="*/ 8097688 w 11537287"/>
                <a:gd name="connsiteY1121" fmla="*/ 1541640 h 6072782"/>
                <a:gd name="connsiteX1122" fmla="*/ 8077544 w 11537287"/>
                <a:gd name="connsiteY1122" fmla="*/ 1565838 h 6072782"/>
                <a:gd name="connsiteX1123" fmla="*/ 8077544 w 11537287"/>
                <a:gd name="connsiteY1123" fmla="*/ 1601565 h 6072782"/>
                <a:gd name="connsiteX1124" fmla="*/ 8052332 w 11537287"/>
                <a:gd name="connsiteY1124" fmla="*/ 1633112 h 6072782"/>
                <a:gd name="connsiteX1125" fmla="*/ 8052332 w 11537287"/>
                <a:gd name="connsiteY1125" fmla="*/ 1633492 h 6072782"/>
                <a:gd name="connsiteX1126" fmla="*/ 8077544 w 11537287"/>
                <a:gd name="connsiteY1126" fmla="*/ 1664786 h 6072782"/>
                <a:gd name="connsiteX1127" fmla="*/ 8077544 w 11537287"/>
                <a:gd name="connsiteY1127" fmla="*/ 1700133 h 6072782"/>
                <a:gd name="connsiteX1128" fmla="*/ 8082042 w 11537287"/>
                <a:gd name="connsiteY1128" fmla="*/ 1719453 h 6072782"/>
                <a:gd name="connsiteX1129" fmla="*/ 8097688 w 11537287"/>
                <a:gd name="connsiteY1129" fmla="*/ 1725471 h 6072782"/>
                <a:gd name="connsiteX1130" fmla="*/ 8097688 w 11537287"/>
                <a:gd name="connsiteY1130" fmla="*/ 1744982 h 6072782"/>
                <a:gd name="connsiteX1131" fmla="*/ 8052586 w 11537287"/>
                <a:gd name="connsiteY1131" fmla="*/ 1706468 h 6072782"/>
                <a:gd name="connsiteX1132" fmla="*/ 8052586 w 11537287"/>
                <a:gd name="connsiteY1132" fmla="*/ 1669093 h 6072782"/>
                <a:gd name="connsiteX1133" fmla="*/ 8032821 w 11537287"/>
                <a:gd name="connsiteY1133" fmla="*/ 1642741 h 6072782"/>
                <a:gd name="connsiteX1134" fmla="*/ 8032821 w 11537287"/>
                <a:gd name="connsiteY1134" fmla="*/ 1624244 h 6072782"/>
                <a:gd name="connsiteX1135" fmla="*/ 8052586 w 11537287"/>
                <a:gd name="connsiteY1135" fmla="*/ 1597384 h 6072782"/>
                <a:gd name="connsiteX1136" fmla="*/ 8052586 w 11537287"/>
                <a:gd name="connsiteY1136" fmla="*/ 1561024 h 6072782"/>
                <a:gd name="connsiteX1137" fmla="*/ 8097688 w 11537287"/>
                <a:gd name="connsiteY1137" fmla="*/ 1522002 h 6072782"/>
                <a:gd name="connsiteX1138" fmla="*/ 5416747 w 11537287"/>
                <a:gd name="connsiteY1138" fmla="*/ 1522002 h 6072782"/>
                <a:gd name="connsiteX1139" fmla="*/ 5461597 w 11537287"/>
                <a:gd name="connsiteY1139" fmla="*/ 1561024 h 6072782"/>
                <a:gd name="connsiteX1140" fmla="*/ 5461597 w 11537287"/>
                <a:gd name="connsiteY1140" fmla="*/ 1597384 h 6072782"/>
                <a:gd name="connsiteX1141" fmla="*/ 5481234 w 11537287"/>
                <a:gd name="connsiteY1141" fmla="*/ 1624244 h 6072782"/>
                <a:gd name="connsiteX1142" fmla="*/ 5481234 w 11537287"/>
                <a:gd name="connsiteY1142" fmla="*/ 1642740 h 6072782"/>
                <a:gd name="connsiteX1143" fmla="*/ 5461597 w 11537287"/>
                <a:gd name="connsiteY1143" fmla="*/ 1669093 h 6072782"/>
                <a:gd name="connsiteX1144" fmla="*/ 5461597 w 11537287"/>
                <a:gd name="connsiteY1144" fmla="*/ 1706468 h 6072782"/>
                <a:gd name="connsiteX1145" fmla="*/ 5416747 w 11537287"/>
                <a:gd name="connsiteY1145" fmla="*/ 1744982 h 6072782"/>
                <a:gd name="connsiteX1146" fmla="*/ 5416747 w 11537287"/>
                <a:gd name="connsiteY1146" fmla="*/ 1725471 h 6072782"/>
                <a:gd name="connsiteX1147" fmla="*/ 5432394 w 11537287"/>
                <a:gd name="connsiteY1147" fmla="*/ 1719390 h 6072782"/>
                <a:gd name="connsiteX1148" fmla="*/ 5437018 w 11537287"/>
                <a:gd name="connsiteY1148" fmla="*/ 1700133 h 6072782"/>
                <a:gd name="connsiteX1149" fmla="*/ 5437018 w 11537287"/>
                <a:gd name="connsiteY1149" fmla="*/ 1664785 h 6072782"/>
                <a:gd name="connsiteX1150" fmla="*/ 5461977 w 11537287"/>
                <a:gd name="connsiteY1150" fmla="*/ 1633492 h 6072782"/>
                <a:gd name="connsiteX1151" fmla="*/ 5461977 w 11537287"/>
                <a:gd name="connsiteY1151" fmla="*/ 1633112 h 6072782"/>
                <a:gd name="connsiteX1152" fmla="*/ 5437018 w 11537287"/>
                <a:gd name="connsiteY1152" fmla="*/ 1601565 h 6072782"/>
                <a:gd name="connsiteX1153" fmla="*/ 5437018 w 11537287"/>
                <a:gd name="connsiteY1153" fmla="*/ 1565838 h 6072782"/>
                <a:gd name="connsiteX1154" fmla="*/ 5416747 w 11537287"/>
                <a:gd name="connsiteY1154" fmla="*/ 1541640 h 6072782"/>
                <a:gd name="connsiteX1155" fmla="*/ 5399263 w 11537287"/>
                <a:gd name="connsiteY1155" fmla="*/ 1522002 h 6072782"/>
                <a:gd name="connsiteX1156" fmla="*/ 5399263 w 11537287"/>
                <a:gd name="connsiteY1156" fmla="*/ 1541640 h 6072782"/>
                <a:gd name="connsiteX1157" fmla="*/ 5379119 w 11537287"/>
                <a:gd name="connsiteY1157" fmla="*/ 1565838 h 6072782"/>
                <a:gd name="connsiteX1158" fmla="*/ 5379119 w 11537287"/>
                <a:gd name="connsiteY1158" fmla="*/ 1601565 h 6072782"/>
                <a:gd name="connsiteX1159" fmla="*/ 5353907 w 11537287"/>
                <a:gd name="connsiteY1159" fmla="*/ 1633112 h 6072782"/>
                <a:gd name="connsiteX1160" fmla="*/ 5353907 w 11537287"/>
                <a:gd name="connsiteY1160" fmla="*/ 1633492 h 6072782"/>
                <a:gd name="connsiteX1161" fmla="*/ 5379119 w 11537287"/>
                <a:gd name="connsiteY1161" fmla="*/ 1664785 h 6072782"/>
                <a:gd name="connsiteX1162" fmla="*/ 5379119 w 11537287"/>
                <a:gd name="connsiteY1162" fmla="*/ 1700133 h 6072782"/>
                <a:gd name="connsiteX1163" fmla="*/ 5383617 w 11537287"/>
                <a:gd name="connsiteY1163" fmla="*/ 1719453 h 6072782"/>
                <a:gd name="connsiteX1164" fmla="*/ 5399263 w 11537287"/>
                <a:gd name="connsiteY1164" fmla="*/ 1725471 h 6072782"/>
                <a:gd name="connsiteX1165" fmla="*/ 5399263 w 11537287"/>
                <a:gd name="connsiteY1165" fmla="*/ 1744982 h 6072782"/>
                <a:gd name="connsiteX1166" fmla="*/ 5354161 w 11537287"/>
                <a:gd name="connsiteY1166" fmla="*/ 1706468 h 6072782"/>
                <a:gd name="connsiteX1167" fmla="*/ 5354161 w 11537287"/>
                <a:gd name="connsiteY1167" fmla="*/ 1669093 h 6072782"/>
                <a:gd name="connsiteX1168" fmla="*/ 5334396 w 11537287"/>
                <a:gd name="connsiteY1168" fmla="*/ 1642740 h 6072782"/>
                <a:gd name="connsiteX1169" fmla="*/ 5334396 w 11537287"/>
                <a:gd name="connsiteY1169" fmla="*/ 1624244 h 6072782"/>
                <a:gd name="connsiteX1170" fmla="*/ 5354161 w 11537287"/>
                <a:gd name="connsiteY1170" fmla="*/ 1597384 h 6072782"/>
                <a:gd name="connsiteX1171" fmla="*/ 5354161 w 11537287"/>
                <a:gd name="connsiteY1171" fmla="*/ 1561024 h 6072782"/>
                <a:gd name="connsiteX1172" fmla="*/ 5399263 w 11537287"/>
                <a:gd name="connsiteY1172" fmla="*/ 1522002 h 6072782"/>
                <a:gd name="connsiteX1173" fmla="*/ 2059120 w 11537287"/>
                <a:gd name="connsiteY1173" fmla="*/ 1522002 h 6072782"/>
                <a:gd name="connsiteX1174" fmla="*/ 2103970 w 11537287"/>
                <a:gd name="connsiteY1174" fmla="*/ 1561024 h 6072782"/>
                <a:gd name="connsiteX1175" fmla="*/ 2103970 w 11537287"/>
                <a:gd name="connsiteY1175" fmla="*/ 1597384 h 6072782"/>
                <a:gd name="connsiteX1176" fmla="*/ 2123607 w 11537287"/>
                <a:gd name="connsiteY1176" fmla="*/ 1624244 h 6072782"/>
                <a:gd name="connsiteX1177" fmla="*/ 2123607 w 11537287"/>
                <a:gd name="connsiteY1177" fmla="*/ 1642740 h 6072782"/>
                <a:gd name="connsiteX1178" fmla="*/ 2103970 w 11537287"/>
                <a:gd name="connsiteY1178" fmla="*/ 1669093 h 6072782"/>
                <a:gd name="connsiteX1179" fmla="*/ 2103970 w 11537287"/>
                <a:gd name="connsiteY1179" fmla="*/ 1706468 h 6072782"/>
                <a:gd name="connsiteX1180" fmla="*/ 2059120 w 11537287"/>
                <a:gd name="connsiteY1180" fmla="*/ 1744982 h 6072782"/>
                <a:gd name="connsiteX1181" fmla="*/ 2059120 w 11537287"/>
                <a:gd name="connsiteY1181" fmla="*/ 1725471 h 6072782"/>
                <a:gd name="connsiteX1182" fmla="*/ 2074767 w 11537287"/>
                <a:gd name="connsiteY1182" fmla="*/ 1719390 h 6072782"/>
                <a:gd name="connsiteX1183" fmla="*/ 2079391 w 11537287"/>
                <a:gd name="connsiteY1183" fmla="*/ 1700133 h 6072782"/>
                <a:gd name="connsiteX1184" fmla="*/ 2079391 w 11537287"/>
                <a:gd name="connsiteY1184" fmla="*/ 1664785 h 6072782"/>
                <a:gd name="connsiteX1185" fmla="*/ 2104351 w 11537287"/>
                <a:gd name="connsiteY1185" fmla="*/ 1633492 h 6072782"/>
                <a:gd name="connsiteX1186" fmla="*/ 2104351 w 11537287"/>
                <a:gd name="connsiteY1186" fmla="*/ 1633112 h 6072782"/>
                <a:gd name="connsiteX1187" fmla="*/ 2079391 w 11537287"/>
                <a:gd name="connsiteY1187" fmla="*/ 1601565 h 6072782"/>
                <a:gd name="connsiteX1188" fmla="*/ 2079391 w 11537287"/>
                <a:gd name="connsiteY1188" fmla="*/ 1565838 h 6072782"/>
                <a:gd name="connsiteX1189" fmla="*/ 2059120 w 11537287"/>
                <a:gd name="connsiteY1189" fmla="*/ 1541640 h 6072782"/>
                <a:gd name="connsiteX1190" fmla="*/ 2041636 w 11537287"/>
                <a:gd name="connsiteY1190" fmla="*/ 1522002 h 6072782"/>
                <a:gd name="connsiteX1191" fmla="*/ 2041636 w 11537287"/>
                <a:gd name="connsiteY1191" fmla="*/ 1541640 h 6072782"/>
                <a:gd name="connsiteX1192" fmla="*/ 2021492 w 11537287"/>
                <a:gd name="connsiteY1192" fmla="*/ 1565838 h 6072782"/>
                <a:gd name="connsiteX1193" fmla="*/ 2021492 w 11537287"/>
                <a:gd name="connsiteY1193" fmla="*/ 1601565 h 6072782"/>
                <a:gd name="connsiteX1194" fmla="*/ 1996279 w 11537287"/>
                <a:gd name="connsiteY1194" fmla="*/ 1633112 h 6072782"/>
                <a:gd name="connsiteX1195" fmla="*/ 1996279 w 11537287"/>
                <a:gd name="connsiteY1195" fmla="*/ 1633492 h 6072782"/>
                <a:gd name="connsiteX1196" fmla="*/ 2021492 w 11537287"/>
                <a:gd name="connsiteY1196" fmla="*/ 1664785 h 6072782"/>
                <a:gd name="connsiteX1197" fmla="*/ 2021492 w 11537287"/>
                <a:gd name="connsiteY1197" fmla="*/ 1700133 h 6072782"/>
                <a:gd name="connsiteX1198" fmla="*/ 2025990 w 11537287"/>
                <a:gd name="connsiteY1198" fmla="*/ 1719453 h 6072782"/>
                <a:gd name="connsiteX1199" fmla="*/ 2041636 w 11537287"/>
                <a:gd name="connsiteY1199" fmla="*/ 1725471 h 6072782"/>
                <a:gd name="connsiteX1200" fmla="*/ 2041636 w 11537287"/>
                <a:gd name="connsiteY1200" fmla="*/ 1744982 h 6072782"/>
                <a:gd name="connsiteX1201" fmla="*/ 1996534 w 11537287"/>
                <a:gd name="connsiteY1201" fmla="*/ 1706468 h 6072782"/>
                <a:gd name="connsiteX1202" fmla="*/ 1996534 w 11537287"/>
                <a:gd name="connsiteY1202" fmla="*/ 1669093 h 6072782"/>
                <a:gd name="connsiteX1203" fmla="*/ 1976769 w 11537287"/>
                <a:gd name="connsiteY1203" fmla="*/ 1642740 h 6072782"/>
                <a:gd name="connsiteX1204" fmla="*/ 1976769 w 11537287"/>
                <a:gd name="connsiteY1204" fmla="*/ 1624244 h 6072782"/>
                <a:gd name="connsiteX1205" fmla="*/ 1996534 w 11537287"/>
                <a:gd name="connsiteY1205" fmla="*/ 1597384 h 6072782"/>
                <a:gd name="connsiteX1206" fmla="*/ 1996534 w 11537287"/>
                <a:gd name="connsiteY1206" fmla="*/ 1561024 h 6072782"/>
                <a:gd name="connsiteX1207" fmla="*/ 2041636 w 11537287"/>
                <a:gd name="connsiteY1207" fmla="*/ 1522002 h 6072782"/>
                <a:gd name="connsiteX1208" fmla="*/ 8329710 w 11537287"/>
                <a:gd name="connsiteY1208" fmla="*/ 1297433 h 6072782"/>
                <a:gd name="connsiteX1209" fmla="*/ 8319248 w 11537287"/>
                <a:gd name="connsiteY1209" fmla="*/ 1345562 h 6072782"/>
                <a:gd name="connsiteX1210" fmla="*/ 8361971 w 11537287"/>
                <a:gd name="connsiteY1210" fmla="*/ 1345562 h 6072782"/>
                <a:gd name="connsiteX1211" fmla="*/ 8372259 w 11537287"/>
                <a:gd name="connsiteY1211" fmla="*/ 1297433 h 6072782"/>
                <a:gd name="connsiteX1212" fmla="*/ 2266464 w 11537287"/>
                <a:gd name="connsiteY1212" fmla="*/ 1297433 h 6072782"/>
                <a:gd name="connsiteX1213" fmla="*/ 2256002 w 11537287"/>
                <a:gd name="connsiteY1213" fmla="*/ 1345562 h 6072782"/>
                <a:gd name="connsiteX1214" fmla="*/ 2298725 w 11537287"/>
                <a:gd name="connsiteY1214" fmla="*/ 1345562 h 6072782"/>
                <a:gd name="connsiteX1215" fmla="*/ 2309012 w 11537287"/>
                <a:gd name="connsiteY1215" fmla="*/ 1297433 h 6072782"/>
                <a:gd name="connsiteX1216" fmla="*/ 3671901 w 11537287"/>
                <a:gd name="connsiteY1216" fmla="*/ 1208699 h 6072782"/>
                <a:gd name="connsiteX1217" fmla="*/ 3716748 w 11537287"/>
                <a:gd name="connsiteY1217" fmla="*/ 1247720 h 6072782"/>
                <a:gd name="connsiteX1218" fmla="*/ 3716748 w 11537287"/>
                <a:gd name="connsiteY1218" fmla="*/ 1284081 h 6072782"/>
                <a:gd name="connsiteX1219" fmla="*/ 3736386 w 11537287"/>
                <a:gd name="connsiteY1219" fmla="*/ 1310941 h 6072782"/>
                <a:gd name="connsiteX1220" fmla="*/ 3736386 w 11537287"/>
                <a:gd name="connsiteY1220" fmla="*/ 1329437 h 6072782"/>
                <a:gd name="connsiteX1221" fmla="*/ 3716748 w 11537287"/>
                <a:gd name="connsiteY1221" fmla="*/ 1355790 h 6072782"/>
                <a:gd name="connsiteX1222" fmla="*/ 3716748 w 11537287"/>
                <a:gd name="connsiteY1222" fmla="*/ 1393165 h 6072782"/>
                <a:gd name="connsiteX1223" fmla="*/ 3671901 w 11537287"/>
                <a:gd name="connsiteY1223" fmla="*/ 1431679 h 6072782"/>
                <a:gd name="connsiteX1224" fmla="*/ 3671901 w 11537287"/>
                <a:gd name="connsiteY1224" fmla="*/ 1412168 h 6072782"/>
                <a:gd name="connsiteX1225" fmla="*/ 3687546 w 11537287"/>
                <a:gd name="connsiteY1225" fmla="*/ 1406087 h 6072782"/>
                <a:gd name="connsiteX1226" fmla="*/ 3692171 w 11537287"/>
                <a:gd name="connsiteY1226" fmla="*/ 1386830 h 6072782"/>
                <a:gd name="connsiteX1227" fmla="*/ 3692171 w 11537287"/>
                <a:gd name="connsiteY1227" fmla="*/ 1351482 h 6072782"/>
                <a:gd name="connsiteX1228" fmla="*/ 3717130 w 11537287"/>
                <a:gd name="connsiteY1228" fmla="*/ 1320189 h 6072782"/>
                <a:gd name="connsiteX1229" fmla="*/ 3717130 w 11537287"/>
                <a:gd name="connsiteY1229" fmla="*/ 1319809 h 6072782"/>
                <a:gd name="connsiteX1230" fmla="*/ 3692171 w 11537287"/>
                <a:gd name="connsiteY1230" fmla="*/ 1288262 h 6072782"/>
                <a:gd name="connsiteX1231" fmla="*/ 3692171 w 11537287"/>
                <a:gd name="connsiteY1231" fmla="*/ 1252535 h 6072782"/>
                <a:gd name="connsiteX1232" fmla="*/ 3671901 w 11537287"/>
                <a:gd name="connsiteY1232" fmla="*/ 1228337 h 6072782"/>
                <a:gd name="connsiteX1233" fmla="*/ 3654416 w 11537287"/>
                <a:gd name="connsiteY1233" fmla="*/ 1208699 h 6072782"/>
                <a:gd name="connsiteX1234" fmla="*/ 3654416 w 11537287"/>
                <a:gd name="connsiteY1234" fmla="*/ 1228337 h 6072782"/>
                <a:gd name="connsiteX1235" fmla="*/ 3634271 w 11537287"/>
                <a:gd name="connsiteY1235" fmla="*/ 1252535 h 6072782"/>
                <a:gd name="connsiteX1236" fmla="*/ 3634271 w 11537287"/>
                <a:gd name="connsiteY1236" fmla="*/ 1288262 h 6072782"/>
                <a:gd name="connsiteX1237" fmla="*/ 3609059 w 11537287"/>
                <a:gd name="connsiteY1237" fmla="*/ 1319809 h 6072782"/>
                <a:gd name="connsiteX1238" fmla="*/ 3609059 w 11537287"/>
                <a:gd name="connsiteY1238" fmla="*/ 1320189 h 6072782"/>
                <a:gd name="connsiteX1239" fmla="*/ 3634271 w 11537287"/>
                <a:gd name="connsiteY1239" fmla="*/ 1351482 h 6072782"/>
                <a:gd name="connsiteX1240" fmla="*/ 3634271 w 11537287"/>
                <a:gd name="connsiteY1240" fmla="*/ 1386830 h 6072782"/>
                <a:gd name="connsiteX1241" fmla="*/ 3638770 w 11537287"/>
                <a:gd name="connsiteY1241" fmla="*/ 1406150 h 6072782"/>
                <a:gd name="connsiteX1242" fmla="*/ 3654416 w 11537287"/>
                <a:gd name="connsiteY1242" fmla="*/ 1412168 h 6072782"/>
                <a:gd name="connsiteX1243" fmla="*/ 3654416 w 11537287"/>
                <a:gd name="connsiteY1243" fmla="*/ 1431679 h 6072782"/>
                <a:gd name="connsiteX1244" fmla="*/ 3609313 w 11537287"/>
                <a:gd name="connsiteY1244" fmla="*/ 1393165 h 6072782"/>
                <a:gd name="connsiteX1245" fmla="*/ 3609313 w 11537287"/>
                <a:gd name="connsiteY1245" fmla="*/ 1355790 h 6072782"/>
                <a:gd name="connsiteX1246" fmla="*/ 3589548 w 11537287"/>
                <a:gd name="connsiteY1246" fmla="*/ 1329437 h 6072782"/>
                <a:gd name="connsiteX1247" fmla="*/ 3589548 w 11537287"/>
                <a:gd name="connsiteY1247" fmla="*/ 1310941 h 6072782"/>
                <a:gd name="connsiteX1248" fmla="*/ 3609313 w 11537287"/>
                <a:gd name="connsiteY1248" fmla="*/ 1284081 h 6072782"/>
                <a:gd name="connsiteX1249" fmla="*/ 3609313 w 11537287"/>
                <a:gd name="connsiteY1249" fmla="*/ 1247720 h 6072782"/>
                <a:gd name="connsiteX1250" fmla="*/ 3654416 w 11537287"/>
                <a:gd name="connsiteY1250" fmla="*/ 1208699 h 6072782"/>
                <a:gd name="connsiteX1251" fmla="*/ 8320643 w 11537287"/>
                <a:gd name="connsiteY1251" fmla="*/ 1205882 h 6072782"/>
                <a:gd name="connsiteX1252" fmla="*/ 8348718 w 11537287"/>
                <a:gd name="connsiteY1252" fmla="*/ 1205882 h 6072782"/>
                <a:gd name="connsiteX1253" fmla="*/ 8334942 w 11537287"/>
                <a:gd name="connsiteY1253" fmla="*/ 1273019 h 6072782"/>
                <a:gd name="connsiteX1254" fmla="*/ 8377142 w 11537287"/>
                <a:gd name="connsiteY1254" fmla="*/ 1273019 h 6072782"/>
                <a:gd name="connsiteX1255" fmla="*/ 8391441 w 11537287"/>
                <a:gd name="connsiteY1255" fmla="*/ 1205882 h 6072782"/>
                <a:gd name="connsiteX1256" fmla="*/ 8418994 w 11537287"/>
                <a:gd name="connsiteY1256" fmla="*/ 1205882 h 6072782"/>
                <a:gd name="connsiteX1257" fmla="*/ 8405043 w 11537287"/>
                <a:gd name="connsiteY1257" fmla="*/ 1273019 h 6072782"/>
                <a:gd name="connsiteX1258" fmla="*/ 8444802 w 11537287"/>
                <a:gd name="connsiteY1258" fmla="*/ 1273019 h 6072782"/>
                <a:gd name="connsiteX1259" fmla="*/ 8439396 w 11537287"/>
                <a:gd name="connsiteY1259" fmla="*/ 1297433 h 6072782"/>
                <a:gd name="connsiteX1260" fmla="*/ 8399812 w 11537287"/>
                <a:gd name="connsiteY1260" fmla="*/ 1297433 h 6072782"/>
                <a:gd name="connsiteX1261" fmla="*/ 8389698 w 11537287"/>
                <a:gd name="connsiteY1261" fmla="*/ 1345562 h 6072782"/>
                <a:gd name="connsiteX1262" fmla="*/ 8432944 w 11537287"/>
                <a:gd name="connsiteY1262" fmla="*/ 1345562 h 6072782"/>
                <a:gd name="connsiteX1263" fmla="*/ 8426840 w 11537287"/>
                <a:gd name="connsiteY1263" fmla="*/ 1369975 h 6072782"/>
                <a:gd name="connsiteX1264" fmla="*/ 8384641 w 11537287"/>
                <a:gd name="connsiteY1264" fmla="*/ 1369975 h 6072782"/>
                <a:gd name="connsiteX1265" fmla="*/ 8370341 w 11537287"/>
                <a:gd name="connsiteY1265" fmla="*/ 1434496 h 6072782"/>
                <a:gd name="connsiteX1266" fmla="*/ 8342614 w 11537287"/>
                <a:gd name="connsiteY1266" fmla="*/ 1434496 h 6072782"/>
                <a:gd name="connsiteX1267" fmla="*/ 8356565 w 11537287"/>
                <a:gd name="connsiteY1267" fmla="*/ 1369975 h 6072782"/>
                <a:gd name="connsiteX1268" fmla="*/ 8314365 w 11537287"/>
                <a:gd name="connsiteY1268" fmla="*/ 1369975 h 6072782"/>
                <a:gd name="connsiteX1269" fmla="*/ 8300763 w 11537287"/>
                <a:gd name="connsiteY1269" fmla="*/ 1434496 h 6072782"/>
                <a:gd name="connsiteX1270" fmla="*/ 8273037 w 11537287"/>
                <a:gd name="connsiteY1270" fmla="*/ 1434496 h 6072782"/>
                <a:gd name="connsiteX1271" fmla="*/ 8286638 w 11537287"/>
                <a:gd name="connsiteY1271" fmla="*/ 1369975 h 6072782"/>
                <a:gd name="connsiteX1272" fmla="*/ 8246705 w 11537287"/>
                <a:gd name="connsiteY1272" fmla="*/ 1369975 h 6072782"/>
                <a:gd name="connsiteX1273" fmla="*/ 8251587 w 11537287"/>
                <a:gd name="connsiteY1273" fmla="*/ 1345562 h 6072782"/>
                <a:gd name="connsiteX1274" fmla="*/ 8292044 w 11537287"/>
                <a:gd name="connsiteY1274" fmla="*/ 1345562 h 6072782"/>
                <a:gd name="connsiteX1275" fmla="*/ 8301635 w 11537287"/>
                <a:gd name="connsiteY1275" fmla="*/ 1297433 h 6072782"/>
                <a:gd name="connsiteX1276" fmla="*/ 8259086 w 11537287"/>
                <a:gd name="connsiteY1276" fmla="*/ 1297433 h 6072782"/>
                <a:gd name="connsiteX1277" fmla="*/ 8264143 w 11537287"/>
                <a:gd name="connsiteY1277" fmla="*/ 1273019 h 6072782"/>
                <a:gd name="connsiteX1278" fmla="*/ 8306692 w 11537287"/>
                <a:gd name="connsiteY1278" fmla="*/ 1273019 h 6072782"/>
                <a:gd name="connsiteX1279" fmla="*/ 2257398 w 11537287"/>
                <a:gd name="connsiteY1279" fmla="*/ 1205882 h 6072782"/>
                <a:gd name="connsiteX1280" fmla="*/ 2285472 w 11537287"/>
                <a:gd name="connsiteY1280" fmla="*/ 1205882 h 6072782"/>
                <a:gd name="connsiteX1281" fmla="*/ 2271696 w 11537287"/>
                <a:gd name="connsiteY1281" fmla="*/ 1273019 h 6072782"/>
                <a:gd name="connsiteX1282" fmla="*/ 2313896 w 11537287"/>
                <a:gd name="connsiteY1282" fmla="*/ 1273019 h 6072782"/>
                <a:gd name="connsiteX1283" fmla="*/ 2328196 w 11537287"/>
                <a:gd name="connsiteY1283" fmla="*/ 1205882 h 6072782"/>
                <a:gd name="connsiteX1284" fmla="*/ 2355748 w 11537287"/>
                <a:gd name="connsiteY1284" fmla="*/ 1205882 h 6072782"/>
                <a:gd name="connsiteX1285" fmla="*/ 2341797 w 11537287"/>
                <a:gd name="connsiteY1285" fmla="*/ 1273019 h 6072782"/>
                <a:gd name="connsiteX1286" fmla="*/ 2381556 w 11537287"/>
                <a:gd name="connsiteY1286" fmla="*/ 1273019 h 6072782"/>
                <a:gd name="connsiteX1287" fmla="*/ 2376151 w 11537287"/>
                <a:gd name="connsiteY1287" fmla="*/ 1297433 h 6072782"/>
                <a:gd name="connsiteX1288" fmla="*/ 2336566 w 11537287"/>
                <a:gd name="connsiteY1288" fmla="*/ 1297433 h 6072782"/>
                <a:gd name="connsiteX1289" fmla="*/ 2326453 w 11537287"/>
                <a:gd name="connsiteY1289" fmla="*/ 1345562 h 6072782"/>
                <a:gd name="connsiteX1290" fmla="*/ 2369698 w 11537287"/>
                <a:gd name="connsiteY1290" fmla="*/ 1345562 h 6072782"/>
                <a:gd name="connsiteX1291" fmla="*/ 2363595 w 11537287"/>
                <a:gd name="connsiteY1291" fmla="*/ 1369975 h 6072782"/>
                <a:gd name="connsiteX1292" fmla="*/ 2321395 w 11537287"/>
                <a:gd name="connsiteY1292" fmla="*/ 1369975 h 6072782"/>
                <a:gd name="connsiteX1293" fmla="*/ 2307095 w 11537287"/>
                <a:gd name="connsiteY1293" fmla="*/ 1434496 h 6072782"/>
                <a:gd name="connsiteX1294" fmla="*/ 2279369 w 11537287"/>
                <a:gd name="connsiteY1294" fmla="*/ 1434496 h 6072782"/>
                <a:gd name="connsiteX1295" fmla="*/ 2293320 w 11537287"/>
                <a:gd name="connsiteY1295" fmla="*/ 1369975 h 6072782"/>
                <a:gd name="connsiteX1296" fmla="*/ 2251119 w 11537287"/>
                <a:gd name="connsiteY1296" fmla="*/ 1369975 h 6072782"/>
                <a:gd name="connsiteX1297" fmla="*/ 2237517 w 11537287"/>
                <a:gd name="connsiteY1297" fmla="*/ 1434496 h 6072782"/>
                <a:gd name="connsiteX1298" fmla="*/ 2209792 w 11537287"/>
                <a:gd name="connsiteY1298" fmla="*/ 1434496 h 6072782"/>
                <a:gd name="connsiteX1299" fmla="*/ 2223393 w 11537287"/>
                <a:gd name="connsiteY1299" fmla="*/ 1369975 h 6072782"/>
                <a:gd name="connsiteX1300" fmla="*/ 2183459 w 11537287"/>
                <a:gd name="connsiteY1300" fmla="*/ 1369975 h 6072782"/>
                <a:gd name="connsiteX1301" fmla="*/ 2188342 w 11537287"/>
                <a:gd name="connsiteY1301" fmla="*/ 1345562 h 6072782"/>
                <a:gd name="connsiteX1302" fmla="*/ 2228798 w 11537287"/>
                <a:gd name="connsiteY1302" fmla="*/ 1345562 h 6072782"/>
                <a:gd name="connsiteX1303" fmla="*/ 2238389 w 11537287"/>
                <a:gd name="connsiteY1303" fmla="*/ 1297433 h 6072782"/>
                <a:gd name="connsiteX1304" fmla="*/ 2195840 w 11537287"/>
                <a:gd name="connsiteY1304" fmla="*/ 1297433 h 6072782"/>
                <a:gd name="connsiteX1305" fmla="*/ 2200897 w 11537287"/>
                <a:gd name="connsiteY1305" fmla="*/ 1273019 h 6072782"/>
                <a:gd name="connsiteX1306" fmla="*/ 2243446 w 11537287"/>
                <a:gd name="connsiteY1306" fmla="*/ 1273019 h 6072782"/>
                <a:gd name="connsiteX1307" fmla="*/ 10889585 w 11537287"/>
                <a:gd name="connsiteY1307" fmla="*/ 911255 h 6072782"/>
                <a:gd name="connsiteX1308" fmla="*/ 10944271 w 11537287"/>
                <a:gd name="connsiteY1308" fmla="*/ 950276 h 6072782"/>
                <a:gd name="connsiteX1309" fmla="*/ 10944271 w 11537287"/>
                <a:gd name="connsiteY1309" fmla="*/ 986637 h 6072782"/>
                <a:gd name="connsiteX1310" fmla="*/ 10968215 w 11537287"/>
                <a:gd name="connsiteY1310" fmla="*/ 1013497 h 6072782"/>
                <a:gd name="connsiteX1311" fmla="*/ 10968215 w 11537287"/>
                <a:gd name="connsiteY1311" fmla="*/ 1031993 h 6072782"/>
                <a:gd name="connsiteX1312" fmla="*/ 10944271 w 11537287"/>
                <a:gd name="connsiteY1312" fmla="*/ 1058346 h 6072782"/>
                <a:gd name="connsiteX1313" fmla="*/ 10944271 w 11537287"/>
                <a:gd name="connsiteY1313" fmla="*/ 1095721 h 6072782"/>
                <a:gd name="connsiteX1314" fmla="*/ 10889585 w 11537287"/>
                <a:gd name="connsiteY1314" fmla="*/ 1134235 h 6072782"/>
                <a:gd name="connsiteX1315" fmla="*/ 10889585 w 11537287"/>
                <a:gd name="connsiteY1315" fmla="*/ 1114724 h 6072782"/>
                <a:gd name="connsiteX1316" fmla="*/ 10908663 w 11537287"/>
                <a:gd name="connsiteY1316" fmla="*/ 1108643 h 6072782"/>
                <a:gd name="connsiteX1317" fmla="*/ 10914302 w 11537287"/>
                <a:gd name="connsiteY1317" fmla="*/ 1089386 h 6072782"/>
                <a:gd name="connsiteX1318" fmla="*/ 10914302 w 11537287"/>
                <a:gd name="connsiteY1318" fmla="*/ 1054038 h 6072782"/>
                <a:gd name="connsiteX1319" fmla="*/ 10944734 w 11537287"/>
                <a:gd name="connsiteY1319" fmla="*/ 1022745 h 6072782"/>
                <a:gd name="connsiteX1320" fmla="*/ 10944734 w 11537287"/>
                <a:gd name="connsiteY1320" fmla="*/ 1022365 h 6072782"/>
                <a:gd name="connsiteX1321" fmla="*/ 10914302 w 11537287"/>
                <a:gd name="connsiteY1321" fmla="*/ 990818 h 6072782"/>
                <a:gd name="connsiteX1322" fmla="*/ 10914302 w 11537287"/>
                <a:gd name="connsiteY1322" fmla="*/ 955091 h 6072782"/>
                <a:gd name="connsiteX1323" fmla="*/ 10889585 w 11537287"/>
                <a:gd name="connsiteY1323" fmla="*/ 930893 h 6072782"/>
                <a:gd name="connsiteX1324" fmla="*/ 10868266 w 11537287"/>
                <a:gd name="connsiteY1324" fmla="*/ 911255 h 6072782"/>
                <a:gd name="connsiteX1325" fmla="*/ 10868266 w 11537287"/>
                <a:gd name="connsiteY1325" fmla="*/ 930893 h 6072782"/>
                <a:gd name="connsiteX1326" fmla="*/ 10843704 w 11537287"/>
                <a:gd name="connsiteY1326" fmla="*/ 955091 h 6072782"/>
                <a:gd name="connsiteX1327" fmla="*/ 10843704 w 11537287"/>
                <a:gd name="connsiteY1327" fmla="*/ 990818 h 6072782"/>
                <a:gd name="connsiteX1328" fmla="*/ 10812963 w 11537287"/>
                <a:gd name="connsiteY1328" fmla="*/ 1022365 h 6072782"/>
                <a:gd name="connsiteX1329" fmla="*/ 10812963 w 11537287"/>
                <a:gd name="connsiteY1329" fmla="*/ 1022745 h 6072782"/>
                <a:gd name="connsiteX1330" fmla="*/ 10843704 w 11537287"/>
                <a:gd name="connsiteY1330" fmla="*/ 1054038 h 6072782"/>
                <a:gd name="connsiteX1331" fmla="*/ 10843704 w 11537287"/>
                <a:gd name="connsiteY1331" fmla="*/ 1089386 h 6072782"/>
                <a:gd name="connsiteX1332" fmla="*/ 10849188 w 11537287"/>
                <a:gd name="connsiteY1332" fmla="*/ 1108706 h 6072782"/>
                <a:gd name="connsiteX1333" fmla="*/ 10868266 w 11537287"/>
                <a:gd name="connsiteY1333" fmla="*/ 1114724 h 6072782"/>
                <a:gd name="connsiteX1334" fmla="*/ 10868266 w 11537287"/>
                <a:gd name="connsiteY1334" fmla="*/ 1134235 h 6072782"/>
                <a:gd name="connsiteX1335" fmla="*/ 10813272 w 11537287"/>
                <a:gd name="connsiteY1335" fmla="*/ 1095721 h 6072782"/>
                <a:gd name="connsiteX1336" fmla="*/ 10813272 w 11537287"/>
                <a:gd name="connsiteY1336" fmla="*/ 1058346 h 6072782"/>
                <a:gd name="connsiteX1337" fmla="*/ 10789173 w 11537287"/>
                <a:gd name="connsiteY1337" fmla="*/ 1031993 h 6072782"/>
                <a:gd name="connsiteX1338" fmla="*/ 10789173 w 11537287"/>
                <a:gd name="connsiteY1338" fmla="*/ 1013497 h 6072782"/>
                <a:gd name="connsiteX1339" fmla="*/ 10813272 w 11537287"/>
                <a:gd name="connsiteY1339" fmla="*/ 986637 h 6072782"/>
                <a:gd name="connsiteX1340" fmla="*/ 10813272 w 11537287"/>
                <a:gd name="connsiteY1340" fmla="*/ 950276 h 6072782"/>
                <a:gd name="connsiteX1341" fmla="*/ 10868266 w 11537287"/>
                <a:gd name="connsiteY1341" fmla="*/ 911255 h 6072782"/>
                <a:gd name="connsiteX1342" fmla="*/ 8383679 w 11537287"/>
                <a:gd name="connsiteY1342" fmla="*/ 911255 h 6072782"/>
                <a:gd name="connsiteX1343" fmla="*/ 8438365 w 11537287"/>
                <a:gd name="connsiteY1343" fmla="*/ 950276 h 6072782"/>
                <a:gd name="connsiteX1344" fmla="*/ 8438365 w 11537287"/>
                <a:gd name="connsiteY1344" fmla="*/ 986637 h 6072782"/>
                <a:gd name="connsiteX1345" fmla="*/ 8462309 w 11537287"/>
                <a:gd name="connsiteY1345" fmla="*/ 1013497 h 6072782"/>
                <a:gd name="connsiteX1346" fmla="*/ 8462309 w 11537287"/>
                <a:gd name="connsiteY1346" fmla="*/ 1031993 h 6072782"/>
                <a:gd name="connsiteX1347" fmla="*/ 8438365 w 11537287"/>
                <a:gd name="connsiteY1347" fmla="*/ 1058346 h 6072782"/>
                <a:gd name="connsiteX1348" fmla="*/ 8438365 w 11537287"/>
                <a:gd name="connsiteY1348" fmla="*/ 1095721 h 6072782"/>
                <a:gd name="connsiteX1349" fmla="*/ 8383679 w 11537287"/>
                <a:gd name="connsiteY1349" fmla="*/ 1134235 h 6072782"/>
                <a:gd name="connsiteX1350" fmla="*/ 8383679 w 11537287"/>
                <a:gd name="connsiteY1350" fmla="*/ 1114724 h 6072782"/>
                <a:gd name="connsiteX1351" fmla="*/ 8402757 w 11537287"/>
                <a:gd name="connsiteY1351" fmla="*/ 1108643 h 6072782"/>
                <a:gd name="connsiteX1352" fmla="*/ 8408396 w 11537287"/>
                <a:gd name="connsiteY1352" fmla="*/ 1089386 h 6072782"/>
                <a:gd name="connsiteX1353" fmla="*/ 8408396 w 11537287"/>
                <a:gd name="connsiteY1353" fmla="*/ 1054038 h 6072782"/>
                <a:gd name="connsiteX1354" fmla="*/ 8438828 w 11537287"/>
                <a:gd name="connsiteY1354" fmla="*/ 1022745 h 6072782"/>
                <a:gd name="connsiteX1355" fmla="*/ 8438828 w 11537287"/>
                <a:gd name="connsiteY1355" fmla="*/ 1022365 h 6072782"/>
                <a:gd name="connsiteX1356" fmla="*/ 8408396 w 11537287"/>
                <a:gd name="connsiteY1356" fmla="*/ 990818 h 6072782"/>
                <a:gd name="connsiteX1357" fmla="*/ 8408396 w 11537287"/>
                <a:gd name="connsiteY1357" fmla="*/ 955091 h 6072782"/>
                <a:gd name="connsiteX1358" fmla="*/ 8383679 w 11537287"/>
                <a:gd name="connsiteY1358" fmla="*/ 930893 h 6072782"/>
                <a:gd name="connsiteX1359" fmla="*/ 8362360 w 11537287"/>
                <a:gd name="connsiteY1359" fmla="*/ 911255 h 6072782"/>
                <a:gd name="connsiteX1360" fmla="*/ 8362360 w 11537287"/>
                <a:gd name="connsiteY1360" fmla="*/ 930893 h 6072782"/>
                <a:gd name="connsiteX1361" fmla="*/ 8337798 w 11537287"/>
                <a:gd name="connsiteY1361" fmla="*/ 955091 h 6072782"/>
                <a:gd name="connsiteX1362" fmla="*/ 8337798 w 11537287"/>
                <a:gd name="connsiteY1362" fmla="*/ 990818 h 6072782"/>
                <a:gd name="connsiteX1363" fmla="*/ 8307057 w 11537287"/>
                <a:gd name="connsiteY1363" fmla="*/ 1022365 h 6072782"/>
                <a:gd name="connsiteX1364" fmla="*/ 8307057 w 11537287"/>
                <a:gd name="connsiteY1364" fmla="*/ 1022745 h 6072782"/>
                <a:gd name="connsiteX1365" fmla="*/ 8337798 w 11537287"/>
                <a:gd name="connsiteY1365" fmla="*/ 1054038 h 6072782"/>
                <a:gd name="connsiteX1366" fmla="*/ 8337798 w 11537287"/>
                <a:gd name="connsiteY1366" fmla="*/ 1089386 h 6072782"/>
                <a:gd name="connsiteX1367" fmla="*/ 8343282 w 11537287"/>
                <a:gd name="connsiteY1367" fmla="*/ 1108706 h 6072782"/>
                <a:gd name="connsiteX1368" fmla="*/ 8362360 w 11537287"/>
                <a:gd name="connsiteY1368" fmla="*/ 1114724 h 6072782"/>
                <a:gd name="connsiteX1369" fmla="*/ 8362360 w 11537287"/>
                <a:gd name="connsiteY1369" fmla="*/ 1134235 h 6072782"/>
                <a:gd name="connsiteX1370" fmla="*/ 8307366 w 11537287"/>
                <a:gd name="connsiteY1370" fmla="*/ 1095721 h 6072782"/>
                <a:gd name="connsiteX1371" fmla="*/ 8307366 w 11537287"/>
                <a:gd name="connsiteY1371" fmla="*/ 1058346 h 6072782"/>
                <a:gd name="connsiteX1372" fmla="*/ 8283267 w 11537287"/>
                <a:gd name="connsiteY1372" fmla="*/ 1031993 h 6072782"/>
                <a:gd name="connsiteX1373" fmla="*/ 8283267 w 11537287"/>
                <a:gd name="connsiteY1373" fmla="*/ 1013497 h 6072782"/>
                <a:gd name="connsiteX1374" fmla="*/ 8307366 w 11537287"/>
                <a:gd name="connsiteY1374" fmla="*/ 986637 h 6072782"/>
                <a:gd name="connsiteX1375" fmla="*/ 8307366 w 11537287"/>
                <a:gd name="connsiteY1375" fmla="*/ 950276 h 6072782"/>
                <a:gd name="connsiteX1376" fmla="*/ 8362360 w 11537287"/>
                <a:gd name="connsiteY1376" fmla="*/ 911255 h 6072782"/>
                <a:gd name="connsiteX1377" fmla="*/ 4833613 w 11537287"/>
                <a:gd name="connsiteY1377" fmla="*/ 911255 h 6072782"/>
                <a:gd name="connsiteX1378" fmla="*/ 4888298 w 11537287"/>
                <a:gd name="connsiteY1378" fmla="*/ 950276 h 6072782"/>
                <a:gd name="connsiteX1379" fmla="*/ 4888298 w 11537287"/>
                <a:gd name="connsiteY1379" fmla="*/ 986637 h 6072782"/>
                <a:gd name="connsiteX1380" fmla="*/ 4912243 w 11537287"/>
                <a:gd name="connsiteY1380" fmla="*/ 1013497 h 6072782"/>
                <a:gd name="connsiteX1381" fmla="*/ 4912243 w 11537287"/>
                <a:gd name="connsiteY1381" fmla="*/ 1031993 h 6072782"/>
                <a:gd name="connsiteX1382" fmla="*/ 4888298 w 11537287"/>
                <a:gd name="connsiteY1382" fmla="*/ 1058346 h 6072782"/>
                <a:gd name="connsiteX1383" fmla="*/ 4888298 w 11537287"/>
                <a:gd name="connsiteY1383" fmla="*/ 1095721 h 6072782"/>
                <a:gd name="connsiteX1384" fmla="*/ 4833613 w 11537287"/>
                <a:gd name="connsiteY1384" fmla="*/ 1134235 h 6072782"/>
                <a:gd name="connsiteX1385" fmla="*/ 4833613 w 11537287"/>
                <a:gd name="connsiteY1385" fmla="*/ 1114724 h 6072782"/>
                <a:gd name="connsiteX1386" fmla="*/ 4852691 w 11537287"/>
                <a:gd name="connsiteY1386" fmla="*/ 1108643 h 6072782"/>
                <a:gd name="connsiteX1387" fmla="*/ 4858331 w 11537287"/>
                <a:gd name="connsiteY1387" fmla="*/ 1089386 h 6072782"/>
                <a:gd name="connsiteX1388" fmla="*/ 4858331 w 11537287"/>
                <a:gd name="connsiteY1388" fmla="*/ 1054038 h 6072782"/>
                <a:gd name="connsiteX1389" fmla="*/ 4888762 w 11537287"/>
                <a:gd name="connsiteY1389" fmla="*/ 1022745 h 6072782"/>
                <a:gd name="connsiteX1390" fmla="*/ 4888762 w 11537287"/>
                <a:gd name="connsiteY1390" fmla="*/ 1022365 h 6072782"/>
                <a:gd name="connsiteX1391" fmla="*/ 4858331 w 11537287"/>
                <a:gd name="connsiteY1391" fmla="*/ 990818 h 6072782"/>
                <a:gd name="connsiteX1392" fmla="*/ 4858331 w 11537287"/>
                <a:gd name="connsiteY1392" fmla="*/ 955091 h 6072782"/>
                <a:gd name="connsiteX1393" fmla="*/ 4833613 w 11537287"/>
                <a:gd name="connsiteY1393" fmla="*/ 930893 h 6072782"/>
                <a:gd name="connsiteX1394" fmla="*/ 4812294 w 11537287"/>
                <a:gd name="connsiteY1394" fmla="*/ 911255 h 6072782"/>
                <a:gd name="connsiteX1395" fmla="*/ 4812294 w 11537287"/>
                <a:gd name="connsiteY1395" fmla="*/ 930893 h 6072782"/>
                <a:gd name="connsiteX1396" fmla="*/ 4787733 w 11537287"/>
                <a:gd name="connsiteY1396" fmla="*/ 955091 h 6072782"/>
                <a:gd name="connsiteX1397" fmla="*/ 4787733 w 11537287"/>
                <a:gd name="connsiteY1397" fmla="*/ 990818 h 6072782"/>
                <a:gd name="connsiteX1398" fmla="*/ 4756990 w 11537287"/>
                <a:gd name="connsiteY1398" fmla="*/ 1022365 h 6072782"/>
                <a:gd name="connsiteX1399" fmla="*/ 4756990 w 11537287"/>
                <a:gd name="connsiteY1399" fmla="*/ 1022745 h 6072782"/>
                <a:gd name="connsiteX1400" fmla="*/ 4787733 w 11537287"/>
                <a:gd name="connsiteY1400" fmla="*/ 1054038 h 6072782"/>
                <a:gd name="connsiteX1401" fmla="*/ 4787733 w 11537287"/>
                <a:gd name="connsiteY1401" fmla="*/ 1089386 h 6072782"/>
                <a:gd name="connsiteX1402" fmla="*/ 4793216 w 11537287"/>
                <a:gd name="connsiteY1402" fmla="*/ 1108706 h 6072782"/>
                <a:gd name="connsiteX1403" fmla="*/ 4812294 w 11537287"/>
                <a:gd name="connsiteY1403" fmla="*/ 1114724 h 6072782"/>
                <a:gd name="connsiteX1404" fmla="*/ 4812294 w 11537287"/>
                <a:gd name="connsiteY1404" fmla="*/ 1134235 h 6072782"/>
                <a:gd name="connsiteX1405" fmla="*/ 4757300 w 11537287"/>
                <a:gd name="connsiteY1405" fmla="*/ 1095721 h 6072782"/>
                <a:gd name="connsiteX1406" fmla="*/ 4757300 w 11537287"/>
                <a:gd name="connsiteY1406" fmla="*/ 1058346 h 6072782"/>
                <a:gd name="connsiteX1407" fmla="*/ 4733202 w 11537287"/>
                <a:gd name="connsiteY1407" fmla="*/ 1031993 h 6072782"/>
                <a:gd name="connsiteX1408" fmla="*/ 4733202 w 11537287"/>
                <a:gd name="connsiteY1408" fmla="*/ 1013497 h 6072782"/>
                <a:gd name="connsiteX1409" fmla="*/ 4757300 w 11537287"/>
                <a:gd name="connsiteY1409" fmla="*/ 986637 h 6072782"/>
                <a:gd name="connsiteX1410" fmla="*/ 4757300 w 11537287"/>
                <a:gd name="connsiteY1410" fmla="*/ 950276 h 6072782"/>
                <a:gd name="connsiteX1411" fmla="*/ 4812294 w 11537287"/>
                <a:gd name="connsiteY1411" fmla="*/ 911255 h 6072782"/>
                <a:gd name="connsiteX1412" fmla="*/ 2329011 w 11537287"/>
                <a:gd name="connsiteY1412" fmla="*/ 911255 h 6072782"/>
                <a:gd name="connsiteX1413" fmla="*/ 2383698 w 11537287"/>
                <a:gd name="connsiteY1413" fmla="*/ 950276 h 6072782"/>
                <a:gd name="connsiteX1414" fmla="*/ 2383698 w 11537287"/>
                <a:gd name="connsiteY1414" fmla="*/ 986637 h 6072782"/>
                <a:gd name="connsiteX1415" fmla="*/ 2407642 w 11537287"/>
                <a:gd name="connsiteY1415" fmla="*/ 1013497 h 6072782"/>
                <a:gd name="connsiteX1416" fmla="*/ 2407642 w 11537287"/>
                <a:gd name="connsiteY1416" fmla="*/ 1031993 h 6072782"/>
                <a:gd name="connsiteX1417" fmla="*/ 2383698 w 11537287"/>
                <a:gd name="connsiteY1417" fmla="*/ 1058346 h 6072782"/>
                <a:gd name="connsiteX1418" fmla="*/ 2383698 w 11537287"/>
                <a:gd name="connsiteY1418" fmla="*/ 1095721 h 6072782"/>
                <a:gd name="connsiteX1419" fmla="*/ 2329011 w 11537287"/>
                <a:gd name="connsiteY1419" fmla="*/ 1134235 h 6072782"/>
                <a:gd name="connsiteX1420" fmla="*/ 2329011 w 11537287"/>
                <a:gd name="connsiteY1420" fmla="*/ 1114724 h 6072782"/>
                <a:gd name="connsiteX1421" fmla="*/ 2348089 w 11537287"/>
                <a:gd name="connsiteY1421" fmla="*/ 1108643 h 6072782"/>
                <a:gd name="connsiteX1422" fmla="*/ 2353729 w 11537287"/>
                <a:gd name="connsiteY1422" fmla="*/ 1089386 h 6072782"/>
                <a:gd name="connsiteX1423" fmla="*/ 2353729 w 11537287"/>
                <a:gd name="connsiteY1423" fmla="*/ 1054038 h 6072782"/>
                <a:gd name="connsiteX1424" fmla="*/ 2384161 w 11537287"/>
                <a:gd name="connsiteY1424" fmla="*/ 1022745 h 6072782"/>
                <a:gd name="connsiteX1425" fmla="*/ 2384161 w 11537287"/>
                <a:gd name="connsiteY1425" fmla="*/ 1022365 h 6072782"/>
                <a:gd name="connsiteX1426" fmla="*/ 2353729 w 11537287"/>
                <a:gd name="connsiteY1426" fmla="*/ 990818 h 6072782"/>
                <a:gd name="connsiteX1427" fmla="*/ 2353729 w 11537287"/>
                <a:gd name="connsiteY1427" fmla="*/ 955091 h 6072782"/>
                <a:gd name="connsiteX1428" fmla="*/ 2329011 w 11537287"/>
                <a:gd name="connsiteY1428" fmla="*/ 930893 h 6072782"/>
                <a:gd name="connsiteX1429" fmla="*/ 2307692 w 11537287"/>
                <a:gd name="connsiteY1429" fmla="*/ 911255 h 6072782"/>
                <a:gd name="connsiteX1430" fmla="*/ 2307692 w 11537287"/>
                <a:gd name="connsiteY1430" fmla="*/ 930893 h 6072782"/>
                <a:gd name="connsiteX1431" fmla="*/ 2283130 w 11537287"/>
                <a:gd name="connsiteY1431" fmla="*/ 955091 h 6072782"/>
                <a:gd name="connsiteX1432" fmla="*/ 2283130 w 11537287"/>
                <a:gd name="connsiteY1432" fmla="*/ 990818 h 6072782"/>
                <a:gd name="connsiteX1433" fmla="*/ 2252390 w 11537287"/>
                <a:gd name="connsiteY1433" fmla="*/ 1022365 h 6072782"/>
                <a:gd name="connsiteX1434" fmla="*/ 2252390 w 11537287"/>
                <a:gd name="connsiteY1434" fmla="*/ 1022745 h 6072782"/>
                <a:gd name="connsiteX1435" fmla="*/ 2283130 w 11537287"/>
                <a:gd name="connsiteY1435" fmla="*/ 1054038 h 6072782"/>
                <a:gd name="connsiteX1436" fmla="*/ 2283130 w 11537287"/>
                <a:gd name="connsiteY1436" fmla="*/ 1089386 h 6072782"/>
                <a:gd name="connsiteX1437" fmla="*/ 2288616 w 11537287"/>
                <a:gd name="connsiteY1437" fmla="*/ 1108706 h 6072782"/>
                <a:gd name="connsiteX1438" fmla="*/ 2307692 w 11537287"/>
                <a:gd name="connsiteY1438" fmla="*/ 1114724 h 6072782"/>
                <a:gd name="connsiteX1439" fmla="*/ 2307692 w 11537287"/>
                <a:gd name="connsiteY1439" fmla="*/ 1134235 h 6072782"/>
                <a:gd name="connsiteX1440" fmla="*/ 2252699 w 11537287"/>
                <a:gd name="connsiteY1440" fmla="*/ 1095721 h 6072782"/>
                <a:gd name="connsiteX1441" fmla="*/ 2252699 w 11537287"/>
                <a:gd name="connsiteY1441" fmla="*/ 1058346 h 6072782"/>
                <a:gd name="connsiteX1442" fmla="*/ 2228599 w 11537287"/>
                <a:gd name="connsiteY1442" fmla="*/ 1031993 h 6072782"/>
                <a:gd name="connsiteX1443" fmla="*/ 2228599 w 11537287"/>
                <a:gd name="connsiteY1443" fmla="*/ 1013497 h 6072782"/>
                <a:gd name="connsiteX1444" fmla="*/ 2252699 w 11537287"/>
                <a:gd name="connsiteY1444" fmla="*/ 986637 h 6072782"/>
                <a:gd name="connsiteX1445" fmla="*/ 2252699 w 11537287"/>
                <a:gd name="connsiteY1445" fmla="*/ 950276 h 6072782"/>
                <a:gd name="connsiteX1446" fmla="*/ 2307692 w 11537287"/>
                <a:gd name="connsiteY1446" fmla="*/ 911255 h 6072782"/>
                <a:gd name="connsiteX1447" fmla="*/ 8335302 w 11537287"/>
                <a:gd name="connsiteY1447" fmla="*/ 721489 h 6072782"/>
                <a:gd name="connsiteX1448" fmla="*/ 8324840 w 11537287"/>
                <a:gd name="connsiteY1448" fmla="*/ 769618 h 6072782"/>
                <a:gd name="connsiteX1449" fmla="*/ 8367563 w 11537287"/>
                <a:gd name="connsiteY1449" fmla="*/ 769618 h 6072782"/>
                <a:gd name="connsiteX1450" fmla="*/ 8377851 w 11537287"/>
                <a:gd name="connsiteY1450" fmla="*/ 721489 h 6072782"/>
                <a:gd name="connsiteX1451" fmla="*/ 2272056 w 11537287"/>
                <a:gd name="connsiteY1451" fmla="*/ 721489 h 6072782"/>
                <a:gd name="connsiteX1452" fmla="*/ 2261594 w 11537287"/>
                <a:gd name="connsiteY1452" fmla="*/ 769618 h 6072782"/>
                <a:gd name="connsiteX1453" fmla="*/ 2304318 w 11537287"/>
                <a:gd name="connsiteY1453" fmla="*/ 769618 h 6072782"/>
                <a:gd name="connsiteX1454" fmla="*/ 2314605 w 11537287"/>
                <a:gd name="connsiteY1454" fmla="*/ 721489 h 6072782"/>
                <a:gd name="connsiteX1455" fmla="*/ 3677493 w 11537287"/>
                <a:gd name="connsiteY1455" fmla="*/ 632755 h 6072782"/>
                <a:gd name="connsiteX1456" fmla="*/ 3722342 w 11537287"/>
                <a:gd name="connsiteY1456" fmla="*/ 671776 h 6072782"/>
                <a:gd name="connsiteX1457" fmla="*/ 3722342 w 11537287"/>
                <a:gd name="connsiteY1457" fmla="*/ 708137 h 6072782"/>
                <a:gd name="connsiteX1458" fmla="*/ 3741979 w 11537287"/>
                <a:gd name="connsiteY1458" fmla="*/ 734997 h 6072782"/>
                <a:gd name="connsiteX1459" fmla="*/ 3741979 w 11537287"/>
                <a:gd name="connsiteY1459" fmla="*/ 753493 h 6072782"/>
                <a:gd name="connsiteX1460" fmla="*/ 3722342 w 11537287"/>
                <a:gd name="connsiteY1460" fmla="*/ 779846 h 6072782"/>
                <a:gd name="connsiteX1461" fmla="*/ 3722342 w 11537287"/>
                <a:gd name="connsiteY1461" fmla="*/ 817221 h 6072782"/>
                <a:gd name="connsiteX1462" fmla="*/ 3677493 w 11537287"/>
                <a:gd name="connsiteY1462" fmla="*/ 855735 h 6072782"/>
                <a:gd name="connsiteX1463" fmla="*/ 3677493 w 11537287"/>
                <a:gd name="connsiteY1463" fmla="*/ 836224 h 6072782"/>
                <a:gd name="connsiteX1464" fmla="*/ 3693139 w 11537287"/>
                <a:gd name="connsiteY1464" fmla="*/ 830143 h 6072782"/>
                <a:gd name="connsiteX1465" fmla="*/ 3697763 w 11537287"/>
                <a:gd name="connsiteY1465" fmla="*/ 810886 h 6072782"/>
                <a:gd name="connsiteX1466" fmla="*/ 3697763 w 11537287"/>
                <a:gd name="connsiteY1466" fmla="*/ 775538 h 6072782"/>
                <a:gd name="connsiteX1467" fmla="*/ 3722721 w 11537287"/>
                <a:gd name="connsiteY1467" fmla="*/ 744245 h 6072782"/>
                <a:gd name="connsiteX1468" fmla="*/ 3722721 w 11537287"/>
                <a:gd name="connsiteY1468" fmla="*/ 743865 h 6072782"/>
                <a:gd name="connsiteX1469" fmla="*/ 3697763 w 11537287"/>
                <a:gd name="connsiteY1469" fmla="*/ 712318 h 6072782"/>
                <a:gd name="connsiteX1470" fmla="*/ 3697763 w 11537287"/>
                <a:gd name="connsiteY1470" fmla="*/ 676591 h 6072782"/>
                <a:gd name="connsiteX1471" fmla="*/ 3677493 w 11537287"/>
                <a:gd name="connsiteY1471" fmla="*/ 652393 h 6072782"/>
                <a:gd name="connsiteX1472" fmla="*/ 3660007 w 11537287"/>
                <a:gd name="connsiteY1472" fmla="*/ 632755 h 6072782"/>
                <a:gd name="connsiteX1473" fmla="*/ 3660007 w 11537287"/>
                <a:gd name="connsiteY1473" fmla="*/ 652393 h 6072782"/>
                <a:gd name="connsiteX1474" fmla="*/ 3639863 w 11537287"/>
                <a:gd name="connsiteY1474" fmla="*/ 676591 h 6072782"/>
                <a:gd name="connsiteX1475" fmla="*/ 3639863 w 11537287"/>
                <a:gd name="connsiteY1475" fmla="*/ 712318 h 6072782"/>
                <a:gd name="connsiteX1476" fmla="*/ 3614652 w 11537287"/>
                <a:gd name="connsiteY1476" fmla="*/ 743865 h 6072782"/>
                <a:gd name="connsiteX1477" fmla="*/ 3614652 w 11537287"/>
                <a:gd name="connsiteY1477" fmla="*/ 744245 h 6072782"/>
                <a:gd name="connsiteX1478" fmla="*/ 3639863 w 11537287"/>
                <a:gd name="connsiteY1478" fmla="*/ 775538 h 6072782"/>
                <a:gd name="connsiteX1479" fmla="*/ 3639863 w 11537287"/>
                <a:gd name="connsiteY1479" fmla="*/ 810886 h 6072782"/>
                <a:gd name="connsiteX1480" fmla="*/ 3644361 w 11537287"/>
                <a:gd name="connsiteY1480" fmla="*/ 830206 h 6072782"/>
                <a:gd name="connsiteX1481" fmla="*/ 3660007 w 11537287"/>
                <a:gd name="connsiteY1481" fmla="*/ 836224 h 6072782"/>
                <a:gd name="connsiteX1482" fmla="*/ 3660007 w 11537287"/>
                <a:gd name="connsiteY1482" fmla="*/ 855735 h 6072782"/>
                <a:gd name="connsiteX1483" fmla="*/ 3614905 w 11537287"/>
                <a:gd name="connsiteY1483" fmla="*/ 817221 h 6072782"/>
                <a:gd name="connsiteX1484" fmla="*/ 3614905 w 11537287"/>
                <a:gd name="connsiteY1484" fmla="*/ 779846 h 6072782"/>
                <a:gd name="connsiteX1485" fmla="*/ 3595140 w 11537287"/>
                <a:gd name="connsiteY1485" fmla="*/ 753493 h 6072782"/>
                <a:gd name="connsiteX1486" fmla="*/ 3595140 w 11537287"/>
                <a:gd name="connsiteY1486" fmla="*/ 734997 h 6072782"/>
                <a:gd name="connsiteX1487" fmla="*/ 3614905 w 11537287"/>
                <a:gd name="connsiteY1487" fmla="*/ 708137 h 6072782"/>
                <a:gd name="connsiteX1488" fmla="*/ 3614905 w 11537287"/>
                <a:gd name="connsiteY1488" fmla="*/ 671776 h 6072782"/>
                <a:gd name="connsiteX1489" fmla="*/ 3660007 w 11537287"/>
                <a:gd name="connsiteY1489" fmla="*/ 632755 h 6072782"/>
                <a:gd name="connsiteX1490" fmla="*/ 8326235 w 11537287"/>
                <a:gd name="connsiteY1490" fmla="*/ 629938 h 6072782"/>
                <a:gd name="connsiteX1491" fmla="*/ 8354310 w 11537287"/>
                <a:gd name="connsiteY1491" fmla="*/ 629938 h 6072782"/>
                <a:gd name="connsiteX1492" fmla="*/ 8340534 w 11537287"/>
                <a:gd name="connsiteY1492" fmla="*/ 697075 h 6072782"/>
                <a:gd name="connsiteX1493" fmla="*/ 8382734 w 11537287"/>
                <a:gd name="connsiteY1493" fmla="*/ 697075 h 6072782"/>
                <a:gd name="connsiteX1494" fmla="*/ 8397033 w 11537287"/>
                <a:gd name="connsiteY1494" fmla="*/ 629938 h 6072782"/>
                <a:gd name="connsiteX1495" fmla="*/ 8424586 w 11537287"/>
                <a:gd name="connsiteY1495" fmla="*/ 629938 h 6072782"/>
                <a:gd name="connsiteX1496" fmla="*/ 8410635 w 11537287"/>
                <a:gd name="connsiteY1496" fmla="*/ 697075 h 6072782"/>
                <a:gd name="connsiteX1497" fmla="*/ 8450394 w 11537287"/>
                <a:gd name="connsiteY1497" fmla="*/ 697075 h 6072782"/>
                <a:gd name="connsiteX1498" fmla="*/ 8444988 w 11537287"/>
                <a:gd name="connsiteY1498" fmla="*/ 721489 h 6072782"/>
                <a:gd name="connsiteX1499" fmla="*/ 8405404 w 11537287"/>
                <a:gd name="connsiteY1499" fmla="*/ 721489 h 6072782"/>
                <a:gd name="connsiteX1500" fmla="*/ 8395290 w 11537287"/>
                <a:gd name="connsiteY1500" fmla="*/ 769618 h 6072782"/>
                <a:gd name="connsiteX1501" fmla="*/ 8438536 w 11537287"/>
                <a:gd name="connsiteY1501" fmla="*/ 769618 h 6072782"/>
                <a:gd name="connsiteX1502" fmla="*/ 8432432 w 11537287"/>
                <a:gd name="connsiteY1502" fmla="*/ 794031 h 6072782"/>
                <a:gd name="connsiteX1503" fmla="*/ 8390233 w 11537287"/>
                <a:gd name="connsiteY1503" fmla="*/ 794031 h 6072782"/>
                <a:gd name="connsiteX1504" fmla="*/ 8375933 w 11537287"/>
                <a:gd name="connsiteY1504" fmla="*/ 858552 h 6072782"/>
                <a:gd name="connsiteX1505" fmla="*/ 8348206 w 11537287"/>
                <a:gd name="connsiteY1505" fmla="*/ 858552 h 6072782"/>
                <a:gd name="connsiteX1506" fmla="*/ 8362157 w 11537287"/>
                <a:gd name="connsiteY1506" fmla="*/ 794031 h 6072782"/>
                <a:gd name="connsiteX1507" fmla="*/ 8319957 w 11537287"/>
                <a:gd name="connsiteY1507" fmla="*/ 794031 h 6072782"/>
                <a:gd name="connsiteX1508" fmla="*/ 8306355 w 11537287"/>
                <a:gd name="connsiteY1508" fmla="*/ 858552 h 6072782"/>
                <a:gd name="connsiteX1509" fmla="*/ 8278629 w 11537287"/>
                <a:gd name="connsiteY1509" fmla="*/ 858552 h 6072782"/>
                <a:gd name="connsiteX1510" fmla="*/ 8292230 w 11537287"/>
                <a:gd name="connsiteY1510" fmla="*/ 794031 h 6072782"/>
                <a:gd name="connsiteX1511" fmla="*/ 8252297 w 11537287"/>
                <a:gd name="connsiteY1511" fmla="*/ 794031 h 6072782"/>
                <a:gd name="connsiteX1512" fmla="*/ 8257179 w 11537287"/>
                <a:gd name="connsiteY1512" fmla="*/ 769618 h 6072782"/>
                <a:gd name="connsiteX1513" fmla="*/ 8297636 w 11537287"/>
                <a:gd name="connsiteY1513" fmla="*/ 769618 h 6072782"/>
                <a:gd name="connsiteX1514" fmla="*/ 8307227 w 11537287"/>
                <a:gd name="connsiteY1514" fmla="*/ 721489 h 6072782"/>
                <a:gd name="connsiteX1515" fmla="*/ 8264678 w 11537287"/>
                <a:gd name="connsiteY1515" fmla="*/ 721489 h 6072782"/>
                <a:gd name="connsiteX1516" fmla="*/ 8269735 w 11537287"/>
                <a:gd name="connsiteY1516" fmla="*/ 697075 h 6072782"/>
                <a:gd name="connsiteX1517" fmla="*/ 8312284 w 11537287"/>
                <a:gd name="connsiteY1517" fmla="*/ 697075 h 6072782"/>
                <a:gd name="connsiteX1518" fmla="*/ 2262989 w 11537287"/>
                <a:gd name="connsiteY1518" fmla="*/ 629938 h 6072782"/>
                <a:gd name="connsiteX1519" fmla="*/ 2291064 w 11537287"/>
                <a:gd name="connsiteY1519" fmla="*/ 629938 h 6072782"/>
                <a:gd name="connsiteX1520" fmla="*/ 2277288 w 11537287"/>
                <a:gd name="connsiteY1520" fmla="*/ 697075 h 6072782"/>
                <a:gd name="connsiteX1521" fmla="*/ 2319489 w 11537287"/>
                <a:gd name="connsiteY1521" fmla="*/ 697075 h 6072782"/>
                <a:gd name="connsiteX1522" fmla="*/ 2333787 w 11537287"/>
                <a:gd name="connsiteY1522" fmla="*/ 629938 h 6072782"/>
                <a:gd name="connsiteX1523" fmla="*/ 2361341 w 11537287"/>
                <a:gd name="connsiteY1523" fmla="*/ 629938 h 6072782"/>
                <a:gd name="connsiteX1524" fmla="*/ 2347389 w 11537287"/>
                <a:gd name="connsiteY1524" fmla="*/ 697075 h 6072782"/>
                <a:gd name="connsiteX1525" fmla="*/ 2387149 w 11537287"/>
                <a:gd name="connsiteY1525" fmla="*/ 697075 h 6072782"/>
                <a:gd name="connsiteX1526" fmla="*/ 2381743 w 11537287"/>
                <a:gd name="connsiteY1526" fmla="*/ 721489 h 6072782"/>
                <a:gd name="connsiteX1527" fmla="*/ 2342158 w 11537287"/>
                <a:gd name="connsiteY1527" fmla="*/ 721489 h 6072782"/>
                <a:gd name="connsiteX1528" fmla="*/ 2332044 w 11537287"/>
                <a:gd name="connsiteY1528" fmla="*/ 769618 h 6072782"/>
                <a:gd name="connsiteX1529" fmla="*/ 2375291 w 11537287"/>
                <a:gd name="connsiteY1529" fmla="*/ 769618 h 6072782"/>
                <a:gd name="connsiteX1530" fmla="*/ 2369187 w 11537287"/>
                <a:gd name="connsiteY1530" fmla="*/ 794031 h 6072782"/>
                <a:gd name="connsiteX1531" fmla="*/ 2326987 w 11537287"/>
                <a:gd name="connsiteY1531" fmla="*/ 794031 h 6072782"/>
                <a:gd name="connsiteX1532" fmla="*/ 2312687 w 11537287"/>
                <a:gd name="connsiteY1532" fmla="*/ 858552 h 6072782"/>
                <a:gd name="connsiteX1533" fmla="*/ 2284959 w 11537287"/>
                <a:gd name="connsiteY1533" fmla="*/ 858552 h 6072782"/>
                <a:gd name="connsiteX1534" fmla="*/ 2298911 w 11537287"/>
                <a:gd name="connsiteY1534" fmla="*/ 794031 h 6072782"/>
                <a:gd name="connsiteX1535" fmla="*/ 2256711 w 11537287"/>
                <a:gd name="connsiteY1535" fmla="*/ 794031 h 6072782"/>
                <a:gd name="connsiteX1536" fmla="*/ 2243109 w 11537287"/>
                <a:gd name="connsiteY1536" fmla="*/ 858552 h 6072782"/>
                <a:gd name="connsiteX1537" fmla="*/ 2215384 w 11537287"/>
                <a:gd name="connsiteY1537" fmla="*/ 858552 h 6072782"/>
                <a:gd name="connsiteX1538" fmla="*/ 2228985 w 11537287"/>
                <a:gd name="connsiteY1538" fmla="*/ 794031 h 6072782"/>
                <a:gd name="connsiteX1539" fmla="*/ 2189051 w 11537287"/>
                <a:gd name="connsiteY1539" fmla="*/ 794031 h 6072782"/>
                <a:gd name="connsiteX1540" fmla="*/ 2193934 w 11537287"/>
                <a:gd name="connsiteY1540" fmla="*/ 769618 h 6072782"/>
                <a:gd name="connsiteX1541" fmla="*/ 2234391 w 11537287"/>
                <a:gd name="connsiteY1541" fmla="*/ 769618 h 6072782"/>
                <a:gd name="connsiteX1542" fmla="*/ 2243981 w 11537287"/>
                <a:gd name="connsiteY1542" fmla="*/ 721489 h 6072782"/>
                <a:gd name="connsiteX1543" fmla="*/ 2201432 w 11537287"/>
                <a:gd name="connsiteY1543" fmla="*/ 721489 h 6072782"/>
                <a:gd name="connsiteX1544" fmla="*/ 2206489 w 11537287"/>
                <a:gd name="connsiteY1544" fmla="*/ 697075 h 6072782"/>
                <a:gd name="connsiteX1545" fmla="*/ 2249038 w 11537287"/>
                <a:gd name="connsiteY1545" fmla="*/ 697075 h 6072782"/>
                <a:gd name="connsiteX1546" fmla="*/ 10896843 w 11537287"/>
                <a:gd name="connsiteY1546" fmla="*/ 324442 h 6072782"/>
                <a:gd name="connsiteX1547" fmla="*/ 10951529 w 11537287"/>
                <a:gd name="connsiteY1547" fmla="*/ 363463 h 6072782"/>
                <a:gd name="connsiteX1548" fmla="*/ 10951529 w 11537287"/>
                <a:gd name="connsiteY1548" fmla="*/ 399824 h 6072782"/>
                <a:gd name="connsiteX1549" fmla="*/ 10975473 w 11537287"/>
                <a:gd name="connsiteY1549" fmla="*/ 426684 h 6072782"/>
                <a:gd name="connsiteX1550" fmla="*/ 10975473 w 11537287"/>
                <a:gd name="connsiteY1550" fmla="*/ 445180 h 6072782"/>
                <a:gd name="connsiteX1551" fmla="*/ 10951529 w 11537287"/>
                <a:gd name="connsiteY1551" fmla="*/ 471533 h 6072782"/>
                <a:gd name="connsiteX1552" fmla="*/ 10951529 w 11537287"/>
                <a:gd name="connsiteY1552" fmla="*/ 508908 h 6072782"/>
                <a:gd name="connsiteX1553" fmla="*/ 10896843 w 11537287"/>
                <a:gd name="connsiteY1553" fmla="*/ 547422 h 6072782"/>
                <a:gd name="connsiteX1554" fmla="*/ 10896843 w 11537287"/>
                <a:gd name="connsiteY1554" fmla="*/ 527911 h 6072782"/>
                <a:gd name="connsiteX1555" fmla="*/ 10915921 w 11537287"/>
                <a:gd name="connsiteY1555" fmla="*/ 521830 h 6072782"/>
                <a:gd name="connsiteX1556" fmla="*/ 10921560 w 11537287"/>
                <a:gd name="connsiteY1556" fmla="*/ 502573 h 6072782"/>
                <a:gd name="connsiteX1557" fmla="*/ 10921560 w 11537287"/>
                <a:gd name="connsiteY1557" fmla="*/ 467225 h 6072782"/>
                <a:gd name="connsiteX1558" fmla="*/ 10951992 w 11537287"/>
                <a:gd name="connsiteY1558" fmla="*/ 435932 h 6072782"/>
                <a:gd name="connsiteX1559" fmla="*/ 10951992 w 11537287"/>
                <a:gd name="connsiteY1559" fmla="*/ 435552 h 6072782"/>
                <a:gd name="connsiteX1560" fmla="*/ 10921560 w 11537287"/>
                <a:gd name="connsiteY1560" fmla="*/ 404005 h 6072782"/>
                <a:gd name="connsiteX1561" fmla="*/ 10921560 w 11537287"/>
                <a:gd name="connsiteY1561" fmla="*/ 368278 h 6072782"/>
                <a:gd name="connsiteX1562" fmla="*/ 10896843 w 11537287"/>
                <a:gd name="connsiteY1562" fmla="*/ 344080 h 6072782"/>
                <a:gd name="connsiteX1563" fmla="*/ 10875524 w 11537287"/>
                <a:gd name="connsiteY1563" fmla="*/ 324442 h 6072782"/>
                <a:gd name="connsiteX1564" fmla="*/ 10875524 w 11537287"/>
                <a:gd name="connsiteY1564" fmla="*/ 344080 h 6072782"/>
                <a:gd name="connsiteX1565" fmla="*/ 10850962 w 11537287"/>
                <a:gd name="connsiteY1565" fmla="*/ 368278 h 6072782"/>
                <a:gd name="connsiteX1566" fmla="*/ 10850962 w 11537287"/>
                <a:gd name="connsiteY1566" fmla="*/ 404005 h 6072782"/>
                <a:gd name="connsiteX1567" fmla="*/ 10820221 w 11537287"/>
                <a:gd name="connsiteY1567" fmla="*/ 435552 h 6072782"/>
                <a:gd name="connsiteX1568" fmla="*/ 10820221 w 11537287"/>
                <a:gd name="connsiteY1568" fmla="*/ 435932 h 6072782"/>
                <a:gd name="connsiteX1569" fmla="*/ 10850962 w 11537287"/>
                <a:gd name="connsiteY1569" fmla="*/ 467225 h 6072782"/>
                <a:gd name="connsiteX1570" fmla="*/ 10850962 w 11537287"/>
                <a:gd name="connsiteY1570" fmla="*/ 502573 h 6072782"/>
                <a:gd name="connsiteX1571" fmla="*/ 10856446 w 11537287"/>
                <a:gd name="connsiteY1571" fmla="*/ 521893 h 6072782"/>
                <a:gd name="connsiteX1572" fmla="*/ 10875524 w 11537287"/>
                <a:gd name="connsiteY1572" fmla="*/ 527911 h 6072782"/>
                <a:gd name="connsiteX1573" fmla="*/ 10875524 w 11537287"/>
                <a:gd name="connsiteY1573" fmla="*/ 547422 h 6072782"/>
                <a:gd name="connsiteX1574" fmla="*/ 10820530 w 11537287"/>
                <a:gd name="connsiteY1574" fmla="*/ 508908 h 6072782"/>
                <a:gd name="connsiteX1575" fmla="*/ 10820530 w 11537287"/>
                <a:gd name="connsiteY1575" fmla="*/ 471533 h 6072782"/>
                <a:gd name="connsiteX1576" fmla="*/ 10796431 w 11537287"/>
                <a:gd name="connsiteY1576" fmla="*/ 445180 h 6072782"/>
                <a:gd name="connsiteX1577" fmla="*/ 10796431 w 11537287"/>
                <a:gd name="connsiteY1577" fmla="*/ 426684 h 6072782"/>
                <a:gd name="connsiteX1578" fmla="*/ 10820530 w 11537287"/>
                <a:gd name="connsiteY1578" fmla="*/ 399824 h 6072782"/>
                <a:gd name="connsiteX1579" fmla="*/ 10820530 w 11537287"/>
                <a:gd name="connsiteY1579" fmla="*/ 363463 h 6072782"/>
                <a:gd name="connsiteX1580" fmla="*/ 10875524 w 11537287"/>
                <a:gd name="connsiteY1580" fmla="*/ 324442 h 6072782"/>
                <a:gd name="connsiteX1581" fmla="*/ 8390937 w 11537287"/>
                <a:gd name="connsiteY1581" fmla="*/ 324442 h 6072782"/>
                <a:gd name="connsiteX1582" fmla="*/ 8445623 w 11537287"/>
                <a:gd name="connsiteY1582" fmla="*/ 363463 h 6072782"/>
                <a:gd name="connsiteX1583" fmla="*/ 8445623 w 11537287"/>
                <a:gd name="connsiteY1583" fmla="*/ 399824 h 6072782"/>
                <a:gd name="connsiteX1584" fmla="*/ 8469567 w 11537287"/>
                <a:gd name="connsiteY1584" fmla="*/ 426684 h 6072782"/>
                <a:gd name="connsiteX1585" fmla="*/ 8469567 w 11537287"/>
                <a:gd name="connsiteY1585" fmla="*/ 445180 h 6072782"/>
                <a:gd name="connsiteX1586" fmla="*/ 8445623 w 11537287"/>
                <a:gd name="connsiteY1586" fmla="*/ 471533 h 6072782"/>
                <a:gd name="connsiteX1587" fmla="*/ 8445623 w 11537287"/>
                <a:gd name="connsiteY1587" fmla="*/ 508908 h 6072782"/>
                <a:gd name="connsiteX1588" fmla="*/ 8390937 w 11537287"/>
                <a:gd name="connsiteY1588" fmla="*/ 547422 h 6072782"/>
                <a:gd name="connsiteX1589" fmla="*/ 8390937 w 11537287"/>
                <a:gd name="connsiteY1589" fmla="*/ 527911 h 6072782"/>
                <a:gd name="connsiteX1590" fmla="*/ 8410015 w 11537287"/>
                <a:gd name="connsiteY1590" fmla="*/ 521830 h 6072782"/>
                <a:gd name="connsiteX1591" fmla="*/ 8415654 w 11537287"/>
                <a:gd name="connsiteY1591" fmla="*/ 502573 h 6072782"/>
                <a:gd name="connsiteX1592" fmla="*/ 8415654 w 11537287"/>
                <a:gd name="connsiteY1592" fmla="*/ 467225 h 6072782"/>
                <a:gd name="connsiteX1593" fmla="*/ 8446086 w 11537287"/>
                <a:gd name="connsiteY1593" fmla="*/ 435932 h 6072782"/>
                <a:gd name="connsiteX1594" fmla="*/ 8446086 w 11537287"/>
                <a:gd name="connsiteY1594" fmla="*/ 435552 h 6072782"/>
                <a:gd name="connsiteX1595" fmla="*/ 8415654 w 11537287"/>
                <a:gd name="connsiteY1595" fmla="*/ 404005 h 6072782"/>
                <a:gd name="connsiteX1596" fmla="*/ 8415654 w 11537287"/>
                <a:gd name="connsiteY1596" fmla="*/ 368278 h 6072782"/>
                <a:gd name="connsiteX1597" fmla="*/ 8390937 w 11537287"/>
                <a:gd name="connsiteY1597" fmla="*/ 344080 h 6072782"/>
                <a:gd name="connsiteX1598" fmla="*/ 8369618 w 11537287"/>
                <a:gd name="connsiteY1598" fmla="*/ 324442 h 6072782"/>
                <a:gd name="connsiteX1599" fmla="*/ 8369618 w 11537287"/>
                <a:gd name="connsiteY1599" fmla="*/ 344080 h 6072782"/>
                <a:gd name="connsiteX1600" fmla="*/ 8345056 w 11537287"/>
                <a:gd name="connsiteY1600" fmla="*/ 368278 h 6072782"/>
                <a:gd name="connsiteX1601" fmla="*/ 8345056 w 11537287"/>
                <a:gd name="connsiteY1601" fmla="*/ 404005 h 6072782"/>
                <a:gd name="connsiteX1602" fmla="*/ 8314315 w 11537287"/>
                <a:gd name="connsiteY1602" fmla="*/ 435552 h 6072782"/>
                <a:gd name="connsiteX1603" fmla="*/ 8314315 w 11537287"/>
                <a:gd name="connsiteY1603" fmla="*/ 435932 h 6072782"/>
                <a:gd name="connsiteX1604" fmla="*/ 8345056 w 11537287"/>
                <a:gd name="connsiteY1604" fmla="*/ 467225 h 6072782"/>
                <a:gd name="connsiteX1605" fmla="*/ 8345056 w 11537287"/>
                <a:gd name="connsiteY1605" fmla="*/ 502573 h 6072782"/>
                <a:gd name="connsiteX1606" fmla="*/ 8350540 w 11537287"/>
                <a:gd name="connsiteY1606" fmla="*/ 521893 h 6072782"/>
                <a:gd name="connsiteX1607" fmla="*/ 8369618 w 11537287"/>
                <a:gd name="connsiteY1607" fmla="*/ 527911 h 6072782"/>
                <a:gd name="connsiteX1608" fmla="*/ 8369618 w 11537287"/>
                <a:gd name="connsiteY1608" fmla="*/ 547422 h 6072782"/>
                <a:gd name="connsiteX1609" fmla="*/ 8314624 w 11537287"/>
                <a:gd name="connsiteY1609" fmla="*/ 508908 h 6072782"/>
                <a:gd name="connsiteX1610" fmla="*/ 8314624 w 11537287"/>
                <a:gd name="connsiteY1610" fmla="*/ 471533 h 6072782"/>
                <a:gd name="connsiteX1611" fmla="*/ 8290525 w 11537287"/>
                <a:gd name="connsiteY1611" fmla="*/ 445180 h 6072782"/>
                <a:gd name="connsiteX1612" fmla="*/ 8290525 w 11537287"/>
                <a:gd name="connsiteY1612" fmla="*/ 426684 h 6072782"/>
                <a:gd name="connsiteX1613" fmla="*/ 8314624 w 11537287"/>
                <a:gd name="connsiteY1613" fmla="*/ 399824 h 6072782"/>
                <a:gd name="connsiteX1614" fmla="*/ 8314624 w 11537287"/>
                <a:gd name="connsiteY1614" fmla="*/ 363463 h 6072782"/>
                <a:gd name="connsiteX1615" fmla="*/ 8369618 w 11537287"/>
                <a:gd name="connsiteY1615" fmla="*/ 324442 h 6072782"/>
                <a:gd name="connsiteX1616" fmla="*/ 4840871 w 11537287"/>
                <a:gd name="connsiteY1616" fmla="*/ 324442 h 6072782"/>
                <a:gd name="connsiteX1617" fmla="*/ 4895556 w 11537287"/>
                <a:gd name="connsiteY1617" fmla="*/ 363463 h 6072782"/>
                <a:gd name="connsiteX1618" fmla="*/ 4895556 w 11537287"/>
                <a:gd name="connsiteY1618" fmla="*/ 399824 h 6072782"/>
                <a:gd name="connsiteX1619" fmla="*/ 4919501 w 11537287"/>
                <a:gd name="connsiteY1619" fmla="*/ 426684 h 6072782"/>
                <a:gd name="connsiteX1620" fmla="*/ 4919501 w 11537287"/>
                <a:gd name="connsiteY1620" fmla="*/ 445180 h 6072782"/>
                <a:gd name="connsiteX1621" fmla="*/ 4895556 w 11537287"/>
                <a:gd name="connsiteY1621" fmla="*/ 471533 h 6072782"/>
                <a:gd name="connsiteX1622" fmla="*/ 4895556 w 11537287"/>
                <a:gd name="connsiteY1622" fmla="*/ 508908 h 6072782"/>
                <a:gd name="connsiteX1623" fmla="*/ 4840871 w 11537287"/>
                <a:gd name="connsiteY1623" fmla="*/ 547422 h 6072782"/>
                <a:gd name="connsiteX1624" fmla="*/ 4840871 w 11537287"/>
                <a:gd name="connsiteY1624" fmla="*/ 527911 h 6072782"/>
                <a:gd name="connsiteX1625" fmla="*/ 4859949 w 11537287"/>
                <a:gd name="connsiteY1625" fmla="*/ 521830 h 6072782"/>
                <a:gd name="connsiteX1626" fmla="*/ 4865588 w 11537287"/>
                <a:gd name="connsiteY1626" fmla="*/ 502573 h 6072782"/>
                <a:gd name="connsiteX1627" fmla="*/ 4865588 w 11537287"/>
                <a:gd name="connsiteY1627" fmla="*/ 467225 h 6072782"/>
                <a:gd name="connsiteX1628" fmla="*/ 4896020 w 11537287"/>
                <a:gd name="connsiteY1628" fmla="*/ 435932 h 6072782"/>
                <a:gd name="connsiteX1629" fmla="*/ 4896020 w 11537287"/>
                <a:gd name="connsiteY1629" fmla="*/ 435552 h 6072782"/>
                <a:gd name="connsiteX1630" fmla="*/ 4865588 w 11537287"/>
                <a:gd name="connsiteY1630" fmla="*/ 404005 h 6072782"/>
                <a:gd name="connsiteX1631" fmla="*/ 4865588 w 11537287"/>
                <a:gd name="connsiteY1631" fmla="*/ 368278 h 6072782"/>
                <a:gd name="connsiteX1632" fmla="*/ 4840871 w 11537287"/>
                <a:gd name="connsiteY1632" fmla="*/ 344080 h 6072782"/>
                <a:gd name="connsiteX1633" fmla="*/ 4819552 w 11537287"/>
                <a:gd name="connsiteY1633" fmla="*/ 324442 h 6072782"/>
                <a:gd name="connsiteX1634" fmla="*/ 4819552 w 11537287"/>
                <a:gd name="connsiteY1634" fmla="*/ 344080 h 6072782"/>
                <a:gd name="connsiteX1635" fmla="*/ 4794990 w 11537287"/>
                <a:gd name="connsiteY1635" fmla="*/ 368278 h 6072782"/>
                <a:gd name="connsiteX1636" fmla="*/ 4794990 w 11537287"/>
                <a:gd name="connsiteY1636" fmla="*/ 404005 h 6072782"/>
                <a:gd name="connsiteX1637" fmla="*/ 4764248 w 11537287"/>
                <a:gd name="connsiteY1637" fmla="*/ 435552 h 6072782"/>
                <a:gd name="connsiteX1638" fmla="*/ 4764248 w 11537287"/>
                <a:gd name="connsiteY1638" fmla="*/ 435932 h 6072782"/>
                <a:gd name="connsiteX1639" fmla="*/ 4794990 w 11537287"/>
                <a:gd name="connsiteY1639" fmla="*/ 467225 h 6072782"/>
                <a:gd name="connsiteX1640" fmla="*/ 4794990 w 11537287"/>
                <a:gd name="connsiteY1640" fmla="*/ 502573 h 6072782"/>
                <a:gd name="connsiteX1641" fmla="*/ 4800474 w 11537287"/>
                <a:gd name="connsiteY1641" fmla="*/ 521893 h 6072782"/>
                <a:gd name="connsiteX1642" fmla="*/ 4819552 w 11537287"/>
                <a:gd name="connsiteY1642" fmla="*/ 527911 h 6072782"/>
                <a:gd name="connsiteX1643" fmla="*/ 4819552 w 11537287"/>
                <a:gd name="connsiteY1643" fmla="*/ 547422 h 6072782"/>
                <a:gd name="connsiteX1644" fmla="*/ 4764558 w 11537287"/>
                <a:gd name="connsiteY1644" fmla="*/ 508908 h 6072782"/>
                <a:gd name="connsiteX1645" fmla="*/ 4764558 w 11537287"/>
                <a:gd name="connsiteY1645" fmla="*/ 471533 h 6072782"/>
                <a:gd name="connsiteX1646" fmla="*/ 4740459 w 11537287"/>
                <a:gd name="connsiteY1646" fmla="*/ 445180 h 6072782"/>
                <a:gd name="connsiteX1647" fmla="*/ 4740459 w 11537287"/>
                <a:gd name="connsiteY1647" fmla="*/ 426684 h 6072782"/>
                <a:gd name="connsiteX1648" fmla="*/ 4764558 w 11537287"/>
                <a:gd name="connsiteY1648" fmla="*/ 399824 h 6072782"/>
                <a:gd name="connsiteX1649" fmla="*/ 4764558 w 11537287"/>
                <a:gd name="connsiteY1649" fmla="*/ 363463 h 6072782"/>
                <a:gd name="connsiteX1650" fmla="*/ 4819552 w 11537287"/>
                <a:gd name="connsiteY1650" fmla="*/ 324442 h 6072782"/>
                <a:gd name="connsiteX1651" fmla="*/ 2336269 w 11537287"/>
                <a:gd name="connsiteY1651" fmla="*/ 324442 h 6072782"/>
                <a:gd name="connsiteX1652" fmla="*/ 2390956 w 11537287"/>
                <a:gd name="connsiteY1652" fmla="*/ 363463 h 6072782"/>
                <a:gd name="connsiteX1653" fmla="*/ 2390956 w 11537287"/>
                <a:gd name="connsiteY1653" fmla="*/ 399824 h 6072782"/>
                <a:gd name="connsiteX1654" fmla="*/ 2414899 w 11537287"/>
                <a:gd name="connsiteY1654" fmla="*/ 426684 h 6072782"/>
                <a:gd name="connsiteX1655" fmla="*/ 2414899 w 11537287"/>
                <a:gd name="connsiteY1655" fmla="*/ 445180 h 6072782"/>
                <a:gd name="connsiteX1656" fmla="*/ 2390956 w 11537287"/>
                <a:gd name="connsiteY1656" fmla="*/ 471533 h 6072782"/>
                <a:gd name="connsiteX1657" fmla="*/ 2390956 w 11537287"/>
                <a:gd name="connsiteY1657" fmla="*/ 508908 h 6072782"/>
                <a:gd name="connsiteX1658" fmla="*/ 2336269 w 11537287"/>
                <a:gd name="connsiteY1658" fmla="*/ 547422 h 6072782"/>
                <a:gd name="connsiteX1659" fmla="*/ 2336269 w 11537287"/>
                <a:gd name="connsiteY1659" fmla="*/ 527911 h 6072782"/>
                <a:gd name="connsiteX1660" fmla="*/ 2355347 w 11537287"/>
                <a:gd name="connsiteY1660" fmla="*/ 521830 h 6072782"/>
                <a:gd name="connsiteX1661" fmla="*/ 2360986 w 11537287"/>
                <a:gd name="connsiteY1661" fmla="*/ 502573 h 6072782"/>
                <a:gd name="connsiteX1662" fmla="*/ 2360986 w 11537287"/>
                <a:gd name="connsiteY1662" fmla="*/ 467225 h 6072782"/>
                <a:gd name="connsiteX1663" fmla="*/ 2391418 w 11537287"/>
                <a:gd name="connsiteY1663" fmla="*/ 435932 h 6072782"/>
                <a:gd name="connsiteX1664" fmla="*/ 2391418 w 11537287"/>
                <a:gd name="connsiteY1664" fmla="*/ 435552 h 6072782"/>
                <a:gd name="connsiteX1665" fmla="*/ 2360986 w 11537287"/>
                <a:gd name="connsiteY1665" fmla="*/ 404005 h 6072782"/>
                <a:gd name="connsiteX1666" fmla="*/ 2360986 w 11537287"/>
                <a:gd name="connsiteY1666" fmla="*/ 368278 h 6072782"/>
                <a:gd name="connsiteX1667" fmla="*/ 2336269 w 11537287"/>
                <a:gd name="connsiteY1667" fmla="*/ 344080 h 6072782"/>
                <a:gd name="connsiteX1668" fmla="*/ 2314950 w 11537287"/>
                <a:gd name="connsiteY1668" fmla="*/ 324442 h 6072782"/>
                <a:gd name="connsiteX1669" fmla="*/ 2314950 w 11537287"/>
                <a:gd name="connsiteY1669" fmla="*/ 344080 h 6072782"/>
                <a:gd name="connsiteX1670" fmla="*/ 2290389 w 11537287"/>
                <a:gd name="connsiteY1670" fmla="*/ 368278 h 6072782"/>
                <a:gd name="connsiteX1671" fmla="*/ 2290389 w 11537287"/>
                <a:gd name="connsiteY1671" fmla="*/ 404005 h 6072782"/>
                <a:gd name="connsiteX1672" fmla="*/ 2259648 w 11537287"/>
                <a:gd name="connsiteY1672" fmla="*/ 435552 h 6072782"/>
                <a:gd name="connsiteX1673" fmla="*/ 2259648 w 11537287"/>
                <a:gd name="connsiteY1673" fmla="*/ 435932 h 6072782"/>
                <a:gd name="connsiteX1674" fmla="*/ 2290389 w 11537287"/>
                <a:gd name="connsiteY1674" fmla="*/ 467225 h 6072782"/>
                <a:gd name="connsiteX1675" fmla="*/ 2290389 w 11537287"/>
                <a:gd name="connsiteY1675" fmla="*/ 502573 h 6072782"/>
                <a:gd name="connsiteX1676" fmla="*/ 2295873 w 11537287"/>
                <a:gd name="connsiteY1676" fmla="*/ 521893 h 6072782"/>
                <a:gd name="connsiteX1677" fmla="*/ 2314950 w 11537287"/>
                <a:gd name="connsiteY1677" fmla="*/ 527911 h 6072782"/>
                <a:gd name="connsiteX1678" fmla="*/ 2314950 w 11537287"/>
                <a:gd name="connsiteY1678" fmla="*/ 547422 h 6072782"/>
                <a:gd name="connsiteX1679" fmla="*/ 2259956 w 11537287"/>
                <a:gd name="connsiteY1679" fmla="*/ 508908 h 6072782"/>
                <a:gd name="connsiteX1680" fmla="*/ 2259956 w 11537287"/>
                <a:gd name="connsiteY1680" fmla="*/ 471533 h 6072782"/>
                <a:gd name="connsiteX1681" fmla="*/ 2235857 w 11537287"/>
                <a:gd name="connsiteY1681" fmla="*/ 445180 h 6072782"/>
                <a:gd name="connsiteX1682" fmla="*/ 2235857 w 11537287"/>
                <a:gd name="connsiteY1682" fmla="*/ 426684 h 6072782"/>
                <a:gd name="connsiteX1683" fmla="*/ 2259956 w 11537287"/>
                <a:gd name="connsiteY1683" fmla="*/ 399824 h 6072782"/>
                <a:gd name="connsiteX1684" fmla="*/ 2259956 w 11537287"/>
                <a:gd name="connsiteY1684" fmla="*/ 363463 h 6072782"/>
                <a:gd name="connsiteX1685" fmla="*/ 2314950 w 11537287"/>
                <a:gd name="connsiteY1685" fmla="*/ 324442 h 6072782"/>
                <a:gd name="connsiteX1686" fmla="*/ 8852714 w 11537287"/>
                <a:gd name="connsiteY1686" fmla="*/ 0 h 6072782"/>
                <a:gd name="connsiteX1687" fmla="*/ 8907400 w 11537287"/>
                <a:gd name="connsiteY1687" fmla="*/ 39021 h 6072782"/>
                <a:gd name="connsiteX1688" fmla="*/ 8907400 w 11537287"/>
                <a:gd name="connsiteY1688" fmla="*/ 75382 h 6072782"/>
                <a:gd name="connsiteX1689" fmla="*/ 8931344 w 11537287"/>
                <a:gd name="connsiteY1689" fmla="*/ 102242 h 6072782"/>
                <a:gd name="connsiteX1690" fmla="*/ 8931344 w 11537287"/>
                <a:gd name="connsiteY1690" fmla="*/ 120738 h 6072782"/>
                <a:gd name="connsiteX1691" fmla="*/ 8907400 w 11537287"/>
                <a:gd name="connsiteY1691" fmla="*/ 147091 h 6072782"/>
                <a:gd name="connsiteX1692" fmla="*/ 8907400 w 11537287"/>
                <a:gd name="connsiteY1692" fmla="*/ 184465 h 6072782"/>
                <a:gd name="connsiteX1693" fmla="*/ 8852714 w 11537287"/>
                <a:gd name="connsiteY1693" fmla="*/ 222980 h 6072782"/>
                <a:gd name="connsiteX1694" fmla="*/ 8852714 w 11537287"/>
                <a:gd name="connsiteY1694" fmla="*/ 203469 h 6072782"/>
                <a:gd name="connsiteX1695" fmla="*/ 8871792 w 11537287"/>
                <a:gd name="connsiteY1695" fmla="*/ 197388 h 6072782"/>
                <a:gd name="connsiteX1696" fmla="*/ 8877431 w 11537287"/>
                <a:gd name="connsiteY1696" fmla="*/ 178131 h 6072782"/>
                <a:gd name="connsiteX1697" fmla="*/ 8877431 w 11537287"/>
                <a:gd name="connsiteY1697" fmla="*/ 142783 h 6072782"/>
                <a:gd name="connsiteX1698" fmla="*/ 8907863 w 11537287"/>
                <a:gd name="connsiteY1698" fmla="*/ 111490 h 6072782"/>
                <a:gd name="connsiteX1699" fmla="*/ 8907863 w 11537287"/>
                <a:gd name="connsiteY1699" fmla="*/ 111110 h 6072782"/>
                <a:gd name="connsiteX1700" fmla="*/ 8877431 w 11537287"/>
                <a:gd name="connsiteY1700" fmla="*/ 79563 h 6072782"/>
                <a:gd name="connsiteX1701" fmla="*/ 8877431 w 11537287"/>
                <a:gd name="connsiteY1701" fmla="*/ 43836 h 6072782"/>
                <a:gd name="connsiteX1702" fmla="*/ 8852714 w 11537287"/>
                <a:gd name="connsiteY1702" fmla="*/ 19638 h 6072782"/>
                <a:gd name="connsiteX1703" fmla="*/ 8831395 w 11537287"/>
                <a:gd name="connsiteY1703" fmla="*/ 0 h 6072782"/>
                <a:gd name="connsiteX1704" fmla="*/ 8831395 w 11537287"/>
                <a:gd name="connsiteY1704" fmla="*/ 19638 h 6072782"/>
                <a:gd name="connsiteX1705" fmla="*/ 8806833 w 11537287"/>
                <a:gd name="connsiteY1705" fmla="*/ 43836 h 6072782"/>
                <a:gd name="connsiteX1706" fmla="*/ 8806833 w 11537287"/>
                <a:gd name="connsiteY1706" fmla="*/ 79563 h 6072782"/>
                <a:gd name="connsiteX1707" fmla="*/ 8776092 w 11537287"/>
                <a:gd name="connsiteY1707" fmla="*/ 111110 h 6072782"/>
                <a:gd name="connsiteX1708" fmla="*/ 8776092 w 11537287"/>
                <a:gd name="connsiteY1708" fmla="*/ 111490 h 6072782"/>
                <a:gd name="connsiteX1709" fmla="*/ 8806833 w 11537287"/>
                <a:gd name="connsiteY1709" fmla="*/ 142783 h 6072782"/>
                <a:gd name="connsiteX1710" fmla="*/ 8806833 w 11537287"/>
                <a:gd name="connsiteY1710" fmla="*/ 178131 h 6072782"/>
                <a:gd name="connsiteX1711" fmla="*/ 8812317 w 11537287"/>
                <a:gd name="connsiteY1711" fmla="*/ 197451 h 6072782"/>
                <a:gd name="connsiteX1712" fmla="*/ 8831395 w 11537287"/>
                <a:gd name="connsiteY1712" fmla="*/ 203469 h 6072782"/>
                <a:gd name="connsiteX1713" fmla="*/ 8831395 w 11537287"/>
                <a:gd name="connsiteY1713" fmla="*/ 222980 h 6072782"/>
                <a:gd name="connsiteX1714" fmla="*/ 8776401 w 11537287"/>
                <a:gd name="connsiteY1714" fmla="*/ 184465 h 6072782"/>
                <a:gd name="connsiteX1715" fmla="*/ 8776401 w 11537287"/>
                <a:gd name="connsiteY1715" fmla="*/ 147091 h 6072782"/>
                <a:gd name="connsiteX1716" fmla="*/ 8752302 w 11537287"/>
                <a:gd name="connsiteY1716" fmla="*/ 120738 h 6072782"/>
                <a:gd name="connsiteX1717" fmla="*/ 8752302 w 11537287"/>
                <a:gd name="connsiteY1717" fmla="*/ 102242 h 6072782"/>
                <a:gd name="connsiteX1718" fmla="*/ 8776401 w 11537287"/>
                <a:gd name="connsiteY1718" fmla="*/ 75382 h 6072782"/>
                <a:gd name="connsiteX1719" fmla="*/ 8776401 w 11537287"/>
                <a:gd name="connsiteY1719" fmla="*/ 39021 h 6072782"/>
                <a:gd name="connsiteX1720" fmla="*/ 8831395 w 11537287"/>
                <a:gd name="connsiteY1720" fmla="*/ 0 h 6072782"/>
                <a:gd name="connsiteX1721" fmla="*/ 2780936 w 11537287"/>
                <a:gd name="connsiteY1721" fmla="*/ 0 h 6072782"/>
                <a:gd name="connsiteX1722" fmla="*/ 2835620 w 11537287"/>
                <a:gd name="connsiteY1722" fmla="*/ 39021 h 6072782"/>
                <a:gd name="connsiteX1723" fmla="*/ 2835620 w 11537287"/>
                <a:gd name="connsiteY1723" fmla="*/ 75382 h 6072782"/>
                <a:gd name="connsiteX1724" fmla="*/ 2859566 w 11537287"/>
                <a:gd name="connsiteY1724" fmla="*/ 102242 h 6072782"/>
                <a:gd name="connsiteX1725" fmla="*/ 2859566 w 11537287"/>
                <a:gd name="connsiteY1725" fmla="*/ 120738 h 6072782"/>
                <a:gd name="connsiteX1726" fmla="*/ 2835620 w 11537287"/>
                <a:gd name="connsiteY1726" fmla="*/ 147091 h 6072782"/>
                <a:gd name="connsiteX1727" fmla="*/ 2835620 w 11537287"/>
                <a:gd name="connsiteY1727" fmla="*/ 184465 h 6072782"/>
                <a:gd name="connsiteX1728" fmla="*/ 2780936 w 11537287"/>
                <a:gd name="connsiteY1728" fmla="*/ 222980 h 6072782"/>
                <a:gd name="connsiteX1729" fmla="*/ 2780936 w 11537287"/>
                <a:gd name="connsiteY1729" fmla="*/ 203469 h 6072782"/>
                <a:gd name="connsiteX1730" fmla="*/ 2800014 w 11537287"/>
                <a:gd name="connsiteY1730" fmla="*/ 197388 h 6072782"/>
                <a:gd name="connsiteX1731" fmla="*/ 2805652 w 11537287"/>
                <a:gd name="connsiteY1731" fmla="*/ 178131 h 6072782"/>
                <a:gd name="connsiteX1732" fmla="*/ 2805652 w 11537287"/>
                <a:gd name="connsiteY1732" fmla="*/ 142783 h 6072782"/>
                <a:gd name="connsiteX1733" fmla="*/ 2836085 w 11537287"/>
                <a:gd name="connsiteY1733" fmla="*/ 111490 h 6072782"/>
                <a:gd name="connsiteX1734" fmla="*/ 2836085 w 11537287"/>
                <a:gd name="connsiteY1734" fmla="*/ 111110 h 6072782"/>
                <a:gd name="connsiteX1735" fmla="*/ 2805652 w 11537287"/>
                <a:gd name="connsiteY1735" fmla="*/ 79563 h 6072782"/>
                <a:gd name="connsiteX1736" fmla="*/ 2805652 w 11537287"/>
                <a:gd name="connsiteY1736" fmla="*/ 43836 h 6072782"/>
                <a:gd name="connsiteX1737" fmla="*/ 2780936 w 11537287"/>
                <a:gd name="connsiteY1737" fmla="*/ 19638 h 6072782"/>
                <a:gd name="connsiteX1738" fmla="*/ 2759616 w 11537287"/>
                <a:gd name="connsiteY1738" fmla="*/ 0 h 6072782"/>
                <a:gd name="connsiteX1739" fmla="*/ 2759616 w 11537287"/>
                <a:gd name="connsiteY1739" fmla="*/ 19638 h 6072782"/>
                <a:gd name="connsiteX1740" fmla="*/ 2735055 w 11537287"/>
                <a:gd name="connsiteY1740" fmla="*/ 43836 h 6072782"/>
                <a:gd name="connsiteX1741" fmla="*/ 2735055 w 11537287"/>
                <a:gd name="connsiteY1741" fmla="*/ 79563 h 6072782"/>
                <a:gd name="connsiteX1742" fmla="*/ 2704314 w 11537287"/>
                <a:gd name="connsiteY1742" fmla="*/ 111110 h 6072782"/>
                <a:gd name="connsiteX1743" fmla="*/ 2704314 w 11537287"/>
                <a:gd name="connsiteY1743" fmla="*/ 111490 h 6072782"/>
                <a:gd name="connsiteX1744" fmla="*/ 2735055 w 11537287"/>
                <a:gd name="connsiteY1744" fmla="*/ 142783 h 6072782"/>
                <a:gd name="connsiteX1745" fmla="*/ 2735055 w 11537287"/>
                <a:gd name="connsiteY1745" fmla="*/ 178131 h 6072782"/>
                <a:gd name="connsiteX1746" fmla="*/ 2740539 w 11537287"/>
                <a:gd name="connsiteY1746" fmla="*/ 197451 h 6072782"/>
                <a:gd name="connsiteX1747" fmla="*/ 2759616 w 11537287"/>
                <a:gd name="connsiteY1747" fmla="*/ 203469 h 6072782"/>
                <a:gd name="connsiteX1748" fmla="*/ 2759616 w 11537287"/>
                <a:gd name="connsiteY1748" fmla="*/ 222980 h 6072782"/>
                <a:gd name="connsiteX1749" fmla="*/ 2704623 w 11537287"/>
                <a:gd name="connsiteY1749" fmla="*/ 184465 h 6072782"/>
                <a:gd name="connsiteX1750" fmla="*/ 2704623 w 11537287"/>
                <a:gd name="connsiteY1750" fmla="*/ 147091 h 6072782"/>
                <a:gd name="connsiteX1751" fmla="*/ 2680524 w 11537287"/>
                <a:gd name="connsiteY1751" fmla="*/ 120738 h 6072782"/>
                <a:gd name="connsiteX1752" fmla="*/ 2680524 w 11537287"/>
                <a:gd name="connsiteY1752" fmla="*/ 102242 h 6072782"/>
                <a:gd name="connsiteX1753" fmla="*/ 2704623 w 11537287"/>
                <a:gd name="connsiteY1753" fmla="*/ 75382 h 6072782"/>
                <a:gd name="connsiteX1754" fmla="*/ 2704623 w 11537287"/>
                <a:gd name="connsiteY1754" fmla="*/ 39021 h 6072782"/>
                <a:gd name="connsiteX1755" fmla="*/ 2759616 w 11537287"/>
                <a:gd name="connsiteY1755" fmla="*/ 0 h 607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Lst>
              <a:rect l="l" t="t" r="r" b="b"/>
              <a:pathLst>
                <a:path w="11537287" h="6072782">
                  <a:moveTo>
                    <a:pt x="8823577" y="5849802"/>
                  </a:moveTo>
                  <a:cubicBezTo>
                    <a:pt x="8853477" y="5850140"/>
                    <a:pt x="8868426" y="5863147"/>
                    <a:pt x="8868426" y="5888824"/>
                  </a:cubicBezTo>
                  <a:lnTo>
                    <a:pt x="8868426" y="5925184"/>
                  </a:lnTo>
                  <a:cubicBezTo>
                    <a:pt x="8868426" y="5942246"/>
                    <a:pt x="8874972" y="5951199"/>
                    <a:pt x="8888064" y="5952044"/>
                  </a:cubicBezTo>
                  <a:lnTo>
                    <a:pt x="8888064" y="5970541"/>
                  </a:lnTo>
                  <a:cubicBezTo>
                    <a:pt x="8874972" y="5971386"/>
                    <a:pt x="8868426" y="5980169"/>
                    <a:pt x="8868426" y="5996893"/>
                  </a:cubicBezTo>
                  <a:lnTo>
                    <a:pt x="8868426" y="6034268"/>
                  </a:lnTo>
                  <a:cubicBezTo>
                    <a:pt x="8868426" y="6059606"/>
                    <a:pt x="8853477" y="6072444"/>
                    <a:pt x="8823577" y="6072782"/>
                  </a:cubicBezTo>
                  <a:lnTo>
                    <a:pt x="8823577" y="6053272"/>
                  </a:lnTo>
                  <a:cubicBezTo>
                    <a:pt x="8830925" y="6053103"/>
                    <a:pt x="8836141" y="6051076"/>
                    <a:pt x="8839224" y="6047190"/>
                  </a:cubicBezTo>
                  <a:cubicBezTo>
                    <a:pt x="8842306" y="6043305"/>
                    <a:pt x="8843848" y="6036886"/>
                    <a:pt x="8843848" y="6027933"/>
                  </a:cubicBezTo>
                  <a:lnTo>
                    <a:pt x="8843848" y="5992586"/>
                  </a:lnTo>
                  <a:cubicBezTo>
                    <a:pt x="8843848" y="5975440"/>
                    <a:pt x="8852168" y="5965009"/>
                    <a:pt x="8868807" y="5961292"/>
                  </a:cubicBezTo>
                  <a:lnTo>
                    <a:pt x="8868807" y="5960912"/>
                  </a:lnTo>
                  <a:cubicBezTo>
                    <a:pt x="8852168" y="5956942"/>
                    <a:pt x="8843848" y="5946427"/>
                    <a:pt x="8843848" y="5929366"/>
                  </a:cubicBezTo>
                  <a:lnTo>
                    <a:pt x="8843848" y="5893638"/>
                  </a:lnTo>
                  <a:cubicBezTo>
                    <a:pt x="8843848" y="5877844"/>
                    <a:pt x="8837091" y="5869777"/>
                    <a:pt x="8823577" y="5869440"/>
                  </a:cubicBezTo>
                  <a:close/>
                  <a:moveTo>
                    <a:pt x="8806093" y="5849802"/>
                  </a:moveTo>
                  <a:lnTo>
                    <a:pt x="8806093" y="5869440"/>
                  </a:lnTo>
                  <a:cubicBezTo>
                    <a:pt x="8792664" y="5869777"/>
                    <a:pt x="8785949" y="5877844"/>
                    <a:pt x="8785949" y="5893638"/>
                  </a:cubicBezTo>
                  <a:lnTo>
                    <a:pt x="8785949" y="5929366"/>
                  </a:lnTo>
                  <a:cubicBezTo>
                    <a:pt x="8785949" y="5946427"/>
                    <a:pt x="8777545" y="5956942"/>
                    <a:pt x="8760737" y="5960912"/>
                  </a:cubicBezTo>
                  <a:lnTo>
                    <a:pt x="8760737" y="5961292"/>
                  </a:lnTo>
                  <a:cubicBezTo>
                    <a:pt x="8777545" y="5965009"/>
                    <a:pt x="8785949" y="5975440"/>
                    <a:pt x="8785949" y="5992586"/>
                  </a:cubicBezTo>
                  <a:lnTo>
                    <a:pt x="8785949" y="6027933"/>
                  </a:lnTo>
                  <a:cubicBezTo>
                    <a:pt x="8785949" y="6036971"/>
                    <a:pt x="8787448" y="6043410"/>
                    <a:pt x="8790447" y="6047253"/>
                  </a:cubicBezTo>
                  <a:cubicBezTo>
                    <a:pt x="8793445" y="6051097"/>
                    <a:pt x="8798660" y="6053103"/>
                    <a:pt x="8806093" y="6053272"/>
                  </a:cubicBezTo>
                  <a:lnTo>
                    <a:pt x="8806093" y="6072782"/>
                  </a:lnTo>
                  <a:cubicBezTo>
                    <a:pt x="8776024" y="6072444"/>
                    <a:pt x="8760990" y="6059606"/>
                    <a:pt x="8760990" y="6034268"/>
                  </a:cubicBezTo>
                  <a:lnTo>
                    <a:pt x="8760990" y="5996893"/>
                  </a:lnTo>
                  <a:cubicBezTo>
                    <a:pt x="8760990" y="5980169"/>
                    <a:pt x="8754402" y="5971386"/>
                    <a:pt x="8741226" y="5970541"/>
                  </a:cubicBezTo>
                  <a:lnTo>
                    <a:pt x="8741226" y="5952044"/>
                  </a:lnTo>
                  <a:cubicBezTo>
                    <a:pt x="8754402" y="5951199"/>
                    <a:pt x="8760990" y="5942246"/>
                    <a:pt x="8760990" y="5925184"/>
                  </a:cubicBezTo>
                  <a:lnTo>
                    <a:pt x="8760990" y="5888824"/>
                  </a:lnTo>
                  <a:cubicBezTo>
                    <a:pt x="8760990" y="5863147"/>
                    <a:pt x="8776024" y="5850140"/>
                    <a:pt x="8806093" y="5849802"/>
                  </a:cubicBezTo>
                  <a:close/>
                  <a:moveTo>
                    <a:pt x="8823577" y="5494671"/>
                  </a:moveTo>
                  <a:cubicBezTo>
                    <a:pt x="8853477" y="5495009"/>
                    <a:pt x="8868426" y="5508016"/>
                    <a:pt x="8868426" y="5533692"/>
                  </a:cubicBezTo>
                  <a:lnTo>
                    <a:pt x="8868426" y="5570053"/>
                  </a:lnTo>
                  <a:cubicBezTo>
                    <a:pt x="8868426" y="5587115"/>
                    <a:pt x="8874972" y="5596067"/>
                    <a:pt x="8888064" y="5596912"/>
                  </a:cubicBezTo>
                  <a:lnTo>
                    <a:pt x="8888064" y="5615409"/>
                  </a:lnTo>
                  <a:cubicBezTo>
                    <a:pt x="8874972" y="5616254"/>
                    <a:pt x="8868426" y="5625038"/>
                    <a:pt x="8868426" y="5641762"/>
                  </a:cubicBezTo>
                  <a:lnTo>
                    <a:pt x="8868426" y="5679136"/>
                  </a:lnTo>
                  <a:cubicBezTo>
                    <a:pt x="8868426" y="5704475"/>
                    <a:pt x="8853477" y="5717313"/>
                    <a:pt x="8823577" y="5717651"/>
                  </a:cubicBezTo>
                  <a:lnTo>
                    <a:pt x="8823577" y="5698140"/>
                  </a:lnTo>
                  <a:cubicBezTo>
                    <a:pt x="8830925" y="5697971"/>
                    <a:pt x="8836141" y="5695944"/>
                    <a:pt x="8839224" y="5692059"/>
                  </a:cubicBezTo>
                  <a:cubicBezTo>
                    <a:pt x="8842306" y="5688173"/>
                    <a:pt x="8843848" y="5681754"/>
                    <a:pt x="8843848" y="5672802"/>
                  </a:cubicBezTo>
                  <a:lnTo>
                    <a:pt x="8843848" y="5637454"/>
                  </a:lnTo>
                  <a:cubicBezTo>
                    <a:pt x="8843848" y="5620308"/>
                    <a:pt x="8852168" y="5609877"/>
                    <a:pt x="8868807" y="5606161"/>
                  </a:cubicBezTo>
                  <a:lnTo>
                    <a:pt x="8868807" y="5605781"/>
                  </a:lnTo>
                  <a:cubicBezTo>
                    <a:pt x="8852168" y="5601811"/>
                    <a:pt x="8843848" y="5591296"/>
                    <a:pt x="8843848" y="5574234"/>
                  </a:cubicBezTo>
                  <a:lnTo>
                    <a:pt x="8843848" y="5538507"/>
                  </a:lnTo>
                  <a:cubicBezTo>
                    <a:pt x="8843848" y="5522712"/>
                    <a:pt x="8837091" y="5514646"/>
                    <a:pt x="8823577" y="5514308"/>
                  </a:cubicBezTo>
                  <a:close/>
                  <a:moveTo>
                    <a:pt x="8806093" y="5494671"/>
                  </a:moveTo>
                  <a:lnTo>
                    <a:pt x="8806093" y="5514308"/>
                  </a:lnTo>
                  <a:cubicBezTo>
                    <a:pt x="8792664" y="5514646"/>
                    <a:pt x="8785949" y="5522712"/>
                    <a:pt x="8785949" y="5538507"/>
                  </a:cubicBezTo>
                  <a:lnTo>
                    <a:pt x="8785949" y="5574234"/>
                  </a:lnTo>
                  <a:cubicBezTo>
                    <a:pt x="8785949" y="5591296"/>
                    <a:pt x="8777545" y="5601811"/>
                    <a:pt x="8760737" y="5605781"/>
                  </a:cubicBezTo>
                  <a:lnTo>
                    <a:pt x="8760737" y="5606161"/>
                  </a:lnTo>
                  <a:cubicBezTo>
                    <a:pt x="8777545" y="5609877"/>
                    <a:pt x="8785949" y="5620308"/>
                    <a:pt x="8785949" y="5637454"/>
                  </a:cubicBezTo>
                  <a:lnTo>
                    <a:pt x="8785949" y="5672802"/>
                  </a:lnTo>
                  <a:cubicBezTo>
                    <a:pt x="8785949" y="5681839"/>
                    <a:pt x="8787448" y="5688279"/>
                    <a:pt x="8790447" y="5692122"/>
                  </a:cubicBezTo>
                  <a:cubicBezTo>
                    <a:pt x="8793445" y="5695965"/>
                    <a:pt x="8798660" y="5697971"/>
                    <a:pt x="8806093" y="5698140"/>
                  </a:cubicBezTo>
                  <a:lnTo>
                    <a:pt x="8806093" y="5717651"/>
                  </a:lnTo>
                  <a:cubicBezTo>
                    <a:pt x="8776024" y="5717313"/>
                    <a:pt x="8760990" y="5704475"/>
                    <a:pt x="8760990" y="5679136"/>
                  </a:cubicBezTo>
                  <a:lnTo>
                    <a:pt x="8760990" y="5641762"/>
                  </a:lnTo>
                  <a:cubicBezTo>
                    <a:pt x="8760990" y="5625038"/>
                    <a:pt x="8754402" y="5616254"/>
                    <a:pt x="8741226" y="5615409"/>
                  </a:cubicBezTo>
                  <a:lnTo>
                    <a:pt x="8741226" y="5596912"/>
                  </a:lnTo>
                  <a:cubicBezTo>
                    <a:pt x="8754402" y="5596067"/>
                    <a:pt x="8760990" y="5587115"/>
                    <a:pt x="8760990" y="5570053"/>
                  </a:cubicBezTo>
                  <a:lnTo>
                    <a:pt x="8760990" y="5533692"/>
                  </a:lnTo>
                  <a:cubicBezTo>
                    <a:pt x="8760990" y="5508016"/>
                    <a:pt x="8776024" y="5495009"/>
                    <a:pt x="8806093" y="5494671"/>
                  </a:cubicBezTo>
                  <a:close/>
                  <a:moveTo>
                    <a:pt x="8823577" y="5157041"/>
                  </a:moveTo>
                  <a:cubicBezTo>
                    <a:pt x="8853477" y="5157379"/>
                    <a:pt x="8868426" y="5170386"/>
                    <a:pt x="8868426" y="5196062"/>
                  </a:cubicBezTo>
                  <a:lnTo>
                    <a:pt x="8868426" y="5232423"/>
                  </a:lnTo>
                  <a:cubicBezTo>
                    <a:pt x="8868426" y="5249485"/>
                    <a:pt x="8874972" y="5258437"/>
                    <a:pt x="8888064" y="5259282"/>
                  </a:cubicBezTo>
                  <a:lnTo>
                    <a:pt x="8888064" y="5277779"/>
                  </a:lnTo>
                  <a:cubicBezTo>
                    <a:pt x="8874972" y="5278624"/>
                    <a:pt x="8868426" y="5287408"/>
                    <a:pt x="8868426" y="5304132"/>
                  </a:cubicBezTo>
                  <a:lnTo>
                    <a:pt x="8868426" y="5341506"/>
                  </a:lnTo>
                  <a:cubicBezTo>
                    <a:pt x="8868426" y="5366845"/>
                    <a:pt x="8853477" y="5379683"/>
                    <a:pt x="8823577" y="5380021"/>
                  </a:cubicBezTo>
                  <a:lnTo>
                    <a:pt x="8823577" y="5360510"/>
                  </a:lnTo>
                  <a:cubicBezTo>
                    <a:pt x="8830925" y="5360341"/>
                    <a:pt x="8836141" y="5358314"/>
                    <a:pt x="8839224" y="5354429"/>
                  </a:cubicBezTo>
                  <a:cubicBezTo>
                    <a:pt x="8842306" y="5350543"/>
                    <a:pt x="8843848" y="5344124"/>
                    <a:pt x="8843848" y="5335172"/>
                  </a:cubicBezTo>
                  <a:lnTo>
                    <a:pt x="8843848" y="5299824"/>
                  </a:lnTo>
                  <a:cubicBezTo>
                    <a:pt x="8843848" y="5282678"/>
                    <a:pt x="8852168" y="5272247"/>
                    <a:pt x="8868807" y="5268531"/>
                  </a:cubicBezTo>
                  <a:lnTo>
                    <a:pt x="8868807" y="5268151"/>
                  </a:lnTo>
                  <a:cubicBezTo>
                    <a:pt x="8852168" y="5264181"/>
                    <a:pt x="8843848" y="5253666"/>
                    <a:pt x="8843848" y="5236604"/>
                  </a:cubicBezTo>
                  <a:lnTo>
                    <a:pt x="8843848" y="5200877"/>
                  </a:lnTo>
                  <a:cubicBezTo>
                    <a:pt x="8843848" y="5185082"/>
                    <a:pt x="8837091" y="5177016"/>
                    <a:pt x="8823577" y="5176678"/>
                  </a:cubicBezTo>
                  <a:close/>
                  <a:moveTo>
                    <a:pt x="8806093" y="5157041"/>
                  </a:moveTo>
                  <a:lnTo>
                    <a:pt x="8806093" y="5176678"/>
                  </a:lnTo>
                  <a:cubicBezTo>
                    <a:pt x="8792664" y="5177016"/>
                    <a:pt x="8785949" y="5185082"/>
                    <a:pt x="8785949" y="5200877"/>
                  </a:cubicBezTo>
                  <a:lnTo>
                    <a:pt x="8785949" y="5236604"/>
                  </a:lnTo>
                  <a:cubicBezTo>
                    <a:pt x="8785949" y="5253666"/>
                    <a:pt x="8777545" y="5264181"/>
                    <a:pt x="8760737" y="5268151"/>
                  </a:cubicBezTo>
                  <a:lnTo>
                    <a:pt x="8760737" y="5268531"/>
                  </a:lnTo>
                  <a:cubicBezTo>
                    <a:pt x="8777545" y="5272247"/>
                    <a:pt x="8785949" y="5282678"/>
                    <a:pt x="8785949" y="5299824"/>
                  </a:cubicBezTo>
                  <a:lnTo>
                    <a:pt x="8785949" y="5335172"/>
                  </a:lnTo>
                  <a:cubicBezTo>
                    <a:pt x="8785949" y="5344209"/>
                    <a:pt x="8787448" y="5350649"/>
                    <a:pt x="8790447" y="5354492"/>
                  </a:cubicBezTo>
                  <a:cubicBezTo>
                    <a:pt x="8793445" y="5358335"/>
                    <a:pt x="8798660" y="5360341"/>
                    <a:pt x="8806093" y="5360510"/>
                  </a:cubicBezTo>
                  <a:lnTo>
                    <a:pt x="8806093" y="5380021"/>
                  </a:lnTo>
                  <a:cubicBezTo>
                    <a:pt x="8776024" y="5379683"/>
                    <a:pt x="8760990" y="5366845"/>
                    <a:pt x="8760990" y="5341506"/>
                  </a:cubicBezTo>
                  <a:lnTo>
                    <a:pt x="8760990" y="5304132"/>
                  </a:lnTo>
                  <a:cubicBezTo>
                    <a:pt x="8760990" y="5287408"/>
                    <a:pt x="8754402" y="5278624"/>
                    <a:pt x="8741226" y="5277779"/>
                  </a:cubicBezTo>
                  <a:lnTo>
                    <a:pt x="8741226" y="5259282"/>
                  </a:lnTo>
                  <a:cubicBezTo>
                    <a:pt x="8754402" y="5258437"/>
                    <a:pt x="8760990" y="5249485"/>
                    <a:pt x="8760990" y="5232423"/>
                  </a:cubicBezTo>
                  <a:lnTo>
                    <a:pt x="8760990" y="5196062"/>
                  </a:lnTo>
                  <a:cubicBezTo>
                    <a:pt x="8760990" y="5170386"/>
                    <a:pt x="8776024" y="5157379"/>
                    <a:pt x="8806093" y="5157041"/>
                  </a:cubicBezTo>
                  <a:close/>
                  <a:moveTo>
                    <a:pt x="8823577" y="4843971"/>
                  </a:moveTo>
                  <a:cubicBezTo>
                    <a:pt x="8853477" y="4844309"/>
                    <a:pt x="8868426" y="4857316"/>
                    <a:pt x="8868426" y="4882992"/>
                  </a:cubicBezTo>
                  <a:lnTo>
                    <a:pt x="8868426" y="4919353"/>
                  </a:lnTo>
                  <a:cubicBezTo>
                    <a:pt x="8868426" y="4936415"/>
                    <a:pt x="8874972" y="4945367"/>
                    <a:pt x="8888064" y="4946212"/>
                  </a:cubicBezTo>
                  <a:lnTo>
                    <a:pt x="8888064" y="4964709"/>
                  </a:lnTo>
                  <a:cubicBezTo>
                    <a:pt x="8874972" y="4965554"/>
                    <a:pt x="8868426" y="4974338"/>
                    <a:pt x="8868426" y="4991062"/>
                  </a:cubicBezTo>
                  <a:lnTo>
                    <a:pt x="8868426" y="5028436"/>
                  </a:lnTo>
                  <a:cubicBezTo>
                    <a:pt x="8868426" y="5053775"/>
                    <a:pt x="8853477" y="5066613"/>
                    <a:pt x="8823577" y="5066951"/>
                  </a:cubicBezTo>
                  <a:lnTo>
                    <a:pt x="8823577" y="5047440"/>
                  </a:lnTo>
                  <a:cubicBezTo>
                    <a:pt x="8830925" y="5047271"/>
                    <a:pt x="8836141" y="5045244"/>
                    <a:pt x="8839224" y="5041359"/>
                  </a:cubicBezTo>
                  <a:cubicBezTo>
                    <a:pt x="8842306" y="5037473"/>
                    <a:pt x="8843848" y="5031054"/>
                    <a:pt x="8843848" y="5022102"/>
                  </a:cubicBezTo>
                  <a:lnTo>
                    <a:pt x="8843848" y="4986754"/>
                  </a:lnTo>
                  <a:cubicBezTo>
                    <a:pt x="8843848" y="4969608"/>
                    <a:pt x="8852168" y="4959177"/>
                    <a:pt x="8868807" y="4955461"/>
                  </a:cubicBezTo>
                  <a:lnTo>
                    <a:pt x="8868807" y="4955081"/>
                  </a:lnTo>
                  <a:cubicBezTo>
                    <a:pt x="8852168" y="4951111"/>
                    <a:pt x="8843848" y="4940596"/>
                    <a:pt x="8843848" y="4923534"/>
                  </a:cubicBezTo>
                  <a:lnTo>
                    <a:pt x="8843848" y="4887807"/>
                  </a:lnTo>
                  <a:cubicBezTo>
                    <a:pt x="8843848" y="4872012"/>
                    <a:pt x="8837091" y="4863946"/>
                    <a:pt x="8823577" y="4863608"/>
                  </a:cubicBezTo>
                  <a:close/>
                  <a:moveTo>
                    <a:pt x="8806093" y="4843971"/>
                  </a:moveTo>
                  <a:lnTo>
                    <a:pt x="8806093" y="4863608"/>
                  </a:lnTo>
                  <a:cubicBezTo>
                    <a:pt x="8792664" y="4863946"/>
                    <a:pt x="8785949" y="4872012"/>
                    <a:pt x="8785949" y="4887807"/>
                  </a:cubicBezTo>
                  <a:lnTo>
                    <a:pt x="8785949" y="4923534"/>
                  </a:lnTo>
                  <a:cubicBezTo>
                    <a:pt x="8785949" y="4940596"/>
                    <a:pt x="8777545" y="4951111"/>
                    <a:pt x="8760737" y="4955081"/>
                  </a:cubicBezTo>
                  <a:lnTo>
                    <a:pt x="8760737" y="4955461"/>
                  </a:lnTo>
                  <a:cubicBezTo>
                    <a:pt x="8777545" y="4959177"/>
                    <a:pt x="8785949" y="4969608"/>
                    <a:pt x="8785949" y="4986754"/>
                  </a:cubicBezTo>
                  <a:lnTo>
                    <a:pt x="8785949" y="5022102"/>
                  </a:lnTo>
                  <a:cubicBezTo>
                    <a:pt x="8785949" y="5031139"/>
                    <a:pt x="8787448" y="5037579"/>
                    <a:pt x="8790447" y="5041422"/>
                  </a:cubicBezTo>
                  <a:cubicBezTo>
                    <a:pt x="8793445" y="5045265"/>
                    <a:pt x="8798660" y="5047271"/>
                    <a:pt x="8806093" y="5047440"/>
                  </a:cubicBezTo>
                  <a:lnTo>
                    <a:pt x="8806093" y="5066951"/>
                  </a:lnTo>
                  <a:cubicBezTo>
                    <a:pt x="8776024" y="5066613"/>
                    <a:pt x="8760990" y="5053775"/>
                    <a:pt x="8760990" y="5028436"/>
                  </a:cubicBezTo>
                  <a:lnTo>
                    <a:pt x="8760990" y="4991062"/>
                  </a:lnTo>
                  <a:cubicBezTo>
                    <a:pt x="8760990" y="4974338"/>
                    <a:pt x="8754402" y="4965554"/>
                    <a:pt x="8741226" y="4964709"/>
                  </a:cubicBezTo>
                  <a:lnTo>
                    <a:pt x="8741226" y="4946212"/>
                  </a:lnTo>
                  <a:cubicBezTo>
                    <a:pt x="8754402" y="4945367"/>
                    <a:pt x="8760990" y="4936415"/>
                    <a:pt x="8760990" y="4919353"/>
                  </a:cubicBezTo>
                  <a:lnTo>
                    <a:pt x="8760990" y="4882992"/>
                  </a:lnTo>
                  <a:cubicBezTo>
                    <a:pt x="8760990" y="4857316"/>
                    <a:pt x="8776024" y="4844309"/>
                    <a:pt x="8806093" y="4843971"/>
                  </a:cubicBezTo>
                  <a:close/>
                  <a:moveTo>
                    <a:pt x="8825269" y="4503767"/>
                  </a:moveTo>
                  <a:cubicBezTo>
                    <a:pt x="8855169" y="4504105"/>
                    <a:pt x="8870118" y="4517112"/>
                    <a:pt x="8870118" y="4542788"/>
                  </a:cubicBezTo>
                  <a:lnTo>
                    <a:pt x="8870118" y="4579149"/>
                  </a:lnTo>
                  <a:cubicBezTo>
                    <a:pt x="8870118" y="4596211"/>
                    <a:pt x="8876664" y="4605163"/>
                    <a:pt x="8889756" y="4606008"/>
                  </a:cubicBezTo>
                  <a:lnTo>
                    <a:pt x="8889756" y="4624505"/>
                  </a:lnTo>
                  <a:cubicBezTo>
                    <a:pt x="8876664" y="4625350"/>
                    <a:pt x="8870118" y="4634134"/>
                    <a:pt x="8870118" y="4650858"/>
                  </a:cubicBezTo>
                  <a:lnTo>
                    <a:pt x="8870118" y="4688232"/>
                  </a:lnTo>
                  <a:cubicBezTo>
                    <a:pt x="8870118" y="4713571"/>
                    <a:pt x="8855169" y="4726409"/>
                    <a:pt x="8825269" y="4726747"/>
                  </a:cubicBezTo>
                  <a:lnTo>
                    <a:pt x="8825269" y="4707236"/>
                  </a:lnTo>
                  <a:cubicBezTo>
                    <a:pt x="8832617" y="4707067"/>
                    <a:pt x="8837833" y="4705040"/>
                    <a:pt x="8840916" y="4701155"/>
                  </a:cubicBezTo>
                  <a:cubicBezTo>
                    <a:pt x="8843998" y="4697269"/>
                    <a:pt x="8845540" y="4690850"/>
                    <a:pt x="8845540" y="4681898"/>
                  </a:cubicBezTo>
                  <a:lnTo>
                    <a:pt x="8845540" y="4646550"/>
                  </a:lnTo>
                  <a:cubicBezTo>
                    <a:pt x="8845540" y="4629404"/>
                    <a:pt x="8853860" y="4618973"/>
                    <a:pt x="8870499" y="4615257"/>
                  </a:cubicBezTo>
                  <a:lnTo>
                    <a:pt x="8870499" y="4614877"/>
                  </a:lnTo>
                  <a:cubicBezTo>
                    <a:pt x="8853860" y="4610907"/>
                    <a:pt x="8845540" y="4600392"/>
                    <a:pt x="8845540" y="4583330"/>
                  </a:cubicBezTo>
                  <a:lnTo>
                    <a:pt x="8845540" y="4547603"/>
                  </a:lnTo>
                  <a:cubicBezTo>
                    <a:pt x="8845540" y="4531808"/>
                    <a:pt x="8838783" y="4523742"/>
                    <a:pt x="8825269" y="4523404"/>
                  </a:cubicBezTo>
                  <a:close/>
                  <a:moveTo>
                    <a:pt x="8807785" y="4503767"/>
                  </a:moveTo>
                  <a:lnTo>
                    <a:pt x="8807785" y="4523404"/>
                  </a:lnTo>
                  <a:cubicBezTo>
                    <a:pt x="8794356" y="4523742"/>
                    <a:pt x="8787641" y="4531808"/>
                    <a:pt x="8787641" y="4547603"/>
                  </a:cubicBezTo>
                  <a:lnTo>
                    <a:pt x="8787641" y="4583330"/>
                  </a:lnTo>
                  <a:cubicBezTo>
                    <a:pt x="8787641" y="4600392"/>
                    <a:pt x="8779237" y="4610907"/>
                    <a:pt x="8762429" y="4614877"/>
                  </a:cubicBezTo>
                  <a:lnTo>
                    <a:pt x="8762429" y="4615257"/>
                  </a:lnTo>
                  <a:cubicBezTo>
                    <a:pt x="8779237" y="4618973"/>
                    <a:pt x="8787641" y="4629404"/>
                    <a:pt x="8787641" y="4646550"/>
                  </a:cubicBezTo>
                  <a:lnTo>
                    <a:pt x="8787641" y="4681898"/>
                  </a:lnTo>
                  <a:cubicBezTo>
                    <a:pt x="8787641" y="4690935"/>
                    <a:pt x="8789140" y="4697375"/>
                    <a:pt x="8792139" y="4701218"/>
                  </a:cubicBezTo>
                  <a:cubicBezTo>
                    <a:pt x="8795137" y="4705061"/>
                    <a:pt x="8800352" y="4707067"/>
                    <a:pt x="8807785" y="4707236"/>
                  </a:cubicBezTo>
                  <a:lnTo>
                    <a:pt x="8807785" y="4726747"/>
                  </a:lnTo>
                  <a:cubicBezTo>
                    <a:pt x="8777716" y="4726409"/>
                    <a:pt x="8762682" y="4713571"/>
                    <a:pt x="8762682" y="4688232"/>
                  </a:cubicBezTo>
                  <a:lnTo>
                    <a:pt x="8762682" y="4650858"/>
                  </a:lnTo>
                  <a:cubicBezTo>
                    <a:pt x="8762682" y="4634134"/>
                    <a:pt x="8756094" y="4625350"/>
                    <a:pt x="8742918" y="4624505"/>
                  </a:cubicBezTo>
                  <a:lnTo>
                    <a:pt x="8742918" y="4606008"/>
                  </a:lnTo>
                  <a:cubicBezTo>
                    <a:pt x="8756094" y="4605163"/>
                    <a:pt x="8762682" y="4596211"/>
                    <a:pt x="8762682" y="4579149"/>
                  </a:cubicBezTo>
                  <a:lnTo>
                    <a:pt x="8762682" y="4542788"/>
                  </a:lnTo>
                  <a:cubicBezTo>
                    <a:pt x="8762682" y="4517112"/>
                    <a:pt x="8777716" y="4504105"/>
                    <a:pt x="8807785" y="4503767"/>
                  </a:cubicBezTo>
                  <a:close/>
                  <a:moveTo>
                    <a:pt x="8826961" y="4163562"/>
                  </a:moveTo>
                  <a:cubicBezTo>
                    <a:pt x="8856861" y="4163900"/>
                    <a:pt x="8871810" y="4176907"/>
                    <a:pt x="8871810" y="4202583"/>
                  </a:cubicBezTo>
                  <a:lnTo>
                    <a:pt x="8871810" y="4238944"/>
                  </a:lnTo>
                  <a:cubicBezTo>
                    <a:pt x="8871810" y="4256006"/>
                    <a:pt x="8878356" y="4264958"/>
                    <a:pt x="8891448" y="4265803"/>
                  </a:cubicBezTo>
                  <a:lnTo>
                    <a:pt x="8891448" y="4284300"/>
                  </a:lnTo>
                  <a:cubicBezTo>
                    <a:pt x="8878356" y="4285145"/>
                    <a:pt x="8871810" y="4293929"/>
                    <a:pt x="8871810" y="4310653"/>
                  </a:cubicBezTo>
                  <a:lnTo>
                    <a:pt x="8871810" y="4348027"/>
                  </a:lnTo>
                  <a:cubicBezTo>
                    <a:pt x="8871810" y="4373366"/>
                    <a:pt x="8856861" y="4386204"/>
                    <a:pt x="8826961" y="4386542"/>
                  </a:cubicBezTo>
                  <a:lnTo>
                    <a:pt x="8826961" y="4367031"/>
                  </a:lnTo>
                  <a:cubicBezTo>
                    <a:pt x="8834309" y="4366862"/>
                    <a:pt x="8839525" y="4364835"/>
                    <a:pt x="8842608" y="4360950"/>
                  </a:cubicBezTo>
                  <a:cubicBezTo>
                    <a:pt x="8845690" y="4357064"/>
                    <a:pt x="8847232" y="4350645"/>
                    <a:pt x="8847232" y="4341693"/>
                  </a:cubicBezTo>
                  <a:lnTo>
                    <a:pt x="8847232" y="4306345"/>
                  </a:lnTo>
                  <a:cubicBezTo>
                    <a:pt x="8847232" y="4289199"/>
                    <a:pt x="8855552" y="4278768"/>
                    <a:pt x="8872191" y="4275052"/>
                  </a:cubicBezTo>
                  <a:lnTo>
                    <a:pt x="8872191" y="4274672"/>
                  </a:lnTo>
                  <a:cubicBezTo>
                    <a:pt x="8855552" y="4270702"/>
                    <a:pt x="8847232" y="4260187"/>
                    <a:pt x="8847232" y="4243125"/>
                  </a:cubicBezTo>
                  <a:lnTo>
                    <a:pt x="8847232" y="4207398"/>
                  </a:lnTo>
                  <a:cubicBezTo>
                    <a:pt x="8847232" y="4191603"/>
                    <a:pt x="8840475" y="4183537"/>
                    <a:pt x="8826961" y="4183199"/>
                  </a:cubicBezTo>
                  <a:close/>
                  <a:moveTo>
                    <a:pt x="8809477" y="4163562"/>
                  </a:moveTo>
                  <a:lnTo>
                    <a:pt x="8809477" y="4183199"/>
                  </a:lnTo>
                  <a:cubicBezTo>
                    <a:pt x="8796048" y="4183537"/>
                    <a:pt x="8789333" y="4191603"/>
                    <a:pt x="8789333" y="4207398"/>
                  </a:cubicBezTo>
                  <a:lnTo>
                    <a:pt x="8789333" y="4243125"/>
                  </a:lnTo>
                  <a:cubicBezTo>
                    <a:pt x="8789333" y="4260187"/>
                    <a:pt x="8780929" y="4270702"/>
                    <a:pt x="8764121" y="4274672"/>
                  </a:cubicBezTo>
                  <a:lnTo>
                    <a:pt x="8764121" y="4275052"/>
                  </a:lnTo>
                  <a:cubicBezTo>
                    <a:pt x="8780929" y="4278768"/>
                    <a:pt x="8789333" y="4289199"/>
                    <a:pt x="8789333" y="4306345"/>
                  </a:cubicBezTo>
                  <a:lnTo>
                    <a:pt x="8789333" y="4341693"/>
                  </a:lnTo>
                  <a:cubicBezTo>
                    <a:pt x="8789333" y="4350730"/>
                    <a:pt x="8790832" y="4357170"/>
                    <a:pt x="8793831" y="4361013"/>
                  </a:cubicBezTo>
                  <a:cubicBezTo>
                    <a:pt x="8796829" y="4364856"/>
                    <a:pt x="8802044" y="4366862"/>
                    <a:pt x="8809477" y="4367031"/>
                  </a:cubicBezTo>
                  <a:lnTo>
                    <a:pt x="8809477" y="4386542"/>
                  </a:lnTo>
                  <a:cubicBezTo>
                    <a:pt x="8779408" y="4386204"/>
                    <a:pt x="8764374" y="4373366"/>
                    <a:pt x="8764374" y="4348027"/>
                  </a:cubicBezTo>
                  <a:lnTo>
                    <a:pt x="8764374" y="4310653"/>
                  </a:lnTo>
                  <a:cubicBezTo>
                    <a:pt x="8764374" y="4293929"/>
                    <a:pt x="8757786" y="4285145"/>
                    <a:pt x="8744610" y="4284300"/>
                  </a:cubicBezTo>
                  <a:lnTo>
                    <a:pt x="8744610" y="4265803"/>
                  </a:lnTo>
                  <a:cubicBezTo>
                    <a:pt x="8757786" y="4264958"/>
                    <a:pt x="8764374" y="4256006"/>
                    <a:pt x="8764374" y="4238944"/>
                  </a:cubicBezTo>
                  <a:lnTo>
                    <a:pt x="8764374" y="4202583"/>
                  </a:lnTo>
                  <a:cubicBezTo>
                    <a:pt x="8764374" y="4176907"/>
                    <a:pt x="8779408" y="4163900"/>
                    <a:pt x="8809477" y="4163562"/>
                  </a:cubicBezTo>
                  <a:close/>
                  <a:moveTo>
                    <a:pt x="8828653" y="3823357"/>
                  </a:moveTo>
                  <a:cubicBezTo>
                    <a:pt x="8858553" y="3823695"/>
                    <a:pt x="8873502" y="3836702"/>
                    <a:pt x="8873502" y="3862378"/>
                  </a:cubicBezTo>
                  <a:lnTo>
                    <a:pt x="8873502" y="3898739"/>
                  </a:lnTo>
                  <a:cubicBezTo>
                    <a:pt x="8873502" y="3915801"/>
                    <a:pt x="8880048" y="3924754"/>
                    <a:pt x="8893140" y="3925598"/>
                  </a:cubicBezTo>
                  <a:lnTo>
                    <a:pt x="8893140" y="3944095"/>
                  </a:lnTo>
                  <a:cubicBezTo>
                    <a:pt x="8880048" y="3944940"/>
                    <a:pt x="8873502" y="3953724"/>
                    <a:pt x="8873502" y="3970448"/>
                  </a:cubicBezTo>
                  <a:lnTo>
                    <a:pt x="8873502" y="4007822"/>
                  </a:lnTo>
                  <a:cubicBezTo>
                    <a:pt x="8873502" y="4033161"/>
                    <a:pt x="8858553" y="4045999"/>
                    <a:pt x="8828653" y="4046337"/>
                  </a:cubicBezTo>
                  <a:lnTo>
                    <a:pt x="8828653" y="4026826"/>
                  </a:lnTo>
                  <a:cubicBezTo>
                    <a:pt x="8836001" y="4026657"/>
                    <a:pt x="8841217" y="4024630"/>
                    <a:pt x="8844300" y="4020745"/>
                  </a:cubicBezTo>
                  <a:cubicBezTo>
                    <a:pt x="8847382" y="4016859"/>
                    <a:pt x="8848924" y="4010440"/>
                    <a:pt x="8848924" y="4001488"/>
                  </a:cubicBezTo>
                  <a:lnTo>
                    <a:pt x="8848924" y="3966140"/>
                  </a:lnTo>
                  <a:cubicBezTo>
                    <a:pt x="8848924" y="3948994"/>
                    <a:pt x="8857244" y="3938563"/>
                    <a:pt x="8873883" y="3934847"/>
                  </a:cubicBezTo>
                  <a:lnTo>
                    <a:pt x="8873883" y="3934467"/>
                  </a:lnTo>
                  <a:cubicBezTo>
                    <a:pt x="8857244" y="3930497"/>
                    <a:pt x="8848924" y="3919982"/>
                    <a:pt x="8848924" y="3902920"/>
                  </a:cubicBezTo>
                  <a:lnTo>
                    <a:pt x="8848924" y="3867193"/>
                  </a:lnTo>
                  <a:cubicBezTo>
                    <a:pt x="8848924" y="3851398"/>
                    <a:pt x="8842167" y="3843332"/>
                    <a:pt x="8828653" y="3842994"/>
                  </a:cubicBezTo>
                  <a:close/>
                  <a:moveTo>
                    <a:pt x="8811169" y="3823357"/>
                  </a:moveTo>
                  <a:lnTo>
                    <a:pt x="8811169" y="3842994"/>
                  </a:lnTo>
                  <a:cubicBezTo>
                    <a:pt x="8797740" y="3843332"/>
                    <a:pt x="8791025" y="3851398"/>
                    <a:pt x="8791025" y="3867193"/>
                  </a:cubicBezTo>
                  <a:lnTo>
                    <a:pt x="8791025" y="3902920"/>
                  </a:lnTo>
                  <a:cubicBezTo>
                    <a:pt x="8791025" y="3919982"/>
                    <a:pt x="8782621" y="3930497"/>
                    <a:pt x="8765813" y="3934467"/>
                  </a:cubicBezTo>
                  <a:lnTo>
                    <a:pt x="8765813" y="3934847"/>
                  </a:lnTo>
                  <a:cubicBezTo>
                    <a:pt x="8782621" y="3938563"/>
                    <a:pt x="8791025" y="3948994"/>
                    <a:pt x="8791025" y="3966140"/>
                  </a:cubicBezTo>
                  <a:lnTo>
                    <a:pt x="8791025" y="4001488"/>
                  </a:lnTo>
                  <a:cubicBezTo>
                    <a:pt x="8791025" y="4010525"/>
                    <a:pt x="8792524" y="4016965"/>
                    <a:pt x="8795523" y="4020808"/>
                  </a:cubicBezTo>
                  <a:cubicBezTo>
                    <a:pt x="8798521" y="4024651"/>
                    <a:pt x="8803736" y="4026657"/>
                    <a:pt x="8811169" y="4026826"/>
                  </a:cubicBezTo>
                  <a:lnTo>
                    <a:pt x="8811169" y="4046337"/>
                  </a:lnTo>
                  <a:cubicBezTo>
                    <a:pt x="8781100" y="4045999"/>
                    <a:pt x="8766066" y="4033161"/>
                    <a:pt x="8766066" y="4007822"/>
                  </a:cubicBezTo>
                  <a:lnTo>
                    <a:pt x="8766066" y="3970448"/>
                  </a:lnTo>
                  <a:cubicBezTo>
                    <a:pt x="8766066" y="3953724"/>
                    <a:pt x="8759478" y="3944940"/>
                    <a:pt x="8746302" y="3944095"/>
                  </a:cubicBezTo>
                  <a:lnTo>
                    <a:pt x="8746302" y="3925598"/>
                  </a:lnTo>
                  <a:cubicBezTo>
                    <a:pt x="8759478" y="3924754"/>
                    <a:pt x="8766066" y="3915801"/>
                    <a:pt x="8766066" y="3898739"/>
                  </a:cubicBezTo>
                  <a:lnTo>
                    <a:pt x="8766066" y="3862378"/>
                  </a:lnTo>
                  <a:cubicBezTo>
                    <a:pt x="8766066" y="3836702"/>
                    <a:pt x="8781100" y="3823695"/>
                    <a:pt x="8811169" y="3823357"/>
                  </a:cubicBezTo>
                  <a:close/>
                  <a:moveTo>
                    <a:pt x="8830345" y="3483152"/>
                  </a:moveTo>
                  <a:cubicBezTo>
                    <a:pt x="8860245" y="3483490"/>
                    <a:pt x="8875194" y="3496497"/>
                    <a:pt x="8875194" y="3522173"/>
                  </a:cubicBezTo>
                  <a:lnTo>
                    <a:pt x="8875194" y="3558534"/>
                  </a:lnTo>
                  <a:cubicBezTo>
                    <a:pt x="8875194" y="3575596"/>
                    <a:pt x="8881740" y="3584549"/>
                    <a:pt x="8894832" y="3585393"/>
                  </a:cubicBezTo>
                  <a:lnTo>
                    <a:pt x="8894832" y="3603890"/>
                  </a:lnTo>
                  <a:cubicBezTo>
                    <a:pt x="8881740" y="3604735"/>
                    <a:pt x="8875194" y="3613519"/>
                    <a:pt x="8875194" y="3630243"/>
                  </a:cubicBezTo>
                  <a:lnTo>
                    <a:pt x="8875194" y="3667617"/>
                  </a:lnTo>
                  <a:cubicBezTo>
                    <a:pt x="8875194" y="3692956"/>
                    <a:pt x="8860245" y="3705794"/>
                    <a:pt x="8830345" y="3706132"/>
                  </a:cubicBezTo>
                  <a:lnTo>
                    <a:pt x="8830345" y="3686621"/>
                  </a:lnTo>
                  <a:cubicBezTo>
                    <a:pt x="8837693" y="3686452"/>
                    <a:pt x="8842909" y="3684425"/>
                    <a:pt x="8845992" y="3680540"/>
                  </a:cubicBezTo>
                  <a:cubicBezTo>
                    <a:pt x="8849074" y="3676654"/>
                    <a:pt x="8850616" y="3670235"/>
                    <a:pt x="8850616" y="3661283"/>
                  </a:cubicBezTo>
                  <a:lnTo>
                    <a:pt x="8850616" y="3625935"/>
                  </a:lnTo>
                  <a:cubicBezTo>
                    <a:pt x="8850616" y="3608789"/>
                    <a:pt x="8858936" y="3598358"/>
                    <a:pt x="8875575" y="3594642"/>
                  </a:cubicBezTo>
                  <a:lnTo>
                    <a:pt x="8875575" y="3594262"/>
                  </a:lnTo>
                  <a:cubicBezTo>
                    <a:pt x="8858936" y="3590292"/>
                    <a:pt x="8850616" y="3579777"/>
                    <a:pt x="8850616" y="3562715"/>
                  </a:cubicBezTo>
                  <a:lnTo>
                    <a:pt x="8850616" y="3526988"/>
                  </a:lnTo>
                  <a:cubicBezTo>
                    <a:pt x="8850616" y="3511193"/>
                    <a:pt x="8843859" y="3503127"/>
                    <a:pt x="8830345" y="3502789"/>
                  </a:cubicBezTo>
                  <a:close/>
                  <a:moveTo>
                    <a:pt x="8812861" y="3483152"/>
                  </a:moveTo>
                  <a:lnTo>
                    <a:pt x="8812861" y="3502789"/>
                  </a:lnTo>
                  <a:cubicBezTo>
                    <a:pt x="8799432" y="3503127"/>
                    <a:pt x="8792717" y="3511193"/>
                    <a:pt x="8792717" y="3526988"/>
                  </a:cubicBezTo>
                  <a:lnTo>
                    <a:pt x="8792717" y="3562715"/>
                  </a:lnTo>
                  <a:cubicBezTo>
                    <a:pt x="8792717" y="3579777"/>
                    <a:pt x="8784313" y="3590292"/>
                    <a:pt x="8767505" y="3594262"/>
                  </a:cubicBezTo>
                  <a:lnTo>
                    <a:pt x="8767505" y="3594642"/>
                  </a:lnTo>
                  <a:cubicBezTo>
                    <a:pt x="8784313" y="3598358"/>
                    <a:pt x="8792717" y="3608789"/>
                    <a:pt x="8792717" y="3625935"/>
                  </a:cubicBezTo>
                  <a:lnTo>
                    <a:pt x="8792717" y="3661283"/>
                  </a:lnTo>
                  <a:cubicBezTo>
                    <a:pt x="8792717" y="3670320"/>
                    <a:pt x="8794216" y="3676760"/>
                    <a:pt x="8797215" y="3680603"/>
                  </a:cubicBezTo>
                  <a:cubicBezTo>
                    <a:pt x="8800213" y="3684446"/>
                    <a:pt x="8805428" y="3686452"/>
                    <a:pt x="8812861" y="3686621"/>
                  </a:cubicBezTo>
                  <a:lnTo>
                    <a:pt x="8812861" y="3706132"/>
                  </a:lnTo>
                  <a:cubicBezTo>
                    <a:pt x="8782792" y="3705794"/>
                    <a:pt x="8767758" y="3692956"/>
                    <a:pt x="8767758" y="3667617"/>
                  </a:cubicBezTo>
                  <a:lnTo>
                    <a:pt x="8767758" y="3630243"/>
                  </a:lnTo>
                  <a:cubicBezTo>
                    <a:pt x="8767758" y="3613519"/>
                    <a:pt x="8761170" y="3604735"/>
                    <a:pt x="8747994" y="3603890"/>
                  </a:cubicBezTo>
                  <a:lnTo>
                    <a:pt x="8747994" y="3585393"/>
                  </a:lnTo>
                  <a:cubicBezTo>
                    <a:pt x="8761170" y="3584549"/>
                    <a:pt x="8767758" y="3575596"/>
                    <a:pt x="8767758" y="3558534"/>
                  </a:cubicBezTo>
                  <a:lnTo>
                    <a:pt x="8767758" y="3522173"/>
                  </a:lnTo>
                  <a:cubicBezTo>
                    <a:pt x="8767758" y="3496497"/>
                    <a:pt x="8782792" y="3483490"/>
                    <a:pt x="8812861" y="3483152"/>
                  </a:cubicBezTo>
                  <a:close/>
                  <a:moveTo>
                    <a:pt x="11401347" y="3198895"/>
                  </a:moveTo>
                  <a:lnTo>
                    <a:pt x="11390885" y="3247024"/>
                  </a:lnTo>
                  <a:lnTo>
                    <a:pt x="11433608" y="3247024"/>
                  </a:lnTo>
                  <a:lnTo>
                    <a:pt x="11443896" y="3198895"/>
                  </a:lnTo>
                  <a:close/>
                  <a:moveTo>
                    <a:pt x="5351000" y="3198895"/>
                  </a:moveTo>
                  <a:lnTo>
                    <a:pt x="5340537" y="3247024"/>
                  </a:lnTo>
                  <a:lnTo>
                    <a:pt x="5383260" y="3247024"/>
                  </a:lnTo>
                  <a:lnTo>
                    <a:pt x="5393549" y="3198895"/>
                  </a:lnTo>
                  <a:close/>
                  <a:moveTo>
                    <a:pt x="8818841" y="3110161"/>
                  </a:moveTo>
                  <a:cubicBezTo>
                    <a:pt x="8848741" y="3110499"/>
                    <a:pt x="8863690" y="3123506"/>
                    <a:pt x="8863690" y="3149183"/>
                  </a:cubicBezTo>
                  <a:lnTo>
                    <a:pt x="8863690" y="3185543"/>
                  </a:lnTo>
                  <a:cubicBezTo>
                    <a:pt x="8863690" y="3202605"/>
                    <a:pt x="8870236" y="3211558"/>
                    <a:pt x="8883328" y="3212403"/>
                  </a:cubicBezTo>
                  <a:lnTo>
                    <a:pt x="8883328" y="3230900"/>
                  </a:lnTo>
                  <a:cubicBezTo>
                    <a:pt x="8870236" y="3231744"/>
                    <a:pt x="8863690" y="3240528"/>
                    <a:pt x="8863690" y="3257252"/>
                  </a:cubicBezTo>
                  <a:lnTo>
                    <a:pt x="8863690" y="3294627"/>
                  </a:lnTo>
                  <a:cubicBezTo>
                    <a:pt x="8863690" y="3319965"/>
                    <a:pt x="8848741" y="3332803"/>
                    <a:pt x="8818841" y="3333141"/>
                  </a:cubicBezTo>
                  <a:lnTo>
                    <a:pt x="8818841" y="3313630"/>
                  </a:lnTo>
                  <a:cubicBezTo>
                    <a:pt x="8826189" y="3313461"/>
                    <a:pt x="8831405" y="3311435"/>
                    <a:pt x="8834488" y="3307549"/>
                  </a:cubicBezTo>
                  <a:cubicBezTo>
                    <a:pt x="8837570" y="3303664"/>
                    <a:pt x="8839112" y="3297245"/>
                    <a:pt x="8839112" y="3288292"/>
                  </a:cubicBezTo>
                  <a:lnTo>
                    <a:pt x="8839112" y="3252945"/>
                  </a:lnTo>
                  <a:cubicBezTo>
                    <a:pt x="8839112" y="3235799"/>
                    <a:pt x="8847432" y="3225368"/>
                    <a:pt x="8864071" y="3221651"/>
                  </a:cubicBezTo>
                  <a:lnTo>
                    <a:pt x="8864071" y="3221271"/>
                  </a:lnTo>
                  <a:cubicBezTo>
                    <a:pt x="8847432" y="3217301"/>
                    <a:pt x="8839112" y="3206786"/>
                    <a:pt x="8839112" y="3189724"/>
                  </a:cubicBezTo>
                  <a:lnTo>
                    <a:pt x="8839112" y="3153997"/>
                  </a:lnTo>
                  <a:cubicBezTo>
                    <a:pt x="8839112" y="3138202"/>
                    <a:pt x="8832355" y="3130136"/>
                    <a:pt x="8818841" y="3129799"/>
                  </a:cubicBezTo>
                  <a:close/>
                  <a:moveTo>
                    <a:pt x="8801357" y="3110161"/>
                  </a:moveTo>
                  <a:lnTo>
                    <a:pt x="8801357" y="3129799"/>
                  </a:lnTo>
                  <a:cubicBezTo>
                    <a:pt x="8787928" y="3130136"/>
                    <a:pt x="8781213" y="3138202"/>
                    <a:pt x="8781213" y="3153997"/>
                  </a:cubicBezTo>
                  <a:lnTo>
                    <a:pt x="8781213" y="3189724"/>
                  </a:lnTo>
                  <a:cubicBezTo>
                    <a:pt x="8781213" y="3206786"/>
                    <a:pt x="8772809" y="3217301"/>
                    <a:pt x="8756001" y="3221271"/>
                  </a:cubicBezTo>
                  <a:lnTo>
                    <a:pt x="8756001" y="3221651"/>
                  </a:lnTo>
                  <a:cubicBezTo>
                    <a:pt x="8772809" y="3225368"/>
                    <a:pt x="8781213" y="3235799"/>
                    <a:pt x="8781213" y="3252945"/>
                  </a:cubicBezTo>
                  <a:lnTo>
                    <a:pt x="8781213" y="3288292"/>
                  </a:lnTo>
                  <a:cubicBezTo>
                    <a:pt x="8781213" y="3297329"/>
                    <a:pt x="8782712" y="3303769"/>
                    <a:pt x="8785711" y="3307612"/>
                  </a:cubicBezTo>
                  <a:cubicBezTo>
                    <a:pt x="8788709" y="3311455"/>
                    <a:pt x="8793924" y="3313461"/>
                    <a:pt x="8801357" y="3313630"/>
                  </a:cubicBezTo>
                  <a:lnTo>
                    <a:pt x="8801357" y="3333141"/>
                  </a:lnTo>
                  <a:cubicBezTo>
                    <a:pt x="8771288" y="3332803"/>
                    <a:pt x="8756254" y="3319965"/>
                    <a:pt x="8756254" y="3294627"/>
                  </a:cubicBezTo>
                  <a:lnTo>
                    <a:pt x="8756254" y="3257252"/>
                  </a:lnTo>
                  <a:cubicBezTo>
                    <a:pt x="8756254" y="3240528"/>
                    <a:pt x="8749666" y="3231744"/>
                    <a:pt x="8736490" y="3230900"/>
                  </a:cubicBezTo>
                  <a:lnTo>
                    <a:pt x="8736490" y="3212403"/>
                  </a:lnTo>
                  <a:cubicBezTo>
                    <a:pt x="8749666" y="3211558"/>
                    <a:pt x="8756254" y="3202605"/>
                    <a:pt x="8756254" y="3185543"/>
                  </a:cubicBezTo>
                  <a:lnTo>
                    <a:pt x="8756254" y="3149183"/>
                  </a:lnTo>
                  <a:cubicBezTo>
                    <a:pt x="8756254" y="3123506"/>
                    <a:pt x="8771288" y="3110499"/>
                    <a:pt x="8801357" y="3110161"/>
                  </a:cubicBezTo>
                  <a:close/>
                  <a:moveTo>
                    <a:pt x="6939855" y="3110161"/>
                  </a:moveTo>
                  <a:cubicBezTo>
                    <a:pt x="6969755" y="3110499"/>
                    <a:pt x="6984705" y="3123506"/>
                    <a:pt x="6984705" y="3149183"/>
                  </a:cubicBezTo>
                  <a:lnTo>
                    <a:pt x="6984705" y="3185543"/>
                  </a:lnTo>
                  <a:cubicBezTo>
                    <a:pt x="6984705" y="3202605"/>
                    <a:pt x="6991251" y="3211558"/>
                    <a:pt x="7004342" y="3212403"/>
                  </a:cubicBezTo>
                  <a:lnTo>
                    <a:pt x="7004342" y="3230900"/>
                  </a:lnTo>
                  <a:cubicBezTo>
                    <a:pt x="6991251" y="3231744"/>
                    <a:pt x="6984705" y="3240528"/>
                    <a:pt x="6984705" y="3257252"/>
                  </a:cubicBezTo>
                  <a:lnTo>
                    <a:pt x="6984705" y="3294627"/>
                  </a:lnTo>
                  <a:cubicBezTo>
                    <a:pt x="6984705" y="3319965"/>
                    <a:pt x="6969755" y="3332803"/>
                    <a:pt x="6939855" y="3333141"/>
                  </a:cubicBezTo>
                  <a:lnTo>
                    <a:pt x="6939855" y="3313630"/>
                  </a:lnTo>
                  <a:cubicBezTo>
                    <a:pt x="6947204" y="3313461"/>
                    <a:pt x="6952419" y="3311435"/>
                    <a:pt x="6955502" y="3307549"/>
                  </a:cubicBezTo>
                  <a:cubicBezTo>
                    <a:pt x="6958585" y="3303664"/>
                    <a:pt x="6960126" y="3297245"/>
                    <a:pt x="6960126" y="3288292"/>
                  </a:cubicBezTo>
                  <a:lnTo>
                    <a:pt x="6960126" y="3252945"/>
                  </a:lnTo>
                  <a:cubicBezTo>
                    <a:pt x="6960126" y="3235799"/>
                    <a:pt x="6968446" y="3225368"/>
                    <a:pt x="6985085" y="3221651"/>
                  </a:cubicBezTo>
                  <a:lnTo>
                    <a:pt x="6985085" y="3221271"/>
                  </a:lnTo>
                  <a:cubicBezTo>
                    <a:pt x="6968446" y="3217301"/>
                    <a:pt x="6960126" y="3206786"/>
                    <a:pt x="6960126" y="3189724"/>
                  </a:cubicBezTo>
                  <a:lnTo>
                    <a:pt x="6960126" y="3153997"/>
                  </a:lnTo>
                  <a:cubicBezTo>
                    <a:pt x="6960126" y="3138202"/>
                    <a:pt x="6953369" y="3130136"/>
                    <a:pt x="6939855" y="3129799"/>
                  </a:cubicBezTo>
                  <a:close/>
                  <a:moveTo>
                    <a:pt x="6922371" y="3110161"/>
                  </a:moveTo>
                  <a:lnTo>
                    <a:pt x="6922371" y="3129799"/>
                  </a:lnTo>
                  <a:cubicBezTo>
                    <a:pt x="6908942" y="3130136"/>
                    <a:pt x="6902227" y="3138202"/>
                    <a:pt x="6902227" y="3153997"/>
                  </a:cubicBezTo>
                  <a:lnTo>
                    <a:pt x="6902227" y="3189724"/>
                  </a:lnTo>
                  <a:cubicBezTo>
                    <a:pt x="6902227" y="3206786"/>
                    <a:pt x="6893823" y="3217301"/>
                    <a:pt x="6877015" y="3221271"/>
                  </a:cubicBezTo>
                  <a:lnTo>
                    <a:pt x="6877015" y="3221651"/>
                  </a:lnTo>
                  <a:cubicBezTo>
                    <a:pt x="6893823" y="3225368"/>
                    <a:pt x="6902227" y="3235799"/>
                    <a:pt x="6902227" y="3252945"/>
                  </a:cubicBezTo>
                  <a:lnTo>
                    <a:pt x="6902227" y="3288292"/>
                  </a:lnTo>
                  <a:cubicBezTo>
                    <a:pt x="6902227" y="3297329"/>
                    <a:pt x="6903726" y="3303769"/>
                    <a:pt x="6906725" y="3307612"/>
                  </a:cubicBezTo>
                  <a:cubicBezTo>
                    <a:pt x="6909723" y="3311455"/>
                    <a:pt x="6914939" y="3313461"/>
                    <a:pt x="6922371" y="3313630"/>
                  </a:cubicBezTo>
                  <a:lnTo>
                    <a:pt x="6922371" y="3333141"/>
                  </a:lnTo>
                  <a:cubicBezTo>
                    <a:pt x="6892303" y="3332803"/>
                    <a:pt x="6877269" y="3319965"/>
                    <a:pt x="6877269" y="3294627"/>
                  </a:cubicBezTo>
                  <a:lnTo>
                    <a:pt x="6877269" y="3257252"/>
                  </a:lnTo>
                  <a:cubicBezTo>
                    <a:pt x="6877269" y="3240528"/>
                    <a:pt x="6870680" y="3231744"/>
                    <a:pt x="6857504" y="3230900"/>
                  </a:cubicBezTo>
                  <a:lnTo>
                    <a:pt x="6857504" y="3212403"/>
                  </a:lnTo>
                  <a:cubicBezTo>
                    <a:pt x="6870680" y="3211558"/>
                    <a:pt x="6877269" y="3202605"/>
                    <a:pt x="6877269" y="3185543"/>
                  </a:cubicBezTo>
                  <a:lnTo>
                    <a:pt x="6877269" y="3149183"/>
                  </a:lnTo>
                  <a:cubicBezTo>
                    <a:pt x="6877269" y="3123506"/>
                    <a:pt x="6892303" y="3110499"/>
                    <a:pt x="6922371" y="3110161"/>
                  </a:cubicBezTo>
                  <a:close/>
                  <a:moveTo>
                    <a:pt x="2753674" y="3110161"/>
                  </a:moveTo>
                  <a:cubicBezTo>
                    <a:pt x="2783573" y="3110499"/>
                    <a:pt x="2798522" y="3123506"/>
                    <a:pt x="2798522" y="3149183"/>
                  </a:cubicBezTo>
                  <a:lnTo>
                    <a:pt x="2798522" y="3185543"/>
                  </a:lnTo>
                  <a:cubicBezTo>
                    <a:pt x="2798522" y="3202605"/>
                    <a:pt x="2805068" y="3211558"/>
                    <a:pt x="2818160" y="3212403"/>
                  </a:cubicBezTo>
                  <a:lnTo>
                    <a:pt x="2818160" y="3230900"/>
                  </a:lnTo>
                  <a:cubicBezTo>
                    <a:pt x="2805068" y="3231744"/>
                    <a:pt x="2798522" y="3240528"/>
                    <a:pt x="2798522" y="3257252"/>
                  </a:cubicBezTo>
                  <a:lnTo>
                    <a:pt x="2798522" y="3294627"/>
                  </a:lnTo>
                  <a:cubicBezTo>
                    <a:pt x="2798522" y="3319965"/>
                    <a:pt x="2783573" y="3332803"/>
                    <a:pt x="2753674" y="3333141"/>
                  </a:cubicBezTo>
                  <a:lnTo>
                    <a:pt x="2753674" y="3313630"/>
                  </a:lnTo>
                  <a:cubicBezTo>
                    <a:pt x="2761022" y="3313461"/>
                    <a:pt x="2766237" y="3311435"/>
                    <a:pt x="2769320" y="3307549"/>
                  </a:cubicBezTo>
                  <a:cubicBezTo>
                    <a:pt x="2772402" y="3303664"/>
                    <a:pt x="2773944" y="3297245"/>
                    <a:pt x="2773944" y="3288292"/>
                  </a:cubicBezTo>
                  <a:lnTo>
                    <a:pt x="2773944" y="3252945"/>
                  </a:lnTo>
                  <a:cubicBezTo>
                    <a:pt x="2773944" y="3235799"/>
                    <a:pt x="2782264" y="3225368"/>
                    <a:pt x="2798903" y="3221651"/>
                  </a:cubicBezTo>
                  <a:lnTo>
                    <a:pt x="2798903" y="3221271"/>
                  </a:lnTo>
                  <a:cubicBezTo>
                    <a:pt x="2782264" y="3217301"/>
                    <a:pt x="2773944" y="3206786"/>
                    <a:pt x="2773944" y="3189724"/>
                  </a:cubicBezTo>
                  <a:lnTo>
                    <a:pt x="2773944" y="3153997"/>
                  </a:lnTo>
                  <a:cubicBezTo>
                    <a:pt x="2773944" y="3138202"/>
                    <a:pt x="2767187" y="3130136"/>
                    <a:pt x="2753674" y="3129799"/>
                  </a:cubicBezTo>
                  <a:close/>
                  <a:moveTo>
                    <a:pt x="2736189" y="3110161"/>
                  </a:moveTo>
                  <a:lnTo>
                    <a:pt x="2736189" y="3129799"/>
                  </a:lnTo>
                  <a:cubicBezTo>
                    <a:pt x="2722759" y="3130136"/>
                    <a:pt x="2716044" y="3138202"/>
                    <a:pt x="2716044" y="3153997"/>
                  </a:cubicBezTo>
                  <a:lnTo>
                    <a:pt x="2716044" y="3189724"/>
                  </a:lnTo>
                  <a:cubicBezTo>
                    <a:pt x="2716044" y="3206786"/>
                    <a:pt x="2707641" y="3217301"/>
                    <a:pt x="2690833" y="3221271"/>
                  </a:cubicBezTo>
                  <a:lnTo>
                    <a:pt x="2690833" y="3221651"/>
                  </a:lnTo>
                  <a:cubicBezTo>
                    <a:pt x="2707641" y="3225368"/>
                    <a:pt x="2716044" y="3235799"/>
                    <a:pt x="2716044" y="3252945"/>
                  </a:cubicBezTo>
                  <a:lnTo>
                    <a:pt x="2716044" y="3288292"/>
                  </a:lnTo>
                  <a:cubicBezTo>
                    <a:pt x="2716044" y="3297329"/>
                    <a:pt x="2717543" y="3303769"/>
                    <a:pt x="2720543" y="3307612"/>
                  </a:cubicBezTo>
                  <a:cubicBezTo>
                    <a:pt x="2723540" y="3311455"/>
                    <a:pt x="2728756" y="3313461"/>
                    <a:pt x="2736189" y="3313630"/>
                  </a:cubicBezTo>
                  <a:lnTo>
                    <a:pt x="2736189" y="3333141"/>
                  </a:lnTo>
                  <a:cubicBezTo>
                    <a:pt x="2706120" y="3332803"/>
                    <a:pt x="2691086" y="3319965"/>
                    <a:pt x="2691086" y="3294627"/>
                  </a:cubicBezTo>
                  <a:lnTo>
                    <a:pt x="2691086" y="3257252"/>
                  </a:lnTo>
                  <a:cubicBezTo>
                    <a:pt x="2691086" y="3240528"/>
                    <a:pt x="2684498" y="3231744"/>
                    <a:pt x="2671322" y="3230900"/>
                  </a:cubicBezTo>
                  <a:lnTo>
                    <a:pt x="2671322" y="3212403"/>
                  </a:lnTo>
                  <a:cubicBezTo>
                    <a:pt x="2684498" y="3211558"/>
                    <a:pt x="2691086" y="3202605"/>
                    <a:pt x="2691086" y="3185543"/>
                  </a:cubicBezTo>
                  <a:lnTo>
                    <a:pt x="2691086" y="3149183"/>
                  </a:lnTo>
                  <a:cubicBezTo>
                    <a:pt x="2691086" y="3123506"/>
                    <a:pt x="2706120" y="3110499"/>
                    <a:pt x="2736189" y="3110161"/>
                  </a:cubicBezTo>
                  <a:close/>
                  <a:moveTo>
                    <a:pt x="886774" y="3110161"/>
                  </a:moveTo>
                  <a:cubicBezTo>
                    <a:pt x="916673" y="3110499"/>
                    <a:pt x="931623" y="3123506"/>
                    <a:pt x="931623" y="3149183"/>
                  </a:cubicBezTo>
                  <a:lnTo>
                    <a:pt x="931623" y="3185543"/>
                  </a:lnTo>
                  <a:cubicBezTo>
                    <a:pt x="931623" y="3202605"/>
                    <a:pt x="938169" y="3211558"/>
                    <a:pt x="951260" y="3212403"/>
                  </a:cubicBezTo>
                  <a:lnTo>
                    <a:pt x="951260" y="3230900"/>
                  </a:lnTo>
                  <a:cubicBezTo>
                    <a:pt x="938169" y="3231744"/>
                    <a:pt x="931623" y="3240528"/>
                    <a:pt x="931623" y="3257252"/>
                  </a:cubicBezTo>
                  <a:lnTo>
                    <a:pt x="931623" y="3294627"/>
                  </a:lnTo>
                  <a:cubicBezTo>
                    <a:pt x="931623" y="3319965"/>
                    <a:pt x="916673" y="3332803"/>
                    <a:pt x="886774" y="3333141"/>
                  </a:cubicBezTo>
                  <a:lnTo>
                    <a:pt x="886774" y="3313630"/>
                  </a:lnTo>
                  <a:cubicBezTo>
                    <a:pt x="894122" y="3313461"/>
                    <a:pt x="899337" y="3311435"/>
                    <a:pt x="902420" y="3307549"/>
                  </a:cubicBezTo>
                  <a:cubicBezTo>
                    <a:pt x="905503" y="3303664"/>
                    <a:pt x="907044" y="3297245"/>
                    <a:pt x="907044" y="3288292"/>
                  </a:cubicBezTo>
                  <a:lnTo>
                    <a:pt x="907044" y="3252945"/>
                  </a:lnTo>
                  <a:cubicBezTo>
                    <a:pt x="907044" y="3235799"/>
                    <a:pt x="915364" y="3225368"/>
                    <a:pt x="932003" y="3221651"/>
                  </a:cubicBezTo>
                  <a:lnTo>
                    <a:pt x="932003" y="3221271"/>
                  </a:lnTo>
                  <a:cubicBezTo>
                    <a:pt x="915364" y="3217301"/>
                    <a:pt x="907044" y="3206786"/>
                    <a:pt x="907044" y="3189724"/>
                  </a:cubicBezTo>
                  <a:lnTo>
                    <a:pt x="907044" y="3153997"/>
                  </a:lnTo>
                  <a:cubicBezTo>
                    <a:pt x="907044" y="3138202"/>
                    <a:pt x="900288" y="3130136"/>
                    <a:pt x="886774" y="3129799"/>
                  </a:cubicBezTo>
                  <a:close/>
                  <a:moveTo>
                    <a:pt x="869289" y="3110161"/>
                  </a:moveTo>
                  <a:lnTo>
                    <a:pt x="869289" y="3129799"/>
                  </a:lnTo>
                  <a:cubicBezTo>
                    <a:pt x="855860" y="3130136"/>
                    <a:pt x="849145" y="3138202"/>
                    <a:pt x="849145" y="3153997"/>
                  </a:cubicBezTo>
                  <a:lnTo>
                    <a:pt x="849145" y="3189724"/>
                  </a:lnTo>
                  <a:cubicBezTo>
                    <a:pt x="849145" y="3206786"/>
                    <a:pt x="840741" y="3217301"/>
                    <a:pt x="823933" y="3221271"/>
                  </a:cubicBezTo>
                  <a:lnTo>
                    <a:pt x="823933" y="3221651"/>
                  </a:lnTo>
                  <a:cubicBezTo>
                    <a:pt x="840741" y="3225368"/>
                    <a:pt x="849145" y="3235799"/>
                    <a:pt x="849145" y="3252945"/>
                  </a:cubicBezTo>
                  <a:lnTo>
                    <a:pt x="849145" y="3288292"/>
                  </a:lnTo>
                  <a:cubicBezTo>
                    <a:pt x="849145" y="3297329"/>
                    <a:pt x="850644" y="3303769"/>
                    <a:pt x="853643" y="3307612"/>
                  </a:cubicBezTo>
                  <a:cubicBezTo>
                    <a:pt x="856641" y="3311455"/>
                    <a:pt x="861857" y="3313461"/>
                    <a:pt x="869289" y="3313630"/>
                  </a:cubicBezTo>
                  <a:lnTo>
                    <a:pt x="869289" y="3333141"/>
                  </a:lnTo>
                  <a:cubicBezTo>
                    <a:pt x="839221" y="3332803"/>
                    <a:pt x="824187" y="3319965"/>
                    <a:pt x="824187" y="3294627"/>
                  </a:cubicBezTo>
                  <a:lnTo>
                    <a:pt x="824187" y="3257252"/>
                  </a:lnTo>
                  <a:cubicBezTo>
                    <a:pt x="824187" y="3240528"/>
                    <a:pt x="817598" y="3231744"/>
                    <a:pt x="804422" y="3230900"/>
                  </a:cubicBezTo>
                  <a:lnTo>
                    <a:pt x="804422" y="3212403"/>
                  </a:lnTo>
                  <a:cubicBezTo>
                    <a:pt x="817598" y="3211558"/>
                    <a:pt x="824187" y="3202605"/>
                    <a:pt x="824187" y="3185543"/>
                  </a:cubicBezTo>
                  <a:lnTo>
                    <a:pt x="824187" y="3149183"/>
                  </a:lnTo>
                  <a:cubicBezTo>
                    <a:pt x="824187" y="3123506"/>
                    <a:pt x="839221" y="3110499"/>
                    <a:pt x="869289" y="3110161"/>
                  </a:cubicBezTo>
                  <a:close/>
                  <a:moveTo>
                    <a:pt x="11392280" y="3107344"/>
                  </a:moveTo>
                  <a:lnTo>
                    <a:pt x="11420355" y="3107344"/>
                  </a:lnTo>
                  <a:lnTo>
                    <a:pt x="11406579" y="3174481"/>
                  </a:lnTo>
                  <a:lnTo>
                    <a:pt x="11448779" y="3174481"/>
                  </a:lnTo>
                  <a:lnTo>
                    <a:pt x="11463078" y="3107344"/>
                  </a:lnTo>
                  <a:lnTo>
                    <a:pt x="11490631" y="3107344"/>
                  </a:lnTo>
                  <a:lnTo>
                    <a:pt x="11476680" y="3174481"/>
                  </a:lnTo>
                  <a:lnTo>
                    <a:pt x="11516439" y="3174481"/>
                  </a:lnTo>
                  <a:lnTo>
                    <a:pt x="11511033" y="3198895"/>
                  </a:lnTo>
                  <a:lnTo>
                    <a:pt x="11471449" y="3198895"/>
                  </a:lnTo>
                  <a:lnTo>
                    <a:pt x="11461335" y="3247024"/>
                  </a:lnTo>
                  <a:lnTo>
                    <a:pt x="11504581" y="3247024"/>
                  </a:lnTo>
                  <a:lnTo>
                    <a:pt x="11498477" y="3271437"/>
                  </a:lnTo>
                  <a:lnTo>
                    <a:pt x="11456278" y="3271437"/>
                  </a:lnTo>
                  <a:lnTo>
                    <a:pt x="11441978" y="3335958"/>
                  </a:lnTo>
                  <a:lnTo>
                    <a:pt x="11414251" y="3335958"/>
                  </a:lnTo>
                  <a:lnTo>
                    <a:pt x="11428202" y="3271437"/>
                  </a:lnTo>
                  <a:lnTo>
                    <a:pt x="11386002" y="3271437"/>
                  </a:lnTo>
                  <a:lnTo>
                    <a:pt x="11372400" y="3335958"/>
                  </a:lnTo>
                  <a:lnTo>
                    <a:pt x="11344674" y="3335958"/>
                  </a:lnTo>
                  <a:lnTo>
                    <a:pt x="11358275" y="3271437"/>
                  </a:lnTo>
                  <a:lnTo>
                    <a:pt x="11318342" y="3271437"/>
                  </a:lnTo>
                  <a:lnTo>
                    <a:pt x="11323224" y="3247024"/>
                  </a:lnTo>
                  <a:lnTo>
                    <a:pt x="11363681" y="3247024"/>
                  </a:lnTo>
                  <a:lnTo>
                    <a:pt x="11373272" y="3198895"/>
                  </a:lnTo>
                  <a:lnTo>
                    <a:pt x="11330723" y="3198895"/>
                  </a:lnTo>
                  <a:lnTo>
                    <a:pt x="11335780" y="3174481"/>
                  </a:lnTo>
                  <a:lnTo>
                    <a:pt x="11378329" y="3174481"/>
                  </a:lnTo>
                  <a:close/>
                  <a:moveTo>
                    <a:pt x="5341932" y="3107344"/>
                  </a:moveTo>
                  <a:lnTo>
                    <a:pt x="5370007" y="3107344"/>
                  </a:lnTo>
                  <a:lnTo>
                    <a:pt x="5356231" y="3174481"/>
                  </a:lnTo>
                  <a:lnTo>
                    <a:pt x="5398431" y="3174481"/>
                  </a:lnTo>
                  <a:lnTo>
                    <a:pt x="5412730" y="3107344"/>
                  </a:lnTo>
                  <a:lnTo>
                    <a:pt x="5440283" y="3107344"/>
                  </a:lnTo>
                  <a:lnTo>
                    <a:pt x="5426332" y="3174481"/>
                  </a:lnTo>
                  <a:lnTo>
                    <a:pt x="5466091" y="3174481"/>
                  </a:lnTo>
                  <a:lnTo>
                    <a:pt x="5460686" y="3198895"/>
                  </a:lnTo>
                  <a:lnTo>
                    <a:pt x="5421101" y="3198895"/>
                  </a:lnTo>
                  <a:lnTo>
                    <a:pt x="5410987" y="3247024"/>
                  </a:lnTo>
                  <a:lnTo>
                    <a:pt x="5454233" y="3247024"/>
                  </a:lnTo>
                  <a:lnTo>
                    <a:pt x="5448130" y="3271437"/>
                  </a:lnTo>
                  <a:lnTo>
                    <a:pt x="5405930" y="3271437"/>
                  </a:lnTo>
                  <a:lnTo>
                    <a:pt x="5391631" y="3335958"/>
                  </a:lnTo>
                  <a:lnTo>
                    <a:pt x="5363903" y="3335958"/>
                  </a:lnTo>
                  <a:lnTo>
                    <a:pt x="5377854" y="3271437"/>
                  </a:lnTo>
                  <a:lnTo>
                    <a:pt x="5335654" y="3271437"/>
                  </a:lnTo>
                  <a:lnTo>
                    <a:pt x="5322052" y="3335958"/>
                  </a:lnTo>
                  <a:lnTo>
                    <a:pt x="5294326" y="3335958"/>
                  </a:lnTo>
                  <a:lnTo>
                    <a:pt x="5307927" y="3271437"/>
                  </a:lnTo>
                  <a:lnTo>
                    <a:pt x="5267994" y="3271437"/>
                  </a:lnTo>
                  <a:lnTo>
                    <a:pt x="5272877" y="3247024"/>
                  </a:lnTo>
                  <a:lnTo>
                    <a:pt x="5313333" y="3247024"/>
                  </a:lnTo>
                  <a:lnTo>
                    <a:pt x="5322924" y="3198895"/>
                  </a:lnTo>
                  <a:lnTo>
                    <a:pt x="5280375" y="3198895"/>
                  </a:lnTo>
                  <a:lnTo>
                    <a:pt x="5285432" y="3174481"/>
                  </a:lnTo>
                  <a:lnTo>
                    <a:pt x="5327981" y="3174481"/>
                  </a:lnTo>
                  <a:close/>
                  <a:moveTo>
                    <a:pt x="179757" y="2978567"/>
                  </a:moveTo>
                  <a:cubicBezTo>
                    <a:pt x="175238" y="2996466"/>
                    <a:pt x="170094" y="3007765"/>
                    <a:pt x="156566" y="3017814"/>
                  </a:cubicBezTo>
                  <a:cubicBezTo>
                    <a:pt x="155199" y="3025158"/>
                    <a:pt x="167507" y="3021234"/>
                    <a:pt x="172979" y="3021204"/>
                  </a:cubicBezTo>
                  <a:cubicBezTo>
                    <a:pt x="178450" y="3021174"/>
                    <a:pt x="187934" y="3022646"/>
                    <a:pt x="189390" y="3017636"/>
                  </a:cubicBezTo>
                  <a:cubicBezTo>
                    <a:pt x="190372" y="3014187"/>
                    <a:pt x="187964" y="3011541"/>
                    <a:pt x="186448" y="3008181"/>
                  </a:cubicBezTo>
                  <a:cubicBezTo>
                    <a:pt x="185674" y="3004494"/>
                    <a:pt x="188543" y="2999915"/>
                    <a:pt x="187429" y="2994980"/>
                  </a:cubicBezTo>
                  <a:cubicBezTo>
                    <a:pt x="186313" y="2990044"/>
                    <a:pt x="183028" y="2982254"/>
                    <a:pt x="179757" y="2978567"/>
                  </a:cubicBezTo>
                  <a:close/>
                  <a:moveTo>
                    <a:pt x="19737" y="2962155"/>
                  </a:moveTo>
                  <a:cubicBezTo>
                    <a:pt x="14920" y="2967656"/>
                    <a:pt x="6089" y="2978151"/>
                    <a:pt x="6089" y="2982403"/>
                  </a:cubicBezTo>
                  <a:cubicBezTo>
                    <a:pt x="6357" y="2987695"/>
                    <a:pt x="20540" y="3003335"/>
                    <a:pt x="27587" y="3003989"/>
                  </a:cubicBezTo>
                  <a:cubicBezTo>
                    <a:pt x="33414" y="3004137"/>
                    <a:pt x="33978" y="3001075"/>
                    <a:pt x="36505" y="2996764"/>
                  </a:cubicBezTo>
                  <a:cubicBezTo>
                    <a:pt x="28418" y="2985317"/>
                    <a:pt x="25058" y="2979489"/>
                    <a:pt x="19737" y="2962155"/>
                  </a:cubicBezTo>
                  <a:close/>
                  <a:moveTo>
                    <a:pt x="3349" y="2893864"/>
                  </a:moveTo>
                  <a:lnTo>
                    <a:pt x="3148" y="2895381"/>
                  </a:lnTo>
                  <a:lnTo>
                    <a:pt x="3082" y="2894121"/>
                  </a:lnTo>
                  <a:close/>
                  <a:moveTo>
                    <a:pt x="205269" y="2866669"/>
                  </a:moveTo>
                  <a:cubicBezTo>
                    <a:pt x="205231" y="2866840"/>
                    <a:pt x="202372" y="2867903"/>
                    <a:pt x="201276" y="2869523"/>
                  </a:cubicBezTo>
                  <a:cubicBezTo>
                    <a:pt x="205814" y="2871035"/>
                    <a:pt x="207408" y="2872458"/>
                    <a:pt x="208199" y="2877894"/>
                  </a:cubicBezTo>
                  <a:cubicBezTo>
                    <a:pt x="208412" y="2877854"/>
                    <a:pt x="209906" y="2876648"/>
                    <a:pt x="215079" y="2876168"/>
                  </a:cubicBezTo>
                  <a:cubicBezTo>
                    <a:pt x="203335" y="2880866"/>
                    <a:pt x="197388" y="2885921"/>
                    <a:pt x="188855" y="2895346"/>
                  </a:cubicBezTo>
                  <a:cubicBezTo>
                    <a:pt x="191554" y="2890039"/>
                    <a:pt x="193853" y="2887789"/>
                    <a:pt x="193873" y="2887723"/>
                  </a:cubicBezTo>
                  <a:cubicBezTo>
                    <a:pt x="189405" y="2886206"/>
                    <a:pt x="188150" y="2885848"/>
                    <a:pt x="186090" y="2880762"/>
                  </a:cubicBezTo>
                  <a:cubicBezTo>
                    <a:pt x="185820" y="2880911"/>
                    <a:pt x="185369" y="2880680"/>
                    <a:pt x="181273" y="2884821"/>
                  </a:cubicBezTo>
                  <a:cubicBezTo>
                    <a:pt x="188469" y="2870668"/>
                    <a:pt x="195219" y="2869761"/>
                    <a:pt x="205269" y="2866669"/>
                  </a:cubicBezTo>
                  <a:close/>
                  <a:moveTo>
                    <a:pt x="178700" y="2850257"/>
                  </a:moveTo>
                  <a:cubicBezTo>
                    <a:pt x="179400" y="2850202"/>
                    <a:pt x="180158" y="2850222"/>
                    <a:pt x="180984" y="2850294"/>
                  </a:cubicBezTo>
                  <a:cubicBezTo>
                    <a:pt x="183185" y="2850487"/>
                    <a:pt x="185853" y="2851052"/>
                    <a:pt x="189123" y="2851550"/>
                  </a:cubicBezTo>
                  <a:cubicBezTo>
                    <a:pt x="178003" y="2853304"/>
                    <a:pt x="174911" y="2859518"/>
                    <a:pt x="170213" y="2870460"/>
                  </a:cubicBezTo>
                  <a:cubicBezTo>
                    <a:pt x="171774" y="2854733"/>
                    <a:pt x="173797" y="2850646"/>
                    <a:pt x="178700" y="2850257"/>
                  </a:cubicBezTo>
                  <a:close/>
                  <a:moveTo>
                    <a:pt x="281302" y="2828180"/>
                  </a:moveTo>
                  <a:cubicBezTo>
                    <a:pt x="282899" y="2830236"/>
                    <a:pt x="278039" y="2837977"/>
                    <a:pt x="273106" y="2842101"/>
                  </a:cubicBezTo>
                  <a:cubicBezTo>
                    <a:pt x="268170" y="2846225"/>
                    <a:pt x="260901" y="2845802"/>
                    <a:pt x="260930" y="2844092"/>
                  </a:cubicBezTo>
                  <a:cubicBezTo>
                    <a:pt x="260957" y="2842383"/>
                    <a:pt x="268674" y="2840116"/>
                    <a:pt x="272070" y="2837463"/>
                  </a:cubicBezTo>
                  <a:cubicBezTo>
                    <a:pt x="275465" y="2834811"/>
                    <a:pt x="280173" y="2827194"/>
                    <a:pt x="281302" y="2828180"/>
                  </a:cubicBezTo>
                  <a:close/>
                  <a:moveTo>
                    <a:pt x="177365" y="2809175"/>
                  </a:moveTo>
                  <a:cubicBezTo>
                    <a:pt x="179304" y="2809250"/>
                    <a:pt x="181261" y="2809417"/>
                    <a:pt x="183229" y="2809689"/>
                  </a:cubicBezTo>
                  <a:cubicBezTo>
                    <a:pt x="198965" y="2811862"/>
                    <a:pt x="219210" y="2828364"/>
                    <a:pt x="226213" y="2838909"/>
                  </a:cubicBezTo>
                  <a:cubicBezTo>
                    <a:pt x="235633" y="2841485"/>
                    <a:pt x="241629" y="2855129"/>
                    <a:pt x="244084" y="2859919"/>
                  </a:cubicBezTo>
                  <a:cubicBezTo>
                    <a:pt x="246539" y="2864708"/>
                    <a:pt x="243681" y="2867445"/>
                    <a:pt x="240944" y="2867646"/>
                  </a:cubicBezTo>
                  <a:cubicBezTo>
                    <a:pt x="240904" y="2868230"/>
                    <a:pt x="249386" y="2875011"/>
                    <a:pt x="253970" y="2877683"/>
                  </a:cubicBezTo>
                  <a:cubicBezTo>
                    <a:pt x="257517" y="2862263"/>
                    <a:pt x="252370" y="2851914"/>
                    <a:pt x="252294" y="2840600"/>
                  </a:cubicBezTo>
                  <a:cubicBezTo>
                    <a:pt x="257689" y="2831181"/>
                    <a:pt x="262115" y="2834562"/>
                    <a:pt x="267509" y="2830940"/>
                  </a:cubicBezTo>
                  <a:cubicBezTo>
                    <a:pt x="270728" y="2827237"/>
                    <a:pt x="273707" y="2819429"/>
                    <a:pt x="279342" y="2819832"/>
                  </a:cubicBezTo>
                  <a:cubicBezTo>
                    <a:pt x="289162" y="2820234"/>
                    <a:pt x="301639" y="2838507"/>
                    <a:pt x="302041" y="2881894"/>
                  </a:cubicBezTo>
                  <a:cubicBezTo>
                    <a:pt x="302283" y="2916347"/>
                    <a:pt x="288518" y="2939449"/>
                    <a:pt x="264611" y="2949753"/>
                  </a:cubicBezTo>
                  <a:cubicBezTo>
                    <a:pt x="252386" y="2953013"/>
                    <a:pt x="241891" y="2952809"/>
                    <a:pt x="232799" y="2950466"/>
                  </a:cubicBezTo>
                  <a:lnTo>
                    <a:pt x="228820" y="2949080"/>
                  </a:lnTo>
                  <a:lnTo>
                    <a:pt x="228342" y="2951341"/>
                  </a:lnTo>
                  <a:cubicBezTo>
                    <a:pt x="223490" y="2969955"/>
                    <a:pt x="209847" y="2971386"/>
                    <a:pt x="203755" y="2971245"/>
                  </a:cubicBezTo>
                  <a:cubicBezTo>
                    <a:pt x="196792" y="2971084"/>
                    <a:pt x="186488" y="2964644"/>
                    <a:pt x="182263" y="2961586"/>
                  </a:cubicBezTo>
                  <a:cubicBezTo>
                    <a:pt x="182141" y="2966254"/>
                    <a:pt x="183229" y="2967905"/>
                    <a:pt x="181297" y="2974143"/>
                  </a:cubicBezTo>
                  <a:cubicBezTo>
                    <a:pt x="186367" y="2977484"/>
                    <a:pt x="189427" y="2989397"/>
                    <a:pt x="190956" y="2994669"/>
                  </a:cubicBezTo>
                  <a:cubicBezTo>
                    <a:pt x="192486" y="2999942"/>
                    <a:pt x="190594" y="3001149"/>
                    <a:pt x="190474" y="3005778"/>
                  </a:cubicBezTo>
                  <a:cubicBezTo>
                    <a:pt x="190353" y="3010407"/>
                    <a:pt x="195182" y="3014109"/>
                    <a:pt x="192646" y="3019543"/>
                  </a:cubicBezTo>
                  <a:cubicBezTo>
                    <a:pt x="190110" y="3024976"/>
                    <a:pt x="183510" y="3025258"/>
                    <a:pt x="176709" y="3025339"/>
                  </a:cubicBezTo>
                  <a:cubicBezTo>
                    <a:pt x="169907" y="3025419"/>
                    <a:pt x="154693" y="3030088"/>
                    <a:pt x="151834" y="3020026"/>
                  </a:cubicBezTo>
                  <a:cubicBezTo>
                    <a:pt x="151478" y="3018768"/>
                    <a:pt x="151228" y="3017269"/>
                    <a:pt x="151076" y="3015572"/>
                  </a:cubicBezTo>
                  <a:cubicBezTo>
                    <a:pt x="151062" y="3015123"/>
                    <a:pt x="151049" y="3014675"/>
                    <a:pt x="151036" y="3014227"/>
                  </a:cubicBezTo>
                  <a:lnTo>
                    <a:pt x="147296" y="3017771"/>
                  </a:lnTo>
                  <a:cubicBezTo>
                    <a:pt x="138748" y="3025818"/>
                    <a:pt x="131042" y="3032402"/>
                    <a:pt x="123822" y="3032100"/>
                  </a:cubicBezTo>
                  <a:cubicBezTo>
                    <a:pt x="111787" y="3029685"/>
                    <a:pt x="102491" y="3010527"/>
                    <a:pt x="100397" y="3003846"/>
                  </a:cubicBezTo>
                  <a:cubicBezTo>
                    <a:pt x="98305" y="2997165"/>
                    <a:pt x="105106" y="2995917"/>
                    <a:pt x="111264" y="2992013"/>
                  </a:cubicBezTo>
                  <a:cubicBezTo>
                    <a:pt x="105106" y="2995595"/>
                    <a:pt x="88444" y="2992657"/>
                    <a:pt x="86392" y="2989598"/>
                  </a:cubicBezTo>
                  <a:cubicBezTo>
                    <a:pt x="86994" y="2995957"/>
                    <a:pt x="86632" y="2996883"/>
                    <a:pt x="85426" y="3000465"/>
                  </a:cubicBezTo>
                  <a:cubicBezTo>
                    <a:pt x="84217" y="3004047"/>
                    <a:pt x="81039" y="3006140"/>
                    <a:pt x="79147" y="3011091"/>
                  </a:cubicBezTo>
                  <a:cubicBezTo>
                    <a:pt x="77254" y="3016041"/>
                    <a:pt x="81602" y="3028397"/>
                    <a:pt x="74075" y="3030168"/>
                  </a:cubicBezTo>
                  <a:cubicBezTo>
                    <a:pt x="66549" y="3031939"/>
                    <a:pt x="43164" y="3031255"/>
                    <a:pt x="33988" y="3021716"/>
                  </a:cubicBezTo>
                  <a:cubicBezTo>
                    <a:pt x="30125" y="3017007"/>
                    <a:pt x="36403" y="3009722"/>
                    <a:pt x="34954" y="3007710"/>
                  </a:cubicBezTo>
                  <a:cubicBezTo>
                    <a:pt x="33506" y="3005697"/>
                    <a:pt x="31091" y="3013626"/>
                    <a:pt x="25294" y="3009642"/>
                  </a:cubicBezTo>
                  <a:cubicBezTo>
                    <a:pt x="19499" y="3005657"/>
                    <a:pt x="1829" y="2992536"/>
                    <a:pt x="180" y="2983802"/>
                  </a:cubicBezTo>
                  <a:cubicBezTo>
                    <a:pt x="-1471" y="2975069"/>
                    <a:pt x="8592" y="2965892"/>
                    <a:pt x="15393" y="2957239"/>
                  </a:cubicBezTo>
                  <a:cubicBezTo>
                    <a:pt x="13743" y="2947861"/>
                    <a:pt x="13058" y="2941582"/>
                    <a:pt x="16842" y="2930675"/>
                  </a:cubicBezTo>
                  <a:cubicBezTo>
                    <a:pt x="11770" y="2927576"/>
                    <a:pt x="743" y="2923189"/>
                    <a:pt x="1387" y="2908699"/>
                  </a:cubicBezTo>
                  <a:lnTo>
                    <a:pt x="3148" y="2895381"/>
                  </a:lnTo>
                  <a:lnTo>
                    <a:pt x="3607" y="2904101"/>
                  </a:lnTo>
                  <a:lnTo>
                    <a:pt x="4431" y="2904497"/>
                  </a:lnTo>
                  <a:lnTo>
                    <a:pt x="4552" y="2905671"/>
                  </a:lnTo>
                  <a:cubicBezTo>
                    <a:pt x="5577" y="2914050"/>
                    <a:pt x="8320" y="2923332"/>
                    <a:pt x="24108" y="2919518"/>
                  </a:cubicBezTo>
                  <a:cubicBezTo>
                    <a:pt x="17317" y="2955551"/>
                    <a:pt x="32653" y="2973417"/>
                    <a:pt x="42330" y="2990148"/>
                  </a:cubicBezTo>
                  <a:lnTo>
                    <a:pt x="43293" y="2991998"/>
                  </a:lnTo>
                  <a:lnTo>
                    <a:pt x="43258" y="2992865"/>
                  </a:lnTo>
                  <a:cubicBezTo>
                    <a:pt x="42967" y="2997973"/>
                    <a:pt x="42236" y="3001513"/>
                    <a:pt x="41857" y="3006308"/>
                  </a:cubicBezTo>
                  <a:cubicBezTo>
                    <a:pt x="40758" y="3010084"/>
                    <a:pt x="38052" y="3009668"/>
                    <a:pt x="38558" y="3017636"/>
                  </a:cubicBezTo>
                  <a:cubicBezTo>
                    <a:pt x="38885" y="3022601"/>
                    <a:pt x="68023" y="3030599"/>
                    <a:pt x="72721" y="3024237"/>
                  </a:cubicBezTo>
                  <a:cubicBezTo>
                    <a:pt x="74087" y="3022036"/>
                    <a:pt x="73494" y="3016982"/>
                    <a:pt x="73879" y="3013354"/>
                  </a:cubicBezTo>
                  <a:cubicBezTo>
                    <a:pt x="74474" y="3009311"/>
                    <a:pt x="79708" y="3004910"/>
                    <a:pt x="80480" y="2999172"/>
                  </a:cubicBezTo>
                  <a:cubicBezTo>
                    <a:pt x="80986" y="2994608"/>
                    <a:pt x="80933" y="2989442"/>
                    <a:pt x="80759" y="2984064"/>
                  </a:cubicBezTo>
                  <a:lnTo>
                    <a:pt x="80551" y="2978385"/>
                  </a:lnTo>
                  <a:lnTo>
                    <a:pt x="82139" y="2980235"/>
                  </a:lnTo>
                  <a:cubicBezTo>
                    <a:pt x="92413" y="2990712"/>
                    <a:pt x="114200" y="2994240"/>
                    <a:pt x="121512" y="2978032"/>
                  </a:cubicBezTo>
                  <a:cubicBezTo>
                    <a:pt x="121601" y="2983235"/>
                    <a:pt x="123296" y="2985227"/>
                    <a:pt x="122403" y="2991769"/>
                  </a:cubicBezTo>
                  <a:cubicBezTo>
                    <a:pt x="119846" y="2995901"/>
                    <a:pt x="108459" y="2996823"/>
                    <a:pt x="105366" y="3004435"/>
                  </a:cubicBezTo>
                  <a:cubicBezTo>
                    <a:pt x="104444" y="3007616"/>
                    <a:pt x="116546" y="3026675"/>
                    <a:pt x="124276" y="3027358"/>
                  </a:cubicBezTo>
                  <a:cubicBezTo>
                    <a:pt x="129895" y="3028012"/>
                    <a:pt x="140333" y="3016982"/>
                    <a:pt x="159331" y="2999618"/>
                  </a:cubicBezTo>
                  <a:cubicBezTo>
                    <a:pt x="162272" y="2996930"/>
                    <a:pt x="173394" y="2975832"/>
                    <a:pt x="178419" y="2957784"/>
                  </a:cubicBezTo>
                  <a:cubicBezTo>
                    <a:pt x="173297" y="2955212"/>
                    <a:pt x="165876" y="2949084"/>
                    <a:pt x="161556" y="2939521"/>
                  </a:cubicBezTo>
                  <a:lnTo>
                    <a:pt x="161363" y="2939013"/>
                  </a:lnTo>
                  <a:lnTo>
                    <a:pt x="163980" y="2940661"/>
                  </a:lnTo>
                  <a:cubicBezTo>
                    <a:pt x="170570" y="2945051"/>
                    <a:pt x="177261" y="2949868"/>
                    <a:pt x="183147" y="2951273"/>
                  </a:cubicBezTo>
                  <a:cubicBezTo>
                    <a:pt x="187487" y="2956268"/>
                    <a:pt x="192542" y="2964207"/>
                    <a:pt x="204466" y="2965723"/>
                  </a:cubicBezTo>
                  <a:cubicBezTo>
                    <a:pt x="214633" y="2967447"/>
                    <a:pt x="221859" y="2957844"/>
                    <a:pt x="225427" y="2947348"/>
                  </a:cubicBezTo>
                  <a:lnTo>
                    <a:pt x="222126" y="2947081"/>
                  </a:lnTo>
                  <a:cubicBezTo>
                    <a:pt x="206962" y="2972502"/>
                    <a:pt x="190937" y="2949318"/>
                    <a:pt x="194333" y="2924933"/>
                  </a:cubicBezTo>
                  <a:lnTo>
                    <a:pt x="195258" y="2920157"/>
                  </a:lnTo>
                  <a:lnTo>
                    <a:pt x="197010" y="2922067"/>
                  </a:lnTo>
                  <a:cubicBezTo>
                    <a:pt x="227282" y="2952918"/>
                    <a:pt x="253752" y="2948407"/>
                    <a:pt x="268776" y="2940212"/>
                  </a:cubicBezTo>
                  <a:cubicBezTo>
                    <a:pt x="309927" y="2914850"/>
                    <a:pt x="297870" y="2827322"/>
                    <a:pt x="280640" y="2823096"/>
                  </a:cubicBezTo>
                  <a:cubicBezTo>
                    <a:pt x="276701" y="2822130"/>
                    <a:pt x="273951" y="2832283"/>
                    <a:pt x="271363" y="2833800"/>
                  </a:cubicBezTo>
                  <a:cubicBezTo>
                    <a:pt x="263425" y="2837992"/>
                    <a:pt x="259947" y="2837367"/>
                    <a:pt x="257805" y="2840668"/>
                  </a:cubicBezTo>
                  <a:cubicBezTo>
                    <a:pt x="253569" y="2846856"/>
                    <a:pt x="269167" y="2882678"/>
                    <a:pt x="249328" y="2901463"/>
                  </a:cubicBezTo>
                  <a:lnTo>
                    <a:pt x="247848" y="2902631"/>
                  </a:lnTo>
                  <a:lnTo>
                    <a:pt x="248159" y="2902030"/>
                  </a:lnTo>
                  <a:cubicBezTo>
                    <a:pt x="251918" y="2894766"/>
                    <a:pt x="255866" y="2886449"/>
                    <a:pt x="251383" y="2882948"/>
                  </a:cubicBezTo>
                  <a:cubicBezTo>
                    <a:pt x="246120" y="2878755"/>
                    <a:pt x="242820" y="2881966"/>
                    <a:pt x="238807" y="2885356"/>
                  </a:cubicBezTo>
                  <a:cubicBezTo>
                    <a:pt x="241394" y="2882412"/>
                    <a:pt x="244515" y="2881877"/>
                    <a:pt x="240145" y="2874920"/>
                  </a:cubicBezTo>
                  <a:cubicBezTo>
                    <a:pt x="236665" y="2872571"/>
                    <a:pt x="234793" y="2873166"/>
                    <a:pt x="228371" y="2874830"/>
                  </a:cubicBezTo>
                  <a:cubicBezTo>
                    <a:pt x="232443" y="2871798"/>
                    <a:pt x="233751" y="2872957"/>
                    <a:pt x="231760" y="2867070"/>
                  </a:cubicBezTo>
                  <a:cubicBezTo>
                    <a:pt x="229039" y="2863413"/>
                    <a:pt x="227674" y="2863720"/>
                    <a:pt x="224953" y="2863926"/>
                  </a:cubicBezTo>
                  <a:lnTo>
                    <a:pt x="223066" y="2863939"/>
                  </a:lnTo>
                  <a:lnTo>
                    <a:pt x="224618" y="2863382"/>
                  </a:lnTo>
                  <a:cubicBezTo>
                    <a:pt x="225487" y="2863089"/>
                    <a:pt x="226274" y="2862852"/>
                    <a:pt x="226943" y="2862700"/>
                  </a:cubicBezTo>
                  <a:cubicBezTo>
                    <a:pt x="232295" y="2861481"/>
                    <a:pt x="238153" y="2863160"/>
                    <a:pt x="238182" y="2860113"/>
                  </a:cubicBezTo>
                  <a:cubicBezTo>
                    <a:pt x="238836" y="2856783"/>
                    <a:pt x="230482" y="2846406"/>
                    <a:pt x="226764" y="2845574"/>
                  </a:cubicBezTo>
                  <a:cubicBezTo>
                    <a:pt x="224780" y="2844949"/>
                    <a:pt x="219584" y="2844425"/>
                    <a:pt x="214865" y="2844114"/>
                  </a:cubicBezTo>
                  <a:lnTo>
                    <a:pt x="213767" y="2844056"/>
                  </a:lnTo>
                  <a:lnTo>
                    <a:pt x="213775" y="2844032"/>
                  </a:lnTo>
                  <a:cubicBezTo>
                    <a:pt x="214896" y="2842485"/>
                    <a:pt x="218625" y="2841917"/>
                    <a:pt x="221503" y="2841649"/>
                  </a:cubicBezTo>
                  <a:cubicBezTo>
                    <a:pt x="209431" y="2825712"/>
                    <a:pt x="193166" y="2815484"/>
                    <a:pt x="179133" y="2815693"/>
                  </a:cubicBezTo>
                  <a:cubicBezTo>
                    <a:pt x="162216" y="2816198"/>
                    <a:pt x="141016" y="2820539"/>
                    <a:pt x="129003" y="2839152"/>
                  </a:cubicBezTo>
                  <a:cubicBezTo>
                    <a:pt x="135143" y="2839085"/>
                    <a:pt x="139712" y="2839113"/>
                    <a:pt x="143140" y="2839476"/>
                  </a:cubicBezTo>
                  <a:lnTo>
                    <a:pt x="143713" y="2839559"/>
                  </a:lnTo>
                  <a:lnTo>
                    <a:pt x="141320" y="2840210"/>
                  </a:lnTo>
                  <a:cubicBezTo>
                    <a:pt x="128600" y="2843270"/>
                    <a:pt x="119739" y="2842813"/>
                    <a:pt x="116887" y="2845292"/>
                  </a:cubicBezTo>
                  <a:cubicBezTo>
                    <a:pt x="110925" y="2849464"/>
                    <a:pt x="72316" y="2885033"/>
                    <a:pt x="70724" y="2905171"/>
                  </a:cubicBezTo>
                  <a:cubicBezTo>
                    <a:pt x="74812" y="2915861"/>
                    <a:pt x="75581" y="2908307"/>
                    <a:pt x="84610" y="2927135"/>
                  </a:cubicBezTo>
                  <a:lnTo>
                    <a:pt x="99020" y="2910709"/>
                  </a:lnTo>
                  <a:lnTo>
                    <a:pt x="82161" y="2945578"/>
                  </a:lnTo>
                  <a:cubicBezTo>
                    <a:pt x="86365" y="2951717"/>
                    <a:pt x="89230" y="2955001"/>
                    <a:pt x="97984" y="2954896"/>
                  </a:cubicBezTo>
                  <a:cubicBezTo>
                    <a:pt x="107331" y="2953656"/>
                    <a:pt x="115965" y="2945994"/>
                    <a:pt x="124956" y="2941543"/>
                  </a:cubicBezTo>
                  <a:cubicBezTo>
                    <a:pt x="133842" y="2937845"/>
                    <a:pt x="136483" y="2940391"/>
                    <a:pt x="142246" y="2939814"/>
                  </a:cubicBezTo>
                  <a:cubicBezTo>
                    <a:pt x="154392" y="2906873"/>
                    <a:pt x="135316" y="2907024"/>
                    <a:pt x="148442" y="2871228"/>
                  </a:cubicBezTo>
                  <a:cubicBezTo>
                    <a:pt x="143777" y="2900142"/>
                    <a:pt x="162303" y="2900156"/>
                    <a:pt x="149162" y="2948604"/>
                  </a:cubicBezTo>
                  <a:lnTo>
                    <a:pt x="147070" y="2948261"/>
                  </a:lnTo>
                  <a:lnTo>
                    <a:pt x="144419" y="2947583"/>
                  </a:lnTo>
                  <a:lnTo>
                    <a:pt x="141703" y="2947159"/>
                  </a:lnTo>
                  <a:lnTo>
                    <a:pt x="140941" y="2946983"/>
                  </a:lnTo>
                  <a:cubicBezTo>
                    <a:pt x="138887" y="2946578"/>
                    <a:pt x="136724" y="2946360"/>
                    <a:pt x="134217" y="2946755"/>
                  </a:cubicBezTo>
                  <a:lnTo>
                    <a:pt x="133237" y="2946983"/>
                  </a:lnTo>
                  <a:lnTo>
                    <a:pt x="132646" y="2947035"/>
                  </a:lnTo>
                  <a:cubicBezTo>
                    <a:pt x="119533" y="2949076"/>
                    <a:pt x="114710" y="2960639"/>
                    <a:pt x="93681" y="2962869"/>
                  </a:cubicBezTo>
                  <a:cubicBezTo>
                    <a:pt x="87412" y="2961646"/>
                    <a:pt x="77385" y="2952433"/>
                    <a:pt x="71492" y="2945269"/>
                  </a:cubicBezTo>
                  <a:lnTo>
                    <a:pt x="71036" y="2944680"/>
                  </a:lnTo>
                  <a:lnTo>
                    <a:pt x="72748" y="2941821"/>
                  </a:lnTo>
                  <a:cubicBezTo>
                    <a:pt x="74575" y="2938975"/>
                    <a:pt x="76574" y="2936065"/>
                    <a:pt x="78786" y="2933077"/>
                  </a:cubicBezTo>
                  <a:cubicBezTo>
                    <a:pt x="74920" y="2922700"/>
                    <a:pt x="64723" y="2919102"/>
                    <a:pt x="61837" y="2906228"/>
                  </a:cubicBezTo>
                  <a:cubicBezTo>
                    <a:pt x="66506" y="2892908"/>
                    <a:pt x="68408" y="2884226"/>
                    <a:pt x="91897" y="2860380"/>
                  </a:cubicBezTo>
                  <a:cubicBezTo>
                    <a:pt x="29460" y="2869330"/>
                    <a:pt x="29645" y="2919596"/>
                    <a:pt x="12381" y="2907443"/>
                  </a:cubicBezTo>
                  <a:lnTo>
                    <a:pt x="8781" y="2904202"/>
                  </a:lnTo>
                  <a:lnTo>
                    <a:pt x="9833" y="2903611"/>
                  </a:lnTo>
                  <a:cubicBezTo>
                    <a:pt x="16197" y="2899325"/>
                    <a:pt x="8661" y="2893153"/>
                    <a:pt x="13760" y="2883839"/>
                  </a:cubicBezTo>
                  <a:lnTo>
                    <a:pt x="3349" y="2893864"/>
                  </a:lnTo>
                  <a:lnTo>
                    <a:pt x="4255" y="2887011"/>
                  </a:lnTo>
                  <a:cubicBezTo>
                    <a:pt x="9315" y="2881975"/>
                    <a:pt x="16158" y="2879137"/>
                    <a:pt x="17808" y="2878513"/>
                  </a:cubicBezTo>
                  <a:cubicBezTo>
                    <a:pt x="14709" y="2887972"/>
                    <a:pt x="21470" y="2894572"/>
                    <a:pt x="17808" y="2902179"/>
                  </a:cubicBezTo>
                  <a:cubicBezTo>
                    <a:pt x="53026" y="2857383"/>
                    <a:pt x="77336" y="2854525"/>
                    <a:pt x="93637" y="2854123"/>
                  </a:cubicBezTo>
                  <a:cubicBezTo>
                    <a:pt x="106315" y="2842853"/>
                    <a:pt x="107400" y="2839915"/>
                    <a:pt x="116095" y="2837702"/>
                  </a:cubicBezTo>
                  <a:lnTo>
                    <a:pt x="122090" y="2837073"/>
                  </a:lnTo>
                  <a:lnTo>
                    <a:pt x="122784" y="2835586"/>
                  </a:lnTo>
                  <a:cubicBezTo>
                    <a:pt x="128120" y="2824989"/>
                    <a:pt x="132778" y="2821683"/>
                    <a:pt x="141934" y="2817175"/>
                  </a:cubicBezTo>
                  <a:cubicBezTo>
                    <a:pt x="151091" y="2812667"/>
                    <a:pt x="163791" y="2808652"/>
                    <a:pt x="177365" y="2809175"/>
                  </a:cubicBezTo>
                  <a:close/>
                  <a:moveTo>
                    <a:pt x="8115172" y="2809129"/>
                  </a:moveTo>
                  <a:cubicBezTo>
                    <a:pt x="8145072" y="2809467"/>
                    <a:pt x="8160021" y="2822474"/>
                    <a:pt x="8160021" y="2848151"/>
                  </a:cubicBezTo>
                  <a:lnTo>
                    <a:pt x="8160021" y="2884511"/>
                  </a:lnTo>
                  <a:cubicBezTo>
                    <a:pt x="8160021" y="2901573"/>
                    <a:pt x="8166567" y="2910526"/>
                    <a:pt x="8179659" y="2911371"/>
                  </a:cubicBezTo>
                  <a:lnTo>
                    <a:pt x="8179659" y="2929868"/>
                  </a:lnTo>
                  <a:cubicBezTo>
                    <a:pt x="8166567" y="2930712"/>
                    <a:pt x="8160021" y="2939496"/>
                    <a:pt x="8160021" y="2956220"/>
                  </a:cubicBezTo>
                  <a:lnTo>
                    <a:pt x="8160021" y="2993595"/>
                  </a:lnTo>
                  <a:cubicBezTo>
                    <a:pt x="8160021" y="3018933"/>
                    <a:pt x="8145072" y="3031771"/>
                    <a:pt x="8115172" y="3032109"/>
                  </a:cubicBezTo>
                  <a:lnTo>
                    <a:pt x="8115172" y="3012598"/>
                  </a:lnTo>
                  <a:cubicBezTo>
                    <a:pt x="8122521" y="3012429"/>
                    <a:pt x="8127736" y="3010403"/>
                    <a:pt x="8130819" y="3006517"/>
                  </a:cubicBezTo>
                  <a:cubicBezTo>
                    <a:pt x="8133901" y="3002632"/>
                    <a:pt x="8135443" y="2996213"/>
                    <a:pt x="8135443" y="2987260"/>
                  </a:cubicBezTo>
                  <a:lnTo>
                    <a:pt x="8135443" y="2951913"/>
                  </a:lnTo>
                  <a:cubicBezTo>
                    <a:pt x="8135443" y="2934767"/>
                    <a:pt x="8143763" y="2924336"/>
                    <a:pt x="8160402" y="2920619"/>
                  </a:cubicBezTo>
                  <a:lnTo>
                    <a:pt x="8160402" y="2920239"/>
                  </a:lnTo>
                  <a:cubicBezTo>
                    <a:pt x="8143763" y="2916269"/>
                    <a:pt x="8135443" y="2905754"/>
                    <a:pt x="8135443" y="2888692"/>
                  </a:cubicBezTo>
                  <a:lnTo>
                    <a:pt x="8135443" y="2852965"/>
                  </a:lnTo>
                  <a:cubicBezTo>
                    <a:pt x="8135443" y="2837170"/>
                    <a:pt x="8128686" y="2829104"/>
                    <a:pt x="8115172" y="2828767"/>
                  </a:cubicBezTo>
                  <a:close/>
                  <a:moveTo>
                    <a:pt x="8097688" y="2809129"/>
                  </a:moveTo>
                  <a:lnTo>
                    <a:pt x="8097688" y="2828767"/>
                  </a:lnTo>
                  <a:cubicBezTo>
                    <a:pt x="8084259" y="2829104"/>
                    <a:pt x="8077544" y="2837170"/>
                    <a:pt x="8077544" y="2852965"/>
                  </a:cubicBezTo>
                  <a:lnTo>
                    <a:pt x="8077544" y="2888692"/>
                  </a:lnTo>
                  <a:cubicBezTo>
                    <a:pt x="8077544" y="2905754"/>
                    <a:pt x="8069140" y="2916269"/>
                    <a:pt x="8052332" y="2920239"/>
                  </a:cubicBezTo>
                  <a:lnTo>
                    <a:pt x="8052332" y="2920619"/>
                  </a:lnTo>
                  <a:cubicBezTo>
                    <a:pt x="8069140" y="2924336"/>
                    <a:pt x="8077544" y="2934767"/>
                    <a:pt x="8077544" y="2951913"/>
                  </a:cubicBezTo>
                  <a:lnTo>
                    <a:pt x="8077544" y="2987260"/>
                  </a:lnTo>
                  <a:cubicBezTo>
                    <a:pt x="8077544" y="2996297"/>
                    <a:pt x="8079043" y="3002737"/>
                    <a:pt x="8082042" y="3006580"/>
                  </a:cubicBezTo>
                  <a:cubicBezTo>
                    <a:pt x="8085040" y="3010423"/>
                    <a:pt x="8090256" y="3012429"/>
                    <a:pt x="8097688" y="3012598"/>
                  </a:cubicBezTo>
                  <a:lnTo>
                    <a:pt x="8097688" y="3032109"/>
                  </a:lnTo>
                  <a:cubicBezTo>
                    <a:pt x="8067620" y="3031771"/>
                    <a:pt x="8052586" y="3018933"/>
                    <a:pt x="8052586" y="2993595"/>
                  </a:cubicBezTo>
                  <a:lnTo>
                    <a:pt x="8052586" y="2956220"/>
                  </a:lnTo>
                  <a:cubicBezTo>
                    <a:pt x="8052586" y="2939496"/>
                    <a:pt x="8045997" y="2930712"/>
                    <a:pt x="8032821" y="2929868"/>
                  </a:cubicBezTo>
                  <a:lnTo>
                    <a:pt x="8032821" y="2911371"/>
                  </a:lnTo>
                  <a:cubicBezTo>
                    <a:pt x="8045997" y="2910526"/>
                    <a:pt x="8052586" y="2901573"/>
                    <a:pt x="8052586" y="2884511"/>
                  </a:cubicBezTo>
                  <a:lnTo>
                    <a:pt x="8052586" y="2848151"/>
                  </a:lnTo>
                  <a:cubicBezTo>
                    <a:pt x="8052586" y="2822474"/>
                    <a:pt x="8067620" y="2809467"/>
                    <a:pt x="8097688" y="2809129"/>
                  </a:cubicBezTo>
                  <a:close/>
                  <a:moveTo>
                    <a:pt x="5416747" y="2809129"/>
                  </a:moveTo>
                  <a:cubicBezTo>
                    <a:pt x="5446648" y="2809467"/>
                    <a:pt x="5461597" y="2822474"/>
                    <a:pt x="5461597" y="2848151"/>
                  </a:cubicBezTo>
                  <a:lnTo>
                    <a:pt x="5461597" y="2884511"/>
                  </a:lnTo>
                  <a:cubicBezTo>
                    <a:pt x="5461597" y="2901573"/>
                    <a:pt x="5468143" y="2910526"/>
                    <a:pt x="5481234" y="2911371"/>
                  </a:cubicBezTo>
                  <a:lnTo>
                    <a:pt x="5481234" y="2929868"/>
                  </a:lnTo>
                  <a:cubicBezTo>
                    <a:pt x="5468143" y="2930712"/>
                    <a:pt x="5461597" y="2939496"/>
                    <a:pt x="5461597" y="2956220"/>
                  </a:cubicBezTo>
                  <a:lnTo>
                    <a:pt x="5461597" y="2993595"/>
                  </a:lnTo>
                  <a:cubicBezTo>
                    <a:pt x="5461597" y="3018933"/>
                    <a:pt x="5446648" y="3031771"/>
                    <a:pt x="5416747" y="3032109"/>
                  </a:cubicBezTo>
                  <a:lnTo>
                    <a:pt x="5416747" y="3012598"/>
                  </a:lnTo>
                  <a:cubicBezTo>
                    <a:pt x="5424096" y="3012429"/>
                    <a:pt x="5429311" y="3010403"/>
                    <a:pt x="5432394" y="3006517"/>
                  </a:cubicBezTo>
                  <a:cubicBezTo>
                    <a:pt x="5435478" y="3002632"/>
                    <a:pt x="5437018" y="2996213"/>
                    <a:pt x="5437018" y="2987260"/>
                  </a:cubicBezTo>
                  <a:lnTo>
                    <a:pt x="5437018" y="2951913"/>
                  </a:lnTo>
                  <a:cubicBezTo>
                    <a:pt x="5437018" y="2934767"/>
                    <a:pt x="5445338" y="2924336"/>
                    <a:pt x="5461977" y="2920619"/>
                  </a:cubicBezTo>
                  <a:lnTo>
                    <a:pt x="5461977" y="2920239"/>
                  </a:lnTo>
                  <a:cubicBezTo>
                    <a:pt x="5445338" y="2916269"/>
                    <a:pt x="5437018" y="2905754"/>
                    <a:pt x="5437018" y="2888692"/>
                  </a:cubicBezTo>
                  <a:lnTo>
                    <a:pt x="5437018" y="2852965"/>
                  </a:lnTo>
                  <a:cubicBezTo>
                    <a:pt x="5437018" y="2837170"/>
                    <a:pt x="5430261" y="2829104"/>
                    <a:pt x="5416747" y="2828767"/>
                  </a:cubicBezTo>
                  <a:close/>
                  <a:moveTo>
                    <a:pt x="5399263" y="2809129"/>
                  </a:moveTo>
                  <a:lnTo>
                    <a:pt x="5399263" y="2828767"/>
                  </a:lnTo>
                  <a:cubicBezTo>
                    <a:pt x="5385834" y="2829104"/>
                    <a:pt x="5379119" y="2837170"/>
                    <a:pt x="5379119" y="2852965"/>
                  </a:cubicBezTo>
                  <a:lnTo>
                    <a:pt x="5379119" y="2888692"/>
                  </a:lnTo>
                  <a:cubicBezTo>
                    <a:pt x="5379119" y="2905754"/>
                    <a:pt x="5370715" y="2916269"/>
                    <a:pt x="5353907" y="2920239"/>
                  </a:cubicBezTo>
                  <a:lnTo>
                    <a:pt x="5353907" y="2920619"/>
                  </a:lnTo>
                  <a:cubicBezTo>
                    <a:pt x="5370715" y="2924336"/>
                    <a:pt x="5379119" y="2934767"/>
                    <a:pt x="5379119" y="2951913"/>
                  </a:cubicBezTo>
                  <a:lnTo>
                    <a:pt x="5379119" y="2987260"/>
                  </a:lnTo>
                  <a:cubicBezTo>
                    <a:pt x="5379119" y="2996297"/>
                    <a:pt x="5380618" y="3002737"/>
                    <a:pt x="5383617" y="3006580"/>
                  </a:cubicBezTo>
                  <a:cubicBezTo>
                    <a:pt x="5386615" y="3010423"/>
                    <a:pt x="5391831" y="3012429"/>
                    <a:pt x="5399263" y="3012598"/>
                  </a:cubicBezTo>
                  <a:lnTo>
                    <a:pt x="5399263" y="3032109"/>
                  </a:lnTo>
                  <a:cubicBezTo>
                    <a:pt x="5369195" y="3031771"/>
                    <a:pt x="5354161" y="3018933"/>
                    <a:pt x="5354161" y="2993595"/>
                  </a:cubicBezTo>
                  <a:lnTo>
                    <a:pt x="5354161" y="2956220"/>
                  </a:lnTo>
                  <a:cubicBezTo>
                    <a:pt x="5354161" y="2939496"/>
                    <a:pt x="5347572" y="2930712"/>
                    <a:pt x="5334396" y="2929868"/>
                  </a:cubicBezTo>
                  <a:lnTo>
                    <a:pt x="5334396" y="2911371"/>
                  </a:lnTo>
                  <a:cubicBezTo>
                    <a:pt x="5347572" y="2910526"/>
                    <a:pt x="5354161" y="2901573"/>
                    <a:pt x="5354161" y="2884511"/>
                  </a:cubicBezTo>
                  <a:lnTo>
                    <a:pt x="5354161" y="2848151"/>
                  </a:lnTo>
                  <a:cubicBezTo>
                    <a:pt x="5354161" y="2822474"/>
                    <a:pt x="5369195" y="2809467"/>
                    <a:pt x="5399263" y="2809129"/>
                  </a:cubicBezTo>
                  <a:close/>
                  <a:moveTo>
                    <a:pt x="2059119" y="2809129"/>
                  </a:moveTo>
                  <a:cubicBezTo>
                    <a:pt x="2089019" y="2809467"/>
                    <a:pt x="2103969" y="2822474"/>
                    <a:pt x="2103969" y="2848151"/>
                  </a:cubicBezTo>
                  <a:lnTo>
                    <a:pt x="2103969" y="2884511"/>
                  </a:lnTo>
                  <a:cubicBezTo>
                    <a:pt x="2103969" y="2901573"/>
                    <a:pt x="2110514" y="2910526"/>
                    <a:pt x="2123606" y="2911371"/>
                  </a:cubicBezTo>
                  <a:lnTo>
                    <a:pt x="2123606" y="2929868"/>
                  </a:lnTo>
                  <a:cubicBezTo>
                    <a:pt x="2110514" y="2930712"/>
                    <a:pt x="2103969" y="2939496"/>
                    <a:pt x="2103969" y="2956220"/>
                  </a:cubicBezTo>
                  <a:lnTo>
                    <a:pt x="2103969" y="2993595"/>
                  </a:lnTo>
                  <a:cubicBezTo>
                    <a:pt x="2103969" y="3018933"/>
                    <a:pt x="2089019" y="3031771"/>
                    <a:pt x="2059119" y="3032109"/>
                  </a:cubicBezTo>
                  <a:lnTo>
                    <a:pt x="2059119" y="3012598"/>
                  </a:lnTo>
                  <a:cubicBezTo>
                    <a:pt x="2066469" y="3012429"/>
                    <a:pt x="2071683" y="3010403"/>
                    <a:pt x="2074767" y="3006517"/>
                  </a:cubicBezTo>
                  <a:cubicBezTo>
                    <a:pt x="2077849" y="3002632"/>
                    <a:pt x="2079391" y="2996213"/>
                    <a:pt x="2079391" y="2987260"/>
                  </a:cubicBezTo>
                  <a:lnTo>
                    <a:pt x="2079391" y="2951913"/>
                  </a:lnTo>
                  <a:cubicBezTo>
                    <a:pt x="2079391" y="2934767"/>
                    <a:pt x="2087710" y="2924336"/>
                    <a:pt x="2104349" y="2920619"/>
                  </a:cubicBezTo>
                  <a:lnTo>
                    <a:pt x="2104349" y="2920239"/>
                  </a:lnTo>
                  <a:cubicBezTo>
                    <a:pt x="2087710" y="2916269"/>
                    <a:pt x="2079391" y="2905754"/>
                    <a:pt x="2079391" y="2888692"/>
                  </a:cubicBezTo>
                  <a:lnTo>
                    <a:pt x="2079391" y="2852965"/>
                  </a:lnTo>
                  <a:cubicBezTo>
                    <a:pt x="2079391" y="2837170"/>
                    <a:pt x="2072634" y="2829104"/>
                    <a:pt x="2059119" y="2828767"/>
                  </a:cubicBezTo>
                  <a:close/>
                  <a:moveTo>
                    <a:pt x="2041635" y="2809129"/>
                  </a:moveTo>
                  <a:lnTo>
                    <a:pt x="2041635" y="2828767"/>
                  </a:lnTo>
                  <a:cubicBezTo>
                    <a:pt x="2028207" y="2829104"/>
                    <a:pt x="2021492" y="2837170"/>
                    <a:pt x="2021492" y="2852965"/>
                  </a:cubicBezTo>
                  <a:lnTo>
                    <a:pt x="2021492" y="2888692"/>
                  </a:lnTo>
                  <a:cubicBezTo>
                    <a:pt x="2021492" y="2905754"/>
                    <a:pt x="2013087" y="2916269"/>
                    <a:pt x="1996279" y="2920239"/>
                  </a:cubicBezTo>
                  <a:lnTo>
                    <a:pt x="1996279" y="2920619"/>
                  </a:lnTo>
                  <a:cubicBezTo>
                    <a:pt x="2013087" y="2924336"/>
                    <a:pt x="2021492" y="2934767"/>
                    <a:pt x="2021492" y="2951913"/>
                  </a:cubicBezTo>
                  <a:lnTo>
                    <a:pt x="2021492" y="2987260"/>
                  </a:lnTo>
                  <a:cubicBezTo>
                    <a:pt x="2021492" y="2996297"/>
                    <a:pt x="2022990" y="3002737"/>
                    <a:pt x="2025989" y="3006580"/>
                  </a:cubicBezTo>
                  <a:cubicBezTo>
                    <a:pt x="2028987" y="3010423"/>
                    <a:pt x="2034203" y="3012429"/>
                    <a:pt x="2041635" y="3012598"/>
                  </a:cubicBezTo>
                  <a:lnTo>
                    <a:pt x="2041635" y="3032109"/>
                  </a:lnTo>
                  <a:cubicBezTo>
                    <a:pt x="2011566" y="3031771"/>
                    <a:pt x="1996533" y="3018933"/>
                    <a:pt x="1996533" y="2993595"/>
                  </a:cubicBezTo>
                  <a:lnTo>
                    <a:pt x="1996533" y="2956220"/>
                  </a:lnTo>
                  <a:cubicBezTo>
                    <a:pt x="1996533" y="2939496"/>
                    <a:pt x="1989944" y="2930712"/>
                    <a:pt x="1976769" y="2929868"/>
                  </a:cubicBezTo>
                  <a:lnTo>
                    <a:pt x="1976769" y="2911371"/>
                  </a:lnTo>
                  <a:cubicBezTo>
                    <a:pt x="1989944" y="2910526"/>
                    <a:pt x="1996533" y="2901573"/>
                    <a:pt x="1996533" y="2884511"/>
                  </a:cubicBezTo>
                  <a:lnTo>
                    <a:pt x="1996533" y="2848151"/>
                  </a:lnTo>
                  <a:cubicBezTo>
                    <a:pt x="1996533" y="2822474"/>
                    <a:pt x="2011566" y="2809467"/>
                    <a:pt x="2041635" y="2809129"/>
                  </a:cubicBezTo>
                  <a:close/>
                  <a:moveTo>
                    <a:pt x="8323201" y="2569470"/>
                  </a:moveTo>
                  <a:lnTo>
                    <a:pt x="8312739" y="2617599"/>
                  </a:lnTo>
                  <a:lnTo>
                    <a:pt x="8355462" y="2617599"/>
                  </a:lnTo>
                  <a:lnTo>
                    <a:pt x="8365750" y="2569470"/>
                  </a:lnTo>
                  <a:close/>
                  <a:moveTo>
                    <a:pt x="2259954" y="2569470"/>
                  </a:moveTo>
                  <a:lnTo>
                    <a:pt x="2249492" y="2617599"/>
                  </a:lnTo>
                  <a:lnTo>
                    <a:pt x="2292215" y="2617599"/>
                  </a:lnTo>
                  <a:lnTo>
                    <a:pt x="2302504" y="2569470"/>
                  </a:lnTo>
                  <a:close/>
                  <a:moveTo>
                    <a:pt x="3665391" y="2480736"/>
                  </a:moveTo>
                  <a:cubicBezTo>
                    <a:pt x="3695290" y="2481074"/>
                    <a:pt x="3710240" y="2494081"/>
                    <a:pt x="3710240" y="2519757"/>
                  </a:cubicBezTo>
                  <a:lnTo>
                    <a:pt x="3710240" y="2556118"/>
                  </a:lnTo>
                  <a:cubicBezTo>
                    <a:pt x="3710240" y="2573180"/>
                    <a:pt x="3716785" y="2582133"/>
                    <a:pt x="3729877" y="2582978"/>
                  </a:cubicBezTo>
                  <a:lnTo>
                    <a:pt x="3729877" y="2601474"/>
                  </a:lnTo>
                  <a:cubicBezTo>
                    <a:pt x="3716785" y="2602319"/>
                    <a:pt x="3710240" y="2611103"/>
                    <a:pt x="3710240" y="2627827"/>
                  </a:cubicBezTo>
                  <a:lnTo>
                    <a:pt x="3710240" y="2665202"/>
                  </a:lnTo>
                  <a:cubicBezTo>
                    <a:pt x="3710240" y="2690540"/>
                    <a:pt x="3695290" y="2703378"/>
                    <a:pt x="3665391" y="2703716"/>
                  </a:cubicBezTo>
                  <a:lnTo>
                    <a:pt x="3665391" y="2684205"/>
                  </a:lnTo>
                  <a:cubicBezTo>
                    <a:pt x="3672738" y="2684036"/>
                    <a:pt x="3677954" y="2682009"/>
                    <a:pt x="3681037" y="2678124"/>
                  </a:cubicBezTo>
                  <a:cubicBezTo>
                    <a:pt x="3684120" y="2674239"/>
                    <a:pt x="3685661" y="2667820"/>
                    <a:pt x="3685661" y="2658867"/>
                  </a:cubicBezTo>
                  <a:lnTo>
                    <a:pt x="3685661" y="2623519"/>
                  </a:lnTo>
                  <a:cubicBezTo>
                    <a:pt x="3685661" y="2606374"/>
                    <a:pt x="3693981" y="2595942"/>
                    <a:pt x="3710620" y="2592226"/>
                  </a:cubicBezTo>
                  <a:lnTo>
                    <a:pt x="3710620" y="2591846"/>
                  </a:lnTo>
                  <a:cubicBezTo>
                    <a:pt x="3693981" y="2587876"/>
                    <a:pt x="3685661" y="2577361"/>
                    <a:pt x="3685661" y="2560299"/>
                  </a:cubicBezTo>
                  <a:lnTo>
                    <a:pt x="3685661" y="2524572"/>
                  </a:lnTo>
                  <a:cubicBezTo>
                    <a:pt x="3685661" y="2508777"/>
                    <a:pt x="3678904" y="2500711"/>
                    <a:pt x="3665391" y="2500374"/>
                  </a:cubicBezTo>
                  <a:close/>
                  <a:moveTo>
                    <a:pt x="3647906" y="2480736"/>
                  </a:moveTo>
                  <a:lnTo>
                    <a:pt x="3647906" y="2500374"/>
                  </a:lnTo>
                  <a:cubicBezTo>
                    <a:pt x="3634476" y="2500711"/>
                    <a:pt x="3627762" y="2508777"/>
                    <a:pt x="3627762" y="2524572"/>
                  </a:cubicBezTo>
                  <a:lnTo>
                    <a:pt x="3627762" y="2560299"/>
                  </a:lnTo>
                  <a:cubicBezTo>
                    <a:pt x="3627762" y="2577361"/>
                    <a:pt x="3619358" y="2587876"/>
                    <a:pt x="3602550" y="2591846"/>
                  </a:cubicBezTo>
                  <a:lnTo>
                    <a:pt x="3602550" y="2592226"/>
                  </a:lnTo>
                  <a:cubicBezTo>
                    <a:pt x="3619358" y="2595942"/>
                    <a:pt x="3627762" y="2606374"/>
                    <a:pt x="3627762" y="2623519"/>
                  </a:cubicBezTo>
                  <a:lnTo>
                    <a:pt x="3627762" y="2658867"/>
                  </a:lnTo>
                  <a:cubicBezTo>
                    <a:pt x="3627762" y="2667904"/>
                    <a:pt x="3629261" y="2674344"/>
                    <a:pt x="3632260" y="2678187"/>
                  </a:cubicBezTo>
                  <a:cubicBezTo>
                    <a:pt x="3635258" y="2682030"/>
                    <a:pt x="3640474" y="2684036"/>
                    <a:pt x="3647906" y="2684205"/>
                  </a:cubicBezTo>
                  <a:lnTo>
                    <a:pt x="3647906" y="2703716"/>
                  </a:lnTo>
                  <a:cubicBezTo>
                    <a:pt x="3617837" y="2703378"/>
                    <a:pt x="3602804" y="2690540"/>
                    <a:pt x="3602804" y="2665202"/>
                  </a:cubicBezTo>
                  <a:lnTo>
                    <a:pt x="3602804" y="2627827"/>
                  </a:lnTo>
                  <a:cubicBezTo>
                    <a:pt x="3602804" y="2611103"/>
                    <a:pt x="3596215" y="2602319"/>
                    <a:pt x="3583039" y="2601474"/>
                  </a:cubicBezTo>
                  <a:lnTo>
                    <a:pt x="3583039" y="2582978"/>
                  </a:lnTo>
                  <a:cubicBezTo>
                    <a:pt x="3596215" y="2582133"/>
                    <a:pt x="3602804" y="2573180"/>
                    <a:pt x="3602804" y="2556118"/>
                  </a:cubicBezTo>
                  <a:lnTo>
                    <a:pt x="3602804" y="2519757"/>
                  </a:lnTo>
                  <a:cubicBezTo>
                    <a:pt x="3602804" y="2494081"/>
                    <a:pt x="3617837" y="2481074"/>
                    <a:pt x="3647906" y="2480736"/>
                  </a:cubicBezTo>
                  <a:close/>
                  <a:moveTo>
                    <a:pt x="8314134" y="2477919"/>
                  </a:moveTo>
                  <a:lnTo>
                    <a:pt x="8342209" y="2477919"/>
                  </a:lnTo>
                  <a:lnTo>
                    <a:pt x="8328433" y="2545056"/>
                  </a:lnTo>
                  <a:lnTo>
                    <a:pt x="8370633" y="2545056"/>
                  </a:lnTo>
                  <a:lnTo>
                    <a:pt x="8384932" y="2477919"/>
                  </a:lnTo>
                  <a:lnTo>
                    <a:pt x="8412485" y="2477919"/>
                  </a:lnTo>
                  <a:lnTo>
                    <a:pt x="8398534" y="2545056"/>
                  </a:lnTo>
                  <a:lnTo>
                    <a:pt x="8438293" y="2545056"/>
                  </a:lnTo>
                  <a:lnTo>
                    <a:pt x="8432887" y="2569470"/>
                  </a:lnTo>
                  <a:lnTo>
                    <a:pt x="8393303" y="2569470"/>
                  </a:lnTo>
                  <a:lnTo>
                    <a:pt x="8383189" y="2617599"/>
                  </a:lnTo>
                  <a:lnTo>
                    <a:pt x="8426435" y="2617599"/>
                  </a:lnTo>
                  <a:lnTo>
                    <a:pt x="8420331" y="2642012"/>
                  </a:lnTo>
                  <a:lnTo>
                    <a:pt x="8378132" y="2642012"/>
                  </a:lnTo>
                  <a:lnTo>
                    <a:pt x="8363832" y="2706533"/>
                  </a:lnTo>
                  <a:lnTo>
                    <a:pt x="8336105" y="2706533"/>
                  </a:lnTo>
                  <a:lnTo>
                    <a:pt x="8350056" y="2642012"/>
                  </a:lnTo>
                  <a:lnTo>
                    <a:pt x="8307856" y="2642012"/>
                  </a:lnTo>
                  <a:lnTo>
                    <a:pt x="8294254" y="2706533"/>
                  </a:lnTo>
                  <a:lnTo>
                    <a:pt x="8266528" y="2706533"/>
                  </a:lnTo>
                  <a:lnTo>
                    <a:pt x="8280129" y="2642012"/>
                  </a:lnTo>
                  <a:lnTo>
                    <a:pt x="8240196" y="2642012"/>
                  </a:lnTo>
                  <a:lnTo>
                    <a:pt x="8245078" y="2617599"/>
                  </a:lnTo>
                  <a:lnTo>
                    <a:pt x="8285535" y="2617599"/>
                  </a:lnTo>
                  <a:lnTo>
                    <a:pt x="8295126" y="2569470"/>
                  </a:lnTo>
                  <a:lnTo>
                    <a:pt x="8252577" y="2569470"/>
                  </a:lnTo>
                  <a:lnTo>
                    <a:pt x="8257634" y="2545056"/>
                  </a:lnTo>
                  <a:lnTo>
                    <a:pt x="8300183" y="2545056"/>
                  </a:lnTo>
                  <a:close/>
                  <a:moveTo>
                    <a:pt x="2250888" y="2477919"/>
                  </a:moveTo>
                  <a:lnTo>
                    <a:pt x="2278962" y="2477919"/>
                  </a:lnTo>
                  <a:lnTo>
                    <a:pt x="2265187" y="2545056"/>
                  </a:lnTo>
                  <a:lnTo>
                    <a:pt x="2307386" y="2545056"/>
                  </a:lnTo>
                  <a:lnTo>
                    <a:pt x="2321686" y="2477919"/>
                  </a:lnTo>
                  <a:lnTo>
                    <a:pt x="2349239" y="2477919"/>
                  </a:lnTo>
                  <a:lnTo>
                    <a:pt x="2335288" y="2545056"/>
                  </a:lnTo>
                  <a:lnTo>
                    <a:pt x="2375047" y="2545056"/>
                  </a:lnTo>
                  <a:lnTo>
                    <a:pt x="2369642" y="2569470"/>
                  </a:lnTo>
                  <a:lnTo>
                    <a:pt x="2330056" y="2569470"/>
                  </a:lnTo>
                  <a:lnTo>
                    <a:pt x="2319942" y="2617599"/>
                  </a:lnTo>
                  <a:lnTo>
                    <a:pt x="2363188" y="2617599"/>
                  </a:lnTo>
                  <a:lnTo>
                    <a:pt x="2357086" y="2642012"/>
                  </a:lnTo>
                  <a:lnTo>
                    <a:pt x="2314885" y="2642012"/>
                  </a:lnTo>
                  <a:lnTo>
                    <a:pt x="2300585" y="2706533"/>
                  </a:lnTo>
                  <a:lnTo>
                    <a:pt x="2272859" y="2706533"/>
                  </a:lnTo>
                  <a:lnTo>
                    <a:pt x="2286810" y="2642012"/>
                  </a:lnTo>
                  <a:lnTo>
                    <a:pt x="2244610" y="2642012"/>
                  </a:lnTo>
                  <a:lnTo>
                    <a:pt x="2231007" y="2706533"/>
                  </a:lnTo>
                  <a:lnTo>
                    <a:pt x="2203282" y="2706533"/>
                  </a:lnTo>
                  <a:lnTo>
                    <a:pt x="2216884" y="2642012"/>
                  </a:lnTo>
                  <a:lnTo>
                    <a:pt x="2176949" y="2642012"/>
                  </a:lnTo>
                  <a:lnTo>
                    <a:pt x="2181833" y="2617599"/>
                  </a:lnTo>
                  <a:lnTo>
                    <a:pt x="2222288" y="2617599"/>
                  </a:lnTo>
                  <a:lnTo>
                    <a:pt x="2231879" y="2569470"/>
                  </a:lnTo>
                  <a:lnTo>
                    <a:pt x="2189331" y="2569470"/>
                  </a:lnTo>
                  <a:lnTo>
                    <a:pt x="2194388" y="2545056"/>
                  </a:lnTo>
                  <a:lnTo>
                    <a:pt x="2236936" y="2545056"/>
                  </a:lnTo>
                  <a:close/>
                  <a:moveTo>
                    <a:pt x="10887030" y="2172960"/>
                  </a:moveTo>
                  <a:cubicBezTo>
                    <a:pt x="10923487" y="2173298"/>
                    <a:pt x="10941716" y="2186305"/>
                    <a:pt x="10941716" y="2211981"/>
                  </a:cubicBezTo>
                  <a:lnTo>
                    <a:pt x="10941716" y="2248342"/>
                  </a:lnTo>
                  <a:cubicBezTo>
                    <a:pt x="10941716" y="2265404"/>
                    <a:pt x="10949697" y="2274357"/>
                    <a:pt x="10965660" y="2275202"/>
                  </a:cubicBezTo>
                  <a:lnTo>
                    <a:pt x="10965660" y="2293698"/>
                  </a:lnTo>
                  <a:cubicBezTo>
                    <a:pt x="10949697" y="2294543"/>
                    <a:pt x="10941716" y="2303327"/>
                    <a:pt x="10941716" y="2320051"/>
                  </a:cubicBezTo>
                  <a:lnTo>
                    <a:pt x="10941716" y="2357426"/>
                  </a:lnTo>
                  <a:cubicBezTo>
                    <a:pt x="10941716" y="2382764"/>
                    <a:pt x="10923487" y="2395602"/>
                    <a:pt x="10887030" y="2395940"/>
                  </a:cubicBezTo>
                  <a:lnTo>
                    <a:pt x="10887030" y="2376429"/>
                  </a:lnTo>
                  <a:cubicBezTo>
                    <a:pt x="10895990" y="2376260"/>
                    <a:pt x="10902349" y="2374233"/>
                    <a:pt x="10906108" y="2370348"/>
                  </a:cubicBezTo>
                  <a:cubicBezTo>
                    <a:pt x="10909867" y="2366463"/>
                    <a:pt x="10911747" y="2360044"/>
                    <a:pt x="10911747" y="2351091"/>
                  </a:cubicBezTo>
                  <a:lnTo>
                    <a:pt x="10911747" y="2315743"/>
                  </a:lnTo>
                  <a:cubicBezTo>
                    <a:pt x="10911747" y="2298598"/>
                    <a:pt x="10921891" y="2288166"/>
                    <a:pt x="10942179" y="2284450"/>
                  </a:cubicBezTo>
                  <a:lnTo>
                    <a:pt x="10942179" y="2284070"/>
                  </a:lnTo>
                  <a:cubicBezTo>
                    <a:pt x="10921891" y="2280100"/>
                    <a:pt x="10911747" y="2269585"/>
                    <a:pt x="10911747" y="2252523"/>
                  </a:cubicBezTo>
                  <a:lnTo>
                    <a:pt x="10911747" y="2216796"/>
                  </a:lnTo>
                  <a:cubicBezTo>
                    <a:pt x="10911747" y="2201001"/>
                    <a:pt x="10903508" y="2192935"/>
                    <a:pt x="10887030" y="2192598"/>
                  </a:cubicBezTo>
                  <a:close/>
                  <a:moveTo>
                    <a:pt x="10865711" y="2172960"/>
                  </a:moveTo>
                  <a:lnTo>
                    <a:pt x="10865711" y="2192598"/>
                  </a:lnTo>
                  <a:cubicBezTo>
                    <a:pt x="10849337" y="2192935"/>
                    <a:pt x="10841149" y="2201001"/>
                    <a:pt x="10841149" y="2216796"/>
                  </a:cubicBezTo>
                  <a:lnTo>
                    <a:pt x="10841149" y="2252523"/>
                  </a:lnTo>
                  <a:cubicBezTo>
                    <a:pt x="10841149" y="2269585"/>
                    <a:pt x="10830902" y="2280100"/>
                    <a:pt x="10810408" y="2284070"/>
                  </a:cubicBezTo>
                  <a:lnTo>
                    <a:pt x="10810408" y="2284450"/>
                  </a:lnTo>
                  <a:cubicBezTo>
                    <a:pt x="10830902" y="2288166"/>
                    <a:pt x="10841149" y="2298598"/>
                    <a:pt x="10841149" y="2315743"/>
                  </a:cubicBezTo>
                  <a:lnTo>
                    <a:pt x="10841149" y="2351091"/>
                  </a:lnTo>
                  <a:cubicBezTo>
                    <a:pt x="10841149" y="2360128"/>
                    <a:pt x="10842977" y="2366568"/>
                    <a:pt x="10846633" y="2370411"/>
                  </a:cubicBezTo>
                  <a:cubicBezTo>
                    <a:pt x="10850289" y="2374254"/>
                    <a:pt x="10856649" y="2376260"/>
                    <a:pt x="10865711" y="2376429"/>
                  </a:cubicBezTo>
                  <a:lnTo>
                    <a:pt x="10865711" y="2395940"/>
                  </a:lnTo>
                  <a:cubicBezTo>
                    <a:pt x="10829048" y="2395602"/>
                    <a:pt x="10810717" y="2382764"/>
                    <a:pt x="10810717" y="2357426"/>
                  </a:cubicBezTo>
                  <a:lnTo>
                    <a:pt x="10810717" y="2320051"/>
                  </a:lnTo>
                  <a:cubicBezTo>
                    <a:pt x="10810717" y="2303327"/>
                    <a:pt x="10802684" y="2294543"/>
                    <a:pt x="10786618" y="2293698"/>
                  </a:cubicBezTo>
                  <a:lnTo>
                    <a:pt x="10786618" y="2275202"/>
                  </a:lnTo>
                  <a:cubicBezTo>
                    <a:pt x="10802684" y="2274357"/>
                    <a:pt x="10810717" y="2265404"/>
                    <a:pt x="10810717" y="2248342"/>
                  </a:cubicBezTo>
                  <a:lnTo>
                    <a:pt x="10810717" y="2211981"/>
                  </a:lnTo>
                  <a:cubicBezTo>
                    <a:pt x="10810717" y="2186305"/>
                    <a:pt x="10829048" y="2173298"/>
                    <a:pt x="10865711" y="2172960"/>
                  </a:cubicBezTo>
                  <a:close/>
                  <a:moveTo>
                    <a:pt x="8381124" y="2172960"/>
                  </a:moveTo>
                  <a:cubicBezTo>
                    <a:pt x="8417581" y="2173298"/>
                    <a:pt x="8435810" y="2186305"/>
                    <a:pt x="8435810" y="2211981"/>
                  </a:cubicBezTo>
                  <a:lnTo>
                    <a:pt x="8435810" y="2248342"/>
                  </a:lnTo>
                  <a:cubicBezTo>
                    <a:pt x="8435810" y="2265404"/>
                    <a:pt x="8443791" y="2274357"/>
                    <a:pt x="8459754" y="2275202"/>
                  </a:cubicBezTo>
                  <a:lnTo>
                    <a:pt x="8459754" y="2293698"/>
                  </a:lnTo>
                  <a:cubicBezTo>
                    <a:pt x="8443791" y="2294543"/>
                    <a:pt x="8435810" y="2303327"/>
                    <a:pt x="8435810" y="2320051"/>
                  </a:cubicBezTo>
                  <a:lnTo>
                    <a:pt x="8435810" y="2357426"/>
                  </a:lnTo>
                  <a:cubicBezTo>
                    <a:pt x="8435810" y="2382764"/>
                    <a:pt x="8417581" y="2395602"/>
                    <a:pt x="8381124" y="2395940"/>
                  </a:cubicBezTo>
                  <a:lnTo>
                    <a:pt x="8381124" y="2376429"/>
                  </a:lnTo>
                  <a:cubicBezTo>
                    <a:pt x="8390084" y="2376260"/>
                    <a:pt x="8396443" y="2374233"/>
                    <a:pt x="8400202" y="2370348"/>
                  </a:cubicBezTo>
                  <a:cubicBezTo>
                    <a:pt x="8403961" y="2366463"/>
                    <a:pt x="8405841" y="2360044"/>
                    <a:pt x="8405841" y="2351091"/>
                  </a:cubicBezTo>
                  <a:lnTo>
                    <a:pt x="8405841" y="2315743"/>
                  </a:lnTo>
                  <a:cubicBezTo>
                    <a:pt x="8405841" y="2298598"/>
                    <a:pt x="8415985" y="2288166"/>
                    <a:pt x="8436273" y="2284450"/>
                  </a:cubicBezTo>
                  <a:lnTo>
                    <a:pt x="8436273" y="2284070"/>
                  </a:lnTo>
                  <a:cubicBezTo>
                    <a:pt x="8415985" y="2280100"/>
                    <a:pt x="8405841" y="2269585"/>
                    <a:pt x="8405841" y="2252523"/>
                  </a:cubicBezTo>
                  <a:lnTo>
                    <a:pt x="8405841" y="2216796"/>
                  </a:lnTo>
                  <a:cubicBezTo>
                    <a:pt x="8405841" y="2201001"/>
                    <a:pt x="8397602" y="2192935"/>
                    <a:pt x="8381124" y="2192598"/>
                  </a:cubicBezTo>
                  <a:close/>
                  <a:moveTo>
                    <a:pt x="8359805" y="2172960"/>
                  </a:moveTo>
                  <a:lnTo>
                    <a:pt x="8359805" y="2192598"/>
                  </a:lnTo>
                  <a:cubicBezTo>
                    <a:pt x="8343431" y="2192935"/>
                    <a:pt x="8335243" y="2201001"/>
                    <a:pt x="8335243" y="2216796"/>
                  </a:cubicBezTo>
                  <a:lnTo>
                    <a:pt x="8335243" y="2252523"/>
                  </a:lnTo>
                  <a:cubicBezTo>
                    <a:pt x="8335243" y="2269585"/>
                    <a:pt x="8324996" y="2280100"/>
                    <a:pt x="8304502" y="2284070"/>
                  </a:cubicBezTo>
                  <a:lnTo>
                    <a:pt x="8304502" y="2284450"/>
                  </a:lnTo>
                  <a:cubicBezTo>
                    <a:pt x="8324996" y="2288166"/>
                    <a:pt x="8335243" y="2298598"/>
                    <a:pt x="8335243" y="2315743"/>
                  </a:cubicBezTo>
                  <a:lnTo>
                    <a:pt x="8335243" y="2351091"/>
                  </a:lnTo>
                  <a:cubicBezTo>
                    <a:pt x="8335243" y="2360128"/>
                    <a:pt x="8337071" y="2366568"/>
                    <a:pt x="8340727" y="2370411"/>
                  </a:cubicBezTo>
                  <a:cubicBezTo>
                    <a:pt x="8344383" y="2374254"/>
                    <a:pt x="8350743" y="2376260"/>
                    <a:pt x="8359805" y="2376429"/>
                  </a:cubicBezTo>
                  <a:lnTo>
                    <a:pt x="8359805" y="2395940"/>
                  </a:lnTo>
                  <a:cubicBezTo>
                    <a:pt x="8323142" y="2395602"/>
                    <a:pt x="8304811" y="2382764"/>
                    <a:pt x="8304811" y="2357426"/>
                  </a:cubicBezTo>
                  <a:lnTo>
                    <a:pt x="8304811" y="2320051"/>
                  </a:lnTo>
                  <a:cubicBezTo>
                    <a:pt x="8304811" y="2303327"/>
                    <a:pt x="8296778" y="2294543"/>
                    <a:pt x="8280712" y="2293698"/>
                  </a:cubicBezTo>
                  <a:lnTo>
                    <a:pt x="8280712" y="2275202"/>
                  </a:lnTo>
                  <a:cubicBezTo>
                    <a:pt x="8296778" y="2274357"/>
                    <a:pt x="8304811" y="2265404"/>
                    <a:pt x="8304811" y="2248342"/>
                  </a:cubicBezTo>
                  <a:lnTo>
                    <a:pt x="8304811" y="2211981"/>
                  </a:lnTo>
                  <a:cubicBezTo>
                    <a:pt x="8304811" y="2186305"/>
                    <a:pt x="8323142" y="2173298"/>
                    <a:pt x="8359805" y="2172960"/>
                  </a:cubicBezTo>
                  <a:close/>
                  <a:moveTo>
                    <a:pt x="4831058" y="2172960"/>
                  </a:moveTo>
                  <a:cubicBezTo>
                    <a:pt x="4867515" y="2173298"/>
                    <a:pt x="4885744" y="2186305"/>
                    <a:pt x="4885744" y="2211981"/>
                  </a:cubicBezTo>
                  <a:lnTo>
                    <a:pt x="4885744" y="2248342"/>
                  </a:lnTo>
                  <a:cubicBezTo>
                    <a:pt x="4885744" y="2265404"/>
                    <a:pt x="4893725" y="2274357"/>
                    <a:pt x="4909688" y="2275202"/>
                  </a:cubicBezTo>
                  <a:lnTo>
                    <a:pt x="4909688" y="2293698"/>
                  </a:lnTo>
                  <a:cubicBezTo>
                    <a:pt x="4893725" y="2294543"/>
                    <a:pt x="4885744" y="2303327"/>
                    <a:pt x="4885744" y="2320051"/>
                  </a:cubicBezTo>
                  <a:lnTo>
                    <a:pt x="4885744" y="2357426"/>
                  </a:lnTo>
                  <a:cubicBezTo>
                    <a:pt x="4885744" y="2382764"/>
                    <a:pt x="4867515" y="2395602"/>
                    <a:pt x="4831058" y="2395940"/>
                  </a:cubicBezTo>
                  <a:lnTo>
                    <a:pt x="4831058" y="2376429"/>
                  </a:lnTo>
                  <a:cubicBezTo>
                    <a:pt x="4840018" y="2376260"/>
                    <a:pt x="4846378" y="2374233"/>
                    <a:pt x="4850137" y="2370348"/>
                  </a:cubicBezTo>
                  <a:cubicBezTo>
                    <a:pt x="4853895" y="2366463"/>
                    <a:pt x="4855775" y="2360044"/>
                    <a:pt x="4855775" y="2351091"/>
                  </a:cubicBezTo>
                  <a:lnTo>
                    <a:pt x="4855775" y="2315743"/>
                  </a:lnTo>
                  <a:cubicBezTo>
                    <a:pt x="4855775" y="2298598"/>
                    <a:pt x="4865919" y="2288166"/>
                    <a:pt x="4886207" y="2284450"/>
                  </a:cubicBezTo>
                  <a:lnTo>
                    <a:pt x="4886207" y="2284070"/>
                  </a:lnTo>
                  <a:cubicBezTo>
                    <a:pt x="4865919" y="2280100"/>
                    <a:pt x="4855775" y="2269585"/>
                    <a:pt x="4855775" y="2252523"/>
                  </a:cubicBezTo>
                  <a:lnTo>
                    <a:pt x="4855775" y="2216796"/>
                  </a:lnTo>
                  <a:cubicBezTo>
                    <a:pt x="4855775" y="2201001"/>
                    <a:pt x="4847536" y="2192935"/>
                    <a:pt x="4831058" y="2192598"/>
                  </a:cubicBezTo>
                  <a:close/>
                  <a:moveTo>
                    <a:pt x="4809740" y="2172960"/>
                  </a:moveTo>
                  <a:lnTo>
                    <a:pt x="4809740" y="2192598"/>
                  </a:lnTo>
                  <a:cubicBezTo>
                    <a:pt x="4793366" y="2192935"/>
                    <a:pt x="4785177" y="2201001"/>
                    <a:pt x="4785177" y="2216796"/>
                  </a:cubicBezTo>
                  <a:lnTo>
                    <a:pt x="4785177" y="2252523"/>
                  </a:lnTo>
                  <a:cubicBezTo>
                    <a:pt x="4785177" y="2269585"/>
                    <a:pt x="4774930" y="2280100"/>
                    <a:pt x="4754435" y="2284070"/>
                  </a:cubicBezTo>
                  <a:lnTo>
                    <a:pt x="4754435" y="2284450"/>
                  </a:lnTo>
                  <a:cubicBezTo>
                    <a:pt x="4774930" y="2288166"/>
                    <a:pt x="4785177" y="2298598"/>
                    <a:pt x="4785177" y="2315743"/>
                  </a:cubicBezTo>
                  <a:lnTo>
                    <a:pt x="4785177" y="2351091"/>
                  </a:lnTo>
                  <a:cubicBezTo>
                    <a:pt x="4785177" y="2360128"/>
                    <a:pt x="4787005" y="2366568"/>
                    <a:pt x="4790661" y="2370411"/>
                  </a:cubicBezTo>
                  <a:cubicBezTo>
                    <a:pt x="4794318" y="2374254"/>
                    <a:pt x="4800677" y="2376260"/>
                    <a:pt x="4809740" y="2376429"/>
                  </a:cubicBezTo>
                  <a:lnTo>
                    <a:pt x="4809740" y="2395940"/>
                  </a:lnTo>
                  <a:cubicBezTo>
                    <a:pt x="4773076" y="2395602"/>
                    <a:pt x="4754745" y="2382764"/>
                    <a:pt x="4754745" y="2357426"/>
                  </a:cubicBezTo>
                  <a:lnTo>
                    <a:pt x="4754745" y="2320051"/>
                  </a:lnTo>
                  <a:cubicBezTo>
                    <a:pt x="4754745" y="2303327"/>
                    <a:pt x="4746712" y="2294543"/>
                    <a:pt x="4730646" y="2293698"/>
                  </a:cubicBezTo>
                  <a:lnTo>
                    <a:pt x="4730646" y="2275202"/>
                  </a:lnTo>
                  <a:cubicBezTo>
                    <a:pt x="4746712" y="2274357"/>
                    <a:pt x="4754745" y="2265404"/>
                    <a:pt x="4754745" y="2248342"/>
                  </a:cubicBezTo>
                  <a:lnTo>
                    <a:pt x="4754745" y="2211981"/>
                  </a:lnTo>
                  <a:cubicBezTo>
                    <a:pt x="4754745" y="2186305"/>
                    <a:pt x="4773076" y="2173298"/>
                    <a:pt x="4809740" y="2172960"/>
                  </a:cubicBezTo>
                  <a:close/>
                  <a:moveTo>
                    <a:pt x="2326456" y="2172960"/>
                  </a:moveTo>
                  <a:cubicBezTo>
                    <a:pt x="2362913" y="2173298"/>
                    <a:pt x="2381142" y="2186305"/>
                    <a:pt x="2381142" y="2211981"/>
                  </a:cubicBezTo>
                  <a:lnTo>
                    <a:pt x="2381142" y="2248342"/>
                  </a:lnTo>
                  <a:cubicBezTo>
                    <a:pt x="2381142" y="2265404"/>
                    <a:pt x="2389123" y="2274357"/>
                    <a:pt x="2405086" y="2275202"/>
                  </a:cubicBezTo>
                  <a:lnTo>
                    <a:pt x="2405086" y="2293698"/>
                  </a:lnTo>
                  <a:cubicBezTo>
                    <a:pt x="2389123" y="2294543"/>
                    <a:pt x="2381142" y="2303327"/>
                    <a:pt x="2381142" y="2320051"/>
                  </a:cubicBezTo>
                  <a:lnTo>
                    <a:pt x="2381142" y="2357426"/>
                  </a:lnTo>
                  <a:cubicBezTo>
                    <a:pt x="2381142" y="2382764"/>
                    <a:pt x="2362913" y="2395602"/>
                    <a:pt x="2326456" y="2395940"/>
                  </a:cubicBezTo>
                  <a:lnTo>
                    <a:pt x="2326456" y="2376429"/>
                  </a:lnTo>
                  <a:cubicBezTo>
                    <a:pt x="2335415" y="2376260"/>
                    <a:pt x="2341774" y="2374233"/>
                    <a:pt x="2345533" y="2370348"/>
                  </a:cubicBezTo>
                  <a:cubicBezTo>
                    <a:pt x="2349293" y="2366463"/>
                    <a:pt x="2351172" y="2360044"/>
                    <a:pt x="2351172" y="2351091"/>
                  </a:cubicBezTo>
                  <a:lnTo>
                    <a:pt x="2351172" y="2315743"/>
                  </a:lnTo>
                  <a:cubicBezTo>
                    <a:pt x="2351172" y="2298598"/>
                    <a:pt x="2361317" y="2288166"/>
                    <a:pt x="2381605" y="2284450"/>
                  </a:cubicBezTo>
                  <a:lnTo>
                    <a:pt x="2381605" y="2284070"/>
                  </a:lnTo>
                  <a:cubicBezTo>
                    <a:pt x="2361317" y="2280100"/>
                    <a:pt x="2351172" y="2269585"/>
                    <a:pt x="2351172" y="2252523"/>
                  </a:cubicBezTo>
                  <a:lnTo>
                    <a:pt x="2351172" y="2216796"/>
                  </a:lnTo>
                  <a:cubicBezTo>
                    <a:pt x="2351172" y="2201001"/>
                    <a:pt x="2342934" y="2192935"/>
                    <a:pt x="2326456" y="2192598"/>
                  </a:cubicBezTo>
                  <a:close/>
                  <a:moveTo>
                    <a:pt x="2305137" y="2172960"/>
                  </a:moveTo>
                  <a:lnTo>
                    <a:pt x="2305137" y="2192598"/>
                  </a:lnTo>
                  <a:cubicBezTo>
                    <a:pt x="2288762" y="2192935"/>
                    <a:pt x="2280575" y="2201001"/>
                    <a:pt x="2280575" y="2216796"/>
                  </a:cubicBezTo>
                  <a:lnTo>
                    <a:pt x="2280575" y="2252523"/>
                  </a:lnTo>
                  <a:cubicBezTo>
                    <a:pt x="2280575" y="2269585"/>
                    <a:pt x="2270328" y="2280100"/>
                    <a:pt x="2249834" y="2284070"/>
                  </a:cubicBezTo>
                  <a:lnTo>
                    <a:pt x="2249834" y="2284450"/>
                  </a:lnTo>
                  <a:cubicBezTo>
                    <a:pt x="2270328" y="2288166"/>
                    <a:pt x="2280575" y="2298598"/>
                    <a:pt x="2280575" y="2315743"/>
                  </a:cubicBezTo>
                  <a:lnTo>
                    <a:pt x="2280575" y="2351091"/>
                  </a:lnTo>
                  <a:cubicBezTo>
                    <a:pt x="2280575" y="2360128"/>
                    <a:pt x="2282403" y="2366568"/>
                    <a:pt x="2286060" y="2370411"/>
                  </a:cubicBezTo>
                  <a:cubicBezTo>
                    <a:pt x="2289715" y="2374254"/>
                    <a:pt x="2296075" y="2376260"/>
                    <a:pt x="2305137" y="2376429"/>
                  </a:cubicBezTo>
                  <a:lnTo>
                    <a:pt x="2305137" y="2395940"/>
                  </a:lnTo>
                  <a:cubicBezTo>
                    <a:pt x="2268473" y="2395602"/>
                    <a:pt x="2250143" y="2382764"/>
                    <a:pt x="2250143" y="2357426"/>
                  </a:cubicBezTo>
                  <a:lnTo>
                    <a:pt x="2250143" y="2320051"/>
                  </a:lnTo>
                  <a:cubicBezTo>
                    <a:pt x="2250143" y="2303327"/>
                    <a:pt x="2242109" y="2294543"/>
                    <a:pt x="2226043" y="2293698"/>
                  </a:cubicBezTo>
                  <a:lnTo>
                    <a:pt x="2226043" y="2275202"/>
                  </a:lnTo>
                  <a:cubicBezTo>
                    <a:pt x="2242109" y="2274357"/>
                    <a:pt x="2250143" y="2265404"/>
                    <a:pt x="2250143" y="2248342"/>
                  </a:cubicBezTo>
                  <a:lnTo>
                    <a:pt x="2250143" y="2211981"/>
                  </a:lnTo>
                  <a:cubicBezTo>
                    <a:pt x="2250143" y="2186305"/>
                    <a:pt x="2268473" y="2173298"/>
                    <a:pt x="2305137" y="2172960"/>
                  </a:cubicBezTo>
                  <a:close/>
                  <a:moveTo>
                    <a:pt x="8838198" y="1842347"/>
                  </a:moveTo>
                  <a:cubicBezTo>
                    <a:pt x="8874655" y="1842685"/>
                    <a:pt x="8892884" y="1855692"/>
                    <a:pt x="8892884" y="1881368"/>
                  </a:cubicBezTo>
                  <a:lnTo>
                    <a:pt x="8892884" y="1917729"/>
                  </a:lnTo>
                  <a:cubicBezTo>
                    <a:pt x="8892884" y="1934791"/>
                    <a:pt x="8900865" y="1943744"/>
                    <a:pt x="8916828" y="1944589"/>
                  </a:cubicBezTo>
                  <a:lnTo>
                    <a:pt x="8916828" y="1963085"/>
                  </a:lnTo>
                  <a:cubicBezTo>
                    <a:pt x="8900865" y="1963930"/>
                    <a:pt x="8892884" y="1972714"/>
                    <a:pt x="8892884" y="1989438"/>
                  </a:cubicBezTo>
                  <a:lnTo>
                    <a:pt x="8892884" y="2026812"/>
                  </a:lnTo>
                  <a:cubicBezTo>
                    <a:pt x="8892884" y="2052151"/>
                    <a:pt x="8874655" y="2064989"/>
                    <a:pt x="8838198" y="2065327"/>
                  </a:cubicBezTo>
                  <a:lnTo>
                    <a:pt x="8838198" y="2045816"/>
                  </a:lnTo>
                  <a:cubicBezTo>
                    <a:pt x="8847158" y="2045647"/>
                    <a:pt x="8853517" y="2043620"/>
                    <a:pt x="8857276" y="2039735"/>
                  </a:cubicBezTo>
                  <a:cubicBezTo>
                    <a:pt x="8861035" y="2035850"/>
                    <a:pt x="8862915" y="2029431"/>
                    <a:pt x="8862915" y="2020478"/>
                  </a:cubicBezTo>
                  <a:lnTo>
                    <a:pt x="8862915" y="1985130"/>
                  </a:lnTo>
                  <a:cubicBezTo>
                    <a:pt x="8862915" y="1967985"/>
                    <a:pt x="8873059" y="1957553"/>
                    <a:pt x="8893347" y="1953837"/>
                  </a:cubicBezTo>
                  <a:lnTo>
                    <a:pt x="8893347" y="1953457"/>
                  </a:lnTo>
                  <a:cubicBezTo>
                    <a:pt x="8873059" y="1949487"/>
                    <a:pt x="8862915" y="1938972"/>
                    <a:pt x="8862915" y="1921910"/>
                  </a:cubicBezTo>
                  <a:lnTo>
                    <a:pt x="8862915" y="1886183"/>
                  </a:lnTo>
                  <a:cubicBezTo>
                    <a:pt x="8862915" y="1870388"/>
                    <a:pt x="8854676" y="1862322"/>
                    <a:pt x="8838198" y="1861985"/>
                  </a:cubicBezTo>
                  <a:close/>
                  <a:moveTo>
                    <a:pt x="8816879" y="1842347"/>
                  </a:moveTo>
                  <a:lnTo>
                    <a:pt x="8816879" y="1861985"/>
                  </a:lnTo>
                  <a:cubicBezTo>
                    <a:pt x="8800505" y="1862322"/>
                    <a:pt x="8792317" y="1870388"/>
                    <a:pt x="8792317" y="1886183"/>
                  </a:cubicBezTo>
                  <a:lnTo>
                    <a:pt x="8792317" y="1921910"/>
                  </a:lnTo>
                  <a:cubicBezTo>
                    <a:pt x="8792317" y="1938972"/>
                    <a:pt x="8782070" y="1949487"/>
                    <a:pt x="8761576" y="1953457"/>
                  </a:cubicBezTo>
                  <a:lnTo>
                    <a:pt x="8761576" y="1953837"/>
                  </a:lnTo>
                  <a:cubicBezTo>
                    <a:pt x="8782070" y="1957553"/>
                    <a:pt x="8792317" y="1967985"/>
                    <a:pt x="8792317" y="1985130"/>
                  </a:cubicBezTo>
                  <a:lnTo>
                    <a:pt x="8792317" y="2020478"/>
                  </a:lnTo>
                  <a:cubicBezTo>
                    <a:pt x="8792317" y="2029515"/>
                    <a:pt x="8794145" y="2035955"/>
                    <a:pt x="8797801" y="2039798"/>
                  </a:cubicBezTo>
                  <a:cubicBezTo>
                    <a:pt x="8801457" y="2043641"/>
                    <a:pt x="8807817" y="2045647"/>
                    <a:pt x="8816879" y="2045816"/>
                  </a:cubicBezTo>
                  <a:lnTo>
                    <a:pt x="8816879" y="2065327"/>
                  </a:lnTo>
                  <a:cubicBezTo>
                    <a:pt x="8780216" y="2064989"/>
                    <a:pt x="8761885" y="2052151"/>
                    <a:pt x="8761885" y="2026812"/>
                  </a:cubicBezTo>
                  <a:lnTo>
                    <a:pt x="8761885" y="1989438"/>
                  </a:lnTo>
                  <a:cubicBezTo>
                    <a:pt x="8761885" y="1972714"/>
                    <a:pt x="8753852" y="1963930"/>
                    <a:pt x="8737786" y="1963085"/>
                  </a:cubicBezTo>
                  <a:lnTo>
                    <a:pt x="8737786" y="1944589"/>
                  </a:lnTo>
                  <a:cubicBezTo>
                    <a:pt x="8753852" y="1943744"/>
                    <a:pt x="8761885" y="1934791"/>
                    <a:pt x="8761885" y="1917729"/>
                  </a:cubicBezTo>
                  <a:lnTo>
                    <a:pt x="8761885" y="1881368"/>
                  </a:lnTo>
                  <a:cubicBezTo>
                    <a:pt x="8761885" y="1855692"/>
                    <a:pt x="8780216" y="1842685"/>
                    <a:pt x="8816879" y="1842347"/>
                  </a:cubicBezTo>
                  <a:close/>
                  <a:moveTo>
                    <a:pt x="2766419" y="1842347"/>
                  </a:moveTo>
                  <a:cubicBezTo>
                    <a:pt x="2802875" y="1842685"/>
                    <a:pt x="2821104" y="1855692"/>
                    <a:pt x="2821104" y="1881368"/>
                  </a:cubicBezTo>
                  <a:lnTo>
                    <a:pt x="2821104" y="1917729"/>
                  </a:lnTo>
                  <a:cubicBezTo>
                    <a:pt x="2821104" y="1934791"/>
                    <a:pt x="2829086" y="1943744"/>
                    <a:pt x="2845049" y="1944589"/>
                  </a:cubicBezTo>
                  <a:lnTo>
                    <a:pt x="2845049" y="1963085"/>
                  </a:lnTo>
                  <a:cubicBezTo>
                    <a:pt x="2829086" y="1963930"/>
                    <a:pt x="2821104" y="1972714"/>
                    <a:pt x="2821104" y="1989438"/>
                  </a:cubicBezTo>
                  <a:lnTo>
                    <a:pt x="2821104" y="2026812"/>
                  </a:lnTo>
                  <a:cubicBezTo>
                    <a:pt x="2821104" y="2052151"/>
                    <a:pt x="2802875" y="2064989"/>
                    <a:pt x="2766419" y="2065327"/>
                  </a:cubicBezTo>
                  <a:lnTo>
                    <a:pt x="2766419" y="2045816"/>
                  </a:lnTo>
                  <a:cubicBezTo>
                    <a:pt x="2775379" y="2045647"/>
                    <a:pt x="2781738" y="2043620"/>
                    <a:pt x="2785497" y="2039735"/>
                  </a:cubicBezTo>
                  <a:cubicBezTo>
                    <a:pt x="2789256" y="2035850"/>
                    <a:pt x="2791136" y="2029431"/>
                    <a:pt x="2791136" y="2020478"/>
                  </a:cubicBezTo>
                  <a:lnTo>
                    <a:pt x="2791136" y="1985130"/>
                  </a:lnTo>
                  <a:cubicBezTo>
                    <a:pt x="2791136" y="1967985"/>
                    <a:pt x="2801280" y="1957553"/>
                    <a:pt x="2821568" y="1953837"/>
                  </a:cubicBezTo>
                  <a:lnTo>
                    <a:pt x="2821568" y="1953457"/>
                  </a:lnTo>
                  <a:cubicBezTo>
                    <a:pt x="2801280" y="1949487"/>
                    <a:pt x="2791136" y="1938972"/>
                    <a:pt x="2791136" y="1921910"/>
                  </a:cubicBezTo>
                  <a:lnTo>
                    <a:pt x="2791136" y="1886183"/>
                  </a:lnTo>
                  <a:cubicBezTo>
                    <a:pt x="2791136" y="1870388"/>
                    <a:pt x="2782898" y="1862322"/>
                    <a:pt x="2766419" y="1861985"/>
                  </a:cubicBezTo>
                  <a:close/>
                  <a:moveTo>
                    <a:pt x="2745100" y="1842347"/>
                  </a:moveTo>
                  <a:lnTo>
                    <a:pt x="2745100" y="1861985"/>
                  </a:lnTo>
                  <a:cubicBezTo>
                    <a:pt x="2728726" y="1862322"/>
                    <a:pt x="2720538" y="1870388"/>
                    <a:pt x="2720538" y="1886183"/>
                  </a:cubicBezTo>
                  <a:lnTo>
                    <a:pt x="2720538" y="1921910"/>
                  </a:lnTo>
                  <a:cubicBezTo>
                    <a:pt x="2720538" y="1938972"/>
                    <a:pt x="2710291" y="1949487"/>
                    <a:pt x="2689797" y="1953457"/>
                  </a:cubicBezTo>
                  <a:lnTo>
                    <a:pt x="2689797" y="1953837"/>
                  </a:lnTo>
                  <a:cubicBezTo>
                    <a:pt x="2710291" y="1957553"/>
                    <a:pt x="2720538" y="1967985"/>
                    <a:pt x="2720538" y="1985130"/>
                  </a:cubicBezTo>
                  <a:lnTo>
                    <a:pt x="2720538" y="2020478"/>
                  </a:lnTo>
                  <a:cubicBezTo>
                    <a:pt x="2720538" y="2029515"/>
                    <a:pt x="2722366" y="2035955"/>
                    <a:pt x="2726022" y="2039798"/>
                  </a:cubicBezTo>
                  <a:cubicBezTo>
                    <a:pt x="2729678" y="2043641"/>
                    <a:pt x="2736037" y="2045647"/>
                    <a:pt x="2745100" y="2045816"/>
                  </a:cubicBezTo>
                  <a:lnTo>
                    <a:pt x="2745100" y="2065327"/>
                  </a:lnTo>
                  <a:cubicBezTo>
                    <a:pt x="2708437" y="2064989"/>
                    <a:pt x="2690106" y="2052151"/>
                    <a:pt x="2690106" y="2026812"/>
                  </a:cubicBezTo>
                  <a:lnTo>
                    <a:pt x="2690106" y="1989438"/>
                  </a:lnTo>
                  <a:cubicBezTo>
                    <a:pt x="2690106" y="1972714"/>
                    <a:pt x="2682073" y="1963930"/>
                    <a:pt x="2666006" y="1963085"/>
                  </a:cubicBezTo>
                  <a:lnTo>
                    <a:pt x="2666006" y="1944589"/>
                  </a:lnTo>
                  <a:cubicBezTo>
                    <a:pt x="2682073" y="1943744"/>
                    <a:pt x="2690106" y="1934791"/>
                    <a:pt x="2690106" y="1917729"/>
                  </a:cubicBezTo>
                  <a:lnTo>
                    <a:pt x="2690106" y="1881368"/>
                  </a:lnTo>
                  <a:cubicBezTo>
                    <a:pt x="2690106" y="1855692"/>
                    <a:pt x="2708437" y="1842685"/>
                    <a:pt x="2745100" y="1842347"/>
                  </a:cubicBezTo>
                  <a:close/>
                  <a:moveTo>
                    <a:pt x="11472800" y="1522002"/>
                  </a:moveTo>
                  <a:cubicBezTo>
                    <a:pt x="11502700" y="1522340"/>
                    <a:pt x="11517649" y="1535347"/>
                    <a:pt x="11517649" y="1561024"/>
                  </a:cubicBezTo>
                  <a:lnTo>
                    <a:pt x="11517649" y="1597384"/>
                  </a:lnTo>
                  <a:cubicBezTo>
                    <a:pt x="11517649" y="1614446"/>
                    <a:pt x="11524195" y="1623399"/>
                    <a:pt x="11537287" y="1624244"/>
                  </a:cubicBezTo>
                  <a:lnTo>
                    <a:pt x="11537287" y="1642740"/>
                  </a:lnTo>
                  <a:cubicBezTo>
                    <a:pt x="11524195" y="1643585"/>
                    <a:pt x="11517649" y="1652369"/>
                    <a:pt x="11517649" y="1669093"/>
                  </a:cubicBezTo>
                  <a:lnTo>
                    <a:pt x="11517649" y="1706468"/>
                  </a:lnTo>
                  <a:cubicBezTo>
                    <a:pt x="11517649" y="1731806"/>
                    <a:pt x="11502700" y="1744644"/>
                    <a:pt x="11472800" y="1744982"/>
                  </a:cubicBezTo>
                  <a:lnTo>
                    <a:pt x="11472800" y="1725471"/>
                  </a:lnTo>
                  <a:cubicBezTo>
                    <a:pt x="11480148" y="1725302"/>
                    <a:pt x="11485364" y="1723275"/>
                    <a:pt x="11488447" y="1719390"/>
                  </a:cubicBezTo>
                  <a:cubicBezTo>
                    <a:pt x="11491529" y="1715505"/>
                    <a:pt x="11493071" y="1709086"/>
                    <a:pt x="11493071" y="1700133"/>
                  </a:cubicBezTo>
                  <a:lnTo>
                    <a:pt x="11493071" y="1664785"/>
                  </a:lnTo>
                  <a:cubicBezTo>
                    <a:pt x="11493071" y="1647640"/>
                    <a:pt x="11501391" y="1637209"/>
                    <a:pt x="11518030" y="1633492"/>
                  </a:cubicBezTo>
                  <a:lnTo>
                    <a:pt x="11518030" y="1633112"/>
                  </a:lnTo>
                  <a:cubicBezTo>
                    <a:pt x="11501391" y="1629142"/>
                    <a:pt x="11493071" y="1618627"/>
                    <a:pt x="11493071" y="1601565"/>
                  </a:cubicBezTo>
                  <a:lnTo>
                    <a:pt x="11493071" y="1565838"/>
                  </a:lnTo>
                  <a:cubicBezTo>
                    <a:pt x="11493071" y="1550043"/>
                    <a:pt x="11486314" y="1541977"/>
                    <a:pt x="11472800" y="1541640"/>
                  </a:cubicBezTo>
                  <a:close/>
                  <a:moveTo>
                    <a:pt x="11455316" y="1522002"/>
                  </a:moveTo>
                  <a:lnTo>
                    <a:pt x="11455316" y="1541640"/>
                  </a:lnTo>
                  <a:cubicBezTo>
                    <a:pt x="11441887" y="1541977"/>
                    <a:pt x="11435172" y="1550043"/>
                    <a:pt x="11435172" y="1565838"/>
                  </a:cubicBezTo>
                  <a:lnTo>
                    <a:pt x="11435172" y="1601565"/>
                  </a:lnTo>
                  <a:cubicBezTo>
                    <a:pt x="11435172" y="1618627"/>
                    <a:pt x="11426768" y="1629142"/>
                    <a:pt x="11409960" y="1633112"/>
                  </a:cubicBezTo>
                  <a:lnTo>
                    <a:pt x="11409960" y="1633492"/>
                  </a:lnTo>
                  <a:cubicBezTo>
                    <a:pt x="11426768" y="1637209"/>
                    <a:pt x="11435172" y="1647640"/>
                    <a:pt x="11435172" y="1664785"/>
                  </a:cubicBezTo>
                  <a:lnTo>
                    <a:pt x="11435172" y="1700133"/>
                  </a:lnTo>
                  <a:cubicBezTo>
                    <a:pt x="11435172" y="1709170"/>
                    <a:pt x="11436671" y="1715610"/>
                    <a:pt x="11439670" y="1719453"/>
                  </a:cubicBezTo>
                  <a:cubicBezTo>
                    <a:pt x="11442668" y="1723296"/>
                    <a:pt x="11447883" y="1725302"/>
                    <a:pt x="11455316" y="1725471"/>
                  </a:cubicBezTo>
                  <a:lnTo>
                    <a:pt x="11455316" y="1744982"/>
                  </a:lnTo>
                  <a:cubicBezTo>
                    <a:pt x="11425247" y="1744644"/>
                    <a:pt x="11410213" y="1731806"/>
                    <a:pt x="11410213" y="1706468"/>
                  </a:cubicBezTo>
                  <a:lnTo>
                    <a:pt x="11410213" y="1669093"/>
                  </a:lnTo>
                  <a:cubicBezTo>
                    <a:pt x="11410213" y="1652369"/>
                    <a:pt x="11403625" y="1643585"/>
                    <a:pt x="11390449" y="1642740"/>
                  </a:cubicBezTo>
                  <a:lnTo>
                    <a:pt x="11390449" y="1624244"/>
                  </a:lnTo>
                  <a:cubicBezTo>
                    <a:pt x="11403625" y="1623399"/>
                    <a:pt x="11410213" y="1614446"/>
                    <a:pt x="11410213" y="1597384"/>
                  </a:cubicBezTo>
                  <a:lnTo>
                    <a:pt x="11410213" y="1561024"/>
                  </a:lnTo>
                  <a:cubicBezTo>
                    <a:pt x="11410213" y="1535347"/>
                    <a:pt x="11425247" y="1522340"/>
                    <a:pt x="11455316" y="1522002"/>
                  </a:cubicBezTo>
                  <a:close/>
                  <a:moveTo>
                    <a:pt x="8115172" y="1522002"/>
                  </a:moveTo>
                  <a:cubicBezTo>
                    <a:pt x="8145072" y="1522340"/>
                    <a:pt x="8160021" y="1535347"/>
                    <a:pt x="8160021" y="1561024"/>
                  </a:cubicBezTo>
                  <a:lnTo>
                    <a:pt x="8160021" y="1597384"/>
                  </a:lnTo>
                  <a:cubicBezTo>
                    <a:pt x="8160021" y="1614446"/>
                    <a:pt x="8166567" y="1623399"/>
                    <a:pt x="8179659" y="1624244"/>
                  </a:cubicBezTo>
                  <a:lnTo>
                    <a:pt x="8179659" y="1642741"/>
                  </a:lnTo>
                  <a:cubicBezTo>
                    <a:pt x="8166567" y="1643586"/>
                    <a:pt x="8160021" y="1652369"/>
                    <a:pt x="8160021" y="1669093"/>
                  </a:cubicBezTo>
                  <a:lnTo>
                    <a:pt x="8160021" y="1706468"/>
                  </a:lnTo>
                  <a:cubicBezTo>
                    <a:pt x="8160021" y="1731806"/>
                    <a:pt x="8145072" y="1744644"/>
                    <a:pt x="8115172" y="1744982"/>
                  </a:cubicBezTo>
                  <a:lnTo>
                    <a:pt x="8115172" y="1725471"/>
                  </a:lnTo>
                  <a:cubicBezTo>
                    <a:pt x="8122521" y="1725302"/>
                    <a:pt x="8127736" y="1723276"/>
                    <a:pt x="8130819" y="1719390"/>
                  </a:cubicBezTo>
                  <a:cubicBezTo>
                    <a:pt x="8133901" y="1715505"/>
                    <a:pt x="8135443" y="1709086"/>
                    <a:pt x="8135443" y="1700133"/>
                  </a:cubicBezTo>
                  <a:lnTo>
                    <a:pt x="8135443" y="1664786"/>
                  </a:lnTo>
                  <a:cubicBezTo>
                    <a:pt x="8135443" y="1647640"/>
                    <a:pt x="8143763" y="1637209"/>
                    <a:pt x="8160402" y="1633492"/>
                  </a:cubicBezTo>
                  <a:lnTo>
                    <a:pt x="8160402" y="1633112"/>
                  </a:lnTo>
                  <a:cubicBezTo>
                    <a:pt x="8143763" y="1629142"/>
                    <a:pt x="8135443" y="1618627"/>
                    <a:pt x="8135443" y="1601565"/>
                  </a:cubicBezTo>
                  <a:lnTo>
                    <a:pt x="8135443" y="1565838"/>
                  </a:lnTo>
                  <a:cubicBezTo>
                    <a:pt x="8135443" y="1550044"/>
                    <a:pt x="8128686" y="1541977"/>
                    <a:pt x="8115172" y="1541640"/>
                  </a:cubicBezTo>
                  <a:close/>
                  <a:moveTo>
                    <a:pt x="8097688" y="1522002"/>
                  </a:moveTo>
                  <a:lnTo>
                    <a:pt x="8097688" y="1541640"/>
                  </a:lnTo>
                  <a:cubicBezTo>
                    <a:pt x="8084259" y="1541977"/>
                    <a:pt x="8077544" y="1550044"/>
                    <a:pt x="8077544" y="1565838"/>
                  </a:cubicBezTo>
                  <a:lnTo>
                    <a:pt x="8077544" y="1601565"/>
                  </a:lnTo>
                  <a:cubicBezTo>
                    <a:pt x="8077544" y="1618627"/>
                    <a:pt x="8069140" y="1629142"/>
                    <a:pt x="8052332" y="1633112"/>
                  </a:cubicBezTo>
                  <a:lnTo>
                    <a:pt x="8052332" y="1633492"/>
                  </a:lnTo>
                  <a:cubicBezTo>
                    <a:pt x="8069140" y="1637209"/>
                    <a:pt x="8077544" y="1647640"/>
                    <a:pt x="8077544" y="1664786"/>
                  </a:cubicBezTo>
                  <a:lnTo>
                    <a:pt x="8077544" y="1700133"/>
                  </a:lnTo>
                  <a:cubicBezTo>
                    <a:pt x="8077544" y="1709170"/>
                    <a:pt x="8079043" y="1715610"/>
                    <a:pt x="8082042" y="1719453"/>
                  </a:cubicBezTo>
                  <a:cubicBezTo>
                    <a:pt x="8085040" y="1723296"/>
                    <a:pt x="8090256" y="1725302"/>
                    <a:pt x="8097688" y="1725471"/>
                  </a:cubicBezTo>
                  <a:lnTo>
                    <a:pt x="8097688" y="1744982"/>
                  </a:lnTo>
                  <a:cubicBezTo>
                    <a:pt x="8067620" y="1744644"/>
                    <a:pt x="8052586" y="1731806"/>
                    <a:pt x="8052586" y="1706468"/>
                  </a:cubicBezTo>
                  <a:lnTo>
                    <a:pt x="8052586" y="1669093"/>
                  </a:lnTo>
                  <a:cubicBezTo>
                    <a:pt x="8052586" y="1652369"/>
                    <a:pt x="8045997" y="1643586"/>
                    <a:pt x="8032821" y="1642741"/>
                  </a:cubicBezTo>
                  <a:lnTo>
                    <a:pt x="8032821" y="1624244"/>
                  </a:lnTo>
                  <a:cubicBezTo>
                    <a:pt x="8045997" y="1623399"/>
                    <a:pt x="8052586" y="1614446"/>
                    <a:pt x="8052586" y="1597384"/>
                  </a:cubicBezTo>
                  <a:lnTo>
                    <a:pt x="8052586" y="1561024"/>
                  </a:lnTo>
                  <a:cubicBezTo>
                    <a:pt x="8052586" y="1535347"/>
                    <a:pt x="8067620" y="1522340"/>
                    <a:pt x="8097688" y="1522002"/>
                  </a:cubicBezTo>
                  <a:close/>
                  <a:moveTo>
                    <a:pt x="5416747" y="1522002"/>
                  </a:moveTo>
                  <a:cubicBezTo>
                    <a:pt x="5446648" y="1522340"/>
                    <a:pt x="5461597" y="1535347"/>
                    <a:pt x="5461597" y="1561024"/>
                  </a:cubicBezTo>
                  <a:lnTo>
                    <a:pt x="5461597" y="1597384"/>
                  </a:lnTo>
                  <a:cubicBezTo>
                    <a:pt x="5461597" y="1614446"/>
                    <a:pt x="5468143" y="1623399"/>
                    <a:pt x="5481234" y="1624244"/>
                  </a:cubicBezTo>
                  <a:lnTo>
                    <a:pt x="5481234" y="1642740"/>
                  </a:lnTo>
                  <a:cubicBezTo>
                    <a:pt x="5468143" y="1643585"/>
                    <a:pt x="5461597" y="1652369"/>
                    <a:pt x="5461597" y="1669093"/>
                  </a:cubicBezTo>
                  <a:lnTo>
                    <a:pt x="5461597" y="1706468"/>
                  </a:lnTo>
                  <a:cubicBezTo>
                    <a:pt x="5461597" y="1731806"/>
                    <a:pt x="5446648" y="1744644"/>
                    <a:pt x="5416747" y="1744982"/>
                  </a:cubicBezTo>
                  <a:lnTo>
                    <a:pt x="5416747" y="1725471"/>
                  </a:lnTo>
                  <a:cubicBezTo>
                    <a:pt x="5424096" y="1725302"/>
                    <a:pt x="5429311" y="1723275"/>
                    <a:pt x="5432394" y="1719390"/>
                  </a:cubicBezTo>
                  <a:cubicBezTo>
                    <a:pt x="5435478" y="1715505"/>
                    <a:pt x="5437018" y="1709086"/>
                    <a:pt x="5437018" y="1700133"/>
                  </a:cubicBezTo>
                  <a:lnTo>
                    <a:pt x="5437018" y="1664785"/>
                  </a:lnTo>
                  <a:cubicBezTo>
                    <a:pt x="5437018" y="1647640"/>
                    <a:pt x="5445338" y="1637209"/>
                    <a:pt x="5461977" y="1633492"/>
                  </a:cubicBezTo>
                  <a:lnTo>
                    <a:pt x="5461977" y="1633112"/>
                  </a:lnTo>
                  <a:cubicBezTo>
                    <a:pt x="5445338" y="1629142"/>
                    <a:pt x="5437018" y="1618627"/>
                    <a:pt x="5437018" y="1601565"/>
                  </a:cubicBezTo>
                  <a:lnTo>
                    <a:pt x="5437018" y="1565838"/>
                  </a:lnTo>
                  <a:cubicBezTo>
                    <a:pt x="5437018" y="1550043"/>
                    <a:pt x="5430261" y="1541977"/>
                    <a:pt x="5416747" y="1541640"/>
                  </a:cubicBezTo>
                  <a:close/>
                  <a:moveTo>
                    <a:pt x="5399263" y="1522002"/>
                  </a:moveTo>
                  <a:lnTo>
                    <a:pt x="5399263" y="1541640"/>
                  </a:lnTo>
                  <a:cubicBezTo>
                    <a:pt x="5385834" y="1541977"/>
                    <a:pt x="5379119" y="1550043"/>
                    <a:pt x="5379119" y="1565838"/>
                  </a:cubicBezTo>
                  <a:lnTo>
                    <a:pt x="5379119" y="1601565"/>
                  </a:lnTo>
                  <a:cubicBezTo>
                    <a:pt x="5379119" y="1618627"/>
                    <a:pt x="5370715" y="1629142"/>
                    <a:pt x="5353907" y="1633112"/>
                  </a:cubicBezTo>
                  <a:lnTo>
                    <a:pt x="5353907" y="1633492"/>
                  </a:lnTo>
                  <a:cubicBezTo>
                    <a:pt x="5370715" y="1637209"/>
                    <a:pt x="5379119" y="1647640"/>
                    <a:pt x="5379119" y="1664785"/>
                  </a:cubicBezTo>
                  <a:lnTo>
                    <a:pt x="5379119" y="1700133"/>
                  </a:lnTo>
                  <a:cubicBezTo>
                    <a:pt x="5379119" y="1709170"/>
                    <a:pt x="5380618" y="1715610"/>
                    <a:pt x="5383617" y="1719453"/>
                  </a:cubicBezTo>
                  <a:cubicBezTo>
                    <a:pt x="5386615" y="1723296"/>
                    <a:pt x="5391831" y="1725302"/>
                    <a:pt x="5399263" y="1725471"/>
                  </a:cubicBezTo>
                  <a:lnTo>
                    <a:pt x="5399263" y="1744982"/>
                  </a:lnTo>
                  <a:cubicBezTo>
                    <a:pt x="5369195" y="1744644"/>
                    <a:pt x="5354161" y="1731806"/>
                    <a:pt x="5354161" y="1706468"/>
                  </a:cubicBezTo>
                  <a:lnTo>
                    <a:pt x="5354161" y="1669093"/>
                  </a:lnTo>
                  <a:cubicBezTo>
                    <a:pt x="5354161" y="1652369"/>
                    <a:pt x="5347572" y="1643585"/>
                    <a:pt x="5334396" y="1642740"/>
                  </a:cubicBezTo>
                  <a:lnTo>
                    <a:pt x="5334396" y="1624244"/>
                  </a:lnTo>
                  <a:cubicBezTo>
                    <a:pt x="5347572" y="1623399"/>
                    <a:pt x="5354161" y="1614446"/>
                    <a:pt x="5354161" y="1597384"/>
                  </a:cubicBezTo>
                  <a:lnTo>
                    <a:pt x="5354161" y="1561024"/>
                  </a:lnTo>
                  <a:cubicBezTo>
                    <a:pt x="5354161" y="1535347"/>
                    <a:pt x="5369195" y="1522340"/>
                    <a:pt x="5399263" y="1522002"/>
                  </a:cubicBezTo>
                  <a:close/>
                  <a:moveTo>
                    <a:pt x="2059120" y="1522002"/>
                  </a:moveTo>
                  <a:cubicBezTo>
                    <a:pt x="2089020" y="1522340"/>
                    <a:pt x="2103970" y="1535347"/>
                    <a:pt x="2103970" y="1561024"/>
                  </a:cubicBezTo>
                  <a:lnTo>
                    <a:pt x="2103970" y="1597384"/>
                  </a:lnTo>
                  <a:cubicBezTo>
                    <a:pt x="2103970" y="1614446"/>
                    <a:pt x="2110515" y="1623399"/>
                    <a:pt x="2123607" y="1624244"/>
                  </a:cubicBezTo>
                  <a:lnTo>
                    <a:pt x="2123607" y="1642740"/>
                  </a:lnTo>
                  <a:cubicBezTo>
                    <a:pt x="2110515" y="1643585"/>
                    <a:pt x="2103970" y="1652369"/>
                    <a:pt x="2103970" y="1669093"/>
                  </a:cubicBezTo>
                  <a:lnTo>
                    <a:pt x="2103970" y="1706468"/>
                  </a:lnTo>
                  <a:cubicBezTo>
                    <a:pt x="2103970" y="1731806"/>
                    <a:pt x="2089020" y="1744644"/>
                    <a:pt x="2059120" y="1744982"/>
                  </a:cubicBezTo>
                  <a:lnTo>
                    <a:pt x="2059120" y="1725471"/>
                  </a:lnTo>
                  <a:cubicBezTo>
                    <a:pt x="2066469" y="1725302"/>
                    <a:pt x="2071683" y="1723275"/>
                    <a:pt x="2074767" y="1719390"/>
                  </a:cubicBezTo>
                  <a:cubicBezTo>
                    <a:pt x="2077850" y="1715505"/>
                    <a:pt x="2079391" y="1709086"/>
                    <a:pt x="2079391" y="1700133"/>
                  </a:cubicBezTo>
                  <a:lnTo>
                    <a:pt x="2079391" y="1664785"/>
                  </a:lnTo>
                  <a:cubicBezTo>
                    <a:pt x="2079391" y="1647640"/>
                    <a:pt x="2087711" y="1637209"/>
                    <a:pt x="2104351" y="1633492"/>
                  </a:cubicBezTo>
                  <a:lnTo>
                    <a:pt x="2104351" y="1633112"/>
                  </a:lnTo>
                  <a:cubicBezTo>
                    <a:pt x="2087711" y="1629142"/>
                    <a:pt x="2079391" y="1618627"/>
                    <a:pt x="2079391" y="1601565"/>
                  </a:cubicBezTo>
                  <a:lnTo>
                    <a:pt x="2079391" y="1565838"/>
                  </a:lnTo>
                  <a:cubicBezTo>
                    <a:pt x="2079391" y="1550043"/>
                    <a:pt x="2072634" y="1541977"/>
                    <a:pt x="2059120" y="1541640"/>
                  </a:cubicBezTo>
                  <a:close/>
                  <a:moveTo>
                    <a:pt x="2041636" y="1522002"/>
                  </a:moveTo>
                  <a:lnTo>
                    <a:pt x="2041636" y="1541640"/>
                  </a:lnTo>
                  <a:cubicBezTo>
                    <a:pt x="2028207" y="1541977"/>
                    <a:pt x="2021492" y="1550043"/>
                    <a:pt x="2021492" y="1565838"/>
                  </a:cubicBezTo>
                  <a:lnTo>
                    <a:pt x="2021492" y="1601565"/>
                  </a:lnTo>
                  <a:cubicBezTo>
                    <a:pt x="2021492" y="1618627"/>
                    <a:pt x="2013088" y="1629142"/>
                    <a:pt x="1996279" y="1633112"/>
                  </a:cubicBezTo>
                  <a:lnTo>
                    <a:pt x="1996279" y="1633492"/>
                  </a:lnTo>
                  <a:cubicBezTo>
                    <a:pt x="2013088" y="1637209"/>
                    <a:pt x="2021492" y="1647640"/>
                    <a:pt x="2021492" y="1664785"/>
                  </a:cubicBezTo>
                  <a:lnTo>
                    <a:pt x="2021492" y="1700133"/>
                  </a:lnTo>
                  <a:cubicBezTo>
                    <a:pt x="2021492" y="1709170"/>
                    <a:pt x="2022991" y="1715610"/>
                    <a:pt x="2025990" y="1719453"/>
                  </a:cubicBezTo>
                  <a:cubicBezTo>
                    <a:pt x="2028989" y="1723296"/>
                    <a:pt x="2034204" y="1725302"/>
                    <a:pt x="2041636" y="1725471"/>
                  </a:cubicBezTo>
                  <a:lnTo>
                    <a:pt x="2041636" y="1744982"/>
                  </a:lnTo>
                  <a:cubicBezTo>
                    <a:pt x="2011568" y="1744644"/>
                    <a:pt x="1996534" y="1731806"/>
                    <a:pt x="1996534" y="1706468"/>
                  </a:cubicBezTo>
                  <a:lnTo>
                    <a:pt x="1996534" y="1669093"/>
                  </a:lnTo>
                  <a:cubicBezTo>
                    <a:pt x="1996534" y="1652369"/>
                    <a:pt x="1989945" y="1643585"/>
                    <a:pt x="1976769" y="1642740"/>
                  </a:cubicBezTo>
                  <a:lnTo>
                    <a:pt x="1976769" y="1624244"/>
                  </a:lnTo>
                  <a:cubicBezTo>
                    <a:pt x="1989945" y="1623399"/>
                    <a:pt x="1996534" y="1614446"/>
                    <a:pt x="1996534" y="1597384"/>
                  </a:cubicBezTo>
                  <a:lnTo>
                    <a:pt x="1996534" y="1561024"/>
                  </a:lnTo>
                  <a:cubicBezTo>
                    <a:pt x="1996534" y="1535347"/>
                    <a:pt x="2011568" y="1522340"/>
                    <a:pt x="2041636" y="1522002"/>
                  </a:cubicBezTo>
                  <a:close/>
                  <a:moveTo>
                    <a:pt x="8329710" y="1297433"/>
                  </a:moveTo>
                  <a:lnTo>
                    <a:pt x="8319248" y="1345562"/>
                  </a:lnTo>
                  <a:lnTo>
                    <a:pt x="8361971" y="1345562"/>
                  </a:lnTo>
                  <a:lnTo>
                    <a:pt x="8372259" y="1297433"/>
                  </a:lnTo>
                  <a:close/>
                  <a:moveTo>
                    <a:pt x="2266464" y="1297433"/>
                  </a:moveTo>
                  <a:lnTo>
                    <a:pt x="2256002" y="1345562"/>
                  </a:lnTo>
                  <a:lnTo>
                    <a:pt x="2298725" y="1345562"/>
                  </a:lnTo>
                  <a:lnTo>
                    <a:pt x="2309012" y="1297433"/>
                  </a:lnTo>
                  <a:close/>
                  <a:moveTo>
                    <a:pt x="3671901" y="1208699"/>
                  </a:moveTo>
                  <a:cubicBezTo>
                    <a:pt x="3701800" y="1209037"/>
                    <a:pt x="3716748" y="1222044"/>
                    <a:pt x="3716748" y="1247720"/>
                  </a:cubicBezTo>
                  <a:lnTo>
                    <a:pt x="3716748" y="1284081"/>
                  </a:lnTo>
                  <a:cubicBezTo>
                    <a:pt x="3716748" y="1301143"/>
                    <a:pt x="3723295" y="1310096"/>
                    <a:pt x="3736386" y="1310941"/>
                  </a:cubicBezTo>
                  <a:lnTo>
                    <a:pt x="3736386" y="1329437"/>
                  </a:lnTo>
                  <a:cubicBezTo>
                    <a:pt x="3723295" y="1330282"/>
                    <a:pt x="3716748" y="1339066"/>
                    <a:pt x="3716748" y="1355790"/>
                  </a:cubicBezTo>
                  <a:lnTo>
                    <a:pt x="3716748" y="1393165"/>
                  </a:lnTo>
                  <a:cubicBezTo>
                    <a:pt x="3716748" y="1418503"/>
                    <a:pt x="3701800" y="1431341"/>
                    <a:pt x="3671901" y="1431679"/>
                  </a:cubicBezTo>
                  <a:lnTo>
                    <a:pt x="3671901" y="1412168"/>
                  </a:lnTo>
                  <a:cubicBezTo>
                    <a:pt x="3679247" y="1411999"/>
                    <a:pt x="3684463" y="1409972"/>
                    <a:pt x="3687546" y="1406087"/>
                  </a:cubicBezTo>
                  <a:cubicBezTo>
                    <a:pt x="3690629" y="1402202"/>
                    <a:pt x="3692171" y="1395783"/>
                    <a:pt x="3692171" y="1386830"/>
                  </a:cubicBezTo>
                  <a:lnTo>
                    <a:pt x="3692171" y="1351482"/>
                  </a:lnTo>
                  <a:cubicBezTo>
                    <a:pt x="3692171" y="1334337"/>
                    <a:pt x="3700490" y="1323905"/>
                    <a:pt x="3717130" y="1320189"/>
                  </a:cubicBezTo>
                  <a:lnTo>
                    <a:pt x="3717130" y="1319809"/>
                  </a:lnTo>
                  <a:cubicBezTo>
                    <a:pt x="3700490" y="1315839"/>
                    <a:pt x="3692171" y="1305324"/>
                    <a:pt x="3692171" y="1288262"/>
                  </a:cubicBezTo>
                  <a:lnTo>
                    <a:pt x="3692171" y="1252535"/>
                  </a:lnTo>
                  <a:cubicBezTo>
                    <a:pt x="3692171" y="1236740"/>
                    <a:pt x="3685413" y="1228674"/>
                    <a:pt x="3671901" y="1228337"/>
                  </a:cubicBezTo>
                  <a:close/>
                  <a:moveTo>
                    <a:pt x="3654416" y="1208699"/>
                  </a:moveTo>
                  <a:lnTo>
                    <a:pt x="3654416" y="1228337"/>
                  </a:lnTo>
                  <a:cubicBezTo>
                    <a:pt x="3640987" y="1228674"/>
                    <a:pt x="3634271" y="1236740"/>
                    <a:pt x="3634271" y="1252535"/>
                  </a:cubicBezTo>
                  <a:lnTo>
                    <a:pt x="3634271" y="1288262"/>
                  </a:lnTo>
                  <a:cubicBezTo>
                    <a:pt x="3634271" y="1305324"/>
                    <a:pt x="3625867" y="1315839"/>
                    <a:pt x="3609059" y="1319809"/>
                  </a:cubicBezTo>
                  <a:lnTo>
                    <a:pt x="3609059" y="1320189"/>
                  </a:lnTo>
                  <a:cubicBezTo>
                    <a:pt x="3625867" y="1323905"/>
                    <a:pt x="3634271" y="1334337"/>
                    <a:pt x="3634271" y="1351482"/>
                  </a:cubicBezTo>
                  <a:lnTo>
                    <a:pt x="3634271" y="1386830"/>
                  </a:lnTo>
                  <a:cubicBezTo>
                    <a:pt x="3634271" y="1395867"/>
                    <a:pt x="3635771" y="1402307"/>
                    <a:pt x="3638770" y="1406150"/>
                  </a:cubicBezTo>
                  <a:cubicBezTo>
                    <a:pt x="3641767" y="1409993"/>
                    <a:pt x="3646984" y="1411999"/>
                    <a:pt x="3654416" y="1412168"/>
                  </a:cubicBezTo>
                  <a:lnTo>
                    <a:pt x="3654416" y="1431679"/>
                  </a:lnTo>
                  <a:cubicBezTo>
                    <a:pt x="3624346" y="1431341"/>
                    <a:pt x="3609313" y="1418503"/>
                    <a:pt x="3609313" y="1393165"/>
                  </a:cubicBezTo>
                  <a:lnTo>
                    <a:pt x="3609313" y="1355790"/>
                  </a:lnTo>
                  <a:cubicBezTo>
                    <a:pt x="3609313" y="1339066"/>
                    <a:pt x="3602725" y="1330282"/>
                    <a:pt x="3589548" y="1329437"/>
                  </a:cubicBezTo>
                  <a:lnTo>
                    <a:pt x="3589548" y="1310941"/>
                  </a:lnTo>
                  <a:cubicBezTo>
                    <a:pt x="3602725" y="1310096"/>
                    <a:pt x="3609313" y="1301143"/>
                    <a:pt x="3609313" y="1284081"/>
                  </a:cubicBezTo>
                  <a:lnTo>
                    <a:pt x="3609313" y="1247720"/>
                  </a:lnTo>
                  <a:cubicBezTo>
                    <a:pt x="3609313" y="1222044"/>
                    <a:pt x="3624346" y="1209037"/>
                    <a:pt x="3654416" y="1208699"/>
                  </a:cubicBezTo>
                  <a:close/>
                  <a:moveTo>
                    <a:pt x="8320643" y="1205882"/>
                  </a:moveTo>
                  <a:lnTo>
                    <a:pt x="8348718" y="1205882"/>
                  </a:lnTo>
                  <a:lnTo>
                    <a:pt x="8334942" y="1273019"/>
                  </a:lnTo>
                  <a:lnTo>
                    <a:pt x="8377142" y="1273019"/>
                  </a:lnTo>
                  <a:lnTo>
                    <a:pt x="8391441" y="1205882"/>
                  </a:lnTo>
                  <a:lnTo>
                    <a:pt x="8418994" y="1205882"/>
                  </a:lnTo>
                  <a:lnTo>
                    <a:pt x="8405043" y="1273019"/>
                  </a:lnTo>
                  <a:lnTo>
                    <a:pt x="8444802" y="1273019"/>
                  </a:lnTo>
                  <a:lnTo>
                    <a:pt x="8439396" y="1297433"/>
                  </a:lnTo>
                  <a:lnTo>
                    <a:pt x="8399812" y="1297433"/>
                  </a:lnTo>
                  <a:lnTo>
                    <a:pt x="8389698" y="1345562"/>
                  </a:lnTo>
                  <a:lnTo>
                    <a:pt x="8432944" y="1345562"/>
                  </a:lnTo>
                  <a:lnTo>
                    <a:pt x="8426840" y="1369975"/>
                  </a:lnTo>
                  <a:lnTo>
                    <a:pt x="8384641" y="1369975"/>
                  </a:lnTo>
                  <a:lnTo>
                    <a:pt x="8370341" y="1434496"/>
                  </a:lnTo>
                  <a:lnTo>
                    <a:pt x="8342614" y="1434496"/>
                  </a:lnTo>
                  <a:lnTo>
                    <a:pt x="8356565" y="1369975"/>
                  </a:lnTo>
                  <a:lnTo>
                    <a:pt x="8314365" y="1369975"/>
                  </a:lnTo>
                  <a:lnTo>
                    <a:pt x="8300763" y="1434496"/>
                  </a:lnTo>
                  <a:lnTo>
                    <a:pt x="8273037" y="1434496"/>
                  </a:lnTo>
                  <a:lnTo>
                    <a:pt x="8286638" y="1369975"/>
                  </a:lnTo>
                  <a:lnTo>
                    <a:pt x="8246705" y="1369975"/>
                  </a:lnTo>
                  <a:lnTo>
                    <a:pt x="8251587" y="1345562"/>
                  </a:lnTo>
                  <a:lnTo>
                    <a:pt x="8292044" y="1345562"/>
                  </a:lnTo>
                  <a:lnTo>
                    <a:pt x="8301635" y="1297433"/>
                  </a:lnTo>
                  <a:lnTo>
                    <a:pt x="8259086" y="1297433"/>
                  </a:lnTo>
                  <a:lnTo>
                    <a:pt x="8264143" y="1273019"/>
                  </a:lnTo>
                  <a:lnTo>
                    <a:pt x="8306692" y="1273019"/>
                  </a:lnTo>
                  <a:close/>
                  <a:moveTo>
                    <a:pt x="2257398" y="1205882"/>
                  </a:moveTo>
                  <a:lnTo>
                    <a:pt x="2285472" y="1205882"/>
                  </a:lnTo>
                  <a:lnTo>
                    <a:pt x="2271696" y="1273019"/>
                  </a:lnTo>
                  <a:lnTo>
                    <a:pt x="2313896" y="1273019"/>
                  </a:lnTo>
                  <a:lnTo>
                    <a:pt x="2328196" y="1205882"/>
                  </a:lnTo>
                  <a:lnTo>
                    <a:pt x="2355748" y="1205882"/>
                  </a:lnTo>
                  <a:lnTo>
                    <a:pt x="2341797" y="1273019"/>
                  </a:lnTo>
                  <a:lnTo>
                    <a:pt x="2381556" y="1273019"/>
                  </a:lnTo>
                  <a:lnTo>
                    <a:pt x="2376151" y="1297433"/>
                  </a:lnTo>
                  <a:lnTo>
                    <a:pt x="2336566" y="1297433"/>
                  </a:lnTo>
                  <a:lnTo>
                    <a:pt x="2326453" y="1345562"/>
                  </a:lnTo>
                  <a:lnTo>
                    <a:pt x="2369698" y="1345562"/>
                  </a:lnTo>
                  <a:lnTo>
                    <a:pt x="2363595" y="1369975"/>
                  </a:lnTo>
                  <a:lnTo>
                    <a:pt x="2321395" y="1369975"/>
                  </a:lnTo>
                  <a:lnTo>
                    <a:pt x="2307095" y="1434496"/>
                  </a:lnTo>
                  <a:lnTo>
                    <a:pt x="2279369" y="1434496"/>
                  </a:lnTo>
                  <a:lnTo>
                    <a:pt x="2293320" y="1369975"/>
                  </a:lnTo>
                  <a:lnTo>
                    <a:pt x="2251119" y="1369975"/>
                  </a:lnTo>
                  <a:lnTo>
                    <a:pt x="2237517" y="1434496"/>
                  </a:lnTo>
                  <a:lnTo>
                    <a:pt x="2209792" y="1434496"/>
                  </a:lnTo>
                  <a:lnTo>
                    <a:pt x="2223393" y="1369975"/>
                  </a:lnTo>
                  <a:lnTo>
                    <a:pt x="2183459" y="1369975"/>
                  </a:lnTo>
                  <a:lnTo>
                    <a:pt x="2188342" y="1345562"/>
                  </a:lnTo>
                  <a:lnTo>
                    <a:pt x="2228798" y="1345562"/>
                  </a:lnTo>
                  <a:lnTo>
                    <a:pt x="2238389" y="1297433"/>
                  </a:lnTo>
                  <a:lnTo>
                    <a:pt x="2195840" y="1297433"/>
                  </a:lnTo>
                  <a:lnTo>
                    <a:pt x="2200897" y="1273019"/>
                  </a:lnTo>
                  <a:lnTo>
                    <a:pt x="2243446" y="1273019"/>
                  </a:lnTo>
                  <a:close/>
                  <a:moveTo>
                    <a:pt x="10889585" y="911255"/>
                  </a:moveTo>
                  <a:cubicBezTo>
                    <a:pt x="10926042" y="911593"/>
                    <a:pt x="10944271" y="924600"/>
                    <a:pt x="10944271" y="950276"/>
                  </a:cubicBezTo>
                  <a:lnTo>
                    <a:pt x="10944271" y="986637"/>
                  </a:lnTo>
                  <a:cubicBezTo>
                    <a:pt x="10944271" y="1003699"/>
                    <a:pt x="10952252" y="1012652"/>
                    <a:pt x="10968215" y="1013497"/>
                  </a:cubicBezTo>
                  <a:lnTo>
                    <a:pt x="10968215" y="1031993"/>
                  </a:lnTo>
                  <a:cubicBezTo>
                    <a:pt x="10952252" y="1032838"/>
                    <a:pt x="10944271" y="1041622"/>
                    <a:pt x="10944271" y="1058346"/>
                  </a:cubicBezTo>
                  <a:lnTo>
                    <a:pt x="10944271" y="1095721"/>
                  </a:lnTo>
                  <a:cubicBezTo>
                    <a:pt x="10944271" y="1121059"/>
                    <a:pt x="10926042" y="1133897"/>
                    <a:pt x="10889585" y="1134235"/>
                  </a:cubicBezTo>
                  <a:lnTo>
                    <a:pt x="10889585" y="1114724"/>
                  </a:lnTo>
                  <a:cubicBezTo>
                    <a:pt x="10898545" y="1114555"/>
                    <a:pt x="10904904" y="1112528"/>
                    <a:pt x="10908663" y="1108643"/>
                  </a:cubicBezTo>
                  <a:cubicBezTo>
                    <a:pt x="10912422" y="1104758"/>
                    <a:pt x="10914302" y="1098339"/>
                    <a:pt x="10914302" y="1089386"/>
                  </a:cubicBezTo>
                  <a:lnTo>
                    <a:pt x="10914302" y="1054038"/>
                  </a:lnTo>
                  <a:cubicBezTo>
                    <a:pt x="10914302" y="1036893"/>
                    <a:pt x="10924446" y="1026461"/>
                    <a:pt x="10944734" y="1022745"/>
                  </a:cubicBezTo>
                  <a:lnTo>
                    <a:pt x="10944734" y="1022365"/>
                  </a:lnTo>
                  <a:cubicBezTo>
                    <a:pt x="10924446" y="1018395"/>
                    <a:pt x="10914302" y="1007880"/>
                    <a:pt x="10914302" y="990818"/>
                  </a:cubicBezTo>
                  <a:lnTo>
                    <a:pt x="10914302" y="955091"/>
                  </a:lnTo>
                  <a:cubicBezTo>
                    <a:pt x="10914302" y="939296"/>
                    <a:pt x="10906063" y="931230"/>
                    <a:pt x="10889585" y="930893"/>
                  </a:cubicBezTo>
                  <a:close/>
                  <a:moveTo>
                    <a:pt x="10868266" y="911255"/>
                  </a:moveTo>
                  <a:lnTo>
                    <a:pt x="10868266" y="930893"/>
                  </a:lnTo>
                  <a:cubicBezTo>
                    <a:pt x="10851892" y="931230"/>
                    <a:pt x="10843704" y="939296"/>
                    <a:pt x="10843704" y="955091"/>
                  </a:cubicBezTo>
                  <a:lnTo>
                    <a:pt x="10843704" y="990818"/>
                  </a:lnTo>
                  <a:cubicBezTo>
                    <a:pt x="10843704" y="1007880"/>
                    <a:pt x="10833457" y="1018395"/>
                    <a:pt x="10812963" y="1022365"/>
                  </a:cubicBezTo>
                  <a:lnTo>
                    <a:pt x="10812963" y="1022745"/>
                  </a:lnTo>
                  <a:cubicBezTo>
                    <a:pt x="10833457" y="1026461"/>
                    <a:pt x="10843704" y="1036893"/>
                    <a:pt x="10843704" y="1054038"/>
                  </a:cubicBezTo>
                  <a:lnTo>
                    <a:pt x="10843704" y="1089386"/>
                  </a:lnTo>
                  <a:cubicBezTo>
                    <a:pt x="10843704" y="1098423"/>
                    <a:pt x="10845532" y="1104863"/>
                    <a:pt x="10849188" y="1108706"/>
                  </a:cubicBezTo>
                  <a:cubicBezTo>
                    <a:pt x="10852844" y="1112549"/>
                    <a:pt x="10859204" y="1114555"/>
                    <a:pt x="10868266" y="1114724"/>
                  </a:cubicBezTo>
                  <a:lnTo>
                    <a:pt x="10868266" y="1134235"/>
                  </a:lnTo>
                  <a:cubicBezTo>
                    <a:pt x="10831603" y="1133897"/>
                    <a:pt x="10813272" y="1121059"/>
                    <a:pt x="10813272" y="1095721"/>
                  </a:cubicBezTo>
                  <a:lnTo>
                    <a:pt x="10813272" y="1058346"/>
                  </a:lnTo>
                  <a:cubicBezTo>
                    <a:pt x="10813272" y="1041622"/>
                    <a:pt x="10805239" y="1032838"/>
                    <a:pt x="10789173" y="1031993"/>
                  </a:cubicBezTo>
                  <a:lnTo>
                    <a:pt x="10789173" y="1013497"/>
                  </a:lnTo>
                  <a:cubicBezTo>
                    <a:pt x="10805239" y="1012652"/>
                    <a:pt x="10813272" y="1003699"/>
                    <a:pt x="10813272" y="986637"/>
                  </a:cubicBezTo>
                  <a:lnTo>
                    <a:pt x="10813272" y="950276"/>
                  </a:lnTo>
                  <a:cubicBezTo>
                    <a:pt x="10813272" y="924600"/>
                    <a:pt x="10831603" y="911593"/>
                    <a:pt x="10868266" y="911255"/>
                  </a:cubicBezTo>
                  <a:close/>
                  <a:moveTo>
                    <a:pt x="8383679" y="911255"/>
                  </a:moveTo>
                  <a:cubicBezTo>
                    <a:pt x="8420136" y="911593"/>
                    <a:pt x="8438365" y="924600"/>
                    <a:pt x="8438365" y="950276"/>
                  </a:cubicBezTo>
                  <a:lnTo>
                    <a:pt x="8438365" y="986637"/>
                  </a:lnTo>
                  <a:cubicBezTo>
                    <a:pt x="8438365" y="1003699"/>
                    <a:pt x="8446346" y="1012652"/>
                    <a:pt x="8462309" y="1013497"/>
                  </a:cubicBezTo>
                  <a:lnTo>
                    <a:pt x="8462309" y="1031993"/>
                  </a:lnTo>
                  <a:cubicBezTo>
                    <a:pt x="8446346" y="1032838"/>
                    <a:pt x="8438365" y="1041622"/>
                    <a:pt x="8438365" y="1058346"/>
                  </a:cubicBezTo>
                  <a:lnTo>
                    <a:pt x="8438365" y="1095721"/>
                  </a:lnTo>
                  <a:cubicBezTo>
                    <a:pt x="8438365" y="1121059"/>
                    <a:pt x="8420136" y="1133897"/>
                    <a:pt x="8383679" y="1134235"/>
                  </a:cubicBezTo>
                  <a:lnTo>
                    <a:pt x="8383679" y="1114724"/>
                  </a:lnTo>
                  <a:cubicBezTo>
                    <a:pt x="8392639" y="1114555"/>
                    <a:pt x="8398998" y="1112528"/>
                    <a:pt x="8402757" y="1108643"/>
                  </a:cubicBezTo>
                  <a:cubicBezTo>
                    <a:pt x="8406516" y="1104758"/>
                    <a:pt x="8408396" y="1098339"/>
                    <a:pt x="8408396" y="1089386"/>
                  </a:cubicBezTo>
                  <a:lnTo>
                    <a:pt x="8408396" y="1054038"/>
                  </a:lnTo>
                  <a:cubicBezTo>
                    <a:pt x="8408396" y="1036893"/>
                    <a:pt x="8418540" y="1026461"/>
                    <a:pt x="8438828" y="1022745"/>
                  </a:cubicBezTo>
                  <a:lnTo>
                    <a:pt x="8438828" y="1022365"/>
                  </a:lnTo>
                  <a:cubicBezTo>
                    <a:pt x="8418540" y="1018395"/>
                    <a:pt x="8408396" y="1007880"/>
                    <a:pt x="8408396" y="990818"/>
                  </a:cubicBezTo>
                  <a:lnTo>
                    <a:pt x="8408396" y="955091"/>
                  </a:lnTo>
                  <a:cubicBezTo>
                    <a:pt x="8408396" y="939296"/>
                    <a:pt x="8400157" y="931230"/>
                    <a:pt x="8383679" y="930893"/>
                  </a:cubicBezTo>
                  <a:close/>
                  <a:moveTo>
                    <a:pt x="8362360" y="911255"/>
                  </a:moveTo>
                  <a:lnTo>
                    <a:pt x="8362360" y="930893"/>
                  </a:lnTo>
                  <a:cubicBezTo>
                    <a:pt x="8345986" y="931230"/>
                    <a:pt x="8337798" y="939296"/>
                    <a:pt x="8337798" y="955091"/>
                  </a:cubicBezTo>
                  <a:lnTo>
                    <a:pt x="8337798" y="990818"/>
                  </a:lnTo>
                  <a:cubicBezTo>
                    <a:pt x="8337798" y="1007880"/>
                    <a:pt x="8327551" y="1018395"/>
                    <a:pt x="8307057" y="1022365"/>
                  </a:cubicBezTo>
                  <a:lnTo>
                    <a:pt x="8307057" y="1022745"/>
                  </a:lnTo>
                  <a:cubicBezTo>
                    <a:pt x="8327551" y="1026461"/>
                    <a:pt x="8337798" y="1036893"/>
                    <a:pt x="8337798" y="1054038"/>
                  </a:cubicBezTo>
                  <a:lnTo>
                    <a:pt x="8337798" y="1089386"/>
                  </a:lnTo>
                  <a:cubicBezTo>
                    <a:pt x="8337798" y="1098423"/>
                    <a:pt x="8339626" y="1104863"/>
                    <a:pt x="8343282" y="1108706"/>
                  </a:cubicBezTo>
                  <a:cubicBezTo>
                    <a:pt x="8346938" y="1112549"/>
                    <a:pt x="8353298" y="1114555"/>
                    <a:pt x="8362360" y="1114724"/>
                  </a:cubicBezTo>
                  <a:lnTo>
                    <a:pt x="8362360" y="1134235"/>
                  </a:lnTo>
                  <a:cubicBezTo>
                    <a:pt x="8325697" y="1133897"/>
                    <a:pt x="8307366" y="1121059"/>
                    <a:pt x="8307366" y="1095721"/>
                  </a:cubicBezTo>
                  <a:lnTo>
                    <a:pt x="8307366" y="1058346"/>
                  </a:lnTo>
                  <a:cubicBezTo>
                    <a:pt x="8307366" y="1041622"/>
                    <a:pt x="8299333" y="1032838"/>
                    <a:pt x="8283267" y="1031993"/>
                  </a:cubicBezTo>
                  <a:lnTo>
                    <a:pt x="8283267" y="1013497"/>
                  </a:lnTo>
                  <a:cubicBezTo>
                    <a:pt x="8299333" y="1012652"/>
                    <a:pt x="8307366" y="1003699"/>
                    <a:pt x="8307366" y="986637"/>
                  </a:cubicBezTo>
                  <a:lnTo>
                    <a:pt x="8307366" y="950276"/>
                  </a:lnTo>
                  <a:cubicBezTo>
                    <a:pt x="8307366" y="924600"/>
                    <a:pt x="8325697" y="911593"/>
                    <a:pt x="8362360" y="911255"/>
                  </a:cubicBezTo>
                  <a:close/>
                  <a:moveTo>
                    <a:pt x="4833613" y="911255"/>
                  </a:moveTo>
                  <a:cubicBezTo>
                    <a:pt x="4870070" y="911593"/>
                    <a:pt x="4888298" y="924600"/>
                    <a:pt x="4888298" y="950276"/>
                  </a:cubicBezTo>
                  <a:lnTo>
                    <a:pt x="4888298" y="986637"/>
                  </a:lnTo>
                  <a:cubicBezTo>
                    <a:pt x="4888298" y="1003699"/>
                    <a:pt x="4896281" y="1012652"/>
                    <a:pt x="4912243" y="1013497"/>
                  </a:cubicBezTo>
                  <a:lnTo>
                    <a:pt x="4912243" y="1031993"/>
                  </a:lnTo>
                  <a:cubicBezTo>
                    <a:pt x="4896281" y="1032838"/>
                    <a:pt x="4888298" y="1041622"/>
                    <a:pt x="4888298" y="1058346"/>
                  </a:cubicBezTo>
                  <a:lnTo>
                    <a:pt x="4888298" y="1095721"/>
                  </a:lnTo>
                  <a:cubicBezTo>
                    <a:pt x="4888298" y="1121059"/>
                    <a:pt x="4870070" y="1133897"/>
                    <a:pt x="4833613" y="1134235"/>
                  </a:cubicBezTo>
                  <a:lnTo>
                    <a:pt x="4833613" y="1114724"/>
                  </a:lnTo>
                  <a:cubicBezTo>
                    <a:pt x="4842573" y="1114555"/>
                    <a:pt x="4848932" y="1112528"/>
                    <a:pt x="4852691" y="1108643"/>
                  </a:cubicBezTo>
                  <a:cubicBezTo>
                    <a:pt x="4856450" y="1104758"/>
                    <a:pt x="4858331" y="1098339"/>
                    <a:pt x="4858331" y="1089386"/>
                  </a:cubicBezTo>
                  <a:lnTo>
                    <a:pt x="4858331" y="1054038"/>
                  </a:lnTo>
                  <a:cubicBezTo>
                    <a:pt x="4858331" y="1036893"/>
                    <a:pt x="4868475" y="1026461"/>
                    <a:pt x="4888762" y="1022745"/>
                  </a:cubicBezTo>
                  <a:lnTo>
                    <a:pt x="4888762" y="1022365"/>
                  </a:lnTo>
                  <a:cubicBezTo>
                    <a:pt x="4868475" y="1018395"/>
                    <a:pt x="4858331" y="1007880"/>
                    <a:pt x="4858331" y="990818"/>
                  </a:cubicBezTo>
                  <a:lnTo>
                    <a:pt x="4858331" y="955091"/>
                  </a:lnTo>
                  <a:cubicBezTo>
                    <a:pt x="4858331" y="939296"/>
                    <a:pt x="4850091" y="931230"/>
                    <a:pt x="4833613" y="930893"/>
                  </a:cubicBezTo>
                  <a:close/>
                  <a:moveTo>
                    <a:pt x="4812294" y="911255"/>
                  </a:moveTo>
                  <a:lnTo>
                    <a:pt x="4812294" y="930893"/>
                  </a:lnTo>
                  <a:cubicBezTo>
                    <a:pt x="4795920" y="931230"/>
                    <a:pt x="4787733" y="939296"/>
                    <a:pt x="4787733" y="955091"/>
                  </a:cubicBezTo>
                  <a:lnTo>
                    <a:pt x="4787733" y="990818"/>
                  </a:lnTo>
                  <a:cubicBezTo>
                    <a:pt x="4787733" y="1007880"/>
                    <a:pt x="4777485" y="1018395"/>
                    <a:pt x="4756990" y="1022365"/>
                  </a:cubicBezTo>
                  <a:lnTo>
                    <a:pt x="4756990" y="1022745"/>
                  </a:lnTo>
                  <a:cubicBezTo>
                    <a:pt x="4777485" y="1026461"/>
                    <a:pt x="4787733" y="1036893"/>
                    <a:pt x="4787733" y="1054038"/>
                  </a:cubicBezTo>
                  <a:lnTo>
                    <a:pt x="4787733" y="1089386"/>
                  </a:lnTo>
                  <a:cubicBezTo>
                    <a:pt x="4787733" y="1098423"/>
                    <a:pt x="4789561" y="1104863"/>
                    <a:pt x="4793216" y="1108706"/>
                  </a:cubicBezTo>
                  <a:cubicBezTo>
                    <a:pt x="4796872" y="1112549"/>
                    <a:pt x="4803232" y="1114555"/>
                    <a:pt x="4812294" y="1114724"/>
                  </a:cubicBezTo>
                  <a:lnTo>
                    <a:pt x="4812294" y="1134235"/>
                  </a:lnTo>
                  <a:cubicBezTo>
                    <a:pt x="4775631" y="1133897"/>
                    <a:pt x="4757300" y="1121059"/>
                    <a:pt x="4757300" y="1095721"/>
                  </a:cubicBezTo>
                  <a:lnTo>
                    <a:pt x="4757300" y="1058346"/>
                  </a:lnTo>
                  <a:cubicBezTo>
                    <a:pt x="4757300" y="1041622"/>
                    <a:pt x="4749266" y="1032838"/>
                    <a:pt x="4733202" y="1031993"/>
                  </a:cubicBezTo>
                  <a:lnTo>
                    <a:pt x="4733202" y="1013497"/>
                  </a:lnTo>
                  <a:cubicBezTo>
                    <a:pt x="4749266" y="1012652"/>
                    <a:pt x="4757300" y="1003699"/>
                    <a:pt x="4757300" y="986637"/>
                  </a:cubicBezTo>
                  <a:lnTo>
                    <a:pt x="4757300" y="950276"/>
                  </a:lnTo>
                  <a:cubicBezTo>
                    <a:pt x="4757300" y="924600"/>
                    <a:pt x="4775631" y="911593"/>
                    <a:pt x="4812294" y="911255"/>
                  </a:cubicBezTo>
                  <a:close/>
                  <a:moveTo>
                    <a:pt x="2329011" y="911255"/>
                  </a:moveTo>
                  <a:cubicBezTo>
                    <a:pt x="2365469" y="911593"/>
                    <a:pt x="2383698" y="924600"/>
                    <a:pt x="2383698" y="950276"/>
                  </a:cubicBezTo>
                  <a:lnTo>
                    <a:pt x="2383698" y="986637"/>
                  </a:lnTo>
                  <a:cubicBezTo>
                    <a:pt x="2383698" y="1003699"/>
                    <a:pt x="2391678" y="1012652"/>
                    <a:pt x="2407642" y="1013497"/>
                  </a:cubicBezTo>
                  <a:lnTo>
                    <a:pt x="2407642" y="1031993"/>
                  </a:lnTo>
                  <a:cubicBezTo>
                    <a:pt x="2391678" y="1032838"/>
                    <a:pt x="2383698" y="1041622"/>
                    <a:pt x="2383698" y="1058346"/>
                  </a:cubicBezTo>
                  <a:lnTo>
                    <a:pt x="2383698" y="1095721"/>
                  </a:lnTo>
                  <a:cubicBezTo>
                    <a:pt x="2383698" y="1121059"/>
                    <a:pt x="2365469" y="1133897"/>
                    <a:pt x="2329011" y="1134235"/>
                  </a:cubicBezTo>
                  <a:lnTo>
                    <a:pt x="2329011" y="1114724"/>
                  </a:lnTo>
                  <a:cubicBezTo>
                    <a:pt x="2337972" y="1114555"/>
                    <a:pt x="2344330" y="1112528"/>
                    <a:pt x="2348089" y="1108643"/>
                  </a:cubicBezTo>
                  <a:cubicBezTo>
                    <a:pt x="2351849" y="1104758"/>
                    <a:pt x="2353729" y="1098339"/>
                    <a:pt x="2353729" y="1089386"/>
                  </a:cubicBezTo>
                  <a:lnTo>
                    <a:pt x="2353729" y="1054038"/>
                  </a:lnTo>
                  <a:cubicBezTo>
                    <a:pt x="2353729" y="1036893"/>
                    <a:pt x="2363873" y="1026461"/>
                    <a:pt x="2384161" y="1022745"/>
                  </a:cubicBezTo>
                  <a:lnTo>
                    <a:pt x="2384161" y="1022365"/>
                  </a:lnTo>
                  <a:cubicBezTo>
                    <a:pt x="2363873" y="1018395"/>
                    <a:pt x="2353729" y="1007880"/>
                    <a:pt x="2353729" y="990818"/>
                  </a:cubicBezTo>
                  <a:lnTo>
                    <a:pt x="2353729" y="955091"/>
                  </a:lnTo>
                  <a:cubicBezTo>
                    <a:pt x="2353729" y="939296"/>
                    <a:pt x="2345489" y="931230"/>
                    <a:pt x="2329011" y="930893"/>
                  </a:cubicBezTo>
                  <a:close/>
                  <a:moveTo>
                    <a:pt x="2307692" y="911255"/>
                  </a:moveTo>
                  <a:lnTo>
                    <a:pt x="2307692" y="930893"/>
                  </a:lnTo>
                  <a:cubicBezTo>
                    <a:pt x="2291318" y="931230"/>
                    <a:pt x="2283130" y="939296"/>
                    <a:pt x="2283130" y="955091"/>
                  </a:cubicBezTo>
                  <a:lnTo>
                    <a:pt x="2283130" y="990818"/>
                  </a:lnTo>
                  <a:cubicBezTo>
                    <a:pt x="2283130" y="1007880"/>
                    <a:pt x="2272883" y="1018395"/>
                    <a:pt x="2252390" y="1022365"/>
                  </a:cubicBezTo>
                  <a:lnTo>
                    <a:pt x="2252390" y="1022745"/>
                  </a:lnTo>
                  <a:cubicBezTo>
                    <a:pt x="2272883" y="1026461"/>
                    <a:pt x="2283130" y="1036893"/>
                    <a:pt x="2283130" y="1054038"/>
                  </a:cubicBezTo>
                  <a:lnTo>
                    <a:pt x="2283130" y="1089386"/>
                  </a:lnTo>
                  <a:cubicBezTo>
                    <a:pt x="2283130" y="1098423"/>
                    <a:pt x="2284959" y="1104863"/>
                    <a:pt x="2288616" y="1108706"/>
                  </a:cubicBezTo>
                  <a:cubicBezTo>
                    <a:pt x="2292271" y="1112549"/>
                    <a:pt x="2298630" y="1114555"/>
                    <a:pt x="2307692" y="1114724"/>
                  </a:cubicBezTo>
                  <a:lnTo>
                    <a:pt x="2307692" y="1134235"/>
                  </a:lnTo>
                  <a:cubicBezTo>
                    <a:pt x="2271030" y="1133897"/>
                    <a:pt x="2252699" y="1121059"/>
                    <a:pt x="2252699" y="1095721"/>
                  </a:cubicBezTo>
                  <a:lnTo>
                    <a:pt x="2252699" y="1058346"/>
                  </a:lnTo>
                  <a:cubicBezTo>
                    <a:pt x="2252699" y="1041622"/>
                    <a:pt x="2244665" y="1032838"/>
                    <a:pt x="2228599" y="1031993"/>
                  </a:cubicBezTo>
                  <a:lnTo>
                    <a:pt x="2228599" y="1013497"/>
                  </a:lnTo>
                  <a:cubicBezTo>
                    <a:pt x="2244665" y="1012652"/>
                    <a:pt x="2252699" y="1003699"/>
                    <a:pt x="2252699" y="986637"/>
                  </a:cubicBezTo>
                  <a:lnTo>
                    <a:pt x="2252699" y="950276"/>
                  </a:lnTo>
                  <a:cubicBezTo>
                    <a:pt x="2252699" y="924600"/>
                    <a:pt x="2271030" y="911593"/>
                    <a:pt x="2307692" y="911255"/>
                  </a:cubicBezTo>
                  <a:close/>
                  <a:moveTo>
                    <a:pt x="8335302" y="721489"/>
                  </a:moveTo>
                  <a:lnTo>
                    <a:pt x="8324840" y="769618"/>
                  </a:lnTo>
                  <a:lnTo>
                    <a:pt x="8367563" y="769618"/>
                  </a:lnTo>
                  <a:lnTo>
                    <a:pt x="8377851" y="721489"/>
                  </a:lnTo>
                  <a:close/>
                  <a:moveTo>
                    <a:pt x="2272056" y="721489"/>
                  </a:moveTo>
                  <a:lnTo>
                    <a:pt x="2261594" y="769618"/>
                  </a:lnTo>
                  <a:lnTo>
                    <a:pt x="2304318" y="769618"/>
                  </a:lnTo>
                  <a:lnTo>
                    <a:pt x="2314605" y="721489"/>
                  </a:lnTo>
                  <a:close/>
                  <a:moveTo>
                    <a:pt x="3677493" y="632755"/>
                  </a:moveTo>
                  <a:cubicBezTo>
                    <a:pt x="3707392" y="633093"/>
                    <a:pt x="3722342" y="646101"/>
                    <a:pt x="3722342" y="671776"/>
                  </a:cubicBezTo>
                  <a:lnTo>
                    <a:pt x="3722342" y="708137"/>
                  </a:lnTo>
                  <a:cubicBezTo>
                    <a:pt x="3722342" y="725199"/>
                    <a:pt x="3728887" y="734152"/>
                    <a:pt x="3741979" y="734997"/>
                  </a:cubicBezTo>
                  <a:lnTo>
                    <a:pt x="3741979" y="753493"/>
                  </a:lnTo>
                  <a:cubicBezTo>
                    <a:pt x="3728887" y="754338"/>
                    <a:pt x="3722342" y="763122"/>
                    <a:pt x="3722342" y="779846"/>
                  </a:cubicBezTo>
                  <a:lnTo>
                    <a:pt x="3722342" y="817221"/>
                  </a:lnTo>
                  <a:cubicBezTo>
                    <a:pt x="3722342" y="842559"/>
                    <a:pt x="3707392" y="855397"/>
                    <a:pt x="3677493" y="855735"/>
                  </a:cubicBezTo>
                  <a:lnTo>
                    <a:pt x="3677493" y="836224"/>
                  </a:lnTo>
                  <a:cubicBezTo>
                    <a:pt x="3684839" y="836055"/>
                    <a:pt x="3690055" y="834028"/>
                    <a:pt x="3693139" y="830143"/>
                  </a:cubicBezTo>
                  <a:cubicBezTo>
                    <a:pt x="3696222" y="826258"/>
                    <a:pt x="3697763" y="819839"/>
                    <a:pt x="3697763" y="810886"/>
                  </a:cubicBezTo>
                  <a:lnTo>
                    <a:pt x="3697763" y="775538"/>
                  </a:lnTo>
                  <a:cubicBezTo>
                    <a:pt x="3697763" y="758393"/>
                    <a:pt x="3706083" y="747961"/>
                    <a:pt x="3722721" y="744245"/>
                  </a:cubicBezTo>
                  <a:lnTo>
                    <a:pt x="3722721" y="743865"/>
                  </a:lnTo>
                  <a:cubicBezTo>
                    <a:pt x="3706083" y="739895"/>
                    <a:pt x="3697763" y="729380"/>
                    <a:pt x="3697763" y="712318"/>
                  </a:cubicBezTo>
                  <a:lnTo>
                    <a:pt x="3697763" y="676591"/>
                  </a:lnTo>
                  <a:cubicBezTo>
                    <a:pt x="3697763" y="660796"/>
                    <a:pt x="3691005" y="652730"/>
                    <a:pt x="3677493" y="652393"/>
                  </a:cubicBezTo>
                  <a:close/>
                  <a:moveTo>
                    <a:pt x="3660007" y="632755"/>
                  </a:moveTo>
                  <a:lnTo>
                    <a:pt x="3660007" y="652393"/>
                  </a:lnTo>
                  <a:cubicBezTo>
                    <a:pt x="3646578" y="652730"/>
                    <a:pt x="3639863" y="660796"/>
                    <a:pt x="3639863" y="676591"/>
                  </a:cubicBezTo>
                  <a:lnTo>
                    <a:pt x="3639863" y="712318"/>
                  </a:lnTo>
                  <a:cubicBezTo>
                    <a:pt x="3639863" y="729380"/>
                    <a:pt x="3631459" y="739895"/>
                    <a:pt x="3614652" y="743865"/>
                  </a:cubicBezTo>
                  <a:lnTo>
                    <a:pt x="3614652" y="744245"/>
                  </a:lnTo>
                  <a:cubicBezTo>
                    <a:pt x="3631459" y="747961"/>
                    <a:pt x="3639863" y="758393"/>
                    <a:pt x="3639863" y="775538"/>
                  </a:cubicBezTo>
                  <a:lnTo>
                    <a:pt x="3639863" y="810886"/>
                  </a:lnTo>
                  <a:cubicBezTo>
                    <a:pt x="3639863" y="819923"/>
                    <a:pt x="3641362" y="826363"/>
                    <a:pt x="3644361" y="830206"/>
                  </a:cubicBezTo>
                  <a:cubicBezTo>
                    <a:pt x="3647359" y="834049"/>
                    <a:pt x="3652575" y="836055"/>
                    <a:pt x="3660007" y="836224"/>
                  </a:cubicBezTo>
                  <a:lnTo>
                    <a:pt x="3660007" y="855735"/>
                  </a:lnTo>
                  <a:cubicBezTo>
                    <a:pt x="3629939" y="855397"/>
                    <a:pt x="3614905" y="842559"/>
                    <a:pt x="3614905" y="817221"/>
                  </a:cubicBezTo>
                  <a:lnTo>
                    <a:pt x="3614905" y="779846"/>
                  </a:lnTo>
                  <a:cubicBezTo>
                    <a:pt x="3614905" y="763122"/>
                    <a:pt x="3608317" y="754338"/>
                    <a:pt x="3595140" y="753493"/>
                  </a:cubicBezTo>
                  <a:lnTo>
                    <a:pt x="3595140" y="734997"/>
                  </a:lnTo>
                  <a:cubicBezTo>
                    <a:pt x="3608317" y="734152"/>
                    <a:pt x="3614905" y="725199"/>
                    <a:pt x="3614905" y="708137"/>
                  </a:cubicBezTo>
                  <a:lnTo>
                    <a:pt x="3614905" y="671776"/>
                  </a:lnTo>
                  <a:cubicBezTo>
                    <a:pt x="3614905" y="646101"/>
                    <a:pt x="3629939" y="633093"/>
                    <a:pt x="3660007" y="632755"/>
                  </a:cubicBezTo>
                  <a:close/>
                  <a:moveTo>
                    <a:pt x="8326235" y="629938"/>
                  </a:moveTo>
                  <a:lnTo>
                    <a:pt x="8354310" y="629938"/>
                  </a:lnTo>
                  <a:lnTo>
                    <a:pt x="8340534" y="697075"/>
                  </a:lnTo>
                  <a:lnTo>
                    <a:pt x="8382734" y="697075"/>
                  </a:lnTo>
                  <a:lnTo>
                    <a:pt x="8397033" y="629938"/>
                  </a:lnTo>
                  <a:lnTo>
                    <a:pt x="8424586" y="629938"/>
                  </a:lnTo>
                  <a:lnTo>
                    <a:pt x="8410635" y="697075"/>
                  </a:lnTo>
                  <a:lnTo>
                    <a:pt x="8450394" y="697075"/>
                  </a:lnTo>
                  <a:lnTo>
                    <a:pt x="8444988" y="721489"/>
                  </a:lnTo>
                  <a:lnTo>
                    <a:pt x="8405404" y="721489"/>
                  </a:lnTo>
                  <a:lnTo>
                    <a:pt x="8395290" y="769618"/>
                  </a:lnTo>
                  <a:lnTo>
                    <a:pt x="8438536" y="769618"/>
                  </a:lnTo>
                  <a:lnTo>
                    <a:pt x="8432432" y="794031"/>
                  </a:lnTo>
                  <a:lnTo>
                    <a:pt x="8390233" y="794031"/>
                  </a:lnTo>
                  <a:lnTo>
                    <a:pt x="8375933" y="858552"/>
                  </a:lnTo>
                  <a:lnTo>
                    <a:pt x="8348206" y="858552"/>
                  </a:lnTo>
                  <a:lnTo>
                    <a:pt x="8362157" y="794031"/>
                  </a:lnTo>
                  <a:lnTo>
                    <a:pt x="8319957" y="794031"/>
                  </a:lnTo>
                  <a:lnTo>
                    <a:pt x="8306355" y="858552"/>
                  </a:lnTo>
                  <a:lnTo>
                    <a:pt x="8278629" y="858552"/>
                  </a:lnTo>
                  <a:lnTo>
                    <a:pt x="8292230" y="794031"/>
                  </a:lnTo>
                  <a:lnTo>
                    <a:pt x="8252297" y="794031"/>
                  </a:lnTo>
                  <a:lnTo>
                    <a:pt x="8257179" y="769618"/>
                  </a:lnTo>
                  <a:lnTo>
                    <a:pt x="8297636" y="769618"/>
                  </a:lnTo>
                  <a:lnTo>
                    <a:pt x="8307227" y="721489"/>
                  </a:lnTo>
                  <a:lnTo>
                    <a:pt x="8264678" y="721489"/>
                  </a:lnTo>
                  <a:lnTo>
                    <a:pt x="8269735" y="697075"/>
                  </a:lnTo>
                  <a:lnTo>
                    <a:pt x="8312284" y="697075"/>
                  </a:lnTo>
                  <a:close/>
                  <a:moveTo>
                    <a:pt x="2262989" y="629938"/>
                  </a:moveTo>
                  <a:lnTo>
                    <a:pt x="2291064" y="629938"/>
                  </a:lnTo>
                  <a:lnTo>
                    <a:pt x="2277288" y="697075"/>
                  </a:lnTo>
                  <a:lnTo>
                    <a:pt x="2319489" y="697075"/>
                  </a:lnTo>
                  <a:lnTo>
                    <a:pt x="2333787" y="629938"/>
                  </a:lnTo>
                  <a:lnTo>
                    <a:pt x="2361341" y="629938"/>
                  </a:lnTo>
                  <a:lnTo>
                    <a:pt x="2347389" y="697075"/>
                  </a:lnTo>
                  <a:lnTo>
                    <a:pt x="2387149" y="697075"/>
                  </a:lnTo>
                  <a:lnTo>
                    <a:pt x="2381743" y="721489"/>
                  </a:lnTo>
                  <a:lnTo>
                    <a:pt x="2342158" y="721489"/>
                  </a:lnTo>
                  <a:lnTo>
                    <a:pt x="2332044" y="769618"/>
                  </a:lnTo>
                  <a:lnTo>
                    <a:pt x="2375291" y="769618"/>
                  </a:lnTo>
                  <a:lnTo>
                    <a:pt x="2369187" y="794031"/>
                  </a:lnTo>
                  <a:lnTo>
                    <a:pt x="2326987" y="794031"/>
                  </a:lnTo>
                  <a:lnTo>
                    <a:pt x="2312687" y="858552"/>
                  </a:lnTo>
                  <a:lnTo>
                    <a:pt x="2284959" y="858552"/>
                  </a:lnTo>
                  <a:lnTo>
                    <a:pt x="2298911" y="794031"/>
                  </a:lnTo>
                  <a:lnTo>
                    <a:pt x="2256711" y="794031"/>
                  </a:lnTo>
                  <a:lnTo>
                    <a:pt x="2243109" y="858552"/>
                  </a:lnTo>
                  <a:lnTo>
                    <a:pt x="2215384" y="858552"/>
                  </a:lnTo>
                  <a:lnTo>
                    <a:pt x="2228985" y="794031"/>
                  </a:lnTo>
                  <a:lnTo>
                    <a:pt x="2189051" y="794031"/>
                  </a:lnTo>
                  <a:lnTo>
                    <a:pt x="2193934" y="769618"/>
                  </a:lnTo>
                  <a:lnTo>
                    <a:pt x="2234391" y="769618"/>
                  </a:lnTo>
                  <a:lnTo>
                    <a:pt x="2243981" y="721489"/>
                  </a:lnTo>
                  <a:lnTo>
                    <a:pt x="2201432" y="721489"/>
                  </a:lnTo>
                  <a:lnTo>
                    <a:pt x="2206489" y="697075"/>
                  </a:lnTo>
                  <a:lnTo>
                    <a:pt x="2249038" y="697075"/>
                  </a:lnTo>
                  <a:close/>
                  <a:moveTo>
                    <a:pt x="10896843" y="324442"/>
                  </a:moveTo>
                  <a:cubicBezTo>
                    <a:pt x="10933300" y="324780"/>
                    <a:pt x="10951529" y="337787"/>
                    <a:pt x="10951529" y="363463"/>
                  </a:cubicBezTo>
                  <a:lnTo>
                    <a:pt x="10951529" y="399824"/>
                  </a:lnTo>
                  <a:cubicBezTo>
                    <a:pt x="10951529" y="416886"/>
                    <a:pt x="10959510" y="425839"/>
                    <a:pt x="10975473" y="426684"/>
                  </a:cubicBezTo>
                  <a:lnTo>
                    <a:pt x="10975473" y="445180"/>
                  </a:lnTo>
                  <a:cubicBezTo>
                    <a:pt x="10959510" y="446025"/>
                    <a:pt x="10951529" y="454809"/>
                    <a:pt x="10951529" y="471533"/>
                  </a:cubicBezTo>
                  <a:lnTo>
                    <a:pt x="10951529" y="508908"/>
                  </a:lnTo>
                  <a:cubicBezTo>
                    <a:pt x="10951529" y="534246"/>
                    <a:pt x="10933300" y="547084"/>
                    <a:pt x="10896843" y="547422"/>
                  </a:cubicBezTo>
                  <a:lnTo>
                    <a:pt x="10896843" y="527911"/>
                  </a:lnTo>
                  <a:cubicBezTo>
                    <a:pt x="10905803" y="527742"/>
                    <a:pt x="10912162" y="525715"/>
                    <a:pt x="10915921" y="521830"/>
                  </a:cubicBezTo>
                  <a:cubicBezTo>
                    <a:pt x="10919680" y="517945"/>
                    <a:pt x="10921560" y="511526"/>
                    <a:pt x="10921560" y="502573"/>
                  </a:cubicBezTo>
                  <a:lnTo>
                    <a:pt x="10921560" y="467225"/>
                  </a:lnTo>
                  <a:cubicBezTo>
                    <a:pt x="10921560" y="450080"/>
                    <a:pt x="10931704" y="439648"/>
                    <a:pt x="10951992" y="435932"/>
                  </a:cubicBezTo>
                  <a:lnTo>
                    <a:pt x="10951992" y="435552"/>
                  </a:lnTo>
                  <a:cubicBezTo>
                    <a:pt x="10931704" y="431582"/>
                    <a:pt x="10921560" y="421067"/>
                    <a:pt x="10921560" y="404005"/>
                  </a:cubicBezTo>
                  <a:lnTo>
                    <a:pt x="10921560" y="368278"/>
                  </a:lnTo>
                  <a:cubicBezTo>
                    <a:pt x="10921560" y="352483"/>
                    <a:pt x="10913321" y="344417"/>
                    <a:pt x="10896843" y="344080"/>
                  </a:cubicBezTo>
                  <a:close/>
                  <a:moveTo>
                    <a:pt x="10875524" y="324442"/>
                  </a:moveTo>
                  <a:lnTo>
                    <a:pt x="10875524" y="344080"/>
                  </a:lnTo>
                  <a:cubicBezTo>
                    <a:pt x="10859150" y="344417"/>
                    <a:pt x="10850962" y="352483"/>
                    <a:pt x="10850962" y="368278"/>
                  </a:cubicBezTo>
                  <a:lnTo>
                    <a:pt x="10850962" y="404005"/>
                  </a:lnTo>
                  <a:cubicBezTo>
                    <a:pt x="10850962" y="421067"/>
                    <a:pt x="10840715" y="431582"/>
                    <a:pt x="10820221" y="435552"/>
                  </a:cubicBezTo>
                  <a:lnTo>
                    <a:pt x="10820221" y="435932"/>
                  </a:lnTo>
                  <a:cubicBezTo>
                    <a:pt x="10840715" y="439648"/>
                    <a:pt x="10850962" y="450080"/>
                    <a:pt x="10850962" y="467225"/>
                  </a:cubicBezTo>
                  <a:lnTo>
                    <a:pt x="10850962" y="502573"/>
                  </a:lnTo>
                  <a:cubicBezTo>
                    <a:pt x="10850962" y="511610"/>
                    <a:pt x="10852790" y="518050"/>
                    <a:pt x="10856446" y="521893"/>
                  </a:cubicBezTo>
                  <a:cubicBezTo>
                    <a:pt x="10860102" y="525736"/>
                    <a:pt x="10866462" y="527742"/>
                    <a:pt x="10875524" y="527911"/>
                  </a:cubicBezTo>
                  <a:lnTo>
                    <a:pt x="10875524" y="547422"/>
                  </a:lnTo>
                  <a:cubicBezTo>
                    <a:pt x="10838861" y="547084"/>
                    <a:pt x="10820530" y="534246"/>
                    <a:pt x="10820530" y="508908"/>
                  </a:cubicBezTo>
                  <a:lnTo>
                    <a:pt x="10820530" y="471533"/>
                  </a:lnTo>
                  <a:cubicBezTo>
                    <a:pt x="10820530" y="454809"/>
                    <a:pt x="10812497" y="446025"/>
                    <a:pt x="10796431" y="445180"/>
                  </a:cubicBezTo>
                  <a:lnTo>
                    <a:pt x="10796431" y="426684"/>
                  </a:lnTo>
                  <a:cubicBezTo>
                    <a:pt x="10812497" y="425839"/>
                    <a:pt x="10820530" y="416886"/>
                    <a:pt x="10820530" y="399824"/>
                  </a:cubicBezTo>
                  <a:lnTo>
                    <a:pt x="10820530" y="363463"/>
                  </a:lnTo>
                  <a:cubicBezTo>
                    <a:pt x="10820530" y="337787"/>
                    <a:pt x="10838861" y="324780"/>
                    <a:pt x="10875524" y="324442"/>
                  </a:cubicBezTo>
                  <a:close/>
                  <a:moveTo>
                    <a:pt x="8390937" y="324442"/>
                  </a:moveTo>
                  <a:cubicBezTo>
                    <a:pt x="8427394" y="324780"/>
                    <a:pt x="8445623" y="337787"/>
                    <a:pt x="8445623" y="363463"/>
                  </a:cubicBezTo>
                  <a:lnTo>
                    <a:pt x="8445623" y="399824"/>
                  </a:lnTo>
                  <a:cubicBezTo>
                    <a:pt x="8445623" y="416886"/>
                    <a:pt x="8453604" y="425839"/>
                    <a:pt x="8469567" y="426684"/>
                  </a:cubicBezTo>
                  <a:lnTo>
                    <a:pt x="8469567" y="445180"/>
                  </a:lnTo>
                  <a:cubicBezTo>
                    <a:pt x="8453604" y="446025"/>
                    <a:pt x="8445623" y="454809"/>
                    <a:pt x="8445623" y="471533"/>
                  </a:cubicBezTo>
                  <a:lnTo>
                    <a:pt x="8445623" y="508908"/>
                  </a:lnTo>
                  <a:cubicBezTo>
                    <a:pt x="8445623" y="534246"/>
                    <a:pt x="8427394" y="547084"/>
                    <a:pt x="8390937" y="547422"/>
                  </a:cubicBezTo>
                  <a:lnTo>
                    <a:pt x="8390937" y="527911"/>
                  </a:lnTo>
                  <a:cubicBezTo>
                    <a:pt x="8399897" y="527742"/>
                    <a:pt x="8406256" y="525715"/>
                    <a:pt x="8410015" y="521830"/>
                  </a:cubicBezTo>
                  <a:cubicBezTo>
                    <a:pt x="8413774" y="517945"/>
                    <a:pt x="8415654" y="511526"/>
                    <a:pt x="8415654" y="502573"/>
                  </a:cubicBezTo>
                  <a:lnTo>
                    <a:pt x="8415654" y="467225"/>
                  </a:lnTo>
                  <a:cubicBezTo>
                    <a:pt x="8415654" y="450080"/>
                    <a:pt x="8425798" y="439648"/>
                    <a:pt x="8446086" y="435932"/>
                  </a:cubicBezTo>
                  <a:lnTo>
                    <a:pt x="8446086" y="435552"/>
                  </a:lnTo>
                  <a:cubicBezTo>
                    <a:pt x="8425798" y="431582"/>
                    <a:pt x="8415654" y="421067"/>
                    <a:pt x="8415654" y="404005"/>
                  </a:cubicBezTo>
                  <a:lnTo>
                    <a:pt x="8415654" y="368278"/>
                  </a:lnTo>
                  <a:cubicBezTo>
                    <a:pt x="8415654" y="352483"/>
                    <a:pt x="8407415" y="344417"/>
                    <a:pt x="8390937" y="344080"/>
                  </a:cubicBezTo>
                  <a:close/>
                  <a:moveTo>
                    <a:pt x="8369618" y="324442"/>
                  </a:moveTo>
                  <a:lnTo>
                    <a:pt x="8369618" y="344080"/>
                  </a:lnTo>
                  <a:cubicBezTo>
                    <a:pt x="8353244" y="344417"/>
                    <a:pt x="8345056" y="352483"/>
                    <a:pt x="8345056" y="368278"/>
                  </a:cubicBezTo>
                  <a:lnTo>
                    <a:pt x="8345056" y="404005"/>
                  </a:lnTo>
                  <a:cubicBezTo>
                    <a:pt x="8345056" y="421067"/>
                    <a:pt x="8334809" y="431582"/>
                    <a:pt x="8314315" y="435552"/>
                  </a:cubicBezTo>
                  <a:lnTo>
                    <a:pt x="8314315" y="435932"/>
                  </a:lnTo>
                  <a:cubicBezTo>
                    <a:pt x="8334809" y="439648"/>
                    <a:pt x="8345056" y="450080"/>
                    <a:pt x="8345056" y="467225"/>
                  </a:cubicBezTo>
                  <a:lnTo>
                    <a:pt x="8345056" y="502573"/>
                  </a:lnTo>
                  <a:cubicBezTo>
                    <a:pt x="8345056" y="511610"/>
                    <a:pt x="8346884" y="518050"/>
                    <a:pt x="8350540" y="521893"/>
                  </a:cubicBezTo>
                  <a:cubicBezTo>
                    <a:pt x="8354196" y="525736"/>
                    <a:pt x="8360556" y="527742"/>
                    <a:pt x="8369618" y="527911"/>
                  </a:cubicBezTo>
                  <a:lnTo>
                    <a:pt x="8369618" y="547422"/>
                  </a:lnTo>
                  <a:cubicBezTo>
                    <a:pt x="8332955" y="547084"/>
                    <a:pt x="8314624" y="534246"/>
                    <a:pt x="8314624" y="508908"/>
                  </a:cubicBezTo>
                  <a:lnTo>
                    <a:pt x="8314624" y="471533"/>
                  </a:lnTo>
                  <a:cubicBezTo>
                    <a:pt x="8314624" y="454809"/>
                    <a:pt x="8306591" y="446025"/>
                    <a:pt x="8290525" y="445180"/>
                  </a:cubicBezTo>
                  <a:lnTo>
                    <a:pt x="8290525" y="426684"/>
                  </a:lnTo>
                  <a:cubicBezTo>
                    <a:pt x="8306591" y="425839"/>
                    <a:pt x="8314624" y="416886"/>
                    <a:pt x="8314624" y="399824"/>
                  </a:cubicBezTo>
                  <a:lnTo>
                    <a:pt x="8314624" y="363463"/>
                  </a:lnTo>
                  <a:cubicBezTo>
                    <a:pt x="8314624" y="337787"/>
                    <a:pt x="8332955" y="324780"/>
                    <a:pt x="8369618" y="324442"/>
                  </a:cubicBezTo>
                  <a:close/>
                  <a:moveTo>
                    <a:pt x="4840871" y="324442"/>
                  </a:moveTo>
                  <a:cubicBezTo>
                    <a:pt x="4877329" y="324780"/>
                    <a:pt x="4895556" y="337787"/>
                    <a:pt x="4895556" y="363463"/>
                  </a:cubicBezTo>
                  <a:lnTo>
                    <a:pt x="4895556" y="399824"/>
                  </a:lnTo>
                  <a:cubicBezTo>
                    <a:pt x="4895556" y="416886"/>
                    <a:pt x="4903539" y="425839"/>
                    <a:pt x="4919501" y="426684"/>
                  </a:cubicBezTo>
                  <a:lnTo>
                    <a:pt x="4919501" y="445180"/>
                  </a:lnTo>
                  <a:cubicBezTo>
                    <a:pt x="4903539" y="446025"/>
                    <a:pt x="4895556" y="454809"/>
                    <a:pt x="4895556" y="471533"/>
                  </a:cubicBezTo>
                  <a:lnTo>
                    <a:pt x="4895556" y="508908"/>
                  </a:lnTo>
                  <a:cubicBezTo>
                    <a:pt x="4895556" y="534246"/>
                    <a:pt x="4877329" y="547084"/>
                    <a:pt x="4840871" y="547422"/>
                  </a:cubicBezTo>
                  <a:lnTo>
                    <a:pt x="4840871" y="527911"/>
                  </a:lnTo>
                  <a:cubicBezTo>
                    <a:pt x="4849831" y="527742"/>
                    <a:pt x="4856190" y="525715"/>
                    <a:pt x="4859949" y="521830"/>
                  </a:cubicBezTo>
                  <a:cubicBezTo>
                    <a:pt x="4863708" y="517945"/>
                    <a:pt x="4865588" y="511526"/>
                    <a:pt x="4865588" y="502573"/>
                  </a:cubicBezTo>
                  <a:lnTo>
                    <a:pt x="4865588" y="467225"/>
                  </a:lnTo>
                  <a:cubicBezTo>
                    <a:pt x="4865588" y="450080"/>
                    <a:pt x="4875733" y="439648"/>
                    <a:pt x="4896020" y="435932"/>
                  </a:cubicBezTo>
                  <a:lnTo>
                    <a:pt x="4896020" y="435552"/>
                  </a:lnTo>
                  <a:cubicBezTo>
                    <a:pt x="4875733" y="431582"/>
                    <a:pt x="4865588" y="421067"/>
                    <a:pt x="4865588" y="404005"/>
                  </a:cubicBezTo>
                  <a:lnTo>
                    <a:pt x="4865588" y="368278"/>
                  </a:lnTo>
                  <a:cubicBezTo>
                    <a:pt x="4865588" y="352483"/>
                    <a:pt x="4857349" y="344417"/>
                    <a:pt x="4840871" y="344080"/>
                  </a:cubicBezTo>
                  <a:close/>
                  <a:moveTo>
                    <a:pt x="4819552" y="324442"/>
                  </a:moveTo>
                  <a:lnTo>
                    <a:pt x="4819552" y="344080"/>
                  </a:lnTo>
                  <a:cubicBezTo>
                    <a:pt x="4803178" y="344417"/>
                    <a:pt x="4794990" y="352483"/>
                    <a:pt x="4794990" y="368278"/>
                  </a:cubicBezTo>
                  <a:lnTo>
                    <a:pt x="4794990" y="404005"/>
                  </a:lnTo>
                  <a:cubicBezTo>
                    <a:pt x="4794990" y="421067"/>
                    <a:pt x="4784744" y="431582"/>
                    <a:pt x="4764248" y="435552"/>
                  </a:cubicBezTo>
                  <a:lnTo>
                    <a:pt x="4764248" y="435932"/>
                  </a:lnTo>
                  <a:cubicBezTo>
                    <a:pt x="4784744" y="439648"/>
                    <a:pt x="4794990" y="450080"/>
                    <a:pt x="4794990" y="467225"/>
                  </a:cubicBezTo>
                  <a:lnTo>
                    <a:pt x="4794990" y="502573"/>
                  </a:lnTo>
                  <a:cubicBezTo>
                    <a:pt x="4794990" y="511610"/>
                    <a:pt x="4796818" y="518050"/>
                    <a:pt x="4800474" y="521893"/>
                  </a:cubicBezTo>
                  <a:cubicBezTo>
                    <a:pt x="4804130" y="525736"/>
                    <a:pt x="4810490" y="527742"/>
                    <a:pt x="4819552" y="527911"/>
                  </a:cubicBezTo>
                  <a:lnTo>
                    <a:pt x="4819552" y="547422"/>
                  </a:lnTo>
                  <a:cubicBezTo>
                    <a:pt x="4782889" y="547084"/>
                    <a:pt x="4764558" y="534246"/>
                    <a:pt x="4764558" y="508908"/>
                  </a:cubicBezTo>
                  <a:lnTo>
                    <a:pt x="4764558" y="471533"/>
                  </a:lnTo>
                  <a:cubicBezTo>
                    <a:pt x="4764558" y="454809"/>
                    <a:pt x="4756524" y="446025"/>
                    <a:pt x="4740459" y="445180"/>
                  </a:cubicBezTo>
                  <a:lnTo>
                    <a:pt x="4740459" y="426684"/>
                  </a:lnTo>
                  <a:cubicBezTo>
                    <a:pt x="4756524" y="425839"/>
                    <a:pt x="4764558" y="416886"/>
                    <a:pt x="4764558" y="399824"/>
                  </a:cubicBezTo>
                  <a:lnTo>
                    <a:pt x="4764558" y="363463"/>
                  </a:lnTo>
                  <a:cubicBezTo>
                    <a:pt x="4764558" y="337787"/>
                    <a:pt x="4782889" y="324780"/>
                    <a:pt x="4819552" y="324442"/>
                  </a:cubicBezTo>
                  <a:close/>
                  <a:moveTo>
                    <a:pt x="2336269" y="324442"/>
                  </a:moveTo>
                  <a:cubicBezTo>
                    <a:pt x="2372726" y="324780"/>
                    <a:pt x="2390956" y="337787"/>
                    <a:pt x="2390956" y="363463"/>
                  </a:cubicBezTo>
                  <a:lnTo>
                    <a:pt x="2390956" y="399824"/>
                  </a:lnTo>
                  <a:cubicBezTo>
                    <a:pt x="2390956" y="416886"/>
                    <a:pt x="2398936" y="425839"/>
                    <a:pt x="2414899" y="426684"/>
                  </a:cubicBezTo>
                  <a:lnTo>
                    <a:pt x="2414899" y="445180"/>
                  </a:lnTo>
                  <a:cubicBezTo>
                    <a:pt x="2398936" y="446025"/>
                    <a:pt x="2390956" y="454809"/>
                    <a:pt x="2390956" y="471533"/>
                  </a:cubicBezTo>
                  <a:lnTo>
                    <a:pt x="2390956" y="508908"/>
                  </a:lnTo>
                  <a:cubicBezTo>
                    <a:pt x="2390956" y="534246"/>
                    <a:pt x="2372726" y="547084"/>
                    <a:pt x="2336269" y="547422"/>
                  </a:cubicBezTo>
                  <a:lnTo>
                    <a:pt x="2336269" y="527911"/>
                  </a:lnTo>
                  <a:cubicBezTo>
                    <a:pt x="2345229" y="527742"/>
                    <a:pt x="2351589" y="525715"/>
                    <a:pt x="2355347" y="521830"/>
                  </a:cubicBezTo>
                  <a:cubicBezTo>
                    <a:pt x="2359106" y="517945"/>
                    <a:pt x="2360986" y="511526"/>
                    <a:pt x="2360986" y="502573"/>
                  </a:cubicBezTo>
                  <a:lnTo>
                    <a:pt x="2360986" y="467225"/>
                  </a:lnTo>
                  <a:cubicBezTo>
                    <a:pt x="2360986" y="450080"/>
                    <a:pt x="2371130" y="439648"/>
                    <a:pt x="2391418" y="435932"/>
                  </a:cubicBezTo>
                  <a:lnTo>
                    <a:pt x="2391418" y="435552"/>
                  </a:lnTo>
                  <a:cubicBezTo>
                    <a:pt x="2371130" y="431582"/>
                    <a:pt x="2360986" y="421067"/>
                    <a:pt x="2360986" y="404005"/>
                  </a:cubicBezTo>
                  <a:lnTo>
                    <a:pt x="2360986" y="368278"/>
                  </a:lnTo>
                  <a:cubicBezTo>
                    <a:pt x="2360986" y="352483"/>
                    <a:pt x="2352747" y="344417"/>
                    <a:pt x="2336269" y="344080"/>
                  </a:cubicBezTo>
                  <a:close/>
                  <a:moveTo>
                    <a:pt x="2314950" y="324442"/>
                  </a:moveTo>
                  <a:lnTo>
                    <a:pt x="2314950" y="344080"/>
                  </a:lnTo>
                  <a:cubicBezTo>
                    <a:pt x="2298576" y="344417"/>
                    <a:pt x="2290389" y="352483"/>
                    <a:pt x="2290389" y="368278"/>
                  </a:cubicBezTo>
                  <a:lnTo>
                    <a:pt x="2290389" y="404005"/>
                  </a:lnTo>
                  <a:cubicBezTo>
                    <a:pt x="2290389" y="421067"/>
                    <a:pt x="2280142" y="431582"/>
                    <a:pt x="2259648" y="435552"/>
                  </a:cubicBezTo>
                  <a:lnTo>
                    <a:pt x="2259648" y="435932"/>
                  </a:lnTo>
                  <a:cubicBezTo>
                    <a:pt x="2280142" y="439648"/>
                    <a:pt x="2290389" y="450080"/>
                    <a:pt x="2290389" y="467225"/>
                  </a:cubicBezTo>
                  <a:lnTo>
                    <a:pt x="2290389" y="502573"/>
                  </a:lnTo>
                  <a:cubicBezTo>
                    <a:pt x="2290389" y="511610"/>
                    <a:pt x="2292216" y="518050"/>
                    <a:pt x="2295873" y="521893"/>
                  </a:cubicBezTo>
                  <a:cubicBezTo>
                    <a:pt x="2299528" y="525736"/>
                    <a:pt x="2305888" y="527742"/>
                    <a:pt x="2314950" y="527911"/>
                  </a:cubicBezTo>
                  <a:lnTo>
                    <a:pt x="2314950" y="547422"/>
                  </a:lnTo>
                  <a:cubicBezTo>
                    <a:pt x="2278287" y="547084"/>
                    <a:pt x="2259956" y="534246"/>
                    <a:pt x="2259956" y="508908"/>
                  </a:cubicBezTo>
                  <a:lnTo>
                    <a:pt x="2259956" y="471533"/>
                  </a:lnTo>
                  <a:cubicBezTo>
                    <a:pt x="2259956" y="454809"/>
                    <a:pt x="2251924" y="446025"/>
                    <a:pt x="2235857" y="445180"/>
                  </a:cubicBezTo>
                  <a:lnTo>
                    <a:pt x="2235857" y="426684"/>
                  </a:lnTo>
                  <a:cubicBezTo>
                    <a:pt x="2251924" y="425839"/>
                    <a:pt x="2259956" y="416886"/>
                    <a:pt x="2259956" y="399824"/>
                  </a:cubicBezTo>
                  <a:lnTo>
                    <a:pt x="2259956" y="363463"/>
                  </a:lnTo>
                  <a:cubicBezTo>
                    <a:pt x="2259956" y="337787"/>
                    <a:pt x="2278287" y="324780"/>
                    <a:pt x="2314950" y="324442"/>
                  </a:cubicBezTo>
                  <a:close/>
                  <a:moveTo>
                    <a:pt x="8852714" y="0"/>
                  </a:moveTo>
                  <a:cubicBezTo>
                    <a:pt x="8889171" y="338"/>
                    <a:pt x="8907400" y="13345"/>
                    <a:pt x="8907400" y="39021"/>
                  </a:cubicBezTo>
                  <a:lnTo>
                    <a:pt x="8907400" y="75382"/>
                  </a:lnTo>
                  <a:cubicBezTo>
                    <a:pt x="8907400" y="92444"/>
                    <a:pt x="8915381" y="101397"/>
                    <a:pt x="8931344" y="102242"/>
                  </a:cubicBezTo>
                  <a:lnTo>
                    <a:pt x="8931344" y="120738"/>
                  </a:lnTo>
                  <a:cubicBezTo>
                    <a:pt x="8915381" y="121583"/>
                    <a:pt x="8907400" y="130367"/>
                    <a:pt x="8907400" y="147091"/>
                  </a:cubicBezTo>
                  <a:lnTo>
                    <a:pt x="8907400" y="184465"/>
                  </a:lnTo>
                  <a:cubicBezTo>
                    <a:pt x="8907400" y="209804"/>
                    <a:pt x="8889171" y="222642"/>
                    <a:pt x="8852714" y="222980"/>
                  </a:cubicBezTo>
                  <a:lnTo>
                    <a:pt x="8852714" y="203469"/>
                  </a:lnTo>
                  <a:cubicBezTo>
                    <a:pt x="8861674" y="203300"/>
                    <a:pt x="8868033" y="201273"/>
                    <a:pt x="8871792" y="197388"/>
                  </a:cubicBezTo>
                  <a:cubicBezTo>
                    <a:pt x="8875551" y="193503"/>
                    <a:pt x="8877431" y="187084"/>
                    <a:pt x="8877431" y="178131"/>
                  </a:cubicBezTo>
                  <a:lnTo>
                    <a:pt x="8877431" y="142783"/>
                  </a:lnTo>
                  <a:cubicBezTo>
                    <a:pt x="8877431" y="125638"/>
                    <a:pt x="8887575" y="115206"/>
                    <a:pt x="8907863" y="111490"/>
                  </a:cubicBezTo>
                  <a:lnTo>
                    <a:pt x="8907863" y="111110"/>
                  </a:lnTo>
                  <a:cubicBezTo>
                    <a:pt x="8887575" y="107140"/>
                    <a:pt x="8877431" y="96625"/>
                    <a:pt x="8877431" y="79563"/>
                  </a:cubicBezTo>
                  <a:lnTo>
                    <a:pt x="8877431" y="43836"/>
                  </a:lnTo>
                  <a:cubicBezTo>
                    <a:pt x="8877431" y="28041"/>
                    <a:pt x="8869192" y="19975"/>
                    <a:pt x="8852714" y="19638"/>
                  </a:cubicBezTo>
                  <a:close/>
                  <a:moveTo>
                    <a:pt x="8831395" y="0"/>
                  </a:moveTo>
                  <a:lnTo>
                    <a:pt x="8831395" y="19638"/>
                  </a:lnTo>
                  <a:cubicBezTo>
                    <a:pt x="8815021" y="19975"/>
                    <a:pt x="8806833" y="28041"/>
                    <a:pt x="8806833" y="43836"/>
                  </a:cubicBezTo>
                  <a:lnTo>
                    <a:pt x="8806833" y="79563"/>
                  </a:lnTo>
                  <a:cubicBezTo>
                    <a:pt x="8806833" y="96625"/>
                    <a:pt x="8796586" y="107140"/>
                    <a:pt x="8776092" y="111110"/>
                  </a:cubicBezTo>
                  <a:lnTo>
                    <a:pt x="8776092" y="111490"/>
                  </a:lnTo>
                  <a:cubicBezTo>
                    <a:pt x="8796586" y="115206"/>
                    <a:pt x="8806833" y="125638"/>
                    <a:pt x="8806833" y="142783"/>
                  </a:cubicBezTo>
                  <a:lnTo>
                    <a:pt x="8806833" y="178131"/>
                  </a:lnTo>
                  <a:cubicBezTo>
                    <a:pt x="8806833" y="187168"/>
                    <a:pt x="8808661" y="193608"/>
                    <a:pt x="8812317" y="197451"/>
                  </a:cubicBezTo>
                  <a:cubicBezTo>
                    <a:pt x="8815973" y="201294"/>
                    <a:pt x="8822333" y="203300"/>
                    <a:pt x="8831395" y="203469"/>
                  </a:cubicBezTo>
                  <a:lnTo>
                    <a:pt x="8831395" y="222980"/>
                  </a:lnTo>
                  <a:cubicBezTo>
                    <a:pt x="8794732" y="222642"/>
                    <a:pt x="8776401" y="209804"/>
                    <a:pt x="8776401" y="184465"/>
                  </a:cubicBezTo>
                  <a:lnTo>
                    <a:pt x="8776401" y="147091"/>
                  </a:lnTo>
                  <a:cubicBezTo>
                    <a:pt x="8776401" y="130367"/>
                    <a:pt x="8768368" y="121583"/>
                    <a:pt x="8752302" y="120738"/>
                  </a:cubicBezTo>
                  <a:lnTo>
                    <a:pt x="8752302" y="102242"/>
                  </a:lnTo>
                  <a:cubicBezTo>
                    <a:pt x="8768368" y="101397"/>
                    <a:pt x="8776401" y="92444"/>
                    <a:pt x="8776401" y="75382"/>
                  </a:cubicBezTo>
                  <a:lnTo>
                    <a:pt x="8776401" y="39021"/>
                  </a:lnTo>
                  <a:cubicBezTo>
                    <a:pt x="8776401" y="13345"/>
                    <a:pt x="8794732" y="338"/>
                    <a:pt x="8831395" y="0"/>
                  </a:cubicBezTo>
                  <a:close/>
                  <a:moveTo>
                    <a:pt x="2780936" y="0"/>
                  </a:moveTo>
                  <a:cubicBezTo>
                    <a:pt x="2817392" y="338"/>
                    <a:pt x="2835620" y="13345"/>
                    <a:pt x="2835620" y="39021"/>
                  </a:cubicBezTo>
                  <a:lnTo>
                    <a:pt x="2835620" y="75382"/>
                  </a:lnTo>
                  <a:cubicBezTo>
                    <a:pt x="2835620" y="92444"/>
                    <a:pt x="2843602" y="101397"/>
                    <a:pt x="2859566" y="102242"/>
                  </a:cubicBezTo>
                  <a:lnTo>
                    <a:pt x="2859566" y="120738"/>
                  </a:lnTo>
                  <a:cubicBezTo>
                    <a:pt x="2843602" y="121583"/>
                    <a:pt x="2835620" y="130367"/>
                    <a:pt x="2835620" y="147091"/>
                  </a:cubicBezTo>
                  <a:lnTo>
                    <a:pt x="2835620" y="184465"/>
                  </a:lnTo>
                  <a:cubicBezTo>
                    <a:pt x="2835620" y="209804"/>
                    <a:pt x="2817392" y="222642"/>
                    <a:pt x="2780936" y="222980"/>
                  </a:cubicBezTo>
                  <a:lnTo>
                    <a:pt x="2780936" y="203469"/>
                  </a:lnTo>
                  <a:cubicBezTo>
                    <a:pt x="2789895" y="203300"/>
                    <a:pt x="2796255" y="201273"/>
                    <a:pt x="2800014" y="197388"/>
                  </a:cubicBezTo>
                  <a:cubicBezTo>
                    <a:pt x="2803773" y="193503"/>
                    <a:pt x="2805652" y="187084"/>
                    <a:pt x="2805652" y="178131"/>
                  </a:cubicBezTo>
                  <a:lnTo>
                    <a:pt x="2805652" y="142783"/>
                  </a:lnTo>
                  <a:cubicBezTo>
                    <a:pt x="2805652" y="125638"/>
                    <a:pt x="2815797" y="115206"/>
                    <a:pt x="2836085" y="111490"/>
                  </a:cubicBezTo>
                  <a:lnTo>
                    <a:pt x="2836085" y="111110"/>
                  </a:lnTo>
                  <a:cubicBezTo>
                    <a:pt x="2815797" y="107140"/>
                    <a:pt x="2805652" y="96625"/>
                    <a:pt x="2805652" y="79563"/>
                  </a:cubicBezTo>
                  <a:lnTo>
                    <a:pt x="2805652" y="43836"/>
                  </a:lnTo>
                  <a:cubicBezTo>
                    <a:pt x="2805652" y="28041"/>
                    <a:pt x="2797414" y="19975"/>
                    <a:pt x="2780936" y="19638"/>
                  </a:cubicBezTo>
                  <a:close/>
                  <a:moveTo>
                    <a:pt x="2759616" y="0"/>
                  </a:moveTo>
                  <a:lnTo>
                    <a:pt x="2759616" y="19638"/>
                  </a:lnTo>
                  <a:cubicBezTo>
                    <a:pt x="2743242" y="19975"/>
                    <a:pt x="2735055" y="28041"/>
                    <a:pt x="2735055" y="43836"/>
                  </a:cubicBezTo>
                  <a:lnTo>
                    <a:pt x="2735055" y="79563"/>
                  </a:lnTo>
                  <a:cubicBezTo>
                    <a:pt x="2735055" y="96625"/>
                    <a:pt x="2724808" y="107140"/>
                    <a:pt x="2704314" y="111110"/>
                  </a:cubicBezTo>
                  <a:lnTo>
                    <a:pt x="2704314" y="111490"/>
                  </a:lnTo>
                  <a:cubicBezTo>
                    <a:pt x="2724808" y="115206"/>
                    <a:pt x="2735055" y="125638"/>
                    <a:pt x="2735055" y="142783"/>
                  </a:cubicBezTo>
                  <a:lnTo>
                    <a:pt x="2735055" y="178131"/>
                  </a:lnTo>
                  <a:cubicBezTo>
                    <a:pt x="2735055" y="187168"/>
                    <a:pt x="2736883" y="193608"/>
                    <a:pt x="2740539" y="197451"/>
                  </a:cubicBezTo>
                  <a:cubicBezTo>
                    <a:pt x="2744194" y="201294"/>
                    <a:pt x="2750555" y="203300"/>
                    <a:pt x="2759616" y="203469"/>
                  </a:cubicBezTo>
                  <a:lnTo>
                    <a:pt x="2759616" y="222980"/>
                  </a:lnTo>
                  <a:cubicBezTo>
                    <a:pt x="2722953" y="222642"/>
                    <a:pt x="2704623" y="209804"/>
                    <a:pt x="2704623" y="184465"/>
                  </a:cubicBezTo>
                  <a:lnTo>
                    <a:pt x="2704623" y="147091"/>
                  </a:lnTo>
                  <a:cubicBezTo>
                    <a:pt x="2704623" y="130367"/>
                    <a:pt x="2696589" y="121583"/>
                    <a:pt x="2680524" y="120738"/>
                  </a:cubicBezTo>
                  <a:lnTo>
                    <a:pt x="2680524" y="102242"/>
                  </a:lnTo>
                  <a:cubicBezTo>
                    <a:pt x="2696589" y="101397"/>
                    <a:pt x="2704623" y="92444"/>
                    <a:pt x="2704623" y="75382"/>
                  </a:cubicBezTo>
                  <a:lnTo>
                    <a:pt x="2704623" y="39021"/>
                  </a:lnTo>
                  <a:cubicBezTo>
                    <a:pt x="2704623" y="13345"/>
                    <a:pt x="2722953" y="338"/>
                    <a:pt x="2759616"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23" name="Group 22"/>
          <p:cNvGrpSpPr/>
          <p:nvPr userDrawn="1"/>
        </p:nvGrpSpPr>
        <p:grpSpPr>
          <a:xfrm>
            <a:off x="-223" y="0"/>
            <a:ext cx="12192001" cy="6858001"/>
            <a:chOff x="6205953" y="-335235"/>
            <a:chExt cx="12192001" cy="6858001"/>
          </a:xfrm>
        </p:grpSpPr>
        <p:sp>
          <p:nvSpPr>
            <p:cNvPr id="24" name="Rectangle 23"/>
            <p:cNvSpPr/>
            <p:nvPr/>
          </p:nvSpPr>
          <p:spPr bwMode="auto">
            <a:xfrm>
              <a:off x="6205954" y="-335234"/>
              <a:ext cx="12192000" cy="6858000"/>
            </a:xfrm>
            <a:prstGeom prst="rect">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25" name="Rectangle 24"/>
            <p:cNvSpPr/>
            <p:nvPr/>
          </p:nvSpPr>
          <p:spPr bwMode="auto">
            <a:xfrm>
              <a:off x="6205953" y="-335235"/>
              <a:ext cx="12192000" cy="6858000"/>
            </a:xfrm>
            <a:prstGeom prst="rect">
              <a:avLst/>
            </a:prstGeom>
            <a:solidFill>
              <a:srgbClr val="0078D7">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hasCustomPrompt="1"/>
          </p:nvPr>
        </p:nvSpPr>
        <p:spPr>
          <a:xfrm>
            <a:off x="1175074" y="1821453"/>
            <a:ext cx="10338789" cy="932563"/>
          </a:xfrm>
          <a:noFill/>
        </p:spPr>
        <p:txBody>
          <a:bodyPr wrap="square" tIns="91440" bIns="91440" anchor="t" anchorCtr="0">
            <a:spAutoFit/>
          </a:bodyPr>
          <a:lstStyle>
            <a:lvl1pPr>
              <a:defRPr sz="540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23429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264916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12921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4467669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30285997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Dark Blue">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2772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7037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38158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0817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587843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117" y="289511"/>
            <a:ext cx="11655840" cy="899665"/>
          </a:xfrm>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71510" y="6491045"/>
            <a:ext cx="936609" cy="206372"/>
          </a:xfrm>
          <a:prstGeom prst="rect">
            <a:avLst/>
          </a:prstGeom>
        </p:spPr>
      </p:pic>
    </p:spTree>
    <p:extLst>
      <p:ext uri="{BB962C8B-B14F-4D97-AF65-F5344CB8AC3E}">
        <p14:creationId xmlns:p14="http://schemas.microsoft.com/office/powerpoint/2010/main" val="309819881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Content spli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0459" y="511827"/>
            <a:ext cx="5556611" cy="2200893"/>
          </a:xfrm>
        </p:spPr>
        <p:txBody>
          <a:bodyPr>
            <a:noAutofit/>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71510" y="6491045"/>
            <a:ext cx="936609" cy="206372"/>
          </a:xfrm>
          <a:prstGeom prst="rect">
            <a:avLst/>
          </a:prstGeom>
        </p:spPr>
      </p:pic>
      <p:cxnSp>
        <p:nvCxnSpPr>
          <p:cNvPr id="39" name="Straight Connector 38"/>
          <p:cNvCxnSpPr/>
          <p:nvPr userDrawn="1"/>
        </p:nvCxnSpPr>
        <p:spPr>
          <a:xfrm>
            <a:off x="6305491" y="357809"/>
            <a:ext cx="0" cy="5686262"/>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6613913" y="933098"/>
            <a:ext cx="5243532" cy="1486561"/>
          </a:xfrm>
        </p:spPr>
        <p:txBody>
          <a:bodyPr/>
          <a:lstStyle>
            <a:lvl1pPr>
              <a:buClr>
                <a:schemeClr val="accent1"/>
              </a:buClr>
              <a:defRPr sz="2800">
                <a:solidFill>
                  <a:schemeClr val="bg2"/>
                </a:solidFill>
              </a:defRPr>
            </a:lvl1pPr>
            <a:lvl2pPr>
              <a:buClr>
                <a:schemeClr val="accent1"/>
              </a:buClr>
              <a:defRPr sz="1600">
                <a:solidFill>
                  <a:schemeClr val="bg2"/>
                </a:solidFill>
              </a:defRPr>
            </a:lvl2pPr>
            <a:lvl3pPr>
              <a:buClr>
                <a:schemeClr val="accent1"/>
              </a:buClr>
              <a:defRPr sz="1400">
                <a:solidFill>
                  <a:schemeClr val="bg2"/>
                </a:solidFill>
              </a:defRPr>
            </a:lvl3pPr>
            <a:lvl4pPr>
              <a:buClr>
                <a:schemeClr val="accent1"/>
              </a:buClr>
              <a:defRPr sz="1200">
                <a:solidFill>
                  <a:schemeClr val="bg2"/>
                </a:solidFill>
              </a:defRPr>
            </a:lvl4pPr>
            <a:lvl5pPr>
              <a:buClr>
                <a:schemeClr val="accent1"/>
              </a:buClr>
              <a:defRPr sz="1200">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887793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tone split">
    <p:bg>
      <p:bgPr>
        <a:solidFill>
          <a:schemeClr val="tx1"/>
        </a:solidFill>
        <a:effectLst/>
      </p:bgPr>
    </p:bg>
    <p:spTree>
      <p:nvGrpSpPr>
        <p:cNvPr id="1" name=""/>
        <p:cNvGrpSpPr/>
        <p:nvPr/>
      </p:nvGrpSpPr>
      <p:grpSpPr>
        <a:xfrm>
          <a:off x="0" y="0"/>
          <a:ext cx="0" cy="0"/>
          <a:chOff x="0" y="0"/>
          <a:chExt cx="0" cy="0"/>
        </a:xfrm>
      </p:grpSpPr>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userDrawn="1"/>
        </p:nvSpPr>
        <p:spPr bwMode="auto">
          <a:xfrm>
            <a:off x="0" y="0"/>
            <a:ext cx="5379719" cy="633256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71510" y="6491045"/>
            <a:ext cx="936609" cy="206372"/>
          </a:xfrm>
          <a:prstGeom prst="rect">
            <a:avLst/>
          </a:prstGeom>
        </p:spPr>
      </p:pic>
      <p:sp>
        <p:nvSpPr>
          <p:cNvPr id="2" name="Title 1"/>
          <p:cNvSpPr>
            <a:spLocks noGrp="1"/>
          </p:cNvSpPr>
          <p:nvPr>
            <p:ph type="title"/>
          </p:nvPr>
        </p:nvSpPr>
        <p:spPr>
          <a:xfrm>
            <a:off x="105117" y="630578"/>
            <a:ext cx="4911606" cy="1514261"/>
          </a:xfrm>
          <a:noFill/>
        </p:spPr>
        <p:txBody>
          <a:bodyPr wrap="square" lIns="182880" tIns="146304" rIns="182880" bIns="146304" rtlCol="0">
            <a:spAutoFit/>
          </a:bodyPr>
          <a:lstStyle>
            <a:lvl1pPr>
              <a:defRPr lang="en-US" kern="0" spc="0" baseline="0" dirty="0">
                <a:solidFill>
                  <a:schemeClr val="tx1"/>
                </a:solidFill>
                <a:latin typeface="Segoe UI Light"/>
                <a:ea typeface="Segoe UI" pitchFamily="34" charset="0"/>
              </a:defRPr>
            </a:lvl1pPr>
          </a:lstStyle>
          <a:p>
            <a:pPr marL="0" lvl="0" defTabSz="914400">
              <a:spcAft>
                <a:spcPts val="600"/>
              </a:spcAft>
            </a:pPr>
            <a:r>
              <a:rPr lang="en-US" dirty="0"/>
              <a:t>Click to edit Master title style</a:t>
            </a:r>
          </a:p>
        </p:txBody>
      </p:sp>
      <p:sp>
        <p:nvSpPr>
          <p:cNvPr id="4" name="Text Placeholder 3"/>
          <p:cNvSpPr>
            <a:spLocks noGrp="1"/>
          </p:cNvSpPr>
          <p:nvPr>
            <p:ph type="body" sz="quarter" idx="10"/>
          </p:nvPr>
        </p:nvSpPr>
        <p:spPr>
          <a:xfrm>
            <a:off x="5686283" y="1110837"/>
            <a:ext cx="6247411" cy="664797"/>
          </a:xfrm>
          <a:noFill/>
        </p:spPr>
        <p:txBody>
          <a:bodyPr wrap="square" lIns="182880" tIns="146304" rIns="182880" bIns="146304" rtlCol="0">
            <a:spAutoFit/>
          </a:bodyPr>
          <a:lstStyle>
            <a:lvl1pPr marL="0" indent="0">
              <a:lnSpc>
                <a:spcPct val="100000"/>
              </a:lnSpc>
              <a:spcBef>
                <a:spcPts val="0"/>
              </a:spcBef>
              <a:buNone/>
              <a:defRPr lang="en-US" sz="2400" dirty="0" smtClean="0">
                <a:solidFill>
                  <a:schemeClr val="bg1"/>
                </a:solidFill>
                <a:cs typeface="Segoe UI" panose="020B0502040204020203" pitchFamily="34" charset="0"/>
              </a:defRPr>
            </a:lvl1pPr>
          </a:lstStyle>
          <a:p>
            <a:pPr marL="0" lvl="0">
              <a:spcAft>
                <a:spcPts val="1800"/>
              </a:spcAft>
            </a:pPr>
            <a:r>
              <a:rPr lang="en-US" dirty="0"/>
              <a:t>Edit Master text styles</a:t>
            </a:r>
          </a:p>
        </p:txBody>
      </p:sp>
    </p:spTree>
    <p:extLst>
      <p:ext uri="{BB962C8B-B14F-4D97-AF65-F5344CB8AC3E}">
        <p14:creationId xmlns:p14="http://schemas.microsoft.com/office/powerpoint/2010/main" val="223299535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Data">
    <p:bg>
      <p:bgPr>
        <a:solidFill>
          <a:schemeClr val="tx1"/>
        </a:solidFill>
        <a:effectLst/>
      </p:bgPr>
    </p:bg>
    <p:spTree>
      <p:nvGrpSpPr>
        <p:cNvPr id="1" name=""/>
        <p:cNvGrpSpPr/>
        <p:nvPr/>
      </p:nvGrpSpPr>
      <p:grpSpPr>
        <a:xfrm>
          <a:off x="0" y="0"/>
          <a:ext cx="0" cy="0"/>
          <a:chOff x="0" y="0"/>
          <a:chExt cx="0" cy="0"/>
        </a:xfrm>
      </p:grpSpPr>
      <p:grpSp>
        <p:nvGrpSpPr>
          <p:cNvPr id="24" name="Group 23"/>
          <p:cNvGrpSpPr/>
          <p:nvPr userDrawn="1"/>
        </p:nvGrpSpPr>
        <p:grpSpPr>
          <a:xfrm>
            <a:off x="34441" y="68248"/>
            <a:ext cx="12117871" cy="6078416"/>
            <a:chOff x="34441" y="68248"/>
            <a:chExt cx="12117871" cy="6078416"/>
          </a:xfrm>
        </p:grpSpPr>
        <p:sp>
          <p:nvSpPr>
            <p:cNvPr id="25" name="Freeform 24"/>
            <p:cNvSpPr/>
            <p:nvPr/>
          </p:nvSpPr>
          <p:spPr>
            <a:xfrm>
              <a:off x="1402215" y="73882"/>
              <a:ext cx="9688677" cy="6065122"/>
            </a:xfrm>
            <a:custGeom>
              <a:avLst/>
              <a:gdLst>
                <a:gd name="connsiteX0" fmla="*/ 3144402 w 9688677"/>
                <a:gd name="connsiteY0" fmla="*/ 5869977 h 6065122"/>
                <a:gd name="connsiteX1" fmla="*/ 3105132 w 9688677"/>
                <a:gd name="connsiteY1" fmla="*/ 5956491 h 6065122"/>
                <a:gd name="connsiteX2" fmla="*/ 3143650 w 9688677"/>
                <a:gd name="connsiteY2" fmla="*/ 6037438 h 6065122"/>
                <a:gd name="connsiteX3" fmla="*/ 3181565 w 9688677"/>
                <a:gd name="connsiteY3" fmla="*/ 5955137 h 6065122"/>
                <a:gd name="connsiteX4" fmla="*/ 3144402 w 9688677"/>
                <a:gd name="connsiteY4" fmla="*/ 5869977 h 6065122"/>
                <a:gd name="connsiteX5" fmla="*/ 3146057 w 9688677"/>
                <a:gd name="connsiteY5" fmla="*/ 5842142 h 6065122"/>
                <a:gd name="connsiteX6" fmla="*/ 3217224 w 9688677"/>
                <a:gd name="connsiteY6" fmla="*/ 5952730 h 6065122"/>
                <a:gd name="connsiteX7" fmla="*/ 3197138 w 9688677"/>
                <a:gd name="connsiteY7" fmla="*/ 6036309 h 6065122"/>
                <a:gd name="connsiteX8" fmla="*/ 3140941 w 9688677"/>
                <a:gd name="connsiteY8" fmla="*/ 6065122 h 6065122"/>
                <a:gd name="connsiteX9" fmla="*/ 3088356 w 9688677"/>
                <a:gd name="connsiteY9" fmla="*/ 6037588 h 6065122"/>
                <a:gd name="connsiteX10" fmla="*/ 3069473 w 9688677"/>
                <a:gd name="connsiteY10" fmla="*/ 5957996 h 6065122"/>
                <a:gd name="connsiteX11" fmla="*/ 3089183 w 9688677"/>
                <a:gd name="connsiteY11" fmla="*/ 5871482 h 6065122"/>
                <a:gd name="connsiteX12" fmla="*/ 3146057 w 9688677"/>
                <a:gd name="connsiteY12" fmla="*/ 5842142 h 6065122"/>
                <a:gd name="connsiteX13" fmla="*/ 9245467 w 9688677"/>
                <a:gd name="connsiteY13" fmla="*/ 5532347 h 6065122"/>
                <a:gd name="connsiteX14" fmla="*/ 9206197 w 9688677"/>
                <a:gd name="connsiteY14" fmla="*/ 5618861 h 6065122"/>
                <a:gd name="connsiteX15" fmla="*/ 9244715 w 9688677"/>
                <a:gd name="connsiteY15" fmla="*/ 5699808 h 6065122"/>
                <a:gd name="connsiteX16" fmla="*/ 9282630 w 9688677"/>
                <a:gd name="connsiteY16" fmla="*/ 5617507 h 6065122"/>
                <a:gd name="connsiteX17" fmla="*/ 9245467 w 9688677"/>
                <a:gd name="connsiteY17" fmla="*/ 5532347 h 6065122"/>
                <a:gd name="connsiteX18" fmla="*/ 3144402 w 9688677"/>
                <a:gd name="connsiteY18" fmla="*/ 5532347 h 6065122"/>
                <a:gd name="connsiteX19" fmla="*/ 3105132 w 9688677"/>
                <a:gd name="connsiteY19" fmla="*/ 5618860 h 6065122"/>
                <a:gd name="connsiteX20" fmla="*/ 3143650 w 9688677"/>
                <a:gd name="connsiteY20" fmla="*/ 5699807 h 6065122"/>
                <a:gd name="connsiteX21" fmla="*/ 3181565 w 9688677"/>
                <a:gd name="connsiteY21" fmla="*/ 5617506 h 6065122"/>
                <a:gd name="connsiteX22" fmla="*/ 3144402 w 9688677"/>
                <a:gd name="connsiteY22" fmla="*/ 5532347 h 6065122"/>
                <a:gd name="connsiteX23" fmla="*/ 9247122 w 9688677"/>
                <a:gd name="connsiteY23" fmla="*/ 5504512 h 6065122"/>
                <a:gd name="connsiteX24" fmla="*/ 9318289 w 9688677"/>
                <a:gd name="connsiteY24" fmla="*/ 5615100 h 6065122"/>
                <a:gd name="connsiteX25" fmla="*/ 9298203 w 9688677"/>
                <a:gd name="connsiteY25" fmla="*/ 5698679 h 6065122"/>
                <a:gd name="connsiteX26" fmla="*/ 9242006 w 9688677"/>
                <a:gd name="connsiteY26" fmla="*/ 5727492 h 6065122"/>
                <a:gd name="connsiteX27" fmla="*/ 9189421 w 9688677"/>
                <a:gd name="connsiteY27" fmla="*/ 5699958 h 6065122"/>
                <a:gd name="connsiteX28" fmla="*/ 9170538 w 9688677"/>
                <a:gd name="connsiteY28" fmla="*/ 5620366 h 6065122"/>
                <a:gd name="connsiteX29" fmla="*/ 9190248 w 9688677"/>
                <a:gd name="connsiteY29" fmla="*/ 5533852 h 6065122"/>
                <a:gd name="connsiteX30" fmla="*/ 9247122 w 9688677"/>
                <a:gd name="connsiteY30" fmla="*/ 5504512 h 6065122"/>
                <a:gd name="connsiteX31" fmla="*/ 3146057 w 9688677"/>
                <a:gd name="connsiteY31" fmla="*/ 5504512 h 6065122"/>
                <a:gd name="connsiteX32" fmla="*/ 3217224 w 9688677"/>
                <a:gd name="connsiteY32" fmla="*/ 5615099 h 6065122"/>
                <a:gd name="connsiteX33" fmla="*/ 3197138 w 9688677"/>
                <a:gd name="connsiteY33" fmla="*/ 5698679 h 6065122"/>
                <a:gd name="connsiteX34" fmla="*/ 3140941 w 9688677"/>
                <a:gd name="connsiteY34" fmla="*/ 5727492 h 6065122"/>
                <a:gd name="connsiteX35" fmla="*/ 3088356 w 9688677"/>
                <a:gd name="connsiteY35" fmla="*/ 5699958 h 6065122"/>
                <a:gd name="connsiteX36" fmla="*/ 3069473 w 9688677"/>
                <a:gd name="connsiteY36" fmla="*/ 5620365 h 6065122"/>
                <a:gd name="connsiteX37" fmla="*/ 3089183 w 9688677"/>
                <a:gd name="connsiteY37" fmla="*/ 5533851 h 6065122"/>
                <a:gd name="connsiteX38" fmla="*/ 3146057 w 9688677"/>
                <a:gd name="connsiteY38" fmla="*/ 5504512 h 6065122"/>
                <a:gd name="connsiteX39" fmla="*/ 9245467 w 9688677"/>
                <a:gd name="connsiteY39" fmla="*/ 5184876 h 6065122"/>
                <a:gd name="connsiteX40" fmla="*/ 9206197 w 9688677"/>
                <a:gd name="connsiteY40" fmla="*/ 5271390 h 6065122"/>
                <a:gd name="connsiteX41" fmla="*/ 9244715 w 9688677"/>
                <a:gd name="connsiteY41" fmla="*/ 5352337 h 6065122"/>
                <a:gd name="connsiteX42" fmla="*/ 9282630 w 9688677"/>
                <a:gd name="connsiteY42" fmla="*/ 5270036 h 6065122"/>
                <a:gd name="connsiteX43" fmla="*/ 9245467 w 9688677"/>
                <a:gd name="connsiteY43" fmla="*/ 5184876 h 6065122"/>
                <a:gd name="connsiteX44" fmla="*/ 3144402 w 9688677"/>
                <a:gd name="connsiteY44" fmla="*/ 5184876 h 6065122"/>
                <a:gd name="connsiteX45" fmla="*/ 3105132 w 9688677"/>
                <a:gd name="connsiteY45" fmla="*/ 5271389 h 6065122"/>
                <a:gd name="connsiteX46" fmla="*/ 3143650 w 9688677"/>
                <a:gd name="connsiteY46" fmla="*/ 5352336 h 6065122"/>
                <a:gd name="connsiteX47" fmla="*/ 3181565 w 9688677"/>
                <a:gd name="connsiteY47" fmla="*/ 5270035 h 6065122"/>
                <a:gd name="connsiteX48" fmla="*/ 3144402 w 9688677"/>
                <a:gd name="connsiteY48" fmla="*/ 5184876 h 6065122"/>
                <a:gd name="connsiteX49" fmla="*/ 9247122 w 9688677"/>
                <a:gd name="connsiteY49" fmla="*/ 5157041 h 6065122"/>
                <a:gd name="connsiteX50" fmla="*/ 9318289 w 9688677"/>
                <a:gd name="connsiteY50" fmla="*/ 5267629 h 6065122"/>
                <a:gd name="connsiteX51" fmla="*/ 9298203 w 9688677"/>
                <a:gd name="connsiteY51" fmla="*/ 5351208 h 6065122"/>
                <a:gd name="connsiteX52" fmla="*/ 9242006 w 9688677"/>
                <a:gd name="connsiteY52" fmla="*/ 5380021 h 6065122"/>
                <a:gd name="connsiteX53" fmla="*/ 9189421 w 9688677"/>
                <a:gd name="connsiteY53" fmla="*/ 5352487 h 6065122"/>
                <a:gd name="connsiteX54" fmla="*/ 9170538 w 9688677"/>
                <a:gd name="connsiteY54" fmla="*/ 5272895 h 6065122"/>
                <a:gd name="connsiteX55" fmla="*/ 9190248 w 9688677"/>
                <a:gd name="connsiteY55" fmla="*/ 5186381 h 6065122"/>
                <a:gd name="connsiteX56" fmla="*/ 9247122 w 9688677"/>
                <a:gd name="connsiteY56" fmla="*/ 5157041 h 6065122"/>
                <a:gd name="connsiteX57" fmla="*/ 3146057 w 9688677"/>
                <a:gd name="connsiteY57" fmla="*/ 5157041 h 6065122"/>
                <a:gd name="connsiteX58" fmla="*/ 3217224 w 9688677"/>
                <a:gd name="connsiteY58" fmla="*/ 5267628 h 6065122"/>
                <a:gd name="connsiteX59" fmla="*/ 3197138 w 9688677"/>
                <a:gd name="connsiteY59" fmla="*/ 5351208 h 6065122"/>
                <a:gd name="connsiteX60" fmla="*/ 3140941 w 9688677"/>
                <a:gd name="connsiteY60" fmla="*/ 5380021 h 6065122"/>
                <a:gd name="connsiteX61" fmla="*/ 3088356 w 9688677"/>
                <a:gd name="connsiteY61" fmla="*/ 5352487 h 6065122"/>
                <a:gd name="connsiteX62" fmla="*/ 3069473 w 9688677"/>
                <a:gd name="connsiteY62" fmla="*/ 5272894 h 6065122"/>
                <a:gd name="connsiteX63" fmla="*/ 3089183 w 9688677"/>
                <a:gd name="connsiteY63" fmla="*/ 5186380 h 6065122"/>
                <a:gd name="connsiteX64" fmla="*/ 3146057 w 9688677"/>
                <a:gd name="connsiteY64" fmla="*/ 5157041 h 6065122"/>
                <a:gd name="connsiteX65" fmla="*/ 9245467 w 9688677"/>
                <a:gd name="connsiteY65" fmla="*/ 4871806 h 6065122"/>
                <a:gd name="connsiteX66" fmla="*/ 9206197 w 9688677"/>
                <a:gd name="connsiteY66" fmla="*/ 4958319 h 6065122"/>
                <a:gd name="connsiteX67" fmla="*/ 9244715 w 9688677"/>
                <a:gd name="connsiteY67" fmla="*/ 5039266 h 6065122"/>
                <a:gd name="connsiteX68" fmla="*/ 9282630 w 9688677"/>
                <a:gd name="connsiteY68" fmla="*/ 4956965 h 6065122"/>
                <a:gd name="connsiteX69" fmla="*/ 9245467 w 9688677"/>
                <a:gd name="connsiteY69" fmla="*/ 4871806 h 6065122"/>
                <a:gd name="connsiteX70" fmla="*/ 3144402 w 9688677"/>
                <a:gd name="connsiteY70" fmla="*/ 4871806 h 6065122"/>
                <a:gd name="connsiteX71" fmla="*/ 3105132 w 9688677"/>
                <a:gd name="connsiteY71" fmla="*/ 4958319 h 6065122"/>
                <a:gd name="connsiteX72" fmla="*/ 3143650 w 9688677"/>
                <a:gd name="connsiteY72" fmla="*/ 5039266 h 6065122"/>
                <a:gd name="connsiteX73" fmla="*/ 3181565 w 9688677"/>
                <a:gd name="connsiteY73" fmla="*/ 4956965 h 6065122"/>
                <a:gd name="connsiteX74" fmla="*/ 3144402 w 9688677"/>
                <a:gd name="connsiteY74" fmla="*/ 4871806 h 6065122"/>
                <a:gd name="connsiteX75" fmla="*/ 9247122 w 9688677"/>
                <a:gd name="connsiteY75" fmla="*/ 4843971 h 6065122"/>
                <a:gd name="connsiteX76" fmla="*/ 9318289 w 9688677"/>
                <a:gd name="connsiteY76" fmla="*/ 4954558 h 6065122"/>
                <a:gd name="connsiteX77" fmla="*/ 9298203 w 9688677"/>
                <a:gd name="connsiteY77" fmla="*/ 5038138 h 6065122"/>
                <a:gd name="connsiteX78" fmla="*/ 9242006 w 9688677"/>
                <a:gd name="connsiteY78" fmla="*/ 5066951 h 6065122"/>
                <a:gd name="connsiteX79" fmla="*/ 9189421 w 9688677"/>
                <a:gd name="connsiteY79" fmla="*/ 5039417 h 6065122"/>
                <a:gd name="connsiteX80" fmla="*/ 9170538 w 9688677"/>
                <a:gd name="connsiteY80" fmla="*/ 4959824 h 6065122"/>
                <a:gd name="connsiteX81" fmla="*/ 9190248 w 9688677"/>
                <a:gd name="connsiteY81" fmla="*/ 4873310 h 6065122"/>
                <a:gd name="connsiteX82" fmla="*/ 9247122 w 9688677"/>
                <a:gd name="connsiteY82" fmla="*/ 4843971 h 6065122"/>
                <a:gd name="connsiteX83" fmla="*/ 3146057 w 9688677"/>
                <a:gd name="connsiteY83" fmla="*/ 4843971 h 6065122"/>
                <a:gd name="connsiteX84" fmla="*/ 3217224 w 9688677"/>
                <a:gd name="connsiteY84" fmla="*/ 4954558 h 6065122"/>
                <a:gd name="connsiteX85" fmla="*/ 3197138 w 9688677"/>
                <a:gd name="connsiteY85" fmla="*/ 5038138 h 6065122"/>
                <a:gd name="connsiteX86" fmla="*/ 3140941 w 9688677"/>
                <a:gd name="connsiteY86" fmla="*/ 5066951 h 6065122"/>
                <a:gd name="connsiteX87" fmla="*/ 3088356 w 9688677"/>
                <a:gd name="connsiteY87" fmla="*/ 5039417 h 6065122"/>
                <a:gd name="connsiteX88" fmla="*/ 3069473 w 9688677"/>
                <a:gd name="connsiteY88" fmla="*/ 4959824 h 6065122"/>
                <a:gd name="connsiteX89" fmla="*/ 3089183 w 9688677"/>
                <a:gd name="connsiteY89" fmla="*/ 4873310 h 6065122"/>
                <a:gd name="connsiteX90" fmla="*/ 3146057 w 9688677"/>
                <a:gd name="connsiteY90" fmla="*/ 4843971 h 6065122"/>
                <a:gd name="connsiteX91" fmla="*/ 9598862 w 9688677"/>
                <a:gd name="connsiteY91" fmla="*/ 4534176 h 6065122"/>
                <a:gd name="connsiteX92" fmla="*/ 9559592 w 9688677"/>
                <a:gd name="connsiteY92" fmla="*/ 4620689 h 6065122"/>
                <a:gd name="connsiteX93" fmla="*/ 9598110 w 9688677"/>
                <a:gd name="connsiteY93" fmla="*/ 4701636 h 6065122"/>
                <a:gd name="connsiteX94" fmla="*/ 9636025 w 9688677"/>
                <a:gd name="connsiteY94" fmla="*/ 4619335 h 6065122"/>
                <a:gd name="connsiteX95" fmla="*/ 9598862 w 9688677"/>
                <a:gd name="connsiteY95" fmla="*/ 4534176 h 6065122"/>
                <a:gd name="connsiteX96" fmla="*/ 9245467 w 9688677"/>
                <a:gd name="connsiteY96" fmla="*/ 4534176 h 6065122"/>
                <a:gd name="connsiteX97" fmla="*/ 9206197 w 9688677"/>
                <a:gd name="connsiteY97" fmla="*/ 4620689 h 6065122"/>
                <a:gd name="connsiteX98" fmla="*/ 9244715 w 9688677"/>
                <a:gd name="connsiteY98" fmla="*/ 4701636 h 6065122"/>
                <a:gd name="connsiteX99" fmla="*/ 9282630 w 9688677"/>
                <a:gd name="connsiteY99" fmla="*/ 4619335 h 6065122"/>
                <a:gd name="connsiteX100" fmla="*/ 9245467 w 9688677"/>
                <a:gd name="connsiteY100" fmla="*/ 4534176 h 6065122"/>
                <a:gd name="connsiteX101" fmla="*/ 3501344 w 9688677"/>
                <a:gd name="connsiteY101" fmla="*/ 4534176 h 6065122"/>
                <a:gd name="connsiteX102" fmla="*/ 3462074 w 9688677"/>
                <a:gd name="connsiteY102" fmla="*/ 4620689 h 6065122"/>
                <a:gd name="connsiteX103" fmla="*/ 3500592 w 9688677"/>
                <a:gd name="connsiteY103" fmla="*/ 4701636 h 6065122"/>
                <a:gd name="connsiteX104" fmla="*/ 3538507 w 9688677"/>
                <a:gd name="connsiteY104" fmla="*/ 4619335 h 6065122"/>
                <a:gd name="connsiteX105" fmla="*/ 3501344 w 9688677"/>
                <a:gd name="connsiteY105" fmla="*/ 4534176 h 6065122"/>
                <a:gd name="connsiteX106" fmla="*/ 3144402 w 9688677"/>
                <a:gd name="connsiteY106" fmla="*/ 4534176 h 6065122"/>
                <a:gd name="connsiteX107" fmla="*/ 3105132 w 9688677"/>
                <a:gd name="connsiteY107" fmla="*/ 4620689 h 6065122"/>
                <a:gd name="connsiteX108" fmla="*/ 3143650 w 9688677"/>
                <a:gd name="connsiteY108" fmla="*/ 4701636 h 6065122"/>
                <a:gd name="connsiteX109" fmla="*/ 3181565 w 9688677"/>
                <a:gd name="connsiteY109" fmla="*/ 4619335 h 6065122"/>
                <a:gd name="connsiteX110" fmla="*/ 3144402 w 9688677"/>
                <a:gd name="connsiteY110" fmla="*/ 4534176 h 6065122"/>
                <a:gd name="connsiteX111" fmla="*/ 9600517 w 9688677"/>
                <a:gd name="connsiteY111" fmla="*/ 4506341 h 6065122"/>
                <a:gd name="connsiteX112" fmla="*/ 9671684 w 9688677"/>
                <a:gd name="connsiteY112" fmla="*/ 4616928 h 6065122"/>
                <a:gd name="connsiteX113" fmla="*/ 9651598 w 9688677"/>
                <a:gd name="connsiteY113" fmla="*/ 4700508 h 6065122"/>
                <a:gd name="connsiteX114" fmla="*/ 9595401 w 9688677"/>
                <a:gd name="connsiteY114" fmla="*/ 4729321 h 6065122"/>
                <a:gd name="connsiteX115" fmla="*/ 9542816 w 9688677"/>
                <a:gd name="connsiteY115" fmla="*/ 4701787 h 6065122"/>
                <a:gd name="connsiteX116" fmla="*/ 9523933 w 9688677"/>
                <a:gd name="connsiteY116" fmla="*/ 4622194 h 6065122"/>
                <a:gd name="connsiteX117" fmla="*/ 9543643 w 9688677"/>
                <a:gd name="connsiteY117" fmla="*/ 4535680 h 6065122"/>
                <a:gd name="connsiteX118" fmla="*/ 9600517 w 9688677"/>
                <a:gd name="connsiteY118" fmla="*/ 4506341 h 6065122"/>
                <a:gd name="connsiteX119" fmla="*/ 9247122 w 9688677"/>
                <a:gd name="connsiteY119" fmla="*/ 4506341 h 6065122"/>
                <a:gd name="connsiteX120" fmla="*/ 9318289 w 9688677"/>
                <a:gd name="connsiteY120" fmla="*/ 4616928 h 6065122"/>
                <a:gd name="connsiteX121" fmla="*/ 9298203 w 9688677"/>
                <a:gd name="connsiteY121" fmla="*/ 4700508 h 6065122"/>
                <a:gd name="connsiteX122" fmla="*/ 9242006 w 9688677"/>
                <a:gd name="connsiteY122" fmla="*/ 4729321 h 6065122"/>
                <a:gd name="connsiteX123" fmla="*/ 9189421 w 9688677"/>
                <a:gd name="connsiteY123" fmla="*/ 4701787 h 6065122"/>
                <a:gd name="connsiteX124" fmla="*/ 9170538 w 9688677"/>
                <a:gd name="connsiteY124" fmla="*/ 4622194 h 6065122"/>
                <a:gd name="connsiteX125" fmla="*/ 9190248 w 9688677"/>
                <a:gd name="connsiteY125" fmla="*/ 4535680 h 6065122"/>
                <a:gd name="connsiteX126" fmla="*/ 9247122 w 9688677"/>
                <a:gd name="connsiteY126" fmla="*/ 4506341 h 6065122"/>
                <a:gd name="connsiteX127" fmla="*/ 3502999 w 9688677"/>
                <a:gd name="connsiteY127" fmla="*/ 4506341 h 6065122"/>
                <a:gd name="connsiteX128" fmla="*/ 3574166 w 9688677"/>
                <a:gd name="connsiteY128" fmla="*/ 4616928 h 6065122"/>
                <a:gd name="connsiteX129" fmla="*/ 3554080 w 9688677"/>
                <a:gd name="connsiteY129" fmla="*/ 4700508 h 6065122"/>
                <a:gd name="connsiteX130" fmla="*/ 3497883 w 9688677"/>
                <a:gd name="connsiteY130" fmla="*/ 4729321 h 6065122"/>
                <a:gd name="connsiteX131" fmla="*/ 3445298 w 9688677"/>
                <a:gd name="connsiteY131" fmla="*/ 4701787 h 6065122"/>
                <a:gd name="connsiteX132" fmla="*/ 3426415 w 9688677"/>
                <a:gd name="connsiteY132" fmla="*/ 4622194 h 6065122"/>
                <a:gd name="connsiteX133" fmla="*/ 3446125 w 9688677"/>
                <a:gd name="connsiteY133" fmla="*/ 4535680 h 6065122"/>
                <a:gd name="connsiteX134" fmla="*/ 3502999 w 9688677"/>
                <a:gd name="connsiteY134" fmla="*/ 4506341 h 6065122"/>
                <a:gd name="connsiteX135" fmla="*/ 3146057 w 9688677"/>
                <a:gd name="connsiteY135" fmla="*/ 4506341 h 6065122"/>
                <a:gd name="connsiteX136" fmla="*/ 3217224 w 9688677"/>
                <a:gd name="connsiteY136" fmla="*/ 4616928 h 6065122"/>
                <a:gd name="connsiteX137" fmla="*/ 3197138 w 9688677"/>
                <a:gd name="connsiteY137" fmla="*/ 4700508 h 6065122"/>
                <a:gd name="connsiteX138" fmla="*/ 3140941 w 9688677"/>
                <a:gd name="connsiteY138" fmla="*/ 4729321 h 6065122"/>
                <a:gd name="connsiteX139" fmla="*/ 3088356 w 9688677"/>
                <a:gd name="connsiteY139" fmla="*/ 4701787 h 6065122"/>
                <a:gd name="connsiteX140" fmla="*/ 3069473 w 9688677"/>
                <a:gd name="connsiteY140" fmla="*/ 4622194 h 6065122"/>
                <a:gd name="connsiteX141" fmla="*/ 3089183 w 9688677"/>
                <a:gd name="connsiteY141" fmla="*/ 4535680 h 6065122"/>
                <a:gd name="connsiteX142" fmla="*/ 3146057 w 9688677"/>
                <a:gd name="connsiteY142" fmla="*/ 4506341 h 6065122"/>
                <a:gd name="connsiteX143" fmla="*/ 9598862 w 9688677"/>
                <a:gd name="connsiteY143" fmla="*/ 4186705 h 6065122"/>
                <a:gd name="connsiteX144" fmla="*/ 9559592 w 9688677"/>
                <a:gd name="connsiteY144" fmla="*/ 4273218 h 6065122"/>
                <a:gd name="connsiteX145" fmla="*/ 9598110 w 9688677"/>
                <a:gd name="connsiteY145" fmla="*/ 4354165 h 6065122"/>
                <a:gd name="connsiteX146" fmla="*/ 9636025 w 9688677"/>
                <a:gd name="connsiteY146" fmla="*/ 4271864 h 6065122"/>
                <a:gd name="connsiteX147" fmla="*/ 9598862 w 9688677"/>
                <a:gd name="connsiteY147" fmla="*/ 4186705 h 6065122"/>
                <a:gd name="connsiteX148" fmla="*/ 9245467 w 9688677"/>
                <a:gd name="connsiteY148" fmla="*/ 4186705 h 6065122"/>
                <a:gd name="connsiteX149" fmla="*/ 9206197 w 9688677"/>
                <a:gd name="connsiteY149" fmla="*/ 4273218 h 6065122"/>
                <a:gd name="connsiteX150" fmla="*/ 9244715 w 9688677"/>
                <a:gd name="connsiteY150" fmla="*/ 4354165 h 6065122"/>
                <a:gd name="connsiteX151" fmla="*/ 9282630 w 9688677"/>
                <a:gd name="connsiteY151" fmla="*/ 4271864 h 6065122"/>
                <a:gd name="connsiteX152" fmla="*/ 9245467 w 9688677"/>
                <a:gd name="connsiteY152" fmla="*/ 4186705 h 6065122"/>
                <a:gd name="connsiteX153" fmla="*/ 3501344 w 9688677"/>
                <a:gd name="connsiteY153" fmla="*/ 4186705 h 6065122"/>
                <a:gd name="connsiteX154" fmla="*/ 3462074 w 9688677"/>
                <a:gd name="connsiteY154" fmla="*/ 4273218 h 6065122"/>
                <a:gd name="connsiteX155" fmla="*/ 3500592 w 9688677"/>
                <a:gd name="connsiteY155" fmla="*/ 4354165 h 6065122"/>
                <a:gd name="connsiteX156" fmla="*/ 3538507 w 9688677"/>
                <a:gd name="connsiteY156" fmla="*/ 4271864 h 6065122"/>
                <a:gd name="connsiteX157" fmla="*/ 3501344 w 9688677"/>
                <a:gd name="connsiteY157" fmla="*/ 4186705 h 6065122"/>
                <a:gd name="connsiteX158" fmla="*/ 3144402 w 9688677"/>
                <a:gd name="connsiteY158" fmla="*/ 4186705 h 6065122"/>
                <a:gd name="connsiteX159" fmla="*/ 3105132 w 9688677"/>
                <a:gd name="connsiteY159" fmla="*/ 4273218 h 6065122"/>
                <a:gd name="connsiteX160" fmla="*/ 3143650 w 9688677"/>
                <a:gd name="connsiteY160" fmla="*/ 4354165 h 6065122"/>
                <a:gd name="connsiteX161" fmla="*/ 3181565 w 9688677"/>
                <a:gd name="connsiteY161" fmla="*/ 4271864 h 6065122"/>
                <a:gd name="connsiteX162" fmla="*/ 3144402 w 9688677"/>
                <a:gd name="connsiteY162" fmla="*/ 4186705 h 6065122"/>
                <a:gd name="connsiteX163" fmla="*/ 9600517 w 9688677"/>
                <a:gd name="connsiteY163" fmla="*/ 4158870 h 6065122"/>
                <a:gd name="connsiteX164" fmla="*/ 9671684 w 9688677"/>
                <a:gd name="connsiteY164" fmla="*/ 4269457 h 6065122"/>
                <a:gd name="connsiteX165" fmla="*/ 9651598 w 9688677"/>
                <a:gd name="connsiteY165" fmla="*/ 4353037 h 6065122"/>
                <a:gd name="connsiteX166" fmla="*/ 9595401 w 9688677"/>
                <a:gd name="connsiteY166" fmla="*/ 4381850 h 6065122"/>
                <a:gd name="connsiteX167" fmla="*/ 9542816 w 9688677"/>
                <a:gd name="connsiteY167" fmla="*/ 4354316 h 6065122"/>
                <a:gd name="connsiteX168" fmla="*/ 9523933 w 9688677"/>
                <a:gd name="connsiteY168" fmla="*/ 4274723 h 6065122"/>
                <a:gd name="connsiteX169" fmla="*/ 9543643 w 9688677"/>
                <a:gd name="connsiteY169" fmla="*/ 4188209 h 6065122"/>
                <a:gd name="connsiteX170" fmla="*/ 9600517 w 9688677"/>
                <a:gd name="connsiteY170" fmla="*/ 4158870 h 6065122"/>
                <a:gd name="connsiteX171" fmla="*/ 9247122 w 9688677"/>
                <a:gd name="connsiteY171" fmla="*/ 4158870 h 6065122"/>
                <a:gd name="connsiteX172" fmla="*/ 9318289 w 9688677"/>
                <a:gd name="connsiteY172" fmla="*/ 4269457 h 6065122"/>
                <a:gd name="connsiteX173" fmla="*/ 9298203 w 9688677"/>
                <a:gd name="connsiteY173" fmla="*/ 4353037 h 6065122"/>
                <a:gd name="connsiteX174" fmla="*/ 9242006 w 9688677"/>
                <a:gd name="connsiteY174" fmla="*/ 4381850 h 6065122"/>
                <a:gd name="connsiteX175" fmla="*/ 9189421 w 9688677"/>
                <a:gd name="connsiteY175" fmla="*/ 4354316 h 6065122"/>
                <a:gd name="connsiteX176" fmla="*/ 9170538 w 9688677"/>
                <a:gd name="connsiteY176" fmla="*/ 4274723 h 6065122"/>
                <a:gd name="connsiteX177" fmla="*/ 9190248 w 9688677"/>
                <a:gd name="connsiteY177" fmla="*/ 4188209 h 6065122"/>
                <a:gd name="connsiteX178" fmla="*/ 9247122 w 9688677"/>
                <a:gd name="connsiteY178" fmla="*/ 4158870 h 6065122"/>
                <a:gd name="connsiteX179" fmla="*/ 3502999 w 9688677"/>
                <a:gd name="connsiteY179" fmla="*/ 4158870 h 6065122"/>
                <a:gd name="connsiteX180" fmla="*/ 3574166 w 9688677"/>
                <a:gd name="connsiteY180" fmla="*/ 4269457 h 6065122"/>
                <a:gd name="connsiteX181" fmla="*/ 3554080 w 9688677"/>
                <a:gd name="connsiteY181" fmla="*/ 4353037 h 6065122"/>
                <a:gd name="connsiteX182" fmla="*/ 3497883 w 9688677"/>
                <a:gd name="connsiteY182" fmla="*/ 4381850 h 6065122"/>
                <a:gd name="connsiteX183" fmla="*/ 3445298 w 9688677"/>
                <a:gd name="connsiteY183" fmla="*/ 4354316 h 6065122"/>
                <a:gd name="connsiteX184" fmla="*/ 3426415 w 9688677"/>
                <a:gd name="connsiteY184" fmla="*/ 4274723 h 6065122"/>
                <a:gd name="connsiteX185" fmla="*/ 3446125 w 9688677"/>
                <a:gd name="connsiteY185" fmla="*/ 4188209 h 6065122"/>
                <a:gd name="connsiteX186" fmla="*/ 3502999 w 9688677"/>
                <a:gd name="connsiteY186" fmla="*/ 4158870 h 6065122"/>
                <a:gd name="connsiteX187" fmla="*/ 3146057 w 9688677"/>
                <a:gd name="connsiteY187" fmla="*/ 4158870 h 6065122"/>
                <a:gd name="connsiteX188" fmla="*/ 3217224 w 9688677"/>
                <a:gd name="connsiteY188" fmla="*/ 4269457 h 6065122"/>
                <a:gd name="connsiteX189" fmla="*/ 3197138 w 9688677"/>
                <a:gd name="connsiteY189" fmla="*/ 4353037 h 6065122"/>
                <a:gd name="connsiteX190" fmla="*/ 3140941 w 9688677"/>
                <a:gd name="connsiteY190" fmla="*/ 4381850 h 6065122"/>
                <a:gd name="connsiteX191" fmla="*/ 3088356 w 9688677"/>
                <a:gd name="connsiteY191" fmla="*/ 4354316 h 6065122"/>
                <a:gd name="connsiteX192" fmla="*/ 3069473 w 9688677"/>
                <a:gd name="connsiteY192" fmla="*/ 4274723 h 6065122"/>
                <a:gd name="connsiteX193" fmla="*/ 3089183 w 9688677"/>
                <a:gd name="connsiteY193" fmla="*/ 4188209 h 6065122"/>
                <a:gd name="connsiteX194" fmla="*/ 3146057 w 9688677"/>
                <a:gd name="connsiteY194" fmla="*/ 4158870 h 6065122"/>
                <a:gd name="connsiteX195" fmla="*/ 9598862 w 9688677"/>
                <a:gd name="connsiteY195" fmla="*/ 3839234 h 6065122"/>
                <a:gd name="connsiteX196" fmla="*/ 9559592 w 9688677"/>
                <a:gd name="connsiteY196" fmla="*/ 3925748 h 6065122"/>
                <a:gd name="connsiteX197" fmla="*/ 9598110 w 9688677"/>
                <a:gd name="connsiteY197" fmla="*/ 4006694 h 6065122"/>
                <a:gd name="connsiteX198" fmla="*/ 9636025 w 9688677"/>
                <a:gd name="connsiteY198" fmla="*/ 3924393 h 6065122"/>
                <a:gd name="connsiteX199" fmla="*/ 9598862 w 9688677"/>
                <a:gd name="connsiteY199" fmla="*/ 3839234 h 6065122"/>
                <a:gd name="connsiteX200" fmla="*/ 9245467 w 9688677"/>
                <a:gd name="connsiteY200" fmla="*/ 3839234 h 6065122"/>
                <a:gd name="connsiteX201" fmla="*/ 9206197 w 9688677"/>
                <a:gd name="connsiteY201" fmla="*/ 3925748 h 6065122"/>
                <a:gd name="connsiteX202" fmla="*/ 9244715 w 9688677"/>
                <a:gd name="connsiteY202" fmla="*/ 4006694 h 6065122"/>
                <a:gd name="connsiteX203" fmla="*/ 9282630 w 9688677"/>
                <a:gd name="connsiteY203" fmla="*/ 3924393 h 6065122"/>
                <a:gd name="connsiteX204" fmla="*/ 9245467 w 9688677"/>
                <a:gd name="connsiteY204" fmla="*/ 3839234 h 6065122"/>
                <a:gd name="connsiteX205" fmla="*/ 3501344 w 9688677"/>
                <a:gd name="connsiteY205" fmla="*/ 3839234 h 6065122"/>
                <a:gd name="connsiteX206" fmla="*/ 3462074 w 9688677"/>
                <a:gd name="connsiteY206" fmla="*/ 3925748 h 6065122"/>
                <a:gd name="connsiteX207" fmla="*/ 3500592 w 9688677"/>
                <a:gd name="connsiteY207" fmla="*/ 4006694 h 6065122"/>
                <a:gd name="connsiteX208" fmla="*/ 3538507 w 9688677"/>
                <a:gd name="connsiteY208" fmla="*/ 3924393 h 6065122"/>
                <a:gd name="connsiteX209" fmla="*/ 3501344 w 9688677"/>
                <a:gd name="connsiteY209" fmla="*/ 3839234 h 6065122"/>
                <a:gd name="connsiteX210" fmla="*/ 3144402 w 9688677"/>
                <a:gd name="connsiteY210" fmla="*/ 3839234 h 6065122"/>
                <a:gd name="connsiteX211" fmla="*/ 3105132 w 9688677"/>
                <a:gd name="connsiteY211" fmla="*/ 3925748 h 6065122"/>
                <a:gd name="connsiteX212" fmla="*/ 3143650 w 9688677"/>
                <a:gd name="connsiteY212" fmla="*/ 4006694 h 6065122"/>
                <a:gd name="connsiteX213" fmla="*/ 3181565 w 9688677"/>
                <a:gd name="connsiteY213" fmla="*/ 3924393 h 6065122"/>
                <a:gd name="connsiteX214" fmla="*/ 3144402 w 9688677"/>
                <a:gd name="connsiteY214" fmla="*/ 3839234 h 6065122"/>
                <a:gd name="connsiteX215" fmla="*/ 9600517 w 9688677"/>
                <a:gd name="connsiteY215" fmla="*/ 3811399 h 6065122"/>
                <a:gd name="connsiteX216" fmla="*/ 9671684 w 9688677"/>
                <a:gd name="connsiteY216" fmla="*/ 3921986 h 6065122"/>
                <a:gd name="connsiteX217" fmla="*/ 9651598 w 9688677"/>
                <a:gd name="connsiteY217" fmla="*/ 4005566 h 6065122"/>
                <a:gd name="connsiteX218" fmla="*/ 9595401 w 9688677"/>
                <a:gd name="connsiteY218" fmla="*/ 4034379 h 6065122"/>
                <a:gd name="connsiteX219" fmla="*/ 9542816 w 9688677"/>
                <a:gd name="connsiteY219" fmla="*/ 4006845 h 6065122"/>
                <a:gd name="connsiteX220" fmla="*/ 9523933 w 9688677"/>
                <a:gd name="connsiteY220" fmla="*/ 3927252 h 6065122"/>
                <a:gd name="connsiteX221" fmla="*/ 9543643 w 9688677"/>
                <a:gd name="connsiteY221" fmla="*/ 3840738 h 6065122"/>
                <a:gd name="connsiteX222" fmla="*/ 9600517 w 9688677"/>
                <a:gd name="connsiteY222" fmla="*/ 3811399 h 6065122"/>
                <a:gd name="connsiteX223" fmla="*/ 9247122 w 9688677"/>
                <a:gd name="connsiteY223" fmla="*/ 3811399 h 6065122"/>
                <a:gd name="connsiteX224" fmla="*/ 9318289 w 9688677"/>
                <a:gd name="connsiteY224" fmla="*/ 3921986 h 6065122"/>
                <a:gd name="connsiteX225" fmla="*/ 9298203 w 9688677"/>
                <a:gd name="connsiteY225" fmla="*/ 4005566 h 6065122"/>
                <a:gd name="connsiteX226" fmla="*/ 9242006 w 9688677"/>
                <a:gd name="connsiteY226" fmla="*/ 4034379 h 6065122"/>
                <a:gd name="connsiteX227" fmla="*/ 9189421 w 9688677"/>
                <a:gd name="connsiteY227" fmla="*/ 4006845 h 6065122"/>
                <a:gd name="connsiteX228" fmla="*/ 9170538 w 9688677"/>
                <a:gd name="connsiteY228" fmla="*/ 3927252 h 6065122"/>
                <a:gd name="connsiteX229" fmla="*/ 9190248 w 9688677"/>
                <a:gd name="connsiteY229" fmla="*/ 3840738 h 6065122"/>
                <a:gd name="connsiteX230" fmla="*/ 9247122 w 9688677"/>
                <a:gd name="connsiteY230" fmla="*/ 3811399 h 6065122"/>
                <a:gd name="connsiteX231" fmla="*/ 3502999 w 9688677"/>
                <a:gd name="connsiteY231" fmla="*/ 3811399 h 6065122"/>
                <a:gd name="connsiteX232" fmla="*/ 3574166 w 9688677"/>
                <a:gd name="connsiteY232" fmla="*/ 3921986 h 6065122"/>
                <a:gd name="connsiteX233" fmla="*/ 3554080 w 9688677"/>
                <a:gd name="connsiteY233" fmla="*/ 4005566 h 6065122"/>
                <a:gd name="connsiteX234" fmla="*/ 3497883 w 9688677"/>
                <a:gd name="connsiteY234" fmla="*/ 4034379 h 6065122"/>
                <a:gd name="connsiteX235" fmla="*/ 3445298 w 9688677"/>
                <a:gd name="connsiteY235" fmla="*/ 4006845 h 6065122"/>
                <a:gd name="connsiteX236" fmla="*/ 3426415 w 9688677"/>
                <a:gd name="connsiteY236" fmla="*/ 3927252 h 6065122"/>
                <a:gd name="connsiteX237" fmla="*/ 3446125 w 9688677"/>
                <a:gd name="connsiteY237" fmla="*/ 3840738 h 6065122"/>
                <a:gd name="connsiteX238" fmla="*/ 3502999 w 9688677"/>
                <a:gd name="connsiteY238" fmla="*/ 3811399 h 6065122"/>
                <a:gd name="connsiteX239" fmla="*/ 3146057 w 9688677"/>
                <a:gd name="connsiteY239" fmla="*/ 3811399 h 6065122"/>
                <a:gd name="connsiteX240" fmla="*/ 3217224 w 9688677"/>
                <a:gd name="connsiteY240" fmla="*/ 3921986 h 6065122"/>
                <a:gd name="connsiteX241" fmla="*/ 3197138 w 9688677"/>
                <a:gd name="connsiteY241" fmla="*/ 4005566 h 6065122"/>
                <a:gd name="connsiteX242" fmla="*/ 3140941 w 9688677"/>
                <a:gd name="connsiteY242" fmla="*/ 4034379 h 6065122"/>
                <a:gd name="connsiteX243" fmla="*/ 3088356 w 9688677"/>
                <a:gd name="connsiteY243" fmla="*/ 4006845 h 6065122"/>
                <a:gd name="connsiteX244" fmla="*/ 3069473 w 9688677"/>
                <a:gd name="connsiteY244" fmla="*/ 3927252 h 6065122"/>
                <a:gd name="connsiteX245" fmla="*/ 3089183 w 9688677"/>
                <a:gd name="connsiteY245" fmla="*/ 3840738 h 6065122"/>
                <a:gd name="connsiteX246" fmla="*/ 3146057 w 9688677"/>
                <a:gd name="connsiteY246" fmla="*/ 3811399 h 6065122"/>
                <a:gd name="connsiteX247" fmla="*/ 9598862 w 9688677"/>
                <a:gd name="connsiteY247" fmla="*/ 3510987 h 6065122"/>
                <a:gd name="connsiteX248" fmla="*/ 9559592 w 9688677"/>
                <a:gd name="connsiteY248" fmla="*/ 3597501 h 6065122"/>
                <a:gd name="connsiteX249" fmla="*/ 9598110 w 9688677"/>
                <a:gd name="connsiteY249" fmla="*/ 3678447 h 6065122"/>
                <a:gd name="connsiteX250" fmla="*/ 9636025 w 9688677"/>
                <a:gd name="connsiteY250" fmla="*/ 3596146 h 6065122"/>
                <a:gd name="connsiteX251" fmla="*/ 9598862 w 9688677"/>
                <a:gd name="connsiteY251" fmla="*/ 3510987 h 6065122"/>
                <a:gd name="connsiteX252" fmla="*/ 9245467 w 9688677"/>
                <a:gd name="connsiteY252" fmla="*/ 3510987 h 6065122"/>
                <a:gd name="connsiteX253" fmla="*/ 9206197 w 9688677"/>
                <a:gd name="connsiteY253" fmla="*/ 3597501 h 6065122"/>
                <a:gd name="connsiteX254" fmla="*/ 9244715 w 9688677"/>
                <a:gd name="connsiteY254" fmla="*/ 3678447 h 6065122"/>
                <a:gd name="connsiteX255" fmla="*/ 9282630 w 9688677"/>
                <a:gd name="connsiteY255" fmla="*/ 3596146 h 6065122"/>
                <a:gd name="connsiteX256" fmla="*/ 9245467 w 9688677"/>
                <a:gd name="connsiteY256" fmla="*/ 3510987 h 6065122"/>
                <a:gd name="connsiteX257" fmla="*/ 3501344 w 9688677"/>
                <a:gd name="connsiteY257" fmla="*/ 3510987 h 6065122"/>
                <a:gd name="connsiteX258" fmla="*/ 3462074 w 9688677"/>
                <a:gd name="connsiteY258" fmla="*/ 3597501 h 6065122"/>
                <a:gd name="connsiteX259" fmla="*/ 3500592 w 9688677"/>
                <a:gd name="connsiteY259" fmla="*/ 3678447 h 6065122"/>
                <a:gd name="connsiteX260" fmla="*/ 3538507 w 9688677"/>
                <a:gd name="connsiteY260" fmla="*/ 3596146 h 6065122"/>
                <a:gd name="connsiteX261" fmla="*/ 3501344 w 9688677"/>
                <a:gd name="connsiteY261" fmla="*/ 3510987 h 6065122"/>
                <a:gd name="connsiteX262" fmla="*/ 3144402 w 9688677"/>
                <a:gd name="connsiteY262" fmla="*/ 3510987 h 6065122"/>
                <a:gd name="connsiteX263" fmla="*/ 3105132 w 9688677"/>
                <a:gd name="connsiteY263" fmla="*/ 3597501 h 6065122"/>
                <a:gd name="connsiteX264" fmla="*/ 3143650 w 9688677"/>
                <a:gd name="connsiteY264" fmla="*/ 3678447 h 6065122"/>
                <a:gd name="connsiteX265" fmla="*/ 3181565 w 9688677"/>
                <a:gd name="connsiteY265" fmla="*/ 3596146 h 6065122"/>
                <a:gd name="connsiteX266" fmla="*/ 3144402 w 9688677"/>
                <a:gd name="connsiteY266" fmla="*/ 3510987 h 6065122"/>
                <a:gd name="connsiteX267" fmla="*/ 9600517 w 9688677"/>
                <a:gd name="connsiteY267" fmla="*/ 3483152 h 6065122"/>
                <a:gd name="connsiteX268" fmla="*/ 9671684 w 9688677"/>
                <a:gd name="connsiteY268" fmla="*/ 3593739 h 6065122"/>
                <a:gd name="connsiteX269" fmla="*/ 9651598 w 9688677"/>
                <a:gd name="connsiteY269" fmla="*/ 3677319 h 6065122"/>
                <a:gd name="connsiteX270" fmla="*/ 9595401 w 9688677"/>
                <a:gd name="connsiteY270" fmla="*/ 3706132 h 6065122"/>
                <a:gd name="connsiteX271" fmla="*/ 9542816 w 9688677"/>
                <a:gd name="connsiteY271" fmla="*/ 3678598 h 6065122"/>
                <a:gd name="connsiteX272" fmla="*/ 9523933 w 9688677"/>
                <a:gd name="connsiteY272" fmla="*/ 3599005 h 6065122"/>
                <a:gd name="connsiteX273" fmla="*/ 9543643 w 9688677"/>
                <a:gd name="connsiteY273" fmla="*/ 3512491 h 6065122"/>
                <a:gd name="connsiteX274" fmla="*/ 9600517 w 9688677"/>
                <a:gd name="connsiteY274" fmla="*/ 3483152 h 6065122"/>
                <a:gd name="connsiteX275" fmla="*/ 9247122 w 9688677"/>
                <a:gd name="connsiteY275" fmla="*/ 3483152 h 6065122"/>
                <a:gd name="connsiteX276" fmla="*/ 9318289 w 9688677"/>
                <a:gd name="connsiteY276" fmla="*/ 3593739 h 6065122"/>
                <a:gd name="connsiteX277" fmla="*/ 9298203 w 9688677"/>
                <a:gd name="connsiteY277" fmla="*/ 3677319 h 6065122"/>
                <a:gd name="connsiteX278" fmla="*/ 9242006 w 9688677"/>
                <a:gd name="connsiteY278" fmla="*/ 3706132 h 6065122"/>
                <a:gd name="connsiteX279" fmla="*/ 9189421 w 9688677"/>
                <a:gd name="connsiteY279" fmla="*/ 3678598 h 6065122"/>
                <a:gd name="connsiteX280" fmla="*/ 9170538 w 9688677"/>
                <a:gd name="connsiteY280" fmla="*/ 3599005 h 6065122"/>
                <a:gd name="connsiteX281" fmla="*/ 9190248 w 9688677"/>
                <a:gd name="connsiteY281" fmla="*/ 3512491 h 6065122"/>
                <a:gd name="connsiteX282" fmla="*/ 9247122 w 9688677"/>
                <a:gd name="connsiteY282" fmla="*/ 3483152 h 6065122"/>
                <a:gd name="connsiteX283" fmla="*/ 3502999 w 9688677"/>
                <a:gd name="connsiteY283" fmla="*/ 3483152 h 6065122"/>
                <a:gd name="connsiteX284" fmla="*/ 3574166 w 9688677"/>
                <a:gd name="connsiteY284" fmla="*/ 3593739 h 6065122"/>
                <a:gd name="connsiteX285" fmla="*/ 3554080 w 9688677"/>
                <a:gd name="connsiteY285" fmla="*/ 3677319 h 6065122"/>
                <a:gd name="connsiteX286" fmla="*/ 3497883 w 9688677"/>
                <a:gd name="connsiteY286" fmla="*/ 3706132 h 6065122"/>
                <a:gd name="connsiteX287" fmla="*/ 3445298 w 9688677"/>
                <a:gd name="connsiteY287" fmla="*/ 3678598 h 6065122"/>
                <a:gd name="connsiteX288" fmla="*/ 3426415 w 9688677"/>
                <a:gd name="connsiteY288" fmla="*/ 3599005 h 6065122"/>
                <a:gd name="connsiteX289" fmla="*/ 3446125 w 9688677"/>
                <a:gd name="connsiteY289" fmla="*/ 3512491 h 6065122"/>
                <a:gd name="connsiteX290" fmla="*/ 3502999 w 9688677"/>
                <a:gd name="connsiteY290" fmla="*/ 3483152 h 6065122"/>
                <a:gd name="connsiteX291" fmla="*/ 3146057 w 9688677"/>
                <a:gd name="connsiteY291" fmla="*/ 3483152 h 6065122"/>
                <a:gd name="connsiteX292" fmla="*/ 3217224 w 9688677"/>
                <a:gd name="connsiteY292" fmla="*/ 3593739 h 6065122"/>
                <a:gd name="connsiteX293" fmla="*/ 3197138 w 9688677"/>
                <a:gd name="connsiteY293" fmla="*/ 3677319 h 6065122"/>
                <a:gd name="connsiteX294" fmla="*/ 3140941 w 9688677"/>
                <a:gd name="connsiteY294" fmla="*/ 3706132 h 6065122"/>
                <a:gd name="connsiteX295" fmla="*/ 3088356 w 9688677"/>
                <a:gd name="connsiteY295" fmla="*/ 3678598 h 6065122"/>
                <a:gd name="connsiteX296" fmla="*/ 3069473 w 9688677"/>
                <a:gd name="connsiteY296" fmla="*/ 3599005 h 6065122"/>
                <a:gd name="connsiteX297" fmla="*/ 3089183 w 9688677"/>
                <a:gd name="connsiteY297" fmla="*/ 3512491 h 6065122"/>
                <a:gd name="connsiteX298" fmla="*/ 3146057 w 9688677"/>
                <a:gd name="connsiteY298" fmla="*/ 3483152 h 6065122"/>
                <a:gd name="connsiteX299" fmla="*/ 9596984 w 9688677"/>
                <a:gd name="connsiteY299" fmla="*/ 3137996 h 6065122"/>
                <a:gd name="connsiteX300" fmla="*/ 9557714 w 9688677"/>
                <a:gd name="connsiteY300" fmla="*/ 3224510 h 6065122"/>
                <a:gd name="connsiteX301" fmla="*/ 9596232 w 9688677"/>
                <a:gd name="connsiteY301" fmla="*/ 3305457 h 6065122"/>
                <a:gd name="connsiteX302" fmla="*/ 9634147 w 9688677"/>
                <a:gd name="connsiteY302" fmla="*/ 3223156 h 6065122"/>
                <a:gd name="connsiteX303" fmla="*/ 9596984 w 9688677"/>
                <a:gd name="connsiteY303" fmla="*/ 3137996 h 6065122"/>
                <a:gd name="connsiteX304" fmla="*/ 9218596 w 9688677"/>
                <a:gd name="connsiteY304" fmla="*/ 3137996 h 6065122"/>
                <a:gd name="connsiteX305" fmla="*/ 9179326 w 9688677"/>
                <a:gd name="connsiteY305" fmla="*/ 3224510 h 6065122"/>
                <a:gd name="connsiteX306" fmla="*/ 9217844 w 9688677"/>
                <a:gd name="connsiteY306" fmla="*/ 3305457 h 6065122"/>
                <a:gd name="connsiteX307" fmla="*/ 9255759 w 9688677"/>
                <a:gd name="connsiteY307" fmla="*/ 3223156 h 6065122"/>
                <a:gd name="connsiteX308" fmla="*/ 9218596 w 9688677"/>
                <a:gd name="connsiteY308" fmla="*/ 3137996 h 6065122"/>
                <a:gd name="connsiteX309" fmla="*/ 3533077 w 9688677"/>
                <a:gd name="connsiteY309" fmla="*/ 3137996 h 6065122"/>
                <a:gd name="connsiteX310" fmla="*/ 3493807 w 9688677"/>
                <a:gd name="connsiteY310" fmla="*/ 3224510 h 6065122"/>
                <a:gd name="connsiteX311" fmla="*/ 3532325 w 9688677"/>
                <a:gd name="connsiteY311" fmla="*/ 3305457 h 6065122"/>
                <a:gd name="connsiteX312" fmla="*/ 3570240 w 9688677"/>
                <a:gd name="connsiteY312" fmla="*/ 3223156 h 6065122"/>
                <a:gd name="connsiteX313" fmla="*/ 3533077 w 9688677"/>
                <a:gd name="connsiteY313" fmla="*/ 3137996 h 6065122"/>
                <a:gd name="connsiteX314" fmla="*/ 3151998 w 9688677"/>
                <a:gd name="connsiteY314" fmla="*/ 3137996 h 6065122"/>
                <a:gd name="connsiteX315" fmla="*/ 3112728 w 9688677"/>
                <a:gd name="connsiteY315" fmla="*/ 3224510 h 6065122"/>
                <a:gd name="connsiteX316" fmla="*/ 3151246 w 9688677"/>
                <a:gd name="connsiteY316" fmla="*/ 3305457 h 6065122"/>
                <a:gd name="connsiteX317" fmla="*/ 3189161 w 9688677"/>
                <a:gd name="connsiteY317" fmla="*/ 3223156 h 6065122"/>
                <a:gd name="connsiteX318" fmla="*/ 3151998 w 9688677"/>
                <a:gd name="connsiteY318" fmla="*/ 3137996 h 6065122"/>
                <a:gd name="connsiteX319" fmla="*/ 9598639 w 9688677"/>
                <a:gd name="connsiteY319" fmla="*/ 3110161 h 6065122"/>
                <a:gd name="connsiteX320" fmla="*/ 9669806 w 9688677"/>
                <a:gd name="connsiteY320" fmla="*/ 3220749 h 6065122"/>
                <a:gd name="connsiteX321" fmla="*/ 9649720 w 9688677"/>
                <a:gd name="connsiteY321" fmla="*/ 3304328 h 6065122"/>
                <a:gd name="connsiteX322" fmla="*/ 9593523 w 9688677"/>
                <a:gd name="connsiteY322" fmla="*/ 3333141 h 6065122"/>
                <a:gd name="connsiteX323" fmla="*/ 9540938 w 9688677"/>
                <a:gd name="connsiteY323" fmla="*/ 3305607 h 6065122"/>
                <a:gd name="connsiteX324" fmla="*/ 9522055 w 9688677"/>
                <a:gd name="connsiteY324" fmla="*/ 3226015 h 6065122"/>
                <a:gd name="connsiteX325" fmla="*/ 9541765 w 9688677"/>
                <a:gd name="connsiteY325" fmla="*/ 3139501 h 6065122"/>
                <a:gd name="connsiteX326" fmla="*/ 9598639 w 9688677"/>
                <a:gd name="connsiteY326" fmla="*/ 3110161 h 6065122"/>
                <a:gd name="connsiteX327" fmla="*/ 9220251 w 9688677"/>
                <a:gd name="connsiteY327" fmla="*/ 3110161 h 6065122"/>
                <a:gd name="connsiteX328" fmla="*/ 9291418 w 9688677"/>
                <a:gd name="connsiteY328" fmla="*/ 3220749 h 6065122"/>
                <a:gd name="connsiteX329" fmla="*/ 9271332 w 9688677"/>
                <a:gd name="connsiteY329" fmla="*/ 3304328 h 6065122"/>
                <a:gd name="connsiteX330" fmla="*/ 9215135 w 9688677"/>
                <a:gd name="connsiteY330" fmla="*/ 3333141 h 6065122"/>
                <a:gd name="connsiteX331" fmla="*/ 9162550 w 9688677"/>
                <a:gd name="connsiteY331" fmla="*/ 3305607 h 6065122"/>
                <a:gd name="connsiteX332" fmla="*/ 9143667 w 9688677"/>
                <a:gd name="connsiteY332" fmla="*/ 3226015 h 6065122"/>
                <a:gd name="connsiteX333" fmla="*/ 9163377 w 9688677"/>
                <a:gd name="connsiteY333" fmla="*/ 3139501 h 6065122"/>
                <a:gd name="connsiteX334" fmla="*/ 9220251 w 9688677"/>
                <a:gd name="connsiteY334" fmla="*/ 3110161 h 6065122"/>
                <a:gd name="connsiteX335" fmla="*/ 3534732 w 9688677"/>
                <a:gd name="connsiteY335" fmla="*/ 3110161 h 6065122"/>
                <a:gd name="connsiteX336" fmla="*/ 3605899 w 9688677"/>
                <a:gd name="connsiteY336" fmla="*/ 3220749 h 6065122"/>
                <a:gd name="connsiteX337" fmla="*/ 3585813 w 9688677"/>
                <a:gd name="connsiteY337" fmla="*/ 3304328 h 6065122"/>
                <a:gd name="connsiteX338" fmla="*/ 3529616 w 9688677"/>
                <a:gd name="connsiteY338" fmla="*/ 3333141 h 6065122"/>
                <a:gd name="connsiteX339" fmla="*/ 3477031 w 9688677"/>
                <a:gd name="connsiteY339" fmla="*/ 3305607 h 6065122"/>
                <a:gd name="connsiteX340" fmla="*/ 3458148 w 9688677"/>
                <a:gd name="connsiteY340" fmla="*/ 3226015 h 6065122"/>
                <a:gd name="connsiteX341" fmla="*/ 3477858 w 9688677"/>
                <a:gd name="connsiteY341" fmla="*/ 3139501 h 6065122"/>
                <a:gd name="connsiteX342" fmla="*/ 3534732 w 9688677"/>
                <a:gd name="connsiteY342" fmla="*/ 3110161 h 6065122"/>
                <a:gd name="connsiteX343" fmla="*/ 3153653 w 9688677"/>
                <a:gd name="connsiteY343" fmla="*/ 3110161 h 6065122"/>
                <a:gd name="connsiteX344" fmla="*/ 3224820 w 9688677"/>
                <a:gd name="connsiteY344" fmla="*/ 3220749 h 6065122"/>
                <a:gd name="connsiteX345" fmla="*/ 3204734 w 9688677"/>
                <a:gd name="connsiteY345" fmla="*/ 3304328 h 6065122"/>
                <a:gd name="connsiteX346" fmla="*/ 3148537 w 9688677"/>
                <a:gd name="connsiteY346" fmla="*/ 3333141 h 6065122"/>
                <a:gd name="connsiteX347" fmla="*/ 3095952 w 9688677"/>
                <a:gd name="connsiteY347" fmla="*/ 3305607 h 6065122"/>
                <a:gd name="connsiteX348" fmla="*/ 3077069 w 9688677"/>
                <a:gd name="connsiteY348" fmla="*/ 3226015 h 6065122"/>
                <a:gd name="connsiteX349" fmla="*/ 3096779 w 9688677"/>
                <a:gd name="connsiteY349" fmla="*/ 3139501 h 6065122"/>
                <a:gd name="connsiteX350" fmla="*/ 3153653 w 9688677"/>
                <a:gd name="connsiteY350" fmla="*/ 3110161 h 6065122"/>
                <a:gd name="connsiteX351" fmla="*/ 9365121 w 9688677"/>
                <a:gd name="connsiteY351" fmla="*/ 2836964 h 6065122"/>
                <a:gd name="connsiteX352" fmla="*/ 9325851 w 9688677"/>
                <a:gd name="connsiteY352" fmla="*/ 2923478 h 6065122"/>
                <a:gd name="connsiteX353" fmla="*/ 9364369 w 9688677"/>
                <a:gd name="connsiteY353" fmla="*/ 3004425 h 6065122"/>
                <a:gd name="connsiteX354" fmla="*/ 9402284 w 9688677"/>
                <a:gd name="connsiteY354" fmla="*/ 2922124 h 6065122"/>
                <a:gd name="connsiteX355" fmla="*/ 9365121 w 9688677"/>
                <a:gd name="connsiteY355" fmla="*/ 2836964 h 6065122"/>
                <a:gd name="connsiteX356" fmla="*/ 3309068 w 9688677"/>
                <a:gd name="connsiteY356" fmla="*/ 2836964 h 6065122"/>
                <a:gd name="connsiteX357" fmla="*/ 3269798 w 9688677"/>
                <a:gd name="connsiteY357" fmla="*/ 2923478 h 6065122"/>
                <a:gd name="connsiteX358" fmla="*/ 3308316 w 9688677"/>
                <a:gd name="connsiteY358" fmla="*/ 3004425 h 6065122"/>
                <a:gd name="connsiteX359" fmla="*/ 3346231 w 9688677"/>
                <a:gd name="connsiteY359" fmla="*/ 2922124 h 6065122"/>
                <a:gd name="connsiteX360" fmla="*/ 3309068 w 9688677"/>
                <a:gd name="connsiteY360" fmla="*/ 2836964 h 6065122"/>
                <a:gd name="connsiteX361" fmla="*/ 9366776 w 9688677"/>
                <a:gd name="connsiteY361" fmla="*/ 2809129 h 6065122"/>
                <a:gd name="connsiteX362" fmla="*/ 9437943 w 9688677"/>
                <a:gd name="connsiteY362" fmla="*/ 2919717 h 6065122"/>
                <a:gd name="connsiteX363" fmla="*/ 9417857 w 9688677"/>
                <a:gd name="connsiteY363" fmla="*/ 3003296 h 6065122"/>
                <a:gd name="connsiteX364" fmla="*/ 9361660 w 9688677"/>
                <a:gd name="connsiteY364" fmla="*/ 3032109 h 6065122"/>
                <a:gd name="connsiteX365" fmla="*/ 9309075 w 9688677"/>
                <a:gd name="connsiteY365" fmla="*/ 3004575 h 6065122"/>
                <a:gd name="connsiteX366" fmla="*/ 9290192 w 9688677"/>
                <a:gd name="connsiteY366" fmla="*/ 2924983 h 6065122"/>
                <a:gd name="connsiteX367" fmla="*/ 9309902 w 9688677"/>
                <a:gd name="connsiteY367" fmla="*/ 2838469 h 6065122"/>
                <a:gd name="connsiteX368" fmla="*/ 9366776 w 9688677"/>
                <a:gd name="connsiteY368" fmla="*/ 2809129 h 6065122"/>
                <a:gd name="connsiteX369" fmla="*/ 3310723 w 9688677"/>
                <a:gd name="connsiteY369" fmla="*/ 2809129 h 6065122"/>
                <a:gd name="connsiteX370" fmla="*/ 3381890 w 9688677"/>
                <a:gd name="connsiteY370" fmla="*/ 2919717 h 6065122"/>
                <a:gd name="connsiteX371" fmla="*/ 3361804 w 9688677"/>
                <a:gd name="connsiteY371" fmla="*/ 3003296 h 6065122"/>
                <a:gd name="connsiteX372" fmla="*/ 3305607 w 9688677"/>
                <a:gd name="connsiteY372" fmla="*/ 3032109 h 6065122"/>
                <a:gd name="connsiteX373" fmla="*/ 3253022 w 9688677"/>
                <a:gd name="connsiteY373" fmla="*/ 3004575 h 6065122"/>
                <a:gd name="connsiteX374" fmla="*/ 3234139 w 9688677"/>
                <a:gd name="connsiteY374" fmla="*/ 2924983 h 6065122"/>
                <a:gd name="connsiteX375" fmla="*/ 3253849 w 9688677"/>
                <a:gd name="connsiteY375" fmla="*/ 2838469 h 6065122"/>
                <a:gd name="connsiteX376" fmla="*/ 3310723 w 9688677"/>
                <a:gd name="connsiteY376" fmla="*/ 2809129 h 6065122"/>
                <a:gd name="connsiteX377" fmla="*/ 6505937 w 9688677"/>
                <a:gd name="connsiteY377" fmla="*/ 2508571 h 6065122"/>
                <a:gd name="connsiteX378" fmla="*/ 6466667 w 9688677"/>
                <a:gd name="connsiteY378" fmla="*/ 2595085 h 6065122"/>
                <a:gd name="connsiteX379" fmla="*/ 6505185 w 9688677"/>
                <a:gd name="connsiteY379" fmla="*/ 2676032 h 6065122"/>
                <a:gd name="connsiteX380" fmla="*/ 6543100 w 9688677"/>
                <a:gd name="connsiteY380" fmla="*/ 2593731 h 6065122"/>
                <a:gd name="connsiteX381" fmla="*/ 6505937 w 9688677"/>
                <a:gd name="connsiteY381" fmla="*/ 2508571 h 6065122"/>
                <a:gd name="connsiteX382" fmla="*/ 6134901 w 9688677"/>
                <a:gd name="connsiteY382" fmla="*/ 2508571 h 6065122"/>
                <a:gd name="connsiteX383" fmla="*/ 6095631 w 9688677"/>
                <a:gd name="connsiteY383" fmla="*/ 2595085 h 6065122"/>
                <a:gd name="connsiteX384" fmla="*/ 6134149 w 9688677"/>
                <a:gd name="connsiteY384" fmla="*/ 2676032 h 6065122"/>
                <a:gd name="connsiteX385" fmla="*/ 6172064 w 9688677"/>
                <a:gd name="connsiteY385" fmla="*/ 2593731 h 6065122"/>
                <a:gd name="connsiteX386" fmla="*/ 6134901 w 9688677"/>
                <a:gd name="connsiteY386" fmla="*/ 2508571 h 6065122"/>
                <a:gd name="connsiteX387" fmla="*/ 450509 w 9688677"/>
                <a:gd name="connsiteY387" fmla="*/ 2508571 h 6065122"/>
                <a:gd name="connsiteX388" fmla="*/ 411240 w 9688677"/>
                <a:gd name="connsiteY388" fmla="*/ 2595085 h 6065122"/>
                <a:gd name="connsiteX389" fmla="*/ 449758 w 9688677"/>
                <a:gd name="connsiteY389" fmla="*/ 2676032 h 6065122"/>
                <a:gd name="connsiteX390" fmla="*/ 487673 w 9688677"/>
                <a:gd name="connsiteY390" fmla="*/ 2593731 h 6065122"/>
                <a:gd name="connsiteX391" fmla="*/ 450509 w 9688677"/>
                <a:gd name="connsiteY391" fmla="*/ 2508571 h 6065122"/>
                <a:gd name="connsiteX392" fmla="*/ 74929 w 9688677"/>
                <a:gd name="connsiteY392" fmla="*/ 2508571 h 6065122"/>
                <a:gd name="connsiteX393" fmla="*/ 35659 w 9688677"/>
                <a:gd name="connsiteY393" fmla="*/ 2595085 h 6065122"/>
                <a:gd name="connsiteX394" fmla="*/ 74177 w 9688677"/>
                <a:gd name="connsiteY394" fmla="*/ 2676032 h 6065122"/>
                <a:gd name="connsiteX395" fmla="*/ 112092 w 9688677"/>
                <a:gd name="connsiteY395" fmla="*/ 2593731 h 6065122"/>
                <a:gd name="connsiteX396" fmla="*/ 74929 w 9688677"/>
                <a:gd name="connsiteY396" fmla="*/ 2508571 h 6065122"/>
                <a:gd name="connsiteX397" fmla="*/ 6507592 w 9688677"/>
                <a:gd name="connsiteY397" fmla="*/ 2480736 h 6065122"/>
                <a:gd name="connsiteX398" fmla="*/ 6578759 w 9688677"/>
                <a:gd name="connsiteY398" fmla="*/ 2591324 h 6065122"/>
                <a:gd name="connsiteX399" fmla="*/ 6558673 w 9688677"/>
                <a:gd name="connsiteY399" fmla="*/ 2674903 h 6065122"/>
                <a:gd name="connsiteX400" fmla="*/ 6502476 w 9688677"/>
                <a:gd name="connsiteY400" fmla="*/ 2703716 h 6065122"/>
                <a:gd name="connsiteX401" fmla="*/ 6449891 w 9688677"/>
                <a:gd name="connsiteY401" fmla="*/ 2676182 h 6065122"/>
                <a:gd name="connsiteX402" fmla="*/ 6431008 w 9688677"/>
                <a:gd name="connsiteY402" fmla="*/ 2596590 h 6065122"/>
                <a:gd name="connsiteX403" fmla="*/ 6450718 w 9688677"/>
                <a:gd name="connsiteY403" fmla="*/ 2510075 h 6065122"/>
                <a:gd name="connsiteX404" fmla="*/ 6507592 w 9688677"/>
                <a:gd name="connsiteY404" fmla="*/ 2480736 h 6065122"/>
                <a:gd name="connsiteX405" fmla="*/ 6136556 w 9688677"/>
                <a:gd name="connsiteY405" fmla="*/ 2480736 h 6065122"/>
                <a:gd name="connsiteX406" fmla="*/ 6207723 w 9688677"/>
                <a:gd name="connsiteY406" fmla="*/ 2591324 h 6065122"/>
                <a:gd name="connsiteX407" fmla="*/ 6187637 w 9688677"/>
                <a:gd name="connsiteY407" fmla="*/ 2674903 h 6065122"/>
                <a:gd name="connsiteX408" fmla="*/ 6131440 w 9688677"/>
                <a:gd name="connsiteY408" fmla="*/ 2703716 h 6065122"/>
                <a:gd name="connsiteX409" fmla="*/ 6078855 w 9688677"/>
                <a:gd name="connsiteY409" fmla="*/ 2676182 h 6065122"/>
                <a:gd name="connsiteX410" fmla="*/ 6059972 w 9688677"/>
                <a:gd name="connsiteY410" fmla="*/ 2596590 h 6065122"/>
                <a:gd name="connsiteX411" fmla="*/ 6079682 w 9688677"/>
                <a:gd name="connsiteY411" fmla="*/ 2510075 h 6065122"/>
                <a:gd name="connsiteX412" fmla="*/ 6136556 w 9688677"/>
                <a:gd name="connsiteY412" fmla="*/ 2480736 h 6065122"/>
                <a:gd name="connsiteX413" fmla="*/ 452165 w 9688677"/>
                <a:gd name="connsiteY413" fmla="*/ 2480736 h 6065122"/>
                <a:gd name="connsiteX414" fmla="*/ 523332 w 9688677"/>
                <a:gd name="connsiteY414" fmla="*/ 2591324 h 6065122"/>
                <a:gd name="connsiteX415" fmla="*/ 503246 w 9688677"/>
                <a:gd name="connsiteY415" fmla="*/ 2674903 h 6065122"/>
                <a:gd name="connsiteX416" fmla="*/ 447049 w 9688677"/>
                <a:gd name="connsiteY416" fmla="*/ 2703716 h 6065122"/>
                <a:gd name="connsiteX417" fmla="*/ 394463 w 9688677"/>
                <a:gd name="connsiteY417" fmla="*/ 2676182 h 6065122"/>
                <a:gd name="connsiteX418" fmla="*/ 375581 w 9688677"/>
                <a:gd name="connsiteY418" fmla="*/ 2596590 h 6065122"/>
                <a:gd name="connsiteX419" fmla="*/ 395291 w 9688677"/>
                <a:gd name="connsiteY419" fmla="*/ 2510075 h 6065122"/>
                <a:gd name="connsiteX420" fmla="*/ 452165 w 9688677"/>
                <a:gd name="connsiteY420" fmla="*/ 2480736 h 6065122"/>
                <a:gd name="connsiteX421" fmla="*/ 76584 w 9688677"/>
                <a:gd name="connsiteY421" fmla="*/ 2480736 h 6065122"/>
                <a:gd name="connsiteX422" fmla="*/ 147751 w 9688677"/>
                <a:gd name="connsiteY422" fmla="*/ 2591324 h 6065122"/>
                <a:gd name="connsiteX423" fmla="*/ 127665 w 9688677"/>
                <a:gd name="connsiteY423" fmla="*/ 2674903 h 6065122"/>
                <a:gd name="connsiteX424" fmla="*/ 71468 w 9688677"/>
                <a:gd name="connsiteY424" fmla="*/ 2703716 h 6065122"/>
                <a:gd name="connsiteX425" fmla="*/ 18883 w 9688677"/>
                <a:gd name="connsiteY425" fmla="*/ 2676182 h 6065122"/>
                <a:gd name="connsiteX426" fmla="*/ 0 w 9688677"/>
                <a:gd name="connsiteY426" fmla="*/ 2596590 h 6065122"/>
                <a:gd name="connsiteX427" fmla="*/ 19710 w 9688677"/>
                <a:gd name="connsiteY427" fmla="*/ 2510075 h 6065122"/>
                <a:gd name="connsiteX428" fmla="*/ 76584 w 9688677"/>
                <a:gd name="connsiteY428" fmla="*/ 2480736 h 6065122"/>
                <a:gd name="connsiteX429" fmla="*/ 6278828 w 9688677"/>
                <a:gd name="connsiteY429" fmla="*/ 2204600 h 6065122"/>
                <a:gd name="connsiteX430" fmla="*/ 6239558 w 9688677"/>
                <a:gd name="connsiteY430" fmla="*/ 2291114 h 6065122"/>
                <a:gd name="connsiteX431" fmla="*/ 6278076 w 9688677"/>
                <a:gd name="connsiteY431" fmla="*/ 2372061 h 6065122"/>
                <a:gd name="connsiteX432" fmla="*/ 6315991 w 9688677"/>
                <a:gd name="connsiteY432" fmla="*/ 2289760 h 6065122"/>
                <a:gd name="connsiteX433" fmla="*/ 6278828 w 9688677"/>
                <a:gd name="connsiteY433" fmla="*/ 2204600 h 6065122"/>
                <a:gd name="connsiteX434" fmla="*/ 215417 w 9688677"/>
                <a:gd name="connsiteY434" fmla="*/ 2204600 h 6065122"/>
                <a:gd name="connsiteX435" fmla="*/ 176147 w 9688677"/>
                <a:gd name="connsiteY435" fmla="*/ 2291114 h 6065122"/>
                <a:gd name="connsiteX436" fmla="*/ 214665 w 9688677"/>
                <a:gd name="connsiteY436" fmla="*/ 2372061 h 6065122"/>
                <a:gd name="connsiteX437" fmla="*/ 252580 w 9688677"/>
                <a:gd name="connsiteY437" fmla="*/ 2289760 h 6065122"/>
                <a:gd name="connsiteX438" fmla="*/ 215417 w 9688677"/>
                <a:gd name="connsiteY438" fmla="*/ 2204600 h 6065122"/>
                <a:gd name="connsiteX439" fmla="*/ 6280483 w 9688677"/>
                <a:gd name="connsiteY439" fmla="*/ 2176765 h 6065122"/>
                <a:gd name="connsiteX440" fmla="*/ 6351650 w 9688677"/>
                <a:gd name="connsiteY440" fmla="*/ 2287352 h 6065122"/>
                <a:gd name="connsiteX441" fmla="*/ 6331564 w 9688677"/>
                <a:gd name="connsiteY441" fmla="*/ 2370932 h 6065122"/>
                <a:gd name="connsiteX442" fmla="*/ 6275367 w 9688677"/>
                <a:gd name="connsiteY442" fmla="*/ 2399745 h 6065122"/>
                <a:gd name="connsiteX443" fmla="*/ 6222782 w 9688677"/>
                <a:gd name="connsiteY443" fmla="*/ 2372211 h 6065122"/>
                <a:gd name="connsiteX444" fmla="*/ 6203899 w 9688677"/>
                <a:gd name="connsiteY444" fmla="*/ 2292619 h 6065122"/>
                <a:gd name="connsiteX445" fmla="*/ 6223609 w 9688677"/>
                <a:gd name="connsiteY445" fmla="*/ 2206104 h 6065122"/>
                <a:gd name="connsiteX446" fmla="*/ 6280483 w 9688677"/>
                <a:gd name="connsiteY446" fmla="*/ 2176765 h 6065122"/>
                <a:gd name="connsiteX447" fmla="*/ 217072 w 9688677"/>
                <a:gd name="connsiteY447" fmla="*/ 2176765 h 6065122"/>
                <a:gd name="connsiteX448" fmla="*/ 288239 w 9688677"/>
                <a:gd name="connsiteY448" fmla="*/ 2287352 h 6065122"/>
                <a:gd name="connsiteX449" fmla="*/ 268153 w 9688677"/>
                <a:gd name="connsiteY449" fmla="*/ 2370932 h 6065122"/>
                <a:gd name="connsiteX450" fmla="*/ 211956 w 9688677"/>
                <a:gd name="connsiteY450" fmla="*/ 2399745 h 6065122"/>
                <a:gd name="connsiteX451" fmla="*/ 159371 w 9688677"/>
                <a:gd name="connsiteY451" fmla="*/ 2372211 h 6065122"/>
                <a:gd name="connsiteX452" fmla="*/ 140488 w 9688677"/>
                <a:gd name="connsiteY452" fmla="*/ 2292619 h 6065122"/>
                <a:gd name="connsiteX453" fmla="*/ 160198 w 9688677"/>
                <a:gd name="connsiteY453" fmla="*/ 2206104 h 6065122"/>
                <a:gd name="connsiteX454" fmla="*/ 217072 w 9688677"/>
                <a:gd name="connsiteY454" fmla="*/ 2176765 h 6065122"/>
                <a:gd name="connsiteX455" fmla="*/ 9601339 w 9688677"/>
                <a:gd name="connsiteY455" fmla="*/ 1870182 h 6065122"/>
                <a:gd name="connsiteX456" fmla="*/ 9562069 w 9688677"/>
                <a:gd name="connsiteY456" fmla="*/ 1956696 h 6065122"/>
                <a:gd name="connsiteX457" fmla="*/ 9600587 w 9688677"/>
                <a:gd name="connsiteY457" fmla="*/ 2037642 h 6065122"/>
                <a:gd name="connsiteX458" fmla="*/ 9638502 w 9688677"/>
                <a:gd name="connsiteY458" fmla="*/ 1955342 h 6065122"/>
                <a:gd name="connsiteX459" fmla="*/ 9601339 w 9688677"/>
                <a:gd name="connsiteY459" fmla="*/ 1870182 h 6065122"/>
                <a:gd name="connsiteX460" fmla="*/ 9240737 w 9688677"/>
                <a:gd name="connsiteY460" fmla="*/ 1870182 h 6065122"/>
                <a:gd name="connsiteX461" fmla="*/ 9201467 w 9688677"/>
                <a:gd name="connsiteY461" fmla="*/ 1956696 h 6065122"/>
                <a:gd name="connsiteX462" fmla="*/ 9239985 w 9688677"/>
                <a:gd name="connsiteY462" fmla="*/ 2037642 h 6065122"/>
                <a:gd name="connsiteX463" fmla="*/ 9277900 w 9688677"/>
                <a:gd name="connsiteY463" fmla="*/ 1955342 h 6065122"/>
                <a:gd name="connsiteX464" fmla="*/ 9240737 w 9688677"/>
                <a:gd name="connsiteY464" fmla="*/ 1870182 h 6065122"/>
                <a:gd name="connsiteX465" fmla="*/ 3546994 w 9688677"/>
                <a:gd name="connsiteY465" fmla="*/ 1870182 h 6065122"/>
                <a:gd name="connsiteX466" fmla="*/ 3507725 w 9688677"/>
                <a:gd name="connsiteY466" fmla="*/ 1956696 h 6065122"/>
                <a:gd name="connsiteX467" fmla="*/ 3546242 w 9688677"/>
                <a:gd name="connsiteY467" fmla="*/ 2037642 h 6065122"/>
                <a:gd name="connsiteX468" fmla="*/ 3584158 w 9688677"/>
                <a:gd name="connsiteY468" fmla="*/ 1955342 h 6065122"/>
                <a:gd name="connsiteX469" fmla="*/ 3546994 w 9688677"/>
                <a:gd name="connsiteY469" fmla="*/ 1870182 h 6065122"/>
                <a:gd name="connsiteX470" fmla="*/ 3181981 w 9688677"/>
                <a:gd name="connsiteY470" fmla="*/ 1870182 h 6065122"/>
                <a:gd name="connsiteX471" fmla="*/ 3142712 w 9688677"/>
                <a:gd name="connsiteY471" fmla="*/ 1956696 h 6065122"/>
                <a:gd name="connsiteX472" fmla="*/ 3181229 w 9688677"/>
                <a:gd name="connsiteY472" fmla="*/ 2037642 h 6065122"/>
                <a:gd name="connsiteX473" fmla="*/ 3219145 w 9688677"/>
                <a:gd name="connsiteY473" fmla="*/ 1955342 h 6065122"/>
                <a:gd name="connsiteX474" fmla="*/ 3181981 w 9688677"/>
                <a:gd name="connsiteY474" fmla="*/ 1870182 h 6065122"/>
                <a:gd name="connsiteX475" fmla="*/ 9602994 w 9688677"/>
                <a:gd name="connsiteY475" fmla="*/ 1842347 h 6065122"/>
                <a:gd name="connsiteX476" fmla="*/ 9674161 w 9688677"/>
                <a:gd name="connsiteY476" fmla="*/ 1952934 h 6065122"/>
                <a:gd name="connsiteX477" fmla="*/ 9654075 w 9688677"/>
                <a:gd name="connsiteY477" fmla="*/ 2036514 h 6065122"/>
                <a:gd name="connsiteX478" fmla="*/ 9597878 w 9688677"/>
                <a:gd name="connsiteY478" fmla="*/ 2065327 h 6065122"/>
                <a:gd name="connsiteX479" fmla="*/ 9545293 w 9688677"/>
                <a:gd name="connsiteY479" fmla="*/ 2037793 h 6065122"/>
                <a:gd name="connsiteX480" fmla="*/ 9526410 w 9688677"/>
                <a:gd name="connsiteY480" fmla="*/ 1958201 h 6065122"/>
                <a:gd name="connsiteX481" fmla="*/ 9546120 w 9688677"/>
                <a:gd name="connsiteY481" fmla="*/ 1871686 h 6065122"/>
                <a:gd name="connsiteX482" fmla="*/ 9602994 w 9688677"/>
                <a:gd name="connsiteY482" fmla="*/ 1842347 h 6065122"/>
                <a:gd name="connsiteX483" fmla="*/ 9242392 w 9688677"/>
                <a:gd name="connsiteY483" fmla="*/ 1842347 h 6065122"/>
                <a:gd name="connsiteX484" fmla="*/ 9313559 w 9688677"/>
                <a:gd name="connsiteY484" fmla="*/ 1952934 h 6065122"/>
                <a:gd name="connsiteX485" fmla="*/ 9293473 w 9688677"/>
                <a:gd name="connsiteY485" fmla="*/ 2036514 h 6065122"/>
                <a:gd name="connsiteX486" fmla="*/ 9237276 w 9688677"/>
                <a:gd name="connsiteY486" fmla="*/ 2065327 h 6065122"/>
                <a:gd name="connsiteX487" fmla="*/ 9184691 w 9688677"/>
                <a:gd name="connsiteY487" fmla="*/ 2037793 h 6065122"/>
                <a:gd name="connsiteX488" fmla="*/ 9165808 w 9688677"/>
                <a:gd name="connsiteY488" fmla="*/ 1958201 h 6065122"/>
                <a:gd name="connsiteX489" fmla="*/ 9185518 w 9688677"/>
                <a:gd name="connsiteY489" fmla="*/ 1871686 h 6065122"/>
                <a:gd name="connsiteX490" fmla="*/ 9242392 w 9688677"/>
                <a:gd name="connsiteY490" fmla="*/ 1842347 h 6065122"/>
                <a:gd name="connsiteX491" fmla="*/ 3548649 w 9688677"/>
                <a:gd name="connsiteY491" fmla="*/ 1842347 h 6065122"/>
                <a:gd name="connsiteX492" fmla="*/ 3619817 w 9688677"/>
                <a:gd name="connsiteY492" fmla="*/ 1952934 h 6065122"/>
                <a:gd name="connsiteX493" fmla="*/ 3599731 w 9688677"/>
                <a:gd name="connsiteY493" fmla="*/ 2036514 h 6065122"/>
                <a:gd name="connsiteX494" fmla="*/ 3543534 w 9688677"/>
                <a:gd name="connsiteY494" fmla="*/ 2065327 h 6065122"/>
                <a:gd name="connsiteX495" fmla="*/ 3490948 w 9688677"/>
                <a:gd name="connsiteY495" fmla="*/ 2037793 h 6065122"/>
                <a:gd name="connsiteX496" fmla="*/ 3472066 w 9688677"/>
                <a:gd name="connsiteY496" fmla="*/ 1958201 h 6065122"/>
                <a:gd name="connsiteX497" fmla="*/ 3491776 w 9688677"/>
                <a:gd name="connsiteY497" fmla="*/ 1871686 h 6065122"/>
                <a:gd name="connsiteX498" fmla="*/ 3548649 w 9688677"/>
                <a:gd name="connsiteY498" fmla="*/ 1842347 h 6065122"/>
                <a:gd name="connsiteX499" fmla="*/ 3183636 w 9688677"/>
                <a:gd name="connsiteY499" fmla="*/ 1842347 h 6065122"/>
                <a:gd name="connsiteX500" fmla="*/ 3254804 w 9688677"/>
                <a:gd name="connsiteY500" fmla="*/ 1952934 h 6065122"/>
                <a:gd name="connsiteX501" fmla="*/ 3234718 w 9688677"/>
                <a:gd name="connsiteY501" fmla="*/ 2036514 h 6065122"/>
                <a:gd name="connsiteX502" fmla="*/ 3178521 w 9688677"/>
                <a:gd name="connsiteY502" fmla="*/ 2065327 h 6065122"/>
                <a:gd name="connsiteX503" fmla="*/ 3125935 w 9688677"/>
                <a:gd name="connsiteY503" fmla="*/ 2037793 h 6065122"/>
                <a:gd name="connsiteX504" fmla="*/ 3107053 w 9688677"/>
                <a:gd name="connsiteY504" fmla="*/ 1958201 h 6065122"/>
                <a:gd name="connsiteX505" fmla="*/ 3126763 w 9688677"/>
                <a:gd name="connsiteY505" fmla="*/ 1871686 h 6065122"/>
                <a:gd name="connsiteX506" fmla="*/ 3183636 w 9688677"/>
                <a:gd name="connsiteY506" fmla="*/ 1842347 h 6065122"/>
                <a:gd name="connsiteX507" fmla="*/ 9365121 w 9688677"/>
                <a:gd name="connsiteY507" fmla="*/ 1549837 h 6065122"/>
                <a:gd name="connsiteX508" fmla="*/ 9325851 w 9688677"/>
                <a:gd name="connsiteY508" fmla="*/ 1636351 h 6065122"/>
                <a:gd name="connsiteX509" fmla="*/ 9364369 w 9688677"/>
                <a:gd name="connsiteY509" fmla="*/ 1717298 h 6065122"/>
                <a:gd name="connsiteX510" fmla="*/ 9402284 w 9688677"/>
                <a:gd name="connsiteY510" fmla="*/ 1634997 h 6065122"/>
                <a:gd name="connsiteX511" fmla="*/ 9365121 w 9688677"/>
                <a:gd name="connsiteY511" fmla="*/ 1549837 h 6065122"/>
                <a:gd name="connsiteX512" fmla="*/ 3309068 w 9688677"/>
                <a:gd name="connsiteY512" fmla="*/ 1549837 h 6065122"/>
                <a:gd name="connsiteX513" fmla="*/ 3269798 w 9688677"/>
                <a:gd name="connsiteY513" fmla="*/ 1636351 h 6065122"/>
                <a:gd name="connsiteX514" fmla="*/ 3308316 w 9688677"/>
                <a:gd name="connsiteY514" fmla="*/ 1717298 h 6065122"/>
                <a:gd name="connsiteX515" fmla="*/ 3346231 w 9688677"/>
                <a:gd name="connsiteY515" fmla="*/ 1634997 h 6065122"/>
                <a:gd name="connsiteX516" fmla="*/ 3309068 w 9688677"/>
                <a:gd name="connsiteY516" fmla="*/ 1549837 h 6065122"/>
                <a:gd name="connsiteX517" fmla="*/ 9366776 w 9688677"/>
                <a:gd name="connsiteY517" fmla="*/ 1522002 h 6065122"/>
                <a:gd name="connsiteX518" fmla="*/ 9437943 w 9688677"/>
                <a:gd name="connsiteY518" fmla="*/ 1632590 h 6065122"/>
                <a:gd name="connsiteX519" fmla="*/ 9417857 w 9688677"/>
                <a:gd name="connsiteY519" fmla="*/ 1716169 h 6065122"/>
                <a:gd name="connsiteX520" fmla="*/ 9361660 w 9688677"/>
                <a:gd name="connsiteY520" fmla="*/ 1744982 h 6065122"/>
                <a:gd name="connsiteX521" fmla="*/ 9309075 w 9688677"/>
                <a:gd name="connsiteY521" fmla="*/ 1717448 h 6065122"/>
                <a:gd name="connsiteX522" fmla="*/ 9290192 w 9688677"/>
                <a:gd name="connsiteY522" fmla="*/ 1637856 h 6065122"/>
                <a:gd name="connsiteX523" fmla="*/ 9309902 w 9688677"/>
                <a:gd name="connsiteY523" fmla="*/ 1551342 h 6065122"/>
                <a:gd name="connsiteX524" fmla="*/ 9366776 w 9688677"/>
                <a:gd name="connsiteY524" fmla="*/ 1522002 h 6065122"/>
                <a:gd name="connsiteX525" fmla="*/ 3310723 w 9688677"/>
                <a:gd name="connsiteY525" fmla="*/ 1522002 h 6065122"/>
                <a:gd name="connsiteX526" fmla="*/ 3381890 w 9688677"/>
                <a:gd name="connsiteY526" fmla="*/ 1632590 h 6065122"/>
                <a:gd name="connsiteX527" fmla="*/ 3361804 w 9688677"/>
                <a:gd name="connsiteY527" fmla="*/ 1716169 h 6065122"/>
                <a:gd name="connsiteX528" fmla="*/ 3305607 w 9688677"/>
                <a:gd name="connsiteY528" fmla="*/ 1744982 h 6065122"/>
                <a:gd name="connsiteX529" fmla="*/ 3253022 w 9688677"/>
                <a:gd name="connsiteY529" fmla="*/ 1717448 h 6065122"/>
                <a:gd name="connsiteX530" fmla="*/ 3234139 w 9688677"/>
                <a:gd name="connsiteY530" fmla="*/ 1637856 h 6065122"/>
                <a:gd name="connsiteX531" fmla="*/ 3253849 w 9688677"/>
                <a:gd name="connsiteY531" fmla="*/ 1551342 h 6065122"/>
                <a:gd name="connsiteX532" fmla="*/ 3310723 w 9688677"/>
                <a:gd name="connsiteY532" fmla="*/ 1522002 h 6065122"/>
                <a:gd name="connsiteX533" fmla="*/ 6512446 w 9688677"/>
                <a:gd name="connsiteY533" fmla="*/ 1236534 h 6065122"/>
                <a:gd name="connsiteX534" fmla="*/ 6473176 w 9688677"/>
                <a:gd name="connsiteY534" fmla="*/ 1323048 h 6065122"/>
                <a:gd name="connsiteX535" fmla="*/ 6511694 w 9688677"/>
                <a:gd name="connsiteY535" fmla="*/ 1403995 h 6065122"/>
                <a:gd name="connsiteX536" fmla="*/ 6549609 w 9688677"/>
                <a:gd name="connsiteY536" fmla="*/ 1321694 h 6065122"/>
                <a:gd name="connsiteX537" fmla="*/ 6512446 w 9688677"/>
                <a:gd name="connsiteY537" fmla="*/ 1236534 h 6065122"/>
                <a:gd name="connsiteX538" fmla="*/ 6141410 w 9688677"/>
                <a:gd name="connsiteY538" fmla="*/ 1236534 h 6065122"/>
                <a:gd name="connsiteX539" fmla="*/ 6102140 w 9688677"/>
                <a:gd name="connsiteY539" fmla="*/ 1323048 h 6065122"/>
                <a:gd name="connsiteX540" fmla="*/ 6140658 w 9688677"/>
                <a:gd name="connsiteY540" fmla="*/ 1403995 h 6065122"/>
                <a:gd name="connsiteX541" fmla="*/ 6178573 w 9688677"/>
                <a:gd name="connsiteY541" fmla="*/ 1321694 h 6065122"/>
                <a:gd name="connsiteX542" fmla="*/ 6141410 w 9688677"/>
                <a:gd name="connsiteY542" fmla="*/ 1236534 h 6065122"/>
                <a:gd name="connsiteX543" fmla="*/ 457019 w 9688677"/>
                <a:gd name="connsiteY543" fmla="*/ 1236534 h 6065122"/>
                <a:gd name="connsiteX544" fmla="*/ 417749 w 9688677"/>
                <a:gd name="connsiteY544" fmla="*/ 1323048 h 6065122"/>
                <a:gd name="connsiteX545" fmla="*/ 456267 w 9688677"/>
                <a:gd name="connsiteY545" fmla="*/ 1403995 h 6065122"/>
                <a:gd name="connsiteX546" fmla="*/ 494182 w 9688677"/>
                <a:gd name="connsiteY546" fmla="*/ 1321694 h 6065122"/>
                <a:gd name="connsiteX547" fmla="*/ 457019 w 9688677"/>
                <a:gd name="connsiteY547" fmla="*/ 1236534 h 6065122"/>
                <a:gd name="connsiteX548" fmla="*/ 81439 w 9688677"/>
                <a:gd name="connsiteY548" fmla="*/ 1236534 h 6065122"/>
                <a:gd name="connsiteX549" fmla="*/ 42169 w 9688677"/>
                <a:gd name="connsiteY549" fmla="*/ 1323048 h 6065122"/>
                <a:gd name="connsiteX550" fmla="*/ 80687 w 9688677"/>
                <a:gd name="connsiteY550" fmla="*/ 1403995 h 6065122"/>
                <a:gd name="connsiteX551" fmla="*/ 118602 w 9688677"/>
                <a:gd name="connsiteY551" fmla="*/ 1321694 h 6065122"/>
                <a:gd name="connsiteX552" fmla="*/ 81439 w 9688677"/>
                <a:gd name="connsiteY552" fmla="*/ 1236534 h 6065122"/>
                <a:gd name="connsiteX553" fmla="*/ 6514101 w 9688677"/>
                <a:gd name="connsiteY553" fmla="*/ 1208699 h 6065122"/>
                <a:gd name="connsiteX554" fmla="*/ 6585268 w 9688677"/>
                <a:gd name="connsiteY554" fmla="*/ 1319287 h 6065122"/>
                <a:gd name="connsiteX555" fmla="*/ 6565182 w 9688677"/>
                <a:gd name="connsiteY555" fmla="*/ 1402866 h 6065122"/>
                <a:gd name="connsiteX556" fmla="*/ 6508985 w 9688677"/>
                <a:gd name="connsiteY556" fmla="*/ 1431679 h 6065122"/>
                <a:gd name="connsiteX557" fmla="*/ 6456400 w 9688677"/>
                <a:gd name="connsiteY557" fmla="*/ 1404145 h 6065122"/>
                <a:gd name="connsiteX558" fmla="*/ 6437517 w 9688677"/>
                <a:gd name="connsiteY558" fmla="*/ 1324553 h 6065122"/>
                <a:gd name="connsiteX559" fmla="*/ 6457227 w 9688677"/>
                <a:gd name="connsiteY559" fmla="*/ 1238038 h 6065122"/>
                <a:gd name="connsiteX560" fmla="*/ 6514101 w 9688677"/>
                <a:gd name="connsiteY560" fmla="*/ 1208699 h 6065122"/>
                <a:gd name="connsiteX561" fmla="*/ 6143065 w 9688677"/>
                <a:gd name="connsiteY561" fmla="*/ 1208699 h 6065122"/>
                <a:gd name="connsiteX562" fmla="*/ 6214232 w 9688677"/>
                <a:gd name="connsiteY562" fmla="*/ 1319287 h 6065122"/>
                <a:gd name="connsiteX563" fmla="*/ 6194146 w 9688677"/>
                <a:gd name="connsiteY563" fmla="*/ 1402866 h 6065122"/>
                <a:gd name="connsiteX564" fmla="*/ 6137949 w 9688677"/>
                <a:gd name="connsiteY564" fmla="*/ 1431679 h 6065122"/>
                <a:gd name="connsiteX565" fmla="*/ 6085364 w 9688677"/>
                <a:gd name="connsiteY565" fmla="*/ 1404145 h 6065122"/>
                <a:gd name="connsiteX566" fmla="*/ 6066481 w 9688677"/>
                <a:gd name="connsiteY566" fmla="*/ 1324553 h 6065122"/>
                <a:gd name="connsiteX567" fmla="*/ 6086191 w 9688677"/>
                <a:gd name="connsiteY567" fmla="*/ 1238038 h 6065122"/>
                <a:gd name="connsiteX568" fmla="*/ 6143065 w 9688677"/>
                <a:gd name="connsiteY568" fmla="*/ 1208699 h 6065122"/>
                <a:gd name="connsiteX569" fmla="*/ 458674 w 9688677"/>
                <a:gd name="connsiteY569" fmla="*/ 1208699 h 6065122"/>
                <a:gd name="connsiteX570" fmla="*/ 529841 w 9688677"/>
                <a:gd name="connsiteY570" fmla="*/ 1319287 h 6065122"/>
                <a:gd name="connsiteX571" fmla="*/ 509755 w 9688677"/>
                <a:gd name="connsiteY571" fmla="*/ 1402866 h 6065122"/>
                <a:gd name="connsiteX572" fmla="*/ 453558 w 9688677"/>
                <a:gd name="connsiteY572" fmla="*/ 1431679 h 6065122"/>
                <a:gd name="connsiteX573" fmla="*/ 400973 w 9688677"/>
                <a:gd name="connsiteY573" fmla="*/ 1404145 h 6065122"/>
                <a:gd name="connsiteX574" fmla="*/ 382090 w 9688677"/>
                <a:gd name="connsiteY574" fmla="*/ 1324553 h 6065122"/>
                <a:gd name="connsiteX575" fmla="*/ 401800 w 9688677"/>
                <a:gd name="connsiteY575" fmla="*/ 1238038 h 6065122"/>
                <a:gd name="connsiteX576" fmla="*/ 458674 w 9688677"/>
                <a:gd name="connsiteY576" fmla="*/ 1208699 h 6065122"/>
                <a:gd name="connsiteX577" fmla="*/ 83094 w 9688677"/>
                <a:gd name="connsiteY577" fmla="*/ 1208699 h 6065122"/>
                <a:gd name="connsiteX578" fmla="*/ 154261 w 9688677"/>
                <a:gd name="connsiteY578" fmla="*/ 1319287 h 6065122"/>
                <a:gd name="connsiteX579" fmla="*/ 134175 w 9688677"/>
                <a:gd name="connsiteY579" fmla="*/ 1402866 h 6065122"/>
                <a:gd name="connsiteX580" fmla="*/ 77978 w 9688677"/>
                <a:gd name="connsiteY580" fmla="*/ 1431679 h 6065122"/>
                <a:gd name="connsiteX581" fmla="*/ 25393 w 9688677"/>
                <a:gd name="connsiteY581" fmla="*/ 1404145 h 6065122"/>
                <a:gd name="connsiteX582" fmla="*/ 6510 w 9688677"/>
                <a:gd name="connsiteY582" fmla="*/ 1324553 h 6065122"/>
                <a:gd name="connsiteX583" fmla="*/ 26220 w 9688677"/>
                <a:gd name="connsiteY583" fmla="*/ 1238038 h 6065122"/>
                <a:gd name="connsiteX584" fmla="*/ 83094 w 9688677"/>
                <a:gd name="connsiteY584" fmla="*/ 1208699 h 6065122"/>
                <a:gd name="connsiteX585" fmla="*/ 6281383 w 9688677"/>
                <a:gd name="connsiteY585" fmla="*/ 942895 h 6065122"/>
                <a:gd name="connsiteX586" fmla="*/ 6242113 w 9688677"/>
                <a:gd name="connsiteY586" fmla="*/ 1029409 h 6065122"/>
                <a:gd name="connsiteX587" fmla="*/ 6280631 w 9688677"/>
                <a:gd name="connsiteY587" fmla="*/ 1110356 h 6065122"/>
                <a:gd name="connsiteX588" fmla="*/ 6318546 w 9688677"/>
                <a:gd name="connsiteY588" fmla="*/ 1028055 h 6065122"/>
                <a:gd name="connsiteX589" fmla="*/ 6281383 w 9688677"/>
                <a:gd name="connsiteY589" fmla="*/ 942895 h 6065122"/>
                <a:gd name="connsiteX590" fmla="*/ 217972 w 9688677"/>
                <a:gd name="connsiteY590" fmla="*/ 942895 h 6065122"/>
                <a:gd name="connsiteX591" fmla="*/ 178702 w 9688677"/>
                <a:gd name="connsiteY591" fmla="*/ 1029409 h 6065122"/>
                <a:gd name="connsiteX592" fmla="*/ 217220 w 9688677"/>
                <a:gd name="connsiteY592" fmla="*/ 1110356 h 6065122"/>
                <a:gd name="connsiteX593" fmla="*/ 255135 w 9688677"/>
                <a:gd name="connsiteY593" fmla="*/ 1028055 h 6065122"/>
                <a:gd name="connsiteX594" fmla="*/ 217972 w 9688677"/>
                <a:gd name="connsiteY594" fmla="*/ 942895 h 6065122"/>
                <a:gd name="connsiteX595" fmla="*/ 6283038 w 9688677"/>
                <a:gd name="connsiteY595" fmla="*/ 915060 h 6065122"/>
                <a:gd name="connsiteX596" fmla="*/ 6354205 w 9688677"/>
                <a:gd name="connsiteY596" fmla="*/ 1025647 h 6065122"/>
                <a:gd name="connsiteX597" fmla="*/ 6334119 w 9688677"/>
                <a:gd name="connsiteY597" fmla="*/ 1109227 h 6065122"/>
                <a:gd name="connsiteX598" fmla="*/ 6277922 w 9688677"/>
                <a:gd name="connsiteY598" fmla="*/ 1138040 h 6065122"/>
                <a:gd name="connsiteX599" fmla="*/ 6225337 w 9688677"/>
                <a:gd name="connsiteY599" fmla="*/ 1110506 h 6065122"/>
                <a:gd name="connsiteX600" fmla="*/ 6206454 w 9688677"/>
                <a:gd name="connsiteY600" fmla="*/ 1030914 h 6065122"/>
                <a:gd name="connsiteX601" fmla="*/ 6226164 w 9688677"/>
                <a:gd name="connsiteY601" fmla="*/ 944399 h 6065122"/>
                <a:gd name="connsiteX602" fmla="*/ 6283038 w 9688677"/>
                <a:gd name="connsiteY602" fmla="*/ 915060 h 6065122"/>
                <a:gd name="connsiteX603" fmla="*/ 219627 w 9688677"/>
                <a:gd name="connsiteY603" fmla="*/ 915060 h 6065122"/>
                <a:gd name="connsiteX604" fmla="*/ 290794 w 9688677"/>
                <a:gd name="connsiteY604" fmla="*/ 1025647 h 6065122"/>
                <a:gd name="connsiteX605" fmla="*/ 270708 w 9688677"/>
                <a:gd name="connsiteY605" fmla="*/ 1109227 h 6065122"/>
                <a:gd name="connsiteX606" fmla="*/ 214511 w 9688677"/>
                <a:gd name="connsiteY606" fmla="*/ 1138040 h 6065122"/>
                <a:gd name="connsiteX607" fmla="*/ 161926 w 9688677"/>
                <a:gd name="connsiteY607" fmla="*/ 1110506 h 6065122"/>
                <a:gd name="connsiteX608" fmla="*/ 143043 w 9688677"/>
                <a:gd name="connsiteY608" fmla="*/ 1030914 h 6065122"/>
                <a:gd name="connsiteX609" fmla="*/ 162753 w 9688677"/>
                <a:gd name="connsiteY609" fmla="*/ 944399 h 6065122"/>
                <a:gd name="connsiteX610" fmla="*/ 219627 w 9688677"/>
                <a:gd name="connsiteY610" fmla="*/ 915060 h 6065122"/>
                <a:gd name="connsiteX611" fmla="*/ 6518038 w 9688677"/>
                <a:gd name="connsiteY611" fmla="*/ 660590 h 6065122"/>
                <a:gd name="connsiteX612" fmla="*/ 6478768 w 9688677"/>
                <a:gd name="connsiteY612" fmla="*/ 747104 h 6065122"/>
                <a:gd name="connsiteX613" fmla="*/ 6517286 w 9688677"/>
                <a:gd name="connsiteY613" fmla="*/ 828051 h 6065122"/>
                <a:gd name="connsiteX614" fmla="*/ 6555201 w 9688677"/>
                <a:gd name="connsiteY614" fmla="*/ 745750 h 6065122"/>
                <a:gd name="connsiteX615" fmla="*/ 6518038 w 9688677"/>
                <a:gd name="connsiteY615" fmla="*/ 660590 h 6065122"/>
                <a:gd name="connsiteX616" fmla="*/ 6147002 w 9688677"/>
                <a:gd name="connsiteY616" fmla="*/ 660590 h 6065122"/>
                <a:gd name="connsiteX617" fmla="*/ 6107732 w 9688677"/>
                <a:gd name="connsiteY617" fmla="*/ 747104 h 6065122"/>
                <a:gd name="connsiteX618" fmla="*/ 6146250 w 9688677"/>
                <a:gd name="connsiteY618" fmla="*/ 828051 h 6065122"/>
                <a:gd name="connsiteX619" fmla="*/ 6184165 w 9688677"/>
                <a:gd name="connsiteY619" fmla="*/ 745750 h 6065122"/>
                <a:gd name="connsiteX620" fmla="*/ 6147002 w 9688677"/>
                <a:gd name="connsiteY620" fmla="*/ 660590 h 6065122"/>
                <a:gd name="connsiteX621" fmla="*/ 462611 w 9688677"/>
                <a:gd name="connsiteY621" fmla="*/ 660590 h 6065122"/>
                <a:gd name="connsiteX622" fmla="*/ 423341 w 9688677"/>
                <a:gd name="connsiteY622" fmla="*/ 747104 h 6065122"/>
                <a:gd name="connsiteX623" fmla="*/ 461859 w 9688677"/>
                <a:gd name="connsiteY623" fmla="*/ 828051 h 6065122"/>
                <a:gd name="connsiteX624" fmla="*/ 499774 w 9688677"/>
                <a:gd name="connsiteY624" fmla="*/ 745750 h 6065122"/>
                <a:gd name="connsiteX625" fmla="*/ 462611 w 9688677"/>
                <a:gd name="connsiteY625" fmla="*/ 660590 h 6065122"/>
                <a:gd name="connsiteX626" fmla="*/ 87031 w 9688677"/>
                <a:gd name="connsiteY626" fmla="*/ 660590 h 6065122"/>
                <a:gd name="connsiteX627" fmla="*/ 47761 w 9688677"/>
                <a:gd name="connsiteY627" fmla="*/ 747104 h 6065122"/>
                <a:gd name="connsiteX628" fmla="*/ 86279 w 9688677"/>
                <a:gd name="connsiteY628" fmla="*/ 828051 h 6065122"/>
                <a:gd name="connsiteX629" fmla="*/ 124194 w 9688677"/>
                <a:gd name="connsiteY629" fmla="*/ 745750 h 6065122"/>
                <a:gd name="connsiteX630" fmla="*/ 87031 w 9688677"/>
                <a:gd name="connsiteY630" fmla="*/ 660590 h 6065122"/>
                <a:gd name="connsiteX631" fmla="*/ 6519693 w 9688677"/>
                <a:gd name="connsiteY631" fmla="*/ 632755 h 6065122"/>
                <a:gd name="connsiteX632" fmla="*/ 6590860 w 9688677"/>
                <a:gd name="connsiteY632" fmla="*/ 743343 h 6065122"/>
                <a:gd name="connsiteX633" fmla="*/ 6570774 w 9688677"/>
                <a:gd name="connsiteY633" fmla="*/ 826922 h 6065122"/>
                <a:gd name="connsiteX634" fmla="*/ 6514577 w 9688677"/>
                <a:gd name="connsiteY634" fmla="*/ 855735 h 6065122"/>
                <a:gd name="connsiteX635" fmla="*/ 6461992 w 9688677"/>
                <a:gd name="connsiteY635" fmla="*/ 828201 h 6065122"/>
                <a:gd name="connsiteX636" fmla="*/ 6443109 w 9688677"/>
                <a:gd name="connsiteY636" fmla="*/ 748609 h 6065122"/>
                <a:gd name="connsiteX637" fmla="*/ 6462819 w 9688677"/>
                <a:gd name="connsiteY637" fmla="*/ 662094 h 6065122"/>
                <a:gd name="connsiteX638" fmla="*/ 6519693 w 9688677"/>
                <a:gd name="connsiteY638" fmla="*/ 632755 h 6065122"/>
                <a:gd name="connsiteX639" fmla="*/ 6148657 w 9688677"/>
                <a:gd name="connsiteY639" fmla="*/ 632755 h 6065122"/>
                <a:gd name="connsiteX640" fmla="*/ 6219824 w 9688677"/>
                <a:gd name="connsiteY640" fmla="*/ 743343 h 6065122"/>
                <a:gd name="connsiteX641" fmla="*/ 6199738 w 9688677"/>
                <a:gd name="connsiteY641" fmla="*/ 826922 h 6065122"/>
                <a:gd name="connsiteX642" fmla="*/ 6143541 w 9688677"/>
                <a:gd name="connsiteY642" fmla="*/ 855735 h 6065122"/>
                <a:gd name="connsiteX643" fmla="*/ 6090956 w 9688677"/>
                <a:gd name="connsiteY643" fmla="*/ 828201 h 6065122"/>
                <a:gd name="connsiteX644" fmla="*/ 6072073 w 9688677"/>
                <a:gd name="connsiteY644" fmla="*/ 748609 h 6065122"/>
                <a:gd name="connsiteX645" fmla="*/ 6091783 w 9688677"/>
                <a:gd name="connsiteY645" fmla="*/ 662094 h 6065122"/>
                <a:gd name="connsiteX646" fmla="*/ 6148657 w 9688677"/>
                <a:gd name="connsiteY646" fmla="*/ 632755 h 6065122"/>
                <a:gd name="connsiteX647" fmla="*/ 464267 w 9688677"/>
                <a:gd name="connsiteY647" fmla="*/ 632755 h 6065122"/>
                <a:gd name="connsiteX648" fmla="*/ 535434 w 9688677"/>
                <a:gd name="connsiteY648" fmla="*/ 743343 h 6065122"/>
                <a:gd name="connsiteX649" fmla="*/ 515347 w 9688677"/>
                <a:gd name="connsiteY649" fmla="*/ 826922 h 6065122"/>
                <a:gd name="connsiteX650" fmla="*/ 459150 w 9688677"/>
                <a:gd name="connsiteY650" fmla="*/ 855735 h 6065122"/>
                <a:gd name="connsiteX651" fmla="*/ 406565 w 9688677"/>
                <a:gd name="connsiteY651" fmla="*/ 828201 h 6065122"/>
                <a:gd name="connsiteX652" fmla="*/ 387682 w 9688677"/>
                <a:gd name="connsiteY652" fmla="*/ 748609 h 6065122"/>
                <a:gd name="connsiteX653" fmla="*/ 407392 w 9688677"/>
                <a:gd name="connsiteY653" fmla="*/ 662094 h 6065122"/>
                <a:gd name="connsiteX654" fmla="*/ 464267 w 9688677"/>
                <a:gd name="connsiteY654" fmla="*/ 632755 h 6065122"/>
                <a:gd name="connsiteX655" fmla="*/ 88686 w 9688677"/>
                <a:gd name="connsiteY655" fmla="*/ 632755 h 6065122"/>
                <a:gd name="connsiteX656" fmla="*/ 159853 w 9688677"/>
                <a:gd name="connsiteY656" fmla="*/ 743343 h 6065122"/>
                <a:gd name="connsiteX657" fmla="*/ 139767 w 9688677"/>
                <a:gd name="connsiteY657" fmla="*/ 826922 h 6065122"/>
                <a:gd name="connsiteX658" fmla="*/ 83570 w 9688677"/>
                <a:gd name="connsiteY658" fmla="*/ 855735 h 6065122"/>
                <a:gd name="connsiteX659" fmla="*/ 30985 w 9688677"/>
                <a:gd name="connsiteY659" fmla="*/ 828201 h 6065122"/>
                <a:gd name="connsiteX660" fmla="*/ 12102 w 9688677"/>
                <a:gd name="connsiteY660" fmla="*/ 748609 h 6065122"/>
                <a:gd name="connsiteX661" fmla="*/ 31812 w 9688677"/>
                <a:gd name="connsiteY661" fmla="*/ 662094 h 6065122"/>
                <a:gd name="connsiteX662" fmla="*/ 88686 w 9688677"/>
                <a:gd name="connsiteY662" fmla="*/ 632755 h 6065122"/>
                <a:gd name="connsiteX663" fmla="*/ 6288641 w 9688677"/>
                <a:gd name="connsiteY663" fmla="*/ 356082 h 6065122"/>
                <a:gd name="connsiteX664" fmla="*/ 6249371 w 9688677"/>
                <a:gd name="connsiteY664" fmla="*/ 442596 h 6065122"/>
                <a:gd name="connsiteX665" fmla="*/ 6287889 w 9688677"/>
                <a:gd name="connsiteY665" fmla="*/ 523543 h 6065122"/>
                <a:gd name="connsiteX666" fmla="*/ 6325804 w 9688677"/>
                <a:gd name="connsiteY666" fmla="*/ 441242 h 6065122"/>
                <a:gd name="connsiteX667" fmla="*/ 6288641 w 9688677"/>
                <a:gd name="connsiteY667" fmla="*/ 356082 h 6065122"/>
                <a:gd name="connsiteX668" fmla="*/ 225230 w 9688677"/>
                <a:gd name="connsiteY668" fmla="*/ 356082 h 6065122"/>
                <a:gd name="connsiteX669" fmla="*/ 185960 w 9688677"/>
                <a:gd name="connsiteY669" fmla="*/ 442596 h 6065122"/>
                <a:gd name="connsiteX670" fmla="*/ 224478 w 9688677"/>
                <a:gd name="connsiteY670" fmla="*/ 523543 h 6065122"/>
                <a:gd name="connsiteX671" fmla="*/ 262394 w 9688677"/>
                <a:gd name="connsiteY671" fmla="*/ 441242 h 6065122"/>
                <a:gd name="connsiteX672" fmla="*/ 225230 w 9688677"/>
                <a:gd name="connsiteY672" fmla="*/ 356082 h 6065122"/>
                <a:gd name="connsiteX673" fmla="*/ 6290296 w 9688677"/>
                <a:gd name="connsiteY673" fmla="*/ 328247 h 6065122"/>
                <a:gd name="connsiteX674" fmla="*/ 6361463 w 9688677"/>
                <a:gd name="connsiteY674" fmla="*/ 438834 h 6065122"/>
                <a:gd name="connsiteX675" fmla="*/ 6341377 w 9688677"/>
                <a:gd name="connsiteY675" fmla="*/ 522414 h 6065122"/>
                <a:gd name="connsiteX676" fmla="*/ 6285180 w 9688677"/>
                <a:gd name="connsiteY676" fmla="*/ 551227 h 6065122"/>
                <a:gd name="connsiteX677" fmla="*/ 6232595 w 9688677"/>
                <a:gd name="connsiteY677" fmla="*/ 523693 h 6065122"/>
                <a:gd name="connsiteX678" fmla="*/ 6213712 w 9688677"/>
                <a:gd name="connsiteY678" fmla="*/ 444101 h 6065122"/>
                <a:gd name="connsiteX679" fmla="*/ 6233422 w 9688677"/>
                <a:gd name="connsiteY679" fmla="*/ 357586 h 6065122"/>
                <a:gd name="connsiteX680" fmla="*/ 6290296 w 9688677"/>
                <a:gd name="connsiteY680" fmla="*/ 328247 h 6065122"/>
                <a:gd name="connsiteX681" fmla="*/ 226885 w 9688677"/>
                <a:gd name="connsiteY681" fmla="*/ 328247 h 6065122"/>
                <a:gd name="connsiteX682" fmla="*/ 298052 w 9688677"/>
                <a:gd name="connsiteY682" fmla="*/ 438834 h 6065122"/>
                <a:gd name="connsiteX683" fmla="*/ 277966 w 9688677"/>
                <a:gd name="connsiteY683" fmla="*/ 522414 h 6065122"/>
                <a:gd name="connsiteX684" fmla="*/ 221770 w 9688677"/>
                <a:gd name="connsiteY684" fmla="*/ 551227 h 6065122"/>
                <a:gd name="connsiteX685" fmla="*/ 169185 w 9688677"/>
                <a:gd name="connsiteY685" fmla="*/ 523693 h 6065122"/>
                <a:gd name="connsiteX686" fmla="*/ 150302 w 9688677"/>
                <a:gd name="connsiteY686" fmla="*/ 444101 h 6065122"/>
                <a:gd name="connsiteX687" fmla="*/ 170011 w 9688677"/>
                <a:gd name="connsiteY687" fmla="*/ 357586 h 6065122"/>
                <a:gd name="connsiteX688" fmla="*/ 226885 w 9688677"/>
                <a:gd name="connsiteY688" fmla="*/ 328247 h 6065122"/>
                <a:gd name="connsiteX689" fmla="*/ 9615855 w 9688677"/>
                <a:gd name="connsiteY689" fmla="*/ 27835 h 6065122"/>
                <a:gd name="connsiteX690" fmla="*/ 9576585 w 9688677"/>
                <a:gd name="connsiteY690" fmla="*/ 114349 h 6065122"/>
                <a:gd name="connsiteX691" fmla="*/ 9615103 w 9688677"/>
                <a:gd name="connsiteY691" fmla="*/ 195295 h 6065122"/>
                <a:gd name="connsiteX692" fmla="*/ 9653018 w 9688677"/>
                <a:gd name="connsiteY692" fmla="*/ 112995 h 6065122"/>
                <a:gd name="connsiteX693" fmla="*/ 9615855 w 9688677"/>
                <a:gd name="connsiteY693" fmla="*/ 27835 h 6065122"/>
                <a:gd name="connsiteX694" fmla="*/ 9255253 w 9688677"/>
                <a:gd name="connsiteY694" fmla="*/ 27835 h 6065122"/>
                <a:gd name="connsiteX695" fmla="*/ 9215983 w 9688677"/>
                <a:gd name="connsiteY695" fmla="*/ 114349 h 6065122"/>
                <a:gd name="connsiteX696" fmla="*/ 9254501 w 9688677"/>
                <a:gd name="connsiteY696" fmla="*/ 195295 h 6065122"/>
                <a:gd name="connsiteX697" fmla="*/ 9292416 w 9688677"/>
                <a:gd name="connsiteY697" fmla="*/ 112995 h 6065122"/>
                <a:gd name="connsiteX698" fmla="*/ 9255253 w 9688677"/>
                <a:gd name="connsiteY698" fmla="*/ 27835 h 6065122"/>
                <a:gd name="connsiteX699" fmla="*/ 3561510 w 9688677"/>
                <a:gd name="connsiteY699" fmla="*/ 27835 h 6065122"/>
                <a:gd name="connsiteX700" fmla="*/ 3522241 w 9688677"/>
                <a:gd name="connsiteY700" fmla="*/ 114349 h 6065122"/>
                <a:gd name="connsiteX701" fmla="*/ 3560758 w 9688677"/>
                <a:gd name="connsiteY701" fmla="*/ 195295 h 6065122"/>
                <a:gd name="connsiteX702" fmla="*/ 3598674 w 9688677"/>
                <a:gd name="connsiteY702" fmla="*/ 112995 h 6065122"/>
                <a:gd name="connsiteX703" fmla="*/ 3561510 w 9688677"/>
                <a:gd name="connsiteY703" fmla="*/ 27835 h 6065122"/>
                <a:gd name="connsiteX704" fmla="*/ 3196497 w 9688677"/>
                <a:gd name="connsiteY704" fmla="*/ 27835 h 6065122"/>
                <a:gd name="connsiteX705" fmla="*/ 3157228 w 9688677"/>
                <a:gd name="connsiteY705" fmla="*/ 114349 h 6065122"/>
                <a:gd name="connsiteX706" fmla="*/ 3195745 w 9688677"/>
                <a:gd name="connsiteY706" fmla="*/ 195295 h 6065122"/>
                <a:gd name="connsiteX707" fmla="*/ 3233661 w 9688677"/>
                <a:gd name="connsiteY707" fmla="*/ 112995 h 6065122"/>
                <a:gd name="connsiteX708" fmla="*/ 3196497 w 9688677"/>
                <a:gd name="connsiteY708" fmla="*/ 27835 h 6065122"/>
                <a:gd name="connsiteX709" fmla="*/ 9617510 w 9688677"/>
                <a:gd name="connsiteY709" fmla="*/ 0 h 6065122"/>
                <a:gd name="connsiteX710" fmla="*/ 9688677 w 9688677"/>
                <a:gd name="connsiteY710" fmla="*/ 110587 h 6065122"/>
                <a:gd name="connsiteX711" fmla="*/ 9668591 w 9688677"/>
                <a:gd name="connsiteY711" fmla="*/ 194167 h 6065122"/>
                <a:gd name="connsiteX712" fmla="*/ 9612394 w 9688677"/>
                <a:gd name="connsiteY712" fmla="*/ 222980 h 6065122"/>
                <a:gd name="connsiteX713" fmla="*/ 9559809 w 9688677"/>
                <a:gd name="connsiteY713" fmla="*/ 195446 h 6065122"/>
                <a:gd name="connsiteX714" fmla="*/ 9540926 w 9688677"/>
                <a:gd name="connsiteY714" fmla="*/ 115854 h 6065122"/>
                <a:gd name="connsiteX715" fmla="*/ 9560636 w 9688677"/>
                <a:gd name="connsiteY715" fmla="*/ 29339 h 6065122"/>
                <a:gd name="connsiteX716" fmla="*/ 9617510 w 9688677"/>
                <a:gd name="connsiteY716" fmla="*/ 0 h 6065122"/>
                <a:gd name="connsiteX717" fmla="*/ 9256908 w 9688677"/>
                <a:gd name="connsiteY717" fmla="*/ 0 h 6065122"/>
                <a:gd name="connsiteX718" fmla="*/ 9328075 w 9688677"/>
                <a:gd name="connsiteY718" fmla="*/ 110587 h 6065122"/>
                <a:gd name="connsiteX719" fmla="*/ 9307989 w 9688677"/>
                <a:gd name="connsiteY719" fmla="*/ 194167 h 6065122"/>
                <a:gd name="connsiteX720" fmla="*/ 9251792 w 9688677"/>
                <a:gd name="connsiteY720" fmla="*/ 222980 h 6065122"/>
                <a:gd name="connsiteX721" fmla="*/ 9199207 w 9688677"/>
                <a:gd name="connsiteY721" fmla="*/ 195446 h 6065122"/>
                <a:gd name="connsiteX722" fmla="*/ 9180324 w 9688677"/>
                <a:gd name="connsiteY722" fmla="*/ 115854 h 6065122"/>
                <a:gd name="connsiteX723" fmla="*/ 9200034 w 9688677"/>
                <a:gd name="connsiteY723" fmla="*/ 29339 h 6065122"/>
                <a:gd name="connsiteX724" fmla="*/ 9256908 w 9688677"/>
                <a:gd name="connsiteY724" fmla="*/ 0 h 6065122"/>
                <a:gd name="connsiteX725" fmla="*/ 3563165 w 9688677"/>
                <a:gd name="connsiteY725" fmla="*/ 0 h 6065122"/>
                <a:gd name="connsiteX726" fmla="*/ 3634333 w 9688677"/>
                <a:gd name="connsiteY726" fmla="*/ 110587 h 6065122"/>
                <a:gd name="connsiteX727" fmla="*/ 3614247 w 9688677"/>
                <a:gd name="connsiteY727" fmla="*/ 194167 h 6065122"/>
                <a:gd name="connsiteX728" fmla="*/ 3558050 w 9688677"/>
                <a:gd name="connsiteY728" fmla="*/ 222980 h 6065122"/>
                <a:gd name="connsiteX729" fmla="*/ 3505464 w 9688677"/>
                <a:gd name="connsiteY729" fmla="*/ 195446 h 6065122"/>
                <a:gd name="connsiteX730" fmla="*/ 3486582 w 9688677"/>
                <a:gd name="connsiteY730" fmla="*/ 115854 h 6065122"/>
                <a:gd name="connsiteX731" fmla="*/ 3506292 w 9688677"/>
                <a:gd name="connsiteY731" fmla="*/ 29339 h 6065122"/>
                <a:gd name="connsiteX732" fmla="*/ 3563165 w 9688677"/>
                <a:gd name="connsiteY732" fmla="*/ 0 h 6065122"/>
                <a:gd name="connsiteX733" fmla="*/ 3198152 w 9688677"/>
                <a:gd name="connsiteY733" fmla="*/ 0 h 6065122"/>
                <a:gd name="connsiteX734" fmla="*/ 3269320 w 9688677"/>
                <a:gd name="connsiteY734" fmla="*/ 110587 h 6065122"/>
                <a:gd name="connsiteX735" fmla="*/ 3249234 w 9688677"/>
                <a:gd name="connsiteY735" fmla="*/ 194167 h 6065122"/>
                <a:gd name="connsiteX736" fmla="*/ 3193037 w 9688677"/>
                <a:gd name="connsiteY736" fmla="*/ 222980 h 6065122"/>
                <a:gd name="connsiteX737" fmla="*/ 3140451 w 9688677"/>
                <a:gd name="connsiteY737" fmla="*/ 195446 h 6065122"/>
                <a:gd name="connsiteX738" fmla="*/ 3121569 w 9688677"/>
                <a:gd name="connsiteY738" fmla="*/ 115854 h 6065122"/>
                <a:gd name="connsiteX739" fmla="*/ 3141279 w 9688677"/>
                <a:gd name="connsiteY739" fmla="*/ 29339 h 6065122"/>
                <a:gd name="connsiteX740" fmla="*/ 3198152 w 9688677"/>
                <a:gd name="connsiteY740" fmla="*/ 0 h 606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Lst>
              <a:rect l="l" t="t" r="r" b="b"/>
              <a:pathLst>
                <a:path w="9688677" h="6065122">
                  <a:moveTo>
                    <a:pt x="3144402" y="5869977"/>
                  </a:moveTo>
                  <a:cubicBezTo>
                    <a:pt x="3118222" y="5869977"/>
                    <a:pt x="3105132" y="5898815"/>
                    <a:pt x="3105132" y="5956491"/>
                  </a:cubicBezTo>
                  <a:cubicBezTo>
                    <a:pt x="3105132" y="6010455"/>
                    <a:pt x="3117971" y="6037438"/>
                    <a:pt x="3143650" y="6037438"/>
                  </a:cubicBezTo>
                  <a:cubicBezTo>
                    <a:pt x="3168927" y="6037438"/>
                    <a:pt x="3181565" y="6010004"/>
                    <a:pt x="3181565" y="5955137"/>
                  </a:cubicBezTo>
                  <a:cubicBezTo>
                    <a:pt x="3181565" y="5898364"/>
                    <a:pt x="3169177" y="5869977"/>
                    <a:pt x="3144402" y="5869977"/>
                  </a:cubicBezTo>
                  <a:close/>
                  <a:moveTo>
                    <a:pt x="3146057" y="5842142"/>
                  </a:moveTo>
                  <a:cubicBezTo>
                    <a:pt x="3193502" y="5842142"/>
                    <a:pt x="3217224" y="5879005"/>
                    <a:pt x="3217224" y="5952730"/>
                  </a:cubicBezTo>
                  <a:cubicBezTo>
                    <a:pt x="3217224" y="5989241"/>
                    <a:pt x="3210529" y="6017101"/>
                    <a:pt x="3197138" y="6036309"/>
                  </a:cubicBezTo>
                  <a:cubicBezTo>
                    <a:pt x="3183747" y="6055518"/>
                    <a:pt x="3165015" y="6065122"/>
                    <a:pt x="3140941" y="6065122"/>
                  </a:cubicBezTo>
                  <a:cubicBezTo>
                    <a:pt x="3118473" y="6065122"/>
                    <a:pt x="3100944" y="6055944"/>
                    <a:pt x="3088356" y="6037588"/>
                  </a:cubicBezTo>
                  <a:cubicBezTo>
                    <a:pt x="3075767" y="6019232"/>
                    <a:pt x="3069473" y="5992701"/>
                    <a:pt x="3069473" y="5957996"/>
                  </a:cubicBezTo>
                  <a:cubicBezTo>
                    <a:pt x="3069473" y="5919879"/>
                    <a:pt x="3076043" y="5891042"/>
                    <a:pt x="3089183" y="5871482"/>
                  </a:cubicBezTo>
                  <a:cubicBezTo>
                    <a:pt x="3102324" y="5851922"/>
                    <a:pt x="3121281" y="5842142"/>
                    <a:pt x="3146057" y="5842142"/>
                  </a:cubicBezTo>
                  <a:close/>
                  <a:moveTo>
                    <a:pt x="9245467" y="5532347"/>
                  </a:moveTo>
                  <a:cubicBezTo>
                    <a:pt x="9219287" y="5532347"/>
                    <a:pt x="9206197" y="5561185"/>
                    <a:pt x="9206197" y="5618861"/>
                  </a:cubicBezTo>
                  <a:cubicBezTo>
                    <a:pt x="9206197" y="5672825"/>
                    <a:pt x="9219036" y="5699808"/>
                    <a:pt x="9244715" y="5699808"/>
                  </a:cubicBezTo>
                  <a:cubicBezTo>
                    <a:pt x="9269991" y="5699808"/>
                    <a:pt x="9282630" y="5672374"/>
                    <a:pt x="9282630" y="5617507"/>
                  </a:cubicBezTo>
                  <a:cubicBezTo>
                    <a:pt x="9282630" y="5560734"/>
                    <a:pt x="9270242" y="5532347"/>
                    <a:pt x="9245467" y="5532347"/>
                  </a:cubicBezTo>
                  <a:close/>
                  <a:moveTo>
                    <a:pt x="3144402" y="5532347"/>
                  </a:moveTo>
                  <a:cubicBezTo>
                    <a:pt x="3118222" y="5532347"/>
                    <a:pt x="3105132" y="5561184"/>
                    <a:pt x="3105132" y="5618860"/>
                  </a:cubicBezTo>
                  <a:cubicBezTo>
                    <a:pt x="3105132" y="5672825"/>
                    <a:pt x="3117971" y="5699807"/>
                    <a:pt x="3143650" y="5699807"/>
                  </a:cubicBezTo>
                  <a:cubicBezTo>
                    <a:pt x="3168927" y="5699807"/>
                    <a:pt x="3181565" y="5672373"/>
                    <a:pt x="3181565" y="5617506"/>
                  </a:cubicBezTo>
                  <a:cubicBezTo>
                    <a:pt x="3181565" y="5560733"/>
                    <a:pt x="3169177" y="5532347"/>
                    <a:pt x="3144402" y="5532347"/>
                  </a:cubicBezTo>
                  <a:close/>
                  <a:moveTo>
                    <a:pt x="9247122" y="5504512"/>
                  </a:moveTo>
                  <a:cubicBezTo>
                    <a:pt x="9294566" y="5504512"/>
                    <a:pt x="9318289" y="5541375"/>
                    <a:pt x="9318289" y="5615100"/>
                  </a:cubicBezTo>
                  <a:cubicBezTo>
                    <a:pt x="9318289" y="5651611"/>
                    <a:pt x="9311593" y="5679471"/>
                    <a:pt x="9298203" y="5698679"/>
                  </a:cubicBezTo>
                  <a:cubicBezTo>
                    <a:pt x="9284812" y="5717888"/>
                    <a:pt x="9266080" y="5727492"/>
                    <a:pt x="9242006" y="5727492"/>
                  </a:cubicBezTo>
                  <a:cubicBezTo>
                    <a:pt x="9219538" y="5727492"/>
                    <a:pt x="9202009" y="5718314"/>
                    <a:pt x="9189421" y="5699958"/>
                  </a:cubicBezTo>
                  <a:cubicBezTo>
                    <a:pt x="9176832" y="5681602"/>
                    <a:pt x="9170538" y="5655071"/>
                    <a:pt x="9170538" y="5620366"/>
                  </a:cubicBezTo>
                  <a:cubicBezTo>
                    <a:pt x="9170538" y="5582249"/>
                    <a:pt x="9177108" y="5553412"/>
                    <a:pt x="9190248" y="5533852"/>
                  </a:cubicBezTo>
                  <a:cubicBezTo>
                    <a:pt x="9203389" y="5514292"/>
                    <a:pt x="9222346" y="5504512"/>
                    <a:pt x="9247122" y="5504512"/>
                  </a:cubicBezTo>
                  <a:close/>
                  <a:moveTo>
                    <a:pt x="3146057" y="5504512"/>
                  </a:moveTo>
                  <a:cubicBezTo>
                    <a:pt x="3193502" y="5504512"/>
                    <a:pt x="3217224" y="5541374"/>
                    <a:pt x="3217224" y="5615099"/>
                  </a:cubicBezTo>
                  <a:cubicBezTo>
                    <a:pt x="3217224" y="5651610"/>
                    <a:pt x="3210529" y="5679470"/>
                    <a:pt x="3197138" y="5698679"/>
                  </a:cubicBezTo>
                  <a:cubicBezTo>
                    <a:pt x="3183747" y="5717887"/>
                    <a:pt x="3165015" y="5727492"/>
                    <a:pt x="3140941" y="5727492"/>
                  </a:cubicBezTo>
                  <a:cubicBezTo>
                    <a:pt x="3118473" y="5727492"/>
                    <a:pt x="3100944" y="5718314"/>
                    <a:pt x="3088356" y="5699958"/>
                  </a:cubicBezTo>
                  <a:cubicBezTo>
                    <a:pt x="3075767" y="5681602"/>
                    <a:pt x="3069473" y="5655071"/>
                    <a:pt x="3069473" y="5620365"/>
                  </a:cubicBezTo>
                  <a:cubicBezTo>
                    <a:pt x="3069473" y="5582249"/>
                    <a:pt x="3076043" y="5553411"/>
                    <a:pt x="3089183" y="5533851"/>
                  </a:cubicBezTo>
                  <a:cubicBezTo>
                    <a:pt x="3102324" y="5514292"/>
                    <a:pt x="3121281" y="5504512"/>
                    <a:pt x="3146057" y="5504512"/>
                  </a:cubicBezTo>
                  <a:close/>
                  <a:moveTo>
                    <a:pt x="9245467" y="5184876"/>
                  </a:moveTo>
                  <a:cubicBezTo>
                    <a:pt x="9219287" y="5184876"/>
                    <a:pt x="9206197" y="5213714"/>
                    <a:pt x="9206197" y="5271390"/>
                  </a:cubicBezTo>
                  <a:cubicBezTo>
                    <a:pt x="9206197" y="5325354"/>
                    <a:pt x="9219036" y="5352337"/>
                    <a:pt x="9244715" y="5352337"/>
                  </a:cubicBezTo>
                  <a:cubicBezTo>
                    <a:pt x="9269991" y="5352337"/>
                    <a:pt x="9282630" y="5324903"/>
                    <a:pt x="9282630" y="5270036"/>
                  </a:cubicBezTo>
                  <a:cubicBezTo>
                    <a:pt x="9282630" y="5213263"/>
                    <a:pt x="9270242" y="5184876"/>
                    <a:pt x="9245467" y="5184876"/>
                  </a:cubicBezTo>
                  <a:close/>
                  <a:moveTo>
                    <a:pt x="3144402" y="5184876"/>
                  </a:moveTo>
                  <a:cubicBezTo>
                    <a:pt x="3118222" y="5184876"/>
                    <a:pt x="3105132" y="5213713"/>
                    <a:pt x="3105132" y="5271389"/>
                  </a:cubicBezTo>
                  <a:cubicBezTo>
                    <a:pt x="3105132" y="5325354"/>
                    <a:pt x="3117971" y="5352336"/>
                    <a:pt x="3143650" y="5352336"/>
                  </a:cubicBezTo>
                  <a:cubicBezTo>
                    <a:pt x="3168927" y="5352336"/>
                    <a:pt x="3181565" y="5324902"/>
                    <a:pt x="3181565" y="5270035"/>
                  </a:cubicBezTo>
                  <a:cubicBezTo>
                    <a:pt x="3181565" y="5213262"/>
                    <a:pt x="3169177" y="5184876"/>
                    <a:pt x="3144402" y="5184876"/>
                  </a:cubicBezTo>
                  <a:close/>
                  <a:moveTo>
                    <a:pt x="9247122" y="5157041"/>
                  </a:moveTo>
                  <a:cubicBezTo>
                    <a:pt x="9294566" y="5157041"/>
                    <a:pt x="9318289" y="5193904"/>
                    <a:pt x="9318289" y="5267629"/>
                  </a:cubicBezTo>
                  <a:cubicBezTo>
                    <a:pt x="9318289" y="5304140"/>
                    <a:pt x="9311593" y="5332000"/>
                    <a:pt x="9298203" y="5351208"/>
                  </a:cubicBezTo>
                  <a:cubicBezTo>
                    <a:pt x="9284812" y="5370417"/>
                    <a:pt x="9266080" y="5380021"/>
                    <a:pt x="9242006" y="5380021"/>
                  </a:cubicBezTo>
                  <a:cubicBezTo>
                    <a:pt x="9219538" y="5380021"/>
                    <a:pt x="9202009" y="5370843"/>
                    <a:pt x="9189421" y="5352487"/>
                  </a:cubicBezTo>
                  <a:cubicBezTo>
                    <a:pt x="9176832" y="5334131"/>
                    <a:pt x="9170538" y="5307600"/>
                    <a:pt x="9170538" y="5272895"/>
                  </a:cubicBezTo>
                  <a:cubicBezTo>
                    <a:pt x="9170538" y="5234778"/>
                    <a:pt x="9177108" y="5205941"/>
                    <a:pt x="9190248" y="5186381"/>
                  </a:cubicBezTo>
                  <a:cubicBezTo>
                    <a:pt x="9203389" y="5166821"/>
                    <a:pt x="9222346" y="5157041"/>
                    <a:pt x="9247122" y="5157041"/>
                  </a:cubicBezTo>
                  <a:close/>
                  <a:moveTo>
                    <a:pt x="3146057" y="5157041"/>
                  </a:moveTo>
                  <a:cubicBezTo>
                    <a:pt x="3193502" y="5157041"/>
                    <a:pt x="3217224" y="5193903"/>
                    <a:pt x="3217224" y="5267628"/>
                  </a:cubicBezTo>
                  <a:cubicBezTo>
                    <a:pt x="3217224" y="5304139"/>
                    <a:pt x="3210529" y="5331999"/>
                    <a:pt x="3197138" y="5351208"/>
                  </a:cubicBezTo>
                  <a:cubicBezTo>
                    <a:pt x="3183747" y="5370416"/>
                    <a:pt x="3165015" y="5380021"/>
                    <a:pt x="3140941" y="5380021"/>
                  </a:cubicBezTo>
                  <a:cubicBezTo>
                    <a:pt x="3118473" y="5380021"/>
                    <a:pt x="3100944" y="5370843"/>
                    <a:pt x="3088356" y="5352487"/>
                  </a:cubicBezTo>
                  <a:cubicBezTo>
                    <a:pt x="3075767" y="5334131"/>
                    <a:pt x="3069473" y="5307600"/>
                    <a:pt x="3069473" y="5272894"/>
                  </a:cubicBezTo>
                  <a:cubicBezTo>
                    <a:pt x="3069473" y="5234778"/>
                    <a:pt x="3076043" y="5205940"/>
                    <a:pt x="3089183" y="5186380"/>
                  </a:cubicBezTo>
                  <a:cubicBezTo>
                    <a:pt x="3102324" y="5166821"/>
                    <a:pt x="3121281" y="5157041"/>
                    <a:pt x="3146057" y="5157041"/>
                  </a:cubicBezTo>
                  <a:close/>
                  <a:moveTo>
                    <a:pt x="9245467" y="4871806"/>
                  </a:moveTo>
                  <a:cubicBezTo>
                    <a:pt x="9219287" y="4871806"/>
                    <a:pt x="9206197" y="4900643"/>
                    <a:pt x="9206197" y="4958319"/>
                  </a:cubicBezTo>
                  <a:cubicBezTo>
                    <a:pt x="9206197" y="5012284"/>
                    <a:pt x="9219036" y="5039266"/>
                    <a:pt x="9244715" y="5039266"/>
                  </a:cubicBezTo>
                  <a:cubicBezTo>
                    <a:pt x="9269991" y="5039266"/>
                    <a:pt x="9282630" y="5011832"/>
                    <a:pt x="9282630" y="4956965"/>
                  </a:cubicBezTo>
                  <a:cubicBezTo>
                    <a:pt x="9282630" y="4900192"/>
                    <a:pt x="9270242" y="4871806"/>
                    <a:pt x="9245467" y="4871806"/>
                  </a:cubicBezTo>
                  <a:close/>
                  <a:moveTo>
                    <a:pt x="3144402" y="4871806"/>
                  </a:moveTo>
                  <a:cubicBezTo>
                    <a:pt x="3118222" y="4871806"/>
                    <a:pt x="3105132" y="4900643"/>
                    <a:pt x="3105132" y="4958319"/>
                  </a:cubicBezTo>
                  <a:cubicBezTo>
                    <a:pt x="3105132" y="5012284"/>
                    <a:pt x="3117971" y="5039266"/>
                    <a:pt x="3143650" y="5039266"/>
                  </a:cubicBezTo>
                  <a:cubicBezTo>
                    <a:pt x="3168927" y="5039266"/>
                    <a:pt x="3181565" y="5011832"/>
                    <a:pt x="3181565" y="4956965"/>
                  </a:cubicBezTo>
                  <a:cubicBezTo>
                    <a:pt x="3181565" y="4900192"/>
                    <a:pt x="3169177" y="4871806"/>
                    <a:pt x="3144402" y="4871806"/>
                  </a:cubicBezTo>
                  <a:close/>
                  <a:moveTo>
                    <a:pt x="9247122" y="4843971"/>
                  </a:moveTo>
                  <a:cubicBezTo>
                    <a:pt x="9294566" y="4843971"/>
                    <a:pt x="9318289" y="4880833"/>
                    <a:pt x="9318289" y="4954558"/>
                  </a:cubicBezTo>
                  <a:cubicBezTo>
                    <a:pt x="9318289" y="4991069"/>
                    <a:pt x="9311593" y="5018929"/>
                    <a:pt x="9298203" y="5038138"/>
                  </a:cubicBezTo>
                  <a:cubicBezTo>
                    <a:pt x="9284812" y="5057346"/>
                    <a:pt x="9266080" y="5066951"/>
                    <a:pt x="9242006" y="5066951"/>
                  </a:cubicBezTo>
                  <a:cubicBezTo>
                    <a:pt x="9219538" y="5066951"/>
                    <a:pt x="9202009" y="5057773"/>
                    <a:pt x="9189421" y="5039417"/>
                  </a:cubicBezTo>
                  <a:cubicBezTo>
                    <a:pt x="9176832" y="5021061"/>
                    <a:pt x="9170538" y="4994530"/>
                    <a:pt x="9170538" y="4959824"/>
                  </a:cubicBezTo>
                  <a:cubicBezTo>
                    <a:pt x="9170538" y="4921708"/>
                    <a:pt x="9177108" y="4892870"/>
                    <a:pt x="9190248" y="4873310"/>
                  </a:cubicBezTo>
                  <a:cubicBezTo>
                    <a:pt x="9203389" y="4853751"/>
                    <a:pt x="9222346" y="4843971"/>
                    <a:pt x="9247122" y="4843971"/>
                  </a:cubicBezTo>
                  <a:close/>
                  <a:moveTo>
                    <a:pt x="3146057" y="4843971"/>
                  </a:moveTo>
                  <a:cubicBezTo>
                    <a:pt x="3193502" y="4843971"/>
                    <a:pt x="3217224" y="4880833"/>
                    <a:pt x="3217224" y="4954558"/>
                  </a:cubicBezTo>
                  <a:cubicBezTo>
                    <a:pt x="3217224" y="4991069"/>
                    <a:pt x="3210529" y="5018929"/>
                    <a:pt x="3197138" y="5038138"/>
                  </a:cubicBezTo>
                  <a:cubicBezTo>
                    <a:pt x="3183747" y="5057346"/>
                    <a:pt x="3165015" y="5066951"/>
                    <a:pt x="3140941" y="5066951"/>
                  </a:cubicBezTo>
                  <a:cubicBezTo>
                    <a:pt x="3118473" y="5066951"/>
                    <a:pt x="3100944" y="5057773"/>
                    <a:pt x="3088356" y="5039417"/>
                  </a:cubicBezTo>
                  <a:cubicBezTo>
                    <a:pt x="3075767" y="5021061"/>
                    <a:pt x="3069473" y="4994530"/>
                    <a:pt x="3069473" y="4959824"/>
                  </a:cubicBezTo>
                  <a:cubicBezTo>
                    <a:pt x="3069473" y="4921708"/>
                    <a:pt x="3076043" y="4892870"/>
                    <a:pt x="3089183" y="4873310"/>
                  </a:cubicBezTo>
                  <a:cubicBezTo>
                    <a:pt x="3102324" y="4853751"/>
                    <a:pt x="3121281" y="4843971"/>
                    <a:pt x="3146057" y="4843971"/>
                  </a:cubicBezTo>
                  <a:close/>
                  <a:moveTo>
                    <a:pt x="9598862" y="4534176"/>
                  </a:moveTo>
                  <a:cubicBezTo>
                    <a:pt x="9572682" y="4534176"/>
                    <a:pt x="9559592" y="4563013"/>
                    <a:pt x="9559592" y="4620689"/>
                  </a:cubicBezTo>
                  <a:cubicBezTo>
                    <a:pt x="9559592" y="4674654"/>
                    <a:pt x="9572431" y="4701636"/>
                    <a:pt x="9598110" y="4701636"/>
                  </a:cubicBezTo>
                  <a:cubicBezTo>
                    <a:pt x="9623386" y="4701636"/>
                    <a:pt x="9636025" y="4674202"/>
                    <a:pt x="9636025" y="4619335"/>
                  </a:cubicBezTo>
                  <a:cubicBezTo>
                    <a:pt x="9636025" y="4562562"/>
                    <a:pt x="9623637" y="4534176"/>
                    <a:pt x="9598862" y="4534176"/>
                  </a:cubicBezTo>
                  <a:close/>
                  <a:moveTo>
                    <a:pt x="9245467" y="4534176"/>
                  </a:moveTo>
                  <a:cubicBezTo>
                    <a:pt x="9219287" y="4534176"/>
                    <a:pt x="9206197" y="4563013"/>
                    <a:pt x="9206197" y="4620689"/>
                  </a:cubicBezTo>
                  <a:cubicBezTo>
                    <a:pt x="9206197" y="4674654"/>
                    <a:pt x="9219036" y="4701636"/>
                    <a:pt x="9244715" y="4701636"/>
                  </a:cubicBezTo>
                  <a:cubicBezTo>
                    <a:pt x="9269991" y="4701636"/>
                    <a:pt x="9282630" y="4674202"/>
                    <a:pt x="9282630" y="4619335"/>
                  </a:cubicBezTo>
                  <a:cubicBezTo>
                    <a:pt x="9282630" y="4562562"/>
                    <a:pt x="9270242" y="4534176"/>
                    <a:pt x="9245467" y="4534176"/>
                  </a:cubicBezTo>
                  <a:close/>
                  <a:moveTo>
                    <a:pt x="3501344" y="4534176"/>
                  </a:moveTo>
                  <a:cubicBezTo>
                    <a:pt x="3475164" y="4534176"/>
                    <a:pt x="3462074" y="4563013"/>
                    <a:pt x="3462074" y="4620689"/>
                  </a:cubicBezTo>
                  <a:cubicBezTo>
                    <a:pt x="3462074" y="4674654"/>
                    <a:pt x="3474913" y="4701636"/>
                    <a:pt x="3500592" y="4701636"/>
                  </a:cubicBezTo>
                  <a:cubicBezTo>
                    <a:pt x="3525869" y="4701636"/>
                    <a:pt x="3538507" y="4674202"/>
                    <a:pt x="3538507" y="4619335"/>
                  </a:cubicBezTo>
                  <a:cubicBezTo>
                    <a:pt x="3538507" y="4562562"/>
                    <a:pt x="3526119" y="4534176"/>
                    <a:pt x="3501344" y="4534176"/>
                  </a:cubicBezTo>
                  <a:close/>
                  <a:moveTo>
                    <a:pt x="3144402" y="4534176"/>
                  </a:moveTo>
                  <a:cubicBezTo>
                    <a:pt x="3118222" y="4534176"/>
                    <a:pt x="3105132" y="4563013"/>
                    <a:pt x="3105132" y="4620689"/>
                  </a:cubicBezTo>
                  <a:cubicBezTo>
                    <a:pt x="3105132" y="4674654"/>
                    <a:pt x="3117971" y="4701636"/>
                    <a:pt x="3143650" y="4701636"/>
                  </a:cubicBezTo>
                  <a:cubicBezTo>
                    <a:pt x="3168927" y="4701636"/>
                    <a:pt x="3181565" y="4674202"/>
                    <a:pt x="3181565" y="4619335"/>
                  </a:cubicBezTo>
                  <a:cubicBezTo>
                    <a:pt x="3181565" y="4562562"/>
                    <a:pt x="3169177" y="4534176"/>
                    <a:pt x="3144402" y="4534176"/>
                  </a:cubicBezTo>
                  <a:close/>
                  <a:moveTo>
                    <a:pt x="9600517" y="4506341"/>
                  </a:moveTo>
                  <a:cubicBezTo>
                    <a:pt x="9647961" y="4506341"/>
                    <a:pt x="9671684" y="4543203"/>
                    <a:pt x="9671684" y="4616928"/>
                  </a:cubicBezTo>
                  <a:cubicBezTo>
                    <a:pt x="9671684" y="4653439"/>
                    <a:pt x="9664988" y="4681299"/>
                    <a:pt x="9651598" y="4700508"/>
                  </a:cubicBezTo>
                  <a:cubicBezTo>
                    <a:pt x="9638207" y="4719716"/>
                    <a:pt x="9619475" y="4729321"/>
                    <a:pt x="9595401" y="4729321"/>
                  </a:cubicBezTo>
                  <a:cubicBezTo>
                    <a:pt x="9572933" y="4729321"/>
                    <a:pt x="9555404" y="4720143"/>
                    <a:pt x="9542816" y="4701787"/>
                  </a:cubicBezTo>
                  <a:cubicBezTo>
                    <a:pt x="9530227" y="4683431"/>
                    <a:pt x="9523933" y="4656900"/>
                    <a:pt x="9523933" y="4622194"/>
                  </a:cubicBezTo>
                  <a:cubicBezTo>
                    <a:pt x="9523933" y="4584078"/>
                    <a:pt x="9530503" y="4555240"/>
                    <a:pt x="9543643" y="4535680"/>
                  </a:cubicBezTo>
                  <a:cubicBezTo>
                    <a:pt x="9556784" y="4516121"/>
                    <a:pt x="9575741" y="4506341"/>
                    <a:pt x="9600517" y="4506341"/>
                  </a:cubicBezTo>
                  <a:close/>
                  <a:moveTo>
                    <a:pt x="9247122" y="4506341"/>
                  </a:moveTo>
                  <a:cubicBezTo>
                    <a:pt x="9294566" y="4506341"/>
                    <a:pt x="9318289" y="4543203"/>
                    <a:pt x="9318289" y="4616928"/>
                  </a:cubicBezTo>
                  <a:cubicBezTo>
                    <a:pt x="9318289" y="4653439"/>
                    <a:pt x="9311593" y="4681299"/>
                    <a:pt x="9298203" y="4700508"/>
                  </a:cubicBezTo>
                  <a:cubicBezTo>
                    <a:pt x="9284812" y="4719716"/>
                    <a:pt x="9266080" y="4729321"/>
                    <a:pt x="9242006" y="4729321"/>
                  </a:cubicBezTo>
                  <a:cubicBezTo>
                    <a:pt x="9219538" y="4729321"/>
                    <a:pt x="9202009" y="4720143"/>
                    <a:pt x="9189421" y="4701787"/>
                  </a:cubicBezTo>
                  <a:cubicBezTo>
                    <a:pt x="9176832" y="4683431"/>
                    <a:pt x="9170538" y="4656900"/>
                    <a:pt x="9170538" y="4622194"/>
                  </a:cubicBezTo>
                  <a:cubicBezTo>
                    <a:pt x="9170538" y="4584078"/>
                    <a:pt x="9177108" y="4555240"/>
                    <a:pt x="9190248" y="4535680"/>
                  </a:cubicBezTo>
                  <a:cubicBezTo>
                    <a:pt x="9203389" y="4516121"/>
                    <a:pt x="9222346" y="4506341"/>
                    <a:pt x="9247122" y="4506341"/>
                  </a:cubicBezTo>
                  <a:close/>
                  <a:moveTo>
                    <a:pt x="3502999" y="4506341"/>
                  </a:moveTo>
                  <a:cubicBezTo>
                    <a:pt x="3550444" y="4506341"/>
                    <a:pt x="3574166" y="4543203"/>
                    <a:pt x="3574166" y="4616928"/>
                  </a:cubicBezTo>
                  <a:cubicBezTo>
                    <a:pt x="3574166" y="4653439"/>
                    <a:pt x="3567471" y="4681299"/>
                    <a:pt x="3554080" y="4700508"/>
                  </a:cubicBezTo>
                  <a:cubicBezTo>
                    <a:pt x="3540689" y="4719716"/>
                    <a:pt x="3521957" y="4729321"/>
                    <a:pt x="3497883" y="4729321"/>
                  </a:cubicBezTo>
                  <a:cubicBezTo>
                    <a:pt x="3475415" y="4729321"/>
                    <a:pt x="3457886" y="4720143"/>
                    <a:pt x="3445298" y="4701787"/>
                  </a:cubicBezTo>
                  <a:cubicBezTo>
                    <a:pt x="3432709" y="4683431"/>
                    <a:pt x="3426415" y="4656900"/>
                    <a:pt x="3426415" y="4622194"/>
                  </a:cubicBezTo>
                  <a:cubicBezTo>
                    <a:pt x="3426415" y="4584078"/>
                    <a:pt x="3432985" y="4555240"/>
                    <a:pt x="3446125" y="4535680"/>
                  </a:cubicBezTo>
                  <a:cubicBezTo>
                    <a:pt x="3459266" y="4516121"/>
                    <a:pt x="3478223" y="4506341"/>
                    <a:pt x="3502999" y="4506341"/>
                  </a:cubicBezTo>
                  <a:close/>
                  <a:moveTo>
                    <a:pt x="3146057" y="4506341"/>
                  </a:moveTo>
                  <a:cubicBezTo>
                    <a:pt x="3193502" y="4506341"/>
                    <a:pt x="3217224" y="4543203"/>
                    <a:pt x="3217224" y="4616928"/>
                  </a:cubicBezTo>
                  <a:cubicBezTo>
                    <a:pt x="3217224" y="4653439"/>
                    <a:pt x="3210529" y="4681299"/>
                    <a:pt x="3197138" y="4700508"/>
                  </a:cubicBezTo>
                  <a:cubicBezTo>
                    <a:pt x="3183747" y="4719716"/>
                    <a:pt x="3165015" y="4729321"/>
                    <a:pt x="3140941" y="4729321"/>
                  </a:cubicBezTo>
                  <a:cubicBezTo>
                    <a:pt x="3118473" y="4729321"/>
                    <a:pt x="3100944" y="4720143"/>
                    <a:pt x="3088356" y="4701787"/>
                  </a:cubicBezTo>
                  <a:cubicBezTo>
                    <a:pt x="3075767" y="4683431"/>
                    <a:pt x="3069473" y="4656900"/>
                    <a:pt x="3069473" y="4622194"/>
                  </a:cubicBezTo>
                  <a:cubicBezTo>
                    <a:pt x="3069473" y="4584078"/>
                    <a:pt x="3076043" y="4555240"/>
                    <a:pt x="3089183" y="4535680"/>
                  </a:cubicBezTo>
                  <a:cubicBezTo>
                    <a:pt x="3102324" y="4516121"/>
                    <a:pt x="3121281" y="4506341"/>
                    <a:pt x="3146057" y="4506341"/>
                  </a:cubicBezTo>
                  <a:close/>
                  <a:moveTo>
                    <a:pt x="9598862" y="4186705"/>
                  </a:moveTo>
                  <a:cubicBezTo>
                    <a:pt x="9572682" y="4186705"/>
                    <a:pt x="9559592" y="4215542"/>
                    <a:pt x="9559592" y="4273218"/>
                  </a:cubicBezTo>
                  <a:cubicBezTo>
                    <a:pt x="9559592" y="4327183"/>
                    <a:pt x="9572431" y="4354165"/>
                    <a:pt x="9598110" y="4354165"/>
                  </a:cubicBezTo>
                  <a:cubicBezTo>
                    <a:pt x="9623386" y="4354165"/>
                    <a:pt x="9636025" y="4326731"/>
                    <a:pt x="9636025" y="4271864"/>
                  </a:cubicBezTo>
                  <a:cubicBezTo>
                    <a:pt x="9636025" y="4215091"/>
                    <a:pt x="9623637" y="4186705"/>
                    <a:pt x="9598862" y="4186705"/>
                  </a:cubicBezTo>
                  <a:close/>
                  <a:moveTo>
                    <a:pt x="9245467" y="4186705"/>
                  </a:moveTo>
                  <a:cubicBezTo>
                    <a:pt x="9219287" y="4186705"/>
                    <a:pt x="9206197" y="4215542"/>
                    <a:pt x="9206197" y="4273218"/>
                  </a:cubicBezTo>
                  <a:cubicBezTo>
                    <a:pt x="9206197" y="4327183"/>
                    <a:pt x="9219036" y="4354165"/>
                    <a:pt x="9244715" y="4354165"/>
                  </a:cubicBezTo>
                  <a:cubicBezTo>
                    <a:pt x="9269991" y="4354165"/>
                    <a:pt x="9282630" y="4326731"/>
                    <a:pt x="9282630" y="4271864"/>
                  </a:cubicBezTo>
                  <a:cubicBezTo>
                    <a:pt x="9282630" y="4215091"/>
                    <a:pt x="9270242" y="4186705"/>
                    <a:pt x="9245467" y="4186705"/>
                  </a:cubicBezTo>
                  <a:close/>
                  <a:moveTo>
                    <a:pt x="3501344" y="4186705"/>
                  </a:moveTo>
                  <a:cubicBezTo>
                    <a:pt x="3475164" y="4186705"/>
                    <a:pt x="3462074" y="4215542"/>
                    <a:pt x="3462074" y="4273218"/>
                  </a:cubicBezTo>
                  <a:cubicBezTo>
                    <a:pt x="3462074" y="4327183"/>
                    <a:pt x="3474913" y="4354165"/>
                    <a:pt x="3500592" y="4354165"/>
                  </a:cubicBezTo>
                  <a:cubicBezTo>
                    <a:pt x="3525869" y="4354165"/>
                    <a:pt x="3538507" y="4326731"/>
                    <a:pt x="3538507" y="4271864"/>
                  </a:cubicBezTo>
                  <a:cubicBezTo>
                    <a:pt x="3538507" y="4215091"/>
                    <a:pt x="3526119" y="4186705"/>
                    <a:pt x="3501344" y="4186705"/>
                  </a:cubicBezTo>
                  <a:close/>
                  <a:moveTo>
                    <a:pt x="3144402" y="4186705"/>
                  </a:moveTo>
                  <a:cubicBezTo>
                    <a:pt x="3118222" y="4186705"/>
                    <a:pt x="3105132" y="4215542"/>
                    <a:pt x="3105132" y="4273218"/>
                  </a:cubicBezTo>
                  <a:cubicBezTo>
                    <a:pt x="3105132" y="4327183"/>
                    <a:pt x="3117971" y="4354165"/>
                    <a:pt x="3143650" y="4354165"/>
                  </a:cubicBezTo>
                  <a:cubicBezTo>
                    <a:pt x="3168927" y="4354165"/>
                    <a:pt x="3181565" y="4326731"/>
                    <a:pt x="3181565" y="4271864"/>
                  </a:cubicBezTo>
                  <a:cubicBezTo>
                    <a:pt x="3181565" y="4215091"/>
                    <a:pt x="3169177" y="4186705"/>
                    <a:pt x="3144402" y="4186705"/>
                  </a:cubicBezTo>
                  <a:close/>
                  <a:moveTo>
                    <a:pt x="9600517" y="4158870"/>
                  </a:moveTo>
                  <a:cubicBezTo>
                    <a:pt x="9647961" y="4158870"/>
                    <a:pt x="9671684" y="4195732"/>
                    <a:pt x="9671684" y="4269457"/>
                  </a:cubicBezTo>
                  <a:cubicBezTo>
                    <a:pt x="9671684" y="4305968"/>
                    <a:pt x="9664988" y="4333828"/>
                    <a:pt x="9651598" y="4353037"/>
                  </a:cubicBezTo>
                  <a:cubicBezTo>
                    <a:pt x="9638207" y="4372245"/>
                    <a:pt x="9619475" y="4381850"/>
                    <a:pt x="9595401" y="4381850"/>
                  </a:cubicBezTo>
                  <a:cubicBezTo>
                    <a:pt x="9572933" y="4381850"/>
                    <a:pt x="9555404" y="4372672"/>
                    <a:pt x="9542816" y="4354316"/>
                  </a:cubicBezTo>
                  <a:cubicBezTo>
                    <a:pt x="9530227" y="4335960"/>
                    <a:pt x="9523933" y="4309429"/>
                    <a:pt x="9523933" y="4274723"/>
                  </a:cubicBezTo>
                  <a:cubicBezTo>
                    <a:pt x="9523933" y="4236607"/>
                    <a:pt x="9530503" y="4207769"/>
                    <a:pt x="9543643" y="4188209"/>
                  </a:cubicBezTo>
                  <a:cubicBezTo>
                    <a:pt x="9556784" y="4168650"/>
                    <a:pt x="9575741" y="4158870"/>
                    <a:pt x="9600517" y="4158870"/>
                  </a:cubicBezTo>
                  <a:close/>
                  <a:moveTo>
                    <a:pt x="9247122" y="4158870"/>
                  </a:moveTo>
                  <a:cubicBezTo>
                    <a:pt x="9294566" y="4158870"/>
                    <a:pt x="9318289" y="4195732"/>
                    <a:pt x="9318289" y="4269457"/>
                  </a:cubicBezTo>
                  <a:cubicBezTo>
                    <a:pt x="9318289" y="4305968"/>
                    <a:pt x="9311593" y="4333828"/>
                    <a:pt x="9298203" y="4353037"/>
                  </a:cubicBezTo>
                  <a:cubicBezTo>
                    <a:pt x="9284812" y="4372245"/>
                    <a:pt x="9266080" y="4381850"/>
                    <a:pt x="9242006" y="4381850"/>
                  </a:cubicBezTo>
                  <a:cubicBezTo>
                    <a:pt x="9219538" y="4381850"/>
                    <a:pt x="9202009" y="4372672"/>
                    <a:pt x="9189421" y="4354316"/>
                  </a:cubicBezTo>
                  <a:cubicBezTo>
                    <a:pt x="9176832" y="4335960"/>
                    <a:pt x="9170538" y="4309429"/>
                    <a:pt x="9170538" y="4274723"/>
                  </a:cubicBezTo>
                  <a:cubicBezTo>
                    <a:pt x="9170538" y="4236607"/>
                    <a:pt x="9177108" y="4207769"/>
                    <a:pt x="9190248" y="4188209"/>
                  </a:cubicBezTo>
                  <a:cubicBezTo>
                    <a:pt x="9203389" y="4168650"/>
                    <a:pt x="9222346" y="4158870"/>
                    <a:pt x="9247122" y="4158870"/>
                  </a:cubicBezTo>
                  <a:close/>
                  <a:moveTo>
                    <a:pt x="3502999" y="4158870"/>
                  </a:moveTo>
                  <a:cubicBezTo>
                    <a:pt x="3550444" y="4158870"/>
                    <a:pt x="3574166" y="4195732"/>
                    <a:pt x="3574166" y="4269457"/>
                  </a:cubicBezTo>
                  <a:cubicBezTo>
                    <a:pt x="3574166" y="4305968"/>
                    <a:pt x="3567471" y="4333828"/>
                    <a:pt x="3554080" y="4353037"/>
                  </a:cubicBezTo>
                  <a:cubicBezTo>
                    <a:pt x="3540689" y="4372245"/>
                    <a:pt x="3521957" y="4381850"/>
                    <a:pt x="3497883" y="4381850"/>
                  </a:cubicBezTo>
                  <a:cubicBezTo>
                    <a:pt x="3475415" y="4381850"/>
                    <a:pt x="3457886" y="4372672"/>
                    <a:pt x="3445298" y="4354316"/>
                  </a:cubicBezTo>
                  <a:cubicBezTo>
                    <a:pt x="3432709" y="4335960"/>
                    <a:pt x="3426415" y="4309429"/>
                    <a:pt x="3426415" y="4274723"/>
                  </a:cubicBezTo>
                  <a:cubicBezTo>
                    <a:pt x="3426415" y="4236607"/>
                    <a:pt x="3432985" y="4207769"/>
                    <a:pt x="3446125" y="4188209"/>
                  </a:cubicBezTo>
                  <a:cubicBezTo>
                    <a:pt x="3459266" y="4168650"/>
                    <a:pt x="3478223" y="4158870"/>
                    <a:pt x="3502999" y="4158870"/>
                  </a:cubicBezTo>
                  <a:close/>
                  <a:moveTo>
                    <a:pt x="3146057" y="4158870"/>
                  </a:moveTo>
                  <a:cubicBezTo>
                    <a:pt x="3193502" y="4158870"/>
                    <a:pt x="3217224" y="4195732"/>
                    <a:pt x="3217224" y="4269457"/>
                  </a:cubicBezTo>
                  <a:cubicBezTo>
                    <a:pt x="3217224" y="4305968"/>
                    <a:pt x="3210529" y="4333828"/>
                    <a:pt x="3197138" y="4353037"/>
                  </a:cubicBezTo>
                  <a:cubicBezTo>
                    <a:pt x="3183747" y="4372245"/>
                    <a:pt x="3165015" y="4381850"/>
                    <a:pt x="3140941" y="4381850"/>
                  </a:cubicBezTo>
                  <a:cubicBezTo>
                    <a:pt x="3118473" y="4381850"/>
                    <a:pt x="3100944" y="4372672"/>
                    <a:pt x="3088356" y="4354316"/>
                  </a:cubicBezTo>
                  <a:cubicBezTo>
                    <a:pt x="3075767" y="4335960"/>
                    <a:pt x="3069473" y="4309429"/>
                    <a:pt x="3069473" y="4274723"/>
                  </a:cubicBezTo>
                  <a:cubicBezTo>
                    <a:pt x="3069473" y="4236607"/>
                    <a:pt x="3076043" y="4207769"/>
                    <a:pt x="3089183" y="4188209"/>
                  </a:cubicBezTo>
                  <a:cubicBezTo>
                    <a:pt x="3102324" y="4168650"/>
                    <a:pt x="3121281" y="4158870"/>
                    <a:pt x="3146057" y="4158870"/>
                  </a:cubicBezTo>
                  <a:close/>
                  <a:moveTo>
                    <a:pt x="9598862" y="3839234"/>
                  </a:moveTo>
                  <a:cubicBezTo>
                    <a:pt x="9572682" y="3839234"/>
                    <a:pt x="9559592" y="3868072"/>
                    <a:pt x="9559592" y="3925748"/>
                  </a:cubicBezTo>
                  <a:cubicBezTo>
                    <a:pt x="9559592" y="3979712"/>
                    <a:pt x="9572431" y="4006694"/>
                    <a:pt x="9598110" y="4006694"/>
                  </a:cubicBezTo>
                  <a:cubicBezTo>
                    <a:pt x="9623386" y="4006694"/>
                    <a:pt x="9636025" y="3979261"/>
                    <a:pt x="9636025" y="3924393"/>
                  </a:cubicBezTo>
                  <a:cubicBezTo>
                    <a:pt x="9636025" y="3867620"/>
                    <a:pt x="9623637" y="3839234"/>
                    <a:pt x="9598862" y="3839234"/>
                  </a:cubicBezTo>
                  <a:close/>
                  <a:moveTo>
                    <a:pt x="9245467" y="3839234"/>
                  </a:moveTo>
                  <a:cubicBezTo>
                    <a:pt x="9219287" y="3839234"/>
                    <a:pt x="9206197" y="3868072"/>
                    <a:pt x="9206197" y="3925748"/>
                  </a:cubicBezTo>
                  <a:cubicBezTo>
                    <a:pt x="9206197" y="3979712"/>
                    <a:pt x="9219036" y="4006694"/>
                    <a:pt x="9244715" y="4006694"/>
                  </a:cubicBezTo>
                  <a:cubicBezTo>
                    <a:pt x="9269991" y="4006694"/>
                    <a:pt x="9282630" y="3979261"/>
                    <a:pt x="9282630" y="3924393"/>
                  </a:cubicBezTo>
                  <a:cubicBezTo>
                    <a:pt x="9282630" y="3867620"/>
                    <a:pt x="9270242" y="3839234"/>
                    <a:pt x="9245467" y="3839234"/>
                  </a:cubicBezTo>
                  <a:close/>
                  <a:moveTo>
                    <a:pt x="3501344" y="3839234"/>
                  </a:moveTo>
                  <a:cubicBezTo>
                    <a:pt x="3475164" y="3839234"/>
                    <a:pt x="3462074" y="3868072"/>
                    <a:pt x="3462074" y="3925748"/>
                  </a:cubicBezTo>
                  <a:cubicBezTo>
                    <a:pt x="3462074" y="3979712"/>
                    <a:pt x="3474913" y="4006694"/>
                    <a:pt x="3500592" y="4006694"/>
                  </a:cubicBezTo>
                  <a:cubicBezTo>
                    <a:pt x="3525869" y="4006694"/>
                    <a:pt x="3538507" y="3979261"/>
                    <a:pt x="3538507" y="3924393"/>
                  </a:cubicBezTo>
                  <a:cubicBezTo>
                    <a:pt x="3538507" y="3867620"/>
                    <a:pt x="3526119" y="3839234"/>
                    <a:pt x="3501344" y="3839234"/>
                  </a:cubicBezTo>
                  <a:close/>
                  <a:moveTo>
                    <a:pt x="3144402" y="3839234"/>
                  </a:moveTo>
                  <a:cubicBezTo>
                    <a:pt x="3118222" y="3839234"/>
                    <a:pt x="3105132" y="3868072"/>
                    <a:pt x="3105132" y="3925748"/>
                  </a:cubicBezTo>
                  <a:cubicBezTo>
                    <a:pt x="3105132" y="3979712"/>
                    <a:pt x="3117971" y="4006694"/>
                    <a:pt x="3143650" y="4006694"/>
                  </a:cubicBezTo>
                  <a:cubicBezTo>
                    <a:pt x="3168927" y="4006694"/>
                    <a:pt x="3181565" y="3979261"/>
                    <a:pt x="3181565" y="3924393"/>
                  </a:cubicBezTo>
                  <a:cubicBezTo>
                    <a:pt x="3181565" y="3867620"/>
                    <a:pt x="3169177" y="3839234"/>
                    <a:pt x="3144402" y="3839234"/>
                  </a:cubicBezTo>
                  <a:close/>
                  <a:moveTo>
                    <a:pt x="9600517" y="3811399"/>
                  </a:moveTo>
                  <a:cubicBezTo>
                    <a:pt x="9647961" y="3811399"/>
                    <a:pt x="9671684" y="3848261"/>
                    <a:pt x="9671684" y="3921986"/>
                  </a:cubicBezTo>
                  <a:cubicBezTo>
                    <a:pt x="9671684" y="3958498"/>
                    <a:pt x="9664988" y="3986357"/>
                    <a:pt x="9651598" y="4005566"/>
                  </a:cubicBezTo>
                  <a:cubicBezTo>
                    <a:pt x="9638207" y="4024774"/>
                    <a:pt x="9619475" y="4034379"/>
                    <a:pt x="9595401" y="4034379"/>
                  </a:cubicBezTo>
                  <a:cubicBezTo>
                    <a:pt x="9572933" y="4034379"/>
                    <a:pt x="9555404" y="4025201"/>
                    <a:pt x="9542816" y="4006845"/>
                  </a:cubicBezTo>
                  <a:cubicBezTo>
                    <a:pt x="9530227" y="3988489"/>
                    <a:pt x="9523933" y="3961958"/>
                    <a:pt x="9523933" y="3927252"/>
                  </a:cubicBezTo>
                  <a:cubicBezTo>
                    <a:pt x="9523933" y="3889136"/>
                    <a:pt x="9530503" y="3860298"/>
                    <a:pt x="9543643" y="3840738"/>
                  </a:cubicBezTo>
                  <a:cubicBezTo>
                    <a:pt x="9556784" y="3821179"/>
                    <a:pt x="9575741" y="3811399"/>
                    <a:pt x="9600517" y="3811399"/>
                  </a:cubicBezTo>
                  <a:close/>
                  <a:moveTo>
                    <a:pt x="9247122" y="3811399"/>
                  </a:moveTo>
                  <a:cubicBezTo>
                    <a:pt x="9294566" y="3811399"/>
                    <a:pt x="9318289" y="3848261"/>
                    <a:pt x="9318289" y="3921986"/>
                  </a:cubicBezTo>
                  <a:cubicBezTo>
                    <a:pt x="9318289" y="3958498"/>
                    <a:pt x="9311593" y="3986357"/>
                    <a:pt x="9298203" y="4005566"/>
                  </a:cubicBezTo>
                  <a:cubicBezTo>
                    <a:pt x="9284812" y="4024774"/>
                    <a:pt x="9266080" y="4034379"/>
                    <a:pt x="9242006" y="4034379"/>
                  </a:cubicBezTo>
                  <a:cubicBezTo>
                    <a:pt x="9219538" y="4034379"/>
                    <a:pt x="9202009" y="4025201"/>
                    <a:pt x="9189421" y="4006845"/>
                  </a:cubicBezTo>
                  <a:cubicBezTo>
                    <a:pt x="9176832" y="3988489"/>
                    <a:pt x="9170538" y="3961958"/>
                    <a:pt x="9170538" y="3927252"/>
                  </a:cubicBezTo>
                  <a:cubicBezTo>
                    <a:pt x="9170538" y="3889136"/>
                    <a:pt x="9177108" y="3860298"/>
                    <a:pt x="9190248" y="3840738"/>
                  </a:cubicBezTo>
                  <a:cubicBezTo>
                    <a:pt x="9203389" y="3821179"/>
                    <a:pt x="9222346" y="3811399"/>
                    <a:pt x="9247122" y="3811399"/>
                  </a:cubicBezTo>
                  <a:close/>
                  <a:moveTo>
                    <a:pt x="3502999" y="3811399"/>
                  </a:moveTo>
                  <a:cubicBezTo>
                    <a:pt x="3550444" y="3811399"/>
                    <a:pt x="3574166" y="3848261"/>
                    <a:pt x="3574166" y="3921986"/>
                  </a:cubicBezTo>
                  <a:cubicBezTo>
                    <a:pt x="3574166" y="3958498"/>
                    <a:pt x="3567471" y="3986357"/>
                    <a:pt x="3554080" y="4005566"/>
                  </a:cubicBezTo>
                  <a:cubicBezTo>
                    <a:pt x="3540689" y="4024774"/>
                    <a:pt x="3521957" y="4034379"/>
                    <a:pt x="3497883" y="4034379"/>
                  </a:cubicBezTo>
                  <a:cubicBezTo>
                    <a:pt x="3475415" y="4034379"/>
                    <a:pt x="3457886" y="4025201"/>
                    <a:pt x="3445298" y="4006845"/>
                  </a:cubicBezTo>
                  <a:cubicBezTo>
                    <a:pt x="3432709" y="3988489"/>
                    <a:pt x="3426415" y="3961958"/>
                    <a:pt x="3426415" y="3927252"/>
                  </a:cubicBezTo>
                  <a:cubicBezTo>
                    <a:pt x="3426415" y="3889136"/>
                    <a:pt x="3432985" y="3860298"/>
                    <a:pt x="3446125" y="3840738"/>
                  </a:cubicBezTo>
                  <a:cubicBezTo>
                    <a:pt x="3459266" y="3821179"/>
                    <a:pt x="3478223" y="3811399"/>
                    <a:pt x="3502999" y="3811399"/>
                  </a:cubicBezTo>
                  <a:close/>
                  <a:moveTo>
                    <a:pt x="3146057" y="3811399"/>
                  </a:moveTo>
                  <a:cubicBezTo>
                    <a:pt x="3193502" y="3811399"/>
                    <a:pt x="3217224" y="3848261"/>
                    <a:pt x="3217224" y="3921986"/>
                  </a:cubicBezTo>
                  <a:cubicBezTo>
                    <a:pt x="3217224" y="3958498"/>
                    <a:pt x="3210529" y="3986357"/>
                    <a:pt x="3197138" y="4005566"/>
                  </a:cubicBezTo>
                  <a:cubicBezTo>
                    <a:pt x="3183747" y="4024774"/>
                    <a:pt x="3165015" y="4034379"/>
                    <a:pt x="3140941" y="4034379"/>
                  </a:cubicBezTo>
                  <a:cubicBezTo>
                    <a:pt x="3118473" y="4034379"/>
                    <a:pt x="3100944" y="4025201"/>
                    <a:pt x="3088356" y="4006845"/>
                  </a:cubicBezTo>
                  <a:cubicBezTo>
                    <a:pt x="3075767" y="3988489"/>
                    <a:pt x="3069473" y="3961958"/>
                    <a:pt x="3069473" y="3927252"/>
                  </a:cubicBezTo>
                  <a:cubicBezTo>
                    <a:pt x="3069473" y="3889136"/>
                    <a:pt x="3076043" y="3860298"/>
                    <a:pt x="3089183" y="3840738"/>
                  </a:cubicBezTo>
                  <a:cubicBezTo>
                    <a:pt x="3102324" y="3821179"/>
                    <a:pt x="3121281" y="3811399"/>
                    <a:pt x="3146057" y="3811399"/>
                  </a:cubicBezTo>
                  <a:close/>
                  <a:moveTo>
                    <a:pt x="9598862" y="3510987"/>
                  </a:moveTo>
                  <a:cubicBezTo>
                    <a:pt x="9572682" y="3510987"/>
                    <a:pt x="9559592" y="3539825"/>
                    <a:pt x="9559592" y="3597501"/>
                  </a:cubicBezTo>
                  <a:cubicBezTo>
                    <a:pt x="9559592" y="3651465"/>
                    <a:pt x="9572431" y="3678447"/>
                    <a:pt x="9598110" y="3678447"/>
                  </a:cubicBezTo>
                  <a:cubicBezTo>
                    <a:pt x="9623386" y="3678447"/>
                    <a:pt x="9636025" y="3651014"/>
                    <a:pt x="9636025" y="3596146"/>
                  </a:cubicBezTo>
                  <a:cubicBezTo>
                    <a:pt x="9636025" y="3539373"/>
                    <a:pt x="9623637" y="3510987"/>
                    <a:pt x="9598862" y="3510987"/>
                  </a:cubicBezTo>
                  <a:close/>
                  <a:moveTo>
                    <a:pt x="9245467" y="3510987"/>
                  </a:moveTo>
                  <a:cubicBezTo>
                    <a:pt x="9219287" y="3510987"/>
                    <a:pt x="9206197" y="3539825"/>
                    <a:pt x="9206197" y="3597501"/>
                  </a:cubicBezTo>
                  <a:cubicBezTo>
                    <a:pt x="9206197" y="3651465"/>
                    <a:pt x="9219036" y="3678447"/>
                    <a:pt x="9244715" y="3678447"/>
                  </a:cubicBezTo>
                  <a:cubicBezTo>
                    <a:pt x="9269991" y="3678447"/>
                    <a:pt x="9282630" y="3651014"/>
                    <a:pt x="9282630" y="3596146"/>
                  </a:cubicBezTo>
                  <a:cubicBezTo>
                    <a:pt x="9282630" y="3539373"/>
                    <a:pt x="9270242" y="3510987"/>
                    <a:pt x="9245467" y="3510987"/>
                  </a:cubicBezTo>
                  <a:close/>
                  <a:moveTo>
                    <a:pt x="3501344" y="3510987"/>
                  </a:moveTo>
                  <a:cubicBezTo>
                    <a:pt x="3475164" y="3510987"/>
                    <a:pt x="3462074" y="3539825"/>
                    <a:pt x="3462074" y="3597501"/>
                  </a:cubicBezTo>
                  <a:cubicBezTo>
                    <a:pt x="3462074" y="3651465"/>
                    <a:pt x="3474913" y="3678447"/>
                    <a:pt x="3500592" y="3678447"/>
                  </a:cubicBezTo>
                  <a:cubicBezTo>
                    <a:pt x="3525869" y="3678447"/>
                    <a:pt x="3538507" y="3651014"/>
                    <a:pt x="3538507" y="3596146"/>
                  </a:cubicBezTo>
                  <a:cubicBezTo>
                    <a:pt x="3538507" y="3539373"/>
                    <a:pt x="3526119" y="3510987"/>
                    <a:pt x="3501344" y="3510987"/>
                  </a:cubicBezTo>
                  <a:close/>
                  <a:moveTo>
                    <a:pt x="3144402" y="3510987"/>
                  </a:moveTo>
                  <a:cubicBezTo>
                    <a:pt x="3118222" y="3510987"/>
                    <a:pt x="3105132" y="3539825"/>
                    <a:pt x="3105132" y="3597501"/>
                  </a:cubicBezTo>
                  <a:cubicBezTo>
                    <a:pt x="3105132" y="3651465"/>
                    <a:pt x="3117971" y="3678447"/>
                    <a:pt x="3143650" y="3678447"/>
                  </a:cubicBezTo>
                  <a:cubicBezTo>
                    <a:pt x="3168927" y="3678447"/>
                    <a:pt x="3181565" y="3651014"/>
                    <a:pt x="3181565" y="3596146"/>
                  </a:cubicBezTo>
                  <a:cubicBezTo>
                    <a:pt x="3181565" y="3539373"/>
                    <a:pt x="3169177" y="3510987"/>
                    <a:pt x="3144402" y="3510987"/>
                  </a:cubicBezTo>
                  <a:close/>
                  <a:moveTo>
                    <a:pt x="9600517" y="3483152"/>
                  </a:moveTo>
                  <a:cubicBezTo>
                    <a:pt x="9647961" y="3483152"/>
                    <a:pt x="9671684" y="3520014"/>
                    <a:pt x="9671684" y="3593739"/>
                  </a:cubicBezTo>
                  <a:cubicBezTo>
                    <a:pt x="9671684" y="3630251"/>
                    <a:pt x="9664988" y="3658110"/>
                    <a:pt x="9651598" y="3677319"/>
                  </a:cubicBezTo>
                  <a:cubicBezTo>
                    <a:pt x="9638207" y="3696527"/>
                    <a:pt x="9619475" y="3706132"/>
                    <a:pt x="9595401" y="3706132"/>
                  </a:cubicBezTo>
                  <a:cubicBezTo>
                    <a:pt x="9572933" y="3706132"/>
                    <a:pt x="9555404" y="3696954"/>
                    <a:pt x="9542816" y="3678598"/>
                  </a:cubicBezTo>
                  <a:cubicBezTo>
                    <a:pt x="9530227" y="3660242"/>
                    <a:pt x="9523933" y="3633711"/>
                    <a:pt x="9523933" y="3599005"/>
                  </a:cubicBezTo>
                  <a:cubicBezTo>
                    <a:pt x="9523933" y="3560889"/>
                    <a:pt x="9530503" y="3532051"/>
                    <a:pt x="9543643" y="3512491"/>
                  </a:cubicBezTo>
                  <a:cubicBezTo>
                    <a:pt x="9556784" y="3492932"/>
                    <a:pt x="9575741" y="3483152"/>
                    <a:pt x="9600517" y="3483152"/>
                  </a:cubicBezTo>
                  <a:close/>
                  <a:moveTo>
                    <a:pt x="9247122" y="3483152"/>
                  </a:moveTo>
                  <a:cubicBezTo>
                    <a:pt x="9294566" y="3483152"/>
                    <a:pt x="9318289" y="3520014"/>
                    <a:pt x="9318289" y="3593739"/>
                  </a:cubicBezTo>
                  <a:cubicBezTo>
                    <a:pt x="9318289" y="3630251"/>
                    <a:pt x="9311593" y="3658110"/>
                    <a:pt x="9298203" y="3677319"/>
                  </a:cubicBezTo>
                  <a:cubicBezTo>
                    <a:pt x="9284812" y="3696527"/>
                    <a:pt x="9266080" y="3706132"/>
                    <a:pt x="9242006" y="3706132"/>
                  </a:cubicBezTo>
                  <a:cubicBezTo>
                    <a:pt x="9219538" y="3706132"/>
                    <a:pt x="9202009" y="3696954"/>
                    <a:pt x="9189421" y="3678598"/>
                  </a:cubicBezTo>
                  <a:cubicBezTo>
                    <a:pt x="9176832" y="3660242"/>
                    <a:pt x="9170538" y="3633711"/>
                    <a:pt x="9170538" y="3599005"/>
                  </a:cubicBezTo>
                  <a:cubicBezTo>
                    <a:pt x="9170538" y="3560889"/>
                    <a:pt x="9177108" y="3532051"/>
                    <a:pt x="9190248" y="3512491"/>
                  </a:cubicBezTo>
                  <a:cubicBezTo>
                    <a:pt x="9203389" y="3492932"/>
                    <a:pt x="9222346" y="3483152"/>
                    <a:pt x="9247122" y="3483152"/>
                  </a:cubicBezTo>
                  <a:close/>
                  <a:moveTo>
                    <a:pt x="3502999" y="3483152"/>
                  </a:moveTo>
                  <a:cubicBezTo>
                    <a:pt x="3550444" y="3483152"/>
                    <a:pt x="3574166" y="3520014"/>
                    <a:pt x="3574166" y="3593739"/>
                  </a:cubicBezTo>
                  <a:cubicBezTo>
                    <a:pt x="3574166" y="3630251"/>
                    <a:pt x="3567471" y="3658110"/>
                    <a:pt x="3554080" y="3677319"/>
                  </a:cubicBezTo>
                  <a:cubicBezTo>
                    <a:pt x="3540689" y="3696527"/>
                    <a:pt x="3521957" y="3706132"/>
                    <a:pt x="3497883" y="3706132"/>
                  </a:cubicBezTo>
                  <a:cubicBezTo>
                    <a:pt x="3475415" y="3706132"/>
                    <a:pt x="3457886" y="3696954"/>
                    <a:pt x="3445298" y="3678598"/>
                  </a:cubicBezTo>
                  <a:cubicBezTo>
                    <a:pt x="3432709" y="3660242"/>
                    <a:pt x="3426415" y="3633711"/>
                    <a:pt x="3426415" y="3599005"/>
                  </a:cubicBezTo>
                  <a:cubicBezTo>
                    <a:pt x="3426415" y="3560889"/>
                    <a:pt x="3432985" y="3532051"/>
                    <a:pt x="3446125" y="3512491"/>
                  </a:cubicBezTo>
                  <a:cubicBezTo>
                    <a:pt x="3459266" y="3492932"/>
                    <a:pt x="3478223" y="3483152"/>
                    <a:pt x="3502999" y="3483152"/>
                  </a:cubicBezTo>
                  <a:close/>
                  <a:moveTo>
                    <a:pt x="3146057" y="3483152"/>
                  </a:moveTo>
                  <a:cubicBezTo>
                    <a:pt x="3193502" y="3483152"/>
                    <a:pt x="3217224" y="3520014"/>
                    <a:pt x="3217224" y="3593739"/>
                  </a:cubicBezTo>
                  <a:cubicBezTo>
                    <a:pt x="3217224" y="3630251"/>
                    <a:pt x="3210529" y="3658110"/>
                    <a:pt x="3197138" y="3677319"/>
                  </a:cubicBezTo>
                  <a:cubicBezTo>
                    <a:pt x="3183747" y="3696527"/>
                    <a:pt x="3165015" y="3706132"/>
                    <a:pt x="3140941" y="3706132"/>
                  </a:cubicBezTo>
                  <a:cubicBezTo>
                    <a:pt x="3118473" y="3706132"/>
                    <a:pt x="3100944" y="3696954"/>
                    <a:pt x="3088356" y="3678598"/>
                  </a:cubicBezTo>
                  <a:cubicBezTo>
                    <a:pt x="3075767" y="3660242"/>
                    <a:pt x="3069473" y="3633711"/>
                    <a:pt x="3069473" y="3599005"/>
                  </a:cubicBezTo>
                  <a:cubicBezTo>
                    <a:pt x="3069473" y="3560889"/>
                    <a:pt x="3076043" y="3532051"/>
                    <a:pt x="3089183" y="3512491"/>
                  </a:cubicBezTo>
                  <a:cubicBezTo>
                    <a:pt x="3102324" y="3492932"/>
                    <a:pt x="3121281" y="3483152"/>
                    <a:pt x="3146057" y="3483152"/>
                  </a:cubicBezTo>
                  <a:close/>
                  <a:moveTo>
                    <a:pt x="9596984" y="3137996"/>
                  </a:moveTo>
                  <a:cubicBezTo>
                    <a:pt x="9570804" y="3137996"/>
                    <a:pt x="9557714" y="3166834"/>
                    <a:pt x="9557714" y="3224510"/>
                  </a:cubicBezTo>
                  <a:cubicBezTo>
                    <a:pt x="9557714" y="3278474"/>
                    <a:pt x="9570553" y="3305457"/>
                    <a:pt x="9596232" y="3305457"/>
                  </a:cubicBezTo>
                  <a:cubicBezTo>
                    <a:pt x="9621508" y="3305457"/>
                    <a:pt x="9634147" y="3278023"/>
                    <a:pt x="9634147" y="3223156"/>
                  </a:cubicBezTo>
                  <a:cubicBezTo>
                    <a:pt x="9634147" y="3166382"/>
                    <a:pt x="9621759" y="3137996"/>
                    <a:pt x="9596984" y="3137996"/>
                  </a:cubicBezTo>
                  <a:close/>
                  <a:moveTo>
                    <a:pt x="9218596" y="3137996"/>
                  </a:moveTo>
                  <a:cubicBezTo>
                    <a:pt x="9192416" y="3137996"/>
                    <a:pt x="9179326" y="3166834"/>
                    <a:pt x="9179326" y="3224510"/>
                  </a:cubicBezTo>
                  <a:cubicBezTo>
                    <a:pt x="9179326" y="3278474"/>
                    <a:pt x="9192165" y="3305457"/>
                    <a:pt x="9217844" y="3305457"/>
                  </a:cubicBezTo>
                  <a:cubicBezTo>
                    <a:pt x="9243120" y="3305457"/>
                    <a:pt x="9255759" y="3278023"/>
                    <a:pt x="9255759" y="3223156"/>
                  </a:cubicBezTo>
                  <a:cubicBezTo>
                    <a:pt x="9255759" y="3166382"/>
                    <a:pt x="9243371" y="3137996"/>
                    <a:pt x="9218596" y="3137996"/>
                  </a:cubicBezTo>
                  <a:close/>
                  <a:moveTo>
                    <a:pt x="3533077" y="3137996"/>
                  </a:moveTo>
                  <a:cubicBezTo>
                    <a:pt x="3506897" y="3137996"/>
                    <a:pt x="3493807" y="3166834"/>
                    <a:pt x="3493807" y="3224510"/>
                  </a:cubicBezTo>
                  <a:cubicBezTo>
                    <a:pt x="3493807" y="3278474"/>
                    <a:pt x="3506646" y="3305457"/>
                    <a:pt x="3532325" y="3305457"/>
                  </a:cubicBezTo>
                  <a:cubicBezTo>
                    <a:pt x="3557602" y="3305457"/>
                    <a:pt x="3570240" y="3278023"/>
                    <a:pt x="3570240" y="3223156"/>
                  </a:cubicBezTo>
                  <a:cubicBezTo>
                    <a:pt x="3570240" y="3166382"/>
                    <a:pt x="3557852" y="3137996"/>
                    <a:pt x="3533077" y="3137996"/>
                  </a:cubicBezTo>
                  <a:close/>
                  <a:moveTo>
                    <a:pt x="3151998" y="3137996"/>
                  </a:moveTo>
                  <a:cubicBezTo>
                    <a:pt x="3125818" y="3137996"/>
                    <a:pt x="3112728" y="3166834"/>
                    <a:pt x="3112728" y="3224510"/>
                  </a:cubicBezTo>
                  <a:cubicBezTo>
                    <a:pt x="3112728" y="3278474"/>
                    <a:pt x="3125567" y="3305457"/>
                    <a:pt x="3151246" y="3305457"/>
                  </a:cubicBezTo>
                  <a:cubicBezTo>
                    <a:pt x="3176523" y="3305457"/>
                    <a:pt x="3189161" y="3278023"/>
                    <a:pt x="3189161" y="3223156"/>
                  </a:cubicBezTo>
                  <a:cubicBezTo>
                    <a:pt x="3189161" y="3166382"/>
                    <a:pt x="3176773" y="3137996"/>
                    <a:pt x="3151998" y="3137996"/>
                  </a:cubicBezTo>
                  <a:close/>
                  <a:moveTo>
                    <a:pt x="9598639" y="3110161"/>
                  </a:moveTo>
                  <a:cubicBezTo>
                    <a:pt x="9646083" y="3110161"/>
                    <a:pt x="9669806" y="3147024"/>
                    <a:pt x="9669806" y="3220749"/>
                  </a:cubicBezTo>
                  <a:cubicBezTo>
                    <a:pt x="9669806" y="3257260"/>
                    <a:pt x="9663110" y="3285120"/>
                    <a:pt x="9649720" y="3304328"/>
                  </a:cubicBezTo>
                  <a:cubicBezTo>
                    <a:pt x="9636329" y="3323537"/>
                    <a:pt x="9617597" y="3333141"/>
                    <a:pt x="9593523" y="3333141"/>
                  </a:cubicBezTo>
                  <a:cubicBezTo>
                    <a:pt x="9571055" y="3333141"/>
                    <a:pt x="9553526" y="3323963"/>
                    <a:pt x="9540938" y="3305607"/>
                  </a:cubicBezTo>
                  <a:cubicBezTo>
                    <a:pt x="9528349" y="3287251"/>
                    <a:pt x="9522055" y="3260720"/>
                    <a:pt x="9522055" y="3226015"/>
                  </a:cubicBezTo>
                  <a:cubicBezTo>
                    <a:pt x="9522055" y="3187898"/>
                    <a:pt x="9528625" y="3159061"/>
                    <a:pt x="9541765" y="3139501"/>
                  </a:cubicBezTo>
                  <a:cubicBezTo>
                    <a:pt x="9554906" y="3119941"/>
                    <a:pt x="9573863" y="3110161"/>
                    <a:pt x="9598639" y="3110161"/>
                  </a:cubicBezTo>
                  <a:close/>
                  <a:moveTo>
                    <a:pt x="9220251" y="3110161"/>
                  </a:moveTo>
                  <a:cubicBezTo>
                    <a:pt x="9267695" y="3110161"/>
                    <a:pt x="9291418" y="3147024"/>
                    <a:pt x="9291418" y="3220749"/>
                  </a:cubicBezTo>
                  <a:cubicBezTo>
                    <a:pt x="9291418" y="3257260"/>
                    <a:pt x="9284722" y="3285120"/>
                    <a:pt x="9271332" y="3304328"/>
                  </a:cubicBezTo>
                  <a:cubicBezTo>
                    <a:pt x="9257941" y="3323537"/>
                    <a:pt x="9239209" y="3333141"/>
                    <a:pt x="9215135" y="3333141"/>
                  </a:cubicBezTo>
                  <a:cubicBezTo>
                    <a:pt x="9192667" y="3333141"/>
                    <a:pt x="9175138" y="3323963"/>
                    <a:pt x="9162550" y="3305607"/>
                  </a:cubicBezTo>
                  <a:cubicBezTo>
                    <a:pt x="9149961" y="3287251"/>
                    <a:pt x="9143667" y="3260720"/>
                    <a:pt x="9143667" y="3226015"/>
                  </a:cubicBezTo>
                  <a:cubicBezTo>
                    <a:pt x="9143667" y="3187898"/>
                    <a:pt x="9150237" y="3159061"/>
                    <a:pt x="9163377" y="3139501"/>
                  </a:cubicBezTo>
                  <a:cubicBezTo>
                    <a:pt x="9176518" y="3119941"/>
                    <a:pt x="9195475" y="3110161"/>
                    <a:pt x="9220251" y="3110161"/>
                  </a:cubicBezTo>
                  <a:close/>
                  <a:moveTo>
                    <a:pt x="3534732" y="3110161"/>
                  </a:moveTo>
                  <a:cubicBezTo>
                    <a:pt x="3582177" y="3110161"/>
                    <a:pt x="3605899" y="3147024"/>
                    <a:pt x="3605899" y="3220749"/>
                  </a:cubicBezTo>
                  <a:cubicBezTo>
                    <a:pt x="3605899" y="3257260"/>
                    <a:pt x="3599204" y="3285120"/>
                    <a:pt x="3585813" y="3304328"/>
                  </a:cubicBezTo>
                  <a:cubicBezTo>
                    <a:pt x="3572422" y="3323537"/>
                    <a:pt x="3553690" y="3333141"/>
                    <a:pt x="3529616" y="3333141"/>
                  </a:cubicBezTo>
                  <a:cubicBezTo>
                    <a:pt x="3507148" y="3333141"/>
                    <a:pt x="3489619" y="3323963"/>
                    <a:pt x="3477031" y="3305607"/>
                  </a:cubicBezTo>
                  <a:cubicBezTo>
                    <a:pt x="3464442" y="3287251"/>
                    <a:pt x="3458148" y="3260720"/>
                    <a:pt x="3458148" y="3226015"/>
                  </a:cubicBezTo>
                  <a:cubicBezTo>
                    <a:pt x="3458148" y="3187898"/>
                    <a:pt x="3464718" y="3159061"/>
                    <a:pt x="3477858" y="3139501"/>
                  </a:cubicBezTo>
                  <a:cubicBezTo>
                    <a:pt x="3490999" y="3119941"/>
                    <a:pt x="3509956" y="3110161"/>
                    <a:pt x="3534732" y="3110161"/>
                  </a:cubicBezTo>
                  <a:close/>
                  <a:moveTo>
                    <a:pt x="3153653" y="3110161"/>
                  </a:moveTo>
                  <a:cubicBezTo>
                    <a:pt x="3201098" y="3110161"/>
                    <a:pt x="3224820" y="3147024"/>
                    <a:pt x="3224820" y="3220749"/>
                  </a:cubicBezTo>
                  <a:cubicBezTo>
                    <a:pt x="3224820" y="3257260"/>
                    <a:pt x="3218125" y="3285120"/>
                    <a:pt x="3204734" y="3304328"/>
                  </a:cubicBezTo>
                  <a:cubicBezTo>
                    <a:pt x="3191343" y="3323537"/>
                    <a:pt x="3172611" y="3333141"/>
                    <a:pt x="3148537" y="3333141"/>
                  </a:cubicBezTo>
                  <a:cubicBezTo>
                    <a:pt x="3126069" y="3333141"/>
                    <a:pt x="3108540" y="3323963"/>
                    <a:pt x="3095952" y="3305607"/>
                  </a:cubicBezTo>
                  <a:cubicBezTo>
                    <a:pt x="3083363" y="3287251"/>
                    <a:pt x="3077069" y="3260720"/>
                    <a:pt x="3077069" y="3226015"/>
                  </a:cubicBezTo>
                  <a:cubicBezTo>
                    <a:pt x="3077069" y="3187898"/>
                    <a:pt x="3083639" y="3159061"/>
                    <a:pt x="3096779" y="3139501"/>
                  </a:cubicBezTo>
                  <a:cubicBezTo>
                    <a:pt x="3109920" y="3119941"/>
                    <a:pt x="3128877" y="3110161"/>
                    <a:pt x="3153653" y="3110161"/>
                  </a:cubicBezTo>
                  <a:close/>
                  <a:moveTo>
                    <a:pt x="9365121" y="2836964"/>
                  </a:moveTo>
                  <a:cubicBezTo>
                    <a:pt x="9338941" y="2836964"/>
                    <a:pt x="9325851" y="2865802"/>
                    <a:pt x="9325851" y="2923478"/>
                  </a:cubicBezTo>
                  <a:cubicBezTo>
                    <a:pt x="9325851" y="2977442"/>
                    <a:pt x="9338690" y="3004425"/>
                    <a:pt x="9364369" y="3004425"/>
                  </a:cubicBezTo>
                  <a:cubicBezTo>
                    <a:pt x="9389645" y="3004425"/>
                    <a:pt x="9402284" y="2976991"/>
                    <a:pt x="9402284" y="2922124"/>
                  </a:cubicBezTo>
                  <a:cubicBezTo>
                    <a:pt x="9402284" y="2865350"/>
                    <a:pt x="9389896" y="2836964"/>
                    <a:pt x="9365121" y="2836964"/>
                  </a:cubicBezTo>
                  <a:close/>
                  <a:moveTo>
                    <a:pt x="3309068" y="2836964"/>
                  </a:moveTo>
                  <a:cubicBezTo>
                    <a:pt x="3282888" y="2836964"/>
                    <a:pt x="3269798" y="2865802"/>
                    <a:pt x="3269798" y="2923478"/>
                  </a:cubicBezTo>
                  <a:cubicBezTo>
                    <a:pt x="3269798" y="2977442"/>
                    <a:pt x="3282637" y="3004425"/>
                    <a:pt x="3308316" y="3004425"/>
                  </a:cubicBezTo>
                  <a:cubicBezTo>
                    <a:pt x="3333593" y="3004425"/>
                    <a:pt x="3346231" y="2976991"/>
                    <a:pt x="3346231" y="2922124"/>
                  </a:cubicBezTo>
                  <a:cubicBezTo>
                    <a:pt x="3346231" y="2865350"/>
                    <a:pt x="3333843" y="2836964"/>
                    <a:pt x="3309068" y="2836964"/>
                  </a:cubicBezTo>
                  <a:close/>
                  <a:moveTo>
                    <a:pt x="9366776" y="2809129"/>
                  </a:moveTo>
                  <a:cubicBezTo>
                    <a:pt x="9414220" y="2809129"/>
                    <a:pt x="9437943" y="2845992"/>
                    <a:pt x="9437943" y="2919717"/>
                  </a:cubicBezTo>
                  <a:cubicBezTo>
                    <a:pt x="9437943" y="2956228"/>
                    <a:pt x="9431247" y="2984088"/>
                    <a:pt x="9417857" y="3003296"/>
                  </a:cubicBezTo>
                  <a:cubicBezTo>
                    <a:pt x="9404466" y="3022505"/>
                    <a:pt x="9385734" y="3032109"/>
                    <a:pt x="9361660" y="3032109"/>
                  </a:cubicBezTo>
                  <a:cubicBezTo>
                    <a:pt x="9339192" y="3032109"/>
                    <a:pt x="9321663" y="3022931"/>
                    <a:pt x="9309075" y="3004575"/>
                  </a:cubicBezTo>
                  <a:cubicBezTo>
                    <a:pt x="9296486" y="2986219"/>
                    <a:pt x="9290192" y="2959688"/>
                    <a:pt x="9290192" y="2924983"/>
                  </a:cubicBezTo>
                  <a:cubicBezTo>
                    <a:pt x="9290192" y="2886866"/>
                    <a:pt x="9296762" y="2858029"/>
                    <a:pt x="9309902" y="2838469"/>
                  </a:cubicBezTo>
                  <a:cubicBezTo>
                    <a:pt x="9323043" y="2818909"/>
                    <a:pt x="9342000" y="2809129"/>
                    <a:pt x="9366776" y="2809129"/>
                  </a:cubicBezTo>
                  <a:close/>
                  <a:moveTo>
                    <a:pt x="3310723" y="2809129"/>
                  </a:moveTo>
                  <a:cubicBezTo>
                    <a:pt x="3358168" y="2809129"/>
                    <a:pt x="3381890" y="2845992"/>
                    <a:pt x="3381890" y="2919717"/>
                  </a:cubicBezTo>
                  <a:cubicBezTo>
                    <a:pt x="3381890" y="2956228"/>
                    <a:pt x="3375195" y="2984088"/>
                    <a:pt x="3361804" y="3003296"/>
                  </a:cubicBezTo>
                  <a:cubicBezTo>
                    <a:pt x="3348413" y="3022505"/>
                    <a:pt x="3329681" y="3032109"/>
                    <a:pt x="3305607" y="3032109"/>
                  </a:cubicBezTo>
                  <a:cubicBezTo>
                    <a:pt x="3283139" y="3032109"/>
                    <a:pt x="3265610" y="3022931"/>
                    <a:pt x="3253022" y="3004575"/>
                  </a:cubicBezTo>
                  <a:cubicBezTo>
                    <a:pt x="3240433" y="2986219"/>
                    <a:pt x="3234139" y="2959688"/>
                    <a:pt x="3234139" y="2924983"/>
                  </a:cubicBezTo>
                  <a:cubicBezTo>
                    <a:pt x="3234139" y="2886866"/>
                    <a:pt x="3240709" y="2858029"/>
                    <a:pt x="3253849" y="2838469"/>
                  </a:cubicBezTo>
                  <a:cubicBezTo>
                    <a:pt x="3266990" y="2818909"/>
                    <a:pt x="3285947" y="2809129"/>
                    <a:pt x="3310723" y="2809129"/>
                  </a:cubicBezTo>
                  <a:close/>
                  <a:moveTo>
                    <a:pt x="6505937" y="2508571"/>
                  </a:moveTo>
                  <a:cubicBezTo>
                    <a:pt x="6479757" y="2508571"/>
                    <a:pt x="6466667" y="2537409"/>
                    <a:pt x="6466667" y="2595085"/>
                  </a:cubicBezTo>
                  <a:cubicBezTo>
                    <a:pt x="6466667" y="2649049"/>
                    <a:pt x="6479506" y="2676032"/>
                    <a:pt x="6505185" y="2676032"/>
                  </a:cubicBezTo>
                  <a:cubicBezTo>
                    <a:pt x="6530462" y="2676032"/>
                    <a:pt x="6543100" y="2648598"/>
                    <a:pt x="6543100" y="2593731"/>
                  </a:cubicBezTo>
                  <a:cubicBezTo>
                    <a:pt x="6543100" y="2536957"/>
                    <a:pt x="6530712" y="2508571"/>
                    <a:pt x="6505937" y="2508571"/>
                  </a:cubicBezTo>
                  <a:close/>
                  <a:moveTo>
                    <a:pt x="6134901" y="2508571"/>
                  </a:moveTo>
                  <a:cubicBezTo>
                    <a:pt x="6108721" y="2508571"/>
                    <a:pt x="6095631" y="2537409"/>
                    <a:pt x="6095631" y="2595085"/>
                  </a:cubicBezTo>
                  <a:cubicBezTo>
                    <a:pt x="6095631" y="2649049"/>
                    <a:pt x="6108470" y="2676032"/>
                    <a:pt x="6134149" y="2676032"/>
                  </a:cubicBezTo>
                  <a:cubicBezTo>
                    <a:pt x="6159426" y="2676032"/>
                    <a:pt x="6172064" y="2648598"/>
                    <a:pt x="6172064" y="2593731"/>
                  </a:cubicBezTo>
                  <a:cubicBezTo>
                    <a:pt x="6172064" y="2536957"/>
                    <a:pt x="6159676" y="2508571"/>
                    <a:pt x="6134901" y="2508571"/>
                  </a:cubicBezTo>
                  <a:close/>
                  <a:moveTo>
                    <a:pt x="450509" y="2508571"/>
                  </a:moveTo>
                  <a:cubicBezTo>
                    <a:pt x="424329" y="2508571"/>
                    <a:pt x="411240" y="2537409"/>
                    <a:pt x="411240" y="2595085"/>
                  </a:cubicBezTo>
                  <a:cubicBezTo>
                    <a:pt x="411240" y="2649049"/>
                    <a:pt x="424078" y="2676032"/>
                    <a:pt x="449758" y="2676032"/>
                  </a:cubicBezTo>
                  <a:cubicBezTo>
                    <a:pt x="475034" y="2676032"/>
                    <a:pt x="487673" y="2648598"/>
                    <a:pt x="487673" y="2593731"/>
                  </a:cubicBezTo>
                  <a:cubicBezTo>
                    <a:pt x="487673" y="2536957"/>
                    <a:pt x="475285" y="2508571"/>
                    <a:pt x="450509" y="2508571"/>
                  </a:cubicBezTo>
                  <a:close/>
                  <a:moveTo>
                    <a:pt x="74929" y="2508571"/>
                  </a:moveTo>
                  <a:cubicBezTo>
                    <a:pt x="48750" y="2508571"/>
                    <a:pt x="35659" y="2537409"/>
                    <a:pt x="35659" y="2595085"/>
                  </a:cubicBezTo>
                  <a:cubicBezTo>
                    <a:pt x="35659" y="2649049"/>
                    <a:pt x="48498" y="2676032"/>
                    <a:pt x="74177" y="2676032"/>
                  </a:cubicBezTo>
                  <a:cubicBezTo>
                    <a:pt x="99454" y="2676032"/>
                    <a:pt x="112092" y="2648598"/>
                    <a:pt x="112092" y="2593731"/>
                  </a:cubicBezTo>
                  <a:cubicBezTo>
                    <a:pt x="112092" y="2536957"/>
                    <a:pt x="99706" y="2508571"/>
                    <a:pt x="74929" y="2508571"/>
                  </a:cubicBezTo>
                  <a:close/>
                  <a:moveTo>
                    <a:pt x="6507592" y="2480736"/>
                  </a:moveTo>
                  <a:cubicBezTo>
                    <a:pt x="6555037" y="2480736"/>
                    <a:pt x="6578759" y="2517599"/>
                    <a:pt x="6578759" y="2591324"/>
                  </a:cubicBezTo>
                  <a:cubicBezTo>
                    <a:pt x="6578759" y="2627835"/>
                    <a:pt x="6572064" y="2655695"/>
                    <a:pt x="6558673" y="2674903"/>
                  </a:cubicBezTo>
                  <a:cubicBezTo>
                    <a:pt x="6545282" y="2694111"/>
                    <a:pt x="6526550" y="2703716"/>
                    <a:pt x="6502476" y="2703716"/>
                  </a:cubicBezTo>
                  <a:cubicBezTo>
                    <a:pt x="6480008" y="2703716"/>
                    <a:pt x="6462479" y="2694538"/>
                    <a:pt x="6449891" y="2676182"/>
                  </a:cubicBezTo>
                  <a:cubicBezTo>
                    <a:pt x="6437302" y="2657826"/>
                    <a:pt x="6431008" y="2631295"/>
                    <a:pt x="6431008" y="2596590"/>
                  </a:cubicBezTo>
                  <a:cubicBezTo>
                    <a:pt x="6431008" y="2558473"/>
                    <a:pt x="6437578" y="2529635"/>
                    <a:pt x="6450718" y="2510075"/>
                  </a:cubicBezTo>
                  <a:cubicBezTo>
                    <a:pt x="6463859" y="2490516"/>
                    <a:pt x="6482816" y="2480736"/>
                    <a:pt x="6507592" y="2480736"/>
                  </a:cubicBezTo>
                  <a:close/>
                  <a:moveTo>
                    <a:pt x="6136556" y="2480736"/>
                  </a:moveTo>
                  <a:cubicBezTo>
                    <a:pt x="6184001" y="2480736"/>
                    <a:pt x="6207723" y="2517599"/>
                    <a:pt x="6207723" y="2591324"/>
                  </a:cubicBezTo>
                  <a:cubicBezTo>
                    <a:pt x="6207723" y="2627835"/>
                    <a:pt x="6201028" y="2655695"/>
                    <a:pt x="6187637" y="2674903"/>
                  </a:cubicBezTo>
                  <a:cubicBezTo>
                    <a:pt x="6174246" y="2694111"/>
                    <a:pt x="6155514" y="2703716"/>
                    <a:pt x="6131440" y="2703716"/>
                  </a:cubicBezTo>
                  <a:cubicBezTo>
                    <a:pt x="6108972" y="2703716"/>
                    <a:pt x="6091443" y="2694538"/>
                    <a:pt x="6078855" y="2676182"/>
                  </a:cubicBezTo>
                  <a:cubicBezTo>
                    <a:pt x="6066266" y="2657826"/>
                    <a:pt x="6059972" y="2631295"/>
                    <a:pt x="6059972" y="2596590"/>
                  </a:cubicBezTo>
                  <a:cubicBezTo>
                    <a:pt x="6059972" y="2558473"/>
                    <a:pt x="6066542" y="2529635"/>
                    <a:pt x="6079682" y="2510075"/>
                  </a:cubicBezTo>
                  <a:cubicBezTo>
                    <a:pt x="6092823" y="2490516"/>
                    <a:pt x="6111780" y="2480736"/>
                    <a:pt x="6136556" y="2480736"/>
                  </a:cubicBezTo>
                  <a:close/>
                  <a:moveTo>
                    <a:pt x="452165" y="2480736"/>
                  </a:moveTo>
                  <a:cubicBezTo>
                    <a:pt x="499610" y="2480736"/>
                    <a:pt x="523332" y="2517599"/>
                    <a:pt x="523332" y="2591324"/>
                  </a:cubicBezTo>
                  <a:cubicBezTo>
                    <a:pt x="523332" y="2627835"/>
                    <a:pt x="516637" y="2655695"/>
                    <a:pt x="503246" y="2674903"/>
                  </a:cubicBezTo>
                  <a:cubicBezTo>
                    <a:pt x="489854" y="2694111"/>
                    <a:pt x="471123" y="2703716"/>
                    <a:pt x="447049" y="2703716"/>
                  </a:cubicBezTo>
                  <a:cubicBezTo>
                    <a:pt x="424580" y="2703716"/>
                    <a:pt x="407051" y="2694538"/>
                    <a:pt x="394463" y="2676182"/>
                  </a:cubicBezTo>
                  <a:cubicBezTo>
                    <a:pt x="381875" y="2657826"/>
                    <a:pt x="375581" y="2631295"/>
                    <a:pt x="375581" y="2596590"/>
                  </a:cubicBezTo>
                  <a:cubicBezTo>
                    <a:pt x="375581" y="2558473"/>
                    <a:pt x="382151" y="2529635"/>
                    <a:pt x="395291" y="2510075"/>
                  </a:cubicBezTo>
                  <a:cubicBezTo>
                    <a:pt x="408431" y="2490516"/>
                    <a:pt x="427388" y="2480736"/>
                    <a:pt x="452165" y="2480736"/>
                  </a:cubicBezTo>
                  <a:close/>
                  <a:moveTo>
                    <a:pt x="76584" y="2480736"/>
                  </a:moveTo>
                  <a:cubicBezTo>
                    <a:pt x="124029" y="2480736"/>
                    <a:pt x="147751" y="2517599"/>
                    <a:pt x="147751" y="2591324"/>
                  </a:cubicBezTo>
                  <a:cubicBezTo>
                    <a:pt x="147751" y="2627835"/>
                    <a:pt x="141056" y="2655695"/>
                    <a:pt x="127665" y="2674903"/>
                  </a:cubicBezTo>
                  <a:cubicBezTo>
                    <a:pt x="114274" y="2694111"/>
                    <a:pt x="95542" y="2703716"/>
                    <a:pt x="71468" y="2703716"/>
                  </a:cubicBezTo>
                  <a:cubicBezTo>
                    <a:pt x="49000" y="2703716"/>
                    <a:pt x="31471" y="2694538"/>
                    <a:pt x="18883" y="2676182"/>
                  </a:cubicBezTo>
                  <a:cubicBezTo>
                    <a:pt x="6295" y="2657826"/>
                    <a:pt x="0" y="2631295"/>
                    <a:pt x="0" y="2596590"/>
                  </a:cubicBezTo>
                  <a:cubicBezTo>
                    <a:pt x="0" y="2558473"/>
                    <a:pt x="6572" y="2529635"/>
                    <a:pt x="19710" y="2510075"/>
                  </a:cubicBezTo>
                  <a:cubicBezTo>
                    <a:pt x="32852" y="2490516"/>
                    <a:pt x="51808" y="2480736"/>
                    <a:pt x="76584" y="2480736"/>
                  </a:cubicBezTo>
                  <a:close/>
                  <a:moveTo>
                    <a:pt x="6278828" y="2204600"/>
                  </a:moveTo>
                  <a:cubicBezTo>
                    <a:pt x="6252648" y="2204600"/>
                    <a:pt x="6239558" y="2233438"/>
                    <a:pt x="6239558" y="2291114"/>
                  </a:cubicBezTo>
                  <a:cubicBezTo>
                    <a:pt x="6239558" y="2345078"/>
                    <a:pt x="6252397" y="2372061"/>
                    <a:pt x="6278076" y="2372061"/>
                  </a:cubicBezTo>
                  <a:cubicBezTo>
                    <a:pt x="6303353" y="2372061"/>
                    <a:pt x="6315991" y="2344627"/>
                    <a:pt x="6315991" y="2289760"/>
                  </a:cubicBezTo>
                  <a:cubicBezTo>
                    <a:pt x="6315991" y="2232986"/>
                    <a:pt x="6303603" y="2204600"/>
                    <a:pt x="6278828" y="2204600"/>
                  </a:cubicBezTo>
                  <a:close/>
                  <a:moveTo>
                    <a:pt x="215417" y="2204600"/>
                  </a:moveTo>
                  <a:cubicBezTo>
                    <a:pt x="189237" y="2204600"/>
                    <a:pt x="176147" y="2233438"/>
                    <a:pt x="176147" y="2291114"/>
                  </a:cubicBezTo>
                  <a:cubicBezTo>
                    <a:pt x="176147" y="2345078"/>
                    <a:pt x="188986" y="2372061"/>
                    <a:pt x="214665" y="2372061"/>
                  </a:cubicBezTo>
                  <a:cubicBezTo>
                    <a:pt x="239942" y="2372061"/>
                    <a:pt x="252580" y="2344627"/>
                    <a:pt x="252580" y="2289760"/>
                  </a:cubicBezTo>
                  <a:cubicBezTo>
                    <a:pt x="252580" y="2232986"/>
                    <a:pt x="240192" y="2204600"/>
                    <a:pt x="215417" y="2204600"/>
                  </a:cubicBezTo>
                  <a:close/>
                  <a:moveTo>
                    <a:pt x="6280483" y="2176765"/>
                  </a:moveTo>
                  <a:cubicBezTo>
                    <a:pt x="6327928" y="2176765"/>
                    <a:pt x="6351650" y="2213628"/>
                    <a:pt x="6351650" y="2287352"/>
                  </a:cubicBezTo>
                  <a:cubicBezTo>
                    <a:pt x="6351650" y="2323864"/>
                    <a:pt x="6344955" y="2351724"/>
                    <a:pt x="6331564" y="2370932"/>
                  </a:cubicBezTo>
                  <a:cubicBezTo>
                    <a:pt x="6318173" y="2390140"/>
                    <a:pt x="6299441" y="2399745"/>
                    <a:pt x="6275367" y="2399745"/>
                  </a:cubicBezTo>
                  <a:cubicBezTo>
                    <a:pt x="6252899" y="2399745"/>
                    <a:pt x="6235370" y="2390567"/>
                    <a:pt x="6222782" y="2372211"/>
                  </a:cubicBezTo>
                  <a:cubicBezTo>
                    <a:pt x="6210193" y="2353855"/>
                    <a:pt x="6203899" y="2327324"/>
                    <a:pt x="6203899" y="2292619"/>
                  </a:cubicBezTo>
                  <a:cubicBezTo>
                    <a:pt x="6203899" y="2254502"/>
                    <a:pt x="6210469" y="2225664"/>
                    <a:pt x="6223609" y="2206104"/>
                  </a:cubicBezTo>
                  <a:cubicBezTo>
                    <a:pt x="6236750" y="2186545"/>
                    <a:pt x="6255707" y="2176765"/>
                    <a:pt x="6280483" y="2176765"/>
                  </a:cubicBezTo>
                  <a:close/>
                  <a:moveTo>
                    <a:pt x="217072" y="2176765"/>
                  </a:moveTo>
                  <a:cubicBezTo>
                    <a:pt x="264517" y="2176765"/>
                    <a:pt x="288239" y="2213628"/>
                    <a:pt x="288239" y="2287352"/>
                  </a:cubicBezTo>
                  <a:cubicBezTo>
                    <a:pt x="288239" y="2323864"/>
                    <a:pt x="281543" y="2351724"/>
                    <a:pt x="268153" y="2370932"/>
                  </a:cubicBezTo>
                  <a:cubicBezTo>
                    <a:pt x="254762" y="2390140"/>
                    <a:pt x="236030" y="2399745"/>
                    <a:pt x="211956" y="2399745"/>
                  </a:cubicBezTo>
                  <a:cubicBezTo>
                    <a:pt x="189488" y="2399745"/>
                    <a:pt x="171959" y="2390567"/>
                    <a:pt x="159371" y="2372211"/>
                  </a:cubicBezTo>
                  <a:cubicBezTo>
                    <a:pt x="146782" y="2353855"/>
                    <a:pt x="140488" y="2327324"/>
                    <a:pt x="140488" y="2292619"/>
                  </a:cubicBezTo>
                  <a:cubicBezTo>
                    <a:pt x="140488" y="2254502"/>
                    <a:pt x="147058" y="2225664"/>
                    <a:pt x="160198" y="2206104"/>
                  </a:cubicBezTo>
                  <a:cubicBezTo>
                    <a:pt x="173339" y="2186545"/>
                    <a:pt x="192296" y="2176765"/>
                    <a:pt x="217072" y="2176765"/>
                  </a:cubicBezTo>
                  <a:close/>
                  <a:moveTo>
                    <a:pt x="9601339" y="1870182"/>
                  </a:moveTo>
                  <a:cubicBezTo>
                    <a:pt x="9575159" y="1870182"/>
                    <a:pt x="9562069" y="1899020"/>
                    <a:pt x="9562069" y="1956696"/>
                  </a:cubicBezTo>
                  <a:cubicBezTo>
                    <a:pt x="9562069" y="2010660"/>
                    <a:pt x="9574908" y="2037642"/>
                    <a:pt x="9600587" y="2037642"/>
                  </a:cubicBezTo>
                  <a:cubicBezTo>
                    <a:pt x="9625863" y="2037642"/>
                    <a:pt x="9638502" y="2010209"/>
                    <a:pt x="9638502" y="1955342"/>
                  </a:cubicBezTo>
                  <a:cubicBezTo>
                    <a:pt x="9638502" y="1898568"/>
                    <a:pt x="9626114" y="1870182"/>
                    <a:pt x="9601339" y="1870182"/>
                  </a:cubicBezTo>
                  <a:close/>
                  <a:moveTo>
                    <a:pt x="9240737" y="1870182"/>
                  </a:moveTo>
                  <a:cubicBezTo>
                    <a:pt x="9214557" y="1870182"/>
                    <a:pt x="9201467" y="1899020"/>
                    <a:pt x="9201467" y="1956696"/>
                  </a:cubicBezTo>
                  <a:cubicBezTo>
                    <a:pt x="9201467" y="2010660"/>
                    <a:pt x="9214306" y="2037642"/>
                    <a:pt x="9239985" y="2037642"/>
                  </a:cubicBezTo>
                  <a:cubicBezTo>
                    <a:pt x="9265261" y="2037642"/>
                    <a:pt x="9277900" y="2010209"/>
                    <a:pt x="9277900" y="1955342"/>
                  </a:cubicBezTo>
                  <a:cubicBezTo>
                    <a:pt x="9277900" y="1898568"/>
                    <a:pt x="9265512" y="1870182"/>
                    <a:pt x="9240737" y="1870182"/>
                  </a:cubicBezTo>
                  <a:close/>
                  <a:moveTo>
                    <a:pt x="3546994" y="1870182"/>
                  </a:moveTo>
                  <a:cubicBezTo>
                    <a:pt x="3520815" y="1870182"/>
                    <a:pt x="3507725" y="1899020"/>
                    <a:pt x="3507725" y="1956696"/>
                  </a:cubicBezTo>
                  <a:cubicBezTo>
                    <a:pt x="3507725" y="2010660"/>
                    <a:pt x="3520564" y="2037642"/>
                    <a:pt x="3546242" y="2037642"/>
                  </a:cubicBezTo>
                  <a:cubicBezTo>
                    <a:pt x="3571519" y="2037642"/>
                    <a:pt x="3584158" y="2010209"/>
                    <a:pt x="3584158" y="1955342"/>
                  </a:cubicBezTo>
                  <a:cubicBezTo>
                    <a:pt x="3584158" y="1898568"/>
                    <a:pt x="3571770" y="1870182"/>
                    <a:pt x="3546994" y="1870182"/>
                  </a:cubicBezTo>
                  <a:close/>
                  <a:moveTo>
                    <a:pt x="3181981" y="1870182"/>
                  </a:moveTo>
                  <a:cubicBezTo>
                    <a:pt x="3155802" y="1870182"/>
                    <a:pt x="3142712" y="1899020"/>
                    <a:pt x="3142712" y="1956696"/>
                  </a:cubicBezTo>
                  <a:cubicBezTo>
                    <a:pt x="3142712" y="2010660"/>
                    <a:pt x="3155551" y="2037642"/>
                    <a:pt x="3181229" y="2037642"/>
                  </a:cubicBezTo>
                  <a:cubicBezTo>
                    <a:pt x="3206506" y="2037642"/>
                    <a:pt x="3219145" y="2010209"/>
                    <a:pt x="3219145" y="1955342"/>
                  </a:cubicBezTo>
                  <a:cubicBezTo>
                    <a:pt x="3219145" y="1898568"/>
                    <a:pt x="3206757" y="1870182"/>
                    <a:pt x="3181981" y="1870182"/>
                  </a:cubicBezTo>
                  <a:close/>
                  <a:moveTo>
                    <a:pt x="9602994" y="1842347"/>
                  </a:moveTo>
                  <a:cubicBezTo>
                    <a:pt x="9650438" y="1842347"/>
                    <a:pt x="9674161" y="1879209"/>
                    <a:pt x="9674161" y="1952934"/>
                  </a:cubicBezTo>
                  <a:cubicBezTo>
                    <a:pt x="9674161" y="1989446"/>
                    <a:pt x="9667465" y="2017306"/>
                    <a:pt x="9654075" y="2036514"/>
                  </a:cubicBezTo>
                  <a:cubicBezTo>
                    <a:pt x="9640684" y="2055722"/>
                    <a:pt x="9621952" y="2065327"/>
                    <a:pt x="9597878" y="2065327"/>
                  </a:cubicBezTo>
                  <a:cubicBezTo>
                    <a:pt x="9575410" y="2065327"/>
                    <a:pt x="9557881" y="2056149"/>
                    <a:pt x="9545293" y="2037793"/>
                  </a:cubicBezTo>
                  <a:cubicBezTo>
                    <a:pt x="9532704" y="2019437"/>
                    <a:pt x="9526410" y="1992906"/>
                    <a:pt x="9526410" y="1958201"/>
                  </a:cubicBezTo>
                  <a:cubicBezTo>
                    <a:pt x="9526410" y="1920084"/>
                    <a:pt x="9532980" y="1891246"/>
                    <a:pt x="9546120" y="1871686"/>
                  </a:cubicBezTo>
                  <a:cubicBezTo>
                    <a:pt x="9559261" y="1852127"/>
                    <a:pt x="9578218" y="1842347"/>
                    <a:pt x="9602994" y="1842347"/>
                  </a:cubicBezTo>
                  <a:close/>
                  <a:moveTo>
                    <a:pt x="9242392" y="1842347"/>
                  </a:moveTo>
                  <a:cubicBezTo>
                    <a:pt x="9289836" y="1842347"/>
                    <a:pt x="9313559" y="1879209"/>
                    <a:pt x="9313559" y="1952934"/>
                  </a:cubicBezTo>
                  <a:cubicBezTo>
                    <a:pt x="9313559" y="1989446"/>
                    <a:pt x="9306863" y="2017306"/>
                    <a:pt x="9293473" y="2036514"/>
                  </a:cubicBezTo>
                  <a:cubicBezTo>
                    <a:pt x="9280082" y="2055722"/>
                    <a:pt x="9261350" y="2065327"/>
                    <a:pt x="9237276" y="2065327"/>
                  </a:cubicBezTo>
                  <a:cubicBezTo>
                    <a:pt x="9214808" y="2065327"/>
                    <a:pt x="9197279" y="2056149"/>
                    <a:pt x="9184691" y="2037793"/>
                  </a:cubicBezTo>
                  <a:cubicBezTo>
                    <a:pt x="9172102" y="2019437"/>
                    <a:pt x="9165808" y="1992906"/>
                    <a:pt x="9165808" y="1958201"/>
                  </a:cubicBezTo>
                  <a:cubicBezTo>
                    <a:pt x="9165808" y="1920084"/>
                    <a:pt x="9172378" y="1891246"/>
                    <a:pt x="9185518" y="1871686"/>
                  </a:cubicBezTo>
                  <a:cubicBezTo>
                    <a:pt x="9198659" y="1852127"/>
                    <a:pt x="9217616" y="1842347"/>
                    <a:pt x="9242392" y="1842347"/>
                  </a:cubicBezTo>
                  <a:close/>
                  <a:moveTo>
                    <a:pt x="3548649" y="1842347"/>
                  </a:moveTo>
                  <a:cubicBezTo>
                    <a:pt x="3596094" y="1842347"/>
                    <a:pt x="3619817" y="1879209"/>
                    <a:pt x="3619817" y="1952934"/>
                  </a:cubicBezTo>
                  <a:cubicBezTo>
                    <a:pt x="3619817" y="1989446"/>
                    <a:pt x="3613121" y="2017306"/>
                    <a:pt x="3599731" y="2036514"/>
                  </a:cubicBezTo>
                  <a:cubicBezTo>
                    <a:pt x="3586339" y="2055722"/>
                    <a:pt x="3567607" y="2065327"/>
                    <a:pt x="3543534" y="2065327"/>
                  </a:cubicBezTo>
                  <a:cubicBezTo>
                    <a:pt x="3521065" y="2065327"/>
                    <a:pt x="3503537" y="2056149"/>
                    <a:pt x="3490948" y="2037793"/>
                  </a:cubicBezTo>
                  <a:cubicBezTo>
                    <a:pt x="3478360" y="2019437"/>
                    <a:pt x="3472066" y="1992906"/>
                    <a:pt x="3472066" y="1958201"/>
                  </a:cubicBezTo>
                  <a:cubicBezTo>
                    <a:pt x="3472066" y="1920084"/>
                    <a:pt x="3478636" y="1891246"/>
                    <a:pt x="3491776" y="1871686"/>
                  </a:cubicBezTo>
                  <a:cubicBezTo>
                    <a:pt x="3504916" y="1852127"/>
                    <a:pt x="3523874" y="1842347"/>
                    <a:pt x="3548649" y="1842347"/>
                  </a:cubicBezTo>
                  <a:close/>
                  <a:moveTo>
                    <a:pt x="3183636" y="1842347"/>
                  </a:moveTo>
                  <a:cubicBezTo>
                    <a:pt x="3231081" y="1842347"/>
                    <a:pt x="3254804" y="1879209"/>
                    <a:pt x="3254804" y="1952934"/>
                  </a:cubicBezTo>
                  <a:cubicBezTo>
                    <a:pt x="3254804" y="1989446"/>
                    <a:pt x="3248108" y="2017306"/>
                    <a:pt x="3234718" y="2036514"/>
                  </a:cubicBezTo>
                  <a:cubicBezTo>
                    <a:pt x="3221326" y="2055722"/>
                    <a:pt x="3202594" y="2065327"/>
                    <a:pt x="3178521" y="2065327"/>
                  </a:cubicBezTo>
                  <a:cubicBezTo>
                    <a:pt x="3156052" y="2065327"/>
                    <a:pt x="3138524" y="2056149"/>
                    <a:pt x="3125935" y="2037793"/>
                  </a:cubicBezTo>
                  <a:cubicBezTo>
                    <a:pt x="3113347" y="2019437"/>
                    <a:pt x="3107053" y="1992906"/>
                    <a:pt x="3107053" y="1958201"/>
                  </a:cubicBezTo>
                  <a:cubicBezTo>
                    <a:pt x="3107053" y="1920084"/>
                    <a:pt x="3113623" y="1891246"/>
                    <a:pt x="3126763" y="1871686"/>
                  </a:cubicBezTo>
                  <a:cubicBezTo>
                    <a:pt x="3139903" y="1852127"/>
                    <a:pt x="3158861" y="1842347"/>
                    <a:pt x="3183636" y="1842347"/>
                  </a:cubicBezTo>
                  <a:close/>
                  <a:moveTo>
                    <a:pt x="9365121" y="1549837"/>
                  </a:moveTo>
                  <a:cubicBezTo>
                    <a:pt x="9338941" y="1549837"/>
                    <a:pt x="9325851" y="1578675"/>
                    <a:pt x="9325851" y="1636351"/>
                  </a:cubicBezTo>
                  <a:cubicBezTo>
                    <a:pt x="9325851" y="1690315"/>
                    <a:pt x="9338690" y="1717298"/>
                    <a:pt x="9364369" y="1717298"/>
                  </a:cubicBezTo>
                  <a:cubicBezTo>
                    <a:pt x="9389645" y="1717298"/>
                    <a:pt x="9402284" y="1689864"/>
                    <a:pt x="9402284" y="1634997"/>
                  </a:cubicBezTo>
                  <a:cubicBezTo>
                    <a:pt x="9402284" y="1578223"/>
                    <a:pt x="9389896" y="1549837"/>
                    <a:pt x="9365121" y="1549837"/>
                  </a:cubicBezTo>
                  <a:close/>
                  <a:moveTo>
                    <a:pt x="3309068" y="1549837"/>
                  </a:moveTo>
                  <a:cubicBezTo>
                    <a:pt x="3282888" y="1549837"/>
                    <a:pt x="3269798" y="1578675"/>
                    <a:pt x="3269798" y="1636351"/>
                  </a:cubicBezTo>
                  <a:cubicBezTo>
                    <a:pt x="3269798" y="1690315"/>
                    <a:pt x="3282637" y="1717298"/>
                    <a:pt x="3308316" y="1717298"/>
                  </a:cubicBezTo>
                  <a:cubicBezTo>
                    <a:pt x="3333593" y="1717298"/>
                    <a:pt x="3346231" y="1689864"/>
                    <a:pt x="3346231" y="1634997"/>
                  </a:cubicBezTo>
                  <a:cubicBezTo>
                    <a:pt x="3346231" y="1578223"/>
                    <a:pt x="3333843" y="1549837"/>
                    <a:pt x="3309068" y="1549837"/>
                  </a:cubicBezTo>
                  <a:close/>
                  <a:moveTo>
                    <a:pt x="9366776" y="1522002"/>
                  </a:moveTo>
                  <a:cubicBezTo>
                    <a:pt x="9414220" y="1522002"/>
                    <a:pt x="9437943" y="1558865"/>
                    <a:pt x="9437943" y="1632590"/>
                  </a:cubicBezTo>
                  <a:cubicBezTo>
                    <a:pt x="9437943" y="1669101"/>
                    <a:pt x="9431247" y="1696961"/>
                    <a:pt x="9417857" y="1716169"/>
                  </a:cubicBezTo>
                  <a:cubicBezTo>
                    <a:pt x="9404466" y="1735377"/>
                    <a:pt x="9385734" y="1744982"/>
                    <a:pt x="9361660" y="1744982"/>
                  </a:cubicBezTo>
                  <a:cubicBezTo>
                    <a:pt x="9339192" y="1744982"/>
                    <a:pt x="9321663" y="1735804"/>
                    <a:pt x="9309075" y="1717448"/>
                  </a:cubicBezTo>
                  <a:cubicBezTo>
                    <a:pt x="9296486" y="1699092"/>
                    <a:pt x="9290192" y="1672561"/>
                    <a:pt x="9290192" y="1637856"/>
                  </a:cubicBezTo>
                  <a:cubicBezTo>
                    <a:pt x="9290192" y="1599739"/>
                    <a:pt x="9296762" y="1570902"/>
                    <a:pt x="9309902" y="1551342"/>
                  </a:cubicBezTo>
                  <a:cubicBezTo>
                    <a:pt x="9323043" y="1531782"/>
                    <a:pt x="9342000" y="1522002"/>
                    <a:pt x="9366776" y="1522002"/>
                  </a:cubicBezTo>
                  <a:close/>
                  <a:moveTo>
                    <a:pt x="3310723" y="1522002"/>
                  </a:moveTo>
                  <a:cubicBezTo>
                    <a:pt x="3358168" y="1522002"/>
                    <a:pt x="3381890" y="1558865"/>
                    <a:pt x="3381890" y="1632590"/>
                  </a:cubicBezTo>
                  <a:cubicBezTo>
                    <a:pt x="3381890" y="1669101"/>
                    <a:pt x="3375195" y="1696961"/>
                    <a:pt x="3361804" y="1716169"/>
                  </a:cubicBezTo>
                  <a:cubicBezTo>
                    <a:pt x="3348413" y="1735377"/>
                    <a:pt x="3329681" y="1744982"/>
                    <a:pt x="3305607" y="1744982"/>
                  </a:cubicBezTo>
                  <a:cubicBezTo>
                    <a:pt x="3283139" y="1744982"/>
                    <a:pt x="3265610" y="1735804"/>
                    <a:pt x="3253022" y="1717448"/>
                  </a:cubicBezTo>
                  <a:cubicBezTo>
                    <a:pt x="3240433" y="1699092"/>
                    <a:pt x="3234139" y="1672561"/>
                    <a:pt x="3234139" y="1637856"/>
                  </a:cubicBezTo>
                  <a:cubicBezTo>
                    <a:pt x="3234139" y="1599739"/>
                    <a:pt x="3240709" y="1570902"/>
                    <a:pt x="3253849" y="1551342"/>
                  </a:cubicBezTo>
                  <a:cubicBezTo>
                    <a:pt x="3266990" y="1531782"/>
                    <a:pt x="3285947" y="1522002"/>
                    <a:pt x="3310723" y="1522002"/>
                  </a:cubicBezTo>
                  <a:close/>
                  <a:moveTo>
                    <a:pt x="6512446" y="1236534"/>
                  </a:moveTo>
                  <a:cubicBezTo>
                    <a:pt x="6486266" y="1236534"/>
                    <a:pt x="6473176" y="1265372"/>
                    <a:pt x="6473176" y="1323048"/>
                  </a:cubicBezTo>
                  <a:cubicBezTo>
                    <a:pt x="6473176" y="1377012"/>
                    <a:pt x="6486015" y="1403995"/>
                    <a:pt x="6511694" y="1403995"/>
                  </a:cubicBezTo>
                  <a:cubicBezTo>
                    <a:pt x="6536971" y="1403995"/>
                    <a:pt x="6549609" y="1376561"/>
                    <a:pt x="6549609" y="1321694"/>
                  </a:cubicBezTo>
                  <a:cubicBezTo>
                    <a:pt x="6549609" y="1264920"/>
                    <a:pt x="6537221" y="1236534"/>
                    <a:pt x="6512446" y="1236534"/>
                  </a:cubicBezTo>
                  <a:close/>
                  <a:moveTo>
                    <a:pt x="6141410" y="1236534"/>
                  </a:moveTo>
                  <a:cubicBezTo>
                    <a:pt x="6115230" y="1236534"/>
                    <a:pt x="6102140" y="1265372"/>
                    <a:pt x="6102140" y="1323048"/>
                  </a:cubicBezTo>
                  <a:cubicBezTo>
                    <a:pt x="6102140" y="1377012"/>
                    <a:pt x="6114979" y="1403995"/>
                    <a:pt x="6140658" y="1403995"/>
                  </a:cubicBezTo>
                  <a:cubicBezTo>
                    <a:pt x="6165935" y="1403995"/>
                    <a:pt x="6178573" y="1376561"/>
                    <a:pt x="6178573" y="1321694"/>
                  </a:cubicBezTo>
                  <a:cubicBezTo>
                    <a:pt x="6178573" y="1264920"/>
                    <a:pt x="6166185" y="1236534"/>
                    <a:pt x="6141410" y="1236534"/>
                  </a:cubicBezTo>
                  <a:close/>
                  <a:moveTo>
                    <a:pt x="457019" y="1236534"/>
                  </a:moveTo>
                  <a:cubicBezTo>
                    <a:pt x="430839" y="1236534"/>
                    <a:pt x="417749" y="1265372"/>
                    <a:pt x="417749" y="1323048"/>
                  </a:cubicBezTo>
                  <a:cubicBezTo>
                    <a:pt x="417749" y="1377012"/>
                    <a:pt x="430588" y="1403995"/>
                    <a:pt x="456267" y="1403995"/>
                  </a:cubicBezTo>
                  <a:cubicBezTo>
                    <a:pt x="481544" y="1403995"/>
                    <a:pt x="494182" y="1376561"/>
                    <a:pt x="494182" y="1321694"/>
                  </a:cubicBezTo>
                  <a:cubicBezTo>
                    <a:pt x="494182" y="1264920"/>
                    <a:pt x="481795" y="1236534"/>
                    <a:pt x="457019" y="1236534"/>
                  </a:cubicBezTo>
                  <a:close/>
                  <a:moveTo>
                    <a:pt x="81439" y="1236534"/>
                  </a:moveTo>
                  <a:cubicBezTo>
                    <a:pt x="55259" y="1236534"/>
                    <a:pt x="42169" y="1265372"/>
                    <a:pt x="42169" y="1323048"/>
                  </a:cubicBezTo>
                  <a:cubicBezTo>
                    <a:pt x="42169" y="1377012"/>
                    <a:pt x="55008" y="1403995"/>
                    <a:pt x="80687" y="1403995"/>
                  </a:cubicBezTo>
                  <a:cubicBezTo>
                    <a:pt x="105964" y="1403995"/>
                    <a:pt x="118602" y="1376561"/>
                    <a:pt x="118602" y="1321694"/>
                  </a:cubicBezTo>
                  <a:cubicBezTo>
                    <a:pt x="118602" y="1264920"/>
                    <a:pt x="106215" y="1236534"/>
                    <a:pt x="81439" y="1236534"/>
                  </a:cubicBezTo>
                  <a:close/>
                  <a:moveTo>
                    <a:pt x="6514101" y="1208699"/>
                  </a:moveTo>
                  <a:cubicBezTo>
                    <a:pt x="6561546" y="1208699"/>
                    <a:pt x="6585268" y="1245562"/>
                    <a:pt x="6585268" y="1319287"/>
                  </a:cubicBezTo>
                  <a:cubicBezTo>
                    <a:pt x="6585268" y="1355798"/>
                    <a:pt x="6578573" y="1383658"/>
                    <a:pt x="6565182" y="1402866"/>
                  </a:cubicBezTo>
                  <a:cubicBezTo>
                    <a:pt x="6551791" y="1422074"/>
                    <a:pt x="6533059" y="1431679"/>
                    <a:pt x="6508985" y="1431679"/>
                  </a:cubicBezTo>
                  <a:cubicBezTo>
                    <a:pt x="6486517" y="1431679"/>
                    <a:pt x="6468988" y="1422501"/>
                    <a:pt x="6456400" y="1404145"/>
                  </a:cubicBezTo>
                  <a:cubicBezTo>
                    <a:pt x="6443811" y="1385789"/>
                    <a:pt x="6437517" y="1359258"/>
                    <a:pt x="6437517" y="1324553"/>
                  </a:cubicBezTo>
                  <a:cubicBezTo>
                    <a:pt x="6437517" y="1286436"/>
                    <a:pt x="6444087" y="1257598"/>
                    <a:pt x="6457227" y="1238038"/>
                  </a:cubicBezTo>
                  <a:cubicBezTo>
                    <a:pt x="6470368" y="1218479"/>
                    <a:pt x="6489325" y="1208699"/>
                    <a:pt x="6514101" y="1208699"/>
                  </a:cubicBezTo>
                  <a:close/>
                  <a:moveTo>
                    <a:pt x="6143065" y="1208699"/>
                  </a:moveTo>
                  <a:cubicBezTo>
                    <a:pt x="6190510" y="1208699"/>
                    <a:pt x="6214232" y="1245562"/>
                    <a:pt x="6214232" y="1319287"/>
                  </a:cubicBezTo>
                  <a:cubicBezTo>
                    <a:pt x="6214232" y="1355798"/>
                    <a:pt x="6207537" y="1383658"/>
                    <a:pt x="6194146" y="1402866"/>
                  </a:cubicBezTo>
                  <a:cubicBezTo>
                    <a:pt x="6180755" y="1422074"/>
                    <a:pt x="6162023" y="1431679"/>
                    <a:pt x="6137949" y="1431679"/>
                  </a:cubicBezTo>
                  <a:cubicBezTo>
                    <a:pt x="6115481" y="1431679"/>
                    <a:pt x="6097952" y="1422501"/>
                    <a:pt x="6085364" y="1404145"/>
                  </a:cubicBezTo>
                  <a:cubicBezTo>
                    <a:pt x="6072775" y="1385789"/>
                    <a:pt x="6066481" y="1359258"/>
                    <a:pt x="6066481" y="1324553"/>
                  </a:cubicBezTo>
                  <a:cubicBezTo>
                    <a:pt x="6066481" y="1286436"/>
                    <a:pt x="6073051" y="1257598"/>
                    <a:pt x="6086191" y="1238038"/>
                  </a:cubicBezTo>
                  <a:cubicBezTo>
                    <a:pt x="6099332" y="1218479"/>
                    <a:pt x="6118289" y="1208699"/>
                    <a:pt x="6143065" y="1208699"/>
                  </a:cubicBezTo>
                  <a:close/>
                  <a:moveTo>
                    <a:pt x="458674" y="1208699"/>
                  </a:moveTo>
                  <a:cubicBezTo>
                    <a:pt x="506119" y="1208699"/>
                    <a:pt x="529841" y="1245562"/>
                    <a:pt x="529841" y="1319287"/>
                  </a:cubicBezTo>
                  <a:cubicBezTo>
                    <a:pt x="529841" y="1355798"/>
                    <a:pt x="523146" y="1383658"/>
                    <a:pt x="509755" y="1402866"/>
                  </a:cubicBezTo>
                  <a:cubicBezTo>
                    <a:pt x="496364" y="1422074"/>
                    <a:pt x="477632" y="1431679"/>
                    <a:pt x="453558" y="1431679"/>
                  </a:cubicBezTo>
                  <a:cubicBezTo>
                    <a:pt x="431090" y="1431679"/>
                    <a:pt x="413561" y="1422501"/>
                    <a:pt x="400973" y="1404145"/>
                  </a:cubicBezTo>
                  <a:cubicBezTo>
                    <a:pt x="388385" y="1385789"/>
                    <a:pt x="382090" y="1359258"/>
                    <a:pt x="382090" y="1324553"/>
                  </a:cubicBezTo>
                  <a:cubicBezTo>
                    <a:pt x="382090" y="1286436"/>
                    <a:pt x="388661" y="1257598"/>
                    <a:pt x="401800" y="1238038"/>
                  </a:cubicBezTo>
                  <a:cubicBezTo>
                    <a:pt x="414941" y="1218479"/>
                    <a:pt x="433898" y="1208699"/>
                    <a:pt x="458674" y="1208699"/>
                  </a:cubicBezTo>
                  <a:close/>
                  <a:moveTo>
                    <a:pt x="83094" y="1208699"/>
                  </a:moveTo>
                  <a:cubicBezTo>
                    <a:pt x="130539" y="1208699"/>
                    <a:pt x="154261" y="1245562"/>
                    <a:pt x="154261" y="1319287"/>
                  </a:cubicBezTo>
                  <a:cubicBezTo>
                    <a:pt x="154261" y="1355798"/>
                    <a:pt x="147566" y="1383658"/>
                    <a:pt x="134175" y="1402866"/>
                  </a:cubicBezTo>
                  <a:cubicBezTo>
                    <a:pt x="120784" y="1422074"/>
                    <a:pt x="102052" y="1431679"/>
                    <a:pt x="77978" y="1431679"/>
                  </a:cubicBezTo>
                  <a:cubicBezTo>
                    <a:pt x="55510" y="1431679"/>
                    <a:pt x="37981" y="1422501"/>
                    <a:pt x="25393" y="1404145"/>
                  </a:cubicBezTo>
                  <a:cubicBezTo>
                    <a:pt x="12805" y="1385789"/>
                    <a:pt x="6510" y="1359258"/>
                    <a:pt x="6510" y="1324553"/>
                  </a:cubicBezTo>
                  <a:cubicBezTo>
                    <a:pt x="6510" y="1286436"/>
                    <a:pt x="13081" y="1257598"/>
                    <a:pt x="26220" y="1238038"/>
                  </a:cubicBezTo>
                  <a:cubicBezTo>
                    <a:pt x="39361" y="1218479"/>
                    <a:pt x="58318" y="1208699"/>
                    <a:pt x="83094" y="1208699"/>
                  </a:cubicBezTo>
                  <a:close/>
                  <a:moveTo>
                    <a:pt x="6281383" y="942895"/>
                  </a:moveTo>
                  <a:cubicBezTo>
                    <a:pt x="6255203" y="942895"/>
                    <a:pt x="6242113" y="971733"/>
                    <a:pt x="6242113" y="1029409"/>
                  </a:cubicBezTo>
                  <a:cubicBezTo>
                    <a:pt x="6242113" y="1083373"/>
                    <a:pt x="6254952" y="1110356"/>
                    <a:pt x="6280631" y="1110356"/>
                  </a:cubicBezTo>
                  <a:cubicBezTo>
                    <a:pt x="6305908" y="1110356"/>
                    <a:pt x="6318546" y="1082922"/>
                    <a:pt x="6318546" y="1028055"/>
                  </a:cubicBezTo>
                  <a:cubicBezTo>
                    <a:pt x="6318546" y="971281"/>
                    <a:pt x="6306158" y="942895"/>
                    <a:pt x="6281383" y="942895"/>
                  </a:cubicBezTo>
                  <a:close/>
                  <a:moveTo>
                    <a:pt x="217972" y="942895"/>
                  </a:moveTo>
                  <a:cubicBezTo>
                    <a:pt x="191792" y="942895"/>
                    <a:pt x="178702" y="971733"/>
                    <a:pt x="178702" y="1029409"/>
                  </a:cubicBezTo>
                  <a:cubicBezTo>
                    <a:pt x="178702" y="1083373"/>
                    <a:pt x="191541" y="1110356"/>
                    <a:pt x="217220" y="1110356"/>
                  </a:cubicBezTo>
                  <a:cubicBezTo>
                    <a:pt x="242497" y="1110356"/>
                    <a:pt x="255135" y="1082922"/>
                    <a:pt x="255135" y="1028055"/>
                  </a:cubicBezTo>
                  <a:cubicBezTo>
                    <a:pt x="255135" y="971281"/>
                    <a:pt x="242747" y="942895"/>
                    <a:pt x="217972" y="942895"/>
                  </a:cubicBezTo>
                  <a:close/>
                  <a:moveTo>
                    <a:pt x="6283038" y="915060"/>
                  </a:moveTo>
                  <a:cubicBezTo>
                    <a:pt x="6330483" y="915060"/>
                    <a:pt x="6354205" y="951923"/>
                    <a:pt x="6354205" y="1025647"/>
                  </a:cubicBezTo>
                  <a:cubicBezTo>
                    <a:pt x="6354205" y="1062159"/>
                    <a:pt x="6347510" y="1090019"/>
                    <a:pt x="6334119" y="1109227"/>
                  </a:cubicBezTo>
                  <a:cubicBezTo>
                    <a:pt x="6320728" y="1128435"/>
                    <a:pt x="6301996" y="1138040"/>
                    <a:pt x="6277922" y="1138040"/>
                  </a:cubicBezTo>
                  <a:cubicBezTo>
                    <a:pt x="6255454" y="1138040"/>
                    <a:pt x="6237925" y="1128862"/>
                    <a:pt x="6225337" y="1110506"/>
                  </a:cubicBezTo>
                  <a:cubicBezTo>
                    <a:pt x="6212748" y="1092150"/>
                    <a:pt x="6206454" y="1065619"/>
                    <a:pt x="6206454" y="1030914"/>
                  </a:cubicBezTo>
                  <a:cubicBezTo>
                    <a:pt x="6206454" y="992797"/>
                    <a:pt x="6213024" y="963959"/>
                    <a:pt x="6226164" y="944399"/>
                  </a:cubicBezTo>
                  <a:cubicBezTo>
                    <a:pt x="6239305" y="924840"/>
                    <a:pt x="6258262" y="915060"/>
                    <a:pt x="6283038" y="915060"/>
                  </a:cubicBezTo>
                  <a:close/>
                  <a:moveTo>
                    <a:pt x="219627" y="915060"/>
                  </a:moveTo>
                  <a:cubicBezTo>
                    <a:pt x="267072" y="915060"/>
                    <a:pt x="290794" y="951923"/>
                    <a:pt x="290794" y="1025647"/>
                  </a:cubicBezTo>
                  <a:cubicBezTo>
                    <a:pt x="290794" y="1062159"/>
                    <a:pt x="284098" y="1090019"/>
                    <a:pt x="270708" y="1109227"/>
                  </a:cubicBezTo>
                  <a:cubicBezTo>
                    <a:pt x="257317" y="1128435"/>
                    <a:pt x="238585" y="1138040"/>
                    <a:pt x="214511" y="1138040"/>
                  </a:cubicBezTo>
                  <a:cubicBezTo>
                    <a:pt x="192043" y="1138040"/>
                    <a:pt x="174514" y="1128862"/>
                    <a:pt x="161926" y="1110506"/>
                  </a:cubicBezTo>
                  <a:cubicBezTo>
                    <a:pt x="149337" y="1092150"/>
                    <a:pt x="143043" y="1065619"/>
                    <a:pt x="143043" y="1030914"/>
                  </a:cubicBezTo>
                  <a:cubicBezTo>
                    <a:pt x="143043" y="992797"/>
                    <a:pt x="149613" y="963959"/>
                    <a:pt x="162753" y="944399"/>
                  </a:cubicBezTo>
                  <a:cubicBezTo>
                    <a:pt x="175894" y="924840"/>
                    <a:pt x="194851" y="915060"/>
                    <a:pt x="219627" y="915060"/>
                  </a:cubicBezTo>
                  <a:close/>
                  <a:moveTo>
                    <a:pt x="6518038" y="660590"/>
                  </a:moveTo>
                  <a:cubicBezTo>
                    <a:pt x="6491858" y="660590"/>
                    <a:pt x="6478768" y="689428"/>
                    <a:pt x="6478768" y="747104"/>
                  </a:cubicBezTo>
                  <a:cubicBezTo>
                    <a:pt x="6478768" y="801068"/>
                    <a:pt x="6491607" y="828051"/>
                    <a:pt x="6517286" y="828051"/>
                  </a:cubicBezTo>
                  <a:cubicBezTo>
                    <a:pt x="6542563" y="828051"/>
                    <a:pt x="6555201" y="800617"/>
                    <a:pt x="6555201" y="745750"/>
                  </a:cubicBezTo>
                  <a:cubicBezTo>
                    <a:pt x="6555201" y="688976"/>
                    <a:pt x="6542813" y="660590"/>
                    <a:pt x="6518038" y="660590"/>
                  </a:cubicBezTo>
                  <a:close/>
                  <a:moveTo>
                    <a:pt x="6147002" y="660590"/>
                  </a:moveTo>
                  <a:cubicBezTo>
                    <a:pt x="6120822" y="660590"/>
                    <a:pt x="6107732" y="689428"/>
                    <a:pt x="6107732" y="747104"/>
                  </a:cubicBezTo>
                  <a:cubicBezTo>
                    <a:pt x="6107732" y="801068"/>
                    <a:pt x="6120571" y="828051"/>
                    <a:pt x="6146250" y="828051"/>
                  </a:cubicBezTo>
                  <a:cubicBezTo>
                    <a:pt x="6171527" y="828051"/>
                    <a:pt x="6184165" y="800617"/>
                    <a:pt x="6184165" y="745750"/>
                  </a:cubicBezTo>
                  <a:cubicBezTo>
                    <a:pt x="6184165" y="688976"/>
                    <a:pt x="6171777" y="660590"/>
                    <a:pt x="6147002" y="660590"/>
                  </a:cubicBezTo>
                  <a:close/>
                  <a:moveTo>
                    <a:pt x="462611" y="660590"/>
                  </a:moveTo>
                  <a:cubicBezTo>
                    <a:pt x="436431" y="660590"/>
                    <a:pt x="423341" y="689428"/>
                    <a:pt x="423341" y="747104"/>
                  </a:cubicBezTo>
                  <a:cubicBezTo>
                    <a:pt x="423341" y="801068"/>
                    <a:pt x="436180" y="828051"/>
                    <a:pt x="461859" y="828051"/>
                  </a:cubicBezTo>
                  <a:cubicBezTo>
                    <a:pt x="487136" y="828051"/>
                    <a:pt x="499774" y="800617"/>
                    <a:pt x="499774" y="745750"/>
                  </a:cubicBezTo>
                  <a:cubicBezTo>
                    <a:pt x="499774" y="688976"/>
                    <a:pt x="487387" y="660590"/>
                    <a:pt x="462611" y="660590"/>
                  </a:cubicBezTo>
                  <a:close/>
                  <a:moveTo>
                    <a:pt x="87031" y="660590"/>
                  </a:moveTo>
                  <a:cubicBezTo>
                    <a:pt x="60851" y="660590"/>
                    <a:pt x="47761" y="689428"/>
                    <a:pt x="47761" y="747104"/>
                  </a:cubicBezTo>
                  <a:cubicBezTo>
                    <a:pt x="47761" y="801068"/>
                    <a:pt x="60600" y="828051"/>
                    <a:pt x="86279" y="828051"/>
                  </a:cubicBezTo>
                  <a:cubicBezTo>
                    <a:pt x="111556" y="828051"/>
                    <a:pt x="124194" y="800617"/>
                    <a:pt x="124194" y="745750"/>
                  </a:cubicBezTo>
                  <a:cubicBezTo>
                    <a:pt x="124194" y="688976"/>
                    <a:pt x="111807" y="660590"/>
                    <a:pt x="87031" y="660590"/>
                  </a:cubicBezTo>
                  <a:close/>
                  <a:moveTo>
                    <a:pt x="6519693" y="632755"/>
                  </a:moveTo>
                  <a:cubicBezTo>
                    <a:pt x="6567138" y="632755"/>
                    <a:pt x="6590860" y="669618"/>
                    <a:pt x="6590860" y="743343"/>
                  </a:cubicBezTo>
                  <a:cubicBezTo>
                    <a:pt x="6590860" y="779854"/>
                    <a:pt x="6584165" y="807714"/>
                    <a:pt x="6570774" y="826922"/>
                  </a:cubicBezTo>
                  <a:cubicBezTo>
                    <a:pt x="6557383" y="846130"/>
                    <a:pt x="6538651" y="855735"/>
                    <a:pt x="6514577" y="855735"/>
                  </a:cubicBezTo>
                  <a:cubicBezTo>
                    <a:pt x="6492109" y="855735"/>
                    <a:pt x="6474580" y="846557"/>
                    <a:pt x="6461992" y="828201"/>
                  </a:cubicBezTo>
                  <a:cubicBezTo>
                    <a:pt x="6449403" y="809845"/>
                    <a:pt x="6443109" y="783314"/>
                    <a:pt x="6443109" y="748609"/>
                  </a:cubicBezTo>
                  <a:cubicBezTo>
                    <a:pt x="6443109" y="710493"/>
                    <a:pt x="6449679" y="681654"/>
                    <a:pt x="6462819" y="662094"/>
                  </a:cubicBezTo>
                  <a:cubicBezTo>
                    <a:pt x="6475960" y="642535"/>
                    <a:pt x="6494917" y="632755"/>
                    <a:pt x="6519693" y="632755"/>
                  </a:cubicBezTo>
                  <a:close/>
                  <a:moveTo>
                    <a:pt x="6148657" y="632755"/>
                  </a:moveTo>
                  <a:cubicBezTo>
                    <a:pt x="6196102" y="632755"/>
                    <a:pt x="6219824" y="669618"/>
                    <a:pt x="6219824" y="743343"/>
                  </a:cubicBezTo>
                  <a:cubicBezTo>
                    <a:pt x="6219824" y="779854"/>
                    <a:pt x="6213129" y="807714"/>
                    <a:pt x="6199738" y="826922"/>
                  </a:cubicBezTo>
                  <a:cubicBezTo>
                    <a:pt x="6186347" y="846130"/>
                    <a:pt x="6167615" y="855735"/>
                    <a:pt x="6143541" y="855735"/>
                  </a:cubicBezTo>
                  <a:cubicBezTo>
                    <a:pt x="6121073" y="855735"/>
                    <a:pt x="6103544" y="846557"/>
                    <a:pt x="6090956" y="828201"/>
                  </a:cubicBezTo>
                  <a:cubicBezTo>
                    <a:pt x="6078367" y="809845"/>
                    <a:pt x="6072073" y="783314"/>
                    <a:pt x="6072073" y="748609"/>
                  </a:cubicBezTo>
                  <a:cubicBezTo>
                    <a:pt x="6072073" y="710493"/>
                    <a:pt x="6078643" y="681654"/>
                    <a:pt x="6091783" y="662094"/>
                  </a:cubicBezTo>
                  <a:cubicBezTo>
                    <a:pt x="6104924" y="642535"/>
                    <a:pt x="6123881" y="632755"/>
                    <a:pt x="6148657" y="632755"/>
                  </a:cubicBezTo>
                  <a:close/>
                  <a:moveTo>
                    <a:pt x="464267" y="632755"/>
                  </a:moveTo>
                  <a:cubicBezTo>
                    <a:pt x="511712" y="632755"/>
                    <a:pt x="535434" y="669618"/>
                    <a:pt x="535434" y="743343"/>
                  </a:cubicBezTo>
                  <a:cubicBezTo>
                    <a:pt x="535434" y="779854"/>
                    <a:pt x="528738" y="807714"/>
                    <a:pt x="515347" y="826922"/>
                  </a:cubicBezTo>
                  <a:cubicBezTo>
                    <a:pt x="501957" y="846130"/>
                    <a:pt x="483224" y="855735"/>
                    <a:pt x="459150" y="855735"/>
                  </a:cubicBezTo>
                  <a:cubicBezTo>
                    <a:pt x="436683" y="855735"/>
                    <a:pt x="419153" y="846557"/>
                    <a:pt x="406565" y="828201"/>
                  </a:cubicBezTo>
                  <a:cubicBezTo>
                    <a:pt x="393977" y="809845"/>
                    <a:pt x="387682" y="783314"/>
                    <a:pt x="387682" y="748609"/>
                  </a:cubicBezTo>
                  <a:cubicBezTo>
                    <a:pt x="387682" y="710493"/>
                    <a:pt x="394254" y="681654"/>
                    <a:pt x="407392" y="662094"/>
                  </a:cubicBezTo>
                  <a:cubicBezTo>
                    <a:pt x="420533" y="642535"/>
                    <a:pt x="439490" y="632755"/>
                    <a:pt x="464267" y="632755"/>
                  </a:cubicBezTo>
                  <a:close/>
                  <a:moveTo>
                    <a:pt x="88686" y="632755"/>
                  </a:moveTo>
                  <a:cubicBezTo>
                    <a:pt x="136131" y="632755"/>
                    <a:pt x="159853" y="669618"/>
                    <a:pt x="159853" y="743343"/>
                  </a:cubicBezTo>
                  <a:cubicBezTo>
                    <a:pt x="159853" y="779854"/>
                    <a:pt x="153158" y="807714"/>
                    <a:pt x="139767" y="826922"/>
                  </a:cubicBezTo>
                  <a:cubicBezTo>
                    <a:pt x="126376" y="846130"/>
                    <a:pt x="107644" y="855735"/>
                    <a:pt x="83570" y="855735"/>
                  </a:cubicBezTo>
                  <a:cubicBezTo>
                    <a:pt x="61102" y="855735"/>
                    <a:pt x="43573" y="846557"/>
                    <a:pt x="30985" y="828201"/>
                  </a:cubicBezTo>
                  <a:cubicBezTo>
                    <a:pt x="18397" y="809845"/>
                    <a:pt x="12102" y="783314"/>
                    <a:pt x="12102" y="748609"/>
                  </a:cubicBezTo>
                  <a:cubicBezTo>
                    <a:pt x="12102" y="710493"/>
                    <a:pt x="18673" y="681654"/>
                    <a:pt x="31812" y="662094"/>
                  </a:cubicBezTo>
                  <a:cubicBezTo>
                    <a:pt x="44953" y="642535"/>
                    <a:pt x="63910" y="632755"/>
                    <a:pt x="88686" y="632755"/>
                  </a:cubicBezTo>
                  <a:close/>
                  <a:moveTo>
                    <a:pt x="6288641" y="356082"/>
                  </a:moveTo>
                  <a:cubicBezTo>
                    <a:pt x="6262461" y="356082"/>
                    <a:pt x="6249371" y="384920"/>
                    <a:pt x="6249371" y="442596"/>
                  </a:cubicBezTo>
                  <a:cubicBezTo>
                    <a:pt x="6249371" y="496560"/>
                    <a:pt x="6262210" y="523543"/>
                    <a:pt x="6287889" y="523543"/>
                  </a:cubicBezTo>
                  <a:cubicBezTo>
                    <a:pt x="6313166" y="523543"/>
                    <a:pt x="6325804" y="496109"/>
                    <a:pt x="6325804" y="441242"/>
                  </a:cubicBezTo>
                  <a:cubicBezTo>
                    <a:pt x="6325804" y="384468"/>
                    <a:pt x="6313416" y="356082"/>
                    <a:pt x="6288641" y="356082"/>
                  </a:cubicBezTo>
                  <a:close/>
                  <a:moveTo>
                    <a:pt x="225230" y="356082"/>
                  </a:moveTo>
                  <a:cubicBezTo>
                    <a:pt x="199050" y="356082"/>
                    <a:pt x="185960" y="384920"/>
                    <a:pt x="185960" y="442596"/>
                  </a:cubicBezTo>
                  <a:cubicBezTo>
                    <a:pt x="185960" y="496560"/>
                    <a:pt x="198800" y="523543"/>
                    <a:pt x="224478" y="523543"/>
                  </a:cubicBezTo>
                  <a:cubicBezTo>
                    <a:pt x="249756" y="523543"/>
                    <a:pt x="262394" y="496109"/>
                    <a:pt x="262394" y="441242"/>
                  </a:cubicBezTo>
                  <a:cubicBezTo>
                    <a:pt x="262394" y="384468"/>
                    <a:pt x="250005" y="356082"/>
                    <a:pt x="225230" y="356082"/>
                  </a:cubicBezTo>
                  <a:close/>
                  <a:moveTo>
                    <a:pt x="6290296" y="328247"/>
                  </a:moveTo>
                  <a:cubicBezTo>
                    <a:pt x="6337741" y="328247"/>
                    <a:pt x="6361463" y="365110"/>
                    <a:pt x="6361463" y="438834"/>
                  </a:cubicBezTo>
                  <a:cubicBezTo>
                    <a:pt x="6361463" y="475346"/>
                    <a:pt x="6354768" y="503206"/>
                    <a:pt x="6341377" y="522414"/>
                  </a:cubicBezTo>
                  <a:cubicBezTo>
                    <a:pt x="6327986" y="541622"/>
                    <a:pt x="6309254" y="551227"/>
                    <a:pt x="6285180" y="551227"/>
                  </a:cubicBezTo>
                  <a:cubicBezTo>
                    <a:pt x="6262712" y="551227"/>
                    <a:pt x="6245183" y="542049"/>
                    <a:pt x="6232595" y="523693"/>
                  </a:cubicBezTo>
                  <a:cubicBezTo>
                    <a:pt x="6220006" y="505337"/>
                    <a:pt x="6213712" y="478806"/>
                    <a:pt x="6213712" y="444101"/>
                  </a:cubicBezTo>
                  <a:cubicBezTo>
                    <a:pt x="6213712" y="405984"/>
                    <a:pt x="6220282" y="377146"/>
                    <a:pt x="6233422" y="357586"/>
                  </a:cubicBezTo>
                  <a:cubicBezTo>
                    <a:pt x="6246563" y="338027"/>
                    <a:pt x="6265520" y="328247"/>
                    <a:pt x="6290296" y="328247"/>
                  </a:cubicBezTo>
                  <a:close/>
                  <a:moveTo>
                    <a:pt x="226885" y="328247"/>
                  </a:moveTo>
                  <a:cubicBezTo>
                    <a:pt x="274330" y="328247"/>
                    <a:pt x="298052" y="365110"/>
                    <a:pt x="298052" y="438834"/>
                  </a:cubicBezTo>
                  <a:cubicBezTo>
                    <a:pt x="298052" y="475346"/>
                    <a:pt x="291357" y="503206"/>
                    <a:pt x="277966" y="522414"/>
                  </a:cubicBezTo>
                  <a:cubicBezTo>
                    <a:pt x="264575" y="541622"/>
                    <a:pt x="245843" y="551227"/>
                    <a:pt x="221770" y="551227"/>
                  </a:cubicBezTo>
                  <a:cubicBezTo>
                    <a:pt x="199302" y="551227"/>
                    <a:pt x="181772" y="542049"/>
                    <a:pt x="169185" y="523693"/>
                  </a:cubicBezTo>
                  <a:cubicBezTo>
                    <a:pt x="156596" y="505337"/>
                    <a:pt x="150302" y="478806"/>
                    <a:pt x="150302" y="444101"/>
                  </a:cubicBezTo>
                  <a:cubicBezTo>
                    <a:pt x="150302" y="405984"/>
                    <a:pt x="156871" y="377146"/>
                    <a:pt x="170011" y="357586"/>
                  </a:cubicBezTo>
                  <a:cubicBezTo>
                    <a:pt x="183152" y="338027"/>
                    <a:pt x="202109" y="328247"/>
                    <a:pt x="226885" y="328247"/>
                  </a:cubicBezTo>
                  <a:close/>
                  <a:moveTo>
                    <a:pt x="9615855" y="27835"/>
                  </a:moveTo>
                  <a:cubicBezTo>
                    <a:pt x="9589675" y="27835"/>
                    <a:pt x="9576585" y="56673"/>
                    <a:pt x="9576585" y="114349"/>
                  </a:cubicBezTo>
                  <a:cubicBezTo>
                    <a:pt x="9576585" y="168313"/>
                    <a:pt x="9589424" y="195295"/>
                    <a:pt x="9615103" y="195295"/>
                  </a:cubicBezTo>
                  <a:cubicBezTo>
                    <a:pt x="9640379" y="195295"/>
                    <a:pt x="9653018" y="167862"/>
                    <a:pt x="9653018" y="112995"/>
                  </a:cubicBezTo>
                  <a:cubicBezTo>
                    <a:pt x="9653018" y="56221"/>
                    <a:pt x="9640630" y="27835"/>
                    <a:pt x="9615855" y="27835"/>
                  </a:cubicBezTo>
                  <a:close/>
                  <a:moveTo>
                    <a:pt x="9255253" y="27835"/>
                  </a:moveTo>
                  <a:cubicBezTo>
                    <a:pt x="9229073" y="27835"/>
                    <a:pt x="9215983" y="56673"/>
                    <a:pt x="9215983" y="114349"/>
                  </a:cubicBezTo>
                  <a:cubicBezTo>
                    <a:pt x="9215983" y="168313"/>
                    <a:pt x="9228822" y="195295"/>
                    <a:pt x="9254501" y="195295"/>
                  </a:cubicBezTo>
                  <a:cubicBezTo>
                    <a:pt x="9279777" y="195295"/>
                    <a:pt x="9292416" y="167862"/>
                    <a:pt x="9292416" y="112995"/>
                  </a:cubicBezTo>
                  <a:cubicBezTo>
                    <a:pt x="9292416" y="56221"/>
                    <a:pt x="9280028" y="27835"/>
                    <a:pt x="9255253" y="27835"/>
                  </a:cubicBezTo>
                  <a:close/>
                  <a:moveTo>
                    <a:pt x="3561510" y="27835"/>
                  </a:moveTo>
                  <a:cubicBezTo>
                    <a:pt x="3535331" y="27835"/>
                    <a:pt x="3522241" y="56673"/>
                    <a:pt x="3522241" y="114349"/>
                  </a:cubicBezTo>
                  <a:cubicBezTo>
                    <a:pt x="3522241" y="168313"/>
                    <a:pt x="3535080" y="195295"/>
                    <a:pt x="3560758" y="195295"/>
                  </a:cubicBezTo>
                  <a:cubicBezTo>
                    <a:pt x="3586035" y="195295"/>
                    <a:pt x="3598674" y="167862"/>
                    <a:pt x="3598674" y="112995"/>
                  </a:cubicBezTo>
                  <a:cubicBezTo>
                    <a:pt x="3598674" y="56221"/>
                    <a:pt x="3586286" y="27835"/>
                    <a:pt x="3561510" y="27835"/>
                  </a:cubicBezTo>
                  <a:close/>
                  <a:moveTo>
                    <a:pt x="3196497" y="27835"/>
                  </a:moveTo>
                  <a:cubicBezTo>
                    <a:pt x="3170318" y="27835"/>
                    <a:pt x="3157228" y="56673"/>
                    <a:pt x="3157228" y="114349"/>
                  </a:cubicBezTo>
                  <a:cubicBezTo>
                    <a:pt x="3157228" y="168313"/>
                    <a:pt x="3170067" y="195295"/>
                    <a:pt x="3195745" y="195295"/>
                  </a:cubicBezTo>
                  <a:cubicBezTo>
                    <a:pt x="3221022" y="195295"/>
                    <a:pt x="3233661" y="167862"/>
                    <a:pt x="3233661" y="112995"/>
                  </a:cubicBezTo>
                  <a:cubicBezTo>
                    <a:pt x="3233661" y="56221"/>
                    <a:pt x="3221273" y="27835"/>
                    <a:pt x="3196497" y="27835"/>
                  </a:cubicBezTo>
                  <a:close/>
                  <a:moveTo>
                    <a:pt x="9617510" y="0"/>
                  </a:moveTo>
                  <a:cubicBezTo>
                    <a:pt x="9664954" y="0"/>
                    <a:pt x="9688677" y="36862"/>
                    <a:pt x="9688677" y="110587"/>
                  </a:cubicBezTo>
                  <a:cubicBezTo>
                    <a:pt x="9688677" y="147099"/>
                    <a:pt x="9681981" y="174959"/>
                    <a:pt x="9668591" y="194167"/>
                  </a:cubicBezTo>
                  <a:cubicBezTo>
                    <a:pt x="9655200" y="213375"/>
                    <a:pt x="9636468" y="222980"/>
                    <a:pt x="9612394" y="222980"/>
                  </a:cubicBezTo>
                  <a:cubicBezTo>
                    <a:pt x="9589926" y="222980"/>
                    <a:pt x="9572397" y="213802"/>
                    <a:pt x="9559809" y="195446"/>
                  </a:cubicBezTo>
                  <a:cubicBezTo>
                    <a:pt x="9547220" y="177090"/>
                    <a:pt x="9540926" y="150559"/>
                    <a:pt x="9540926" y="115854"/>
                  </a:cubicBezTo>
                  <a:cubicBezTo>
                    <a:pt x="9540926" y="77737"/>
                    <a:pt x="9547496" y="48899"/>
                    <a:pt x="9560636" y="29339"/>
                  </a:cubicBezTo>
                  <a:cubicBezTo>
                    <a:pt x="9573777" y="9780"/>
                    <a:pt x="9592734" y="0"/>
                    <a:pt x="9617510" y="0"/>
                  </a:cubicBezTo>
                  <a:close/>
                  <a:moveTo>
                    <a:pt x="9256908" y="0"/>
                  </a:moveTo>
                  <a:cubicBezTo>
                    <a:pt x="9304352" y="0"/>
                    <a:pt x="9328075" y="36862"/>
                    <a:pt x="9328075" y="110587"/>
                  </a:cubicBezTo>
                  <a:cubicBezTo>
                    <a:pt x="9328075" y="147099"/>
                    <a:pt x="9321379" y="174959"/>
                    <a:pt x="9307989" y="194167"/>
                  </a:cubicBezTo>
                  <a:cubicBezTo>
                    <a:pt x="9294598" y="213375"/>
                    <a:pt x="9275866" y="222980"/>
                    <a:pt x="9251792" y="222980"/>
                  </a:cubicBezTo>
                  <a:cubicBezTo>
                    <a:pt x="9229324" y="222980"/>
                    <a:pt x="9211795" y="213802"/>
                    <a:pt x="9199207" y="195446"/>
                  </a:cubicBezTo>
                  <a:cubicBezTo>
                    <a:pt x="9186618" y="177090"/>
                    <a:pt x="9180324" y="150559"/>
                    <a:pt x="9180324" y="115854"/>
                  </a:cubicBezTo>
                  <a:cubicBezTo>
                    <a:pt x="9180324" y="77737"/>
                    <a:pt x="9186894" y="48899"/>
                    <a:pt x="9200034" y="29339"/>
                  </a:cubicBezTo>
                  <a:cubicBezTo>
                    <a:pt x="9213175" y="9780"/>
                    <a:pt x="9232132" y="0"/>
                    <a:pt x="9256908" y="0"/>
                  </a:cubicBezTo>
                  <a:close/>
                  <a:moveTo>
                    <a:pt x="3563165" y="0"/>
                  </a:moveTo>
                  <a:cubicBezTo>
                    <a:pt x="3610610" y="0"/>
                    <a:pt x="3634333" y="36862"/>
                    <a:pt x="3634333" y="110587"/>
                  </a:cubicBezTo>
                  <a:cubicBezTo>
                    <a:pt x="3634333" y="147099"/>
                    <a:pt x="3627637" y="174959"/>
                    <a:pt x="3614247" y="194167"/>
                  </a:cubicBezTo>
                  <a:cubicBezTo>
                    <a:pt x="3600855" y="213375"/>
                    <a:pt x="3582123" y="222980"/>
                    <a:pt x="3558050" y="222980"/>
                  </a:cubicBezTo>
                  <a:cubicBezTo>
                    <a:pt x="3535581" y="222980"/>
                    <a:pt x="3518053" y="213802"/>
                    <a:pt x="3505464" y="195446"/>
                  </a:cubicBezTo>
                  <a:cubicBezTo>
                    <a:pt x="3492876" y="177090"/>
                    <a:pt x="3486582" y="150559"/>
                    <a:pt x="3486582" y="115854"/>
                  </a:cubicBezTo>
                  <a:cubicBezTo>
                    <a:pt x="3486582" y="77737"/>
                    <a:pt x="3493152" y="48899"/>
                    <a:pt x="3506292" y="29339"/>
                  </a:cubicBezTo>
                  <a:cubicBezTo>
                    <a:pt x="3519432" y="9780"/>
                    <a:pt x="3538390" y="0"/>
                    <a:pt x="3563165" y="0"/>
                  </a:cubicBezTo>
                  <a:close/>
                  <a:moveTo>
                    <a:pt x="3198152" y="0"/>
                  </a:moveTo>
                  <a:cubicBezTo>
                    <a:pt x="3245597" y="0"/>
                    <a:pt x="3269320" y="36862"/>
                    <a:pt x="3269320" y="110587"/>
                  </a:cubicBezTo>
                  <a:cubicBezTo>
                    <a:pt x="3269320" y="147099"/>
                    <a:pt x="3262624" y="174959"/>
                    <a:pt x="3249234" y="194167"/>
                  </a:cubicBezTo>
                  <a:cubicBezTo>
                    <a:pt x="3235842" y="213375"/>
                    <a:pt x="3217110" y="222980"/>
                    <a:pt x="3193037" y="222980"/>
                  </a:cubicBezTo>
                  <a:cubicBezTo>
                    <a:pt x="3170568" y="222980"/>
                    <a:pt x="3153040" y="213802"/>
                    <a:pt x="3140451" y="195446"/>
                  </a:cubicBezTo>
                  <a:cubicBezTo>
                    <a:pt x="3127863" y="177090"/>
                    <a:pt x="3121569" y="150559"/>
                    <a:pt x="3121569" y="115854"/>
                  </a:cubicBezTo>
                  <a:cubicBezTo>
                    <a:pt x="3121569" y="77737"/>
                    <a:pt x="3128139" y="48899"/>
                    <a:pt x="3141279" y="29339"/>
                  </a:cubicBezTo>
                  <a:cubicBezTo>
                    <a:pt x="3154419" y="9780"/>
                    <a:pt x="3173377" y="0"/>
                    <a:pt x="3198152"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25"/>
            <p:cNvSpPr/>
            <p:nvPr/>
          </p:nvSpPr>
          <p:spPr>
            <a:xfrm>
              <a:off x="34441" y="73882"/>
              <a:ext cx="12117871" cy="6072780"/>
            </a:xfrm>
            <a:custGeom>
              <a:avLst/>
              <a:gdLst>
                <a:gd name="connsiteX0" fmla="*/ 11876198 w 12117871"/>
                <a:gd name="connsiteY0" fmla="*/ 5869975 h 6072780"/>
                <a:gd name="connsiteX1" fmla="*/ 11836928 w 12117871"/>
                <a:gd name="connsiteY1" fmla="*/ 5956489 h 6072780"/>
                <a:gd name="connsiteX2" fmla="*/ 11875446 w 12117871"/>
                <a:gd name="connsiteY2" fmla="*/ 6037436 h 6072780"/>
                <a:gd name="connsiteX3" fmla="*/ 11913361 w 12117871"/>
                <a:gd name="connsiteY3" fmla="*/ 5955135 h 6072780"/>
                <a:gd name="connsiteX4" fmla="*/ 11876198 w 12117871"/>
                <a:gd name="connsiteY4" fmla="*/ 5869975 h 6072780"/>
                <a:gd name="connsiteX5" fmla="*/ 6366335 w 12117871"/>
                <a:gd name="connsiteY5" fmla="*/ 5869975 h 6072780"/>
                <a:gd name="connsiteX6" fmla="*/ 6327065 w 12117871"/>
                <a:gd name="connsiteY6" fmla="*/ 5956489 h 6072780"/>
                <a:gd name="connsiteX7" fmla="*/ 6365583 w 12117871"/>
                <a:gd name="connsiteY7" fmla="*/ 6037436 h 6072780"/>
                <a:gd name="connsiteX8" fmla="*/ 6403498 w 12117871"/>
                <a:gd name="connsiteY8" fmla="*/ 5955135 h 6072780"/>
                <a:gd name="connsiteX9" fmla="*/ 6366335 w 12117871"/>
                <a:gd name="connsiteY9" fmla="*/ 5869975 h 6072780"/>
                <a:gd name="connsiteX10" fmla="*/ 5088792 w 12117871"/>
                <a:gd name="connsiteY10" fmla="*/ 5869975 h 6072780"/>
                <a:gd name="connsiteX11" fmla="*/ 5049522 w 12117871"/>
                <a:gd name="connsiteY11" fmla="*/ 5956489 h 6072780"/>
                <a:gd name="connsiteX12" fmla="*/ 5088041 w 12117871"/>
                <a:gd name="connsiteY12" fmla="*/ 6037436 h 6072780"/>
                <a:gd name="connsiteX13" fmla="*/ 5125957 w 12117871"/>
                <a:gd name="connsiteY13" fmla="*/ 5955135 h 6072780"/>
                <a:gd name="connsiteX14" fmla="*/ 5088792 w 12117871"/>
                <a:gd name="connsiteY14" fmla="*/ 5869975 h 6072780"/>
                <a:gd name="connsiteX15" fmla="*/ 12062430 w 12117871"/>
                <a:gd name="connsiteY15" fmla="*/ 5849800 h 6072780"/>
                <a:gd name="connsiteX16" fmla="*/ 12077336 w 12117871"/>
                <a:gd name="connsiteY16" fmla="*/ 5849800 h 6072780"/>
                <a:gd name="connsiteX17" fmla="*/ 12077336 w 12117871"/>
                <a:gd name="connsiteY17" fmla="*/ 6072780 h 6072780"/>
                <a:gd name="connsiteX18" fmla="*/ 12042048 w 12117871"/>
                <a:gd name="connsiteY18" fmla="*/ 6072780 h 6072780"/>
                <a:gd name="connsiteX19" fmla="*/ 12042048 w 12117871"/>
                <a:gd name="connsiteY19" fmla="*/ 5892997 h 6072780"/>
                <a:gd name="connsiteX20" fmla="*/ 12021439 w 12117871"/>
                <a:gd name="connsiteY20" fmla="*/ 5904633 h 6072780"/>
                <a:gd name="connsiteX21" fmla="*/ 11996266 w 12117871"/>
                <a:gd name="connsiteY21" fmla="*/ 5913074 h 6072780"/>
                <a:gd name="connsiteX22" fmla="*/ 11996266 w 12117871"/>
                <a:gd name="connsiteY22" fmla="*/ 5882958 h 6072780"/>
                <a:gd name="connsiteX23" fmla="*/ 12013301 w 12117871"/>
                <a:gd name="connsiteY23" fmla="*/ 5876874 h 6072780"/>
                <a:gd name="connsiteX24" fmla="*/ 12029500 w 12117871"/>
                <a:gd name="connsiteY24" fmla="*/ 5869725 h 6072780"/>
                <a:gd name="connsiteX25" fmla="*/ 12045623 w 12117871"/>
                <a:gd name="connsiteY25" fmla="*/ 5860904 h 6072780"/>
                <a:gd name="connsiteX26" fmla="*/ 12062430 w 12117871"/>
                <a:gd name="connsiteY26" fmla="*/ 5849800 h 6072780"/>
                <a:gd name="connsiteX27" fmla="*/ 10143427 w 12117871"/>
                <a:gd name="connsiteY27" fmla="*/ 5849800 h 6072780"/>
                <a:gd name="connsiteX28" fmla="*/ 10158333 w 12117871"/>
                <a:gd name="connsiteY28" fmla="*/ 5849800 h 6072780"/>
                <a:gd name="connsiteX29" fmla="*/ 10158333 w 12117871"/>
                <a:gd name="connsiteY29" fmla="*/ 6072780 h 6072780"/>
                <a:gd name="connsiteX30" fmla="*/ 10123045 w 12117871"/>
                <a:gd name="connsiteY30" fmla="*/ 6072780 h 6072780"/>
                <a:gd name="connsiteX31" fmla="*/ 10123045 w 12117871"/>
                <a:gd name="connsiteY31" fmla="*/ 5892997 h 6072780"/>
                <a:gd name="connsiteX32" fmla="*/ 10102436 w 12117871"/>
                <a:gd name="connsiteY32" fmla="*/ 5904633 h 6072780"/>
                <a:gd name="connsiteX33" fmla="*/ 10077263 w 12117871"/>
                <a:gd name="connsiteY33" fmla="*/ 5913074 h 6072780"/>
                <a:gd name="connsiteX34" fmla="*/ 10077263 w 12117871"/>
                <a:gd name="connsiteY34" fmla="*/ 5882958 h 6072780"/>
                <a:gd name="connsiteX35" fmla="*/ 10094298 w 12117871"/>
                <a:gd name="connsiteY35" fmla="*/ 5876874 h 6072780"/>
                <a:gd name="connsiteX36" fmla="*/ 10110497 w 12117871"/>
                <a:gd name="connsiteY36" fmla="*/ 5869725 h 6072780"/>
                <a:gd name="connsiteX37" fmla="*/ 10126620 w 12117871"/>
                <a:gd name="connsiteY37" fmla="*/ 5860904 h 6072780"/>
                <a:gd name="connsiteX38" fmla="*/ 10143427 w 12117871"/>
                <a:gd name="connsiteY38" fmla="*/ 5849800 h 6072780"/>
                <a:gd name="connsiteX39" fmla="*/ 9254256 w 12117871"/>
                <a:gd name="connsiteY39" fmla="*/ 5849800 h 6072780"/>
                <a:gd name="connsiteX40" fmla="*/ 9269162 w 12117871"/>
                <a:gd name="connsiteY40" fmla="*/ 5849800 h 6072780"/>
                <a:gd name="connsiteX41" fmla="*/ 9269162 w 12117871"/>
                <a:gd name="connsiteY41" fmla="*/ 6072780 h 6072780"/>
                <a:gd name="connsiteX42" fmla="*/ 9233874 w 12117871"/>
                <a:gd name="connsiteY42" fmla="*/ 6072780 h 6072780"/>
                <a:gd name="connsiteX43" fmla="*/ 9233874 w 12117871"/>
                <a:gd name="connsiteY43" fmla="*/ 5892997 h 6072780"/>
                <a:gd name="connsiteX44" fmla="*/ 9213265 w 12117871"/>
                <a:gd name="connsiteY44" fmla="*/ 5904633 h 6072780"/>
                <a:gd name="connsiteX45" fmla="*/ 9188092 w 12117871"/>
                <a:gd name="connsiteY45" fmla="*/ 5913074 h 6072780"/>
                <a:gd name="connsiteX46" fmla="*/ 9188092 w 12117871"/>
                <a:gd name="connsiteY46" fmla="*/ 5882958 h 6072780"/>
                <a:gd name="connsiteX47" fmla="*/ 9205127 w 12117871"/>
                <a:gd name="connsiteY47" fmla="*/ 5876874 h 6072780"/>
                <a:gd name="connsiteX48" fmla="*/ 9221326 w 12117871"/>
                <a:gd name="connsiteY48" fmla="*/ 5869725 h 6072780"/>
                <a:gd name="connsiteX49" fmla="*/ 9237449 w 12117871"/>
                <a:gd name="connsiteY49" fmla="*/ 5860904 h 6072780"/>
                <a:gd name="connsiteX50" fmla="*/ 9254256 w 12117871"/>
                <a:gd name="connsiteY50" fmla="*/ 5849800 h 6072780"/>
                <a:gd name="connsiteX51" fmla="*/ 7015147 w 12117871"/>
                <a:gd name="connsiteY51" fmla="*/ 5849800 h 6072780"/>
                <a:gd name="connsiteX52" fmla="*/ 7030053 w 12117871"/>
                <a:gd name="connsiteY52" fmla="*/ 5849800 h 6072780"/>
                <a:gd name="connsiteX53" fmla="*/ 7030053 w 12117871"/>
                <a:gd name="connsiteY53" fmla="*/ 6072780 h 6072780"/>
                <a:gd name="connsiteX54" fmla="*/ 6994765 w 12117871"/>
                <a:gd name="connsiteY54" fmla="*/ 6072780 h 6072780"/>
                <a:gd name="connsiteX55" fmla="*/ 6994765 w 12117871"/>
                <a:gd name="connsiteY55" fmla="*/ 5892997 h 6072780"/>
                <a:gd name="connsiteX56" fmla="*/ 6974156 w 12117871"/>
                <a:gd name="connsiteY56" fmla="*/ 5904633 h 6072780"/>
                <a:gd name="connsiteX57" fmla="*/ 6948983 w 12117871"/>
                <a:gd name="connsiteY57" fmla="*/ 5913074 h 6072780"/>
                <a:gd name="connsiteX58" fmla="*/ 6948983 w 12117871"/>
                <a:gd name="connsiteY58" fmla="*/ 5882958 h 6072780"/>
                <a:gd name="connsiteX59" fmla="*/ 6966018 w 12117871"/>
                <a:gd name="connsiteY59" fmla="*/ 5876874 h 6072780"/>
                <a:gd name="connsiteX60" fmla="*/ 6982217 w 12117871"/>
                <a:gd name="connsiteY60" fmla="*/ 5869725 h 6072780"/>
                <a:gd name="connsiteX61" fmla="*/ 6998340 w 12117871"/>
                <a:gd name="connsiteY61" fmla="*/ 5860904 h 6072780"/>
                <a:gd name="connsiteX62" fmla="*/ 7015147 w 12117871"/>
                <a:gd name="connsiteY62" fmla="*/ 5849800 h 6072780"/>
                <a:gd name="connsiteX63" fmla="*/ 4694968 w 12117871"/>
                <a:gd name="connsiteY63" fmla="*/ 5849800 h 6072780"/>
                <a:gd name="connsiteX64" fmla="*/ 4709876 w 12117871"/>
                <a:gd name="connsiteY64" fmla="*/ 5849800 h 6072780"/>
                <a:gd name="connsiteX65" fmla="*/ 4709876 w 12117871"/>
                <a:gd name="connsiteY65" fmla="*/ 6072780 h 6072780"/>
                <a:gd name="connsiteX66" fmla="*/ 4674589 w 12117871"/>
                <a:gd name="connsiteY66" fmla="*/ 6072780 h 6072780"/>
                <a:gd name="connsiteX67" fmla="*/ 4674589 w 12117871"/>
                <a:gd name="connsiteY67" fmla="*/ 5892997 h 6072780"/>
                <a:gd name="connsiteX68" fmla="*/ 4653978 w 12117871"/>
                <a:gd name="connsiteY68" fmla="*/ 5904633 h 6072780"/>
                <a:gd name="connsiteX69" fmla="*/ 4628805 w 12117871"/>
                <a:gd name="connsiteY69" fmla="*/ 5913074 h 6072780"/>
                <a:gd name="connsiteX70" fmla="*/ 4628805 w 12117871"/>
                <a:gd name="connsiteY70" fmla="*/ 5882958 h 6072780"/>
                <a:gd name="connsiteX71" fmla="*/ 4645841 w 12117871"/>
                <a:gd name="connsiteY71" fmla="*/ 5876874 h 6072780"/>
                <a:gd name="connsiteX72" fmla="*/ 4662040 w 12117871"/>
                <a:gd name="connsiteY72" fmla="*/ 5869725 h 6072780"/>
                <a:gd name="connsiteX73" fmla="*/ 4678162 w 12117871"/>
                <a:gd name="connsiteY73" fmla="*/ 5860904 h 6072780"/>
                <a:gd name="connsiteX74" fmla="*/ 4694968 w 12117871"/>
                <a:gd name="connsiteY74" fmla="*/ 5849800 h 6072780"/>
                <a:gd name="connsiteX75" fmla="*/ 3158682 w 12117871"/>
                <a:gd name="connsiteY75" fmla="*/ 5849800 h 6072780"/>
                <a:gd name="connsiteX76" fmla="*/ 3173587 w 12117871"/>
                <a:gd name="connsiteY76" fmla="*/ 5849800 h 6072780"/>
                <a:gd name="connsiteX77" fmla="*/ 3173587 w 12117871"/>
                <a:gd name="connsiteY77" fmla="*/ 6072780 h 6072780"/>
                <a:gd name="connsiteX78" fmla="*/ 3138299 w 12117871"/>
                <a:gd name="connsiteY78" fmla="*/ 6072780 h 6072780"/>
                <a:gd name="connsiteX79" fmla="*/ 3138299 w 12117871"/>
                <a:gd name="connsiteY79" fmla="*/ 5892997 h 6072780"/>
                <a:gd name="connsiteX80" fmla="*/ 3117690 w 12117871"/>
                <a:gd name="connsiteY80" fmla="*/ 5904633 h 6072780"/>
                <a:gd name="connsiteX81" fmla="*/ 3092517 w 12117871"/>
                <a:gd name="connsiteY81" fmla="*/ 5913074 h 6072780"/>
                <a:gd name="connsiteX82" fmla="*/ 3092517 w 12117871"/>
                <a:gd name="connsiteY82" fmla="*/ 5882958 h 6072780"/>
                <a:gd name="connsiteX83" fmla="*/ 3109553 w 12117871"/>
                <a:gd name="connsiteY83" fmla="*/ 5876874 h 6072780"/>
                <a:gd name="connsiteX84" fmla="*/ 3125751 w 12117871"/>
                <a:gd name="connsiteY84" fmla="*/ 5869725 h 6072780"/>
                <a:gd name="connsiteX85" fmla="*/ 3141875 w 12117871"/>
                <a:gd name="connsiteY85" fmla="*/ 5860904 h 6072780"/>
                <a:gd name="connsiteX86" fmla="*/ 3158682 w 12117871"/>
                <a:gd name="connsiteY86" fmla="*/ 5849800 h 6072780"/>
                <a:gd name="connsiteX87" fmla="*/ 2489154 w 12117871"/>
                <a:gd name="connsiteY87" fmla="*/ 5849800 h 6072780"/>
                <a:gd name="connsiteX88" fmla="*/ 2504060 w 12117871"/>
                <a:gd name="connsiteY88" fmla="*/ 5849800 h 6072780"/>
                <a:gd name="connsiteX89" fmla="*/ 2504060 w 12117871"/>
                <a:gd name="connsiteY89" fmla="*/ 6072780 h 6072780"/>
                <a:gd name="connsiteX90" fmla="*/ 2468772 w 12117871"/>
                <a:gd name="connsiteY90" fmla="*/ 6072780 h 6072780"/>
                <a:gd name="connsiteX91" fmla="*/ 2468772 w 12117871"/>
                <a:gd name="connsiteY91" fmla="*/ 5892997 h 6072780"/>
                <a:gd name="connsiteX92" fmla="*/ 2448163 w 12117871"/>
                <a:gd name="connsiteY92" fmla="*/ 5904633 h 6072780"/>
                <a:gd name="connsiteX93" fmla="*/ 2422990 w 12117871"/>
                <a:gd name="connsiteY93" fmla="*/ 5913074 h 6072780"/>
                <a:gd name="connsiteX94" fmla="*/ 2422990 w 12117871"/>
                <a:gd name="connsiteY94" fmla="*/ 5882958 h 6072780"/>
                <a:gd name="connsiteX95" fmla="*/ 2440025 w 12117871"/>
                <a:gd name="connsiteY95" fmla="*/ 5876874 h 6072780"/>
                <a:gd name="connsiteX96" fmla="*/ 2456224 w 12117871"/>
                <a:gd name="connsiteY96" fmla="*/ 5869725 h 6072780"/>
                <a:gd name="connsiteX97" fmla="*/ 2472346 w 12117871"/>
                <a:gd name="connsiteY97" fmla="*/ 5860904 h 6072780"/>
                <a:gd name="connsiteX98" fmla="*/ 2489154 w 12117871"/>
                <a:gd name="connsiteY98" fmla="*/ 5849800 h 6072780"/>
                <a:gd name="connsiteX99" fmla="*/ 1599916 w 12117871"/>
                <a:gd name="connsiteY99" fmla="*/ 5849800 h 6072780"/>
                <a:gd name="connsiteX100" fmla="*/ 1614822 w 12117871"/>
                <a:gd name="connsiteY100" fmla="*/ 5849800 h 6072780"/>
                <a:gd name="connsiteX101" fmla="*/ 1614822 w 12117871"/>
                <a:gd name="connsiteY101" fmla="*/ 6072780 h 6072780"/>
                <a:gd name="connsiteX102" fmla="*/ 1579534 w 12117871"/>
                <a:gd name="connsiteY102" fmla="*/ 6072780 h 6072780"/>
                <a:gd name="connsiteX103" fmla="*/ 1579534 w 12117871"/>
                <a:gd name="connsiteY103" fmla="*/ 5892997 h 6072780"/>
                <a:gd name="connsiteX104" fmla="*/ 1558925 w 12117871"/>
                <a:gd name="connsiteY104" fmla="*/ 5904633 h 6072780"/>
                <a:gd name="connsiteX105" fmla="*/ 1533752 w 12117871"/>
                <a:gd name="connsiteY105" fmla="*/ 5913074 h 6072780"/>
                <a:gd name="connsiteX106" fmla="*/ 1533752 w 12117871"/>
                <a:gd name="connsiteY106" fmla="*/ 5882958 h 6072780"/>
                <a:gd name="connsiteX107" fmla="*/ 1550787 w 12117871"/>
                <a:gd name="connsiteY107" fmla="*/ 5876874 h 6072780"/>
                <a:gd name="connsiteX108" fmla="*/ 1566986 w 12117871"/>
                <a:gd name="connsiteY108" fmla="*/ 5869725 h 6072780"/>
                <a:gd name="connsiteX109" fmla="*/ 1583109 w 12117871"/>
                <a:gd name="connsiteY109" fmla="*/ 5860904 h 6072780"/>
                <a:gd name="connsiteX110" fmla="*/ 1599916 w 12117871"/>
                <a:gd name="connsiteY110" fmla="*/ 5849800 h 6072780"/>
                <a:gd name="connsiteX111" fmla="*/ 480750 w 12117871"/>
                <a:gd name="connsiteY111" fmla="*/ 5849800 h 6072780"/>
                <a:gd name="connsiteX112" fmla="*/ 495656 w 12117871"/>
                <a:gd name="connsiteY112" fmla="*/ 5849800 h 6072780"/>
                <a:gd name="connsiteX113" fmla="*/ 495656 w 12117871"/>
                <a:gd name="connsiteY113" fmla="*/ 6072780 h 6072780"/>
                <a:gd name="connsiteX114" fmla="*/ 460368 w 12117871"/>
                <a:gd name="connsiteY114" fmla="*/ 6072780 h 6072780"/>
                <a:gd name="connsiteX115" fmla="*/ 460368 w 12117871"/>
                <a:gd name="connsiteY115" fmla="*/ 5892997 h 6072780"/>
                <a:gd name="connsiteX116" fmla="*/ 439759 w 12117871"/>
                <a:gd name="connsiteY116" fmla="*/ 5904633 h 6072780"/>
                <a:gd name="connsiteX117" fmla="*/ 414586 w 12117871"/>
                <a:gd name="connsiteY117" fmla="*/ 5913074 h 6072780"/>
                <a:gd name="connsiteX118" fmla="*/ 414586 w 12117871"/>
                <a:gd name="connsiteY118" fmla="*/ 5882958 h 6072780"/>
                <a:gd name="connsiteX119" fmla="*/ 431621 w 12117871"/>
                <a:gd name="connsiteY119" fmla="*/ 5876874 h 6072780"/>
                <a:gd name="connsiteX120" fmla="*/ 447821 w 12117871"/>
                <a:gd name="connsiteY120" fmla="*/ 5869725 h 6072780"/>
                <a:gd name="connsiteX121" fmla="*/ 463943 w 12117871"/>
                <a:gd name="connsiteY121" fmla="*/ 5860904 h 6072780"/>
                <a:gd name="connsiteX122" fmla="*/ 480750 w 12117871"/>
                <a:gd name="connsiteY122" fmla="*/ 5849800 h 6072780"/>
                <a:gd name="connsiteX123" fmla="*/ 11877853 w 12117871"/>
                <a:gd name="connsiteY123" fmla="*/ 5842140 h 6072780"/>
                <a:gd name="connsiteX124" fmla="*/ 11949020 w 12117871"/>
                <a:gd name="connsiteY124" fmla="*/ 5952728 h 6072780"/>
                <a:gd name="connsiteX125" fmla="*/ 11928934 w 12117871"/>
                <a:gd name="connsiteY125" fmla="*/ 6036307 h 6072780"/>
                <a:gd name="connsiteX126" fmla="*/ 11872737 w 12117871"/>
                <a:gd name="connsiteY126" fmla="*/ 6065120 h 6072780"/>
                <a:gd name="connsiteX127" fmla="*/ 11820152 w 12117871"/>
                <a:gd name="connsiteY127" fmla="*/ 6037586 h 6072780"/>
                <a:gd name="connsiteX128" fmla="*/ 11801269 w 12117871"/>
                <a:gd name="connsiteY128" fmla="*/ 5957994 h 6072780"/>
                <a:gd name="connsiteX129" fmla="*/ 11820979 w 12117871"/>
                <a:gd name="connsiteY129" fmla="*/ 5871480 h 6072780"/>
                <a:gd name="connsiteX130" fmla="*/ 11877853 w 12117871"/>
                <a:gd name="connsiteY130" fmla="*/ 5842140 h 6072780"/>
                <a:gd name="connsiteX131" fmla="*/ 6367990 w 12117871"/>
                <a:gd name="connsiteY131" fmla="*/ 5842140 h 6072780"/>
                <a:gd name="connsiteX132" fmla="*/ 6439157 w 12117871"/>
                <a:gd name="connsiteY132" fmla="*/ 5952728 h 6072780"/>
                <a:gd name="connsiteX133" fmla="*/ 6419071 w 12117871"/>
                <a:gd name="connsiteY133" fmla="*/ 6036307 h 6072780"/>
                <a:gd name="connsiteX134" fmla="*/ 6362874 w 12117871"/>
                <a:gd name="connsiteY134" fmla="*/ 6065120 h 6072780"/>
                <a:gd name="connsiteX135" fmla="*/ 6310289 w 12117871"/>
                <a:gd name="connsiteY135" fmla="*/ 6037586 h 6072780"/>
                <a:gd name="connsiteX136" fmla="*/ 6291406 w 12117871"/>
                <a:gd name="connsiteY136" fmla="*/ 5957994 h 6072780"/>
                <a:gd name="connsiteX137" fmla="*/ 6311116 w 12117871"/>
                <a:gd name="connsiteY137" fmla="*/ 5871480 h 6072780"/>
                <a:gd name="connsiteX138" fmla="*/ 6367990 w 12117871"/>
                <a:gd name="connsiteY138" fmla="*/ 5842140 h 6072780"/>
                <a:gd name="connsiteX139" fmla="*/ 5090447 w 12117871"/>
                <a:gd name="connsiteY139" fmla="*/ 5842140 h 6072780"/>
                <a:gd name="connsiteX140" fmla="*/ 5161614 w 12117871"/>
                <a:gd name="connsiteY140" fmla="*/ 5952728 h 6072780"/>
                <a:gd name="connsiteX141" fmla="*/ 5141528 w 12117871"/>
                <a:gd name="connsiteY141" fmla="*/ 6036307 h 6072780"/>
                <a:gd name="connsiteX142" fmla="*/ 5085331 w 12117871"/>
                <a:gd name="connsiteY142" fmla="*/ 6065120 h 6072780"/>
                <a:gd name="connsiteX143" fmla="*/ 5032746 w 12117871"/>
                <a:gd name="connsiteY143" fmla="*/ 6037586 h 6072780"/>
                <a:gd name="connsiteX144" fmla="*/ 5013863 w 12117871"/>
                <a:gd name="connsiteY144" fmla="*/ 5957994 h 6072780"/>
                <a:gd name="connsiteX145" fmla="*/ 5033573 w 12117871"/>
                <a:gd name="connsiteY145" fmla="*/ 5871480 h 6072780"/>
                <a:gd name="connsiteX146" fmla="*/ 5090447 w 12117871"/>
                <a:gd name="connsiteY146" fmla="*/ 5842140 h 6072780"/>
                <a:gd name="connsiteX147" fmla="*/ 11874294 w 12117871"/>
                <a:gd name="connsiteY147" fmla="*/ 5532345 h 6072780"/>
                <a:gd name="connsiteX148" fmla="*/ 11835024 w 12117871"/>
                <a:gd name="connsiteY148" fmla="*/ 5618858 h 6072780"/>
                <a:gd name="connsiteX149" fmla="*/ 11873542 w 12117871"/>
                <a:gd name="connsiteY149" fmla="*/ 5699805 h 6072780"/>
                <a:gd name="connsiteX150" fmla="*/ 11911457 w 12117871"/>
                <a:gd name="connsiteY150" fmla="*/ 5617504 h 6072780"/>
                <a:gd name="connsiteX151" fmla="*/ 11874294 w 12117871"/>
                <a:gd name="connsiteY151" fmla="*/ 5532345 h 6072780"/>
                <a:gd name="connsiteX152" fmla="*/ 9936214 w 12117871"/>
                <a:gd name="connsiteY152" fmla="*/ 5532345 h 6072780"/>
                <a:gd name="connsiteX153" fmla="*/ 9896944 w 12117871"/>
                <a:gd name="connsiteY153" fmla="*/ 5618859 h 6072780"/>
                <a:gd name="connsiteX154" fmla="*/ 9935462 w 12117871"/>
                <a:gd name="connsiteY154" fmla="*/ 5699806 h 6072780"/>
                <a:gd name="connsiteX155" fmla="*/ 9973377 w 12117871"/>
                <a:gd name="connsiteY155" fmla="*/ 5617505 h 6072780"/>
                <a:gd name="connsiteX156" fmla="*/ 9936214 w 12117871"/>
                <a:gd name="connsiteY156" fmla="*/ 5532345 h 6072780"/>
                <a:gd name="connsiteX157" fmla="*/ 6366335 w 12117871"/>
                <a:gd name="connsiteY157" fmla="*/ 5532345 h 6072780"/>
                <a:gd name="connsiteX158" fmla="*/ 6327065 w 12117871"/>
                <a:gd name="connsiteY158" fmla="*/ 5618858 h 6072780"/>
                <a:gd name="connsiteX159" fmla="*/ 6365583 w 12117871"/>
                <a:gd name="connsiteY159" fmla="*/ 5699805 h 6072780"/>
                <a:gd name="connsiteX160" fmla="*/ 6403498 w 12117871"/>
                <a:gd name="connsiteY160" fmla="*/ 5617504 h 6072780"/>
                <a:gd name="connsiteX161" fmla="*/ 6366335 w 12117871"/>
                <a:gd name="connsiteY161" fmla="*/ 5532345 h 6072780"/>
                <a:gd name="connsiteX162" fmla="*/ 5088792 w 12117871"/>
                <a:gd name="connsiteY162" fmla="*/ 5532345 h 6072780"/>
                <a:gd name="connsiteX163" fmla="*/ 5049522 w 12117871"/>
                <a:gd name="connsiteY163" fmla="*/ 5618858 h 6072780"/>
                <a:gd name="connsiteX164" fmla="*/ 5088041 w 12117871"/>
                <a:gd name="connsiteY164" fmla="*/ 5699805 h 6072780"/>
                <a:gd name="connsiteX165" fmla="*/ 5125957 w 12117871"/>
                <a:gd name="connsiteY165" fmla="*/ 5617504 h 6072780"/>
                <a:gd name="connsiteX166" fmla="*/ 5088792 w 12117871"/>
                <a:gd name="connsiteY166" fmla="*/ 5532345 h 6072780"/>
                <a:gd name="connsiteX167" fmla="*/ 11875949 w 12117871"/>
                <a:gd name="connsiteY167" fmla="*/ 5504510 h 6072780"/>
                <a:gd name="connsiteX168" fmla="*/ 11947116 w 12117871"/>
                <a:gd name="connsiteY168" fmla="*/ 5615097 h 6072780"/>
                <a:gd name="connsiteX169" fmla="*/ 11927030 w 12117871"/>
                <a:gd name="connsiteY169" fmla="*/ 5698677 h 6072780"/>
                <a:gd name="connsiteX170" fmla="*/ 11870833 w 12117871"/>
                <a:gd name="connsiteY170" fmla="*/ 5727490 h 6072780"/>
                <a:gd name="connsiteX171" fmla="*/ 11818248 w 12117871"/>
                <a:gd name="connsiteY171" fmla="*/ 5699956 h 6072780"/>
                <a:gd name="connsiteX172" fmla="*/ 11799365 w 12117871"/>
                <a:gd name="connsiteY172" fmla="*/ 5620363 h 6072780"/>
                <a:gd name="connsiteX173" fmla="*/ 11819075 w 12117871"/>
                <a:gd name="connsiteY173" fmla="*/ 5533849 h 6072780"/>
                <a:gd name="connsiteX174" fmla="*/ 11875949 w 12117871"/>
                <a:gd name="connsiteY174" fmla="*/ 5504510 h 6072780"/>
                <a:gd name="connsiteX175" fmla="*/ 9937869 w 12117871"/>
                <a:gd name="connsiteY175" fmla="*/ 5504510 h 6072780"/>
                <a:gd name="connsiteX176" fmla="*/ 10009036 w 12117871"/>
                <a:gd name="connsiteY176" fmla="*/ 5615098 h 6072780"/>
                <a:gd name="connsiteX177" fmla="*/ 9988950 w 12117871"/>
                <a:gd name="connsiteY177" fmla="*/ 5698677 h 6072780"/>
                <a:gd name="connsiteX178" fmla="*/ 9932753 w 12117871"/>
                <a:gd name="connsiteY178" fmla="*/ 5727490 h 6072780"/>
                <a:gd name="connsiteX179" fmla="*/ 9880168 w 12117871"/>
                <a:gd name="connsiteY179" fmla="*/ 5699956 h 6072780"/>
                <a:gd name="connsiteX180" fmla="*/ 9861285 w 12117871"/>
                <a:gd name="connsiteY180" fmla="*/ 5620364 h 6072780"/>
                <a:gd name="connsiteX181" fmla="*/ 9880995 w 12117871"/>
                <a:gd name="connsiteY181" fmla="*/ 5533850 h 6072780"/>
                <a:gd name="connsiteX182" fmla="*/ 9937869 w 12117871"/>
                <a:gd name="connsiteY182" fmla="*/ 5504510 h 6072780"/>
                <a:gd name="connsiteX183" fmla="*/ 6367990 w 12117871"/>
                <a:gd name="connsiteY183" fmla="*/ 5504510 h 6072780"/>
                <a:gd name="connsiteX184" fmla="*/ 6439157 w 12117871"/>
                <a:gd name="connsiteY184" fmla="*/ 5615097 h 6072780"/>
                <a:gd name="connsiteX185" fmla="*/ 6419071 w 12117871"/>
                <a:gd name="connsiteY185" fmla="*/ 5698677 h 6072780"/>
                <a:gd name="connsiteX186" fmla="*/ 6362874 w 12117871"/>
                <a:gd name="connsiteY186" fmla="*/ 5727490 h 6072780"/>
                <a:gd name="connsiteX187" fmla="*/ 6310289 w 12117871"/>
                <a:gd name="connsiteY187" fmla="*/ 5699956 h 6072780"/>
                <a:gd name="connsiteX188" fmla="*/ 6291406 w 12117871"/>
                <a:gd name="connsiteY188" fmla="*/ 5620363 h 6072780"/>
                <a:gd name="connsiteX189" fmla="*/ 6311116 w 12117871"/>
                <a:gd name="connsiteY189" fmla="*/ 5533849 h 6072780"/>
                <a:gd name="connsiteX190" fmla="*/ 6367990 w 12117871"/>
                <a:gd name="connsiteY190" fmla="*/ 5504510 h 6072780"/>
                <a:gd name="connsiteX191" fmla="*/ 5090447 w 12117871"/>
                <a:gd name="connsiteY191" fmla="*/ 5504510 h 6072780"/>
                <a:gd name="connsiteX192" fmla="*/ 5161614 w 12117871"/>
                <a:gd name="connsiteY192" fmla="*/ 5615097 h 6072780"/>
                <a:gd name="connsiteX193" fmla="*/ 5141528 w 12117871"/>
                <a:gd name="connsiteY193" fmla="*/ 5698677 h 6072780"/>
                <a:gd name="connsiteX194" fmla="*/ 5085331 w 12117871"/>
                <a:gd name="connsiteY194" fmla="*/ 5727490 h 6072780"/>
                <a:gd name="connsiteX195" fmla="*/ 5032746 w 12117871"/>
                <a:gd name="connsiteY195" fmla="*/ 5699956 h 6072780"/>
                <a:gd name="connsiteX196" fmla="*/ 5013863 w 12117871"/>
                <a:gd name="connsiteY196" fmla="*/ 5620363 h 6072780"/>
                <a:gd name="connsiteX197" fmla="*/ 5033573 w 12117871"/>
                <a:gd name="connsiteY197" fmla="*/ 5533849 h 6072780"/>
                <a:gd name="connsiteX198" fmla="*/ 5090447 w 12117871"/>
                <a:gd name="connsiteY198" fmla="*/ 5504510 h 6072780"/>
                <a:gd name="connsiteX199" fmla="*/ 12062430 w 12117871"/>
                <a:gd name="connsiteY199" fmla="*/ 5494669 h 6072780"/>
                <a:gd name="connsiteX200" fmla="*/ 12077336 w 12117871"/>
                <a:gd name="connsiteY200" fmla="*/ 5494669 h 6072780"/>
                <a:gd name="connsiteX201" fmla="*/ 12077336 w 12117871"/>
                <a:gd name="connsiteY201" fmla="*/ 5717649 h 6072780"/>
                <a:gd name="connsiteX202" fmla="*/ 12042048 w 12117871"/>
                <a:gd name="connsiteY202" fmla="*/ 5717649 h 6072780"/>
                <a:gd name="connsiteX203" fmla="*/ 12042048 w 12117871"/>
                <a:gd name="connsiteY203" fmla="*/ 5537865 h 6072780"/>
                <a:gd name="connsiteX204" fmla="*/ 12021439 w 12117871"/>
                <a:gd name="connsiteY204" fmla="*/ 5549501 h 6072780"/>
                <a:gd name="connsiteX205" fmla="*/ 11996266 w 12117871"/>
                <a:gd name="connsiteY205" fmla="*/ 5557943 h 6072780"/>
                <a:gd name="connsiteX206" fmla="*/ 11996266 w 12117871"/>
                <a:gd name="connsiteY206" fmla="*/ 5527827 h 6072780"/>
                <a:gd name="connsiteX207" fmla="*/ 12013301 w 12117871"/>
                <a:gd name="connsiteY207" fmla="*/ 5521743 h 6072780"/>
                <a:gd name="connsiteX208" fmla="*/ 12029500 w 12117871"/>
                <a:gd name="connsiteY208" fmla="*/ 5514594 h 6072780"/>
                <a:gd name="connsiteX209" fmla="*/ 12045623 w 12117871"/>
                <a:gd name="connsiteY209" fmla="*/ 5505772 h 6072780"/>
                <a:gd name="connsiteX210" fmla="*/ 12062430 w 12117871"/>
                <a:gd name="connsiteY210" fmla="*/ 5494669 h 6072780"/>
                <a:gd name="connsiteX211" fmla="*/ 10143427 w 12117871"/>
                <a:gd name="connsiteY211" fmla="*/ 5494669 h 6072780"/>
                <a:gd name="connsiteX212" fmla="*/ 10158333 w 12117871"/>
                <a:gd name="connsiteY212" fmla="*/ 5494669 h 6072780"/>
                <a:gd name="connsiteX213" fmla="*/ 10158333 w 12117871"/>
                <a:gd name="connsiteY213" fmla="*/ 5717649 h 6072780"/>
                <a:gd name="connsiteX214" fmla="*/ 10123045 w 12117871"/>
                <a:gd name="connsiteY214" fmla="*/ 5717649 h 6072780"/>
                <a:gd name="connsiteX215" fmla="*/ 10123045 w 12117871"/>
                <a:gd name="connsiteY215" fmla="*/ 5537866 h 6072780"/>
                <a:gd name="connsiteX216" fmla="*/ 10102436 w 12117871"/>
                <a:gd name="connsiteY216" fmla="*/ 5549502 h 6072780"/>
                <a:gd name="connsiteX217" fmla="*/ 10077263 w 12117871"/>
                <a:gd name="connsiteY217" fmla="*/ 5557943 h 6072780"/>
                <a:gd name="connsiteX218" fmla="*/ 10077263 w 12117871"/>
                <a:gd name="connsiteY218" fmla="*/ 5527827 h 6072780"/>
                <a:gd name="connsiteX219" fmla="*/ 10094298 w 12117871"/>
                <a:gd name="connsiteY219" fmla="*/ 5521743 h 6072780"/>
                <a:gd name="connsiteX220" fmla="*/ 10110497 w 12117871"/>
                <a:gd name="connsiteY220" fmla="*/ 5514594 h 6072780"/>
                <a:gd name="connsiteX221" fmla="*/ 10126620 w 12117871"/>
                <a:gd name="connsiteY221" fmla="*/ 5505773 h 6072780"/>
                <a:gd name="connsiteX222" fmla="*/ 10143427 w 12117871"/>
                <a:gd name="connsiteY222" fmla="*/ 5494669 h 6072780"/>
                <a:gd name="connsiteX223" fmla="*/ 9254256 w 12117871"/>
                <a:gd name="connsiteY223" fmla="*/ 5494669 h 6072780"/>
                <a:gd name="connsiteX224" fmla="*/ 9269162 w 12117871"/>
                <a:gd name="connsiteY224" fmla="*/ 5494669 h 6072780"/>
                <a:gd name="connsiteX225" fmla="*/ 9269162 w 12117871"/>
                <a:gd name="connsiteY225" fmla="*/ 5717649 h 6072780"/>
                <a:gd name="connsiteX226" fmla="*/ 9233874 w 12117871"/>
                <a:gd name="connsiteY226" fmla="*/ 5717649 h 6072780"/>
                <a:gd name="connsiteX227" fmla="*/ 9233874 w 12117871"/>
                <a:gd name="connsiteY227" fmla="*/ 5537865 h 6072780"/>
                <a:gd name="connsiteX228" fmla="*/ 9213265 w 12117871"/>
                <a:gd name="connsiteY228" fmla="*/ 5549501 h 6072780"/>
                <a:gd name="connsiteX229" fmla="*/ 9188092 w 12117871"/>
                <a:gd name="connsiteY229" fmla="*/ 5557943 h 6072780"/>
                <a:gd name="connsiteX230" fmla="*/ 9188092 w 12117871"/>
                <a:gd name="connsiteY230" fmla="*/ 5527827 h 6072780"/>
                <a:gd name="connsiteX231" fmla="*/ 9205127 w 12117871"/>
                <a:gd name="connsiteY231" fmla="*/ 5521743 h 6072780"/>
                <a:gd name="connsiteX232" fmla="*/ 9221326 w 12117871"/>
                <a:gd name="connsiteY232" fmla="*/ 5514594 h 6072780"/>
                <a:gd name="connsiteX233" fmla="*/ 9237449 w 12117871"/>
                <a:gd name="connsiteY233" fmla="*/ 5505772 h 6072780"/>
                <a:gd name="connsiteX234" fmla="*/ 9254256 w 12117871"/>
                <a:gd name="connsiteY234" fmla="*/ 5494669 h 6072780"/>
                <a:gd name="connsiteX235" fmla="*/ 7851748 w 12117871"/>
                <a:gd name="connsiteY235" fmla="*/ 5494669 h 6072780"/>
                <a:gd name="connsiteX236" fmla="*/ 7866654 w 12117871"/>
                <a:gd name="connsiteY236" fmla="*/ 5494669 h 6072780"/>
                <a:gd name="connsiteX237" fmla="*/ 7866654 w 12117871"/>
                <a:gd name="connsiteY237" fmla="*/ 5717649 h 6072780"/>
                <a:gd name="connsiteX238" fmla="*/ 7831366 w 12117871"/>
                <a:gd name="connsiteY238" fmla="*/ 5717649 h 6072780"/>
                <a:gd name="connsiteX239" fmla="*/ 7831366 w 12117871"/>
                <a:gd name="connsiteY239" fmla="*/ 5537866 h 6072780"/>
                <a:gd name="connsiteX240" fmla="*/ 7810757 w 12117871"/>
                <a:gd name="connsiteY240" fmla="*/ 5549502 h 6072780"/>
                <a:gd name="connsiteX241" fmla="*/ 7785584 w 12117871"/>
                <a:gd name="connsiteY241" fmla="*/ 5557943 h 6072780"/>
                <a:gd name="connsiteX242" fmla="*/ 7785584 w 12117871"/>
                <a:gd name="connsiteY242" fmla="*/ 5527827 h 6072780"/>
                <a:gd name="connsiteX243" fmla="*/ 7802619 w 12117871"/>
                <a:gd name="connsiteY243" fmla="*/ 5521743 h 6072780"/>
                <a:gd name="connsiteX244" fmla="*/ 7818818 w 12117871"/>
                <a:gd name="connsiteY244" fmla="*/ 5514594 h 6072780"/>
                <a:gd name="connsiteX245" fmla="*/ 7834941 w 12117871"/>
                <a:gd name="connsiteY245" fmla="*/ 5505773 h 6072780"/>
                <a:gd name="connsiteX246" fmla="*/ 7851748 w 12117871"/>
                <a:gd name="connsiteY246" fmla="*/ 5494669 h 6072780"/>
                <a:gd name="connsiteX247" fmla="*/ 7015147 w 12117871"/>
                <a:gd name="connsiteY247" fmla="*/ 5494669 h 6072780"/>
                <a:gd name="connsiteX248" fmla="*/ 7030053 w 12117871"/>
                <a:gd name="connsiteY248" fmla="*/ 5494669 h 6072780"/>
                <a:gd name="connsiteX249" fmla="*/ 7030053 w 12117871"/>
                <a:gd name="connsiteY249" fmla="*/ 5717649 h 6072780"/>
                <a:gd name="connsiteX250" fmla="*/ 6994765 w 12117871"/>
                <a:gd name="connsiteY250" fmla="*/ 5717649 h 6072780"/>
                <a:gd name="connsiteX251" fmla="*/ 6994765 w 12117871"/>
                <a:gd name="connsiteY251" fmla="*/ 5537865 h 6072780"/>
                <a:gd name="connsiteX252" fmla="*/ 6974156 w 12117871"/>
                <a:gd name="connsiteY252" fmla="*/ 5549501 h 6072780"/>
                <a:gd name="connsiteX253" fmla="*/ 6948983 w 12117871"/>
                <a:gd name="connsiteY253" fmla="*/ 5557943 h 6072780"/>
                <a:gd name="connsiteX254" fmla="*/ 6948983 w 12117871"/>
                <a:gd name="connsiteY254" fmla="*/ 5527827 h 6072780"/>
                <a:gd name="connsiteX255" fmla="*/ 6966018 w 12117871"/>
                <a:gd name="connsiteY255" fmla="*/ 5521743 h 6072780"/>
                <a:gd name="connsiteX256" fmla="*/ 6982217 w 12117871"/>
                <a:gd name="connsiteY256" fmla="*/ 5514594 h 6072780"/>
                <a:gd name="connsiteX257" fmla="*/ 6998340 w 12117871"/>
                <a:gd name="connsiteY257" fmla="*/ 5505772 h 6072780"/>
                <a:gd name="connsiteX258" fmla="*/ 7015147 w 12117871"/>
                <a:gd name="connsiteY258" fmla="*/ 5494669 h 6072780"/>
                <a:gd name="connsiteX259" fmla="*/ 4694968 w 12117871"/>
                <a:gd name="connsiteY259" fmla="*/ 5494669 h 6072780"/>
                <a:gd name="connsiteX260" fmla="*/ 4709876 w 12117871"/>
                <a:gd name="connsiteY260" fmla="*/ 5494669 h 6072780"/>
                <a:gd name="connsiteX261" fmla="*/ 4709876 w 12117871"/>
                <a:gd name="connsiteY261" fmla="*/ 5717649 h 6072780"/>
                <a:gd name="connsiteX262" fmla="*/ 4674589 w 12117871"/>
                <a:gd name="connsiteY262" fmla="*/ 5717649 h 6072780"/>
                <a:gd name="connsiteX263" fmla="*/ 4674589 w 12117871"/>
                <a:gd name="connsiteY263" fmla="*/ 5537865 h 6072780"/>
                <a:gd name="connsiteX264" fmla="*/ 4653978 w 12117871"/>
                <a:gd name="connsiteY264" fmla="*/ 5549501 h 6072780"/>
                <a:gd name="connsiteX265" fmla="*/ 4628805 w 12117871"/>
                <a:gd name="connsiteY265" fmla="*/ 5557943 h 6072780"/>
                <a:gd name="connsiteX266" fmla="*/ 4628805 w 12117871"/>
                <a:gd name="connsiteY266" fmla="*/ 5527827 h 6072780"/>
                <a:gd name="connsiteX267" fmla="*/ 4645841 w 12117871"/>
                <a:gd name="connsiteY267" fmla="*/ 5521743 h 6072780"/>
                <a:gd name="connsiteX268" fmla="*/ 4662040 w 12117871"/>
                <a:gd name="connsiteY268" fmla="*/ 5514594 h 6072780"/>
                <a:gd name="connsiteX269" fmla="*/ 4678162 w 12117871"/>
                <a:gd name="connsiteY269" fmla="*/ 5505772 h 6072780"/>
                <a:gd name="connsiteX270" fmla="*/ 4694968 w 12117871"/>
                <a:gd name="connsiteY270" fmla="*/ 5494669 h 6072780"/>
                <a:gd name="connsiteX271" fmla="*/ 3158682 w 12117871"/>
                <a:gd name="connsiteY271" fmla="*/ 5494669 h 6072780"/>
                <a:gd name="connsiteX272" fmla="*/ 3173587 w 12117871"/>
                <a:gd name="connsiteY272" fmla="*/ 5494669 h 6072780"/>
                <a:gd name="connsiteX273" fmla="*/ 3173587 w 12117871"/>
                <a:gd name="connsiteY273" fmla="*/ 5717649 h 6072780"/>
                <a:gd name="connsiteX274" fmla="*/ 3138299 w 12117871"/>
                <a:gd name="connsiteY274" fmla="*/ 5717649 h 6072780"/>
                <a:gd name="connsiteX275" fmla="*/ 3138299 w 12117871"/>
                <a:gd name="connsiteY275" fmla="*/ 5537866 h 6072780"/>
                <a:gd name="connsiteX276" fmla="*/ 3117690 w 12117871"/>
                <a:gd name="connsiteY276" fmla="*/ 5549502 h 6072780"/>
                <a:gd name="connsiteX277" fmla="*/ 3092517 w 12117871"/>
                <a:gd name="connsiteY277" fmla="*/ 5557943 h 6072780"/>
                <a:gd name="connsiteX278" fmla="*/ 3092517 w 12117871"/>
                <a:gd name="connsiteY278" fmla="*/ 5527827 h 6072780"/>
                <a:gd name="connsiteX279" fmla="*/ 3109553 w 12117871"/>
                <a:gd name="connsiteY279" fmla="*/ 5521743 h 6072780"/>
                <a:gd name="connsiteX280" fmla="*/ 3125751 w 12117871"/>
                <a:gd name="connsiteY280" fmla="*/ 5514594 h 6072780"/>
                <a:gd name="connsiteX281" fmla="*/ 3141875 w 12117871"/>
                <a:gd name="connsiteY281" fmla="*/ 5505773 h 6072780"/>
                <a:gd name="connsiteX282" fmla="*/ 3158682 w 12117871"/>
                <a:gd name="connsiteY282" fmla="*/ 5494669 h 6072780"/>
                <a:gd name="connsiteX283" fmla="*/ 2489154 w 12117871"/>
                <a:gd name="connsiteY283" fmla="*/ 5494669 h 6072780"/>
                <a:gd name="connsiteX284" fmla="*/ 2504060 w 12117871"/>
                <a:gd name="connsiteY284" fmla="*/ 5494669 h 6072780"/>
                <a:gd name="connsiteX285" fmla="*/ 2504060 w 12117871"/>
                <a:gd name="connsiteY285" fmla="*/ 5717649 h 6072780"/>
                <a:gd name="connsiteX286" fmla="*/ 2468772 w 12117871"/>
                <a:gd name="connsiteY286" fmla="*/ 5717649 h 6072780"/>
                <a:gd name="connsiteX287" fmla="*/ 2468772 w 12117871"/>
                <a:gd name="connsiteY287" fmla="*/ 5537866 h 6072780"/>
                <a:gd name="connsiteX288" fmla="*/ 2448163 w 12117871"/>
                <a:gd name="connsiteY288" fmla="*/ 5549502 h 6072780"/>
                <a:gd name="connsiteX289" fmla="*/ 2422990 w 12117871"/>
                <a:gd name="connsiteY289" fmla="*/ 5557943 h 6072780"/>
                <a:gd name="connsiteX290" fmla="*/ 2422990 w 12117871"/>
                <a:gd name="connsiteY290" fmla="*/ 5527827 h 6072780"/>
                <a:gd name="connsiteX291" fmla="*/ 2440025 w 12117871"/>
                <a:gd name="connsiteY291" fmla="*/ 5521743 h 6072780"/>
                <a:gd name="connsiteX292" fmla="*/ 2456224 w 12117871"/>
                <a:gd name="connsiteY292" fmla="*/ 5514594 h 6072780"/>
                <a:gd name="connsiteX293" fmla="*/ 2472346 w 12117871"/>
                <a:gd name="connsiteY293" fmla="*/ 5505773 h 6072780"/>
                <a:gd name="connsiteX294" fmla="*/ 2489154 w 12117871"/>
                <a:gd name="connsiteY294" fmla="*/ 5494669 h 6072780"/>
                <a:gd name="connsiteX295" fmla="*/ 1599916 w 12117871"/>
                <a:gd name="connsiteY295" fmla="*/ 5494669 h 6072780"/>
                <a:gd name="connsiteX296" fmla="*/ 1614822 w 12117871"/>
                <a:gd name="connsiteY296" fmla="*/ 5494669 h 6072780"/>
                <a:gd name="connsiteX297" fmla="*/ 1614822 w 12117871"/>
                <a:gd name="connsiteY297" fmla="*/ 5717649 h 6072780"/>
                <a:gd name="connsiteX298" fmla="*/ 1579534 w 12117871"/>
                <a:gd name="connsiteY298" fmla="*/ 5717649 h 6072780"/>
                <a:gd name="connsiteX299" fmla="*/ 1579534 w 12117871"/>
                <a:gd name="connsiteY299" fmla="*/ 5537866 h 6072780"/>
                <a:gd name="connsiteX300" fmla="*/ 1558925 w 12117871"/>
                <a:gd name="connsiteY300" fmla="*/ 5549502 h 6072780"/>
                <a:gd name="connsiteX301" fmla="*/ 1533752 w 12117871"/>
                <a:gd name="connsiteY301" fmla="*/ 5557943 h 6072780"/>
                <a:gd name="connsiteX302" fmla="*/ 1533752 w 12117871"/>
                <a:gd name="connsiteY302" fmla="*/ 5527827 h 6072780"/>
                <a:gd name="connsiteX303" fmla="*/ 1550787 w 12117871"/>
                <a:gd name="connsiteY303" fmla="*/ 5521743 h 6072780"/>
                <a:gd name="connsiteX304" fmla="*/ 1566986 w 12117871"/>
                <a:gd name="connsiteY304" fmla="*/ 5514594 h 6072780"/>
                <a:gd name="connsiteX305" fmla="*/ 1583109 w 12117871"/>
                <a:gd name="connsiteY305" fmla="*/ 5505773 h 6072780"/>
                <a:gd name="connsiteX306" fmla="*/ 1599916 w 12117871"/>
                <a:gd name="connsiteY306" fmla="*/ 5494669 h 6072780"/>
                <a:gd name="connsiteX307" fmla="*/ 480750 w 12117871"/>
                <a:gd name="connsiteY307" fmla="*/ 5494669 h 6072780"/>
                <a:gd name="connsiteX308" fmla="*/ 495656 w 12117871"/>
                <a:gd name="connsiteY308" fmla="*/ 5494669 h 6072780"/>
                <a:gd name="connsiteX309" fmla="*/ 495656 w 12117871"/>
                <a:gd name="connsiteY309" fmla="*/ 5717649 h 6072780"/>
                <a:gd name="connsiteX310" fmla="*/ 460368 w 12117871"/>
                <a:gd name="connsiteY310" fmla="*/ 5717649 h 6072780"/>
                <a:gd name="connsiteX311" fmla="*/ 460368 w 12117871"/>
                <a:gd name="connsiteY311" fmla="*/ 5537866 h 6072780"/>
                <a:gd name="connsiteX312" fmla="*/ 439759 w 12117871"/>
                <a:gd name="connsiteY312" fmla="*/ 5549502 h 6072780"/>
                <a:gd name="connsiteX313" fmla="*/ 414586 w 12117871"/>
                <a:gd name="connsiteY313" fmla="*/ 5557943 h 6072780"/>
                <a:gd name="connsiteX314" fmla="*/ 414586 w 12117871"/>
                <a:gd name="connsiteY314" fmla="*/ 5527827 h 6072780"/>
                <a:gd name="connsiteX315" fmla="*/ 431621 w 12117871"/>
                <a:gd name="connsiteY315" fmla="*/ 5521743 h 6072780"/>
                <a:gd name="connsiteX316" fmla="*/ 447821 w 12117871"/>
                <a:gd name="connsiteY316" fmla="*/ 5514594 h 6072780"/>
                <a:gd name="connsiteX317" fmla="*/ 463943 w 12117871"/>
                <a:gd name="connsiteY317" fmla="*/ 5505773 h 6072780"/>
                <a:gd name="connsiteX318" fmla="*/ 480750 w 12117871"/>
                <a:gd name="connsiteY318" fmla="*/ 5494669 h 6072780"/>
                <a:gd name="connsiteX319" fmla="*/ 476799 w 12117871"/>
                <a:gd name="connsiteY319" fmla="*/ 5197154 h 6072780"/>
                <a:gd name="connsiteX320" fmla="*/ 437529 w 12117871"/>
                <a:gd name="connsiteY320" fmla="*/ 5283668 h 6072780"/>
                <a:gd name="connsiteX321" fmla="*/ 476046 w 12117871"/>
                <a:gd name="connsiteY321" fmla="*/ 5364615 h 6072780"/>
                <a:gd name="connsiteX322" fmla="*/ 513962 w 12117871"/>
                <a:gd name="connsiteY322" fmla="*/ 5282314 h 6072780"/>
                <a:gd name="connsiteX323" fmla="*/ 476799 w 12117871"/>
                <a:gd name="connsiteY323" fmla="*/ 5197154 h 6072780"/>
                <a:gd name="connsiteX324" fmla="*/ 11874294 w 12117871"/>
                <a:gd name="connsiteY324" fmla="*/ 5184874 h 6072780"/>
                <a:gd name="connsiteX325" fmla="*/ 11835024 w 12117871"/>
                <a:gd name="connsiteY325" fmla="*/ 5271387 h 6072780"/>
                <a:gd name="connsiteX326" fmla="*/ 11873542 w 12117871"/>
                <a:gd name="connsiteY326" fmla="*/ 5352334 h 6072780"/>
                <a:gd name="connsiteX327" fmla="*/ 11911457 w 12117871"/>
                <a:gd name="connsiteY327" fmla="*/ 5270033 h 6072780"/>
                <a:gd name="connsiteX328" fmla="*/ 11874294 w 12117871"/>
                <a:gd name="connsiteY328" fmla="*/ 5184874 h 6072780"/>
                <a:gd name="connsiteX329" fmla="*/ 9936214 w 12117871"/>
                <a:gd name="connsiteY329" fmla="*/ 5184874 h 6072780"/>
                <a:gd name="connsiteX330" fmla="*/ 9896944 w 12117871"/>
                <a:gd name="connsiteY330" fmla="*/ 5271388 h 6072780"/>
                <a:gd name="connsiteX331" fmla="*/ 9935462 w 12117871"/>
                <a:gd name="connsiteY331" fmla="*/ 5352335 h 6072780"/>
                <a:gd name="connsiteX332" fmla="*/ 9973377 w 12117871"/>
                <a:gd name="connsiteY332" fmla="*/ 5270034 h 6072780"/>
                <a:gd name="connsiteX333" fmla="*/ 9936214 w 12117871"/>
                <a:gd name="connsiteY333" fmla="*/ 5184874 h 6072780"/>
                <a:gd name="connsiteX334" fmla="*/ 6366335 w 12117871"/>
                <a:gd name="connsiteY334" fmla="*/ 5184874 h 6072780"/>
                <a:gd name="connsiteX335" fmla="*/ 6327065 w 12117871"/>
                <a:gd name="connsiteY335" fmla="*/ 5271387 h 6072780"/>
                <a:gd name="connsiteX336" fmla="*/ 6365583 w 12117871"/>
                <a:gd name="connsiteY336" fmla="*/ 5352334 h 6072780"/>
                <a:gd name="connsiteX337" fmla="*/ 6403498 w 12117871"/>
                <a:gd name="connsiteY337" fmla="*/ 5270033 h 6072780"/>
                <a:gd name="connsiteX338" fmla="*/ 6366335 w 12117871"/>
                <a:gd name="connsiteY338" fmla="*/ 5184874 h 6072780"/>
                <a:gd name="connsiteX339" fmla="*/ 5088792 w 12117871"/>
                <a:gd name="connsiteY339" fmla="*/ 5184874 h 6072780"/>
                <a:gd name="connsiteX340" fmla="*/ 5049522 w 12117871"/>
                <a:gd name="connsiteY340" fmla="*/ 5271387 h 6072780"/>
                <a:gd name="connsiteX341" fmla="*/ 5088041 w 12117871"/>
                <a:gd name="connsiteY341" fmla="*/ 5352334 h 6072780"/>
                <a:gd name="connsiteX342" fmla="*/ 5125957 w 12117871"/>
                <a:gd name="connsiteY342" fmla="*/ 5270033 h 6072780"/>
                <a:gd name="connsiteX343" fmla="*/ 5088792 w 12117871"/>
                <a:gd name="connsiteY343" fmla="*/ 5184874 h 6072780"/>
                <a:gd name="connsiteX344" fmla="*/ 478454 w 12117871"/>
                <a:gd name="connsiteY344" fmla="*/ 5169319 h 6072780"/>
                <a:gd name="connsiteX345" fmla="*/ 549621 w 12117871"/>
                <a:gd name="connsiteY345" fmla="*/ 5279907 h 6072780"/>
                <a:gd name="connsiteX346" fmla="*/ 529535 w 12117871"/>
                <a:gd name="connsiteY346" fmla="*/ 5363486 h 6072780"/>
                <a:gd name="connsiteX347" fmla="*/ 473338 w 12117871"/>
                <a:gd name="connsiteY347" fmla="*/ 5392299 h 6072780"/>
                <a:gd name="connsiteX348" fmla="*/ 420753 w 12117871"/>
                <a:gd name="connsiteY348" fmla="*/ 5364765 h 6072780"/>
                <a:gd name="connsiteX349" fmla="*/ 401870 w 12117871"/>
                <a:gd name="connsiteY349" fmla="*/ 5285173 h 6072780"/>
                <a:gd name="connsiteX350" fmla="*/ 421580 w 12117871"/>
                <a:gd name="connsiteY350" fmla="*/ 5198659 h 6072780"/>
                <a:gd name="connsiteX351" fmla="*/ 478454 w 12117871"/>
                <a:gd name="connsiteY351" fmla="*/ 5169319 h 6072780"/>
                <a:gd name="connsiteX352" fmla="*/ 12062430 w 12117871"/>
                <a:gd name="connsiteY352" fmla="*/ 5157039 h 6072780"/>
                <a:gd name="connsiteX353" fmla="*/ 12077336 w 12117871"/>
                <a:gd name="connsiteY353" fmla="*/ 5157039 h 6072780"/>
                <a:gd name="connsiteX354" fmla="*/ 12077336 w 12117871"/>
                <a:gd name="connsiteY354" fmla="*/ 5380019 h 6072780"/>
                <a:gd name="connsiteX355" fmla="*/ 12042048 w 12117871"/>
                <a:gd name="connsiteY355" fmla="*/ 5380019 h 6072780"/>
                <a:gd name="connsiteX356" fmla="*/ 12042048 w 12117871"/>
                <a:gd name="connsiteY356" fmla="*/ 5200235 h 6072780"/>
                <a:gd name="connsiteX357" fmla="*/ 12021439 w 12117871"/>
                <a:gd name="connsiteY357" fmla="*/ 5211871 h 6072780"/>
                <a:gd name="connsiteX358" fmla="*/ 11996266 w 12117871"/>
                <a:gd name="connsiteY358" fmla="*/ 5220313 h 6072780"/>
                <a:gd name="connsiteX359" fmla="*/ 11996266 w 12117871"/>
                <a:gd name="connsiteY359" fmla="*/ 5190197 h 6072780"/>
                <a:gd name="connsiteX360" fmla="*/ 12013301 w 12117871"/>
                <a:gd name="connsiteY360" fmla="*/ 5184113 h 6072780"/>
                <a:gd name="connsiteX361" fmla="*/ 12029500 w 12117871"/>
                <a:gd name="connsiteY361" fmla="*/ 5176964 h 6072780"/>
                <a:gd name="connsiteX362" fmla="*/ 12045623 w 12117871"/>
                <a:gd name="connsiteY362" fmla="*/ 5168142 h 6072780"/>
                <a:gd name="connsiteX363" fmla="*/ 12062430 w 12117871"/>
                <a:gd name="connsiteY363" fmla="*/ 5157039 h 6072780"/>
                <a:gd name="connsiteX364" fmla="*/ 11875949 w 12117871"/>
                <a:gd name="connsiteY364" fmla="*/ 5157039 h 6072780"/>
                <a:gd name="connsiteX365" fmla="*/ 11947116 w 12117871"/>
                <a:gd name="connsiteY365" fmla="*/ 5267626 h 6072780"/>
                <a:gd name="connsiteX366" fmla="*/ 11927030 w 12117871"/>
                <a:gd name="connsiteY366" fmla="*/ 5351206 h 6072780"/>
                <a:gd name="connsiteX367" fmla="*/ 11870833 w 12117871"/>
                <a:gd name="connsiteY367" fmla="*/ 5380019 h 6072780"/>
                <a:gd name="connsiteX368" fmla="*/ 11818248 w 12117871"/>
                <a:gd name="connsiteY368" fmla="*/ 5352485 h 6072780"/>
                <a:gd name="connsiteX369" fmla="*/ 11799365 w 12117871"/>
                <a:gd name="connsiteY369" fmla="*/ 5272892 h 6072780"/>
                <a:gd name="connsiteX370" fmla="*/ 11819075 w 12117871"/>
                <a:gd name="connsiteY370" fmla="*/ 5186378 h 6072780"/>
                <a:gd name="connsiteX371" fmla="*/ 11875949 w 12117871"/>
                <a:gd name="connsiteY371" fmla="*/ 5157039 h 6072780"/>
                <a:gd name="connsiteX372" fmla="*/ 10143427 w 12117871"/>
                <a:gd name="connsiteY372" fmla="*/ 5157039 h 6072780"/>
                <a:gd name="connsiteX373" fmla="*/ 10158333 w 12117871"/>
                <a:gd name="connsiteY373" fmla="*/ 5157039 h 6072780"/>
                <a:gd name="connsiteX374" fmla="*/ 10158333 w 12117871"/>
                <a:gd name="connsiteY374" fmla="*/ 5380019 h 6072780"/>
                <a:gd name="connsiteX375" fmla="*/ 10123045 w 12117871"/>
                <a:gd name="connsiteY375" fmla="*/ 5380019 h 6072780"/>
                <a:gd name="connsiteX376" fmla="*/ 10123045 w 12117871"/>
                <a:gd name="connsiteY376" fmla="*/ 5200236 h 6072780"/>
                <a:gd name="connsiteX377" fmla="*/ 10102436 w 12117871"/>
                <a:gd name="connsiteY377" fmla="*/ 5211872 h 6072780"/>
                <a:gd name="connsiteX378" fmla="*/ 10077263 w 12117871"/>
                <a:gd name="connsiteY378" fmla="*/ 5220313 h 6072780"/>
                <a:gd name="connsiteX379" fmla="*/ 10077263 w 12117871"/>
                <a:gd name="connsiteY379" fmla="*/ 5190197 h 6072780"/>
                <a:gd name="connsiteX380" fmla="*/ 10094298 w 12117871"/>
                <a:gd name="connsiteY380" fmla="*/ 5184113 h 6072780"/>
                <a:gd name="connsiteX381" fmla="*/ 10110497 w 12117871"/>
                <a:gd name="connsiteY381" fmla="*/ 5176964 h 6072780"/>
                <a:gd name="connsiteX382" fmla="*/ 10126620 w 12117871"/>
                <a:gd name="connsiteY382" fmla="*/ 5168143 h 6072780"/>
                <a:gd name="connsiteX383" fmla="*/ 10143427 w 12117871"/>
                <a:gd name="connsiteY383" fmla="*/ 5157039 h 6072780"/>
                <a:gd name="connsiteX384" fmla="*/ 9937869 w 12117871"/>
                <a:gd name="connsiteY384" fmla="*/ 5157039 h 6072780"/>
                <a:gd name="connsiteX385" fmla="*/ 10009036 w 12117871"/>
                <a:gd name="connsiteY385" fmla="*/ 5267627 h 6072780"/>
                <a:gd name="connsiteX386" fmla="*/ 9988950 w 12117871"/>
                <a:gd name="connsiteY386" fmla="*/ 5351206 h 6072780"/>
                <a:gd name="connsiteX387" fmla="*/ 9932753 w 12117871"/>
                <a:gd name="connsiteY387" fmla="*/ 5380019 h 6072780"/>
                <a:gd name="connsiteX388" fmla="*/ 9880168 w 12117871"/>
                <a:gd name="connsiteY388" fmla="*/ 5352485 h 6072780"/>
                <a:gd name="connsiteX389" fmla="*/ 9861285 w 12117871"/>
                <a:gd name="connsiteY389" fmla="*/ 5272893 h 6072780"/>
                <a:gd name="connsiteX390" fmla="*/ 9880995 w 12117871"/>
                <a:gd name="connsiteY390" fmla="*/ 5186379 h 6072780"/>
                <a:gd name="connsiteX391" fmla="*/ 9937869 w 12117871"/>
                <a:gd name="connsiteY391" fmla="*/ 5157039 h 6072780"/>
                <a:gd name="connsiteX392" fmla="*/ 9254256 w 12117871"/>
                <a:gd name="connsiteY392" fmla="*/ 5157039 h 6072780"/>
                <a:gd name="connsiteX393" fmla="*/ 9269162 w 12117871"/>
                <a:gd name="connsiteY393" fmla="*/ 5157039 h 6072780"/>
                <a:gd name="connsiteX394" fmla="*/ 9269162 w 12117871"/>
                <a:gd name="connsiteY394" fmla="*/ 5380019 h 6072780"/>
                <a:gd name="connsiteX395" fmla="*/ 9233874 w 12117871"/>
                <a:gd name="connsiteY395" fmla="*/ 5380019 h 6072780"/>
                <a:gd name="connsiteX396" fmla="*/ 9233874 w 12117871"/>
                <a:gd name="connsiteY396" fmla="*/ 5200235 h 6072780"/>
                <a:gd name="connsiteX397" fmla="*/ 9213265 w 12117871"/>
                <a:gd name="connsiteY397" fmla="*/ 5211871 h 6072780"/>
                <a:gd name="connsiteX398" fmla="*/ 9188092 w 12117871"/>
                <a:gd name="connsiteY398" fmla="*/ 5220313 h 6072780"/>
                <a:gd name="connsiteX399" fmla="*/ 9188092 w 12117871"/>
                <a:gd name="connsiteY399" fmla="*/ 5190197 h 6072780"/>
                <a:gd name="connsiteX400" fmla="*/ 9205127 w 12117871"/>
                <a:gd name="connsiteY400" fmla="*/ 5184113 h 6072780"/>
                <a:gd name="connsiteX401" fmla="*/ 9221326 w 12117871"/>
                <a:gd name="connsiteY401" fmla="*/ 5176964 h 6072780"/>
                <a:gd name="connsiteX402" fmla="*/ 9237449 w 12117871"/>
                <a:gd name="connsiteY402" fmla="*/ 5168142 h 6072780"/>
                <a:gd name="connsiteX403" fmla="*/ 9254256 w 12117871"/>
                <a:gd name="connsiteY403" fmla="*/ 5157039 h 6072780"/>
                <a:gd name="connsiteX404" fmla="*/ 7851748 w 12117871"/>
                <a:gd name="connsiteY404" fmla="*/ 5157039 h 6072780"/>
                <a:gd name="connsiteX405" fmla="*/ 7866654 w 12117871"/>
                <a:gd name="connsiteY405" fmla="*/ 5157039 h 6072780"/>
                <a:gd name="connsiteX406" fmla="*/ 7866654 w 12117871"/>
                <a:gd name="connsiteY406" fmla="*/ 5380019 h 6072780"/>
                <a:gd name="connsiteX407" fmla="*/ 7831366 w 12117871"/>
                <a:gd name="connsiteY407" fmla="*/ 5380019 h 6072780"/>
                <a:gd name="connsiteX408" fmla="*/ 7831366 w 12117871"/>
                <a:gd name="connsiteY408" fmla="*/ 5200236 h 6072780"/>
                <a:gd name="connsiteX409" fmla="*/ 7810757 w 12117871"/>
                <a:gd name="connsiteY409" fmla="*/ 5211872 h 6072780"/>
                <a:gd name="connsiteX410" fmla="*/ 7785584 w 12117871"/>
                <a:gd name="connsiteY410" fmla="*/ 5220313 h 6072780"/>
                <a:gd name="connsiteX411" fmla="*/ 7785584 w 12117871"/>
                <a:gd name="connsiteY411" fmla="*/ 5190197 h 6072780"/>
                <a:gd name="connsiteX412" fmla="*/ 7802619 w 12117871"/>
                <a:gd name="connsiteY412" fmla="*/ 5184113 h 6072780"/>
                <a:gd name="connsiteX413" fmla="*/ 7818818 w 12117871"/>
                <a:gd name="connsiteY413" fmla="*/ 5176964 h 6072780"/>
                <a:gd name="connsiteX414" fmla="*/ 7834941 w 12117871"/>
                <a:gd name="connsiteY414" fmla="*/ 5168143 h 6072780"/>
                <a:gd name="connsiteX415" fmla="*/ 7851748 w 12117871"/>
                <a:gd name="connsiteY415" fmla="*/ 5157039 h 6072780"/>
                <a:gd name="connsiteX416" fmla="*/ 7015147 w 12117871"/>
                <a:gd name="connsiteY416" fmla="*/ 5157039 h 6072780"/>
                <a:gd name="connsiteX417" fmla="*/ 7030053 w 12117871"/>
                <a:gd name="connsiteY417" fmla="*/ 5157039 h 6072780"/>
                <a:gd name="connsiteX418" fmla="*/ 7030053 w 12117871"/>
                <a:gd name="connsiteY418" fmla="*/ 5380019 h 6072780"/>
                <a:gd name="connsiteX419" fmla="*/ 6994765 w 12117871"/>
                <a:gd name="connsiteY419" fmla="*/ 5380019 h 6072780"/>
                <a:gd name="connsiteX420" fmla="*/ 6994765 w 12117871"/>
                <a:gd name="connsiteY420" fmla="*/ 5200235 h 6072780"/>
                <a:gd name="connsiteX421" fmla="*/ 6974156 w 12117871"/>
                <a:gd name="connsiteY421" fmla="*/ 5211871 h 6072780"/>
                <a:gd name="connsiteX422" fmla="*/ 6948983 w 12117871"/>
                <a:gd name="connsiteY422" fmla="*/ 5220313 h 6072780"/>
                <a:gd name="connsiteX423" fmla="*/ 6948983 w 12117871"/>
                <a:gd name="connsiteY423" fmla="*/ 5190197 h 6072780"/>
                <a:gd name="connsiteX424" fmla="*/ 6966018 w 12117871"/>
                <a:gd name="connsiteY424" fmla="*/ 5184113 h 6072780"/>
                <a:gd name="connsiteX425" fmla="*/ 6982217 w 12117871"/>
                <a:gd name="connsiteY425" fmla="*/ 5176964 h 6072780"/>
                <a:gd name="connsiteX426" fmla="*/ 6998340 w 12117871"/>
                <a:gd name="connsiteY426" fmla="*/ 5168142 h 6072780"/>
                <a:gd name="connsiteX427" fmla="*/ 7015147 w 12117871"/>
                <a:gd name="connsiteY427" fmla="*/ 5157039 h 6072780"/>
                <a:gd name="connsiteX428" fmla="*/ 6584323 w 12117871"/>
                <a:gd name="connsiteY428" fmla="*/ 5157039 h 6072780"/>
                <a:gd name="connsiteX429" fmla="*/ 6599229 w 12117871"/>
                <a:gd name="connsiteY429" fmla="*/ 5157039 h 6072780"/>
                <a:gd name="connsiteX430" fmla="*/ 6599229 w 12117871"/>
                <a:gd name="connsiteY430" fmla="*/ 5380019 h 6072780"/>
                <a:gd name="connsiteX431" fmla="*/ 6563941 w 12117871"/>
                <a:gd name="connsiteY431" fmla="*/ 5380019 h 6072780"/>
                <a:gd name="connsiteX432" fmla="*/ 6563941 w 12117871"/>
                <a:gd name="connsiteY432" fmla="*/ 5200235 h 6072780"/>
                <a:gd name="connsiteX433" fmla="*/ 6543332 w 12117871"/>
                <a:gd name="connsiteY433" fmla="*/ 5211871 h 6072780"/>
                <a:gd name="connsiteX434" fmla="*/ 6518159 w 12117871"/>
                <a:gd name="connsiteY434" fmla="*/ 5220313 h 6072780"/>
                <a:gd name="connsiteX435" fmla="*/ 6518159 w 12117871"/>
                <a:gd name="connsiteY435" fmla="*/ 5190197 h 6072780"/>
                <a:gd name="connsiteX436" fmla="*/ 6535194 w 12117871"/>
                <a:gd name="connsiteY436" fmla="*/ 5184113 h 6072780"/>
                <a:gd name="connsiteX437" fmla="*/ 6551393 w 12117871"/>
                <a:gd name="connsiteY437" fmla="*/ 5176964 h 6072780"/>
                <a:gd name="connsiteX438" fmla="*/ 6567516 w 12117871"/>
                <a:gd name="connsiteY438" fmla="*/ 5168142 h 6072780"/>
                <a:gd name="connsiteX439" fmla="*/ 6584323 w 12117871"/>
                <a:gd name="connsiteY439" fmla="*/ 5157039 h 6072780"/>
                <a:gd name="connsiteX440" fmla="*/ 6367990 w 12117871"/>
                <a:gd name="connsiteY440" fmla="*/ 5157039 h 6072780"/>
                <a:gd name="connsiteX441" fmla="*/ 6439157 w 12117871"/>
                <a:gd name="connsiteY441" fmla="*/ 5267626 h 6072780"/>
                <a:gd name="connsiteX442" fmla="*/ 6419071 w 12117871"/>
                <a:gd name="connsiteY442" fmla="*/ 5351206 h 6072780"/>
                <a:gd name="connsiteX443" fmla="*/ 6362874 w 12117871"/>
                <a:gd name="connsiteY443" fmla="*/ 5380019 h 6072780"/>
                <a:gd name="connsiteX444" fmla="*/ 6310289 w 12117871"/>
                <a:gd name="connsiteY444" fmla="*/ 5352485 h 6072780"/>
                <a:gd name="connsiteX445" fmla="*/ 6291406 w 12117871"/>
                <a:gd name="connsiteY445" fmla="*/ 5272892 h 6072780"/>
                <a:gd name="connsiteX446" fmla="*/ 6311116 w 12117871"/>
                <a:gd name="connsiteY446" fmla="*/ 5186378 h 6072780"/>
                <a:gd name="connsiteX447" fmla="*/ 6367990 w 12117871"/>
                <a:gd name="connsiteY447" fmla="*/ 5157039 h 6072780"/>
                <a:gd name="connsiteX448" fmla="*/ 5975659 w 12117871"/>
                <a:gd name="connsiteY448" fmla="*/ 5157039 h 6072780"/>
                <a:gd name="connsiteX449" fmla="*/ 5990568 w 12117871"/>
                <a:gd name="connsiteY449" fmla="*/ 5157039 h 6072780"/>
                <a:gd name="connsiteX450" fmla="*/ 5990568 w 12117871"/>
                <a:gd name="connsiteY450" fmla="*/ 5380019 h 6072780"/>
                <a:gd name="connsiteX451" fmla="*/ 5955278 w 12117871"/>
                <a:gd name="connsiteY451" fmla="*/ 5380019 h 6072780"/>
                <a:gd name="connsiteX452" fmla="*/ 5955278 w 12117871"/>
                <a:gd name="connsiteY452" fmla="*/ 5200235 h 6072780"/>
                <a:gd name="connsiteX453" fmla="*/ 5934669 w 12117871"/>
                <a:gd name="connsiteY453" fmla="*/ 5211871 h 6072780"/>
                <a:gd name="connsiteX454" fmla="*/ 5909498 w 12117871"/>
                <a:gd name="connsiteY454" fmla="*/ 5220313 h 6072780"/>
                <a:gd name="connsiteX455" fmla="*/ 5909498 w 12117871"/>
                <a:gd name="connsiteY455" fmla="*/ 5190197 h 6072780"/>
                <a:gd name="connsiteX456" fmla="*/ 5926531 w 12117871"/>
                <a:gd name="connsiteY456" fmla="*/ 5184113 h 6072780"/>
                <a:gd name="connsiteX457" fmla="*/ 5942730 w 12117871"/>
                <a:gd name="connsiteY457" fmla="*/ 5176964 h 6072780"/>
                <a:gd name="connsiteX458" fmla="*/ 5958852 w 12117871"/>
                <a:gd name="connsiteY458" fmla="*/ 5168142 h 6072780"/>
                <a:gd name="connsiteX459" fmla="*/ 5975659 w 12117871"/>
                <a:gd name="connsiteY459" fmla="*/ 5157039 h 6072780"/>
                <a:gd name="connsiteX460" fmla="*/ 5090447 w 12117871"/>
                <a:gd name="connsiteY460" fmla="*/ 5157039 h 6072780"/>
                <a:gd name="connsiteX461" fmla="*/ 5161614 w 12117871"/>
                <a:gd name="connsiteY461" fmla="*/ 5267626 h 6072780"/>
                <a:gd name="connsiteX462" fmla="*/ 5141528 w 12117871"/>
                <a:gd name="connsiteY462" fmla="*/ 5351206 h 6072780"/>
                <a:gd name="connsiteX463" fmla="*/ 5085331 w 12117871"/>
                <a:gd name="connsiteY463" fmla="*/ 5380019 h 6072780"/>
                <a:gd name="connsiteX464" fmla="*/ 5032746 w 12117871"/>
                <a:gd name="connsiteY464" fmla="*/ 5352485 h 6072780"/>
                <a:gd name="connsiteX465" fmla="*/ 5013863 w 12117871"/>
                <a:gd name="connsiteY465" fmla="*/ 5272892 h 6072780"/>
                <a:gd name="connsiteX466" fmla="*/ 5033573 w 12117871"/>
                <a:gd name="connsiteY466" fmla="*/ 5186378 h 6072780"/>
                <a:gd name="connsiteX467" fmla="*/ 5090447 w 12117871"/>
                <a:gd name="connsiteY467" fmla="*/ 5157039 h 6072780"/>
                <a:gd name="connsiteX468" fmla="*/ 4694968 w 12117871"/>
                <a:gd name="connsiteY468" fmla="*/ 5157039 h 6072780"/>
                <a:gd name="connsiteX469" fmla="*/ 4709876 w 12117871"/>
                <a:gd name="connsiteY469" fmla="*/ 5157039 h 6072780"/>
                <a:gd name="connsiteX470" fmla="*/ 4709876 w 12117871"/>
                <a:gd name="connsiteY470" fmla="*/ 5380019 h 6072780"/>
                <a:gd name="connsiteX471" fmla="*/ 4674589 w 12117871"/>
                <a:gd name="connsiteY471" fmla="*/ 5380019 h 6072780"/>
                <a:gd name="connsiteX472" fmla="*/ 4674589 w 12117871"/>
                <a:gd name="connsiteY472" fmla="*/ 5200235 h 6072780"/>
                <a:gd name="connsiteX473" fmla="*/ 4653978 w 12117871"/>
                <a:gd name="connsiteY473" fmla="*/ 5211871 h 6072780"/>
                <a:gd name="connsiteX474" fmla="*/ 4628805 w 12117871"/>
                <a:gd name="connsiteY474" fmla="*/ 5220313 h 6072780"/>
                <a:gd name="connsiteX475" fmla="*/ 4628805 w 12117871"/>
                <a:gd name="connsiteY475" fmla="*/ 5190197 h 6072780"/>
                <a:gd name="connsiteX476" fmla="*/ 4645841 w 12117871"/>
                <a:gd name="connsiteY476" fmla="*/ 5184113 h 6072780"/>
                <a:gd name="connsiteX477" fmla="*/ 4662040 w 12117871"/>
                <a:gd name="connsiteY477" fmla="*/ 5176964 h 6072780"/>
                <a:gd name="connsiteX478" fmla="*/ 4678162 w 12117871"/>
                <a:gd name="connsiteY478" fmla="*/ 5168142 h 6072780"/>
                <a:gd name="connsiteX479" fmla="*/ 4694968 w 12117871"/>
                <a:gd name="connsiteY479" fmla="*/ 5157039 h 6072780"/>
                <a:gd name="connsiteX480" fmla="*/ 3158682 w 12117871"/>
                <a:gd name="connsiteY480" fmla="*/ 5157039 h 6072780"/>
                <a:gd name="connsiteX481" fmla="*/ 3173587 w 12117871"/>
                <a:gd name="connsiteY481" fmla="*/ 5157039 h 6072780"/>
                <a:gd name="connsiteX482" fmla="*/ 3173587 w 12117871"/>
                <a:gd name="connsiteY482" fmla="*/ 5380019 h 6072780"/>
                <a:gd name="connsiteX483" fmla="*/ 3138299 w 12117871"/>
                <a:gd name="connsiteY483" fmla="*/ 5380019 h 6072780"/>
                <a:gd name="connsiteX484" fmla="*/ 3138299 w 12117871"/>
                <a:gd name="connsiteY484" fmla="*/ 5200236 h 6072780"/>
                <a:gd name="connsiteX485" fmla="*/ 3117690 w 12117871"/>
                <a:gd name="connsiteY485" fmla="*/ 5211872 h 6072780"/>
                <a:gd name="connsiteX486" fmla="*/ 3092517 w 12117871"/>
                <a:gd name="connsiteY486" fmla="*/ 5220313 h 6072780"/>
                <a:gd name="connsiteX487" fmla="*/ 3092517 w 12117871"/>
                <a:gd name="connsiteY487" fmla="*/ 5190197 h 6072780"/>
                <a:gd name="connsiteX488" fmla="*/ 3109553 w 12117871"/>
                <a:gd name="connsiteY488" fmla="*/ 5184113 h 6072780"/>
                <a:gd name="connsiteX489" fmla="*/ 3125751 w 12117871"/>
                <a:gd name="connsiteY489" fmla="*/ 5176964 h 6072780"/>
                <a:gd name="connsiteX490" fmla="*/ 3141875 w 12117871"/>
                <a:gd name="connsiteY490" fmla="*/ 5168143 h 6072780"/>
                <a:gd name="connsiteX491" fmla="*/ 3158682 w 12117871"/>
                <a:gd name="connsiteY491" fmla="*/ 5157039 h 6072780"/>
                <a:gd name="connsiteX492" fmla="*/ 2489154 w 12117871"/>
                <a:gd name="connsiteY492" fmla="*/ 5157039 h 6072780"/>
                <a:gd name="connsiteX493" fmla="*/ 2504060 w 12117871"/>
                <a:gd name="connsiteY493" fmla="*/ 5157039 h 6072780"/>
                <a:gd name="connsiteX494" fmla="*/ 2504060 w 12117871"/>
                <a:gd name="connsiteY494" fmla="*/ 5380019 h 6072780"/>
                <a:gd name="connsiteX495" fmla="*/ 2468772 w 12117871"/>
                <a:gd name="connsiteY495" fmla="*/ 5380019 h 6072780"/>
                <a:gd name="connsiteX496" fmla="*/ 2468772 w 12117871"/>
                <a:gd name="connsiteY496" fmla="*/ 5200236 h 6072780"/>
                <a:gd name="connsiteX497" fmla="*/ 2448163 w 12117871"/>
                <a:gd name="connsiteY497" fmla="*/ 5211872 h 6072780"/>
                <a:gd name="connsiteX498" fmla="*/ 2422990 w 12117871"/>
                <a:gd name="connsiteY498" fmla="*/ 5220313 h 6072780"/>
                <a:gd name="connsiteX499" fmla="*/ 2422990 w 12117871"/>
                <a:gd name="connsiteY499" fmla="*/ 5190197 h 6072780"/>
                <a:gd name="connsiteX500" fmla="*/ 2440025 w 12117871"/>
                <a:gd name="connsiteY500" fmla="*/ 5184113 h 6072780"/>
                <a:gd name="connsiteX501" fmla="*/ 2456224 w 12117871"/>
                <a:gd name="connsiteY501" fmla="*/ 5176964 h 6072780"/>
                <a:gd name="connsiteX502" fmla="*/ 2472346 w 12117871"/>
                <a:gd name="connsiteY502" fmla="*/ 5168143 h 6072780"/>
                <a:gd name="connsiteX503" fmla="*/ 2489154 w 12117871"/>
                <a:gd name="connsiteY503" fmla="*/ 5157039 h 6072780"/>
                <a:gd name="connsiteX504" fmla="*/ 1599916 w 12117871"/>
                <a:gd name="connsiteY504" fmla="*/ 5157039 h 6072780"/>
                <a:gd name="connsiteX505" fmla="*/ 1614822 w 12117871"/>
                <a:gd name="connsiteY505" fmla="*/ 5157039 h 6072780"/>
                <a:gd name="connsiteX506" fmla="*/ 1614822 w 12117871"/>
                <a:gd name="connsiteY506" fmla="*/ 5380019 h 6072780"/>
                <a:gd name="connsiteX507" fmla="*/ 1579534 w 12117871"/>
                <a:gd name="connsiteY507" fmla="*/ 5380019 h 6072780"/>
                <a:gd name="connsiteX508" fmla="*/ 1579534 w 12117871"/>
                <a:gd name="connsiteY508" fmla="*/ 5200236 h 6072780"/>
                <a:gd name="connsiteX509" fmla="*/ 1558925 w 12117871"/>
                <a:gd name="connsiteY509" fmla="*/ 5211872 h 6072780"/>
                <a:gd name="connsiteX510" fmla="*/ 1533752 w 12117871"/>
                <a:gd name="connsiteY510" fmla="*/ 5220313 h 6072780"/>
                <a:gd name="connsiteX511" fmla="*/ 1533752 w 12117871"/>
                <a:gd name="connsiteY511" fmla="*/ 5190197 h 6072780"/>
                <a:gd name="connsiteX512" fmla="*/ 1550787 w 12117871"/>
                <a:gd name="connsiteY512" fmla="*/ 5184113 h 6072780"/>
                <a:gd name="connsiteX513" fmla="*/ 1566986 w 12117871"/>
                <a:gd name="connsiteY513" fmla="*/ 5176964 h 6072780"/>
                <a:gd name="connsiteX514" fmla="*/ 1583109 w 12117871"/>
                <a:gd name="connsiteY514" fmla="*/ 5168143 h 6072780"/>
                <a:gd name="connsiteX515" fmla="*/ 1599916 w 12117871"/>
                <a:gd name="connsiteY515" fmla="*/ 5157039 h 6072780"/>
                <a:gd name="connsiteX516" fmla="*/ 11874294 w 12117871"/>
                <a:gd name="connsiteY516" fmla="*/ 4871804 h 6072780"/>
                <a:gd name="connsiteX517" fmla="*/ 11835024 w 12117871"/>
                <a:gd name="connsiteY517" fmla="*/ 4958317 h 6072780"/>
                <a:gd name="connsiteX518" fmla="*/ 11873542 w 12117871"/>
                <a:gd name="connsiteY518" fmla="*/ 5039264 h 6072780"/>
                <a:gd name="connsiteX519" fmla="*/ 11911457 w 12117871"/>
                <a:gd name="connsiteY519" fmla="*/ 4956963 h 6072780"/>
                <a:gd name="connsiteX520" fmla="*/ 11874294 w 12117871"/>
                <a:gd name="connsiteY520" fmla="*/ 4871804 h 6072780"/>
                <a:gd name="connsiteX521" fmla="*/ 11189148 w 12117871"/>
                <a:gd name="connsiteY521" fmla="*/ 4871804 h 6072780"/>
                <a:gd name="connsiteX522" fmla="*/ 11149878 w 12117871"/>
                <a:gd name="connsiteY522" fmla="*/ 4958318 h 6072780"/>
                <a:gd name="connsiteX523" fmla="*/ 11188396 w 12117871"/>
                <a:gd name="connsiteY523" fmla="*/ 5039265 h 6072780"/>
                <a:gd name="connsiteX524" fmla="*/ 11226311 w 12117871"/>
                <a:gd name="connsiteY524" fmla="*/ 4956964 h 6072780"/>
                <a:gd name="connsiteX525" fmla="*/ 11189148 w 12117871"/>
                <a:gd name="connsiteY525" fmla="*/ 4871804 h 6072780"/>
                <a:gd name="connsiteX526" fmla="*/ 9936214 w 12117871"/>
                <a:gd name="connsiteY526" fmla="*/ 4871804 h 6072780"/>
                <a:gd name="connsiteX527" fmla="*/ 9896944 w 12117871"/>
                <a:gd name="connsiteY527" fmla="*/ 4958317 h 6072780"/>
                <a:gd name="connsiteX528" fmla="*/ 9935462 w 12117871"/>
                <a:gd name="connsiteY528" fmla="*/ 5039264 h 6072780"/>
                <a:gd name="connsiteX529" fmla="*/ 9973377 w 12117871"/>
                <a:gd name="connsiteY529" fmla="*/ 4956963 h 6072780"/>
                <a:gd name="connsiteX530" fmla="*/ 9936214 w 12117871"/>
                <a:gd name="connsiteY530" fmla="*/ 4871804 h 6072780"/>
                <a:gd name="connsiteX531" fmla="*/ 6366335 w 12117871"/>
                <a:gd name="connsiteY531" fmla="*/ 4871804 h 6072780"/>
                <a:gd name="connsiteX532" fmla="*/ 6327065 w 12117871"/>
                <a:gd name="connsiteY532" fmla="*/ 4958317 h 6072780"/>
                <a:gd name="connsiteX533" fmla="*/ 6365583 w 12117871"/>
                <a:gd name="connsiteY533" fmla="*/ 5039264 h 6072780"/>
                <a:gd name="connsiteX534" fmla="*/ 6403498 w 12117871"/>
                <a:gd name="connsiteY534" fmla="*/ 4956963 h 6072780"/>
                <a:gd name="connsiteX535" fmla="*/ 6366335 w 12117871"/>
                <a:gd name="connsiteY535" fmla="*/ 4871804 h 6072780"/>
                <a:gd name="connsiteX536" fmla="*/ 5088792 w 12117871"/>
                <a:gd name="connsiteY536" fmla="*/ 4871804 h 6072780"/>
                <a:gd name="connsiteX537" fmla="*/ 5049522 w 12117871"/>
                <a:gd name="connsiteY537" fmla="*/ 4958317 h 6072780"/>
                <a:gd name="connsiteX538" fmla="*/ 5088041 w 12117871"/>
                <a:gd name="connsiteY538" fmla="*/ 5039264 h 6072780"/>
                <a:gd name="connsiteX539" fmla="*/ 5125957 w 12117871"/>
                <a:gd name="connsiteY539" fmla="*/ 4956963 h 6072780"/>
                <a:gd name="connsiteX540" fmla="*/ 5088792 w 12117871"/>
                <a:gd name="connsiteY540" fmla="*/ 4871804 h 6072780"/>
                <a:gd name="connsiteX541" fmla="*/ 3614881 w 12117871"/>
                <a:gd name="connsiteY541" fmla="*/ 4871804 h 6072780"/>
                <a:gd name="connsiteX542" fmla="*/ 3575611 w 12117871"/>
                <a:gd name="connsiteY542" fmla="*/ 4958318 h 6072780"/>
                <a:gd name="connsiteX543" fmla="*/ 3614130 w 12117871"/>
                <a:gd name="connsiteY543" fmla="*/ 5039265 h 6072780"/>
                <a:gd name="connsiteX544" fmla="*/ 3652044 w 12117871"/>
                <a:gd name="connsiteY544" fmla="*/ 4956964 h 6072780"/>
                <a:gd name="connsiteX545" fmla="*/ 3614881 w 12117871"/>
                <a:gd name="connsiteY545" fmla="*/ 4871804 h 6072780"/>
                <a:gd name="connsiteX546" fmla="*/ 12062430 w 12117871"/>
                <a:gd name="connsiteY546" fmla="*/ 4843969 h 6072780"/>
                <a:gd name="connsiteX547" fmla="*/ 12077336 w 12117871"/>
                <a:gd name="connsiteY547" fmla="*/ 4843969 h 6072780"/>
                <a:gd name="connsiteX548" fmla="*/ 12077336 w 12117871"/>
                <a:gd name="connsiteY548" fmla="*/ 5066949 h 6072780"/>
                <a:gd name="connsiteX549" fmla="*/ 12042048 w 12117871"/>
                <a:gd name="connsiteY549" fmla="*/ 5066949 h 6072780"/>
                <a:gd name="connsiteX550" fmla="*/ 12042048 w 12117871"/>
                <a:gd name="connsiteY550" fmla="*/ 4887165 h 6072780"/>
                <a:gd name="connsiteX551" fmla="*/ 12021439 w 12117871"/>
                <a:gd name="connsiteY551" fmla="*/ 4898801 h 6072780"/>
                <a:gd name="connsiteX552" fmla="*/ 11996266 w 12117871"/>
                <a:gd name="connsiteY552" fmla="*/ 4907243 h 6072780"/>
                <a:gd name="connsiteX553" fmla="*/ 11996266 w 12117871"/>
                <a:gd name="connsiteY553" fmla="*/ 4877127 h 6072780"/>
                <a:gd name="connsiteX554" fmla="*/ 12013301 w 12117871"/>
                <a:gd name="connsiteY554" fmla="*/ 4871043 h 6072780"/>
                <a:gd name="connsiteX555" fmla="*/ 12029500 w 12117871"/>
                <a:gd name="connsiteY555" fmla="*/ 4863894 h 6072780"/>
                <a:gd name="connsiteX556" fmla="*/ 12045623 w 12117871"/>
                <a:gd name="connsiteY556" fmla="*/ 4855072 h 6072780"/>
                <a:gd name="connsiteX557" fmla="*/ 12062430 w 12117871"/>
                <a:gd name="connsiteY557" fmla="*/ 4843969 h 6072780"/>
                <a:gd name="connsiteX558" fmla="*/ 11875949 w 12117871"/>
                <a:gd name="connsiteY558" fmla="*/ 4843969 h 6072780"/>
                <a:gd name="connsiteX559" fmla="*/ 11947116 w 12117871"/>
                <a:gd name="connsiteY559" fmla="*/ 4954556 h 6072780"/>
                <a:gd name="connsiteX560" fmla="*/ 11927030 w 12117871"/>
                <a:gd name="connsiteY560" fmla="*/ 5038136 h 6072780"/>
                <a:gd name="connsiteX561" fmla="*/ 11870833 w 12117871"/>
                <a:gd name="connsiteY561" fmla="*/ 5066949 h 6072780"/>
                <a:gd name="connsiteX562" fmla="*/ 11818248 w 12117871"/>
                <a:gd name="connsiteY562" fmla="*/ 5039415 h 6072780"/>
                <a:gd name="connsiteX563" fmla="*/ 11799365 w 12117871"/>
                <a:gd name="connsiteY563" fmla="*/ 4959822 h 6072780"/>
                <a:gd name="connsiteX564" fmla="*/ 11819075 w 12117871"/>
                <a:gd name="connsiteY564" fmla="*/ 4873308 h 6072780"/>
                <a:gd name="connsiteX565" fmla="*/ 11875949 w 12117871"/>
                <a:gd name="connsiteY565" fmla="*/ 4843969 h 6072780"/>
                <a:gd name="connsiteX566" fmla="*/ 11190803 w 12117871"/>
                <a:gd name="connsiteY566" fmla="*/ 4843969 h 6072780"/>
                <a:gd name="connsiteX567" fmla="*/ 11261970 w 12117871"/>
                <a:gd name="connsiteY567" fmla="*/ 4954557 h 6072780"/>
                <a:gd name="connsiteX568" fmla="*/ 11241884 w 12117871"/>
                <a:gd name="connsiteY568" fmla="*/ 5038136 h 6072780"/>
                <a:gd name="connsiteX569" fmla="*/ 11185687 w 12117871"/>
                <a:gd name="connsiteY569" fmla="*/ 5066949 h 6072780"/>
                <a:gd name="connsiteX570" fmla="*/ 11133102 w 12117871"/>
                <a:gd name="connsiteY570" fmla="*/ 5039415 h 6072780"/>
                <a:gd name="connsiteX571" fmla="*/ 11114219 w 12117871"/>
                <a:gd name="connsiteY571" fmla="*/ 4959823 h 6072780"/>
                <a:gd name="connsiteX572" fmla="*/ 11133929 w 12117871"/>
                <a:gd name="connsiteY572" fmla="*/ 4873309 h 6072780"/>
                <a:gd name="connsiteX573" fmla="*/ 11190803 w 12117871"/>
                <a:gd name="connsiteY573" fmla="*/ 4843969 h 6072780"/>
                <a:gd name="connsiteX574" fmla="*/ 10143427 w 12117871"/>
                <a:gd name="connsiteY574" fmla="*/ 4843969 h 6072780"/>
                <a:gd name="connsiteX575" fmla="*/ 10158333 w 12117871"/>
                <a:gd name="connsiteY575" fmla="*/ 4843969 h 6072780"/>
                <a:gd name="connsiteX576" fmla="*/ 10158333 w 12117871"/>
                <a:gd name="connsiteY576" fmla="*/ 5066949 h 6072780"/>
                <a:gd name="connsiteX577" fmla="*/ 10123045 w 12117871"/>
                <a:gd name="connsiteY577" fmla="*/ 5066949 h 6072780"/>
                <a:gd name="connsiteX578" fmla="*/ 10123045 w 12117871"/>
                <a:gd name="connsiteY578" fmla="*/ 4887165 h 6072780"/>
                <a:gd name="connsiteX579" fmla="*/ 10102436 w 12117871"/>
                <a:gd name="connsiteY579" fmla="*/ 4898801 h 6072780"/>
                <a:gd name="connsiteX580" fmla="*/ 10077263 w 12117871"/>
                <a:gd name="connsiteY580" fmla="*/ 4907243 h 6072780"/>
                <a:gd name="connsiteX581" fmla="*/ 10077263 w 12117871"/>
                <a:gd name="connsiteY581" fmla="*/ 4877127 h 6072780"/>
                <a:gd name="connsiteX582" fmla="*/ 10094298 w 12117871"/>
                <a:gd name="connsiteY582" fmla="*/ 4871043 h 6072780"/>
                <a:gd name="connsiteX583" fmla="*/ 10110497 w 12117871"/>
                <a:gd name="connsiteY583" fmla="*/ 4863894 h 6072780"/>
                <a:gd name="connsiteX584" fmla="*/ 10126620 w 12117871"/>
                <a:gd name="connsiteY584" fmla="*/ 4855072 h 6072780"/>
                <a:gd name="connsiteX585" fmla="*/ 10143427 w 12117871"/>
                <a:gd name="connsiteY585" fmla="*/ 4843969 h 6072780"/>
                <a:gd name="connsiteX586" fmla="*/ 9937869 w 12117871"/>
                <a:gd name="connsiteY586" fmla="*/ 4843969 h 6072780"/>
                <a:gd name="connsiteX587" fmla="*/ 10009036 w 12117871"/>
                <a:gd name="connsiteY587" fmla="*/ 4954556 h 6072780"/>
                <a:gd name="connsiteX588" fmla="*/ 9988950 w 12117871"/>
                <a:gd name="connsiteY588" fmla="*/ 5038136 h 6072780"/>
                <a:gd name="connsiteX589" fmla="*/ 9932753 w 12117871"/>
                <a:gd name="connsiteY589" fmla="*/ 5066949 h 6072780"/>
                <a:gd name="connsiteX590" fmla="*/ 9880168 w 12117871"/>
                <a:gd name="connsiteY590" fmla="*/ 5039415 h 6072780"/>
                <a:gd name="connsiteX591" fmla="*/ 9861285 w 12117871"/>
                <a:gd name="connsiteY591" fmla="*/ 4959822 h 6072780"/>
                <a:gd name="connsiteX592" fmla="*/ 9880995 w 12117871"/>
                <a:gd name="connsiteY592" fmla="*/ 4873308 h 6072780"/>
                <a:gd name="connsiteX593" fmla="*/ 9937869 w 12117871"/>
                <a:gd name="connsiteY593" fmla="*/ 4843969 h 6072780"/>
                <a:gd name="connsiteX594" fmla="*/ 9557012 w 12117871"/>
                <a:gd name="connsiteY594" fmla="*/ 4843969 h 6072780"/>
                <a:gd name="connsiteX595" fmla="*/ 9571918 w 12117871"/>
                <a:gd name="connsiteY595" fmla="*/ 4843969 h 6072780"/>
                <a:gd name="connsiteX596" fmla="*/ 9571918 w 12117871"/>
                <a:gd name="connsiteY596" fmla="*/ 5066949 h 6072780"/>
                <a:gd name="connsiteX597" fmla="*/ 9536630 w 12117871"/>
                <a:gd name="connsiteY597" fmla="*/ 5066949 h 6072780"/>
                <a:gd name="connsiteX598" fmla="*/ 9536630 w 12117871"/>
                <a:gd name="connsiteY598" fmla="*/ 4887165 h 6072780"/>
                <a:gd name="connsiteX599" fmla="*/ 9516021 w 12117871"/>
                <a:gd name="connsiteY599" fmla="*/ 4898801 h 6072780"/>
                <a:gd name="connsiteX600" fmla="*/ 9490848 w 12117871"/>
                <a:gd name="connsiteY600" fmla="*/ 4907243 h 6072780"/>
                <a:gd name="connsiteX601" fmla="*/ 9490848 w 12117871"/>
                <a:gd name="connsiteY601" fmla="*/ 4877127 h 6072780"/>
                <a:gd name="connsiteX602" fmla="*/ 9507883 w 12117871"/>
                <a:gd name="connsiteY602" fmla="*/ 4871043 h 6072780"/>
                <a:gd name="connsiteX603" fmla="*/ 9524082 w 12117871"/>
                <a:gd name="connsiteY603" fmla="*/ 4863894 h 6072780"/>
                <a:gd name="connsiteX604" fmla="*/ 9540205 w 12117871"/>
                <a:gd name="connsiteY604" fmla="*/ 4855072 h 6072780"/>
                <a:gd name="connsiteX605" fmla="*/ 9557012 w 12117871"/>
                <a:gd name="connsiteY605" fmla="*/ 4843969 h 6072780"/>
                <a:gd name="connsiteX606" fmla="*/ 9254256 w 12117871"/>
                <a:gd name="connsiteY606" fmla="*/ 4843969 h 6072780"/>
                <a:gd name="connsiteX607" fmla="*/ 9269162 w 12117871"/>
                <a:gd name="connsiteY607" fmla="*/ 4843969 h 6072780"/>
                <a:gd name="connsiteX608" fmla="*/ 9269162 w 12117871"/>
                <a:gd name="connsiteY608" fmla="*/ 5066949 h 6072780"/>
                <a:gd name="connsiteX609" fmla="*/ 9233874 w 12117871"/>
                <a:gd name="connsiteY609" fmla="*/ 5066949 h 6072780"/>
                <a:gd name="connsiteX610" fmla="*/ 9233874 w 12117871"/>
                <a:gd name="connsiteY610" fmla="*/ 4887165 h 6072780"/>
                <a:gd name="connsiteX611" fmla="*/ 9213265 w 12117871"/>
                <a:gd name="connsiteY611" fmla="*/ 4898801 h 6072780"/>
                <a:gd name="connsiteX612" fmla="*/ 9188092 w 12117871"/>
                <a:gd name="connsiteY612" fmla="*/ 4907243 h 6072780"/>
                <a:gd name="connsiteX613" fmla="*/ 9188092 w 12117871"/>
                <a:gd name="connsiteY613" fmla="*/ 4877127 h 6072780"/>
                <a:gd name="connsiteX614" fmla="*/ 9205127 w 12117871"/>
                <a:gd name="connsiteY614" fmla="*/ 4871043 h 6072780"/>
                <a:gd name="connsiteX615" fmla="*/ 9221326 w 12117871"/>
                <a:gd name="connsiteY615" fmla="*/ 4863894 h 6072780"/>
                <a:gd name="connsiteX616" fmla="*/ 9237449 w 12117871"/>
                <a:gd name="connsiteY616" fmla="*/ 4855072 h 6072780"/>
                <a:gd name="connsiteX617" fmla="*/ 9254256 w 12117871"/>
                <a:gd name="connsiteY617" fmla="*/ 4843969 h 6072780"/>
                <a:gd name="connsiteX618" fmla="*/ 7851748 w 12117871"/>
                <a:gd name="connsiteY618" fmla="*/ 4843969 h 6072780"/>
                <a:gd name="connsiteX619" fmla="*/ 7866654 w 12117871"/>
                <a:gd name="connsiteY619" fmla="*/ 4843969 h 6072780"/>
                <a:gd name="connsiteX620" fmla="*/ 7866654 w 12117871"/>
                <a:gd name="connsiteY620" fmla="*/ 5066949 h 6072780"/>
                <a:gd name="connsiteX621" fmla="*/ 7831366 w 12117871"/>
                <a:gd name="connsiteY621" fmla="*/ 5066949 h 6072780"/>
                <a:gd name="connsiteX622" fmla="*/ 7831366 w 12117871"/>
                <a:gd name="connsiteY622" fmla="*/ 4887165 h 6072780"/>
                <a:gd name="connsiteX623" fmla="*/ 7810757 w 12117871"/>
                <a:gd name="connsiteY623" fmla="*/ 4898801 h 6072780"/>
                <a:gd name="connsiteX624" fmla="*/ 7785584 w 12117871"/>
                <a:gd name="connsiteY624" fmla="*/ 4907243 h 6072780"/>
                <a:gd name="connsiteX625" fmla="*/ 7785584 w 12117871"/>
                <a:gd name="connsiteY625" fmla="*/ 4877127 h 6072780"/>
                <a:gd name="connsiteX626" fmla="*/ 7802619 w 12117871"/>
                <a:gd name="connsiteY626" fmla="*/ 4871043 h 6072780"/>
                <a:gd name="connsiteX627" fmla="*/ 7818818 w 12117871"/>
                <a:gd name="connsiteY627" fmla="*/ 4863894 h 6072780"/>
                <a:gd name="connsiteX628" fmla="*/ 7834941 w 12117871"/>
                <a:gd name="connsiteY628" fmla="*/ 4855072 h 6072780"/>
                <a:gd name="connsiteX629" fmla="*/ 7851748 w 12117871"/>
                <a:gd name="connsiteY629" fmla="*/ 4843969 h 6072780"/>
                <a:gd name="connsiteX630" fmla="*/ 7015147 w 12117871"/>
                <a:gd name="connsiteY630" fmla="*/ 4843969 h 6072780"/>
                <a:gd name="connsiteX631" fmla="*/ 7030053 w 12117871"/>
                <a:gd name="connsiteY631" fmla="*/ 4843969 h 6072780"/>
                <a:gd name="connsiteX632" fmla="*/ 7030053 w 12117871"/>
                <a:gd name="connsiteY632" fmla="*/ 5066949 h 6072780"/>
                <a:gd name="connsiteX633" fmla="*/ 6994765 w 12117871"/>
                <a:gd name="connsiteY633" fmla="*/ 5066949 h 6072780"/>
                <a:gd name="connsiteX634" fmla="*/ 6994765 w 12117871"/>
                <a:gd name="connsiteY634" fmla="*/ 4887165 h 6072780"/>
                <a:gd name="connsiteX635" fmla="*/ 6974156 w 12117871"/>
                <a:gd name="connsiteY635" fmla="*/ 4898801 h 6072780"/>
                <a:gd name="connsiteX636" fmla="*/ 6948983 w 12117871"/>
                <a:gd name="connsiteY636" fmla="*/ 4907243 h 6072780"/>
                <a:gd name="connsiteX637" fmla="*/ 6948983 w 12117871"/>
                <a:gd name="connsiteY637" fmla="*/ 4877127 h 6072780"/>
                <a:gd name="connsiteX638" fmla="*/ 6966018 w 12117871"/>
                <a:gd name="connsiteY638" fmla="*/ 4871043 h 6072780"/>
                <a:gd name="connsiteX639" fmla="*/ 6982217 w 12117871"/>
                <a:gd name="connsiteY639" fmla="*/ 4863894 h 6072780"/>
                <a:gd name="connsiteX640" fmla="*/ 6998340 w 12117871"/>
                <a:gd name="connsiteY640" fmla="*/ 4855072 h 6072780"/>
                <a:gd name="connsiteX641" fmla="*/ 7015147 w 12117871"/>
                <a:gd name="connsiteY641" fmla="*/ 4843969 h 6072780"/>
                <a:gd name="connsiteX642" fmla="*/ 6584323 w 12117871"/>
                <a:gd name="connsiteY642" fmla="*/ 4843969 h 6072780"/>
                <a:gd name="connsiteX643" fmla="*/ 6599229 w 12117871"/>
                <a:gd name="connsiteY643" fmla="*/ 4843969 h 6072780"/>
                <a:gd name="connsiteX644" fmla="*/ 6599229 w 12117871"/>
                <a:gd name="connsiteY644" fmla="*/ 5066949 h 6072780"/>
                <a:gd name="connsiteX645" fmla="*/ 6563941 w 12117871"/>
                <a:gd name="connsiteY645" fmla="*/ 5066949 h 6072780"/>
                <a:gd name="connsiteX646" fmla="*/ 6563941 w 12117871"/>
                <a:gd name="connsiteY646" fmla="*/ 4887165 h 6072780"/>
                <a:gd name="connsiteX647" fmla="*/ 6543332 w 12117871"/>
                <a:gd name="connsiteY647" fmla="*/ 4898801 h 6072780"/>
                <a:gd name="connsiteX648" fmla="*/ 6518159 w 12117871"/>
                <a:gd name="connsiteY648" fmla="*/ 4907243 h 6072780"/>
                <a:gd name="connsiteX649" fmla="*/ 6518159 w 12117871"/>
                <a:gd name="connsiteY649" fmla="*/ 4877127 h 6072780"/>
                <a:gd name="connsiteX650" fmla="*/ 6535194 w 12117871"/>
                <a:gd name="connsiteY650" fmla="*/ 4871043 h 6072780"/>
                <a:gd name="connsiteX651" fmla="*/ 6551393 w 12117871"/>
                <a:gd name="connsiteY651" fmla="*/ 4863894 h 6072780"/>
                <a:gd name="connsiteX652" fmla="*/ 6567516 w 12117871"/>
                <a:gd name="connsiteY652" fmla="*/ 4855072 h 6072780"/>
                <a:gd name="connsiteX653" fmla="*/ 6584323 w 12117871"/>
                <a:gd name="connsiteY653" fmla="*/ 4843969 h 6072780"/>
                <a:gd name="connsiteX654" fmla="*/ 6367990 w 12117871"/>
                <a:gd name="connsiteY654" fmla="*/ 4843969 h 6072780"/>
                <a:gd name="connsiteX655" fmla="*/ 6439157 w 12117871"/>
                <a:gd name="connsiteY655" fmla="*/ 4954556 h 6072780"/>
                <a:gd name="connsiteX656" fmla="*/ 6419071 w 12117871"/>
                <a:gd name="connsiteY656" fmla="*/ 5038136 h 6072780"/>
                <a:gd name="connsiteX657" fmla="*/ 6362874 w 12117871"/>
                <a:gd name="connsiteY657" fmla="*/ 5066949 h 6072780"/>
                <a:gd name="connsiteX658" fmla="*/ 6310289 w 12117871"/>
                <a:gd name="connsiteY658" fmla="*/ 5039415 h 6072780"/>
                <a:gd name="connsiteX659" fmla="*/ 6291406 w 12117871"/>
                <a:gd name="connsiteY659" fmla="*/ 4959822 h 6072780"/>
                <a:gd name="connsiteX660" fmla="*/ 6311116 w 12117871"/>
                <a:gd name="connsiteY660" fmla="*/ 4873308 h 6072780"/>
                <a:gd name="connsiteX661" fmla="*/ 6367990 w 12117871"/>
                <a:gd name="connsiteY661" fmla="*/ 4843969 h 6072780"/>
                <a:gd name="connsiteX662" fmla="*/ 5975659 w 12117871"/>
                <a:gd name="connsiteY662" fmla="*/ 4843969 h 6072780"/>
                <a:gd name="connsiteX663" fmla="*/ 5990568 w 12117871"/>
                <a:gd name="connsiteY663" fmla="*/ 4843969 h 6072780"/>
                <a:gd name="connsiteX664" fmla="*/ 5990568 w 12117871"/>
                <a:gd name="connsiteY664" fmla="*/ 5066949 h 6072780"/>
                <a:gd name="connsiteX665" fmla="*/ 5955278 w 12117871"/>
                <a:gd name="connsiteY665" fmla="*/ 5066949 h 6072780"/>
                <a:gd name="connsiteX666" fmla="*/ 5955278 w 12117871"/>
                <a:gd name="connsiteY666" fmla="*/ 4887165 h 6072780"/>
                <a:gd name="connsiteX667" fmla="*/ 5934669 w 12117871"/>
                <a:gd name="connsiteY667" fmla="*/ 4898801 h 6072780"/>
                <a:gd name="connsiteX668" fmla="*/ 5909498 w 12117871"/>
                <a:gd name="connsiteY668" fmla="*/ 4907243 h 6072780"/>
                <a:gd name="connsiteX669" fmla="*/ 5909498 w 12117871"/>
                <a:gd name="connsiteY669" fmla="*/ 4877127 h 6072780"/>
                <a:gd name="connsiteX670" fmla="*/ 5926531 w 12117871"/>
                <a:gd name="connsiteY670" fmla="*/ 4871043 h 6072780"/>
                <a:gd name="connsiteX671" fmla="*/ 5942730 w 12117871"/>
                <a:gd name="connsiteY671" fmla="*/ 4863894 h 6072780"/>
                <a:gd name="connsiteX672" fmla="*/ 5958852 w 12117871"/>
                <a:gd name="connsiteY672" fmla="*/ 4855072 h 6072780"/>
                <a:gd name="connsiteX673" fmla="*/ 5975659 w 12117871"/>
                <a:gd name="connsiteY673" fmla="*/ 4843969 h 6072780"/>
                <a:gd name="connsiteX674" fmla="*/ 5090447 w 12117871"/>
                <a:gd name="connsiteY674" fmla="*/ 4843969 h 6072780"/>
                <a:gd name="connsiteX675" fmla="*/ 5161614 w 12117871"/>
                <a:gd name="connsiteY675" fmla="*/ 4954556 h 6072780"/>
                <a:gd name="connsiteX676" fmla="*/ 5141528 w 12117871"/>
                <a:gd name="connsiteY676" fmla="*/ 5038136 h 6072780"/>
                <a:gd name="connsiteX677" fmla="*/ 5085331 w 12117871"/>
                <a:gd name="connsiteY677" fmla="*/ 5066949 h 6072780"/>
                <a:gd name="connsiteX678" fmla="*/ 5032746 w 12117871"/>
                <a:gd name="connsiteY678" fmla="*/ 5039415 h 6072780"/>
                <a:gd name="connsiteX679" fmla="*/ 5013863 w 12117871"/>
                <a:gd name="connsiteY679" fmla="*/ 4959822 h 6072780"/>
                <a:gd name="connsiteX680" fmla="*/ 5033573 w 12117871"/>
                <a:gd name="connsiteY680" fmla="*/ 4873308 h 6072780"/>
                <a:gd name="connsiteX681" fmla="*/ 5090447 w 12117871"/>
                <a:gd name="connsiteY681" fmla="*/ 4843969 h 6072780"/>
                <a:gd name="connsiteX682" fmla="*/ 4694968 w 12117871"/>
                <a:gd name="connsiteY682" fmla="*/ 4843969 h 6072780"/>
                <a:gd name="connsiteX683" fmla="*/ 4709876 w 12117871"/>
                <a:gd name="connsiteY683" fmla="*/ 4843969 h 6072780"/>
                <a:gd name="connsiteX684" fmla="*/ 4709876 w 12117871"/>
                <a:gd name="connsiteY684" fmla="*/ 5066949 h 6072780"/>
                <a:gd name="connsiteX685" fmla="*/ 4674589 w 12117871"/>
                <a:gd name="connsiteY685" fmla="*/ 5066949 h 6072780"/>
                <a:gd name="connsiteX686" fmla="*/ 4674589 w 12117871"/>
                <a:gd name="connsiteY686" fmla="*/ 4887165 h 6072780"/>
                <a:gd name="connsiteX687" fmla="*/ 4653978 w 12117871"/>
                <a:gd name="connsiteY687" fmla="*/ 4898801 h 6072780"/>
                <a:gd name="connsiteX688" fmla="*/ 4628805 w 12117871"/>
                <a:gd name="connsiteY688" fmla="*/ 4907243 h 6072780"/>
                <a:gd name="connsiteX689" fmla="*/ 4628805 w 12117871"/>
                <a:gd name="connsiteY689" fmla="*/ 4877127 h 6072780"/>
                <a:gd name="connsiteX690" fmla="*/ 4645841 w 12117871"/>
                <a:gd name="connsiteY690" fmla="*/ 4871043 h 6072780"/>
                <a:gd name="connsiteX691" fmla="*/ 4662040 w 12117871"/>
                <a:gd name="connsiteY691" fmla="*/ 4863894 h 6072780"/>
                <a:gd name="connsiteX692" fmla="*/ 4678162 w 12117871"/>
                <a:gd name="connsiteY692" fmla="*/ 4855072 h 6072780"/>
                <a:gd name="connsiteX693" fmla="*/ 4694968 w 12117871"/>
                <a:gd name="connsiteY693" fmla="*/ 4843969 h 6072780"/>
                <a:gd name="connsiteX694" fmla="*/ 4345906 w 12117871"/>
                <a:gd name="connsiteY694" fmla="*/ 4843969 h 6072780"/>
                <a:gd name="connsiteX695" fmla="*/ 4360813 w 12117871"/>
                <a:gd name="connsiteY695" fmla="*/ 4843969 h 6072780"/>
                <a:gd name="connsiteX696" fmla="*/ 4360813 w 12117871"/>
                <a:gd name="connsiteY696" fmla="*/ 5066949 h 6072780"/>
                <a:gd name="connsiteX697" fmla="*/ 4325525 w 12117871"/>
                <a:gd name="connsiteY697" fmla="*/ 5066949 h 6072780"/>
                <a:gd name="connsiteX698" fmla="*/ 4325525 w 12117871"/>
                <a:gd name="connsiteY698" fmla="*/ 4887165 h 6072780"/>
                <a:gd name="connsiteX699" fmla="*/ 4304915 w 12117871"/>
                <a:gd name="connsiteY699" fmla="*/ 4898801 h 6072780"/>
                <a:gd name="connsiteX700" fmla="*/ 4279743 w 12117871"/>
                <a:gd name="connsiteY700" fmla="*/ 4907243 h 6072780"/>
                <a:gd name="connsiteX701" fmla="*/ 4279743 w 12117871"/>
                <a:gd name="connsiteY701" fmla="*/ 4877127 h 6072780"/>
                <a:gd name="connsiteX702" fmla="*/ 4296778 w 12117871"/>
                <a:gd name="connsiteY702" fmla="*/ 4871043 h 6072780"/>
                <a:gd name="connsiteX703" fmla="*/ 4312977 w 12117871"/>
                <a:gd name="connsiteY703" fmla="*/ 4863894 h 6072780"/>
                <a:gd name="connsiteX704" fmla="*/ 4329099 w 12117871"/>
                <a:gd name="connsiteY704" fmla="*/ 4855072 h 6072780"/>
                <a:gd name="connsiteX705" fmla="*/ 4345906 w 12117871"/>
                <a:gd name="connsiteY705" fmla="*/ 4843969 h 6072780"/>
                <a:gd name="connsiteX706" fmla="*/ 3616537 w 12117871"/>
                <a:gd name="connsiteY706" fmla="*/ 4843969 h 6072780"/>
                <a:gd name="connsiteX707" fmla="*/ 3687703 w 12117871"/>
                <a:gd name="connsiteY707" fmla="*/ 4954557 h 6072780"/>
                <a:gd name="connsiteX708" fmla="*/ 3667617 w 12117871"/>
                <a:gd name="connsiteY708" fmla="*/ 5038136 h 6072780"/>
                <a:gd name="connsiteX709" fmla="*/ 3611420 w 12117871"/>
                <a:gd name="connsiteY709" fmla="*/ 5066949 h 6072780"/>
                <a:gd name="connsiteX710" fmla="*/ 3558835 w 12117871"/>
                <a:gd name="connsiteY710" fmla="*/ 5039415 h 6072780"/>
                <a:gd name="connsiteX711" fmla="*/ 3539952 w 12117871"/>
                <a:gd name="connsiteY711" fmla="*/ 4959823 h 6072780"/>
                <a:gd name="connsiteX712" fmla="*/ 3559662 w 12117871"/>
                <a:gd name="connsiteY712" fmla="*/ 4873309 h 6072780"/>
                <a:gd name="connsiteX713" fmla="*/ 3616537 w 12117871"/>
                <a:gd name="connsiteY713" fmla="*/ 4843969 h 6072780"/>
                <a:gd name="connsiteX714" fmla="*/ 3454863 w 12117871"/>
                <a:gd name="connsiteY714" fmla="*/ 4843969 h 6072780"/>
                <a:gd name="connsiteX715" fmla="*/ 3469768 w 12117871"/>
                <a:gd name="connsiteY715" fmla="*/ 4843969 h 6072780"/>
                <a:gd name="connsiteX716" fmla="*/ 3469768 w 12117871"/>
                <a:gd name="connsiteY716" fmla="*/ 5066949 h 6072780"/>
                <a:gd name="connsiteX717" fmla="*/ 3434481 w 12117871"/>
                <a:gd name="connsiteY717" fmla="*/ 5066949 h 6072780"/>
                <a:gd name="connsiteX718" fmla="*/ 3434481 w 12117871"/>
                <a:gd name="connsiteY718" fmla="*/ 4887166 h 6072780"/>
                <a:gd name="connsiteX719" fmla="*/ 3413872 w 12117871"/>
                <a:gd name="connsiteY719" fmla="*/ 4898802 h 6072780"/>
                <a:gd name="connsiteX720" fmla="*/ 3388698 w 12117871"/>
                <a:gd name="connsiteY720" fmla="*/ 4907243 h 6072780"/>
                <a:gd name="connsiteX721" fmla="*/ 3388698 w 12117871"/>
                <a:gd name="connsiteY721" fmla="*/ 4877127 h 6072780"/>
                <a:gd name="connsiteX722" fmla="*/ 3405734 w 12117871"/>
                <a:gd name="connsiteY722" fmla="*/ 4871043 h 6072780"/>
                <a:gd name="connsiteX723" fmla="*/ 3421933 w 12117871"/>
                <a:gd name="connsiteY723" fmla="*/ 4863894 h 6072780"/>
                <a:gd name="connsiteX724" fmla="*/ 3438054 w 12117871"/>
                <a:gd name="connsiteY724" fmla="*/ 4855073 h 6072780"/>
                <a:gd name="connsiteX725" fmla="*/ 3454863 w 12117871"/>
                <a:gd name="connsiteY725" fmla="*/ 4843969 h 6072780"/>
                <a:gd name="connsiteX726" fmla="*/ 3158682 w 12117871"/>
                <a:gd name="connsiteY726" fmla="*/ 4843969 h 6072780"/>
                <a:gd name="connsiteX727" fmla="*/ 3173587 w 12117871"/>
                <a:gd name="connsiteY727" fmla="*/ 4843969 h 6072780"/>
                <a:gd name="connsiteX728" fmla="*/ 3173587 w 12117871"/>
                <a:gd name="connsiteY728" fmla="*/ 5066949 h 6072780"/>
                <a:gd name="connsiteX729" fmla="*/ 3138299 w 12117871"/>
                <a:gd name="connsiteY729" fmla="*/ 5066949 h 6072780"/>
                <a:gd name="connsiteX730" fmla="*/ 3138299 w 12117871"/>
                <a:gd name="connsiteY730" fmla="*/ 4887166 h 6072780"/>
                <a:gd name="connsiteX731" fmla="*/ 3117690 w 12117871"/>
                <a:gd name="connsiteY731" fmla="*/ 4898802 h 6072780"/>
                <a:gd name="connsiteX732" fmla="*/ 3092517 w 12117871"/>
                <a:gd name="connsiteY732" fmla="*/ 4907243 h 6072780"/>
                <a:gd name="connsiteX733" fmla="*/ 3092517 w 12117871"/>
                <a:gd name="connsiteY733" fmla="*/ 4877127 h 6072780"/>
                <a:gd name="connsiteX734" fmla="*/ 3109553 w 12117871"/>
                <a:gd name="connsiteY734" fmla="*/ 4871043 h 6072780"/>
                <a:gd name="connsiteX735" fmla="*/ 3125751 w 12117871"/>
                <a:gd name="connsiteY735" fmla="*/ 4863894 h 6072780"/>
                <a:gd name="connsiteX736" fmla="*/ 3141875 w 12117871"/>
                <a:gd name="connsiteY736" fmla="*/ 4855073 h 6072780"/>
                <a:gd name="connsiteX737" fmla="*/ 3158682 w 12117871"/>
                <a:gd name="connsiteY737" fmla="*/ 4843969 h 6072780"/>
                <a:gd name="connsiteX738" fmla="*/ 2489154 w 12117871"/>
                <a:gd name="connsiteY738" fmla="*/ 4843969 h 6072780"/>
                <a:gd name="connsiteX739" fmla="*/ 2504060 w 12117871"/>
                <a:gd name="connsiteY739" fmla="*/ 4843969 h 6072780"/>
                <a:gd name="connsiteX740" fmla="*/ 2504060 w 12117871"/>
                <a:gd name="connsiteY740" fmla="*/ 5066949 h 6072780"/>
                <a:gd name="connsiteX741" fmla="*/ 2468772 w 12117871"/>
                <a:gd name="connsiteY741" fmla="*/ 5066949 h 6072780"/>
                <a:gd name="connsiteX742" fmla="*/ 2468772 w 12117871"/>
                <a:gd name="connsiteY742" fmla="*/ 4887166 h 6072780"/>
                <a:gd name="connsiteX743" fmla="*/ 2448163 w 12117871"/>
                <a:gd name="connsiteY743" fmla="*/ 4898802 h 6072780"/>
                <a:gd name="connsiteX744" fmla="*/ 2422990 w 12117871"/>
                <a:gd name="connsiteY744" fmla="*/ 4907243 h 6072780"/>
                <a:gd name="connsiteX745" fmla="*/ 2422990 w 12117871"/>
                <a:gd name="connsiteY745" fmla="*/ 4877127 h 6072780"/>
                <a:gd name="connsiteX746" fmla="*/ 2440025 w 12117871"/>
                <a:gd name="connsiteY746" fmla="*/ 4871043 h 6072780"/>
                <a:gd name="connsiteX747" fmla="*/ 2456224 w 12117871"/>
                <a:gd name="connsiteY747" fmla="*/ 4863894 h 6072780"/>
                <a:gd name="connsiteX748" fmla="*/ 2472346 w 12117871"/>
                <a:gd name="connsiteY748" fmla="*/ 4855073 h 6072780"/>
                <a:gd name="connsiteX749" fmla="*/ 2489154 w 12117871"/>
                <a:gd name="connsiteY749" fmla="*/ 4843969 h 6072780"/>
                <a:gd name="connsiteX750" fmla="*/ 1599916 w 12117871"/>
                <a:gd name="connsiteY750" fmla="*/ 4843969 h 6072780"/>
                <a:gd name="connsiteX751" fmla="*/ 1614822 w 12117871"/>
                <a:gd name="connsiteY751" fmla="*/ 4843969 h 6072780"/>
                <a:gd name="connsiteX752" fmla="*/ 1614822 w 12117871"/>
                <a:gd name="connsiteY752" fmla="*/ 5066949 h 6072780"/>
                <a:gd name="connsiteX753" fmla="*/ 1579534 w 12117871"/>
                <a:gd name="connsiteY753" fmla="*/ 5066949 h 6072780"/>
                <a:gd name="connsiteX754" fmla="*/ 1579534 w 12117871"/>
                <a:gd name="connsiteY754" fmla="*/ 4887166 h 6072780"/>
                <a:gd name="connsiteX755" fmla="*/ 1558925 w 12117871"/>
                <a:gd name="connsiteY755" fmla="*/ 4898802 h 6072780"/>
                <a:gd name="connsiteX756" fmla="*/ 1533752 w 12117871"/>
                <a:gd name="connsiteY756" fmla="*/ 4907243 h 6072780"/>
                <a:gd name="connsiteX757" fmla="*/ 1533752 w 12117871"/>
                <a:gd name="connsiteY757" fmla="*/ 4877127 h 6072780"/>
                <a:gd name="connsiteX758" fmla="*/ 1550787 w 12117871"/>
                <a:gd name="connsiteY758" fmla="*/ 4871043 h 6072780"/>
                <a:gd name="connsiteX759" fmla="*/ 1566986 w 12117871"/>
                <a:gd name="connsiteY759" fmla="*/ 4863894 h 6072780"/>
                <a:gd name="connsiteX760" fmla="*/ 1583109 w 12117871"/>
                <a:gd name="connsiteY760" fmla="*/ 4855073 h 6072780"/>
                <a:gd name="connsiteX761" fmla="*/ 1599916 w 12117871"/>
                <a:gd name="connsiteY761" fmla="*/ 4843969 h 6072780"/>
                <a:gd name="connsiteX762" fmla="*/ 1302202 w 12117871"/>
                <a:gd name="connsiteY762" fmla="*/ 4843969 h 6072780"/>
                <a:gd name="connsiteX763" fmla="*/ 1317108 w 12117871"/>
                <a:gd name="connsiteY763" fmla="*/ 4843969 h 6072780"/>
                <a:gd name="connsiteX764" fmla="*/ 1317108 w 12117871"/>
                <a:gd name="connsiteY764" fmla="*/ 5066949 h 6072780"/>
                <a:gd name="connsiteX765" fmla="*/ 1281820 w 12117871"/>
                <a:gd name="connsiteY765" fmla="*/ 5066949 h 6072780"/>
                <a:gd name="connsiteX766" fmla="*/ 1281820 w 12117871"/>
                <a:gd name="connsiteY766" fmla="*/ 4887166 h 6072780"/>
                <a:gd name="connsiteX767" fmla="*/ 1261211 w 12117871"/>
                <a:gd name="connsiteY767" fmla="*/ 4898802 h 6072780"/>
                <a:gd name="connsiteX768" fmla="*/ 1236038 w 12117871"/>
                <a:gd name="connsiteY768" fmla="*/ 4907243 h 6072780"/>
                <a:gd name="connsiteX769" fmla="*/ 1236038 w 12117871"/>
                <a:gd name="connsiteY769" fmla="*/ 4877127 h 6072780"/>
                <a:gd name="connsiteX770" fmla="*/ 1253073 w 12117871"/>
                <a:gd name="connsiteY770" fmla="*/ 4871043 h 6072780"/>
                <a:gd name="connsiteX771" fmla="*/ 1269272 w 12117871"/>
                <a:gd name="connsiteY771" fmla="*/ 4863894 h 6072780"/>
                <a:gd name="connsiteX772" fmla="*/ 1285395 w 12117871"/>
                <a:gd name="connsiteY772" fmla="*/ 4855073 h 6072780"/>
                <a:gd name="connsiteX773" fmla="*/ 1302202 w 12117871"/>
                <a:gd name="connsiteY773" fmla="*/ 4843969 h 6072780"/>
                <a:gd name="connsiteX774" fmla="*/ 927321 w 12117871"/>
                <a:gd name="connsiteY774" fmla="*/ 4843969 h 6072780"/>
                <a:gd name="connsiteX775" fmla="*/ 942227 w 12117871"/>
                <a:gd name="connsiteY775" fmla="*/ 4843969 h 6072780"/>
                <a:gd name="connsiteX776" fmla="*/ 942227 w 12117871"/>
                <a:gd name="connsiteY776" fmla="*/ 5066949 h 6072780"/>
                <a:gd name="connsiteX777" fmla="*/ 906939 w 12117871"/>
                <a:gd name="connsiteY777" fmla="*/ 5066949 h 6072780"/>
                <a:gd name="connsiteX778" fmla="*/ 906939 w 12117871"/>
                <a:gd name="connsiteY778" fmla="*/ 4887166 h 6072780"/>
                <a:gd name="connsiteX779" fmla="*/ 886330 w 12117871"/>
                <a:gd name="connsiteY779" fmla="*/ 4898802 h 6072780"/>
                <a:gd name="connsiteX780" fmla="*/ 861157 w 12117871"/>
                <a:gd name="connsiteY780" fmla="*/ 4907243 h 6072780"/>
                <a:gd name="connsiteX781" fmla="*/ 861157 w 12117871"/>
                <a:gd name="connsiteY781" fmla="*/ 4877127 h 6072780"/>
                <a:gd name="connsiteX782" fmla="*/ 878192 w 12117871"/>
                <a:gd name="connsiteY782" fmla="*/ 4871043 h 6072780"/>
                <a:gd name="connsiteX783" fmla="*/ 894391 w 12117871"/>
                <a:gd name="connsiteY783" fmla="*/ 4863894 h 6072780"/>
                <a:gd name="connsiteX784" fmla="*/ 910514 w 12117871"/>
                <a:gd name="connsiteY784" fmla="*/ 4855073 h 6072780"/>
                <a:gd name="connsiteX785" fmla="*/ 927321 w 12117871"/>
                <a:gd name="connsiteY785" fmla="*/ 4843969 h 6072780"/>
                <a:gd name="connsiteX786" fmla="*/ 778464 w 12117871"/>
                <a:gd name="connsiteY786" fmla="*/ 4843969 h 6072780"/>
                <a:gd name="connsiteX787" fmla="*/ 793370 w 12117871"/>
                <a:gd name="connsiteY787" fmla="*/ 4843969 h 6072780"/>
                <a:gd name="connsiteX788" fmla="*/ 793370 w 12117871"/>
                <a:gd name="connsiteY788" fmla="*/ 5066949 h 6072780"/>
                <a:gd name="connsiteX789" fmla="*/ 758082 w 12117871"/>
                <a:gd name="connsiteY789" fmla="*/ 5066949 h 6072780"/>
                <a:gd name="connsiteX790" fmla="*/ 758082 w 12117871"/>
                <a:gd name="connsiteY790" fmla="*/ 4887166 h 6072780"/>
                <a:gd name="connsiteX791" fmla="*/ 737473 w 12117871"/>
                <a:gd name="connsiteY791" fmla="*/ 4898802 h 6072780"/>
                <a:gd name="connsiteX792" fmla="*/ 712300 w 12117871"/>
                <a:gd name="connsiteY792" fmla="*/ 4907243 h 6072780"/>
                <a:gd name="connsiteX793" fmla="*/ 712300 w 12117871"/>
                <a:gd name="connsiteY793" fmla="*/ 4877127 h 6072780"/>
                <a:gd name="connsiteX794" fmla="*/ 729335 w 12117871"/>
                <a:gd name="connsiteY794" fmla="*/ 4871043 h 6072780"/>
                <a:gd name="connsiteX795" fmla="*/ 745535 w 12117871"/>
                <a:gd name="connsiteY795" fmla="*/ 4863894 h 6072780"/>
                <a:gd name="connsiteX796" fmla="*/ 761657 w 12117871"/>
                <a:gd name="connsiteY796" fmla="*/ 4855073 h 6072780"/>
                <a:gd name="connsiteX797" fmla="*/ 778464 w 12117871"/>
                <a:gd name="connsiteY797" fmla="*/ 4843969 h 6072780"/>
                <a:gd name="connsiteX798" fmla="*/ 629607 w 12117871"/>
                <a:gd name="connsiteY798" fmla="*/ 4843969 h 6072780"/>
                <a:gd name="connsiteX799" fmla="*/ 644513 w 12117871"/>
                <a:gd name="connsiteY799" fmla="*/ 4843969 h 6072780"/>
                <a:gd name="connsiteX800" fmla="*/ 644513 w 12117871"/>
                <a:gd name="connsiteY800" fmla="*/ 5066949 h 6072780"/>
                <a:gd name="connsiteX801" fmla="*/ 609225 w 12117871"/>
                <a:gd name="connsiteY801" fmla="*/ 5066949 h 6072780"/>
                <a:gd name="connsiteX802" fmla="*/ 609225 w 12117871"/>
                <a:gd name="connsiteY802" fmla="*/ 4887166 h 6072780"/>
                <a:gd name="connsiteX803" fmla="*/ 588616 w 12117871"/>
                <a:gd name="connsiteY803" fmla="*/ 4898802 h 6072780"/>
                <a:gd name="connsiteX804" fmla="*/ 563443 w 12117871"/>
                <a:gd name="connsiteY804" fmla="*/ 4907243 h 6072780"/>
                <a:gd name="connsiteX805" fmla="*/ 563443 w 12117871"/>
                <a:gd name="connsiteY805" fmla="*/ 4877127 h 6072780"/>
                <a:gd name="connsiteX806" fmla="*/ 580478 w 12117871"/>
                <a:gd name="connsiteY806" fmla="*/ 4871043 h 6072780"/>
                <a:gd name="connsiteX807" fmla="*/ 596677 w 12117871"/>
                <a:gd name="connsiteY807" fmla="*/ 4863894 h 6072780"/>
                <a:gd name="connsiteX808" fmla="*/ 612800 w 12117871"/>
                <a:gd name="connsiteY808" fmla="*/ 4855073 h 6072780"/>
                <a:gd name="connsiteX809" fmla="*/ 629607 w 12117871"/>
                <a:gd name="connsiteY809" fmla="*/ 4843969 h 6072780"/>
                <a:gd name="connsiteX810" fmla="*/ 480750 w 12117871"/>
                <a:gd name="connsiteY810" fmla="*/ 4843969 h 6072780"/>
                <a:gd name="connsiteX811" fmla="*/ 495656 w 12117871"/>
                <a:gd name="connsiteY811" fmla="*/ 4843969 h 6072780"/>
                <a:gd name="connsiteX812" fmla="*/ 495656 w 12117871"/>
                <a:gd name="connsiteY812" fmla="*/ 5066949 h 6072780"/>
                <a:gd name="connsiteX813" fmla="*/ 460368 w 12117871"/>
                <a:gd name="connsiteY813" fmla="*/ 5066949 h 6072780"/>
                <a:gd name="connsiteX814" fmla="*/ 460368 w 12117871"/>
                <a:gd name="connsiteY814" fmla="*/ 4887166 h 6072780"/>
                <a:gd name="connsiteX815" fmla="*/ 439759 w 12117871"/>
                <a:gd name="connsiteY815" fmla="*/ 4898802 h 6072780"/>
                <a:gd name="connsiteX816" fmla="*/ 414586 w 12117871"/>
                <a:gd name="connsiteY816" fmla="*/ 4907243 h 6072780"/>
                <a:gd name="connsiteX817" fmla="*/ 414586 w 12117871"/>
                <a:gd name="connsiteY817" fmla="*/ 4877127 h 6072780"/>
                <a:gd name="connsiteX818" fmla="*/ 431621 w 12117871"/>
                <a:gd name="connsiteY818" fmla="*/ 4871043 h 6072780"/>
                <a:gd name="connsiteX819" fmla="*/ 447821 w 12117871"/>
                <a:gd name="connsiteY819" fmla="*/ 4863894 h 6072780"/>
                <a:gd name="connsiteX820" fmla="*/ 463943 w 12117871"/>
                <a:gd name="connsiteY820" fmla="*/ 4855073 h 6072780"/>
                <a:gd name="connsiteX821" fmla="*/ 480750 w 12117871"/>
                <a:gd name="connsiteY821" fmla="*/ 4843969 h 6072780"/>
                <a:gd name="connsiteX822" fmla="*/ 11874294 w 12117871"/>
                <a:gd name="connsiteY822" fmla="*/ 4534174 h 6072780"/>
                <a:gd name="connsiteX823" fmla="*/ 11835024 w 12117871"/>
                <a:gd name="connsiteY823" fmla="*/ 4620687 h 6072780"/>
                <a:gd name="connsiteX824" fmla="*/ 11873542 w 12117871"/>
                <a:gd name="connsiteY824" fmla="*/ 4701634 h 6072780"/>
                <a:gd name="connsiteX825" fmla="*/ 11911457 w 12117871"/>
                <a:gd name="connsiteY825" fmla="*/ 4619333 h 6072780"/>
                <a:gd name="connsiteX826" fmla="*/ 11874294 w 12117871"/>
                <a:gd name="connsiteY826" fmla="*/ 4534174 h 6072780"/>
                <a:gd name="connsiteX827" fmla="*/ 11189148 w 12117871"/>
                <a:gd name="connsiteY827" fmla="*/ 4534174 h 6072780"/>
                <a:gd name="connsiteX828" fmla="*/ 11149878 w 12117871"/>
                <a:gd name="connsiteY828" fmla="*/ 4620687 h 6072780"/>
                <a:gd name="connsiteX829" fmla="*/ 11188396 w 12117871"/>
                <a:gd name="connsiteY829" fmla="*/ 4701634 h 6072780"/>
                <a:gd name="connsiteX830" fmla="*/ 11226311 w 12117871"/>
                <a:gd name="connsiteY830" fmla="*/ 4619333 h 6072780"/>
                <a:gd name="connsiteX831" fmla="*/ 11189148 w 12117871"/>
                <a:gd name="connsiteY831" fmla="*/ 4534174 h 6072780"/>
                <a:gd name="connsiteX832" fmla="*/ 9936214 w 12117871"/>
                <a:gd name="connsiteY832" fmla="*/ 4534174 h 6072780"/>
                <a:gd name="connsiteX833" fmla="*/ 9896944 w 12117871"/>
                <a:gd name="connsiteY833" fmla="*/ 4620687 h 6072780"/>
                <a:gd name="connsiteX834" fmla="*/ 9935462 w 12117871"/>
                <a:gd name="connsiteY834" fmla="*/ 4701634 h 6072780"/>
                <a:gd name="connsiteX835" fmla="*/ 9973377 w 12117871"/>
                <a:gd name="connsiteY835" fmla="*/ 4619333 h 6072780"/>
                <a:gd name="connsiteX836" fmla="*/ 9936214 w 12117871"/>
                <a:gd name="connsiteY836" fmla="*/ 4534174 h 6072780"/>
                <a:gd name="connsiteX837" fmla="*/ 9713703 w 12117871"/>
                <a:gd name="connsiteY837" fmla="*/ 4534174 h 6072780"/>
                <a:gd name="connsiteX838" fmla="*/ 9674433 w 12117871"/>
                <a:gd name="connsiteY838" fmla="*/ 4620687 h 6072780"/>
                <a:gd name="connsiteX839" fmla="*/ 9712951 w 12117871"/>
                <a:gd name="connsiteY839" fmla="*/ 4701634 h 6072780"/>
                <a:gd name="connsiteX840" fmla="*/ 9750866 w 12117871"/>
                <a:gd name="connsiteY840" fmla="*/ 4619333 h 6072780"/>
                <a:gd name="connsiteX841" fmla="*/ 9713703 w 12117871"/>
                <a:gd name="connsiteY841" fmla="*/ 4534174 h 6072780"/>
                <a:gd name="connsiteX842" fmla="*/ 6372301 w 12117871"/>
                <a:gd name="connsiteY842" fmla="*/ 4534174 h 6072780"/>
                <a:gd name="connsiteX843" fmla="*/ 6333031 w 12117871"/>
                <a:gd name="connsiteY843" fmla="*/ 4620687 h 6072780"/>
                <a:gd name="connsiteX844" fmla="*/ 6371549 w 12117871"/>
                <a:gd name="connsiteY844" fmla="*/ 4701634 h 6072780"/>
                <a:gd name="connsiteX845" fmla="*/ 6409464 w 12117871"/>
                <a:gd name="connsiteY845" fmla="*/ 4619333 h 6072780"/>
                <a:gd name="connsiteX846" fmla="*/ 6372301 w 12117871"/>
                <a:gd name="connsiteY846" fmla="*/ 4534174 h 6072780"/>
                <a:gd name="connsiteX847" fmla="*/ 5784617 w 12117871"/>
                <a:gd name="connsiteY847" fmla="*/ 4534174 h 6072780"/>
                <a:gd name="connsiteX848" fmla="*/ 5745350 w 12117871"/>
                <a:gd name="connsiteY848" fmla="*/ 4620687 h 6072780"/>
                <a:gd name="connsiteX849" fmla="*/ 5783865 w 12117871"/>
                <a:gd name="connsiteY849" fmla="*/ 4701634 h 6072780"/>
                <a:gd name="connsiteX850" fmla="*/ 5821781 w 12117871"/>
                <a:gd name="connsiteY850" fmla="*/ 4619333 h 6072780"/>
                <a:gd name="connsiteX851" fmla="*/ 5784617 w 12117871"/>
                <a:gd name="connsiteY851" fmla="*/ 4534174 h 6072780"/>
                <a:gd name="connsiteX852" fmla="*/ 5091629 w 12117871"/>
                <a:gd name="connsiteY852" fmla="*/ 4534174 h 6072780"/>
                <a:gd name="connsiteX853" fmla="*/ 5052358 w 12117871"/>
                <a:gd name="connsiteY853" fmla="*/ 4620687 h 6072780"/>
                <a:gd name="connsiteX854" fmla="*/ 5090877 w 12117871"/>
                <a:gd name="connsiteY854" fmla="*/ 4701634 h 6072780"/>
                <a:gd name="connsiteX855" fmla="*/ 5128792 w 12117871"/>
                <a:gd name="connsiteY855" fmla="*/ 4619333 h 6072780"/>
                <a:gd name="connsiteX856" fmla="*/ 5091629 w 12117871"/>
                <a:gd name="connsiteY856" fmla="*/ 4534174 h 6072780"/>
                <a:gd name="connsiteX857" fmla="*/ 3837392 w 12117871"/>
                <a:gd name="connsiteY857" fmla="*/ 4534174 h 6072780"/>
                <a:gd name="connsiteX858" fmla="*/ 3798122 w 12117871"/>
                <a:gd name="connsiteY858" fmla="*/ 4620687 h 6072780"/>
                <a:gd name="connsiteX859" fmla="*/ 3836640 w 12117871"/>
                <a:gd name="connsiteY859" fmla="*/ 4701634 h 6072780"/>
                <a:gd name="connsiteX860" fmla="*/ 3874555 w 12117871"/>
                <a:gd name="connsiteY860" fmla="*/ 4619333 h 6072780"/>
                <a:gd name="connsiteX861" fmla="*/ 3837392 w 12117871"/>
                <a:gd name="connsiteY861" fmla="*/ 4534174 h 6072780"/>
                <a:gd name="connsiteX862" fmla="*/ 3614881 w 12117871"/>
                <a:gd name="connsiteY862" fmla="*/ 4534174 h 6072780"/>
                <a:gd name="connsiteX863" fmla="*/ 3575611 w 12117871"/>
                <a:gd name="connsiteY863" fmla="*/ 4620687 h 6072780"/>
                <a:gd name="connsiteX864" fmla="*/ 3614130 w 12117871"/>
                <a:gd name="connsiteY864" fmla="*/ 4701634 h 6072780"/>
                <a:gd name="connsiteX865" fmla="*/ 3652044 w 12117871"/>
                <a:gd name="connsiteY865" fmla="*/ 4619333 h 6072780"/>
                <a:gd name="connsiteX866" fmla="*/ 3614881 w 12117871"/>
                <a:gd name="connsiteY866" fmla="*/ 4534174 h 6072780"/>
                <a:gd name="connsiteX867" fmla="*/ 954478 w 12117871"/>
                <a:gd name="connsiteY867" fmla="*/ 4534174 h 6072780"/>
                <a:gd name="connsiteX868" fmla="*/ 915208 w 12117871"/>
                <a:gd name="connsiteY868" fmla="*/ 4620688 h 6072780"/>
                <a:gd name="connsiteX869" fmla="*/ 953726 w 12117871"/>
                <a:gd name="connsiteY869" fmla="*/ 4701635 h 6072780"/>
                <a:gd name="connsiteX870" fmla="*/ 991641 w 12117871"/>
                <a:gd name="connsiteY870" fmla="*/ 4619334 h 6072780"/>
                <a:gd name="connsiteX871" fmla="*/ 954478 w 12117871"/>
                <a:gd name="connsiteY871" fmla="*/ 4534174 h 6072780"/>
                <a:gd name="connsiteX872" fmla="*/ 778131 w 12117871"/>
                <a:gd name="connsiteY872" fmla="*/ 4534174 h 6072780"/>
                <a:gd name="connsiteX873" fmla="*/ 738861 w 12117871"/>
                <a:gd name="connsiteY873" fmla="*/ 4620688 h 6072780"/>
                <a:gd name="connsiteX874" fmla="*/ 777378 w 12117871"/>
                <a:gd name="connsiteY874" fmla="*/ 4701635 h 6072780"/>
                <a:gd name="connsiteX875" fmla="*/ 815294 w 12117871"/>
                <a:gd name="connsiteY875" fmla="*/ 4619334 h 6072780"/>
                <a:gd name="connsiteX876" fmla="*/ 778131 w 12117871"/>
                <a:gd name="connsiteY876" fmla="*/ 4534174 h 6072780"/>
                <a:gd name="connsiteX877" fmla="*/ 141104 w 12117871"/>
                <a:gd name="connsiteY877" fmla="*/ 4534174 h 6072780"/>
                <a:gd name="connsiteX878" fmla="*/ 101834 w 12117871"/>
                <a:gd name="connsiteY878" fmla="*/ 4620688 h 6072780"/>
                <a:gd name="connsiteX879" fmla="*/ 140352 w 12117871"/>
                <a:gd name="connsiteY879" fmla="*/ 4701635 h 6072780"/>
                <a:gd name="connsiteX880" fmla="*/ 178267 w 12117871"/>
                <a:gd name="connsiteY880" fmla="*/ 4619334 h 6072780"/>
                <a:gd name="connsiteX881" fmla="*/ 141104 w 12117871"/>
                <a:gd name="connsiteY881" fmla="*/ 4534174 h 6072780"/>
                <a:gd name="connsiteX882" fmla="*/ 12062430 w 12117871"/>
                <a:gd name="connsiteY882" fmla="*/ 4506339 h 6072780"/>
                <a:gd name="connsiteX883" fmla="*/ 12077336 w 12117871"/>
                <a:gd name="connsiteY883" fmla="*/ 4506339 h 6072780"/>
                <a:gd name="connsiteX884" fmla="*/ 12077336 w 12117871"/>
                <a:gd name="connsiteY884" fmla="*/ 4729319 h 6072780"/>
                <a:gd name="connsiteX885" fmla="*/ 12042048 w 12117871"/>
                <a:gd name="connsiteY885" fmla="*/ 4729319 h 6072780"/>
                <a:gd name="connsiteX886" fmla="*/ 12042048 w 12117871"/>
                <a:gd name="connsiteY886" fmla="*/ 4549535 h 6072780"/>
                <a:gd name="connsiteX887" fmla="*/ 12021439 w 12117871"/>
                <a:gd name="connsiteY887" fmla="*/ 4561171 h 6072780"/>
                <a:gd name="connsiteX888" fmla="*/ 11996266 w 12117871"/>
                <a:gd name="connsiteY888" fmla="*/ 4569613 h 6072780"/>
                <a:gd name="connsiteX889" fmla="*/ 11996266 w 12117871"/>
                <a:gd name="connsiteY889" fmla="*/ 4539497 h 6072780"/>
                <a:gd name="connsiteX890" fmla="*/ 12013301 w 12117871"/>
                <a:gd name="connsiteY890" fmla="*/ 4533413 h 6072780"/>
                <a:gd name="connsiteX891" fmla="*/ 12029500 w 12117871"/>
                <a:gd name="connsiteY891" fmla="*/ 4526264 h 6072780"/>
                <a:gd name="connsiteX892" fmla="*/ 12045623 w 12117871"/>
                <a:gd name="connsiteY892" fmla="*/ 4517442 h 6072780"/>
                <a:gd name="connsiteX893" fmla="*/ 12062430 w 12117871"/>
                <a:gd name="connsiteY893" fmla="*/ 4506339 h 6072780"/>
                <a:gd name="connsiteX894" fmla="*/ 11875949 w 12117871"/>
                <a:gd name="connsiteY894" fmla="*/ 4506339 h 6072780"/>
                <a:gd name="connsiteX895" fmla="*/ 11947116 w 12117871"/>
                <a:gd name="connsiteY895" fmla="*/ 4616926 h 6072780"/>
                <a:gd name="connsiteX896" fmla="*/ 11927030 w 12117871"/>
                <a:gd name="connsiteY896" fmla="*/ 4700506 h 6072780"/>
                <a:gd name="connsiteX897" fmla="*/ 11870833 w 12117871"/>
                <a:gd name="connsiteY897" fmla="*/ 4729319 h 6072780"/>
                <a:gd name="connsiteX898" fmla="*/ 11818248 w 12117871"/>
                <a:gd name="connsiteY898" fmla="*/ 4701785 h 6072780"/>
                <a:gd name="connsiteX899" fmla="*/ 11799365 w 12117871"/>
                <a:gd name="connsiteY899" fmla="*/ 4622192 h 6072780"/>
                <a:gd name="connsiteX900" fmla="*/ 11819075 w 12117871"/>
                <a:gd name="connsiteY900" fmla="*/ 4535678 h 6072780"/>
                <a:gd name="connsiteX901" fmla="*/ 11875949 w 12117871"/>
                <a:gd name="connsiteY901" fmla="*/ 4506339 h 6072780"/>
                <a:gd name="connsiteX902" fmla="*/ 11190803 w 12117871"/>
                <a:gd name="connsiteY902" fmla="*/ 4506339 h 6072780"/>
                <a:gd name="connsiteX903" fmla="*/ 11261970 w 12117871"/>
                <a:gd name="connsiteY903" fmla="*/ 4616926 h 6072780"/>
                <a:gd name="connsiteX904" fmla="*/ 11241884 w 12117871"/>
                <a:gd name="connsiteY904" fmla="*/ 4700506 h 6072780"/>
                <a:gd name="connsiteX905" fmla="*/ 11185687 w 12117871"/>
                <a:gd name="connsiteY905" fmla="*/ 4729319 h 6072780"/>
                <a:gd name="connsiteX906" fmla="*/ 11133102 w 12117871"/>
                <a:gd name="connsiteY906" fmla="*/ 4701785 h 6072780"/>
                <a:gd name="connsiteX907" fmla="*/ 11114219 w 12117871"/>
                <a:gd name="connsiteY907" fmla="*/ 4622192 h 6072780"/>
                <a:gd name="connsiteX908" fmla="*/ 11133929 w 12117871"/>
                <a:gd name="connsiteY908" fmla="*/ 4535678 h 6072780"/>
                <a:gd name="connsiteX909" fmla="*/ 11190803 w 12117871"/>
                <a:gd name="connsiteY909" fmla="*/ 4506339 h 6072780"/>
                <a:gd name="connsiteX910" fmla="*/ 10143427 w 12117871"/>
                <a:gd name="connsiteY910" fmla="*/ 4506339 h 6072780"/>
                <a:gd name="connsiteX911" fmla="*/ 10158333 w 12117871"/>
                <a:gd name="connsiteY911" fmla="*/ 4506339 h 6072780"/>
                <a:gd name="connsiteX912" fmla="*/ 10158333 w 12117871"/>
                <a:gd name="connsiteY912" fmla="*/ 4729319 h 6072780"/>
                <a:gd name="connsiteX913" fmla="*/ 10123045 w 12117871"/>
                <a:gd name="connsiteY913" fmla="*/ 4729319 h 6072780"/>
                <a:gd name="connsiteX914" fmla="*/ 10123045 w 12117871"/>
                <a:gd name="connsiteY914" fmla="*/ 4549535 h 6072780"/>
                <a:gd name="connsiteX915" fmla="*/ 10102436 w 12117871"/>
                <a:gd name="connsiteY915" fmla="*/ 4561171 h 6072780"/>
                <a:gd name="connsiteX916" fmla="*/ 10077263 w 12117871"/>
                <a:gd name="connsiteY916" fmla="*/ 4569613 h 6072780"/>
                <a:gd name="connsiteX917" fmla="*/ 10077263 w 12117871"/>
                <a:gd name="connsiteY917" fmla="*/ 4539497 h 6072780"/>
                <a:gd name="connsiteX918" fmla="*/ 10094298 w 12117871"/>
                <a:gd name="connsiteY918" fmla="*/ 4533413 h 6072780"/>
                <a:gd name="connsiteX919" fmla="*/ 10110497 w 12117871"/>
                <a:gd name="connsiteY919" fmla="*/ 4526264 h 6072780"/>
                <a:gd name="connsiteX920" fmla="*/ 10126620 w 12117871"/>
                <a:gd name="connsiteY920" fmla="*/ 4517442 h 6072780"/>
                <a:gd name="connsiteX921" fmla="*/ 10143427 w 12117871"/>
                <a:gd name="connsiteY921" fmla="*/ 4506339 h 6072780"/>
                <a:gd name="connsiteX922" fmla="*/ 9937869 w 12117871"/>
                <a:gd name="connsiteY922" fmla="*/ 4506339 h 6072780"/>
                <a:gd name="connsiteX923" fmla="*/ 10009036 w 12117871"/>
                <a:gd name="connsiteY923" fmla="*/ 4616926 h 6072780"/>
                <a:gd name="connsiteX924" fmla="*/ 9988950 w 12117871"/>
                <a:gd name="connsiteY924" fmla="*/ 4700506 h 6072780"/>
                <a:gd name="connsiteX925" fmla="*/ 9932753 w 12117871"/>
                <a:gd name="connsiteY925" fmla="*/ 4729319 h 6072780"/>
                <a:gd name="connsiteX926" fmla="*/ 9880168 w 12117871"/>
                <a:gd name="connsiteY926" fmla="*/ 4701785 h 6072780"/>
                <a:gd name="connsiteX927" fmla="*/ 9861285 w 12117871"/>
                <a:gd name="connsiteY927" fmla="*/ 4622192 h 6072780"/>
                <a:gd name="connsiteX928" fmla="*/ 9880995 w 12117871"/>
                <a:gd name="connsiteY928" fmla="*/ 4535678 h 6072780"/>
                <a:gd name="connsiteX929" fmla="*/ 9937869 w 12117871"/>
                <a:gd name="connsiteY929" fmla="*/ 4506339 h 6072780"/>
                <a:gd name="connsiteX930" fmla="*/ 9715358 w 12117871"/>
                <a:gd name="connsiteY930" fmla="*/ 4506339 h 6072780"/>
                <a:gd name="connsiteX931" fmla="*/ 9786525 w 12117871"/>
                <a:gd name="connsiteY931" fmla="*/ 4616926 h 6072780"/>
                <a:gd name="connsiteX932" fmla="*/ 9766439 w 12117871"/>
                <a:gd name="connsiteY932" fmla="*/ 4700506 h 6072780"/>
                <a:gd name="connsiteX933" fmla="*/ 9710242 w 12117871"/>
                <a:gd name="connsiteY933" fmla="*/ 4729319 h 6072780"/>
                <a:gd name="connsiteX934" fmla="*/ 9657657 w 12117871"/>
                <a:gd name="connsiteY934" fmla="*/ 4701785 h 6072780"/>
                <a:gd name="connsiteX935" fmla="*/ 9638774 w 12117871"/>
                <a:gd name="connsiteY935" fmla="*/ 4622192 h 6072780"/>
                <a:gd name="connsiteX936" fmla="*/ 9658484 w 12117871"/>
                <a:gd name="connsiteY936" fmla="*/ 4535678 h 6072780"/>
                <a:gd name="connsiteX937" fmla="*/ 9715358 w 12117871"/>
                <a:gd name="connsiteY937" fmla="*/ 4506339 h 6072780"/>
                <a:gd name="connsiteX938" fmla="*/ 9557012 w 12117871"/>
                <a:gd name="connsiteY938" fmla="*/ 4506339 h 6072780"/>
                <a:gd name="connsiteX939" fmla="*/ 9571918 w 12117871"/>
                <a:gd name="connsiteY939" fmla="*/ 4506339 h 6072780"/>
                <a:gd name="connsiteX940" fmla="*/ 9571918 w 12117871"/>
                <a:gd name="connsiteY940" fmla="*/ 4729319 h 6072780"/>
                <a:gd name="connsiteX941" fmla="*/ 9536630 w 12117871"/>
                <a:gd name="connsiteY941" fmla="*/ 4729319 h 6072780"/>
                <a:gd name="connsiteX942" fmla="*/ 9536630 w 12117871"/>
                <a:gd name="connsiteY942" fmla="*/ 4549535 h 6072780"/>
                <a:gd name="connsiteX943" fmla="*/ 9516021 w 12117871"/>
                <a:gd name="connsiteY943" fmla="*/ 4561171 h 6072780"/>
                <a:gd name="connsiteX944" fmla="*/ 9490848 w 12117871"/>
                <a:gd name="connsiteY944" fmla="*/ 4569613 h 6072780"/>
                <a:gd name="connsiteX945" fmla="*/ 9490848 w 12117871"/>
                <a:gd name="connsiteY945" fmla="*/ 4539497 h 6072780"/>
                <a:gd name="connsiteX946" fmla="*/ 9507883 w 12117871"/>
                <a:gd name="connsiteY946" fmla="*/ 4533413 h 6072780"/>
                <a:gd name="connsiteX947" fmla="*/ 9524082 w 12117871"/>
                <a:gd name="connsiteY947" fmla="*/ 4526264 h 6072780"/>
                <a:gd name="connsiteX948" fmla="*/ 9540205 w 12117871"/>
                <a:gd name="connsiteY948" fmla="*/ 4517442 h 6072780"/>
                <a:gd name="connsiteX949" fmla="*/ 9557012 w 12117871"/>
                <a:gd name="connsiteY949" fmla="*/ 4506339 h 6072780"/>
                <a:gd name="connsiteX950" fmla="*/ 9254256 w 12117871"/>
                <a:gd name="connsiteY950" fmla="*/ 4506339 h 6072780"/>
                <a:gd name="connsiteX951" fmla="*/ 9269162 w 12117871"/>
                <a:gd name="connsiteY951" fmla="*/ 4506339 h 6072780"/>
                <a:gd name="connsiteX952" fmla="*/ 9269162 w 12117871"/>
                <a:gd name="connsiteY952" fmla="*/ 4729319 h 6072780"/>
                <a:gd name="connsiteX953" fmla="*/ 9233874 w 12117871"/>
                <a:gd name="connsiteY953" fmla="*/ 4729319 h 6072780"/>
                <a:gd name="connsiteX954" fmla="*/ 9233874 w 12117871"/>
                <a:gd name="connsiteY954" fmla="*/ 4549535 h 6072780"/>
                <a:gd name="connsiteX955" fmla="*/ 9213265 w 12117871"/>
                <a:gd name="connsiteY955" fmla="*/ 4561171 h 6072780"/>
                <a:gd name="connsiteX956" fmla="*/ 9188092 w 12117871"/>
                <a:gd name="connsiteY956" fmla="*/ 4569613 h 6072780"/>
                <a:gd name="connsiteX957" fmla="*/ 9188092 w 12117871"/>
                <a:gd name="connsiteY957" fmla="*/ 4539497 h 6072780"/>
                <a:gd name="connsiteX958" fmla="*/ 9205127 w 12117871"/>
                <a:gd name="connsiteY958" fmla="*/ 4533413 h 6072780"/>
                <a:gd name="connsiteX959" fmla="*/ 9221326 w 12117871"/>
                <a:gd name="connsiteY959" fmla="*/ 4526264 h 6072780"/>
                <a:gd name="connsiteX960" fmla="*/ 9237449 w 12117871"/>
                <a:gd name="connsiteY960" fmla="*/ 4517442 h 6072780"/>
                <a:gd name="connsiteX961" fmla="*/ 9254256 w 12117871"/>
                <a:gd name="connsiteY961" fmla="*/ 4506339 h 6072780"/>
                <a:gd name="connsiteX962" fmla="*/ 7851748 w 12117871"/>
                <a:gd name="connsiteY962" fmla="*/ 4506339 h 6072780"/>
                <a:gd name="connsiteX963" fmla="*/ 7866654 w 12117871"/>
                <a:gd name="connsiteY963" fmla="*/ 4506339 h 6072780"/>
                <a:gd name="connsiteX964" fmla="*/ 7866654 w 12117871"/>
                <a:gd name="connsiteY964" fmla="*/ 4729319 h 6072780"/>
                <a:gd name="connsiteX965" fmla="*/ 7831366 w 12117871"/>
                <a:gd name="connsiteY965" fmla="*/ 4729319 h 6072780"/>
                <a:gd name="connsiteX966" fmla="*/ 7831366 w 12117871"/>
                <a:gd name="connsiteY966" fmla="*/ 4549535 h 6072780"/>
                <a:gd name="connsiteX967" fmla="*/ 7810757 w 12117871"/>
                <a:gd name="connsiteY967" fmla="*/ 4561171 h 6072780"/>
                <a:gd name="connsiteX968" fmla="*/ 7785584 w 12117871"/>
                <a:gd name="connsiteY968" fmla="*/ 4569613 h 6072780"/>
                <a:gd name="connsiteX969" fmla="*/ 7785584 w 12117871"/>
                <a:gd name="connsiteY969" fmla="*/ 4539497 h 6072780"/>
                <a:gd name="connsiteX970" fmla="*/ 7802619 w 12117871"/>
                <a:gd name="connsiteY970" fmla="*/ 4533413 h 6072780"/>
                <a:gd name="connsiteX971" fmla="*/ 7818818 w 12117871"/>
                <a:gd name="connsiteY971" fmla="*/ 4526264 h 6072780"/>
                <a:gd name="connsiteX972" fmla="*/ 7834941 w 12117871"/>
                <a:gd name="connsiteY972" fmla="*/ 4517442 h 6072780"/>
                <a:gd name="connsiteX973" fmla="*/ 7851748 w 12117871"/>
                <a:gd name="connsiteY973" fmla="*/ 4506339 h 6072780"/>
                <a:gd name="connsiteX974" fmla="*/ 7413731 w 12117871"/>
                <a:gd name="connsiteY974" fmla="*/ 4506339 h 6072780"/>
                <a:gd name="connsiteX975" fmla="*/ 7428637 w 12117871"/>
                <a:gd name="connsiteY975" fmla="*/ 4506339 h 6072780"/>
                <a:gd name="connsiteX976" fmla="*/ 7428637 w 12117871"/>
                <a:gd name="connsiteY976" fmla="*/ 4729319 h 6072780"/>
                <a:gd name="connsiteX977" fmla="*/ 7393349 w 12117871"/>
                <a:gd name="connsiteY977" fmla="*/ 4729319 h 6072780"/>
                <a:gd name="connsiteX978" fmla="*/ 7393349 w 12117871"/>
                <a:gd name="connsiteY978" fmla="*/ 4549535 h 6072780"/>
                <a:gd name="connsiteX979" fmla="*/ 7372740 w 12117871"/>
                <a:gd name="connsiteY979" fmla="*/ 4561171 h 6072780"/>
                <a:gd name="connsiteX980" fmla="*/ 7347567 w 12117871"/>
                <a:gd name="connsiteY980" fmla="*/ 4569613 h 6072780"/>
                <a:gd name="connsiteX981" fmla="*/ 7347567 w 12117871"/>
                <a:gd name="connsiteY981" fmla="*/ 4539497 h 6072780"/>
                <a:gd name="connsiteX982" fmla="*/ 7364602 w 12117871"/>
                <a:gd name="connsiteY982" fmla="*/ 4533413 h 6072780"/>
                <a:gd name="connsiteX983" fmla="*/ 7380801 w 12117871"/>
                <a:gd name="connsiteY983" fmla="*/ 4526264 h 6072780"/>
                <a:gd name="connsiteX984" fmla="*/ 7396924 w 12117871"/>
                <a:gd name="connsiteY984" fmla="*/ 4517442 h 6072780"/>
                <a:gd name="connsiteX985" fmla="*/ 7413731 w 12117871"/>
                <a:gd name="connsiteY985" fmla="*/ 4506339 h 6072780"/>
                <a:gd name="connsiteX986" fmla="*/ 7015147 w 12117871"/>
                <a:gd name="connsiteY986" fmla="*/ 4506339 h 6072780"/>
                <a:gd name="connsiteX987" fmla="*/ 7030053 w 12117871"/>
                <a:gd name="connsiteY987" fmla="*/ 4506339 h 6072780"/>
                <a:gd name="connsiteX988" fmla="*/ 7030053 w 12117871"/>
                <a:gd name="connsiteY988" fmla="*/ 4729319 h 6072780"/>
                <a:gd name="connsiteX989" fmla="*/ 6994765 w 12117871"/>
                <a:gd name="connsiteY989" fmla="*/ 4729319 h 6072780"/>
                <a:gd name="connsiteX990" fmla="*/ 6994765 w 12117871"/>
                <a:gd name="connsiteY990" fmla="*/ 4549535 h 6072780"/>
                <a:gd name="connsiteX991" fmla="*/ 6974156 w 12117871"/>
                <a:gd name="connsiteY991" fmla="*/ 4561171 h 6072780"/>
                <a:gd name="connsiteX992" fmla="*/ 6948983 w 12117871"/>
                <a:gd name="connsiteY992" fmla="*/ 4569613 h 6072780"/>
                <a:gd name="connsiteX993" fmla="*/ 6948983 w 12117871"/>
                <a:gd name="connsiteY993" fmla="*/ 4539497 h 6072780"/>
                <a:gd name="connsiteX994" fmla="*/ 6966018 w 12117871"/>
                <a:gd name="connsiteY994" fmla="*/ 4533413 h 6072780"/>
                <a:gd name="connsiteX995" fmla="*/ 6982217 w 12117871"/>
                <a:gd name="connsiteY995" fmla="*/ 4526264 h 6072780"/>
                <a:gd name="connsiteX996" fmla="*/ 6998340 w 12117871"/>
                <a:gd name="connsiteY996" fmla="*/ 4517442 h 6072780"/>
                <a:gd name="connsiteX997" fmla="*/ 7015147 w 12117871"/>
                <a:gd name="connsiteY997" fmla="*/ 4506339 h 6072780"/>
                <a:gd name="connsiteX998" fmla="*/ 6727931 w 12117871"/>
                <a:gd name="connsiteY998" fmla="*/ 4506339 h 6072780"/>
                <a:gd name="connsiteX999" fmla="*/ 6742837 w 12117871"/>
                <a:gd name="connsiteY999" fmla="*/ 4506339 h 6072780"/>
                <a:gd name="connsiteX1000" fmla="*/ 6742837 w 12117871"/>
                <a:gd name="connsiteY1000" fmla="*/ 4729319 h 6072780"/>
                <a:gd name="connsiteX1001" fmla="*/ 6707549 w 12117871"/>
                <a:gd name="connsiteY1001" fmla="*/ 4729319 h 6072780"/>
                <a:gd name="connsiteX1002" fmla="*/ 6707549 w 12117871"/>
                <a:gd name="connsiteY1002" fmla="*/ 4549535 h 6072780"/>
                <a:gd name="connsiteX1003" fmla="*/ 6686940 w 12117871"/>
                <a:gd name="connsiteY1003" fmla="*/ 4561171 h 6072780"/>
                <a:gd name="connsiteX1004" fmla="*/ 6661767 w 12117871"/>
                <a:gd name="connsiteY1004" fmla="*/ 4569613 h 6072780"/>
                <a:gd name="connsiteX1005" fmla="*/ 6661767 w 12117871"/>
                <a:gd name="connsiteY1005" fmla="*/ 4539497 h 6072780"/>
                <a:gd name="connsiteX1006" fmla="*/ 6678802 w 12117871"/>
                <a:gd name="connsiteY1006" fmla="*/ 4533413 h 6072780"/>
                <a:gd name="connsiteX1007" fmla="*/ 6695001 w 12117871"/>
                <a:gd name="connsiteY1007" fmla="*/ 4526264 h 6072780"/>
                <a:gd name="connsiteX1008" fmla="*/ 6711124 w 12117871"/>
                <a:gd name="connsiteY1008" fmla="*/ 4517442 h 6072780"/>
                <a:gd name="connsiteX1009" fmla="*/ 6727931 w 12117871"/>
                <a:gd name="connsiteY1009" fmla="*/ 4506339 h 6072780"/>
                <a:gd name="connsiteX1010" fmla="*/ 6584323 w 12117871"/>
                <a:gd name="connsiteY1010" fmla="*/ 4506339 h 6072780"/>
                <a:gd name="connsiteX1011" fmla="*/ 6599229 w 12117871"/>
                <a:gd name="connsiteY1011" fmla="*/ 4506339 h 6072780"/>
                <a:gd name="connsiteX1012" fmla="*/ 6599229 w 12117871"/>
                <a:gd name="connsiteY1012" fmla="*/ 4729319 h 6072780"/>
                <a:gd name="connsiteX1013" fmla="*/ 6563941 w 12117871"/>
                <a:gd name="connsiteY1013" fmla="*/ 4729319 h 6072780"/>
                <a:gd name="connsiteX1014" fmla="*/ 6563941 w 12117871"/>
                <a:gd name="connsiteY1014" fmla="*/ 4549535 h 6072780"/>
                <a:gd name="connsiteX1015" fmla="*/ 6543332 w 12117871"/>
                <a:gd name="connsiteY1015" fmla="*/ 4561171 h 6072780"/>
                <a:gd name="connsiteX1016" fmla="*/ 6518159 w 12117871"/>
                <a:gd name="connsiteY1016" fmla="*/ 4569613 h 6072780"/>
                <a:gd name="connsiteX1017" fmla="*/ 6518159 w 12117871"/>
                <a:gd name="connsiteY1017" fmla="*/ 4539497 h 6072780"/>
                <a:gd name="connsiteX1018" fmla="*/ 6535194 w 12117871"/>
                <a:gd name="connsiteY1018" fmla="*/ 4533413 h 6072780"/>
                <a:gd name="connsiteX1019" fmla="*/ 6551393 w 12117871"/>
                <a:gd name="connsiteY1019" fmla="*/ 4526264 h 6072780"/>
                <a:gd name="connsiteX1020" fmla="*/ 6567516 w 12117871"/>
                <a:gd name="connsiteY1020" fmla="*/ 4517442 h 6072780"/>
                <a:gd name="connsiteX1021" fmla="*/ 6584323 w 12117871"/>
                <a:gd name="connsiteY1021" fmla="*/ 4506339 h 6072780"/>
                <a:gd name="connsiteX1022" fmla="*/ 6373956 w 12117871"/>
                <a:gd name="connsiteY1022" fmla="*/ 4506339 h 6072780"/>
                <a:gd name="connsiteX1023" fmla="*/ 6445123 w 12117871"/>
                <a:gd name="connsiteY1023" fmla="*/ 4616926 h 6072780"/>
                <a:gd name="connsiteX1024" fmla="*/ 6425037 w 12117871"/>
                <a:gd name="connsiteY1024" fmla="*/ 4700506 h 6072780"/>
                <a:gd name="connsiteX1025" fmla="*/ 6368840 w 12117871"/>
                <a:gd name="connsiteY1025" fmla="*/ 4729319 h 6072780"/>
                <a:gd name="connsiteX1026" fmla="*/ 6316255 w 12117871"/>
                <a:gd name="connsiteY1026" fmla="*/ 4701785 h 6072780"/>
                <a:gd name="connsiteX1027" fmla="*/ 6297372 w 12117871"/>
                <a:gd name="connsiteY1027" fmla="*/ 4622192 h 6072780"/>
                <a:gd name="connsiteX1028" fmla="*/ 6317082 w 12117871"/>
                <a:gd name="connsiteY1028" fmla="*/ 4535678 h 6072780"/>
                <a:gd name="connsiteX1029" fmla="*/ 6373956 w 12117871"/>
                <a:gd name="connsiteY1029" fmla="*/ 4506339 h 6072780"/>
                <a:gd name="connsiteX1030" fmla="*/ 5975659 w 12117871"/>
                <a:gd name="connsiteY1030" fmla="*/ 4506339 h 6072780"/>
                <a:gd name="connsiteX1031" fmla="*/ 5990568 w 12117871"/>
                <a:gd name="connsiteY1031" fmla="*/ 4506339 h 6072780"/>
                <a:gd name="connsiteX1032" fmla="*/ 5990568 w 12117871"/>
                <a:gd name="connsiteY1032" fmla="*/ 4729319 h 6072780"/>
                <a:gd name="connsiteX1033" fmla="*/ 5955278 w 12117871"/>
                <a:gd name="connsiteY1033" fmla="*/ 4729319 h 6072780"/>
                <a:gd name="connsiteX1034" fmla="*/ 5955278 w 12117871"/>
                <a:gd name="connsiteY1034" fmla="*/ 4549535 h 6072780"/>
                <a:gd name="connsiteX1035" fmla="*/ 5934669 w 12117871"/>
                <a:gd name="connsiteY1035" fmla="*/ 4561171 h 6072780"/>
                <a:gd name="connsiteX1036" fmla="*/ 5909498 w 12117871"/>
                <a:gd name="connsiteY1036" fmla="*/ 4569613 h 6072780"/>
                <a:gd name="connsiteX1037" fmla="*/ 5909498 w 12117871"/>
                <a:gd name="connsiteY1037" fmla="*/ 4539497 h 6072780"/>
                <a:gd name="connsiteX1038" fmla="*/ 5926531 w 12117871"/>
                <a:gd name="connsiteY1038" fmla="*/ 4533413 h 6072780"/>
                <a:gd name="connsiteX1039" fmla="*/ 5942730 w 12117871"/>
                <a:gd name="connsiteY1039" fmla="*/ 4526264 h 6072780"/>
                <a:gd name="connsiteX1040" fmla="*/ 5958852 w 12117871"/>
                <a:gd name="connsiteY1040" fmla="*/ 4517442 h 6072780"/>
                <a:gd name="connsiteX1041" fmla="*/ 5975659 w 12117871"/>
                <a:gd name="connsiteY1041" fmla="*/ 4506339 h 6072780"/>
                <a:gd name="connsiteX1042" fmla="*/ 5786272 w 12117871"/>
                <a:gd name="connsiteY1042" fmla="*/ 4506339 h 6072780"/>
                <a:gd name="connsiteX1043" fmla="*/ 5857440 w 12117871"/>
                <a:gd name="connsiteY1043" fmla="*/ 4616926 h 6072780"/>
                <a:gd name="connsiteX1044" fmla="*/ 5837355 w 12117871"/>
                <a:gd name="connsiteY1044" fmla="*/ 4700506 h 6072780"/>
                <a:gd name="connsiteX1045" fmla="*/ 5781158 w 12117871"/>
                <a:gd name="connsiteY1045" fmla="*/ 4729319 h 6072780"/>
                <a:gd name="connsiteX1046" fmla="*/ 5728572 w 12117871"/>
                <a:gd name="connsiteY1046" fmla="*/ 4701785 h 6072780"/>
                <a:gd name="connsiteX1047" fmla="*/ 5709690 w 12117871"/>
                <a:gd name="connsiteY1047" fmla="*/ 4622192 h 6072780"/>
                <a:gd name="connsiteX1048" fmla="*/ 5729400 w 12117871"/>
                <a:gd name="connsiteY1048" fmla="*/ 4535678 h 6072780"/>
                <a:gd name="connsiteX1049" fmla="*/ 5786272 w 12117871"/>
                <a:gd name="connsiteY1049" fmla="*/ 4506339 h 6072780"/>
                <a:gd name="connsiteX1050" fmla="*/ 5093284 w 12117871"/>
                <a:gd name="connsiteY1050" fmla="*/ 4506339 h 6072780"/>
                <a:gd name="connsiteX1051" fmla="*/ 5164451 w 12117871"/>
                <a:gd name="connsiteY1051" fmla="*/ 4616926 h 6072780"/>
                <a:gd name="connsiteX1052" fmla="*/ 5144364 w 12117871"/>
                <a:gd name="connsiteY1052" fmla="*/ 4700506 h 6072780"/>
                <a:gd name="connsiteX1053" fmla="*/ 5088168 w 12117871"/>
                <a:gd name="connsiteY1053" fmla="*/ 4729319 h 6072780"/>
                <a:gd name="connsiteX1054" fmla="*/ 5035583 w 12117871"/>
                <a:gd name="connsiteY1054" fmla="*/ 4701785 h 6072780"/>
                <a:gd name="connsiteX1055" fmla="*/ 5016700 w 12117871"/>
                <a:gd name="connsiteY1055" fmla="*/ 4622192 h 6072780"/>
                <a:gd name="connsiteX1056" fmla="*/ 5036410 w 12117871"/>
                <a:gd name="connsiteY1056" fmla="*/ 4535678 h 6072780"/>
                <a:gd name="connsiteX1057" fmla="*/ 5093284 w 12117871"/>
                <a:gd name="connsiteY1057" fmla="*/ 4506339 h 6072780"/>
                <a:gd name="connsiteX1058" fmla="*/ 4694968 w 12117871"/>
                <a:gd name="connsiteY1058" fmla="*/ 4506339 h 6072780"/>
                <a:gd name="connsiteX1059" fmla="*/ 4709876 w 12117871"/>
                <a:gd name="connsiteY1059" fmla="*/ 4506339 h 6072780"/>
                <a:gd name="connsiteX1060" fmla="*/ 4709876 w 12117871"/>
                <a:gd name="connsiteY1060" fmla="*/ 4729319 h 6072780"/>
                <a:gd name="connsiteX1061" fmla="*/ 4674589 w 12117871"/>
                <a:gd name="connsiteY1061" fmla="*/ 4729319 h 6072780"/>
                <a:gd name="connsiteX1062" fmla="*/ 4674589 w 12117871"/>
                <a:gd name="connsiteY1062" fmla="*/ 4549535 h 6072780"/>
                <a:gd name="connsiteX1063" fmla="*/ 4653978 w 12117871"/>
                <a:gd name="connsiteY1063" fmla="*/ 4561171 h 6072780"/>
                <a:gd name="connsiteX1064" fmla="*/ 4628805 w 12117871"/>
                <a:gd name="connsiteY1064" fmla="*/ 4569613 h 6072780"/>
                <a:gd name="connsiteX1065" fmla="*/ 4628805 w 12117871"/>
                <a:gd name="connsiteY1065" fmla="*/ 4539497 h 6072780"/>
                <a:gd name="connsiteX1066" fmla="*/ 4645841 w 12117871"/>
                <a:gd name="connsiteY1066" fmla="*/ 4533413 h 6072780"/>
                <a:gd name="connsiteX1067" fmla="*/ 4662040 w 12117871"/>
                <a:gd name="connsiteY1067" fmla="*/ 4526264 h 6072780"/>
                <a:gd name="connsiteX1068" fmla="*/ 4678162 w 12117871"/>
                <a:gd name="connsiteY1068" fmla="*/ 4517442 h 6072780"/>
                <a:gd name="connsiteX1069" fmla="*/ 4694968 w 12117871"/>
                <a:gd name="connsiteY1069" fmla="*/ 4506339 h 6072780"/>
                <a:gd name="connsiteX1070" fmla="*/ 4345906 w 12117871"/>
                <a:gd name="connsiteY1070" fmla="*/ 4506339 h 6072780"/>
                <a:gd name="connsiteX1071" fmla="*/ 4360813 w 12117871"/>
                <a:gd name="connsiteY1071" fmla="*/ 4506339 h 6072780"/>
                <a:gd name="connsiteX1072" fmla="*/ 4360813 w 12117871"/>
                <a:gd name="connsiteY1072" fmla="*/ 4729319 h 6072780"/>
                <a:gd name="connsiteX1073" fmla="*/ 4325525 w 12117871"/>
                <a:gd name="connsiteY1073" fmla="*/ 4729319 h 6072780"/>
                <a:gd name="connsiteX1074" fmla="*/ 4325525 w 12117871"/>
                <a:gd name="connsiteY1074" fmla="*/ 4549535 h 6072780"/>
                <a:gd name="connsiteX1075" fmla="*/ 4304915 w 12117871"/>
                <a:gd name="connsiteY1075" fmla="*/ 4561171 h 6072780"/>
                <a:gd name="connsiteX1076" fmla="*/ 4279743 w 12117871"/>
                <a:gd name="connsiteY1076" fmla="*/ 4569613 h 6072780"/>
                <a:gd name="connsiteX1077" fmla="*/ 4279743 w 12117871"/>
                <a:gd name="connsiteY1077" fmla="*/ 4539497 h 6072780"/>
                <a:gd name="connsiteX1078" fmla="*/ 4296778 w 12117871"/>
                <a:gd name="connsiteY1078" fmla="*/ 4533413 h 6072780"/>
                <a:gd name="connsiteX1079" fmla="*/ 4312977 w 12117871"/>
                <a:gd name="connsiteY1079" fmla="*/ 4526264 h 6072780"/>
                <a:gd name="connsiteX1080" fmla="*/ 4329099 w 12117871"/>
                <a:gd name="connsiteY1080" fmla="*/ 4517442 h 6072780"/>
                <a:gd name="connsiteX1081" fmla="*/ 4345906 w 12117871"/>
                <a:gd name="connsiteY1081" fmla="*/ 4506339 h 6072780"/>
                <a:gd name="connsiteX1082" fmla="*/ 3839047 w 12117871"/>
                <a:gd name="connsiteY1082" fmla="*/ 4506339 h 6072780"/>
                <a:gd name="connsiteX1083" fmla="*/ 3910214 w 12117871"/>
                <a:gd name="connsiteY1083" fmla="*/ 4616926 h 6072780"/>
                <a:gd name="connsiteX1084" fmla="*/ 3890128 w 12117871"/>
                <a:gd name="connsiteY1084" fmla="*/ 4700506 h 6072780"/>
                <a:gd name="connsiteX1085" fmla="*/ 3833931 w 12117871"/>
                <a:gd name="connsiteY1085" fmla="*/ 4729319 h 6072780"/>
                <a:gd name="connsiteX1086" fmla="*/ 3781346 w 12117871"/>
                <a:gd name="connsiteY1086" fmla="*/ 4701785 h 6072780"/>
                <a:gd name="connsiteX1087" fmla="*/ 3762464 w 12117871"/>
                <a:gd name="connsiteY1087" fmla="*/ 4622192 h 6072780"/>
                <a:gd name="connsiteX1088" fmla="*/ 3782173 w 12117871"/>
                <a:gd name="connsiteY1088" fmla="*/ 4535678 h 6072780"/>
                <a:gd name="connsiteX1089" fmla="*/ 3839047 w 12117871"/>
                <a:gd name="connsiteY1089" fmla="*/ 4506339 h 6072780"/>
                <a:gd name="connsiteX1090" fmla="*/ 3616537 w 12117871"/>
                <a:gd name="connsiteY1090" fmla="*/ 4506339 h 6072780"/>
                <a:gd name="connsiteX1091" fmla="*/ 3687703 w 12117871"/>
                <a:gd name="connsiteY1091" fmla="*/ 4616926 h 6072780"/>
                <a:gd name="connsiteX1092" fmla="*/ 3667617 w 12117871"/>
                <a:gd name="connsiteY1092" fmla="*/ 4700506 h 6072780"/>
                <a:gd name="connsiteX1093" fmla="*/ 3611420 w 12117871"/>
                <a:gd name="connsiteY1093" fmla="*/ 4729319 h 6072780"/>
                <a:gd name="connsiteX1094" fmla="*/ 3558835 w 12117871"/>
                <a:gd name="connsiteY1094" fmla="*/ 4701785 h 6072780"/>
                <a:gd name="connsiteX1095" fmla="*/ 3539952 w 12117871"/>
                <a:gd name="connsiteY1095" fmla="*/ 4622192 h 6072780"/>
                <a:gd name="connsiteX1096" fmla="*/ 3559662 w 12117871"/>
                <a:gd name="connsiteY1096" fmla="*/ 4535678 h 6072780"/>
                <a:gd name="connsiteX1097" fmla="*/ 3616537 w 12117871"/>
                <a:gd name="connsiteY1097" fmla="*/ 4506339 h 6072780"/>
                <a:gd name="connsiteX1098" fmla="*/ 3454863 w 12117871"/>
                <a:gd name="connsiteY1098" fmla="*/ 4506339 h 6072780"/>
                <a:gd name="connsiteX1099" fmla="*/ 3469768 w 12117871"/>
                <a:gd name="connsiteY1099" fmla="*/ 4506339 h 6072780"/>
                <a:gd name="connsiteX1100" fmla="*/ 3469768 w 12117871"/>
                <a:gd name="connsiteY1100" fmla="*/ 4729319 h 6072780"/>
                <a:gd name="connsiteX1101" fmla="*/ 3434481 w 12117871"/>
                <a:gd name="connsiteY1101" fmla="*/ 4729319 h 6072780"/>
                <a:gd name="connsiteX1102" fmla="*/ 3434481 w 12117871"/>
                <a:gd name="connsiteY1102" fmla="*/ 4549535 h 6072780"/>
                <a:gd name="connsiteX1103" fmla="*/ 3413872 w 12117871"/>
                <a:gd name="connsiteY1103" fmla="*/ 4561171 h 6072780"/>
                <a:gd name="connsiteX1104" fmla="*/ 3388698 w 12117871"/>
                <a:gd name="connsiteY1104" fmla="*/ 4569613 h 6072780"/>
                <a:gd name="connsiteX1105" fmla="*/ 3388698 w 12117871"/>
                <a:gd name="connsiteY1105" fmla="*/ 4539497 h 6072780"/>
                <a:gd name="connsiteX1106" fmla="*/ 3405734 w 12117871"/>
                <a:gd name="connsiteY1106" fmla="*/ 4533413 h 6072780"/>
                <a:gd name="connsiteX1107" fmla="*/ 3421933 w 12117871"/>
                <a:gd name="connsiteY1107" fmla="*/ 4526264 h 6072780"/>
                <a:gd name="connsiteX1108" fmla="*/ 3438054 w 12117871"/>
                <a:gd name="connsiteY1108" fmla="*/ 4517442 h 6072780"/>
                <a:gd name="connsiteX1109" fmla="*/ 3454863 w 12117871"/>
                <a:gd name="connsiteY1109" fmla="*/ 4506339 h 6072780"/>
                <a:gd name="connsiteX1110" fmla="*/ 3158682 w 12117871"/>
                <a:gd name="connsiteY1110" fmla="*/ 4506339 h 6072780"/>
                <a:gd name="connsiteX1111" fmla="*/ 3173587 w 12117871"/>
                <a:gd name="connsiteY1111" fmla="*/ 4506339 h 6072780"/>
                <a:gd name="connsiteX1112" fmla="*/ 3173587 w 12117871"/>
                <a:gd name="connsiteY1112" fmla="*/ 4729319 h 6072780"/>
                <a:gd name="connsiteX1113" fmla="*/ 3138299 w 12117871"/>
                <a:gd name="connsiteY1113" fmla="*/ 4729319 h 6072780"/>
                <a:gd name="connsiteX1114" fmla="*/ 3138299 w 12117871"/>
                <a:gd name="connsiteY1114" fmla="*/ 4549536 h 6072780"/>
                <a:gd name="connsiteX1115" fmla="*/ 3117690 w 12117871"/>
                <a:gd name="connsiteY1115" fmla="*/ 4561172 h 6072780"/>
                <a:gd name="connsiteX1116" fmla="*/ 3092517 w 12117871"/>
                <a:gd name="connsiteY1116" fmla="*/ 4569613 h 6072780"/>
                <a:gd name="connsiteX1117" fmla="*/ 3092517 w 12117871"/>
                <a:gd name="connsiteY1117" fmla="*/ 4539497 h 6072780"/>
                <a:gd name="connsiteX1118" fmla="*/ 3109553 w 12117871"/>
                <a:gd name="connsiteY1118" fmla="*/ 4533413 h 6072780"/>
                <a:gd name="connsiteX1119" fmla="*/ 3125751 w 12117871"/>
                <a:gd name="connsiteY1119" fmla="*/ 4526264 h 6072780"/>
                <a:gd name="connsiteX1120" fmla="*/ 3141875 w 12117871"/>
                <a:gd name="connsiteY1120" fmla="*/ 4517443 h 6072780"/>
                <a:gd name="connsiteX1121" fmla="*/ 3158682 w 12117871"/>
                <a:gd name="connsiteY1121" fmla="*/ 4506339 h 6072780"/>
                <a:gd name="connsiteX1122" fmla="*/ 2489154 w 12117871"/>
                <a:gd name="connsiteY1122" fmla="*/ 4506339 h 6072780"/>
                <a:gd name="connsiteX1123" fmla="*/ 2504060 w 12117871"/>
                <a:gd name="connsiteY1123" fmla="*/ 4506339 h 6072780"/>
                <a:gd name="connsiteX1124" fmla="*/ 2504060 w 12117871"/>
                <a:gd name="connsiteY1124" fmla="*/ 4729319 h 6072780"/>
                <a:gd name="connsiteX1125" fmla="*/ 2468772 w 12117871"/>
                <a:gd name="connsiteY1125" fmla="*/ 4729319 h 6072780"/>
                <a:gd name="connsiteX1126" fmla="*/ 2468772 w 12117871"/>
                <a:gd name="connsiteY1126" fmla="*/ 4549536 h 6072780"/>
                <a:gd name="connsiteX1127" fmla="*/ 2448163 w 12117871"/>
                <a:gd name="connsiteY1127" fmla="*/ 4561172 h 6072780"/>
                <a:gd name="connsiteX1128" fmla="*/ 2422990 w 12117871"/>
                <a:gd name="connsiteY1128" fmla="*/ 4569613 h 6072780"/>
                <a:gd name="connsiteX1129" fmla="*/ 2422990 w 12117871"/>
                <a:gd name="connsiteY1129" fmla="*/ 4539497 h 6072780"/>
                <a:gd name="connsiteX1130" fmla="*/ 2440025 w 12117871"/>
                <a:gd name="connsiteY1130" fmla="*/ 4533413 h 6072780"/>
                <a:gd name="connsiteX1131" fmla="*/ 2456224 w 12117871"/>
                <a:gd name="connsiteY1131" fmla="*/ 4526264 h 6072780"/>
                <a:gd name="connsiteX1132" fmla="*/ 2472346 w 12117871"/>
                <a:gd name="connsiteY1132" fmla="*/ 4517443 h 6072780"/>
                <a:gd name="connsiteX1133" fmla="*/ 2489154 w 12117871"/>
                <a:gd name="connsiteY1133" fmla="*/ 4506339 h 6072780"/>
                <a:gd name="connsiteX1134" fmla="*/ 1599916 w 12117871"/>
                <a:gd name="connsiteY1134" fmla="*/ 4506339 h 6072780"/>
                <a:gd name="connsiteX1135" fmla="*/ 1614822 w 12117871"/>
                <a:gd name="connsiteY1135" fmla="*/ 4506339 h 6072780"/>
                <a:gd name="connsiteX1136" fmla="*/ 1614822 w 12117871"/>
                <a:gd name="connsiteY1136" fmla="*/ 4729319 h 6072780"/>
                <a:gd name="connsiteX1137" fmla="*/ 1579534 w 12117871"/>
                <a:gd name="connsiteY1137" fmla="*/ 4729319 h 6072780"/>
                <a:gd name="connsiteX1138" fmla="*/ 1579534 w 12117871"/>
                <a:gd name="connsiteY1138" fmla="*/ 4549536 h 6072780"/>
                <a:gd name="connsiteX1139" fmla="*/ 1558925 w 12117871"/>
                <a:gd name="connsiteY1139" fmla="*/ 4561172 h 6072780"/>
                <a:gd name="connsiteX1140" fmla="*/ 1533752 w 12117871"/>
                <a:gd name="connsiteY1140" fmla="*/ 4569613 h 6072780"/>
                <a:gd name="connsiteX1141" fmla="*/ 1533752 w 12117871"/>
                <a:gd name="connsiteY1141" fmla="*/ 4539497 h 6072780"/>
                <a:gd name="connsiteX1142" fmla="*/ 1550787 w 12117871"/>
                <a:gd name="connsiteY1142" fmla="*/ 4533413 h 6072780"/>
                <a:gd name="connsiteX1143" fmla="*/ 1566986 w 12117871"/>
                <a:gd name="connsiteY1143" fmla="*/ 4526264 h 6072780"/>
                <a:gd name="connsiteX1144" fmla="*/ 1583109 w 12117871"/>
                <a:gd name="connsiteY1144" fmla="*/ 4517443 h 6072780"/>
                <a:gd name="connsiteX1145" fmla="*/ 1599916 w 12117871"/>
                <a:gd name="connsiteY1145" fmla="*/ 4506339 h 6072780"/>
                <a:gd name="connsiteX1146" fmla="*/ 1302202 w 12117871"/>
                <a:gd name="connsiteY1146" fmla="*/ 4506339 h 6072780"/>
                <a:gd name="connsiteX1147" fmla="*/ 1317108 w 12117871"/>
                <a:gd name="connsiteY1147" fmla="*/ 4506339 h 6072780"/>
                <a:gd name="connsiteX1148" fmla="*/ 1317108 w 12117871"/>
                <a:gd name="connsiteY1148" fmla="*/ 4729319 h 6072780"/>
                <a:gd name="connsiteX1149" fmla="*/ 1281820 w 12117871"/>
                <a:gd name="connsiteY1149" fmla="*/ 4729319 h 6072780"/>
                <a:gd name="connsiteX1150" fmla="*/ 1281820 w 12117871"/>
                <a:gd name="connsiteY1150" fmla="*/ 4549536 h 6072780"/>
                <a:gd name="connsiteX1151" fmla="*/ 1261211 w 12117871"/>
                <a:gd name="connsiteY1151" fmla="*/ 4561172 h 6072780"/>
                <a:gd name="connsiteX1152" fmla="*/ 1236038 w 12117871"/>
                <a:gd name="connsiteY1152" fmla="*/ 4569613 h 6072780"/>
                <a:gd name="connsiteX1153" fmla="*/ 1236038 w 12117871"/>
                <a:gd name="connsiteY1153" fmla="*/ 4539497 h 6072780"/>
                <a:gd name="connsiteX1154" fmla="*/ 1253073 w 12117871"/>
                <a:gd name="connsiteY1154" fmla="*/ 4533413 h 6072780"/>
                <a:gd name="connsiteX1155" fmla="*/ 1269272 w 12117871"/>
                <a:gd name="connsiteY1155" fmla="*/ 4526264 h 6072780"/>
                <a:gd name="connsiteX1156" fmla="*/ 1285395 w 12117871"/>
                <a:gd name="connsiteY1156" fmla="*/ 4517443 h 6072780"/>
                <a:gd name="connsiteX1157" fmla="*/ 1302202 w 12117871"/>
                <a:gd name="connsiteY1157" fmla="*/ 4506339 h 6072780"/>
                <a:gd name="connsiteX1158" fmla="*/ 956133 w 12117871"/>
                <a:gd name="connsiteY1158" fmla="*/ 4506339 h 6072780"/>
                <a:gd name="connsiteX1159" fmla="*/ 1027300 w 12117871"/>
                <a:gd name="connsiteY1159" fmla="*/ 4616927 h 6072780"/>
                <a:gd name="connsiteX1160" fmla="*/ 1007214 w 12117871"/>
                <a:gd name="connsiteY1160" fmla="*/ 4700506 h 6072780"/>
                <a:gd name="connsiteX1161" fmla="*/ 951017 w 12117871"/>
                <a:gd name="connsiteY1161" fmla="*/ 4729319 h 6072780"/>
                <a:gd name="connsiteX1162" fmla="*/ 898432 w 12117871"/>
                <a:gd name="connsiteY1162" fmla="*/ 4701785 h 6072780"/>
                <a:gd name="connsiteX1163" fmla="*/ 879549 w 12117871"/>
                <a:gd name="connsiteY1163" fmla="*/ 4622193 h 6072780"/>
                <a:gd name="connsiteX1164" fmla="*/ 899259 w 12117871"/>
                <a:gd name="connsiteY1164" fmla="*/ 4535679 h 6072780"/>
                <a:gd name="connsiteX1165" fmla="*/ 956133 w 12117871"/>
                <a:gd name="connsiteY1165" fmla="*/ 4506339 h 6072780"/>
                <a:gd name="connsiteX1166" fmla="*/ 779786 w 12117871"/>
                <a:gd name="connsiteY1166" fmla="*/ 4506339 h 6072780"/>
                <a:gd name="connsiteX1167" fmla="*/ 850953 w 12117871"/>
                <a:gd name="connsiteY1167" fmla="*/ 4616927 h 6072780"/>
                <a:gd name="connsiteX1168" fmla="*/ 830867 w 12117871"/>
                <a:gd name="connsiteY1168" fmla="*/ 4700506 h 6072780"/>
                <a:gd name="connsiteX1169" fmla="*/ 774670 w 12117871"/>
                <a:gd name="connsiteY1169" fmla="*/ 4729319 h 6072780"/>
                <a:gd name="connsiteX1170" fmla="*/ 722085 w 12117871"/>
                <a:gd name="connsiteY1170" fmla="*/ 4701785 h 6072780"/>
                <a:gd name="connsiteX1171" fmla="*/ 703202 w 12117871"/>
                <a:gd name="connsiteY1171" fmla="*/ 4622193 h 6072780"/>
                <a:gd name="connsiteX1172" fmla="*/ 722912 w 12117871"/>
                <a:gd name="connsiteY1172" fmla="*/ 4535679 h 6072780"/>
                <a:gd name="connsiteX1173" fmla="*/ 779786 w 12117871"/>
                <a:gd name="connsiteY1173" fmla="*/ 4506339 h 6072780"/>
                <a:gd name="connsiteX1174" fmla="*/ 629607 w 12117871"/>
                <a:gd name="connsiteY1174" fmla="*/ 4506339 h 6072780"/>
                <a:gd name="connsiteX1175" fmla="*/ 644513 w 12117871"/>
                <a:gd name="connsiteY1175" fmla="*/ 4506339 h 6072780"/>
                <a:gd name="connsiteX1176" fmla="*/ 644513 w 12117871"/>
                <a:gd name="connsiteY1176" fmla="*/ 4729319 h 6072780"/>
                <a:gd name="connsiteX1177" fmla="*/ 609225 w 12117871"/>
                <a:gd name="connsiteY1177" fmla="*/ 4729319 h 6072780"/>
                <a:gd name="connsiteX1178" fmla="*/ 609225 w 12117871"/>
                <a:gd name="connsiteY1178" fmla="*/ 4549536 h 6072780"/>
                <a:gd name="connsiteX1179" fmla="*/ 588616 w 12117871"/>
                <a:gd name="connsiteY1179" fmla="*/ 4561172 h 6072780"/>
                <a:gd name="connsiteX1180" fmla="*/ 563443 w 12117871"/>
                <a:gd name="connsiteY1180" fmla="*/ 4569613 h 6072780"/>
                <a:gd name="connsiteX1181" fmla="*/ 563443 w 12117871"/>
                <a:gd name="connsiteY1181" fmla="*/ 4539497 h 6072780"/>
                <a:gd name="connsiteX1182" fmla="*/ 580478 w 12117871"/>
                <a:gd name="connsiteY1182" fmla="*/ 4533413 h 6072780"/>
                <a:gd name="connsiteX1183" fmla="*/ 596677 w 12117871"/>
                <a:gd name="connsiteY1183" fmla="*/ 4526264 h 6072780"/>
                <a:gd name="connsiteX1184" fmla="*/ 612800 w 12117871"/>
                <a:gd name="connsiteY1184" fmla="*/ 4517443 h 6072780"/>
                <a:gd name="connsiteX1185" fmla="*/ 629607 w 12117871"/>
                <a:gd name="connsiteY1185" fmla="*/ 4506339 h 6072780"/>
                <a:gd name="connsiteX1186" fmla="*/ 480750 w 12117871"/>
                <a:gd name="connsiteY1186" fmla="*/ 4506339 h 6072780"/>
                <a:gd name="connsiteX1187" fmla="*/ 495656 w 12117871"/>
                <a:gd name="connsiteY1187" fmla="*/ 4506339 h 6072780"/>
                <a:gd name="connsiteX1188" fmla="*/ 495656 w 12117871"/>
                <a:gd name="connsiteY1188" fmla="*/ 4729319 h 6072780"/>
                <a:gd name="connsiteX1189" fmla="*/ 460368 w 12117871"/>
                <a:gd name="connsiteY1189" fmla="*/ 4729319 h 6072780"/>
                <a:gd name="connsiteX1190" fmla="*/ 460368 w 12117871"/>
                <a:gd name="connsiteY1190" fmla="*/ 4549536 h 6072780"/>
                <a:gd name="connsiteX1191" fmla="*/ 439759 w 12117871"/>
                <a:gd name="connsiteY1191" fmla="*/ 4561172 h 6072780"/>
                <a:gd name="connsiteX1192" fmla="*/ 414586 w 12117871"/>
                <a:gd name="connsiteY1192" fmla="*/ 4569613 h 6072780"/>
                <a:gd name="connsiteX1193" fmla="*/ 414586 w 12117871"/>
                <a:gd name="connsiteY1193" fmla="*/ 4539497 h 6072780"/>
                <a:gd name="connsiteX1194" fmla="*/ 431621 w 12117871"/>
                <a:gd name="connsiteY1194" fmla="*/ 4533413 h 6072780"/>
                <a:gd name="connsiteX1195" fmla="*/ 447821 w 12117871"/>
                <a:gd name="connsiteY1195" fmla="*/ 4526264 h 6072780"/>
                <a:gd name="connsiteX1196" fmla="*/ 463943 w 12117871"/>
                <a:gd name="connsiteY1196" fmla="*/ 4517443 h 6072780"/>
                <a:gd name="connsiteX1197" fmla="*/ 480750 w 12117871"/>
                <a:gd name="connsiteY1197" fmla="*/ 4506339 h 6072780"/>
                <a:gd name="connsiteX1198" fmla="*/ 142759 w 12117871"/>
                <a:gd name="connsiteY1198" fmla="*/ 4506339 h 6072780"/>
                <a:gd name="connsiteX1199" fmla="*/ 213926 w 12117871"/>
                <a:gd name="connsiteY1199" fmla="*/ 4616927 h 6072780"/>
                <a:gd name="connsiteX1200" fmla="*/ 193840 w 12117871"/>
                <a:gd name="connsiteY1200" fmla="*/ 4700506 h 6072780"/>
                <a:gd name="connsiteX1201" fmla="*/ 137643 w 12117871"/>
                <a:gd name="connsiteY1201" fmla="*/ 4729319 h 6072780"/>
                <a:gd name="connsiteX1202" fmla="*/ 85058 w 12117871"/>
                <a:gd name="connsiteY1202" fmla="*/ 4701785 h 6072780"/>
                <a:gd name="connsiteX1203" fmla="*/ 66175 w 12117871"/>
                <a:gd name="connsiteY1203" fmla="*/ 4622193 h 6072780"/>
                <a:gd name="connsiteX1204" fmla="*/ 85885 w 12117871"/>
                <a:gd name="connsiteY1204" fmla="*/ 4535679 h 6072780"/>
                <a:gd name="connsiteX1205" fmla="*/ 142759 w 12117871"/>
                <a:gd name="connsiteY1205" fmla="*/ 4506339 h 6072780"/>
                <a:gd name="connsiteX1206" fmla="*/ 11874294 w 12117871"/>
                <a:gd name="connsiteY1206" fmla="*/ 4186703 h 6072780"/>
                <a:gd name="connsiteX1207" fmla="*/ 11835024 w 12117871"/>
                <a:gd name="connsiteY1207" fmla="*/ 4273216 h 6072780"/>
                <a:gd name="connsiteX1208" fmla="*/ 11873542 w 12117871"/>
                <a:gd name="connsiteY1208" fmla="*/ 4354163 h 6072780"/>
                <a:gd name="connsiteX1209" fmla="*/ 11911457 w 12117871"/>
                <a:gd name="connsiteY1209" fmla="*/ 4271862 h 6072780"/>
                <a:gd name="connsiteX1210" fmla="*/ 11874294 w 12117871"/>
                <a:gd name="connsiteY1210" fmla="*/ 4186703 h 6072780"/>
                <a:gd name="connsiteX1211" fmla="*/ 11189148 w 12117871"/>
                <a:gd name="connsiteY1211" fmla="*/ 4186703 h 6072780"/>
                <a:gd name="connsiteX1212" fmla="*/ 11149878 w 12117871"/>
                <a:gd name="connsiteY1212" fmla="*/ 4273216 h 6072780"/>
                <a:gd name="connsiteX1213" fmla="*/ 11188396 w 12117871"/>
                <a:gd name="connsiteY1213" fmla="*/ 4354163 h 6072780"/>
                <a:gd name="connsiteX1214" fmla="*/ 11226311 w 12117871"/>
                <a:gd name="connsiteY1214" fmla="*/ 4271862 h 6072780"/>
                <a:gd name="connsiteX1215" fmla="*/ 11189148 w 12117871"/>
                <a:gd name="connsiteY1215" fmla="*/ 4186703 h 6072780"/>
                <a:gd name="connsiteX1216" fmla="*/ 9936214 w 12117871"/>
                <a:gd name="connsiteY1216" fmla="*/ 4186703 h 6072780"/>
                <a:gd name="connsiteX1217" fmla="*/ 9896944 w 12117871"/>
                <a:gd name="connsiteY1217" fmla="*/ 4273216 h 6072780"/>
                <a:gd name="connsiteX1218" fmla="*/ 9935462 w 12117871"/>
                <a:gd name="connsiteY1218" fmla="*/ 4354163 h 6072780"/>
                <a:gd name="connsiteX1219" fmla="*/ 9973377 w 12117871"/>
                <a:gd name="connsiteY1219" fmla="*/ 4271862 h 6072780"/>
                <a:gd name="connsiteX1220" fmla="*/ 9936214 w 12117871"/>
                <a:gd name="connsiteY1220" fmla="*/ 4186703 h 6072780"/>
                <a:gd name="connsiteX1221" fmla="*/ 9713703 w 12117871"/>
                <a:gd name="connsiteY1221" fmla="*/ 4186703 h 6072780"/>
                <a:gd name="connsiteX1222" fmla="*/ 9674433 w 12117871"/>
                <a:gd name="connsiteY1222" fmla="*/ 4273216 h 6072780"/>
                <a:gd name="connsiteX1223" fmla="*/ 9712951 w 12117871"/>
                <a:gd name="connsiteY1223" fmla="*/ 4354163 h 6072780"/>
                <a:gd name="connsiteX1224" fmla="*/ 9750866 w 12117871"/>
                <a:gd name="connsiteY1224" fmla="*/ 4271862 h 6072780"/>
                <a:gd name="connsiteX1225" fmla="*/ 9713703 w 12117871"/>
                <a:gd name="connsiteY1225" fmla="*/ 4186703 h 6072780"/>
                <a:gd name="connsiteX1226" fmla="*/ 6372301 w 12117871"/>
                <a:gd name="connsiteY1226" fmla="*/ 4186703 h 6072780"/>
                <a:gd name="connsiteX1227" fmla="*/ 6333031 w 12117871"/>
                <a:gd name="connsiteY1227" fmla="*/ 4273216 h 6072780"/>
                <a:gd name="connsiteX1228" fmla="*/ 6371549 w 12117871"/>
                <a:gd name="connsiteY1228" fmla="*/ 4354163 h 6072780"/>
                <a:gd name="connsiteX1229" fmla="*/ 6409464 w 12117871"/>
                <a:gd name="connsiteY1229" fmla="*/ 4271862 h 6072780"/>
                <a:gd name="connsiteX1230" fmla="*/ 6372301 w 12117871"/>
                <a:gd name="connsiteY1230" fmla="*/ 4186703 h 6072780"/>
                <a:gd name="connsiteX1231" fmla="*/ 5784617 w 12117871"/>
                <a:gd name="connsiteY1231" fmla="*/ 4186703 h 6072780"/>
                <a:gd name="connsiteX1232" fmla="*/ 5745350 w 12117871"/>
                <a:gd name="connsiteY1232" fmla="*/ 4273216 h 6072780"/>
                <a:gd name="connsiteX1233" fmla="*/ 5783865 w 12117871"/>
                <a:gd name="connsiteY1233" fmla="*/ 4354163 h 6072780"/>
                <a:gd name="connsiteX1234" fmla="*/ 5821781 w 12117871"/>
                <a:gd name="connsiteY1234" fmla="*/ 4271862 h 6072780"/>
                <a:gd name="connsiteX1235" fmla="*/ 5784617 w 12117871"/>
                <a:gd name="connsiteY1235" fmla="*/ 4186703 h 6072780"/>
                <a:gd name="connsiteX1236" fmla="*/ 5091629 w 12117871"/>
                <a:gd name="connsiteY1236" fmla="*/ 4186703 h 6072780"/>
                <a:gd name="connsiteX1237" fmla="*/ 5052358 w 12117871"/>
                <a:gd name="connsiteY1237" fmla="*/ 4273216 h 6072780"/>
                <a:gd name="connsiteX1238" fmla="*/ 5090877 w 12117871"/>
                <a:gd name="connsiteY1238" fmla="*/ 4354163 h 6072780"/>
                <a:gd name="connsiteX1239" fmla="*/ 5128792 w 12117871"/>
                <a:gd name="connsiteY1239" fmla="*/ 4271862 h 6072780"/>
                <a:gd name="connsiteX1240" fmla="*/ 5091629 w 12117871"/>
                <a:gd name="connsiteY1240" fmla="*/ 4186703 h 6072780"/>
                <a:gd name="connsiteX1241" fmla="*/ 3837392 w 12117871"/>
                <a:gd name="connsiteY1241" fmla="*/ 4186703 h 6072780"/>
                <a:gd name="connsiteX1242" fmla="*/ 3798122 w 12117871"/>
                <a:gd name="connsiteY1242" fmla="*/ 4273216 h 6072780"/>
                <a:gd name="connsiteX1243" fmla="*/ 3836640 w 12117871"/>
                <a:gd name="connsiteY1243" fmla="*/ 4354163 h 6072780"/>
                <a:gd name="connsiteX1244" fmla="*/ 3874555 w 12117871"/>
                <a:gd name="connsiteY1244" fmla="*/ 4271862 h 6072780"/>
                <a:gd name="connsiteX1245" fmla="*/ 3837392 w 12117871"/>
                <a:gd name="connsiteY1245" fmla="*/ 4186703 h 6072780"/>
                <a:gd name="connsiteX1246" fmla="*/ 3614881 w 12117871"/>
                <a:gd name="connsiteY1246" fmla="*/ 4186703 h 6072780"/>
                <a:gd name="connsiteX1247" fmla="*/ 3575611 w 12117871"/>
                <a:gd name="connsiteY1247" fmla="*/ 4273216 h 6072780"/>
                <a:gd name="connsiteX1248" fmla="*/ 3614130 w 12117871"/>
                <a:gd name="connsiteY1248" fmla="*/ 4354163 h 6072780"/>
                <a:gd name="connsiteX1249" fmla="*/ 3652044 w 12117871"/>
                <a:gd name="connsiteY1249" fmla="*/ 4271862 h 6072780"/>
                <a:gd name="connsiteX1250" fmla="*/ 3614881 w 12117871"/>
                <a:gd name="connsiteY1250" fmla="*/ 4186703 h 6072780"/>
                <a:gd name="connsiteX1251" fmla="*/ 10438235 w 12117871"/>
                <a:gd name="connsiteY1251" fmla="*/ 4158869 h 6072780"/>
                <a:gd name="connsiteX1252" fmla="*/ 10453141 w 12117871"/>
                <a:gd name="connsiteY1252" fmla="*/ 4158869 h 6072780"/>
                <a:gd name="connsiteX1253" fmla="*/ 10453141 w 12117871"/>
                <a:gd name="connsiteY1253" fmla="*/ 4381849 h 6072780"/>
                <a:gd name="connsiteX1254" fmla="*/ 10417853 w 12117871"/>
                <a:gd name="connsiteY1254" fmla="*/ 4381849 h 6072780"/>
                <a:gd name="connsiteX1255" fmla="*/ 10417853 w 12117871"/>
                <a:gd name="connsiteY1255" fmla="*/ 4202066 h 6072780"/>
                <a:gd name="connsiteX1256" fmla="*/ 10397244 w 12117871"/>
                <a:gd name="connsiteY1256" fmla="*/ 4213702 h 6072780"/>
                <a:gd name="connsiteX1257" fmla="*/ 10372071 w 12117871"/>
                <a:gd name="connsiteY1257" fmla="*/ 4222143 h 6072780"/>
                <a:gd name="connsiteX1258" fmla="*/ 10372071 w 12117871"/>
                <a:gd name="connsiteY1258" fmla="*/ 4192027 h 6072780"/>
                <a:gd name="connsiteX1259" fmla="*/ 10389106 w 12117871"/>
                <a:gd name="connsiteY1259" fmla="*/ 4185943 h 6072780"/>
                <a:gd name="connsiteX1260" fmla="*/ 10405305 w 12117871"/>
                <a:gd name="connsiteY1260" fmla="*/ 4178794 h 6072780"/>
                <a:gd name="connsiteX1261" fmla="*/ 10421428 w 12117871"/>
                <a:gd name="connsiteY1261" fmla="*/ 4169973 h 6072780"/>
                <a:gd name="connsiteX1262" fmla="*/ 10438235 w 12117871"/>
                <a:gd name="connsiteY1262" fmla="*/ 4158869 h 6072780"/>
                <a:gd name="connsiteX1263" fmla="*/ 12062430 w 12117871"/>
                <a:gd name="connsiteY1263" fmla="*/ 4158868 h 6072780"/>
                <a:gd name="connsiteX1264" fmla="*/ 12077336 w 12117871"/>
                <a:gd name="connsiteY1264" fmla="*/ 4158868 h 6072780"/>
                <a:gd name="connsiteX1265" fmla="*/ 12077336 w 12117871"/>
                <a:gd name="connsiteY1265" fmla="*/ 4381848 h 6072780"/>
                <a:gd name="connsiteX1266" fmla="*/ 12042048 w 12117871"/>
                <a:gd name="connsiteY1266" fmla="*/ 4381848 h 6072780"/>
                <a:gd name="connsiteX1267" fmla="*/ 12042048 w 12117871"/>
                <a:gd name="connsiteY1267" fmla="*/ 4202064 h 6072780"/>
                <a:gd name="connsiteX1268" fmla="*/ 12021439 w 12117871"/>
                <a:gd name="connsiteY1268" fmla="*/ 4213700 h 6072780"/>
                <a:gd name="connsiteX1269" fmla="*/ 11996266 w 12117871"/>
                <a:gd name="connsiteY1269" fmla="*/ 4222142 h 6072780"/>
                <a:gd name="connsiteX1270" fmla="*/ 11996266 w 12117871"/>
                <a:gd name="connsiteY1270" fmla="*/ 4192026 h 6072780"/>
                <a:gd name="connsiteX1271" fmla="*/ 12013301 w 12117871"/>
                <a:gd name="connsiteY1271" fmla="*/ 4185942 h 6072780"/>
                <a:gd name="connsiteX1272" fmla="*/ 12029500 w 12117871"/>
                <a:gd name="connsiteY1272" fmla="*/ 4178793 h 6072780"/>
                <a:gd name="connsiteX1273" fmla="*/ 12045623 w 12117871"/>
                <a:gd name="connsiteY1273" fmla="*/ 4169971 h 6072780"/>
                <a:gd name="connsiteX1274" fmla="*/ 12062430 w 12117871"/>
                <a:gd name="connsiteY1274" fmla="*/ 4158868 h 6072780"/>
                <a:gd name="connsiteX1275" fmla="*/ 11875949 w 12117871"/>
                <a:gd name="connsiteY1275" fmla="*/ 4158868 h 6072780"/>
                <a:gd name="connsiteX1276" fmla="*/ 11947116 w 12117871"/>
                <a:gd name="connsiteY1276" fmla="*/ 4269455 h 6072780"/>
                <a:gd name="connsiteX1277" fmla="*/ 11927030 w 12117871"/>
                <a:gd name="connsiteY1277" fmla="*/ 4353035 h 6072780"/>
                <a:gd name="connsiteX1278" fmla="*/ 11870833 w 12117871"/>
                <a:gd name="connsiteY1278" fmla="*/ 4381848 h 6072780"/>
                <a:gd name="connsiteX1279" fmla="*/ 11818248 w 12117871"/>
                <a:gd name="connsiteY1279" fmla="*/ 4354314 h 6072780"/>
                <a:gd name="connsiteX1280" fmla="*/ 11799365 w 12117871"/>
                <a:gd name="connsiteY1280" fmla="*/ 4274721 h 6072780"/>
                <a:gd name="connsiteX1281" fmla="*/ 11819075 w 12117871"/>
                <a:gd name="connsiteY1281" fmla="*/ 4188207 h 6072780"/>
                <a:gd name="connsiteX1282" fmla="*/ 11875949 w 12117871"/>
                <a:gd name="connsiteY1282" fmla="*/ 4158868 h 6072780"/>
                <a:gd name="connsiteX1283" fmla="*/ 11190803 w 12117871"/>
                <a:gd name="connsiteY1283" fmla="*/ 4158868 h 6072780"/>
                <a:gd name="connsiteX1284" fmla="*/ 11261970 w 12117871"/>
                <a:gd name="connsiteY1284" fmla="*/ 4269455 h 6072780"/>
                <a:gd name="connsiteX1285" fmla="*/ 11241884 w 12117871"/>
                <a:gd name="connsiteY1285" fmla="*/ 4353035 h 6072780"/>
                <a:gd name="connsiteX1286" fmla="*/ 11185687 w 12117871"/>
                <a:gd name="connsiteY1286" fmla="*/ 4381848 h 6072780"/>
                <a:gd name="connsiteX1287" fmla="*/ 11133102 w 12117871"/>
                <a:gd name="connsiteY1287" fmla="*/ 4354314 h 6072780"/>
                <a:gd name="connsiteX1288" fmla="*/ 11114219 w 12117871"/>
                <a:gd name="connsiteY1288" fmla="*/ 4274721 h 6072780"/>
                <a:gd name="connsiteX1289" fmla="*/ 11133929 w 12117871"/>
                <a:gd name="connsiteY1289" fmla="*/ 4188207 h 6072780"/>
                <a:gd name="connsiteX1290" fmla="*/ 11190803 w 12117871"/>
                <a:gd name="connsiteY1290" fmla="*/ 4158868 h 6072780"/>
                <a:gd name="connsiteX1291" fmla="*/ 10143427 w 12117871"/>
                <a:gd name="connsiteY1291" fmla="*/ 4158868 h 6072780"/>
                <a:gd name="connsiteX1292" fmla="*/ 10158333 w 12117871"/>
                <a:gd name="connsiteY1292" fmla="*/ 4158868 h 6072780"/>
                <a:gd name="connsiteX1293" fmla="*/ 10158333 w 12117871"/>
                <a:gd name="connsiteY1293" fmla="*/ 4381848 h 6072780"/>
                <a:gd name="connsiteX1294" fmla="*/ 10123045 w 12117871"/>
                <a:gd name="connsiteY1294" fmla="*/ 4381848 h 6072780"/>
                <a:gd name="connsiteX1295" fmla="*/ 10123045 w 12117871"/>
                <a:gd name="connsiteY1295" fmla="*/ 4202064 h 6072780"/>
                <a:gd name="connsiteX1296" fmla="*/ 10102436 w 12117871"/>
                <a:gd name="connsiteY1296" fmla="*/ 4213700 h 6072780"/>
                <a:gd name="connsiteX1297" fmla="*/ 10077263 w 12117871"/>
                <a:gd name="connsiteY1297" fmla="*/ 4222142 h 6072780"/>
                <a:gd name="connsiteX1298" fmla="*/ 10077263 w 12117871"/>
                <a:gd name="connsiteY1298" fmla="*/ 4192026 h 6072780"/>
                <a:gd name="connsiteX1299" fmla="*/ 10094298 w 12117871"/>
                <a:gd name="connsiteY1299" fmla="*/ 4185942 h 6072780"/>
                <a:gd name="connsiteX1300" fmla="*/ 10110497 w 12117871"/>
                <a:gd name="connsiteY1300" fmla="*/ 4178793 h 6072780"/>
                <a:gd name="connsiteX1301" fmla="*/ 10126620 w 12117871"/>
                <a:gd name="connsiteY1301" fmla="*/ 4169971 h 6072780"/>
                <a:gd name="connsiteX1302" fmla="*/ 10143427 w 12117871"/>
                <a:gd name="connsiteY1302" fmla="*/ 4158868 h 6072780"/>
                <a:gd name="connsiteX1303" fmla="*/ 9937869 w 12117871"/>
                <a:gd name="connsiteY1303" fmla="*/ 4158868 h 6072780"/>
                <a:gd name="connsiteX1304" fmla="*/ 10009036 w 12117871"/>
                <a:gd name="connsiteY1304" fmla="*/ 4269455 h 6072780"/>
                <a:gd name="connsiteX1305" fmla="*/ 9988950 w 12117871"/>
                <a:gd name="connsiteY1305" fmla="*/ 4353035 h 6072780"/>
                <a:gd name="connsiteX1306" fmla="*/ 9932753 w 12117871"/>
                <a:gd name="connsiteY1306" fmla="*/ 4381848 h 6072780"/>
                <a:gd name="connsiteX1307" fmla="*/ 9880168 w 12117871"/>
                <a:gd name="connsiteY1307" fmla="*/ 4354314 h 6072780"/>
                <a:gd name="connsiteX1308" fmla="*/ 9861285 w 12117871"/>
                <a:gd name="connsiteY1308" fmla="*/ 4274721 h 6072780"/>
                <a:gd name="connsiteX1309" fmla="*/ 9880995 w 12117871"/>
                <a:gd name="connsiteY1309" fmla="*/ 4188207 h 6072780"/>
                <a:gd name="connsiteX1310" fmla="*/ 9937869 w 12117871"/>
                <a:gd name="connsiteY1310" fmla="*/ 4158868 h 6072780"/>
                <a:gd name="connsiteX1311" fmla="*/ 9715358 w 12117871"/>
                <a:gd name="connsiteY1311" fmla="*/ 4158868 h 6072780"/>
                <a:gd name="connsiteX1312" fmla="*/ 9786525 w 12117871"/>
                <a:gd name="connsiteY1312" fmla="*/ 4269455 h 6072780"/>
                <a:gd name="connsiteX1313" fmla="*/ 9766439 w 12117871"/>
                <a:gd name="connsiteY1313" fmla="*/ 4353035 h 6072780"/>
                <a:gd name="connsiteX1314" fmla="*/ 9710242 w 12117871"/>
                <a:gd name="connsiteY1314" fmla="*/ 4381848 h 6072780"/>
                <a:gd name="connsiteX1315" fmla="*/ 9657657 w 12117871"/>
                <a:gd name="connsiteY1315" fmla="*/ 4354314 h 6072780"/>
                <a:gd name="connsiteX1316" fmla="*/ 9638774 w 12117871"/>
                <a:gd name="connsiteY1316" fmla="*/ 4274721 h 6072780"/>
                <a:gd name="connsiteX1317" fmla="*/ 9658484 w 12117871"/>
                <a:gd name="connsiteY1317" fmla="*/ 4188207 h 6072780"/>
                <a:gd name="connsiteX1318" fmla="*/ 9715358 w 12117871"/>
                <a:gd name="connsiteY1318" fmla="*/ 4158868 h 6072780"/>
                <a:gd name="connsiteX1319" fmla="*/ 9557012 w 12117871"/>
                <a:gd name="connsiteY1319" fmla="*/ 4158868 h 6072780"/>
                <a:gd name="connsiteX1320" fmla="*/ 9571918 w 12117871"/>
                <a:gd name="connsiteY1320" fmla="*/ 4158868 h 6072780"/>
                <a:gd name="connsiteX1321" fmla="*/ 9571918 w 12117871"/>
                <a:gd name="connsiteY1321" fmla="*/ 4381848 h 6072780"/>
                <a:gd name="connsiteX1322" fmla="*/ 9536630 w 12117871"/>
                <a:gd name="connsiteY1322" fmla="*/ 4381848 h 6072780"/>
                <a:gd name="connsiteX1323" fmla="*/ 9536630 w 12117871"/>
                <a:gd name="connsiteY1323" fmla="*/ 4202064 h 6072780"/>
                <a:gd name="connsiteX1324" fmla="*/ 9516021 w 12117871"/>
                <a:gd name="connsiteY1324" fmla="*/ 4213700 h 6072780"/>
                <a:gd name="connsiteX1325" fmla="*/ 9490848 w 12117871"/>
                <a:gd name="connsiteY1325" fmla="*/ 4222142 h 6072780"/>
                <a:gd name="connsiteX1326" fmla="*/ 9490848 w 12117871"/>
                <a:gd name="connsiteY1326" fmla="*/ 4192026 h 6072780"/>
                <a:gd name="connsiteX1327" fmla="*/ 9507883 w 12117871"/>
                <a:gd name="connsiteY1327" fmla="*/ 4185942 h 6072780"/>
                <a:gd name="connsiteX1328" fmla="*/ 9524082 w 12117871"/>
                <a:gd name="connsiteY1328" fmla="*/ 4178793 h 6072780"/>
                <a:gd name="connsiteX1329" fmla="*/ 9540205 w 12117871"/>
                <a:gd name="connsiteY1329" fmla="*/ 4169971 h 6072780"/>
                <a:gd name="connsiteX1330" fmla="*/ 9557012 w 12117871"/>
                <a:gd name="connsiteY1330" fmla="*/ 4158868 h 6072780"/>
                <a:gd name="connsiteX1331" fmla="*/ 9254256 w 12117871"/>
                <a:gd name="connsiteY1331" fmla="*/ 4158868 h 6072780"/>
                <a:gd name="connsiteX1332" fmla="*/ 9269162 w 12117871"/>
                <a:gd name="connsiteY1332" fmla="*/ 4158868 h 6072780"/>
                <a:gd name="connsiteX1333" fmla="*/ 9269162 w 12117871"/>
                <a:gd name="connsiteY1333" fmla="*/ 4381848 h 6072780"/>
                <a:gd name="connsiteX1334" fmla="*/ 9233874 w 12117871"/>
                <a:gd name="connsiteY1334" fmla="*/ 4381848 h 6072780"/>
                <a:gd name="connsiteX1335" fmla="*/ 9233874 w 12117871"/>
                <a:gd name="connsiteY1335" fmla="*/ 4202064 h 6072780"/>
                <a:gd name="connsiteX1336" fmla="*/ 9213265 w 12117871"/>
                <a:gd name="connsiteY1336" fmla="*/ 4213700 h 6072780"/>
                <a:gd name="connsiteX1337" fmla="*/ 9188092 w 12117871"/>
                <a:gd name="connsiteY1337" fmla="*/ 4222142 h 6072780"/>
                <a:gd name="connsiteX1338" fmla="*/ 9188092 w 12117871"/>
                <a:gd name="connsiteY1338" fmla="*/ 4192026 h 6072780"/>
                <a:gd name="connsiteX1339" fmla="*/ 9205127 w 12117871"/>
                <a:gd name="connsiteY1339" fmla="*/ 4185942 h 6072780"/>
                <a:gd name="connsiteX1340" fmla="*/ 9221326 w 12117871"/>
                <a:gd name="connsiteY1340" fmla="*/ 4178793 h 6072780"/>
                <a:gd name="connsiteX1341" fmla="*/ 9237449 w 12117871"/>
                <a:gd name="connsiteY1341" fmla="*/ 4169971 h 6072780"/>
                <a:gd name="connsiteX1342" fmla="*/ 9254256 w 12117871"/>
                <a:gd name="connsiteY1342" fmla="*/ 4158868 h 6072780"/>
                <a:gd name="connsiteX1343" fmla="*/ 8744915 w 12117871"/>
                <a:gd name="connsiteY1343" fmla="*/ 4158868 h 6072780"/>
                <a:gd name="connsiteX1344" fmla="*/ 8759821 w 12117871"/>
                <a:gd name="connsiteY1344" fmla="*/ 4158868 h 6072780"/>
                <a:gd name="connsiteX1345" fmla="*/ 8759821 w 12117871"/>
                <a:gd name="connsiteY1345" fmla="*/ 4381848 h 6072780"/>
                <a:gd name="connsiteX1346" fmla="*/ 8724533 w 12117871"/>
                <a:gd name="connsiteY1346" fmla="*/ 4381848 h 6072780"/>
                <a:gd name="connsiteX1347" fmla="*/ 8724533 w 12117871"/>
                <a:gd name="connsiteY1347" fmla="*/ 4202065 h 6072780"/>
                <a:gd name="connsiteX1348" fmla="*/ 8703924 w 12117871"/>
                <a:gd name="connsiteY1348" fmla="*/ 4213701 h 6072780"/>
                <a:gd name="connsiteX1349" fmla="*/ 8678751 w 12117871"/>
                <a:gd name="connsiteY1349" fmla="*/ 4222142 h 6072780"/>
                <a:gd name="connsiteX1350" fmla="*/ 8678751 w 12117871"/>
                <a:gd name="connsiteY1350" fmla="*/ 4192026 h 6072780"/>
                <a:gd name="connsiteX1351" fmla="*/ 8695786 w 12117871"/>
                <a:gd name="connsiteY1351" fmla="*/ 4185942 h 6072780"/>
                <a:gd name="connsiteX1352" fmla="*/ 8711985 w 12117871"/>
                <a:gd name="connsiteY1352" fmla="*/ 4178793 h 6072780"/>
                <a:gd name="connsiteX1353" fmla="*/ 8728108 w 12117871"/>
                <a:gd name="connsiteY1353" fmla="*/ 4169972 h 6072780"/>
                <a:gd name="connsiteX1354" fmla="*/ 8744915 w 12117871"/>
                <a:gd name="connsiteY1354" fmla="*/ 4158868 h 6072780"/>
                <a:gd name="connsiteX1355" fmla="*/ 7851748 w 12117871"/>
                <a:gd name="connsiteY1355" fmla="*/ 4158868 h 6072780"/>
                <a:gd name="connsiteX1356" fmla="*/ 7866654 w 12117871"/>
                <a:gd name="connsiteY1356" fmla="*/ 4158868 h 6072780"/>
                <a:gd name="connsiteX1357" fmla="*/ 7866654 w 12117871"/>
                <a:gd name="connsiteY1357" fmla="*/ 4381848 h 6072780"/>
                <a:gd name="connsiteX1358" fmla="*/ 7831366 w 12117871"/>
                <a:gd name="connsiteY1358" fmla="*/ 4381848 h 6072780"/>
                <a:gd name="connsiteX1359" fmla="*/ 7831366 w 12117871"/>
                <a:gd name="connsiteY1359" fmla="*/ 4202064 h 6072780"/>
                <a:gd name="connsiteX1360" fmla="*/ 7810757 w 12117871"/>
                <a:gd name="connsiteY1360" fmla="*/ 4213700 h 6072780"/>
                <a:gd name="connsiteX1361" fmla="*/ 7785584 w 12117871"/>
                <a:gd name="connsiteY1361" fmla="*/ 4222142 h 6072780"/>
                <a:gd name="connsiteX1362" fmla="*/ 7785584 w 12117871"/>
                <a:gd name="connsiteY1362" fmla="*/ 4192026 h 6072780"/>
                <a:gd name="connsiteX1363" fmla="*/ 7802619 w 12117871"/>
                <a:gd name="connsiteY1363" fmla="*/ 4185942 h 6072780"/>
                <a:gd name="connsiteX1364" fmla="*/ 7818818 w 12117871"/>
                <a:gd name="connsiteY1364" fmla="*/ 4178793 h 6072780"/>
                <a:gd name="connsiteX1365" fmla="*/ 7834941 w 12117871"/>
                <a:gd name="connsiteY1365" fmla="*/ 4169971 h 6072780"/>
                <a:gd name="connsiteX1366" fmla="*/ 7851748 w 12117871"/>
                <a:gd name="connsiteY1366" fmla="*/ 4158868 h 6072780"/>
                <a:gd name="connsiteX1367" fmla="*/ 7413731 w 12117871"/>
                <a:gd name="connsiteY1367" fmla="*/ 4158868 h 6072780"/>
                <a:gd name="connsiteX1368" fmla="*/ 7428637 w 12117871"/>
                <a:gd name="connsiteY1368" fmla="*/ 4158868 h 6072780"/>
                <a:gd name="connsiteX1369" fmla="*/ 7428637 w 12117871"/>
                <a:gd name="connsiteY1369" fmla="*/ 4381848 h 6072780"/>
                <a:gd name="connsiteX1370" fmla="*/ 7393349 w 12117871"/>
                <a:gd name="connsiteY1370" fmla="*/ 4381848 h 6072780"/>
                <a:gd name="connsiteX1371" fmla="*/ 7393349 w 12117871"/>
                <a:gd name="connsiteY1371" fmla="*/ 4202064 h 6072780"/>
                <a:gd name="connsiteX1372" fmla="*/ 7372740 w 12117871"/>
                <a:gd name="connsiteY1372" fmla="*/ 4213700 h 6072780"/>
                <a:gd name="connsiteX1373" fmla="*/ 7347567 w 12117871"/>
                <a:gd name="connsiteY1373" fmla="*/ 4222142 h 6072780"/>
                <a:gd name="connsiteX1374" fmla="*/ 7347567 w 12117871"/>
                <a:gd name="connsiteY1374" fmla="*/ 4192026 h 6072780"/>
                <a:gd name="connsiteX1375" fmla="*/ 7364602 w 12117871"/>
                <a:gd name="connsiteY1375" fmla="*/ 4185942 h 6072780"/>
                <a:gd name="connsiteX1376" fmla="*/ 7380801 w 12117871"/>
                <a:gd name="connsiteY1376" fmla="*/ 4178793 h 6072780"/>
                <a:gd name="connsiteX1377" fmla="*/ 7396924 w 12117871"/>
                <a:gd name="connsiteY1377" fmla="*/ 4169971 h 6072780"/>
                <a:gd name="connsiteX1378" fmla="*/ 7413731 w 12117871"/>
                <a:gd name="connsiteY1378" fmla="*/ 4158868 h 6072780"/>
                <a:gd name="connsiteX1379" fmla="*/ 7015147 w 12117871"/>
                <a:gd name="connsiteY1379" fmla="*/ 4158868 h 6072780"/>
                <a:gd name="connsiteX1380" fmla="*/ 7030053 w 12117871"/>
                <a:gd name="connsiteY1380" fmla="*/ 4158868 h 6072780"/>
                <a:gd name="connsiteX1381" fmla="*/ 7030053 w 12117871"/>
                <a:gd name="connsiteY1381" fmla="*/ 4381848 h 6072780"/>
                <a:gd name="connsiteX1382" fmla="*/ 6994765 w 12117871"/>
                <a:gd name="connsiteY1382" fmla="*/ 4381848 h 6072780"/>
                <a:gd name="connsiteX1383" fmla="*/ 6994765 w 12117871"/>
                <a:gd name="connsiteY1383" fmla="*/ 4202064 h 6072780"/>
                <a:gd name="connsiteX1384" fmla="*/ 6974156 w 12117871"/>
                <a:gd name="connsiteY1384" fmla="*/ 4213700 h 6072780"/>
                <a:gd name="connsiteX1385" fmla="*/ 6948983 w 12117871"/>
                <a:gd name="connsiteY1385" fmla="*/ 4222142 h 6072780"/>
                <a:gd name="connsiteX1386" fmla="*/ 6948983 w 12117871"/>
                <a:gd name="connsiteY1386" fmla="*/ 4192026 h 6072780"/>
                <a:gd name="connsiteX1387" fmla="*/ 6966018 w 12117871"/>
                <a:gd name="connsiteY1387" fmla="*/ 4185942 h 6072780"/>
                <a:gd name="connsiteX1388" fmla="*/ 6982217 w 12117871"/>
                <a:gd name="connsiteY1388" fmla="*/ 4178793 h 6072780"/>
                <a:gd name="connsiteX1389" fmla="*/ 6998340 w 12117871"/>
                <a:gd name="connsiteY1389" fmla="*/ 4169971 h 6072780"/>
                <a:gd name="connsiteX1390" fmla="*/ 7015147 w 12117871"/>
                <a:gd name="connsiteY1390" fmla="*/ 4158868 h 6072780"/>
                <a:gd name="connsiteX1391" fmla="*/ 6727931 w 12117871"/>
                <a:gd name="connsiteY1391" fmla="*/ 4158868 h 6072780"/>
                <a:gd name="connsiteX1392" fmla="*/ 6742837 w 12117871"/>
                <a:gd name="connsiteY1392" fmla="*/ 4158868 h 6072780"/>
                <a:gd name="connsiteX1393" fmla="*/ 6742837 w 12117871"/>
                <a:gd name="connsiteY1393" fmla="*/ 4381848 h 6072780"/>
                <a:gd name="connsiteX1394" fmla="*/ 6707549 w 12117871"/>
                <a:gd name="connsiteY1394" fmla="*/ 4381848 h 6072780"/>
                <a:gd name="connsiteX1395" fmla="*/ 6707549 w 12117871"/>
                <a:gd name="connsiteY1395" fmla="*/ 4202064 h 6072780"/>
                <a:gd name="connsiteX1396" fmla="*/ 6686940 w 12117871"/>
                <a:gd name="connsiteY1396" fmla="*/ 4213700 h 6072780"/>
                <a:gd name="connsiteX1397" fmla="*/ 6661767 w 12117871"/>
                <a:gd name="connsiteY1397" fmla="*/ 4222142 h 6072780"/>
                <a:gd name="connsiteX1398" fmla="*/ 6661767 w 12117871"/>
                <a:gd name="connsiteY1398" fmla="*/ 4192026 h 6072780"/>
                <a:gd name="connsiteX1399" fmla="*/ 6678802 w 12117871"/>
                <a:gd name="connsiteY1399" fmla="*/ 4185942 h 6072780"/>
                <a:gd name="connsiteX1400" fmla="*/ 6695001 w 12117871"/>
                <a:gd name="connsiteY1400" fmla="*/ 4178793 h 6072780"/>
                <a:gd name="connsiteX1401" fmla="*/ 6711124 w 12117871"/>
                <a:gd name="connsiteY1401" fmla="*/ 4169971 h 6072780"/>
                <a:gd name="connsiteX1402" fmla="*/ 6727931 w 12117871"/>
                <a:gd name="connsiteY1402" fmla="*/ 4158868 h 6072780"/>
                <a:gd name="connsiteX1403" fmla="*/ 6584323 w 12117871"/>
                <a:gd name="connsiteY1403" fmla="*/ 4158868 h 6072780"/>
                <a:gd name="connsiteX1404" fmla="*/ 6599229 w 12117871"/>
                <a:gd name="connsiteY1404" fmla="*/ 4158868 h 6072780"/>
                <a:gd name="connsiteX1405" fmla="*/ 6599229 w 12117871"/>
                <a:gd name="connsiteY1405" fmla="*/ 4381848 h 6072780"/>
                <a:gd name="connsiteX1406" fmla="*/ 6563941 w 12117871"/>
                <a:gd name="connsiteY1406" fmla="*/ 4381848 h 6072780"/>
                <a:gd name="connsiteX1407" fmla="*/ 6563941 w 12117871"/>
                <a:gd name="connsiteY1407" fmla="*/ 4202064 h 6072780"/>
                <a:gd name="connsiteX1408" fmla="*/ 6543332 w 12117871"/>
                <a:gd name="connsiteY1408" fmla="*/ 4213700 h 6072780"/>
                <a:gd name="connsiteX1409" fmla="*/ 6518159 w 12117871"/>
                <a:gd name="connsiteY1409" fmla="*/ 4222142 h 6072780"/>
                <a:gd name="connsiteX1410" fmla="*/ 6518159 w 12117871"/>
                <a:gd name="connsiteY1410" fmla="*/ 4192026 h 6072780"/>
                <a:gd name="connsiteX1411" fmla="*/ 6535194 w 12117871"/>
                <a:gd name="connsiteY1411" fmla="*/ 4185942 h 6072780"/>
                <a:gd name="connsiteX1412" fmla="*/ 6551393 w 12117871"/>
                <a:gd name="connsiteY1412" fmla="*/ 4178793 h 6072780"/>
                <a:gd name="connsiteX1413" fmla="*/ 6567516 w 12117871"/>
                <a:gd name="connsiteY1413" fmla="*/ 4169971 h 6072780"/>
                <a:gd name="connsiteX1414" fmla="*/ 6584323 w 12117871"/>
                <a:gd name="connsiteY1414" fmla="*/ 4158868 h 6072780"/>
                <a:gd name="connsiteX1415" fmla="*/ 6373956 w 12117871"/>
                <a:gd name="connsiteY1415" fmla="*/ 4158868 h 6072780"/>
                <a:gd name="connsiteX1416" fmla="*/ 6445123 w 12117871"/>
                <a:gd name="connsiteY1416" fmla="*/ 4269455 h 6072780"/>
                <a:gd name="connsiteX1417" fmla="*/ 6425037 w 12117871"/>
                <a:gd name="connsiteY1417" fmla="*/ 4353035 h 6072780"/>
                <a:gd name="connsiteX1418" fmla="*/ 6368840 w 12117871"/>
                <a:gd name="connsiteY1418" fmla="*/ 4381848 h 6072780"/>
                <a:gd name="connsiteX1419" fmla="*/ 6316255 w 12117871"/>
                <a:gd name="connsiteY1419" fmla="*/ 4354314 h 6072780"/>
                <a:gd name="connsiteX1420" fmla="*/ 6297372 w 12117871"/>
                <a:gd name="connsiteY1420" fmla="*/ 4274721 h 6072780"/>
                <a:gd name="connsiteX1421" fmla="*/ 6317082 w 12117871"/>
                <a:gd name="connsiteY1421" fmla="*/ 4188207 h 6072780"/>
                <a:gd name="connsiteX1422" fmla="*/ 6373956 w 12117871"/>
                <a:gd name="connsiteY1422" fmla="*/ 4158868 h 6072780"/>
                <a:gd name="connsiteX1423" fmla="*/ 5975659 w 12117871"/>
                <a:gd name="connsiteY1423" fmla="*/ 4158868 h 6072780"/>
                <a:gd name="connsiteX1424" fmla="*/ 5990568 w 12117871"/>
                <a:gd name="connsiteY1424" fmla="*/ 4158868 h 6072780"/>
                <a:gd name="connsiteX1425" fmla="*/ 5990568 w 12117871"/>
                <a:gd name="connsiteY1425" fmla="*/ 4381848 h 6072780"/>
                <a:gd name="connsiteX1426" fmla="*/ 5955278 w 12117871"/>
                <a:gd name="connsiteY1426" fmla="*/ 4381848 h 6072780"/>
                <a:gd name="connsiteX1427" fmla="*/ 5955278 w 12117871"/>
                <a:gd name="connsiteY1427" fmla="*/ 4202064 h 6072780"/>
                <a:gd name="connsiteX1428" fmla="*/ 5934669 w 12117871"/>
                <a:gd name="connsiteY1428" fmla="*/ 4213700 h 6072780"/>
                <a:gd name="connsiteX1429" fmla="*/ 5909498 w 12117871"/>
                <a:gd name="connsiteY1429" fmla="*/ 4222142 h 6072780"/>
                <a:gd name="connsiteX1430" fmla="*/ 5909498 w 12117871"/>
                <a:gd name="connsiteY1430" fmla="*/ 4192026 h 6072780"/>
                <a:gd name="connsiteX1431" fmla="*/ 5926531 w 12117871"/>
                <a:gd name="connsiteY1431" fmla="*/ 4185942 h 6072780"/>
                <a:gd name="connsiteX1432" fmla="*/ 5942730 w 12117871"/>
                <a:gd name="connsiteY1432" fmla="*/ 4178793 h 6072780"/>
                <a:gd name="connsiteX1433" fmla="*/ 5958852 w 12117871"/>
                <a:gd name="connsiteY1433" fmla="*/ 4169971 h 6072780"/>
                <a:gd name="connsiteX1434" fmla="*/ 5975659 w 12117871"/>
                <a:gd name="connsiteY1434" fmla="*/ 4158868 h 6072780"/>
                <a:gd name="connsiteX1435" fmla="*/ 5786272 w 12117871"/>
                <a:gd name="connsiteY1435" fmla="*/ 4158868 h 6072780"/>
                <a:gd name="connsiteX1436" fmla="*/ 5857440 w 12117871"/>
                <a:gd name="connsiteY1436" fmla="*/ 4269455 h 6072780"/>
                <a:gd name="connsiteX1437" fmla="*/ 5837355 w 12117871"/>
                <a:gd name="connsiteY1437" fmla="*/ 4353035 h 6072780"/>
                <a:gd name="connsiteX1438" fmla="*/ 5781158 w 12117871"/>
                <a:gd name="connsiteY1438" fmla="*/ 4381848 h 6072780"/>
                <a:gd name="connsiteX1439" fmla="*/ 5728572 w 12117871"/>
                <a:gd name="connsiteY1439" fmla="*/ 4354314 h 6072780"/>
                <a:gd name="connsiteX1440" fmla="*/ 5709690 w 12117871"/>
                <a:gd name="connsiteY1440" fmla="*/ 4274721 h 6072780"/>
                <a:gd name="connsiteX1441" fmla="*/ 5729400 w 12117871"/>
                <a:gd name="connsiteY1441" fmla="*/ 4188207 h 6072780"/>
                <a:gd name="connsiteX1442" fmla="*/ 5786272 w 12117871"/>
                <a:gd name="connsiteY1442" fmla="*/ 4158868 h 6072780"/>
                <a:gd name="connsiteX1443" fmla="*/ 5093284 w 12117871"/>
                <a:gd name="connsiteY1443" fmla="*/ 4158868 h 6072780"/>
                <a:gd name="connsiteX1444" fmla="*/ 5164451 w 12117871"/>
                <a:gd name="connsiteY1444" fmla="*/ 4269455 h 6072780"/>
                <a:gd name="connsiteX1445" fmla="*/ 5144364 w 12117871"/>
                <a:gd name="connsiteY1445" fmla="*/ 4353035 h 6072780"/>
                <a:gd name="connsiteX1446" fmla="*/ 5088168 w 12117871"/>
                <a:gd name="connsiteY1446" fmla="*/ 4381848 h 6072780"/>
                <a:gd name="connsiteX1447" fmla="*/ 5035583 w 12117871"/>
                <a:gd name="connsiteY1447" fmla="*/ 4354314 h 6072780"/>
                <a:gd name="connsiteX1448" fmla="*/ 5016700 w 12117871"/>
                <a:gd name="connsiteY1448" fmla="*/ 4274721 h 6072780"/>
                <a:gd name="connsiteX1449" fmla="*/ 5036410 w 12117871"/>
                <a:gd name="connsiteY1449" fmla="*/ 4188207 h 6072780"/>
                <a:gd name="connsiteX1450" fmla="*/ 5093284 w 12117871"/>
                <a:gd name="connsiteY1450" fmla="*/ 4158868 h 6072780"/>
                <a:gd name="connsiteX1451" fmla="*/ 4694968 w 12117871"/>
                <a:gd name="connsiteY1451" fmla="*/ 4158868 h 6072780"/>
                <a:gd name="connsiteX1452" fmla="*/ 4709876 w 12117871"/>
                <a:gd name="connsiteY1452" fmla="*/ 4158868 h 6072780"/>
                <a:gd name="connsiteX1453" fmla="*/ 4709876 w 12117871"/>
                <a:gd name="connsiteY1453" fmla="*/ 4381848 h 6072780"/>
                <a:gd name="connsiteX1454" fmla="*/ 4674589 w 12117871"/>
                <a:gd name="connsiteY1454" fmla="*/ 4381848 h 6072780"/>
                <a:gd name="connsiteX1455" fmla="*/ 4674589 w 12117871"/>
                <a:gd name="connsiteY1455" fmla="*/ 4202064 h 6072780"/>
                <a:gd name="connsiteX1456" fmla="*/ 4653978 w 12117871"/>
                <a:gd name="connsiteY1456" fmla="*/ 4213700 h 6072780"/>
                <a:gd name="connsiteX1457" fmla="*/ 4628805 w 12117871"/>
                <a:gd name="connsiteY1457" fmla="*/ 4222142 h 6072780"/>
                <a:gd name="connsiteX1458" fmla="*/ 4628805 w 12117871"/>
                <a:gd name="connsiteY1458" fmla="*/ 4192026 h 6072780"/>
                <a:gd name="connsiteX1459" fmla="*/ 4645841 w 12117871"/>
                <a:gd name="connsiteY1459" fmla="*/ 4185942 h 6072780"/>
                <a:gd name="connsiteX1460" fmla="*/ 4662040 w 12117871"/>
                <a:gd name="connsiteY1460" fmla="*/ 4178793 h 6072780"/>
                <a:gd name="connsiteX1461" fmla="*/ 4678162 w 12117871"/>
                <a:gd name="connsiteY1461" fmla="*/ 4169971 h 6072780"/>
                <a:gd name="connsiteX1462" fmla="*/ 4694968 w 12117871"/>
                <a:gd name="connsiteY1462" fmla="*/ 4158868 h 6072780"/>
                <a:gd name="connsiteX1463" fmla="*/ 4345906 w 12117871"/>
                <a:gd name="connsiteY1463" fmla="*/ 4158868 h 6072780"/>
                <a:gd name="connsiteX1464" fmla="*/ 4360813 w 12117871"/>
                <a:gd name="connsiteY1464" fmla="*/ 4158868 h 6072780"/>
                <a:gd name="connsiteX1465" fmla="*/ 4360813 w 12117871"/>
                <a:gd name="connsiteY1465" fmla="*/ 4381848 h 6072780"/>
                <a:gd name="connsiteX1466" fmla="*/ 4325525 w 12117871"/>
                <a:gd name="connsiteY1466" fmla="*/ 4381848 h 6072780"/>
                <a:gd name="connsiteX1467" fmla="*/ 4325525 w 12117871"/>
                <a:gd name="connsiteY1467" fmla="*/ 4202064 h 6072780"/>
                <a:gd name="connsiteX1468" fmla="*/ 4304915 w 12117871"/>
                <a:gd name="connsiteY1468" fmla="*/ 4213700 h 6072780"/>
                <a:gd name="connsiteX1469" fmla="*/ 4279743 w 12117871"/>
                <a:gd name="connsiteY1469" fmla="*/ 4222142 h 6072780"/>
                <a:gd name="connsiteX1470" fmla="*/ 4279743 w 12117871"/>
                <a:gd name="connsiteY1470" fmla="*/ 4192026 h 6072780"/>
                <a:gd name="connsiteX1471" fmla="*/ 4296778 w 12117871"/>
                <a:gd name="connsiteY1471" fmla="*/ 4185942 h 6072780"/>
                <a:gd name="connsiteX1472" fmla="*/ 4312977 w 12117871"/>
                <a:gd name="connsiteY1472" fmla="*/ 4178793 h 6072780"/>
                <a:gd name="connsiteX1473" fmla="*/ 4329099 w 12117871"/>
                <a:gd name="connsiteY1473" fmla="*/ 4169971 h 6072780"/>
                <a:gd name="connsiteX1474" fmla="*/ 4345906 w 12117871"/>
                <a:gd name="connsiteY1474" fmla="*/ 4158868 h 6072780"/>
                <a:gd name="connsiteX1475" fmla="*/ 3839047 w 12117871"/>
                <a:gd name="connsiteY1475" fmla="*/ 4158868 h 6072780"/>
                <a:gd name="connsiteX1476" fmla="*/ 3910214 w 12117871"/>
                <a:gd name="connsiteY1476" fmla="*/ 4269455 h 6072780"/>
                <a:gd name="connsiteX1477" fmla="*/ 3890128 w 12117871"/>
                <a:gd name="connsiteY1477" fmla="*/ 4353035 h 6072780"/>
                <a:gd name="connsiteX1478" fmla="*/ 3833931 w 12117871"/>
                <a:gd name="connsiteY1478" fmla="*/ 4381848 h 6072780"/>
                <a:gd name="connsiteX1479" fmla="*/ 3781346 w 12117871"/>
                <a:gd name="connsiteY1479" fmla="*/ 4354314 h 6072780"/>
                <a:gd name="connsiteX1480" fmla="*/ 3762464 w 12117871"/>
                <a:gd name="connsiteY1480" fmla="*/ 4274721 h 6072780"/>
                <a:gd name="connsiteX1481" fmla="*/ 3782173 w 12117871"/>
                <a:gd name="connsiteY1481" fmla="*/ 4188207 h 6072780"/>
                <a:gd name="connsiteX1482" fmla="*/ 3839047 w 12117871"/>
                <a:gd name="connsiteY1482" fmla="*/ 4158868 h 6072780"/>
                <a:gd name="connsiteX1483" fmla="*/ 3616537 w 12117871"/>
                <a:gd name="connsiteY1483" fmla="*/ 4158868 h 6072780"/>
                <a:gd name="connsiteX1484" fmla="*/ 3687703 w 12117871"/>
                <a:gd name="connsiteY1484" fmla="*/ 4269455 h 6072780"/>
                <a:gd name="connsiteX1485" fmla="*/ 3667617 w 12117871"/>
                <a:gd name="connsiteY1485" fmla="*/ 4353035 h 6072780"/>
                <a:gd name="connsiteX1486" fmla="*/ 3611420 w 12117871"/>
                <a:gd name="connsiteY1486" fmla="*/ 4381848 h 6072780"/>
                <a:gd name="connsiteX1487" fmla="*/ 3558835 w 12117871"/>
                <a:gd name="connsiteY1487" fmla="*/ 4354314 h 6072780"/>
                <a:gd name="connsiteX1488" fmla="*/ 3539952 w 12117871"/>
                <a:gd name="connsiteY1488" fmla="*/ 4274721 h 6072780"/>
                <a:gd name="connsiteX1489" fmla="*/ 3559662 w 12117871"/>
                <a:gd name="connsiteY1489" fmla="*/ 4188207 h 6072780"/>
                <a:gd name="connsiteX1490" fmla="*/ 3616537 w 12117871"/>
                <a:gd name="connsiteY1490" fmla="*/ 4158868 h 6072780"/>
                <a:gd name="connsiteX1491" fmla="*/ 3454863 w 12117871"/>
                <a:gd name="connsiteY1491" fmla="*/ 4158868 h 6072780"/>
                <a:gd name="connsiteX1492" fmla="*/ 3469768 w 12117871"/>
                <a:gd name="connsiteY1492" fmla="*/ 4158868 h 6072780"/>
                <a:gd name="connsiteX1493" fmla="*/ 3469768 w 12117871"/>
                <a:gd name="connsiteY1493" fmla="*/ 4381848 h 6072780"/>
                <a:gd name="connsiteX1494" fmla="*/ 3434481 w 12117871"/>
                <a:gd name="connsiteY1494" fmla="*/ 4381848 h 6072780"/>
                <a:gd name="connsiteX1495" fmla="*/ 3434481 w 12117871"/>
                <a:gd name="connsiteY1495" fmla="*/ 4202064 h 6072780"/>
                <a:gd name="connsiteX1496" fmla="*/ 3413872 w 12117871"/>
                <a:gd name="connsiteY1496" fmla="*/ 4213700 h 6072780"/>
                <a:gd name="connsiteX1497" fmla="*/ 3388698 w 12117871"/>
                <a:gd name="connsiteY1497" fmla="*/ 4222142 h 6072780"/>
                <a:gd name="connsiteX1498" fmla="*/ 3388698 w 12117871"/>
                <a:gd name="connsiteY1498" fmla="*/ 4192026 h 6072780"/>
                <a:gd name="connsiteX1499" fmla="*/ 3405734 w 12117871"/>
                <a:gd name="connsiteY1499" fmla="*/ 4185942 h 6072780"/>
                <a:gd name="connsiteX1500" fmla="*/ 3421933 w 12117871"/>
                <a:gd name="connsiteY1500" fmla="*/ 4178793 h 6072780"/>
                <a:gd name="connsiteX1501" fmla="*/ 3438054 w 12117871"/>
                <a:gd name="connsiteY1501" fmla="*/ 4169971 h 6072780"/>
                <a:gd name="connsiteX1502" fmla="*/ 3454863 w 12117871"/>
                <a:gd name="connsiteY1502" fmla="*/ 4158868 h 6072780"/>
                <a:gd name="connsiteX1503" fmla="*/ 3158682 w 12117871"/>
                <a:gd name="connsiteY1503" fmla="*/ 4158868 h 6072780"/>
                <a:gd name="connsiteX1504" fmla="*/ 3173587 w 12117871"/>
                <a:gd name="connsiteY1504" fmla="*/ 4158868 h 6072780"/>
                <a:gd name="connsiteX1505" fmla="*/ 3173587 w 12117871"/>
                <a:gd name="connsiteY1505" fmla="*/ 4381848 h 6072780"/>
                <a:gd name="connsiteX1506" fmla="*/ 3138299 w 12117871"/>
                <a:gd name="connsiteY1506" fmla="*/ 4381848 h 6072780"/>
                <a:gd name="connsiteX1507" fmla="*/ 3138299 w 12117871"/>
                <a:gd name="connsiteY1507" fmla="*/ 4202065 h 6072780"/>
                <a:gd name="connsiteX1508" fmla="*/ 3117690 w 12117871"/>
                <a:gd name="connsiteY1508" fmla="*/ 4213701 h 6072780"/>
                <a:gd name="connsiteX1509" fmla="*/ 3092517 w 12117871"/>
                <a:gd name="connsiteY1509" fmla="*/ 4222142 h 6072780"/>
                <a:gd name="connsiteX1510" fmla="*/ 3092517 w 12117871"/>
                <a:gd name="connsiteY1510" fmla="*/ 4192026 h 6072780"/>
                <a:gd name="connsiteX1511" fmla="*/ 3109553 w 12117871"/>
                <a:gd name="connsiteY1511" fmla="*/ 4185942 h 6072780"/>
                <a:gd name="connsiteX1512" fmla="*/ 3125751 w 12117871"/>
                <a:gd name="connsiteY1512" fmla="*/ 4178793 h 6072780"/>
                <a:gd name="connsiteX1513" fmla="*/ 3141875 w 12117871"/>
                <a:gd name="connsiteY1513" fmla="*/ 4169972 h 6072780"/>
                <a:gd name="connsiteX1514" fmla="*/ 3158682 w 12117871"/>
                <a:gd name="connsiteY1514" fmla="*/ 4158868 h 6072780"/>
                <a:gd name="connsiteX1515" fmla="*/ 2783382 w 12117871"/>
                <a:gd name="connsiteY1515" fmla="*/ 4158868 h 6072780"/>
                <a:gd name="connsiteX1516" fmla="*/ 2798288 w 12117871"/>
                <a:gd name="connsiteY1516" fmla="*/ 4158868 h 6072780"/>
                <a:gd name="connsiteX1517" fmla="*/ 2798288 w 12117871"/>
                <a:gd name="connsiteY1517" fmla="*/ 4381848 h 6072780"/>
                <a:gd name="connsiteX1518" fmla="*/ 2763000 w 12117871"/>
                <a:gd name="connsiteY1518" fmla="*/ 4381848 h 6072780"/>
                <a:gd name="connsiteX1519" fmla="*/ 2763000 w 12117871"/>
                <a:gd name="connsiteY1519" fmla="*/ 4202065 h 6072780"/>
                <a:gd name="connsiteX1520" fmla="*/ 2742391 w 12117871"/>
                <a:gd name="connsiteY1520" fmla="*/ 4213701 h 6072780"/>
                <a:gd name="connsiteX1521" fmla="*/ 2717219 w 12117871"/>
                <a:gd name="connsiteY1521" fmla="*/ 4222142 h 6072780"/>
                <a:gd name="connsiteX1522" fmla="*/ 2717219 w 12117871"/>
                <a:gd name="connsiteY1522" fmla="*/ 4192026 h 6072780"/>
                <a:gd name="connsiteX1523" fmla="*/ 2734253 w 12117871"/>
                <a:gd name="connsiteY1523" fmla="*/ 4185942 h 6072780"/>
                <a:gd name="connsiteX1524" fmla="*/ 2750453 w 12117871"/>
                <a:gd name="connsiteY1524" fmla="*/ 4178793 h 6072780"/>
                <a:gd name="connsiteX1525" fmla="*/ 2766576 w 12117871"/>
                <a:gd name="connsiteY1525" fmla="*/ 4169972 h 6072780"/>
                <a:gd name="connsiteX1526" fmla="*/ 2783382 w 12117871"/>
                <a:gd name="connsiteY1526" fmla="*/ 4158868 h 6072780"/>
                <a:gd name="connsiteX1527" fmla="*/ 2489154 w 12117871"/>
                <a:gd name="connsiteY1527" fmla="*/ 4158868 h 6072780"/>
                <a:gd name="connsiteX1528" fmla="*/ 2504060 w 12117871"/>
                <a:gd name="connsiteY1528" fmla="*/ 4158868 h 6072780"/>
                <a:gd name="connsiteX1529" fmla="*/ 2504060 w 12117871"/>
                <a:gd name="connsiteY1529" fmla="*/ 4381848 h 6072780"/>
                <a:gd name="connsiteX1530" fmla="*/ 2468772 w 12117871"/>
                <a:gd name="connsiteY1530" fmla="*/ 4381848 h 6072780"/>
                <a:gd name="connsiteX1531" fmla="*/ 2468772 w 12117871"/>
                <a:gd name="connsiteY1531" fmla="*/ 4202065 h 6072780"/>
                <a:gd name="connsiteX1532" fmla="*/ 2448163 w 12117871"/>
                <a:gd name="connsiteY1532" fmla="*/ 4213701 h 6072780"/>
                <a:gd name="connsiteX1533" fmla="*/ 2422990 w 12117871"/>
                <a:gd name="connsiteY1533" fmla="*/ 4222142 h 6072780"/>
                <a:gd name="connsiteX1534" fmla="*/ 2422990 w 12117871"/>
                <a:gd name="connsiteY1534" fmla="*/ 4192026 h 6072780"/>
                <a:gd name="connsiteX1535" fmla="*/ 2440025 w 12117871"/>
                <a:gd name="connsiteY1535" fmla="*/ 4185942 h 6072780"/>
                <a:gd name="connsiteX1536" fmla="*/ 2456224 w 12117871"/>
                <a:gd name="connsiteY1536" fmla="*/ 4178793 h 6072780"/>
                <a:gd name="connsiteX1537" fmla="*/ 2472346 w 12117871"/>
                <a:gd name="connsiteY1537" fmla="*/ 4169972 h 6072780"/>
                <a:gd name="connsiteX1538" fmla="*/ 2489154 w 12117871"/>
                <a:gd name="connsiteY1538" fmla="*/ 4158868 h 6072780"/>
                <a:gd name="connsiteX1539" fmla="*/ 1599916 w 12117871"/>
                <a:gd name="connsiteY1539" fmla="*/ 4158868 h 6072780"/>
                <a:gd name="connsiteX1540" fmla="*/ 1614822 w 12117871"/>
                <a:gd name="connsiteY1540" fmla="*/ 4158868 h 6072780"/>
                <a:gd name="connsiteX1541" fmla="*/ 1614822 w 12117871"/>
                <a:gd name="connsiteY1541" fmla="*/ 4381848 h 6072780"/>
                <a:gd name="connsiteX1542" fmla="*/ 1579534 w 12117871"/>
                <a:gd name="connsiteY1542" fmla="*/ 4381848 h 6072780"/>
                <a:gd name="connsiteX1543" fmla="*/ 1579534 w 12117871"/>
                <a:gd name="connsiteY1543" fmla="*/ 4202064 h 6072780"/>
                <a:gd name="connsiteX1544" fmla="*/ 1558925 w 12117871"/>
                <a:gd name="connsiteY1544" fmla="*/ 4213700 h 6072780"/>
                <a:gd name="connsiteX1545" fmla="*/ 1533752 w 12117871"/>
                <a:gd name="connsiteY1545" fmla="*/ 4222142 h 6072780"/>
                <a:gd name="connsiteX1546" fmla="*/ 1533752 w 12117871"/>
                <a:gd name="connsiteY1546" fmla="*/ 4192026 h 6072780"/>
                <a:gd name="connsiteX1547" fmla="*/ 1550787 w 12117871"/>
                <a:gd name="connsiteY1547" fmla="*/ 4185942 h 6072780"/>
                <a:gd name="connsiteX1548" fmla="*/ 1566986 w 12117871"/>
                <a:gd name="connsiteY1548" fmla="*/ 4178793 h 6072780"/>
                <a:gd name="connsiteX1549" fmla="*/ 1583109 w 12117871"/>
                <a:gd name="connsiteY1549" fmla="*/ 4169971 h 6072780"/>
                <a:gd name="connsiteX1550" fmla="*/ 1599916 w 12117871"/>
                <a:gd name="connsiteY1550" fmla="*/ 4158868 h 6072780"/>
                <a:gd name="connsiteX1551" fmla="*/ 1302202 w 12117871"/>
                <a:gd name="connsiteY1551" fmla="*/ 4158868 h 6072780"/>
                <a:gd name="connsiteX1552" fmla="*/ 1317108 w 12117871"/>
                <a:gd name="connsiteY1552" fmla="*/ 4158868 h 6072780"/>
                <a:gd name="connsiteX1553" fmla="*/ 1317108 w 12117871"/>
                <a:gd name="connsiteY1553" fmla="*/ 4381848 h 6072780"/>
                <a:gd name="connsiteX1554" fmla="*/ 1281820 w 12117871"/>
                <a:gd name="connsiteY1554" fmla="*/ 4381848 h 6072780"/>
                <a:gd name="connsiteX1555" fmla="*/ 1281820 w 12117871"/>
                <a:gd name="connsiteY1555" fmla="*/ 4202064 h 6072780"/>
                <a:gd name="connsiteX1556" fmla="*/ 1261211 w 12117871"/>
                <a:gd name="connsiteY1556" fmla="*/ 4213700 h 6072780"/>
                <a:gd name="connsiteX1557" fmla="*/ 1236038 w 12117871"/>
                <a:gd name="connsiteY1557" fmla="*/ 4222142 h 6072780"/>
                <a:gd name="connsiteX1558" fmla="*/ 1236038 w 12117871"/>
                <a:gd name="connsiteY1558" fmla="*/ 4192026 h 6072780"/>
                <a:gd name="connsiteX1559" fmla="*/ 1253073 w 12117871"/>
                <a:gd name="connsiteY1559" fmla="*/ 4185942 h 6072780"/>
                <a:gd name="connsiteX1560" fmla="*/ 1269272 w 12117871"/>
                <a:gd name="connsiteY1560" fmla="*/ 4178793 h 6072780"/>
                <a:gd name="connsiteX1561" fmla="*/ 1285395 w 12117871"/>
                <a:gd name="connsiteY1561" fmla="*/ 4169971 h 6072780"/>
                <a:gd name="connsiteX1562" fmla="*/ 1302202 w 12117871"/>
                <a:gd name="connsiteY1562" fmla="*/ 4158868 h 6072780"/>
                <a:gd name="connsiteX1563" fmla="*/ 927321 w 12117871"/>
                <a:gd name="connsiteY1563" fmla="*/ 4158868 h 6072780"/>
                <a:gd name="connsiteX1564" fmla="*/ 942227 w 12117871"/>
                <a:gd name="connsiteY1564" fmla="*/ 4158868 h 6072780"/>
                <a:gd name="connsiteX1565" fmla="*/ 942227 w 12117871"/>
                <a:gd name="connsiteY1565" fmla="*/ 4381848 h 6072780"/>
                <a:gd name="connsiteX1566" fmla="*/ 906939 w 12117871"/>
                <a:gd name="connsiteY1566" fmla="*/ 4381848 h 6072780"/>
                <a:gd name="connsiteX1567" fmla="*/ 906939 w 12117871"/>
                <a:gd name="connsiteY1567" fmla="*/ 4202064 h 6072780"/>
                <a:gd name="connsiteX1568" fmla="*/ 886330 w 12117871"/>
                <a:gd name="connsiteY1568" fmla="*/ 4213700 h 6072780"/>
                <a:gd name="connsiteX1569" fmla="*/ 861157 w 12117871"/>
                <a:gd name="connsiteY1569" fmla="*/ 4222142 h 6072780"/>
                <a:gd name="connsiteX1570" fmla="*/ 861157 w 12117871"/>
                <a:gd name="connsiteY1570" fmla="*/ 4192026 h 6072780"/>
                <a:gd name="connsiteX1571" fmla="*/ 878192 w 12117871"/>
                <a:gd name="connsiteY1571" fmla="*/ 4185942 h 6072780"/>
                <a:gd name="connsiteX1572" fmla="*/ 894391 w 12117871"/>
                <a:gd name="connsiteY1572" fmla="*/ 4178793 h 6072780"/>
                <a:gd name="connsiteX1573" fmla="*/ 910514 w 12117871"/>
                <a:gd name="connsiteY1573" fmla="*/ 4169971 h 6072780"/>
                <a:gd name="connsiteX1574" fmla="*/ 927321 w 12117871"/>
                <a:gd name="connsiteY1574" fmla="*/ 4158868 h 6072780"/>
                <a:gd name="connsiteX1575" fmla="*/ 778464 w 12117871"/>
                <a:gd name="connsiteY1575" fmla="*/ 4158868 h 6072780"/>
                <a:gd name="connsiteX1576" fmla="*/ 793370 w 12117871"/>
                <a:gd name="connsiteY1576" fmla="*/ 4158868 h 6072780"/>
                <a:gd name="connsiteX1577" fmla="*/ 793370 w 12117871"/>
                <a:gd name="connsiteY1577" fmla="*/ 4381848 h 6072780"/>
                <a:gd name="connsiteX1578" fmla="*/ 758082 w 12117871"/>
                <a:gd name="connsiteY1578" fmla="*/ 4381848 h 6072780"/>
                <a:gd name="connsiteX1579" fmla="*/ 758082 w 12117871"/>
                <a:gd name="connsiteY1579" fmla="*/ 4202064 h 6072780"/>
                <a:gd name="connsiteX1580" fmla="*/ 737473 w 12117871"/>
                <a:gd name="connsiteY1580" fmla="*/ 4213700 h 6072780"/>
                <a:gd name="connsiteX1581" fmla="*/ 712300 w 12117871"/>
                <a:gd name="connsiteY1581" fmla="*/ 4222142 h 6072780"/>
                <a:gd name="connsiteX1582" fmla="*/ 712300 w 12117871"/>
                <a:gd name="connsiteY1582" fmla="*/ 4192026 h 6072780"/>
                <a:gd name="connsiteX1583" fmla="*/ 729335 w 12117871"/>
                <a:gd name="connsiteY1583" fmla="*/ 4185942 h 6072780"/>
                <a:gd name="connsiteX1584" fmla="*/ 745535 w 12117871"/>
                <a:gd name="connsiteY1584" fmla="*/ 4178793 h 6072780"/>
                <a:gd name="connsiteX1585" fmla="*/ 761657 w 12117871"/>
                <a:gd name="connsiteY1585" fmla="*/ 4169971 h 6072780"/>
                <a:gd name="connsiteX1586" fmla="*/ 778464 w 12117871"/>
                <a:gd name="connsiteY1586" fmla="*/ 4158868 h 6072780"/>
                <a:gd name="connsiteX1587" fmla="*/ 629607 w 12117871"/>
                <a:gd name="connsiteY1587" fmla="*/ 4158868 h 6072780"/>
                <a:gd name="connsiteX1588" fmla="*/ 644513 w 12117871"/>
                <a:gd name="connsiteY1588" fmla="*/ 4158868 h 6072780"/>
                <a:gd name="connsiteX1589" fmla="*/ 644513 w 12117871"/>
                <a:gd name="connsiteY1589" fmla="*/ 4381848 h 6072780"/>
                <a:gd name="connsiteX1590" fmla="*/ 609225 w 12117871"/>
                <a:gd name="connsiteY1590" fmla="*/ 4381848 h 6072780"/>
                <a:gd name="connsiteX1591" fmla="*/ 609225 w 12117871"/>
                <a:gd name="connsiteY1591" fmla="*/ 4202064 h 6072780"/>
                <a:gd name="connsiteX1592" fmla="*/ 588616 w 12117871"/>
                <a:gd name="connsiteY1592" fmla="*/ 4213700 h 6072780"/>
                <a:gd name="connsiteX1593" fmla="*/ 563443 w 12117871"/>
                <a:gd name="connsiteY1593" fmla="*/ 4222142 h 6072780"/>
                <a:gd name="connsiteX1594" fmla="*/ 563443 w 12117871"/>
                <a:gd name="connsiteY1594" fmla="*/ 4192026 h 6072780"/>
                <a:gd name="connsiteX1595" fmla="*/ 580478 w 12117871"/>
                <a:gd name="connsiteY1595" fmla="*/ 4185942 h 6072780"/>
                <a:gd name="connsiteX1596" fmla="*/ 596677 w 12117871"/>
                <a:gd name="connsiteY1596" fmla="*/ 4178793 h 6072780"/>
                <a:gd name="connsiteX1597" fmla="*/ 612800 w 12117871"/>
                <a:gd name="connsiteY1597" fmla="*/ 4169971 h 6072780"/>
                <a:gd name="connsiteX1598" fmla="*/ 629607 w 12117871"/>
                <a:gd name="connsiteY1598" fmla="*/ 4158868 h 6072780"/>
                <a:gd name="connsiteX1599" fmla="*/ 480750 w 12117871"/>
                <a:gd name="connsiteY1599" fmla="*/ 4158868 h 6072780"/>
                <a:gd name="connsiteX1600" fmla="*/ 495656 w 12117871"/>
                <a:gd name="connsiteY1600" fmla="*/ 4158868 h 6072780"/>
                <a:gd name="connsiteX1601" fmla="*/ 495656 w 12117871"/>
                <a:gd name="connsiteY1601" fmla="*/ 4381848 h 6072780"/>
                <a:gd name="connsiteX1602" fmla="*/ 460368 w 12117871"/>
                <a:gd name="connsiteY1602" fmla="*/ 4381848 h 6072780"/>
                <a:gd name="connsiteX1603" fmla="*/ 460368 w 12117871"/>
                <a:gd name="connsiteY1603" fmla="*/ 4202064 h 6072780"/>
                <a:gd name="connsiteX1604" fmla="*/ 439759 w 12117871"/>
                <a:gd name="connsiteY1604" fmla="*/ 4213700 h 6072780"/>
                <a:gd name="connsiteX1605" fmla="*/ 414586 w 12117871"/>
                <a:gd name="connsiteY1605" fmla="*/ 4222142 h 6072780"/>
                <a:gd name="connsiteX1606" fmla="*/ 414586 w 12117871"/>
                <a:gd name="connsiteY1606" fmla="*/ 4192026 h 6072780"/>
                <a:gd name="connsiteX1607" fmla="*/ 431621 w 12117871"/>
                <a:gd name="connsiteY1607" fmla="*/ 4185942 h 6072780"/>
                <a:gd name="connsiteX1608" fmla="*/ 447821 w 12117871"/>
                <a:gd name="connsiteY1608" fmla="*/ 4178793 h 6072780"/>
                <a:gd name="connsiteX1609" fmla="*/ 463943 w 12117871"/>
                <a:gd name="connsiteY1609" fmla="*/ 4169971 h 6072780"/>
                <a:gd name="connsiteX1610" fmla="*/ 480750 w 12117871"/>
                <a:gd name="connsiteY1610" fmla="*/ 4158868 h 6072780"/>
                <a:gd name="connsiteX1611" fmla="*/ 11874294 w 12117871"/>
                <a:gd name="connsiteY1611" fmla="*/ 3839232 h 6072780"/>
                <a:gd name="connsiteX1612" fmla="*/ 11835024 w 12117871"/>
                <a:gd name="connsiteY1612" fmla="*/ 3925746 h 6072780"/>
                <a:gd name="connsiteX1613" fmla="*/ 11873542 w 12117871"/>
                <a:gd name="connsiteY1613" fmla="*/ 4006692 h 6072780"/>
                <a:gd name="connsiteX1614" fmla="*/ 11911457 w 12117871"/>
                <a:gd name="connsiteY1614" fmla="*/ 3924391 h 6072780"/>
                <a:gd name="connsiteX1615" fmla="*/ 11874294 w 12117871"/>
                <a:gd name="connsiteY1615" fmla="*/ 3839232 h 6072780"/>
                <a:gd name="connsiteX1616" fmla="*/ 11189148 w 12117871"/>
                <a:gd name="connsiteY1616" fmla="*/ 3839232 h 6072780"/>
                <a:gd name="connsiteX1617" fmla="*/ 11149878 w 12117871"/>
                <a:gd name="connsiteY1617" fmla="*/ 3925746 h 6072780"/>
                <a:gd name="connsiteX1618" fmla="*/ 11188396 w 12117871"/>
                <a:gd name="connsiteY1618" fmla="*/ 4006692 h 6072780"/>
                <a:gd name="connsiteX1619" fmla="*/ 11226311 w 12117871"/>
                <a:gd name="connsiteY1619" fmla="*/ 3924391 h 6072780"/>
                <a:gd name="connsiteX1620" fmla="*/ 11189148 w 12117871"/>
                <a:gd name="connsiteY1620" fmla="*/ 3839232 h 6072780"/>
                <a:gd name="connsiteX1621" fmla="*/ 9936214 w 12117871"/>
                <a:gd name="connsiteY1621" fmla="*/ 3839232 h 6072780"/>
                <a:gd name="connsiteX1622" fmla="*/ 9896944 w 12117871"/>
                <a:gd name="connsiteY1622" fmla="*/ 3925746 h 6072780"/>
                <a:gd name="connsiteX1623" fmla="*/ 9935462 w 12117871"/>
                <a:gd name="connsiteY1623" fmla="*/ 4006692 h 6072780"/>
                <a:gd name="connsiteX1624" fmla="*/ 9973377 w 12117871"/>
                <a:gd name="connsiteY1624" fmla="*/ 3924391 h 6072780"/>
                <a:gd name="connsiteX1625" fmla="*/ 9936214 w 12117871"/>
                <a:gd name="connsiteY1625" fmla="*/ 3839232 h 6072780"/>
                <a:gd name="connsiteX1626" fmla="*/ 9713703 w 12117871"/>
                <a:gd name="connsiteY1626" fmla="*/ 3839232 h 6072780"/>
                <a:gd name="connsiteX1627" fmla="*/ 9674433 w 12117871"/>
                <a:gd name="connsiteY1627" fmla="*/ 3925746 h 6072780"/>
                <a:gd name="connsiteX1628" fmla="*/ 9712951 w 12117871"/>
                <a:gd name="connsiteY1628" fmla="*/ 4006692 h 6072780"/>
                <a:gd name="connsiteX1629" fmla="*/ 9750866 w 12117871"/>
                <a:gd name="connsiteY1629" fmla="*/ 3924391 h 6072780"/>
                <a:gd name="connsiteX1630" fmla="*/ 9713703 w 12117871"/>
                <a:gd name="connsiteY1630" fmla="*/ 3839232 h 6072780"/>
                <a:gd name="connsiteX1631" fmla="*/ 6372301 w 12117871"/>
                <a:gd name="connsiteY1631" fmla="*/ 3839232 h 6072780"/>
                <a:gd name="connsiteX1632" fmla="*/ 6333031 w 12117871"/>
                <a:gd name="connsiteY1632" fmla="*/ 3925746 h 6072780"/>
                <a:gd name="connsiteX1633" fmla="*/ 6371549 w 12117871"/>
                <a:gd name="connsiteY1633" fmla="*/ 4006692 h 6072780"/>
                <a:gd name="connsiteX1634" fmla="*/ 6409464 w 12117871"/>
                <a:gd name="connsiteY1634" fmla="*/ 3924391 h 6072780"/>
                <a:gd name="connsiteX1635" fmla="*/ 6372301 w 12117871"/>
                <a:gd name="connsiteY1635" fmla="*/ 3839232 h 6072780"/>
                <a:gd name="connsiteX1636" fmla="*/ 5784617 w 12117871"/>
                <a:gd name="connsiteY1636" fmla="*/ 3839232 h 6072780"/>
                <a:gd name="connsiteX1637" fmla="*/ 5745350 w 12117871"/>
                <a:gd name="connsiteY1637" fmla="*/ 3925746 h 6072780"/>
                <a:gd name="connsiteX1638" fmla="*/ 5783865 w 12117871"/>
                <a:gd name="connsiteY1638" fmla="*/ 4006692 h 6072780"/>
                <a:gd name="connsiteX1639" fmla="*/ 5821781 w 12117871"/>
                <a:gd name="connsiteY1639" fmla="*/ 3924391 h 6072780"/>
                <a:gd name="connsiteX1640" fmla="*/ 5784617 w 12117871"/>
                <a:gd name="connsiteY1640" fmla="*/ 3839232 h 6072780"/>
                <a:gd name="connsiteX1641" fmla="*/ 5091629 w 12117871"/>
                <a:gd name="connsiteY1641" fmla="*/ 3839232 h 6072780"/>
                <a:gd name="connsiteX1642" fmla="*/ 5052358 w 12117871"/>
                <a:gd name="connsiteY1642" fmla="*/ 3925746 h 6072780"/>
                <a:gd name="connsiteX1643" fmla="*/ 5090877 w 12117871"/>
                <a:gd name="connsiteY1643" fmla="*/ 4006692 h 6072780"/>
                <a:gd name="connsiteX1644" fmla="*/ 5128792 w 12117871"/>
                <a:gd name="connsiteY1644" fmla="*/ 3924391 h 6072780"/>
                <a:gd name="connsiteX1645" fmla="*/ 5091629 w 12117871"/>
                <a:gd name="connsiteY1645" fmla="*/ 3839232 h 6072780"/>
                <a:gd name="connsiteX1646" fmla="*/ 3837392 w 12117871"/>
                <a:gd name="connsiteY1646" fmla="*/ 3839232 h 6072780"/>
                <a:gd name="connsiteX1647" fmla="*/ 3798122 w 12117871"/>
                <a:gd name="connsiteY1647" fmla="*/ 3925746 h 6072780"/>
                <a:gd name="connsiteX1648" fmla="*/ 3836640 w 12117871"/>
                <a:gd name="connsiteY1648" fmla="*/ 4006692 h 6072780"/>
                <a:gd name="connsiteX1649" fmla="*/ 3874555 w 12117871"/>
                <a:gd name="connsiteY1649" fmla="*/ 3924391 h 6072780"/>
                <a:gd name="connsiteX1650" fmla="*/ 3837392 w 12117871"/>
                <a:gd name="connsiteY1650" fmla="*/ 3839232 h 6072780"/>
                <a:gd name="connsiteX1651" fmla="*/ 3614881 w 12117871"/>
                <a:gd name="connsiteY1651" fmla="*/ 3839232 h 6072780"/>
                <a:gd name="connsiteX1652" fmla="*/ 3575611 w 12117871"/>
                <a:gd name="connsiteY1652" fmla="*/ 3925746 h 6072780"/>
                <a:gd name="connsiteX1653" fmla="*/ 3614130 w 12117871"/>
                <a:gd name="connsiteY1653" fmla="*/ 4006692 h 6072780"/>
                <a:gd name="connsiteX1654" fmla="*/ 3652044 w 12117871"/>
                <a:gd name="connsiteY1654" fmla="*/ 3924391 h 6072780"/>
                <a:gd name="connsiteX1655" fmla="*/ 3614881 w 12117871"/>
                <a:gd name="connsiteY1655" fmla="*/ 3839232 h 6072780"/>
                <a:gd name="connsiteX1656" fmla="*/ 10438235 w 12117871"/>
                <a:gd name="connsiteY1656" fmla="*/ 3811398 h 6072780"/>
                <a:gd name="connsiteX1657" fmla="*/ 10453141 w 12117871"/>
                <a:gd name="connsiteY1657" fmla="*/ 3811398 h 6072780"/>
                <a:gd name="connsiteX1658" fmla="*/ 10453141 w 12117871"/>
                <a:gd name="connsiteY1658" fmla="*/ 4034378 h 6072780"/>
                <a:gd name="connsiteX1659" fmla="*/ 10417853 w 12117871"/>
                <a:gd name="connsiteY1659" fmla="*/ 4034378 h 6072780"/>
                <a:gd name="connsiteX1660" fmla="*/ 10417853 w 12117871"/>
                <a:gd name="connsiteY1660" fmla="*/ 3854594 h 6072780"/>
                <a:gd name="connsiteX1661" fmla="*/ 10397244 w 12117871"/>
                <a:gd name="connsiteY1661" fmla="*/ 3866230 h 6072780"/>
                <a:gd name="connsiteX1662" fmla="*/ 10372071 w 12117871"/>
                <a:gd name="connsiteY1662" fmla="*/ 3874672 h 6072780"/>
                <a:gd name="connsiteX1663" fmla="*/ 10372071 w 12117871"/>
                <a:gd name="connsiteY1663" fmla="*/ 3844556 h 6072780"/>
                <a:gd name="connsiteX1664" fmla="*/ 10389106 w 12117871"/>
                <a:gd name="connsiteY1664" fmla="*/ 3838472 h 6072780"/>
                <a:gd name="connsiteX1665" fmla="*/ 10405305 w 12117871"/>
                <a:gd name="connsiteY1665" fmla="*/ 3831323 h 6072780"/>
                <a:gd name="connsiteX1666" fmla="*/ 10421428 w 12117871"/>
                <a:gd name="connsiteY1666" fmla="*/ 3822501 h 6072780"/>
                <a:gd name="connsiteX1667" fmla="*/ 10438235 w 12117871"/>
                <a:gd name="connsiteY1667" fmla="*/ 3811398 h 6072780"/>
                <a:gd name="connsiteX1668" fmla="*/ 12062430 w 12117871"/>
                <a:gd name="connsiteY1668" fmla="*/ 3811397 h 6072780"/>
                <a:gd name="connsiteX1669" fmla="*/ 12077336 w 12117871"/>
                <a:gd name="connsiteY1669" fmla="*/ 3811397 h 6072780"/>
                <a:gd name="connsiteX1670" fmla="*/ 12077336 w 12117871"/>
                <a:gd name="connsiteY1670" fmla="*/ 4034377 h 6072780"/>
                <a:gd name="connsiteX1671" fmla="*/ 12042048 w 12117871"/>
                <a:gd name="connsiteY1671" fmla="*/ 4034377 h 6072780"/>
                <a:gd name="connsiteX1672" fmla="*/ 12042048 w 12117871"/>
                <a:gd name="connsiteY1672" fmla="*/ 3854593 h 6072780"/>
                <a:gd name="connsiteX1673" fmla="*/ 12021439 w 12117871"/>
                <a:gd name="connsiteY1673" fmla="*/ 3866229 h 6072780"/>
                <a:gd name="connsiteX1674" fmla="*/ 11996266 w 12117871"/>
                <a:gd name="connsiteY1674" fmla="*/ 3874671 h 6072780"/>
                <a:gd name="connsiteX1675" fmla="*/ 11996266 w 12117871"/>
                <a:gd name="connsiteY1675" fmla="*/ 3844555 h 6072780"/>
                <a:gd name="connsiteX1676" fmla="*/ 12013301 w 12117871"/>
                <a:gd name="connsiteY1676" fmla="*/ 3838471 h 6072780"/>
                <a:gd name="connsiteX1677" fmla="*/ 12029500 w 12117871"/>
                <a:gd name="connsiteY1677" fmla="*/ 3831322 h 6072780"/>
                <a:gd name="connsiteX1678" fmla="*/ 12045623 w 12117871"/>
                <a:gd name="connsiteY1678" fmla="*/ 3822500 h 6072780"/>
                <a:gd name="connsiteX1679" fmla="*/ 12062430 w 12117871"/>
                <a:gd name="connsiteY1679" fmla="*/ 3811397 h 6072780"/>
                <a:gd name="connsiteX1680" fmla="*/ 11875949 w 12117871"/>
                <a:gd name="connsiteY1680" fmla="*/ 3811397 h 6072780"/>
                <a:gd name="connsiteX1681" fmla="*/ 11947116 w 12117871"/>
                <a:gd name="connsiteY1681" fmla="*/ 3921984 h 6072780"/>
                <a:gd name="connsiteX1682" fmla="*/ 11927030 w 12117871"/>
                <a:gd name="connsiteY1682" fmla="*/ 4005564 h 6072780"/>
                <a:gd name="connsiteX1683" fmla="*/ 11870833 w 12117871"/>
                <a:gd name="connsiteY1683" fmla="*/ 4034377 h 6072780"/>
                <a:gd name="connsiteX1684" fmla="*/ 11818248 w 12117871"/>
                <a:gd name="connsiteY1684" fmla="*/ 4006843 h 6072780"/>
                <a:gd name="connsiteX1685" fmla="*/ 11799365 w 12117871"/>
                <a:gd name="connsiteY1685" fmla="*/ 3927250 h 6072780"/>
                <a:gd name="connsiteX1686" fmla="*/ 11819075 w 12117871"/>
                <a:gd name="connsiteY1686" fmla="*/ 3840736 h 6072780"/>
                <a:gd name="connsiteX1687" fmla="*/ 11875949 w 12117871"/>
                <a:gd name="connsiteY1687" fmla="*/ 3811397 h 6072780"/>
                <a:gd name="connsiteX1688" fmla="*/ 11190803 w 12117871"/>
                <a:gd name="connsiteY1688" fmla="*/ 3811397 h 6072780"/>
                <a:gd name="connsiteX1689" fmla="*/ 11261970 w 12117871"/>
                <a:gd name="connsiteY1689" fmla="*/ 3921984 h 6072780"/>
                <a:gd name="connsiteX1690" fmla="*/ 11241884 w 12117871"/>
                <a:gd name="connsiteY1690" fmla="*/ 4005564 h 6072780"/>
                <a:gd name="connsiteX1691" fmla="*/ 11185687 w 12117871"/>
                <a:gd name="connsiteY1691" fmla="*/ 4034377 h 6072780"/>
                <a:gd name="connsiteX1692" fmla="*/ 11133102 w 12117871"/>
                <a:gd name="connsiteY1692" fmla="*/ 4006843 h 6072780"/>
                <a:gd name="connsiteX1693" fmla="*/ 11114219 w 12117871"/>
                <a:gd name="connsiteY1693" fmla="*/ 3927250 h 6072780"/>
                <a:gd name="connsiteX1694" fmla="*/ 11133929 w 12117871"/>
                <a:gd name="connsiteY1694" fmla="*/ 3840736 h 6072780"/>
                <a:gd name="connsiteX1695" fmla="*/ 11190803 w 12117871"/>
                <a:gd name="connsiteY1695" fmla="*/ 3811397 h 6072780"/>
                <a:gd name="connsiteX1696" fmla="*/ 10143427 w 12117871"/>
                <a:gd name="connsiteY1696" fmla="*/ 3811397 h 6072780"/>
                <a:gd name="connsiteX1697" fmla="*/ 10158333 w 12117871"/>
                <a:gd name="connsiteY1697" fmla="*/ 3811397 h 6072780"/>
                <a:gd name="connsiteX1698" fmla="*/ 10158333 w 12117871"/>
                <a:gd name="connsiteY1698" fmla="*/ 4034377 h 6072780"/>
                <a:gd name="connsiteX1699" fmla="*/ 10123045 w 12117871"/>
                <a:gd name="connsiteY1699" fmla="*/ 4034377 h 6072780"/>
                <a:gd name="connsiteX1700" fmla="*/ 10123045 w 12117871"/>
                <a:gd name="connsiteY1700" fmla="*/ 3854593 h 6072780"/>
                <a:gd name="connsiteX1701" fmla="*/ 10102436 w 12117871"/>
                <a:gd name="connsiteY1701" fmla="*/ 3866229 h 6072780"/>
                <a:gd name="connsiteX1702" fmla="*/ 10077263 w 12117871"/>
                <a:gd name="connsiteY1702" fmla="*/ 3874671 h 6072780"/>
                <a:gd name="connsiteX1703" fmla="*/ 10077263 w 12117871"/>
                <a:gd name="connsiteY1703" fmla="*/ 3844555 h 6072780"/>
                <a:gd name="connsiteX1704" fmla="*/ 10094298 w 12117871"/>
                <a:gd name="connsiteY1704" fmla="*/ 3838471 h 6072780"/>
                <a:gd name="connsiteX1705" fmla="*/ 10110497 w 12117871"/>
                <a:gd name="connsiteY1705" fmla="*/ 3831322 h 6072780"/>
                <a:gd name="connsiteX1706" fmla="*/ 10126620 w 12117871"/>
                <a:gd name="connsiteY1706" fmla="*/ 3822500 h 6072780"/>
                <a:gd name="connsiteX1707" fmla="*/ 10143427 w 12117871"/>
                <a:gd name="connsiteY1707" fmla="*/ 3811397 h 6072780"/>
                <a:gd name="connsiteX1708" fmla="*/ 9937869 w 12117871"/>
                <a:gd name="connsiteY1708" fmla="*/ 3811397 h 6072780"/>
                <a:gd name="connsiteX1709" fmla="*/ 10009036 w 12117871"/>
                <a:gd name="connsiteY1709" fmla="*/ 3921984 h 6072780"/>
                <a:gd name="connsiteX1710" fmla="*/ 9988950 w 12117871"/>
                <a:gd name="connsiteY1710" fmla="*/ 4005564 h 6072780"/>
                <a:gd name="connsiteX1711" fmla="*/ 9932753 w 12117871"/>
                <a:gd name="connsiteY1711" fmla="*/ 4034377 h 6072780"/>
                <a:gd name="connsiteX1712" fmla="*/ 9880168 w 12117871"/>
                <a:gd name="connsiteY1712" fmla="*/ 4006843 h 6072780"/>
                <a:gd name="connsiteX1713" fmla="*/ 9861285 w 12117871"/>
                <a:gd name="connsiteY1713" fmla="*/ 3927250 h 6072780"/>
                <a:gd name="connsiteX1714" fmla="*/ 9880995 w 12117871"/>
                <a:gd name="connsiteY1714" fmla="*/ 3840736 h 6072780"/>
                <a:gd name="connsiteX1715" fmla="*/ 9937869 w 12117871"/>
                <a:gd name="connsiteY1715" fmla="*/ 3811397 h 6072780"/>
                <a:gd name="connsiteX1716" fmla="*/ 9715358 w 12117871"/>
                <a:gd name="connsiteY1716" fmla="*/ 3811397 h 6072780"/>
                <a:gd name="connsiteX1717" fmla="*/ 9786525 w 12117871"/>
                <a:gd name="connsiteY1717" fmla="*/ 3921984 h 6072780"/>
                <a:gd name="connsiteX1718" fmla="*/ 9766439 w 12117871"/>
                <a:gd name="connsiteY1718" fmla="*/ 4005564 h 6072780"/>
                <a:gd name="connsiteX1719" fmla="*/ 9710242 w 12117871"/>
                <a:gd name="connsiteY1719" fmla="*/ 4034377 h 6072780"/>
                <a:gd name="connsiteX1720" fmla="*/ 9657657 w 12117871"/>
                <a:gd name="connsiteY1720" fmla="*/ 4006843 h 6072780"/>
                <a:gd name="connsiteX1721" fmla="*/ 9638774 w 12117871"/>
                <a:gd name="connsiteY1721" fmla="*/ 3927250 h 6072780"/>
                <a:gd name="connsiteX1722" fmla="*/ 9658484 w 12117871"/>
                <a:gd name="connsiteY1722" fmla="*/ 3840736 h 6072780"/>
                <a:gd name="connsiteX1723" fmla="*/ 9715358 w 12117871"/>
                <a:gd name="connsiteY1723" fmla="*/ 3811397 h 6072780"/>
                <a:gd name="connsiteX1724" fmla="*/ 9557012 w 12117871"/>
                <a:gd name="connsiteY1724" fmla="*/ 3811397 h 6072780"/>
                <a:gd name="connsiteX1725" fmla="*/ 9571918 w 12117871"/>
                <a:gd name="connsiteY1725" fmla="*/ 3811397 h 6072780"/>
                <a:gd name="connsiteX1726" fmla="*/ 9571918 w 12117871"/>
                <a:gd name="connsiteY1726" fmla="*/ 4034377 h 6072780"/>
                <a:gd name="connsiteX1727" fmla="*/ 9536630 w 12117871"/>
                <a:gd name="connsiteY1727" fmla="*/ 4034377 h 6072780"/>
                <a:gd name="connsiteX1728" fmla="*/ 9536630 w 12117871"/>
                <a:gd name="connsiteY1728" fmla="*/ 3854593 h 6072780"/>
                <a:gd name="connsiteX1729" fmla="*/ 9516021 w 12117871"/>
                <a:gd name="connsiteY1729" fmla="*/ 3866229 h 6072780"/>
                <a:gd name="connsiteX1730" fmla="*/ 9490848 w 12117871"/>
                <a:gd name="connsiteY1730" fmla="*/ 3874671 h 6072780"/>
                <a:gd name="connsiteX1731" fmla="*/ 9490848 w 12117871"/>
                <a:gd name="connsiteY1731" fmla="*/ 3844555 h 6072780"/>
                <a:gd name="connsiteX1732" fmla="*/ 9507883 w 12117871"/>
                <a:gd name="connsiteY1732" fmla="*/ 3838471 h 6072780"/>
                <a:gd name="connsiteX1733" fmla="*/ 9524082 w 12117871"/>
                <a:gd name="connsiteY1733" fmla="*/ 3831322 h 6072780"/>
                <a:gd name="connsiteX1734" fmla="*/ 9540205 w 12117871"/>
                <a:gd name="connsiteY1734" fmla="*/ 3822500 h 6072780"/>
                <a:gd name="connsiteX1735" fmla="*/ 9557012 w 12117871"/>
                <a:gd name="connsiteY1735" fmla="*/ 3811397 h 6072780"/>
                <a:gd name="connsiteX1736" fmla="*/ 9254256 w 12117871"/>
                <a:gd name="connsiteY1736" fmla="*/ 3811397 h 6072780"/>
                <a:gd name="connsiteX1737" fmla="*/ 9269162 w 12117871"/>
                <a:gd name="connsiteY1737" fmla="*/ 3811397 h 6072780"/>
                <a:gd name="connsiteX1738" fmla="*/ 9269162 w 12117871"/>
                <a:gd name="connsiteY1738" fmla="*/ 4034377 h 6072780"/>
                <a:gd name="connsiteX1739" fmla="*/ 9233874 w 12117871"/>
                <a:gd name="connsiteY1739" fmla="*/ 4034377 h 6072780"/>
                <a:gd name="connsiteX1740" fmla="*/ 9233874 w 12117871"/>
                <a:gd name="connsiteY1740" fmla="*/ 3854593 h 6072780"/>
                <a:gd name="connsiteX1741" fmla="*/ 9213265 w 12117871"/>
                <a:gd name="connsiteY1741" fmla="*/ 3866229 h 6072780"/>
                <a:gd name="connsiteX1742" fmla="*/ 9188092 w 12117871"/>
                <a:gd name="connsiteY1742" fmla="*/ 3874671 h 6072780"/>
                <a:gd name="connsiteX1743" fmla="*/ 9188092 w 12117871"/>
                <a:gd name="connsiteY1743" fmla="*/ 3844555 h 6072780"/>
                <a:gd name="connsiteX1744" fmla="*/ 9205127 w 12117871"/>
                <a:gd name="connsiteY1744" fmla="*/ 3838471 h 6072780"/>
                <a:gd name="connsiteX1745" fmla="*/ 9221326 w 12117871"/>
                <a:gd name="connsiteY1745" fmla="*/ 3831322 h 6072780"/>
                <a:gd name="connsiteX1746" fmla="*/ 9237449 w 12117871"/>
                <a:gd name="connsiteY1746" fmla="*/ 3822500 h 6072780"/>
                <a:gd name="connsiteX1747" fmla="*/ 9254256 w 12117871"/>
                <a:gd name="connsiteY1747" fmla="*/ 3811397 h 6072780"/>
                <a:gd name="connsiteX1748" fmla="*/ 8744915 w 12117871"/>
                <a:gd name="connsiteY1748" fmla="*/ 3811397 h 6072780"/>
                <a:gd name="connsiteX1749" fmla="*/ 8759821 w 12117871"/>
                <a:gd name="connsiteY1749" fmla="*/ 3811397 h 6072780"/>
                <a:gd name="connsiteX1750" fmla="*/ 8759821 w 12117871"/>
                <a:gd name="connsiteY1750" fmla="*/ 4034377 h 6072780"/>
                <a:gd name="connsiteX1751" fmla="*/ 8724533 w 12117871"/>
                <a:gd name="connsiteY1751" fmla="*/ 4034377 h 6072780"/>
                <a:gd name="connsiteX1752" fmla="*/ 8724533 w 12117871"/>
                <a:gd name="connsiteY1752" fmla="*/ 3854593 h 6072780"/>
                <a:gd name="connsiteX1753" fmla="*/ 8703924 w 12117871"/>
                <a:gd name="connsiteY1753" fmla="*/ 3866229 h 6072780"/>
                <a:gd name="connsiteX1754" fmla="*/ 8678751 w 12117871"/>
                <a:gd name="connsiteY1754" fmla="*/ 3874671 h 6072780"/>
                <a:gd name="connsiteX1755" fmla="*/ 8678751 w 12117871"/>
                <a:gd name="connsiteY1755" fmla="*/ 3844555 h 6072780"/>
                <a:gd name="connsiteX1756" fmla="*/ 8695786 w 12117871"/>
                <a:gd name="connsiteY1756" fmla="*/ 3838471 h 6072780"/>
                <a:gd name="connsiteX1757" fmla="*/ 8711985 w 12117871"/>
                <a:gd name="connsiteY1757" fmla="*/ 3831322 h 6072780"/>
                <a:gd name="connsiteX1758" fmla="*/ 8728108 w 12117871"/>
                <a:gd name="connsiteY1758" fmla="*/ 3822500 h 6072780"/>
                <a:gd name="connsiteX1759" fmla="*/ 8744915 w 12117871"/>
                <a:gd name="connsiteY1759" fmla="*/ 3811397 h 6072780"/>
                <a:gd name="connsiteX1760" fmla="*/ 7851748 w 12117871"/>
                <a:gd name="connsiteY1760" fmla="*/ 3811397 h 6072780"/>
                <a:gd name="connsiteX1761" fmla="*/ 7866654 w 12117871"/>
                <a:gd name="connsiteY1761" fmla="*/ 3811397 h 6072780"/>
                <a:gd name="connsiteX1762" fmla="*/ 7866654 w 12117871"/>
                <a:gd name="connsiteY1762" fmla="*/ 4034377 h 6072780"/>
                <a:gd name="connsiteX1763" fmla="*/ 7831366 w 12117871"/>
                <a:gd name="connsiteY1763" fmla="*/ 4034377 h 6072780"/>
                <a:gd name="connsiteX1764" fmla="*/ 7831366 w 12117871"/>
                <a:gd name="connsiteY1764" fmla="*/ 3854593 h 6072780"/>
                <a:gd name="connsiteX1765" fmla="*/ 7810757 w 12117871"/>
                <a:gd name="connsiteY1765" fmla="*/ 3866229 h 6072780"/>
                <a:gd name="connsiteX1766" fmla="*/ 7785584 w 12117871"/>
                <a:gd name="connsiteY1766" fmla="*/ 3874671 h 6072780"/>
                <a:gd name="connsiteX1767" fmla="*/ 7785584 w 12117871"/>
                <a:gd name="connsiteY1767" fmla="*/ 3844555 h 6072780"/>
                <a:gd name="connsiteX1768" fmla="*/ 7802619 w 12117871"/>
                <a:gd name="connsiteY1768" fmla="*/ 3838471 h 6072780"/>
                <a:gd name="connsiteX1769" fmla="*/ 7818818 w 12117871"/>
                <a:gd name="connsiteY1769" fmla="*/ 3831322 h 6072780"/>
                <a:gd name="connsiteX1770" fmla="*/ 7834941 w 12117871"/>
                <a:gd name="connsiteY1770" fmla="*/ 3822500 h 6072780"/>
                <a:gd name="connsiteX1771" fmla="*/ 7851748 w 12117871"/>
                <a:gd name="connsiteY1771" fmla="*/ 3811397 h 6072780"/>
                <a:gd name="connsiteX1772" fmla="*/ 7413731 w 12117871"/>
                <a:gd name="connsiteY1772" fmla="*/ 3811397 h 6072780"/>
                <a:gd name="connsiteX1773" fmla="*/ 7428637 w 12117871"/>
                <a:gd name="connsiteY1773" fmla="*/ 3811397 h 6072780"/>
                <a:gd name="connsiteX1774" fmla="*/ 7428637 w 12117871"/>
                <a:gd name="connsiteY1774" fmla="*/ 4034377 h 6072780"/>
                <a:gd name="connsiteX1775" fmla="*/ 7393349 w 12117871"/>
                <a:gd name="connsiteY1775" fmla="*/ 4034377 h 6072780"/>
                <a:gd name="connsiteX1776" fmla="*/ 7393349 w 12117871"/>
                <a:gd name="connsiteY1776" fmla="*/ 3854593 h 6072780"/>
                <a:gd name="connsiteX1777" fmla="*/ 7372740 w 12117871"/>
                <a:gd name="connsiteY1777" fmla="*/ 3866229 h 6072780"/>
                <a:gd name="connsiteX1778" fmla="*/ 7347567 w 12117871"/>
                <a:gd name="connsiteY1778" fmla="*/ 3874671 h 6072780"/>
                <a:gd name="connsiteX1779" fmla="*/ 7347567 w 12117871"/>
                <a:gd name="connsiteY1779" fmla="*/ 3844555 h 6072780"/>
                <a:gd name="connsiteX1780" fmla="*/ 7364602 w 12117871"/>
                <a:gd name="connsiteY1780" fmla="*/ 3838471 h 6072780"/>
                <a:gd name="connsiteX1781" fmla="*/ 7380801 w 12117871"/>
                <a:gd name="connsiteY1781" fmla="*/ 3831322 h 6072780"/>
                <a:gd name="connsiteX1782" fmla="*/ 7396924 w 12117871"/>
                <a:gd name="connsiteY1782" fmla="*/ 3822500 h 6072780"/>
                <a:gd name="connsiteX1783" fmla="*/ 7413731 w 12117871"/>
                <a:gd name="connsiteY1783" fmla="*/ 3811397 h 6072780"/>
                <a:gd name="connsiteX1784" fmla="*/ 7015147 w 12117871"/>
                <a:gd name="connsiteY1784" fmla="*/ 3811397 h 6072780"/>
                <a:gd name="connsiteX1785" fmla="*/ 7030053 w 12117871"/>
                <a:gd name="connsiteY1785" fmla="*/ 3811397 h 6072780"/>
                <a:gd name="connsiteX1786" fmla="*/ 7030053 w 12117871"/>
                <a:gd name="connsiteY1786" fmla="*/ 4034377 h 6072780"/>
                <a:gd name="connsiteX1787" fmla="*/ 6994765 w 12117871"/>
                <a:gd name="connsiteY1787" fmla="*/ 4034377 h 6072780"/>
                <a:gd name="connsiteX1788" fmla="*/ 6994765 w 12117871"/>
                <a:gd name="connsiteY1788" fmla="*/ 3854593 h 6072780"/>
                <a:gd name="connsiteX1789" fmla="*/ 6974156 w 12117871"/>
                <a:gd name="connsiteY1789" fmla="*/ 3866229 h 6072780"/>
                <a:gd name="connsiteX1790" fmla="*/ 6948983 w 12117871"/>
                <a:gd name="connsiteY1790" fmla="*/ 3874671 h 6072780"/>
                <a:gd name="connsiteX1791" fmla="*/ 6948983 w 12117871"/>
                <a:gd name="connsiteY1791" fmla="*/ 3844555 h 6072780"/>
                <a:gd name="connsiteX1792" fmla="*/ 6966018 w 12117871"/>
                <a:gd name="connsiteY1792" fmla="*/ 3838471 h 6072780"/>
                <a:gd name="connsiteX1793" fmla="*/ 6982217 w 12117871"/>
                <a:gd name="connsiteY1793" fmla="*/ 3831322 h 6072780"/>
                <a:gd name="connsiteX1794" fmla="*/ 6998340 w 12117871"/>
                <a:gd name="connsiteY1794" fmla="*/ 3822500 h 6072780"/>
                <a:gd name="connsiteX1795" fmla="*/ 7015147 w 12117871"/>
                <a:gd name="connsiteY1795" fmla="*/ 3811397 h 6072780"/>
                <a:gd name="connsiteX1796" fmla="*/ 6727931 w 12117871"/>
                <a:gd name="connsiteY1796" fmla="*/ 3811397 h 6072780"/>
                <a:gd name="connsiteX1797" fmla="*/ 6742837 w 12117871"/>
                <a:gd name="connsiteY1797" fmla="*/ 3811397 h 6072780"/>
                <a:gd name="connsiteX1798" fmla="*/ 6742837 w 12117871"/>
                <a:gd name="connsiteY1798" fmla="*/ 4034377 h 6072780"/>
                <a:gd name="connsiteX1799" fmla="*/ 6707549 w 12117871"/>
                <a:gd name="connsiteY1799" fmla="*/ 4034377 h 6072780"/>
                <a:gd name="connsiteX1800" fmla="*/ 6707549 w 12117871"/>
                <a:gd name="connsiteY1800" fmla="*/ 3854593 h 6072780"/>
                <a:gd name="connsiteX1801" fmla="*/ 6686940 w 12117871"/>
                <a:gd name="connsiteY1801" fmla="*/ 3866229 h 6072780"/>
                <a:gd name="connsiteX1802" fmla="*/ 6661767 w 12117871"/>
                <a:gd name="connsiteY1802" fmla="*/ 3874671 h 6072780"/>
                <a:gd name="connsiteX1803" fmla="*/ 6661767 w 12117871"/>
                <a:gd name="connsiteY1803" fmla="*/ 3844555 h 6072780"/>
                <a:gd name="connsiteX1804" fmla="*/ 6678802 w 12117871"/>
                <a:gd name="connsiteY1804" fmla="*/ 3838471 h 6072780"/>
                <a:gd name="connsiteX1805" fmla="*/ 6695001 w 12117871"/>
                <a:gd name="connsiteY1805" fmla="*/ 3831322 h 6072780"/>
                <a:gd name="connsiteX1806" fmla="*/ 6711124 w 12117871"/>
                <a:gd name="connsiteY1806" fmla="*/ 3822500 h 6072780"/>
                <a:gd name="connsiteX1807" fmla="*/ 6727931 w 12117871"/>
                <a:gd name="connsiteY1807" fmla="*/ 3811397 h 6072780"/>
                <a:gd name="connsiteX1808" fmla="*/ 6584323 w 12117871"/>
                <a:gd name="connsiteY1808" fmla="*/ 3811397 h 6072780"/>
                <a:gd name="connsiteX1809" fmla="*/ 6599229 w 12117871"/>
                <a:gd name="connsiteY1809" fmla="*/ 3811397 h 6072780"/>
                <a:gd name="connsiteX1810" fmla="*/ 6599229 w 12117871"/>
                <a:gd name="connsiteY1810" fmla="*/ 4034377 h 6072780"/>
                <a:gd name="connsiteX1811" fmla="*/ 6563941 w 12117871"/>
                <a:gd name="connsiteY1811" fmla="*/ 4034377 h 6072780"/>
                <a:gd name="connsiteX1812" fmla="*/ 6563941 w 12117871"/>
                <a:gd name="connsiteY1812" fmla="*/ 3854593 h 6072780"/>
                <a:gd name="connsiteX1813" fmla="*/ 6543332 w 12117871"/>
                <a:gd name="connsiteY1813" fmla="*/ 3866229 h 6072780"/>
                <a:gd name="connsiteX1814" fmla="*/ 6518159 w 12117871"/>
                <a:gd name="connsiteY1814" fmla="*/ 3874671 h 6072780"/>
                <a:gd name="connsiteX1815" fmla="*/ 6518159 w 12117871"/>
                <a:gd name="connsiteY1815" fmla="*/ 3844555 h 6072780"/>
                <a:gd name="connsiteX1816" fmla="*/ 6535194 w 12117871"/>
                <a:gd name="connsiteY1816" fmla="*/ 3838471 h 6072780"/>
                <a:gd name="connsiteX1817" fmla="*/ 6551393 w 12117871"/>
                <a:gd name="connsiteY1817" fmla="*/ 3831322 h 6072780"/>
                <a:gd name="connsiteX1818" fmla="*/ 6567516 w 12117871"/>
                <a:gd name="connsiteY1818" fmla="*/ 3822500 h 6072780"/>
                <a:gd name="connsiteX1819" fmla="*/ 6584323 w 12117871"/>
                <a:gd name="connsiteY1819" fmla="*/ 3811397 h 6072780"/>
                <a:gd name="connsiteX1820" fmla="*/ 6373956 w 12117871"/>
                <a:gd name="connsiteY1820" fmla="*/ 3811397 h 6072780"/>
                <a:gd name="connsiteX1821" fmla="*/ 6445123 w 12117871"/>
                <a:gd name="connsiteY1821" fmla="*/ 3921984 h 6072780"/>
                <a:gd name="connsiteX1822" fmla="*/ 6425037 w 12117871"/>
                <a:gd name="connsiteY1822" fmla="*/ 4005564 h 6072780"/>
                <a:gd name="connsiteX1823" fmla="*/ 6368840 w 12117871"/>
                <a:gd name="connsiteY1823" fmla="*/ 4034377 h 6072780"/>
                <a:gd name="connsiteX1824" fmla="*/ 6316255 w 12117871"/>
                <a:gd name="connsiteY1824" fmla="*/ 4006843 h 6072780"/>
                <a:gd name="connsiteX1825" fmla="*/ 6297372 w 12117871"/>
                <a:gd name="connsiteY1825" fmla="*/ 3927250 h 6072780"/>
                <a:gd name="connsiteX1826" fmla="*/ 6317082 w 12117871"/>
                <a:gd name="connsiteY1826" fmla="*/ 3840736 h 6072780"/>
                <a:gd name="connsiteX1827" fmla="*/ 6373956 w 12117871"/>
                <a:gd name="connsiteY1827" fmla="*/ 3811397 h 6072780"/>
                <a:gd name="connsiteX1828" fmla="*/ 5975659 w 12117871"/>
                <a:gd name="connsiteY1828" fmla="*/ 3811397 h 6072780"/>
                <a:gd name="connsiteX1829" fmla="*/ 5990568 w 12117871"/>
                <a:gd name="connsiteY1829" fmla="*/ 3811397 h 6072780"/>
                <a:gd name="connsiteX1830" fmla="*/ 5990568 w 12117871"/>
                <a:gd name="connsiteY1830" fmla="*/ 4034377 h 6072780"/>
                <a:gd name="connsiteX1831" fmla="*/ 5955278 w 12117871"/>
                <a:gd name="connsiteY1831" fmla="*/ 4034377 h 6072780"/>
                <a:gd name="connsiteX1832" fmla="*/ 5955278 w 12117871"/>
                <a:gd name="connsiteY1832" fmla="*/ 3854593 h 6072780"/>
                <a:gd name="connsiteX1833" fmla="*/ 5934669 w 12117871"/>
                <a:gd name="connsiteY1833" fmla="*/ 3866229 h 6072780"/>
                <a:gd name="connsiteX1834" fmla="*/ 5909498 w 12117871"/>
                <a:gd name="connsiteY1834" fmla="*/ 3874671 h 6072780"/>
                <a:gd name="connsiteX1835" fmla="*/ 5909498 w 12117871"/>
                <a:gd name="connsiteY1835" fmla="*/ 3844555 h 6072780"/>
                <a:gd name="connsiteX1836" fmla="*/ 5926531 w 12117871"/>
                <a:gd name="connsiteY1836" fmla="*/ 3838471 h 6072780"/>
                <a:gd name="connsiteX1837" fmla="*/ 5942730 w 12117871"/>
                <a:gd name="connsiteY1837" fmla="*/ 3831322 h 6072780"/>
                <a:gd name="connsiteX1838" fmla="*/ 5958852 w 12117871"/>
                <a:gd name="connsiteY1838" fmla="*/ 3822500 h 6072780"/>
                <a:gd name="connsiteX1839" fmla="*/ 5975659 w 12117871"/>
                <a:gd name="connsiteY1839" fmla="*/ 3811397 h 6072780"/>
                <a:gd name="connsiteX1840" fmla="*/ 5786272 w 12117871"/>
                <a:gd name="connsiteY1840" fmla="*/ 3811397 h 6072780"/>
                <a:gd name="connsiteX1841" fmla="*/ 5857440 w 12117871"/>
                <a:gd name="connsiteY1841" fmla="*/ 3921984 h 6072780"/>
                <a:gd name="connsiteX1842" fmla="*/ 5837355 w 12117871"/>
                <a:gd name="connsiteY1842" fmla="*/ 4005564 h 6072780"/>
                <a:gd name="connsiteX1843" fmla="*/ 5781158 w 12117871"/>
                <a:gd name="connsiteY1843" fmla="*/ 4034377 h 6072780"/>
                <a:gd name="connsiteX1844" fmla="*/ 5728572 w 12117871"/>
                <a:gd name="connsiteY1844" fmla="*/ 4006843 h 6072780"/>
                <a:gd name="connsiteX1845" fmla="*/ 5709690 w 12117871"/>
                <a:gd name="connsiteY1845" fmla="*/ 3927250 h 6072780"/>
                <a:gd name="connsiteX1846" fmla="*/ 5729400 w 12117871"/>
                <a:gd name="connsiteY1846" fmla="*/ 3840736 h 6072780"/>
                <a:gd name="connsiteX1847" fmla="*/ 5786272 w 12117871"/>
                <a:gd name="connsiteY1847" fmla="*/ 3811397 h 6072780"/>
                <a:gd name="connsiteX1848" fmla="*/ 5093284 w 12117871"/>
                <a:gd name="connsiteY1848" fmla="*/ 3811397 h 6072780"/>
                <a:gd name="connsiteX1849" fmla="*/ 5164451 w 12117871"/>
                <a:gd name="connsiteY1849" fmla="*/ 3921984 h 6072780"/>
                <a:gd name="connsiteX1850" fmla="*/ 5144364 w 12117871"/>
                <a:gd name="connsiteY1850" fmla="*/ 4005564 h 6072780"/>
                <a:gd name="connsiteX1851" fmla="*/ 5088168 w 12117871"/>
                <a:gd name="connsiteY1851" fmla="*/ 4034377 h 6072780"/>
                <a:gd name="connsiteX1852" fmla="*/ 5035583 w 12117871"/>
                <a:gd name="connsiteY1852" fmla="*/ 4006843 h 6072780"/>
                <a:gd name="connsiteX1853" fmla="*/ 5016700 w 12117871"/>
                <a:gd name="connsiteY1853" fmla="*/ 3927250 h 6072780"/>
                <a:gd name="connsiteX1854" fmla="*/ 5036410 w 12117871"/>
                <a:gd name="connsiteY1854" fmla="*/ 3840736 h 6072780"/>
                <a:gd name="connsiteX1855" fmla="*/ 5093284 w 12117871"/>
                <a:gd name="connsiteY1855" fmla="*/ 3811397 h 6072780"/>
                <a:gd name="connsiteX1856" fmla="*/ 4694968 w 12117871"/>
                <a:gd name="connsiteY1856" fmla="*/ 3811397 h 6072780"/>
                <a:gd name="connsiteX1857" fmla="*/ 4709876 w 12117871"/>
                <a:gd name="connsiteY1857" fmla="*/ 3811397 h 6072780"/>
                <a:gd name="connsiteX1858" fmla="*/ 4709876 w 12117871"/>
                <a:gd name="connsiteY1858" fmla="*/ 4034377 h 6072780"/>
                <a:gd name="connsiteX1859" fmla="*/ 4674589 w 12117871"/>
                <a:gd name="connsiteY1859" fmla="*/ 4034377 h 6072780"/>
                <a:gd name="connsiteX1860" fmla="*/ 4674589 w 12117871"/>
                <a:gd name="connsiteY1860" fmla="*/ 3854593 h 6072780"/>
                <a:gd name="connsiteX1861" fmla="*/ 4653978 w 12117871"/>
                <a:gd name="connsiteY1861" fmla="*/ 3866229 h 6072780"/>
                <a:gd name="connsiteX1862" fmla="*/ 4628805 w 12117871"/>
                <a:gd name="connsiteY1862" fmla="*/ 3874671 h 6072780"/>
                <a:gd name="connsiteX1863" fmla="*/ 4628805 w 12117871"/>
                <a:gd name="connsiteY1863" fmla="*/ 3844555 h 6072780"/>
                <a:gd name="connsiteX1864" fmla="*/ 4645841 w 12117871"/>
                <a:gd name="connsiteY1864" fmla="*/ 3838471 h 6072780"/>
                <a:gd name="connsiteX1865" fmla="*/ 4662040 w 12117871"/>
                <a:gd name="connsiteY1865" fmla="*/ 3831322 h 6072780"/>
                <a:gd name="connsiteX1866" fmla="*/ 4678162 w 12117871"/>
                <a:gd name="connsiteY1866" fmla="*/ 3822500 h 6072780"/>
                <a:gd name="connsiteX1867" fmla="*/ 4694968 w 12117871"/>
                <a:gd name="connsiteY1867" fmla="*/ 3811397 h 6072780"/>
                <a:gd name="connsiteX1868" fmla="*/ 4345906 w 12117871"/>
                <a:gd name="connsiteY1868" fmla="*/ 3811397 h 6072780"/>
                <a:gd name="connsiteX1869" fmla="*/ 4360813 w 12117871"/>
                <a:gd name="connsiteY1869" fmla="*/ 3811397 h 6072780"/>
                <a:gd name="connsiteX1870" fmla="*/ 4360813 w 12117871"/>
                <a:gd name="connsiteY1870" fmla="*/ 4034377 h 6072780"/>
                <a:gd name="connsiteX1871" fmla="*/ 4325525 w 12117871"/>
                <a:gd name="connsiteY1871" fmla="*/ 4034377 h 6072780"/>
                <a:gd name="connsiteX1872" fmla="*/ 4325525 w 12117871"/>
                <a:gd name="connsiteY1872" fmla="*/ 3854593 h 6072780"/>
                <a:gd name="connsiteX1873" fmla="*/ 4304915 w 12117871"/>
                <a:gd name="connsiteY1873" fmla="*/ 3866229 h 6072780"/>
                <a:gd name="connsiteX1874" fmla="*/ 4279743 w 12117871"/>
                <a:gd name="connsiteY1874" fmla="*/ 3874671 h 6072780"/>
                <a:gd name="connsiteX1875" fmla="*/ 4279743 w 12117871"/>
                <a:gd name="connsiteY1875" fmla="*/ 3844555 h 6072780"/>
                <a:gd name="connsiteX1876" fmla="*/ 4296778 w 12117871"/>
                <a:gd name="connsiteY1876" fmla="*/ 3838471 h 6072780"/>
                <a:gd name="connsiteX1877" fmla="*/ 4312977 w 12117871"/>
                <a:gd name="connsiteY1877" fmla="*/ 3831322 h 6072780"/>
                <a:gd name="connsiteX1878" fmla="*/ 4329099 w 12117871"/>
                <a:gd name="connsiteY1878" fmla="*/ 3822500 h 6072780"/>
                <a:gd name="connsiteX1879" fmla="*/ 4345906 w 12117871"/>
                <a:gd name="connsiteY1879" fmla="*/ 3811397 h 6072780"/>
                <a:gd name="connsiteX1880" fmla="*/ 3839047 w 12117871"/>
                <a:gd name="connsiteY1880" fmla="*/ 3811397 h 6072780"/>
                <a:gd name="connsiteX1881" fmla="*/ 3910214 w 12117871"/>
                <a:gd name="connsiteY1881" fmla="*/ 3921984 h 6072780"/>
                <a:gd name="connsiteX1882" fmla="*/ 3890128 w 12117871"/>
                <a:gd name="connsiteY1882" fmla="*/ 4005564 h 6072780"/>
                <a:gd name="connsiteX1883" fmla="*/ 3833931 w 12117871"/>
                <a:gd name="connsiteY1883" fmla="*/ 4034377 h 6072780"/>
                <a:gd name="connsiteX1884" fmla="*/ 3781346 w 12117871"/>
                <a:gd name="connsiteY1884" fmla="*/ 4006843 h 6072780"/>
                <a:gd name="connsiteX1885" fmla="*/ 3762464 w 12117871"/>
                <a:gd name="connsiteY1885" fmla="*/ 3927250 h 6072780"/>
                <a:gd name="connsiteX1886" fmla="*/ 3782173 w 12117871"/>
                <a:gd name="connsiteY1886" fmla="*/ 3840736 h 6072780"/>
                <a:gd name="connsiteX1887" fmla="*/ 3839047 w 12117871"/>
                <a:gd name="connsiteY1887" fmla="*/ 3811397 h 6072780"/>
                <a:gd name="connsiteX1888" fmla="*/ 3616537 w 12117871"/>
                <a:gd name="connsiteY1888" fmla="*/ 3811397 h 6072780"/>
                <a:gd name="connsiteX1889" fmla="*/ 3687703 w 12117871"/>
                <a:gd name="connsiteY1889" fmla="*/ 3921984 h 6072780"/>
                <a:gd name="connsiteX1890" fmla="*/ 3667617 w 12117871"/>
                <a:gd name="connsiteY1890" fmla="*/ 4005564 h 6072780"/>
                <a:gd name="connsiteX1891" fmla="*/ 3611420 w 12117871"/>
                <a:gd name="connsiteY1891" fmla="*/ 4034377 h 6072780"/>
                <a:gd name="connsiteX1892" fmla="*/ 3558835 w 12117871"/>
                <a:gd name="connsiteY1892" fmla="*/ 4006843 h 6072780"/>
                <a:gd name="connsiteX1893" fmla="*/ 3539952 w 12117871"/>
                <a:gd name="connsiteY1893" fmla="*/ 3927250 h 6072780"/>
                <a:gd name="connsiteX1894" fmla="*/ 3559662 w 12117871"/>
                <a:gd name="connsiteY1894" fmla="*/ 3840736 h 6072780"/>
                <a:gd name="connsiteX1895" fmla="*/ 3616537 w 12117871"/>
                <a:gd name="connsiteY1895" fmla="*/ 3811397 h 6072780"/>
                <a:gd name="connsiteX1896" fmla="*/ 3454863 w 12117871"/>
                <a:gd name="connsiteY1896" fmla="*/ 3811397 h 6072780"/>
                <a:gd name="connsiteX1897" fmla="*/ 3469768 w 12117871"/>
                <a:gd name="connsiteY1897" fmla="*/ 3811397 h 6072780"/>
                <a:gd name="connsiteX1898" fmla="*/ 3469768 w 12117871"/>
                <a:gd name="connsiteY1898" fmla="*/ 4034377 h 6072780"/>
                <a:gd name="connsiteX1899" fmla="*/ 3434481 w 12117871"/>
                <a:gd name="connsiteY1899" fmla="*/ 4034377 h 6072780"/>
                <a:gd name="connsiteX1900" fmla="*/ 3434481 w 12117871"/>
                <a:gd name="connsiteY1900" fmla="*/ 3854593 h 6072780"/>
                <a:gd name="connsiteX1901" fmla="*/ 3413872 w 12117871"/>
                <a:gd name="connsiteY1901" fmla="*/ 3866229 h 6072780"/>
                <a:gd name="connsiteX1902" fmla="*/ 3388698 w 12117871"/>
                <a:gd name="connsiteY1902" fmla="*/ 3874671 h 6072780"/>
                <a:gd name="connsiteX1903" fmla="*/ 3388698 w 12117871"/>
                <a:gd name="connsiteY1903" fmla="*/ 3844555 h 6072780"/>
                <a:gd name="connsiteX1904" fmla="*/ 3405734 w 12117871"/>
                <a:gd name="connsiteY1904" fmla="*/ 3838471 h 6072780"/>
                <a:gd name="connsiteX1905" fmla="*/ 3421933 w 12117871"/>
                <a:gd name="connsiteY1905" fmla="*/ 3831322 h 6072780"/>
                <a:gd name="connsiteX1906" fmla="*/ 3438054 w 12117871"/>
                <a:gd name="connsiteY1906" fmla="*/ 3822500 h 6072780"/>
                <a:gd name="connsiteX1907" fmla="*/ 3454863 w 12117871"/>
                <a:gd name="connsiteY1907" fmla="*/ 3811397 h 6072780"/>
                <a:gd name="connsiteX1908" fmla="*/ 3158682 w 12117871"/>
                <a:gd name="connsiteY1908" fmla="*/ 3811397 h 6072780"/>
                <a:gd name="connsiteX1909" fmla="*/ 3173587 w 12117871"/>
                <a:gd name="connsiteY1909" fmla="*/ 3811397 h 6072780"/>
                <a:gd name="connsiteX1910" fmla="*/ 3173587 w 12117871"/>
                <a:gd name="connsiteY1910" fmla="*/ 4034377 h 6072780"/>
                <a:gd name="connsiteX1911" fmla="*/ 3138299 w 12117871"/>
                <a:gd name="connsiteY1911" fmla="*/ 4034377 h 6072780"/>
                <a:gd name="connsiteX1912" fmla="*/ 3138299 w 12117871"/>
                <a:gd name="connsiteY1912" fmla="*/ 3854593 h 6072780"/>
                <a:gd name="connsiteX1913" fmla="*/ 3117690 w 12117871"/>
                <a:gd name="connsiteY1913" fmla="*/ 3866229 h 6072780"/>
                <a:gd name="connsiteX1914" fmla="*/ 3092517 w 12117871"/>
                <a:gd name="connsiteY1914" fmla="*/ 3874671 h 6072780"/>
                <a:gd name="connsiteX1915" fmla="*/ 3092517 w 12117871"/>
                <a:gd name="connsiteY1915" fmla="*/ 3844555 h 6072780"/>
                <a:gd name="connsiteX1916" fmla="*/ 3109553 w 12117871"/>
                <a:gd name="connsiteY1916" fmla="*/ 3838471 h 6072780"/>
                <a:gd name="connsiteX1917" fmla="*/ 3125751 w 12117871"/>
                <a:gd name="connsiteY1917" fmla="*/ 3831322 h 6072780"/>
                <a:gd name="connsiteX1918" fmla="*/ 3141875 w 12117871"/>
                <a:gd name="connsiteY1918" fmla="*/ 3822500 h 6072780"/>
                <a:gd name="connsiteX1919" fmla="*/ 3158682 w 12117871"/>
                <a:gd name="connsiteY1919" fmla="*/ 3811397 h 6072780"/>
                <a:gd name="connsiteX1920" fmla="*/ 2783382 w 12117871"/>
                <a:gd name="connsiteY1920" fmla="*/ 3811397 h 6072780"/>
                <a:gd name="connsiteX1921" fmla="*/ 2798288 w 12117871"/>
                <a:gd name="connsiteY1921" fmla="*/ 3811397 h 6072780"/>
                <a:gd name="connsiteX1922" fmla="*/ 2798288 w 12117871"/>
                <a:gd name="connsiteY1922" fmla="*/ 4034377 h 6072780"/>
                <a:gd name="connsiteX1923" fmla="*/ 2763000 w 12117871"/>
                <a:gd name="connsiteY1923" fmla="*/ 4034377 h 6072780"/>
                <a:gd name="connsiteX1924" fmla="*/ 2763000 w 12117871"/>
                <a:gd name="connsiteY1924" fmla="*/ 3854593 h 6072780"/>
                <a:gd name="connsiteX1925" fmla="*/ 2742391 w 12117871"/>
                <a:gd name="connsiteY1925" fmla="*/ 3866229 h 6072780"/>
                <a:gd name="connsiteX1926" fmla="*/ 2717219 w 12117871"/>
                <a:gd name="connsiteY1926" fmla="*/ 3874671 h 6072780"/>
                <a:gd name="connsiteX1927" fmla="*/ 2717219 w 12117871"/>
                <a:gd name="connsiteY1927" fmla="*/ 3844555 h 6072780"/>
                <a:gd name="connsiteX1928" fmla="*/ 2734253 w 12117871"/>
                <a:gd name="connsiteY1928" fmla="*/ 3838471 h 6072780"/>
                <a:gd name="connsiteX1929" fmla="*/ 2750453 w 12117871"/>
                <a:gd name="connsiteY1929" fmla="*/ 3831322 h 6072780"/>
                <a:gd name="connsiteX1930" fmla="*/ 2766576 w 12117871"/>
                <a:gd name="connsiteY1930" fmla="*/ 3822500 h 6072780"/>
                <a:gd name="connsiteX1931" fmla="*/ 2783382 w 12117871"/>
                <a:gd name="connsiteY1931" fmla="*/ 3811397 h 6072780"/>
                <a:gd name="connsiteX1932" fmla="*/ 2489154 w 12117871"/>
                <a:gd name="connsiteY1932" fmla="*/ 3811397 h 6072780"/>
                <a:gd name="connsiteX1933" fmla="*/ 2504060 w 12117871"/>
                <a:gd name="connsiteY1933" fmla="*/ 3811397 h 6072780"/>
                <a:gd name="connsiteX1934" fmla="*/ 2504060 w 12117871"/>
                <a:gd name="connsiteY1934" fmla="*/ 4034377 h 6072780"/>
                <a:gd name="connsiteX1935" fmla="*/ 2468772 w 12117871"/>
                <a:gd name="connsiteY1935" fmla="*/ 4034377 h 6072780"/>
                <a:gd name="connsiteX1936" fmla="*/ 2468772 w 12117871"/>
                <a:gd name="connsiteY1936" fmla="*/ 3854593 h 6072780"/>
                <a:gd name="connsiteX1937" fmla="*/ 2448163 w 12117871"/>
                <a:gd name="connsiteY1937" fmla="*/ 3866229 h 6072780"/>
                <a:gd name="connsiteX1938" fmla="*/ 2422990 w 12117871"/>
                <a:gd name="connsiteY1938" fmla="*/ 3874671 h 6072780"/>
                <a:gd name="connsiteX1939" fmla="*/ 2422990 w 12117871"/>
                <a:gd name="connsiteY1939" fmla="*/ 3844555 h 6072780"/>
                <a:gd name="connsiteX1940" fmla="*/ 2440025 w 12117871"/>
                <a:gd name="connsiteY1940" fmla="*/ 3838471 h 6072780"/>
                <a:gd name="connsiteX1941" fmla="*/ 2456224 w 12117871"/>
                <a:gd name="connsiteY1941" fmla="*/ 3831322 h 6072780"/>
                <a:gd name="connsiteX1942" fmla="*/ 2472346 w 12117871"/>
                <a:gd name="connsiteY1942" fmla="*/ 3822500 h 6072780"/>
                <a:gd name="connsiteX1943" fmla="*/ 2489154 w 12117871"/>
                <a:gd name="connsiteY1943" fmla="*/ 3811397 h 6072780"/>
                <a:gd name="connsiteX1944" fmla="*/ 1599916 w 12117871"/>
                <a:gd name="connsiteY1944" fmla="*/ 3811397 h 6072780"/>
                <a:gd name="connsiteX1945" fmla="*/ 1614822 w 12117871"/>
                <a:gd name="connsiteY1945" fmla="*/ 3811397 h 6072780"/>
                <a:gd name="connsiteX1946" fmla="*/ 1614822 w 12117871"/>
                <a:gd name="connsiteY1946" fmla="*/ 4034377 h 6072780"/>
                <a:gd name="connsiteX1947" fmla="*/ 1579534 w 12117871"/>
                <a:gd name="connsiteY1947" fmla="*/ 4034377 h 6072780"/>
                <a:gd name="connsiteX1948" fmla="*/ 1579534 w 12117871"/>
                <a:gd name="connsiteY1948" fmla="*/ 3854593 h 6072780"/>
                <a:gd name="connsiteX1949" fmla="*/ 1558925 w 12117871"/>
                <a:gd name="connsiteY1949" fmla="*/ 3866229 h 6072780"/>
                <a:gd name="connsiteX1950" fmla="*/ 1533752 w 12117871"/>
                <a:gd name="connsiteY1950" fmla="*/ 3874671 h 6072780"/>
                <a:gd name="connsiteX1951" fmla="*/ 1533752 w 12117871"/>
                <a:gd name="connsiteY1951" fmla="*/ 3844555 h 6072780"/>
                <a:gd name="connsiteX1952" fmla="*/ 1550787 w 12117871"/>
                <a:gd name="connsiteY1952" fmla="*/ 3838471 h 6072780"/>
                <a:gd name="connsiteX1953" fmla="*/ 1566986 w 12117871"/>
                <a:gd name="connsiteY1953" fmla="*/ 3831322 h 6072780"/>
                <a:gd name="connsiteX1954" fmla="*/ 1583109 w 12117871"/>
                <a:gd name="connsiteY1954" fmla="*/ 3822500 h 6072780"/>
                <a:gd name="connsiteX1955" fmla="*/ 1599916 w 12117871"/>
                <a:gd name="connsiteY1955" fmla="*/ 3811397 h 6072780"/>
                <a:gd name="connsiteX1956" fmla="*/ 1302202 w 12117871"/>
                <a:gd name="connsiteY1956" fmla="*/ 3811397 h 6072780"/>
                <a:gd name="connsiteX1957" fmla="*/ 1317108 w 12117871"/>
                <a:gd name="connsiteY1957" fmla="*/ 3811397 h 6072780"/>
                <a:gd name="connsiteX1958" fmla="*/ 1317108 w 12117871"/>
                <a:gd name="connsiteY1958" fmla="*/ 4034377 h 6072780"/>
                <a:gd name="connsiteX1959" fmla="*/ 1281820 w 12117871"/>
                <a:gd name="connsiteY1959" fmla="*/ 4034377 h 6072780"/>
                <a:gd name="connsiteX1960" fmla="*/ 1281820 w 12117871"/>
                <a:gd name="connsiteY1960" fmla="*/ 3854593 h 6072780"/>
                <a:gd name="connsiteX1961" fmla="*/ 1261211 w 12117871"/>
                <a:gd name="connsiteY1961" fmla="*/ 3866229 h 6072780"/>
                <a:gd name="connsiteX1962" fmla="*/ 1236038 w 12117871"/>
                <a:gd name="connsiteY1962" fmla="*/ 3874671 h 6072780"/>
                <a:gd name="connsiteX1963" fmla="*/ 1236038 w 12117871"/>
                <a:gd name="connsiteY1963" fmla="*/ 3844555 h 6072780"/>
                <a:gd name="connsiteX1964" fmla="*/ 1253073 w 12117871"/>
                <a:gd name="connsiteY1964" fmla="*/ 3838471 h 6072780"/>
                <a:gd name="connsiteX1965" fmla="*/ 1269272 w 12117871"/>
                <a:gd name="connsiteY1965" fmla="*/ 3831322 h 6072780"/>
                <a:gd name="connsiteX1966" fmla="*/ 1285395 w 12117871"/>
                <a:gd name="connsiteY1966" fmla="*/ 3822500 h 6072780"/>
                <a:gd name="connsiteX1967" fmla="*/ 1302202 w 12117871"/>
                <a:gd name="connsiteY1967" fmla="*/ 3811397 h 6072780"/>
                <a:gd name="connsiteX1968" fmla="*/ 927321 w 12117871"/>
                <a:gd name="connsiteY1968" fmla="*/ 3811397 h 6072780"/>
                <a:gd name="connsiteX1969" fmla="*/ 942227 w 12117871"/>
                <a:gd name="connsiteY1969" fmla="*/ 3811397 h 6072780"/>
                <a:gd name="connsiteX1970" fmla="*/ 942227 w 12117871"/>
                <a:gd name="connsiteY1970" fmla="*/ 4034377 h 6072780"/>
                <a:gd name="connsiteX1971" fmla="*/ 906939 w 12117871"/>
                <a:gd name="connsiteY1971" fmla="*/ 4034377 h 6072780"/>
                <a:gd name="connsiteX1972" fmla="*/ 906939 w 12117871"/>
                <a:gd name="connsiteY1972" fmla="*/ 3854593 h 6072780"/>
                <a:gd name="connsiteX1973" fmla="*/ 886330 w 12117871"/>
                <a:gd name="connsiteY1973" fmla="*/ 3866229 h 6072780"/>
                <a:gd name="connsiteX1974" fmla="*/ 861157 w 12117871"/>
                <a:gd name="connsiteY1974" fmla="*/ 3874671 h 6072780"/>
                <a:gd name="connsiteX1975" fmla="*/ 861157 w 12117871"/>
                <a:gd name="connsiteY1975" fmla="*/ 3844555 h 6072780"/>
                <a:gd name="connsiteX1976" fmla="*/ 878192 w 12117871"/>
                <a:gd name="connsiteY1976" fmla="*/ 3838471 h 6072780"/>
                <a:gd name="connsiteX1977" fmla="*/ 894391 w 12117871"/>
                <a:gd name="connsiteY1977" fmla="*/ 3831322 h 6072780"/>
                <a:gd name="connsiteX1978" fmla="*/ 910514 w 12117871"/>
                <a:gd name="connsiteY1978" fmla="*/ 3822500 h 6072780"/>
                <a:gd name="connsiteX1979" fmla="*/ 927321 w 12117871"/>
                <a:gd name="connsiteY1979" fmla="*/ 3811397 h 6072780"/>
                <a:gd name="connsiteX1980" fmla="*/ 778464 w 12117871"/>
                <a:gd name="connsiteY1980" fmla="*/ 3811397 h 6072780"/>
                <a:gd name="connsiteX1981" fmla="*/ 793370 w 12117871"/>
                <a:gd name="connsiteY1981" fmla="*/ 3811397 h 6072780"/>
                <a:gd name="connsiteX1982" fmla="*/ 793370 w 12117871"/>
                <a:gd name="connsiteY1982" fmla="*/ 4034377 h 6072780"/>
                <a:gd name="connsiteX1983" fmla="*/ 758082 w 12117871"/>
                <a:gd name="connsiteY1983" fmla="*/ 4034377 h 6072780"/>
                <a:gd name="connsiteX1984" fmla="*/ 758082 w 12117871"/>
                <a:gd name="connsiteY1984" fmla="*/ 3854593 h 6072780"/>
                <a:gd name="connsiteX1985" fmla="*/ 737473 w 12117871"/>
                <a:gd name="connsiteY1985" fmla="*/ 3866229 h 6072780"/>
                <a:gd name="connsiteX1986" fmla="*/ 712300 w 12117871"/>
                <a:gd name="connsiteY1986" fmla="*/ 3874671 h 6072780"/>
                <a:gd name="connsiteX1987" fmla="*/ 712300 w 12117871"/>
                <a:gd name="connsiteY1987" fmla="*/ 3844555 h 6072780"/>
                <a:gd name="connsiteX1988" fmla="*/ 729335 w 12117871"/>
                <a:gd name="connsiteY1988" fmla="*/ 3838471 h 6072780"/>
                <a:gd name="connsiteX1989" fmla="*/ 745535 w 12117871"/>
                <a:gd name="connsiteY1989" fmla="*/ 3831322 h 6072780"/>
                <a:gd name="connsiteX1990" fmla="*/ 761657 w 12117871"/>
                <a:gd name="connsiteY1990" fmla="*/ 3822500 h 6072780"/>
                <a:gd name="connsiteX1991" fmla="*/ 778464 w 12117871"/>
                <a:gd name="connsiteY1991" fmla="*/ 3811397 h 6072780"/>
                <a:gd name="connsiteX1992" fmla="*/ 629607 w 12117871"/>
                <a:gd name="connsiteY1992" fmla="*/ 3811397 h 6072780"/>
                <a:gd name="connsiteX1993" fmla="*/ 644513 w 12117871"/>
                <a:gd name="connsiteY1993" fmla="*/ 3811397 h 6072780"/>
                <a:gd name="connsiteX1994" fmla="*/ 644513 w 12117871"/>
                <a:gd name="connsiteY1994" fmla="*/ 4034377 h 6072780"/>
                <a:gd name="connsiteX1995" fmla="*/ 609225 w 12117871"/>
                <a:gd name="connsiteY1995" fmla="*/ 4034377 h 6072780"/>
                <a:gd name="connsiteX1996" fmla="*/ 609225 w 12117871"/>
                <a:gd name="connsiteY1996" fmla="*/ 3854593 h 6072780"/>
                <a:gd name="connsiteX1997" fmla="*/ 588616 w 12117871"/>
                <a:gd name="connsiteY1997" fmla="*/ 3866229 h 6072780"/>
                <a:gd name="connsiteX1998" fmla="*/ 563443 w 12117871"/>
                <a:gd name="connsiteY1998" fmla="*/ 3874671 h 6072780"/>
                <a:gd name="connsiteX1999" fmla="*/ 563443 w 12117871"/>
                <a:gd name="connsiteY1999" fmla="*/ 3844555 h 6072780"/>
                <a:gd name="connsiteX2000" fmla="*/ 580478 w 12117871"/>
                <a:gd name="connsiteY2000" fmla="*/ 3838471 h 6072780"/>
                <a:gd name="connsiteX2001" fmla="*/ 596677 w 12117871"/>
                <a:gd name="connsiteY2001" fmla="*/ 3831322 h 6072780"/>
                <a:gd name="connsiteX2002" fmla="*/ 612800 w 12117871"/>
                <a:gd name="connsiteY2002" fmla="*/ 3822500 h 6072780"/>
                <a:gd name="connsiteX2003" fmla="*/ 629607 w 12117871"/>
                <a:gd name="connsiteY2003" fmla="*/ 3811397 h 6072780"/>
                <a:gd name="connsiteX2004" fmla="*/ 480750 w 12117871"/>
                <a:gd name="connsiteY2004" fmla="*/ 3811397 h 6072780"/>
                <a:gd name="connsiteX2005" fmla="*/ 495656 w 12117871"/>
                <a:gd name="connsiteY2005" fmla="*/ 3811397 h 6072780"/>
                <a:gd name="connsiteX2006" fmla="*/ 495656 w 12117871"/>
                <a:gd name="connsiteY2006" fmla="*/ 4034377 h 6072780"/>
                <a:gd name="connsiteX2007" fmla="*/ 460368 w 12117871"/>
                <a:gd name="connsiteY2007" fmla="*/ 4034377 h 6072780"/>
                <a:gd name="connsiteX2008" fmla="*/ 460368 w 12117871"/>
                <a:gd name="connsiteY2008" fmla="*/ 3854593 h 6072780"/>
                <a:gd name="connsiteX2009" fmla="*/ 439759 w 12117871"/>
                <a:gd name="connsiteY2009" fmla="*/ 3866229 h 6072780"/>
                <a:gd name="connsiteX2010" fmla="*/ 414586 w 12117871"/>
                <a:gd name="connsiteY2010" fmla="*/ 3874671 h 6072780"/>
                <a:gd name="connsiteX2011" fmla="*/ 414586 w 12117871"/>
                <a:gd name="connsiteY2011" fmla="*/ 3844555 h 6072780"/>
                <a:gd name="connsiteX2012" fmla="*/ 431621 w 12117871"/>
                <a:gd name="connsiteY2012" fmla="*/ 3838471 h 6072780"/>
                <a:gd name="connsiteX2013" fmla="*/ 447821 w 12117871"/>
                <a:gd name="connsiteY2013" fmla="*/ 3831322 h 6072780"/>
                <a:gd name="connsiteX2014" fmla="*/ 463943 w 12117871"/>
                <a:gd name="connsiteY2014" fmla="*/ 3822500 h 6072780"/>
                <a:gd name="connsiteX2015" fmla="*/ 480750 w 12117871"/>
                <a:gd name="connsiteY2015" fmla="*/ 3811397 h 6072780"/>
                <a:gd name="connsiteX2016" fmla="*/ 11874294 w 12117871"/>
                <a:gd name="connsiteY2016" fmla="*/ 3510985 h 6072780"/>
                <a:gd name="connsiteX2017" fmla="*/ 11835024 w 12117871"/>
                <a:gd name="connsiteY2017" fmla="*/ 3597499 h 6072780"/>
                <a:gd name="connsiteX2018" fmla="*/ 11873542 w 12117871"/>
                <a:gd name="connsiteY2018" fmla="*/ 3678445 h 6072780"/>
                <a:gd name="connsiteX2019" fmla="*/ 11911457 w 12117871"/>
                <a:gd name="connsiteY2019" fmla="*/ 3596144 h 6072780"/>
                <a:gd name="connsiteX2020" fmla="*/ 11874294 w 12117871"/>
                <a:gd name="connsiteY2020" fmla="*/ 3510985 h 6072780"/>
                <a:gd name="connsiteX2021" fmla="*/ 11189148 w 12117871"/>
                <a:gd name="connsiteY2021" fmla="*/ 3510985 h 6072780"/>
                <a:gd name="connsiteX2022" fmla="*/ 11149878 w 12117871"/>
                <a:gd name="connsiteY2022" fmla="*/ 3597499 h 6072780"/>
                <a:gd name="connsiteX2023" fmla="*/ 11188396 w 12117871"/>
                <a:gd name="connsiteY2023" fmla="*/ 3678445 h 6072780"/>
                <a:gd name="connsiteX2024" fmla="*/ 11226311 w 12117871"/>
                <a:gd name="connsiteY2024" fmla="*/ 3596144 h 6072780"/>
                <a:gd name="connsiteX2025" fmla="*/ 11189148 w 12117871"/>
                <a:gd name="connsiteY2025" fmla="*/ 3510985 h 6072780"/>
                <a:gd name="connsiteX2026" fmla="*/ 9936214 w 12117871"/>
                <a:gd name="connsiteY2026" fmla="*/ 3510985 h 6072780"/>
                <a:gd name="connsiteX2027" fmla="*/ 9896944 w 12117871"/>
                <a:gd name="connsiteY2027" fmla="*/ 3597499 h 6072780"/>
                <a:gd name="connsiteX2028" fmla="*/ 9935462 w 12117871"/>
                <a:gd name="connsiteY2028" fmla="*/ 3678445 h 6072780"/>
                <a:gd name="connsiteX2029" fmla="*/ 9973377 w 12117871"/>
                <a:gd name="connsiteY2029" fmla="*/ 3596144 h 6072780"/>
                <a:gd name="connsiteX2030" fmla="*/ 9936214 w 12117871"/>
                <a:gd name="connsiteY2030" fmla="*/ 3510985 h 6072780"/>
                <a:gd name="connsiteX2031" fmla="*/ 9713703 w 12117871"/>
                <a:gd name="connsiteY2031" fmla="*/ 3510985 h 6072780"/>
                <a:gd name="connsiteX2032" fmla="*/ 9674433 w 12117871"/>
                <a:gd name="connsiteY2032" fmla="*/ 3597499 h 6072780"/>
                <a:gd name="connsiteX2033" fmla="*/ 9712951 w 12117871"/>
                <a:gd name="connsiteY2033" fmla="*/ 3678445 h 6072780"/>
                <a:gd name="connsiteX2034" fmla="*/ 9750866 w 12117871"/>
                <a:gd name="connsiteY2034" fmla="*/ 3596144 h 6072780"/>
                <a:gd name="connsiteX2035" fmla="*/ 9713703 w 12117871"/>
                <a:gd name="connsiteY2035" fmla="*/ 3510985 h 6072780"/>
                <a:gd name="connsiteX2036" fmla="*/ 6372301 w 12117871"/>
                <a:gd name="connsiteY2036" fmla="*/ 3510985 h 6072780"/>
                <a:gd name="connsiteX2037" fmla="*/ 6333031 w 12117871"/>
                <a:gd name="connsiteY2037" fmla="*/ 3597499 h 6072780"/>
                <a:gd name="connsiteX2038" fmla="*/ 6371549 w 12117871"/>
                <a:gd name="connsiteY2038" fmla="*/ 3678445 h 6072780"/>
                <a:gd name="connsiteX2039" fmla="*/ 6409464 w 12117871"/>
                <a:gd name="connsiteY2039" fmla="*/ 3596144 h 6072780"/>
                <a:gd name="connsiteX2040" fmla="*/ 6372301 w 12117871"/>
                <a:gd name="connsiteY2040" fmla="*/ 3510985 h 6072780"/>
                <a:gd name="connsiteX2041" fmla="*/ 5784617 w 12117871"/>
                <a:gd name="connsiteY2041" fmla="*/ 3510985 h 6072780"/>
                <a:gd name="connsiteX2042" fmla="*/ 5745350 w 12117871"/>
                <a:gd name="connsiteY2042" fmla="*/ 3597499 h 6072780"/>
                <a:gd name="connsiteX2043" fmla="*/ 5783865 w 12117871"/>
                <a:gd name="connsiteY2043" fmla="*/ 3678445 h 6072780"/>
                <a:gd name="connsiteX2044" fmla="*/ 5821781 w 12117871"/>
                <a:gd name="connsiteY2044" fmla="*/ 3596144 h 6072780"/>
                <a:gd name="connsiteX2045" fmla="*/ 5784617 w 12117871"/>
                <a:gd name="connsiteY2045" fmla="*/ 3510985 h 6072780"/>
                <a:gd name="connsiteX2046" fmla="*/ 5091629 w 12117871"/>
                <a:gd name="connsiteY2046" fmla="*/ 3510985 h 6072780"/>
                <a:gd name="connsiteX2047" fmla="*/ 5052358 w 12117871"/>
                <a:gd name="connsiteY2047" fmla="*/ 3597499 h 6072780"/>
                <a:gd name="connsiteX2048" fmla="*/ 5090877 w 12117871"/>
                <a:gd name="connsiteY2048" fmla="*/ 3678445 h 6072780"/>
                <a:gd name="connsiteX2049" fmla="*/ 5128792 w 12117871"/>
                <a:gd name="connsiteY2049" fmla="*/ 3596144 h 6072780"/>
                <a:gd name="connsiteX2050" fmla="*/ 5091629 w 12117871"/>
                <a:gd name="connsiteY2050" fmla="*/ 3510985 h 6072780"/>
                <a:gd name="connsiteX2051" fmla="*/ 3837392 w 12117871"/>
                <a:gd name="connsiteY2051" fmla="*/ 3510985 h 6072780"/>
                <a:gd name="connsiteX2052" fmla="*/ 3798122 w 12117871"/>
                <a:gd name="connsiteY2052" fmla="*/ 3597499 h 6072780"/>
                <a:gd name="connsiteX2053" fmla="*/ 3836640 w 12117871"/>
                <a:gd name="connsiteY2053" fmla="*/ 3678445 h 6072780"/>
                <a:gd name="connsiteX2054" fmla="*/ 3874555 w 12117871"/>
                <a:gd name="connsiteY2054" fmla="*/ 3596144 h 6072780"/>
                <a:gd name="connsiteX2055" fmla="*/ 3837392 w 12117871"/>
                <a:gd name="connsiteY2055" fmla="*/ 3510985 h 6072780"/>
                <a:gd name="connsiteX2056" fmla="*/ 3614881 w 12117871"/>
                <a:gd name="connsiteY2056" fmla="*/ 3510985 h 6072780"/>
                <a:gd name="connsiteX2057" fmla="*/ 3575611 w 12117871"/>
                <a:gd name="connsiteY2057" fmla="*/ 3597499 h 6072780"/>
                <a:gd name="connsiteX2058" fmla="*/ 3614130 w 12117871"/>
                <a:gd name="connsiteY2058" fmla="*/ 3678445 h 6072780"/>
                <a:gd name="connsiteX2059" fmla="*/ 3652044 w 12117871"/>
                <a:gd name="connsiteY2059" fmla="*/ 3596144 h 6072780"/>
                <a:gd name="connsiteX2060" fmla="*/ 3614881 w 12117871"/>
                <a:gd name="connsiteY2060" fmla="*/ 3510985 h 6072780"/>
                <a:gd name="connsiteX2061" fmla="*/ 10438235 w 12117871"/>
                <a:gd name="connsiteY2061" fmla="*/ 3487024 h 6072780"/>
                <a:gd name="connsiteX2062" fmla="*/ 10453141 w 12117871"/>
                <a:gd name="connsiteY2062" fmla="*/ 3487024 h 6072780"/>
                <a:gd name="connsiteX2063" fmla="*/ 10453141 w 12117871"/>
                <a:gd name="connsiteY2063" fmla="*/ 3710004 h 6072780"/>
                <a:gd name="connsiteX2064" fmla="*/ 10417853 w 12117871"/>
                <a:gd name="connsiteY2064" fmla="*/ 3710004 h 6072780"/>
                <a:gd name="connsiteX2065" fmla="*/ 10417853 w 12117871"/>
                <a:gd name="connsiteY2065" fmla="*/ 3530220 h 6072780"/>
                <a:gd name="connsiteX2066" fmla="*/ 10397244 w 12117871"/>
                <a:gd name="connsiteY2066" fmla="*/ 3541856 h 6072780"/>
                <a:gd name="connsiteX2067" fmla="*/ 10372071 w 12117871"/>
                <a:gd name="connsiteY2067" fmla="*/ 3550298 h 6072780"/>
                <a:gd name="connsiteX2068" fmla="*/ 10372071 w 12117871"/>
                <a:gd name="connsiteY2068" fmla="*/ 3520182 h 6072780"/>
                <a:gd name="connsiteX2069" fmla="*/ 10389106 w 12117871"/>
                <a:gd name="connsiteY2069" fmla="*/ 3514098 h 6072780"/>
                <a:gd name="connsiteX2070" fmla="*/ 10405305 w 12117871"/>
                <a:gd name="connsiteY2070" fmla="*/ 3506949 h 6072780"/>
                <a:gd name="connsiteX2071" fmla="*/ 10421428 w 12117871"/>
                <a:gd name="connsiteY2071" fmla="*/ 3498127 h 6072780"/>
                <a:gd name="connsiteX2072" fmla="*/ 10438235 w 12117871"/>
                <a:gd name="connsiteY2072" fmla="*/ 3487024 h 6072780"/>
                <a:gd name="connsiteX2073" fmla="*/ 12062430 w 12117871"/>
                <a:gd name="connsiteY2073" fmla="*/ 3487023 h 6072780"/>
                <a:gd name="connsiteX2074" fmla="*/ 12077336 w 12117871"/>
                <a:gd name="connsiteY2074" fmla="*/ 3487023 h 6072780"/>
                <a:gd name="connsiteX2075" fmla="*/ 12077336 w 12117871"/>
                <a:gd name="connsiteY2075" fmla="*/ 3710003 h 6072780"/>
                <a:gd name="connsiteX2076" fmla="*/ 12042048 w 12117871"/>
                <a:gd name="connsiteY2076" fmla="*/ 3710003 h 6072780"/>
                <a:gd name="connsiteX2077" fmla="*/ 12042048 w 12117871"/>
                <a:gd name="connsiteY2077" fmla="*/ 3530219 h 6072780"/>
                <a:gd name="connsiteX2078" fmla="*/ 12021439 w 12117871"/>
                <a:gd name="connsiteY2078" fmla="*/ 3541855 h 6072780"/>
                <a:gd name="connsiteX2079" fmla="*/ 11996266 w 12117871"/>
                <a:gd name="connsiteY2079" fmla="*/ 3550297 h 6072780"/>
                <a:gd name="connsiteX2080" fmla="*/ 11996266 w 12117871"/>
                <a:gd name="connsiteY2080" fmla="*/ 3520181 h 6072780"/>
                <a:gd name="connsiteX2081" fmla="*/ 12013301 w 12117871"/>
                <a:gd name="connsiteY2081" fmla="*/ 3514097 h 6072780"/>
                <a:gd name="connsiteX2082" fmla="*/ 12029500 w 12117871"/>
                <a:gd name="connsiteY2082" fmla="*/ 3506948 h 6072780"/>
                <a:gd name="connsiteX2083" fmla="*/ 12045623 w 12117871"/>
                <a:gd name="connsiteY2083" fmla="*/ 3498126 h 6072780"/>
                <a:gd name="connsiteX2084" fmla="*/ 12062430 w 12117871"/>
                <a:gd name="connsiteY2084" fmla="*/ 3487023 h 6072780"/>
                <a:gd name="connsiteX2085" fmla="*/ 10143427 w 12117871"/>
                <a:gd name="connsiteY2085" fmla="*/ 3487023 h 6072780"/>
                <a:gd name="connsiteX2086" fmla="*/ 10158333 w 12117871"/>
                <a:gd name="connsiteY2086" fmla="*/ 3487023 h 6072780"/>
                <a:gd name="connsiteX2087" fmla="*/ 10158333 w 12117871"/>
                <a:gd name="connsiteY2087" fmla="*/ 3710003 h 6072780"/>
                <a:gd name="connsiteX2088" fmla="*/ 10123045 w 12117871"/>
                <a:gd name="connsiteY2088" fmla="*/ 3710003 h 6072780"/>
                <a:gd name="connsiteX2089" fmla="*/ 10123045 w 12117871"/>
                <a:gd name="connsiteY2089" fmla="*/ 3530219 h 6072780"/>
                <a:gd name="connsiteX2090" fmla="*/ 10102436 w 12117871"/>
                <a:gd name="connsiteY2090" fmla="*/ 3541855 h 6072780"/>
                <a:gd name="connsiteX2091" fmla="*/ 10077263 w 12117871"/>
                <a:gd name="connsiteY2091" fmla="*/ 3550297 h 6072780"/>
                <a:gd name="connsiteX2092" fmla="*/ 10077263 w 12117871"/>
                <a:gd name="connsiteY2092" fmla="*/ 3520181 h 6072780"/>
                <a:gd name="connsiteX2093" fmla="*/ 10094298 w 12117871"/>
                <a:gd name="connsiteY2093" fmla="*/ 3514097 h 6072780"/>
                <a:gd name="connsiteX2094" fmla="*/ 10110497 w 12117871"/>
                <a:gd name="connsiteY2094" fmla="*/ 3506948 h 6072780"/>
                <a:gd name="connsiteX2095" fmla="*/ 10126620 w 12117871"/>
                <a:gd name="connsiteY2095" fmla="*/ 3498126 h 6072780"/>
                <a:gd name="connsiteX2096" fmla="*/ 10143427 w 12117871"/>
                <a:gd name="connsiteY2096" fmla="*/ 3487023 h 6072780"/>
                <a:gd name="connsiteX2097" fmla="*/ 9557012 w 12117871"/>
                <a:gd name="connsiteY2097" fmla="*/ 3487023 h 6072780"/>
                <a:gd name="connsiteX2098" fmla="*/ 9571918 w 12117871"/>
                <a:gd name="connsiteY2098" fmla="*/ 3487023 h 6072780"/>
                <a:gd name="connsiteX2099" fmla="*/ 9571918 w 12117871"/>
                <a:gd name="connsiteY2099" fmla="*/ 3710003 h 6072780"/>
                <a:gd name="connsiteX2100" fmla="*/ 9536630 w 12117871"/>
                <a:gd name="connsiteY2100" fmla="*/ 3710003 h 6072780"/>
                <a:gd name="connsiteX2101" fmla="*/ 9536630 w 12117871"/>
                <a:gd name="connsiteY2101" fmla="*/ 3530219 h 6072780"/>
                <a:gd name="connsiteX2102" fmla="*/ 9516021 w 12117871"/>
                <a:gd name="connsiteY2102" fmla="*/ 3541855 h 6072780"/>
                <a:gd name="connsiteX2103" fmla="*/ 9490848 w 12117871"/>
                <a:gd name="connsiteY2103" fmla="*/ 3550297 h 6072780"/>
                <a:gd name="connsiteX2104" fmla="*/ 9490848 w 12117871"/>
                <a:gd name="connsiteY2104" fmla="*/ 3520181 h 6072780"/>
                <a:gd name="connsiteX2105" fmla="*/ 9507883 w 12117871"/>
                <a:gd name="connsiteY2105" fmla="*/ 3514097 h 6072780"/>
                <a:gd name="connsiteX2106" fmla="*/ 9524082 w 12117871"/>
                <a:gd name="connsiteY2106" fmla="*/ 3506948 h 6072780"/>
                <a:gd name="connsiteX2107" fmla="*/ 9540205 w 12117871"/>
                <a:gd name="connsiteY2107" fmla="*/ 3498126 h 6072780"/>
                <a:gd name="connsiteX2108" fmla="*/ 9557012 w 12117871"/>
                <a:gd name="connsiteY2108" fmla="*/ 3487023 h 6072780"/>
                <a:gd name="connsiteX2109" fmla="*/ 9254256 w 12117871"/>
                <a:gd name="connsiteY2109" fmla="*/ 3487023 h 6072780"/>
                <a:gd name="connsiteX2110" fmla="*/ 9269162 w 12117871"/>
                <a:gd name="connsiteY2110" fmla="*/ 3487023 h 6072780"/>
                <a:gd name="connsiteX2111" fmla="*/ 9269162 w 12117871"/>
                <a:gd name="connsiteY2111" fmla="*/ 3710003 h 6072780"/>
                <a:gd name="connsiteX2112" fmla="*/ 9233874 w 12117871"/>
                <a:gd name="connsiteY2112" fmla="*/ 3710003 h 6072780"/>
                <a:gd name="connsiteX2113" fmla="*/ 9233874 w 12117871"/>
                <a:gd name="connsiteY2113" fmla="*/ 3530219 h 6072780"/>
                <a:gd name="connsiteX2114" fmla="*/ 9213265 w 12117871"/>
                <a:gd name="connsiteY2114" fmla="*/ 3541855 h 6072780"/>
                <a:gd name="connsiteX2115" fmla="*/ 9188092 w 12117871"/>
                <a:gd name="connsiteY2115" fmla="*/ 3550297 h 6072780"/>
                <a:gd name="connsiteX2116" fmla="*/ 9188092 w 12117871"/>
                <a:gd name="connsiteY2116" fmla="*/ 3520181 h 6072780"/>
                <a:gd name="connsiteX2117" fmla="*/ 9205127 w 12117871"/>
                <a:gd name="connsiteY2117" fmla="*/ 3514097 h 6072780"/>
                <a:gd name="connsiteX2118" fmla="*/ 9221326 w 12117871"/>
                <a:gd name="connsiteY2118" fmla="*/ 3506948 h 6072780"/>
                <a:gd name="connsiteX2119" fmla="*/ 9237449 w 12117871"/>
                <a:gd name="connsiteY2119" fmla="*/ 3498126 h 6072780"/>
                <a:gd name="connsiteX2120" fmla="*/ 9254256 w 12117871"/>
                <a:gd name="connsiteY2120" fmla="*/ 3487023 h 6072780"/>
                <a:gd name="connsiteX2121" fmla="*/ 8744915 w 12117871"/>
                <a:gd name="connsiteY2121" fmla="*/ 3487023 h 6072780"/>
                <a:gd name="connsiteX2122" fmla="*/ 8759821 w 12117871"/>
                <a:gd name="connsiteY2122" fmla="*/ 3487023 h 6072780"/>
                <a:gd name="connsiteX2123" fmla="*/ 8759821 w 12117871"/>
                <a:gd name="connsiteY2123" fmla="*/ 3710003 h 6072780"/>
                <a:gd name="connsiteX2124" fmla="*/ 8724533 w 12117871"/>
                <a:gd name="connsiteY2124" fmla="*/ 3710003 h 6072780"/>
                <a:gd name="connsiteX2125" fmla="*/ 8724533 w 12117871"/>
                <a:gd name="connsiteY2125" fmla="*/ 3530219 h 6072780"/>
                <a:gd name="connsiteX2126" fmla="*/ 8703924 w 12117871"/>
                <a:gd name="connsiteY2126" fmla="*/ 3541855 h 6072780"/>
                <a:gd name="connsiteX2127" fmla="*/ 8678751 w 12117871"/>
                <a:gd name="connsiteY2127" fmla="*/ 3550297 h 6072780"/>
                <a:gd name="connsiteX2128" fmla="*/ 8678751 w 12117871"/>
                <a:gd name="connsiteY2128" fmla="*/ 3520181 h 6072780"/>
                <a:gd name="connsiteX2129" fmla="*/ 8695786 w 12117871"/>
                <a:gd name="connsiteY2129" fmla="*/ 3514097 h 6072780"/>
                <a:gd name="connsiteX2130" fmla="*/ 8711985 w 12117871"/>
                <a:gd name="connsiteY2130" fmla="*/ 3506948 h 6072780"/>
                <a:gd name="connsiteX2131" fmla="*/ 8728108 w 12117871"/>
                <a:gd name="connsiteY2131" fmla="*/ 3498126 h 6072780"/>
                <a:gd name="connsiteX2132" fmla="*/ 8744915 w 12117871"/>
                <a:gd name="connsiteY2132" fmla="*/ 3487023 h 6072780"/>
                <a:gd name="connsiteX2133" fmla="*/ 7851748 w 12117871"/>
                <a:gd name="connsiteY2133" fmla="*/ 3487023 h 6072780"/>
                <a:gd name="connsiteX2134" fmla="*/ 7866654 w 12117871"/>
                <a:gd name="connsiteY2134" fmla="*/ 3487023 h 6072780"/>
                <a:gd name="connsiteX2135" fmla="*/ 7866654 w 12117871"/>
                <a:gd name="connsiteY2135" fmla="*/ 3710003 h 6072780"/>
                <a:gd name="connsiteX2136" fmla="*/ 7831366 w 12117871"/>
                <a:gd name="connsiteY2136" fmla="*/ 3710003 h 6072780"/>
                <a:gd name="connsiteX2137" fmla="*/ 7831366 w 12117871"/>
                <a:gd name="connsiteY2137" fmla="*/ 3530219 h 6072780"/>
                <a:gd name="connsiteX2138" fmla="*/ 7810757 w 12117871"/>
                <a:gd name="connsiteY2138" fmla="*/ 3541855 h 6072780"/>
                <a:gd name="connsiteX2139" fmla="*/ 7785584 w 12117871"/>
                <a:gd name="connsiteY2139" fmla="*/ 3550297 h 6072780"/>
                <a:gd name="connsiteX2140" fmla="*/ 7785584 w 12117871"/>
                <a:gd name="connsiteY2140" fmla="*/ 3520181 h 6072780"/>
                <a:gd name="connsiteX2141" fmla="*/ 7802619 w 12117871"/>
                <a:gd name="connsiteY2141" fmla="*/ 3514097 h 6072780"/>
                <a:gd name="connsiteX2142" fmla="*/ 7818818 w 12117871"/>
                <a:gd name="connsiteY2142" fmla="*/ 3506948 h 6072780"/>
                <a:gd name="connsiteX2143" fmla="*/ 7834941 w 12117871"/>
                <a:gd name="connsiteY2143" fmla="*/ 3498126 h 6072780"/>
                <a:gd name="connsiteX2144" fmla="*/ 7851748 w 12117871"/>
                <a:gd name="connsiteY2144" fmla="*/ 3487023 h 6072780"/>
                <a:gd name="connsiteX2145" fmla="*/ 7413731 w 12117871"/>
                <a:gd name="connsiteY2145" fmla="*/ 3487023 h 6072780"/>
                <a:gd name="connsiteX2146" fmla="*/ 7428637 w 12117871"/>
                <a:gd name="connsiteY2146" fmla="*/ 3487023 h 6072780"/>
                <a:gd name="connsiteX2147" fmla="*/ 7428637 w 12117871"/>
                <a:gd name="connsiteY2147" fmla="*/ 3710003 h 6072780"/>
                <a:gd name="connsiteX2148" fmla="*/ 7393349 w 12117871"/>
                <a:gd name="connsiteY2148" fmla="*/ 3710003 h 6072780"/>
                <a:gd name="connsiteX2149" fmla="*/ 7393349 w 12117871"/>
                <a:gd name="connsiteY2149" fmla="*/ 3530219 h 6072780"/>
                <a:gd name="connsiteX2150" fmla="*/ 7372740 w 12117871"/>
                <a:gd name="connsiteY2150" fmla="*/ 3541855 h 6072780"/>
                <a:gd name="connsiteX2151" fmla="*/ 7347567 w 12117871"/>
                <a:gd name="connsiteY2151" fmla="*/ 3550297 h 6072780"/>
                <a:gd name="connsiteX2152" fmla="*/ 7347567 w 12117871"/>
                <a:gd name="connsiteY2152" fmla="*/ 3520181 h 6072780"/>
                <a:gd name="connsiteX2153" fmla="*/ 7364602 w 12117871"/>
                <a:gd name="connsiteY2153" fmla="*/ 3514097 h 6072780"/>
                <a:gd name="connsiteX2154" fmla="*/ 7380801 w 12117871"/>
                <a:gd name="connsiteY2154" fmla="*/ 3506948 h 6072780"/>
                <a:gd name="connsiteX2155" fmla="*/ 7396924 w 12117871"/>
                <a:gd name="connsiteY2155" fmla="*/ 3498126 h 6072780"/>
                <a:gd name="connsiteX2156" fmla="*/ 7413731 w 12117871"/>
                <a:gd name="connsiteY2156" fmla="*/ 3487023 h 6072780"/>
                <a:gd name="connsiteX2157" fmla="*/ 7015147 w 12117871"/>
                <a:gd name="connsiteY2157" fmla="*/ 3487023 h 6072780"/>
                <a:gd name="connsiteX2158" fmla="*/ 7030053 w 12117871"/>
                <a:gd name="connsiteY2158" fmla="*/ 3487023 h 6072780"/>
                <a:gd name="connsiteX2159" fmla="*/ 7030053 w 12117871"/>
                <a:gd name="connsiteY2159" fmla="*/ 3710003 h 6072780"/>
                <a:gd name="connsiteX2160" fmla="*/ 6994765 w 12117871"/>
                <a:gd name="connsiteY2160" fmla="*/ 3710003 h 6072780"/>
                <a:gd name="connsiteX2161" fmla="*/ 6994765 w 12117871"/>
                <a:gd name="connsiteY2161" fmla="*/ 3530219 h 6072780"/>
                <a:gd name="connsiteX2162" fmla="*/ 6974156 w 12117871"/>
                <a:gd name="connsiteY2162" fmla="*/ 3541855 h 6072780"/>
                <a:gd name="connsiteX2163" fmla="*/ 6948983 w 12117871"/>
                <a:gd name="connsiteY2163" fmla="*/ 3550297 h 6072780"/>
                <a:gd name="connsiteX2164" fmla="*/ 6948983 w 12117871"/>
                <a:gd name="connsiteY2164" fmla="*/ 3520181 h 6072780"/>
                <a:gd name="connsiteX2165" fmla="*/ 6966018 w 12117871"/>
                <a:gd name="connsiteY2165" fmla="*/ 3514097 h 6072780"/>
                <a:gd name="connsiteX2166" fmla="*/ 6982217 w 12117871"/>
                <a:gd name="connsiteY2166" fmla="*/ 3506948 h 6072780"/>
                <a:gd name="connsiteX2167" fmla="*/ 6998340 w 12117871"/>
                <a:gd name="connsiteY2167" fmla="*/ 3498126 h 6072780"/>
                <a:gd name="connsiteX2168" fmla="*/ 7015147 w 12117871"/>
                <a:gd name="connsiteY2168" fmla="*/ 3487023 h 6072780"/>
                <a:gd name="connsiteX2169" fmla="*/ 6727931 w 12117871"/>
                <a:gd name="connsiteY2169" fmla="*/ 3487023 h 6072780"/>
                <a:gd name="connsiteX2170" fmla="*/ 6742837 w 12117871"/>
                <a:gd name="connsiteY2170" fmla="*/ 3487023 h 6072780"/>
                <a:gd name="connsiteX2171" fmla="*/ 6742837 w 12117871"/>
                <a:gd name="connsiteY2171" fmla="*/ 3710003 h 6072780"/>
                <a:gd name="connsiteX2172" fmla="*/ 6707549 w 12117871"/>
                <a:gd name="connsiteY2172" fmla="*/ 3710003 h 6072780"/>
                <a:gd name="connsiteX2173" fmla="*/ 6707549 w 12117871"/>
                <a:gd name="connsiteY2173" fmla="*/ 3530219 h 6072780"/>
                <a:gd name="connsiteX2174" fmla="*/ 6686940 w 12117871"/>
                <a:gd name="connsiteY2174" fmla="*/ 3541855 h 6072780"/>
                <a:gd name="connsiteX2175" fmla="*/ 6661767 w 12117871"/>
                <a:gd name="connsiteY2175" fmla="*/ 3550297 h 6072780"/>
                <a:gd name="connsiteX2176" fmla="*/ 6661767 w 12117871"/>
                <a:gd name="connsiteY2176" fmla="*/ 3520181 h 6072780"/>
                <a:gd name="connsiteX2177" fmla="*/ 6678802 w 12117871"/>
                <a:gd name="connsiteY2177" fmla="*/ 3514097 h 6072780"/>
                <a:gd name="connsiteX2178" fmla="*/ 6695001 w 12117871"/>
                <a:gd name="connsiteY2178" fmla="*/ 3506948 h 6072780"/>
                <a:gd name="connsiteX2179" fmla="*/ 6711124 w 12117871"/>
                <a:gd name="connsiteY2179" fmla="*/ 3498126 h 6072780"/>
                <a:gd name="connsiteX2180" fmla="*/ 6727931 w 12117871"/>
                <a:gd name="connsiteY2180" fmla="*/ 3487023 h 6072780"/>
                <a:gd name="connsiteX2181" fmla="*/ 6584323 w 12117871"/>
                <a:gd name="connsiteY2181" fmla="*/ 3487023 h 6072780"/>
                <a:gd name="connsiteX2182" fmla="*/ 6599229 w 12117871"/>
                <a:gd name="connsiteY2182" fmla="*/ 3487023 h 6072780"/>
                <a:gd name="connsiteX2183" fmla="*/ 6599229 w 12117871"/>
                <a:gd name="connsiteY2183" fmla="*/ 3710003 h 6072780"/>
                <a:gd name="connsiteX2184" fmla="*/ 6563941 w 12117871"/>
                <a:gd name="connsiteY2184" fmla="*/ 3710003 h 6072780"/>
                <a:gd name="connsiteX2185" fmla="*/ 6563941 w 12117871"/>
                <a:gd name="connsiteY2185" fmla="*/ 3530219 h 6072780"/>
                <a:gd name="connsiteX2186" fmla="*/ 6543332 w 12117871"/>
                <a:gd name="connsiteY2186" fmla="*/ 3541855 h 6072780"/>
                <a:gd name="connsiteX2187" fmla="*/ 6518159 w 12117871"/>
                <a:gd name="connsiteY2187" fmla="*/ 3550297 h 6072780"/>
                <a:gd name="connsiteX2188" fmla="*/ 6518159 w 12117871"/>
                <a:gd name="connsiteY2188" fmla="*/ 3520181 h 6072780"/>
                <a:gd name="connsiteX2189" fmla="*/ 6535194 w 12117871"/>
                <a:gd name="connsiteY2189" fmla="*/ 3514097 h 6072780"/>
                <a:gd name="connsiteX2190" fmla="*/ 6551393 w 12117871"/>
                <a:gd name="connsiteY2190" fmla="*/ 3506948 h 6072780"/>
                <a:gd name="connsiteX2191" fmla="*/ 6567516 w 12117871"/>
                <a:gd name="connsiteY2191" fmla="*/ 3498126 h 6072780"/>
                <a:gd name="connsiteX2192" fmla="*/ 6584323 w 12117871"/>
                <a:gd name="connsiteY2192" fmla="*/ 3487023 h 6072780"/>
                <a:gd name="connsiteX2193" fmla="*/ 5975659 w 12117871"/>
                <a:gd name="connsiteY2193" fmla="*/ 3487023 h 6072780"/>
                <a:gd name="connsiteX2194" fmla="*/ 5990568 w 12117871"/>
                <a:gd name="connsiteY2194" fmla="*/ 3487023 h 6072780"/>
                <a:gd name="connsiteX2195" fmla="*/ 5990568 w 12117871"/>
                <a:gd name="connsiteY2195" fmla="*/ 3710003 h 6072780"/>
                <a:gd name="connsiteX2196" fmla="*/ 5955278 w 12117871"/>
                <a:gd name="connsiteY2196" fmla="*/ 3710003 h 6072780"/>
                <a:gd name="connsiteX2197" fmla="*/ 5955278 w 12117871"/>
                <a:gd name="connsiteY2197" fmla="*/ 3530219 h 6072780"/>
                <a:gd name="connsiteX2198" fmla="*/ 5934669 w 12117871"/>
                <a:gd name="connsiteY2198" fmla="*/ 3541855 h 6072780"/>
                <a:gd name="connsiteX2199" fmla="*/ 5909498 w 12117871"/>
                <a:gd name="connsiteY2199" fmla="*/ 3550297 h 6072780"/>
                <a:gd name="connsiteX2200" fmla="*/ 5909498 w 12117871"/>
                <a:gd name="connsiteY2200" fmla="*/ 3520181 h 6072780"/>
                <a:gd name="connsiteX2201" fmla="*/ 5926531 w 12117871"/>
                <a:gd name="connsiteY2201" fmla="*/ 3514097 h 6072780"/>
                <a:gd name="connsiteX2202" fmla="*/ 5942730 w 12117871"/>
                <a:gd name="connsiteY2202" fmla="*/ 3506948 h 6072780"/>
                <a:gd name="connsiteX2203" fmla="*/ 5958852 w 12117871"/>
                <a:gd name="connsiteY2203" fmla="*/ 3498126 h 6072780"/>
                <a:gd name="connsiteX2204" fmla="*/ 5975659 w 12117871"/>
                <a:gd name="connsiteY2204" fmla="*/ 3487023 h 6072780"/>
                <a:gd name="connsiteX2205" fmla="*/ 4694968 w 12117871"/>
                <a:gd name="connsiteY2205" fmla="*/ 3487023 h 6072780"/>
                <a:gd name="connsiteX2206" fmla="*/ 4709876 w 12117871"/>
                <a:gd name="connsiteY2206" fmla="*/ 3487023 h 6072780"/>
                <a:gd name="connsiteX2207" fmla="*/ 4709876 w 12117871"/>
                <a:gd name="connsiteY2207" fmla="*/ 3710003 h 6072780"/>
                <a:gd name="connsiteX2208" fmla="*/ 4674589 w 12117871"/>
                <a:gd name="connsiteY2208" fmla="*/ 3710003 h 6072780"/>
                <a:gd name="connsiteX2209" fmla="*/ 4674589 w 12117871"/>
                <a:gd name="connsiteY2209" fmla="*/ 3530219 h 6072780"/>
                <a:gd name="connsiteX2210" fmla="*/ 4653978 w 12117871"/>
                <a:gd name="connsiteY2210" fmla="*/ 3541855 h 6072780"/>
                <a:gd name="connsiteX2211" fmla="*/ 4628805 w 12117871"/>
                <a:gd name="connsiteY2211" fmla="*/ 3550297 h 6072780"/>
                <a:gd name="connsiteX2212" fmla="*/ 4628805 w 12117871"/>
                <a:gd name="connsiteY2212" fmla="*/ 3520181 h 6072780"/>
                <a:gd name="connsiteX2213" fmla="*/ 4645841 w 12117871"/>
                <a:gd name="connsiteY2213" fmla="*/ 3514097 h 6072780"/>
                <a:gd name="connsiteX2214" fmla="*/ 4662040 w 12117871"/>
                <a:gd name="connsiteY2214" fmla="*/ 3506948 h 6072780"/>
                <a:gd name="connsiteX2215" fmla="*/ 4678162 w 12117871"/>
                <a:gd name="connsiteY2215" fmla="*/ 3498126 h 6072780"/>
                <a:gd name="connsiteX2216" fmla="*/ 4694968 w 12117871"/>
                <a:gd name="connsiteY2216" fmla="*/ 3487023 h 6072780"/>
                <a:gd name="connsiteX2217" fmla="*/ 4345906 w 12117871"/>
                <a:gd name="connsiteY2217" fmla="*/ 3487023 h 6072780"/>
                <a:gd name="connsiteX2218" fmla="*/ 4360813 w 12117871"/>
                <a:gd name="connsiteY2218" fmla="*/ 3487023 h 6072780"/>
                <a:gd name="connsiteX2219" fmla="*/ 4360813 w 12117871"/>
                <a:gd name="connsiteY2219" fmla="*/ 3710003 h 6072780"/>
                <a:gd name="connsiteX2220" fmla="*/ 4325525 w 12117871"/>
                <a:gd name="connsiteY2220" fmla="*/ 3710003 h 6072780"/>
                <a:gd name="connsiteX2221" fmla="*/ 4325525 w 12117871"/>
                <a:gd name="connsiteY2221" fmla="*/ 3530219 h 6072780"/>
                <a:gd name="connsiteX2222" fmla="*/ 4304915 w 12117871"/>
                <a:gd name="connsiteY2222" fmla="*/ 3541855 h 6072780"/>
                <a:gd name="connsiteX2223" fmla="*/ 4279743 w 12117871"/>
                <a:gd name="connsiteY2223" fmla="*/ 3550297 h 6072780"/>
                <a:gd name="connsiteX2224" fmla="*/ 4279743 w 12117871"/>
                <a:gd name="connsiteY2224" fmla="*/ 3520181 h 6072780"/>
                <a:gd name="connsiteX2225" fmla="*/ 4296778 w 12117871"/>
                <a:gd name="connsiteY2225" fmla="*/ 3514097 h 6072780"/>
                <a:gd name="connsiteX2226" fmla="*/ 4312977 w 12117871"/>
                <a:gd name="connsiteY2226" fmla="*/ 3506948 h 6072780"/>
                <a:gd name="connsiteX2227" fmla="*/ 4329099 w 12117871"/>
                <a:gd name="connsiteY2227" fmla="*/ 3498126 h 6072780"/>
                <a:gd name="connsiteX2228" fmla="*/ 4345906 w 12117871"/>
                <a:gd name="connsiteY2228" fmla="*/ 3487023 h 6072780"/>
                <a:gd name="connsiteX2229" fmla="*/ 3454863 w 12117871"/>
                <a:gd name="connsiteY2229" fmla="*/ 3487023 h 6072780"/>
                <a:gd name="connsiteX2230" fmla="*/ 3469768 w 12117871"/>
                <a:gd name="connsiteY2230" fmla="*/ 3487023 h 6072780"/>
                <a:gd name="connsiteX2231" fmla="*/ 3469768 w 12117871"/>
                <a:gd name="connsiteY2231" fmla="*/ 3710003 h 6072780"/>
                <a:gd name="connsiteX2232" fmla="*/ 3434481 w 12117871"/>
                <a:gd name="connsiteY2232" fmla="*/ 3710003 h 6072780"/>
                <a:gd name="connsiteX2233" fmla="*/ 3434481 w 12117871"/>
                <a:gd name="connsiteY2233" fmla="*/ 3530219 h 6072780"/>
                <a:gd name="connsiteX2234" fmla="*/ 3413872 w 12117871"/>
                <a:gd name="connsiteY2234" fmla="*/ 3541855 h 6072780"/>
                <a:gd name="connsiteX2235" fmla="*/ 3388698 w 12117871"/>
                <a:gd name="connsiteY2235" fmla="*/ 3550297 h 6072780"/>
                <a:gd name="connsiteX2236" fmla="*/ 3388698 w 12117871"/>
                <a:gd name="connsiteY2236" fmla="*/ 3520181 h 6072780"/>
                <a:gd name="connsiteX2237" fmla="*/ 3405734 w 12117871"/>
                <a:gd name="connsiteY2237" fmla="*/ 3514097 h 6072780"/>
                <a:gd name="connsiteX2238" fmla="*/ 3421933 w 12117871"/>
                <a:gd name="connsiteY2238" fmla="*/ 3506948 h 6072780"/>
                <a:gd name="connsiteX2239" fmla="*/ 3438054 w 12117871"/>
                <a:gd name="connsiteY2239" fmla="*/ 3498126 h 6072780"/>
                <a:gd name="connsiteX2240" fmla="*/ 3454863 w 12117871"/>
                <a:gd name="connsiteY2240" fmla="*/ 3487023 h 6072780"/>
                <a:gd name="connsiteX2241" fmla="*/ 3158682 w 12117871"/>
                <a:gd name="connsiteY2241" fmla="*/ 3487023 h 6072780"/>
                <a:gd name="connsiteX2242" fmla="*/ 3173587 w 12117871"/>
                <a:gd name="connsiteY2242" fmla="*/ 3487023 h 6072780"/>
                <a:gd name="connsiteX2243" fmla="*/ 3173587 w 12117871"/>
                <a:gd name="connsiteY2243" fmla="*/ 3710003 h 6072780"/>
                <a:gd name="connsiteX2244" fmla="*/ 3138299 w 12117871"/>
                <a:gd name="connsiteY2244" fmla="*/ 3710003 h 6072780"/>
                <a:gd name="connsiteX2245" fmla="*/ 3138299 w 12117871"/>
                <a:gd name="connsiteY2245" fmla="*/ 3530219 h 6072780"/>
                <a:gd name="connsiteX2246" fmla="*/ 3117690 w 12117871"/>
                <a:gd name="connsiteY2246" fmla="*/ 3541855 h 6072780"/>
                <a:gd name="connsiteX2247" fmla="*/ 3092517 w 12117871"/>
                <a:gd name="connsiteY2247" fmla="*/ 3550297 h 6072780"/>
                <a:gd name="connsiteX2248" fmla="*/ 3092517 w 12117871"/>
                <a:gd name="connsiteY2248" fmla="*/ 3520181 h 6072780"/>
                <a:gd name="connsiteX2249" fmla="*/ 3109553 w 12117871"/>
                <a:gd name="connsiteY2249" fmla="*/ 3514097 h 6072780"/>
                <a:gd name="connsiteX2250" fmla="*/ 3125751 w 12117871"/>
                <a:gd name="connsiteY2250" fmla="*/ 3506948 h 6072780"/>
                <a:gd name="connsiteX2251" fmla="*/ 3141875 w 12117871"/>
                <a:gd name="connsiteY2251" fmla="*/ 3498126 h 6072780"/>
                <a:gd name="connsiteX2252" fmla="*/ 3158682 w 12117871"/>
                <a:gd name="connsiteY2252" fmla="*/ 3487023 h 6072780"/>
                <a:gd name="connsiteX2253" fmla="*/ 2783382 w 12117871"/>
                <a:gd name="connsiteY2253" fmla="*/ 3487023 h 6072780"/>
                <a:gd name="connsiteX2254" fmla="*/ 2798288 w 12117871"/>
                <a:gd name="connsiteY2254" fmla="*/ 3487023 h 6072780"/>
                <a:gd name="connsiteX2255" fmla="*/ 2798288 w 12117871"/>
                <a:gd name="connsiteY2255" fmla="*/ 3710003 h 6072780"/>
                <a:gd name="connsiteX2256" fmla="*/ 2763000 w 12117871"/>
                <a:gd name="connsiteY2256" fmla="*/ 3710003 h 6072780"/>
                <a:gd name="connsiteX2257" fmla="*/ 2763000 w 12117871"/>
                <a:gd name="connsiteY2257" fmla="*/ 3530219 h 6072780"/>
                <a:gd name="connsiteX2258" fmla="*/ 2742391 w 12117871"/>
                <a:gd name="connsiteY2258" fmla="*/ 3541855 h 6072780"/>
                <a:gd name="connsiteX2259" fmla="*/ 2717219 w 12117871"/>
                <a:gd name="connsiteY2259" fmla="*/ 3550297 h 6072780"/>
                <a:gd name="connsiteX2260" fmla="*/ 2717219 w 12117871"/>
                <a:gd name="connsiteY2260" fmla="*/ 3520181 h 6072780"/>
                <a:gd name="connsiteX2261" fmla="*/ 2734253 w 12117871"/>
                <a:gd name="connsiteY2261" fmla="*/ 3514097 h 6072780"/>
                <a:gd name="connsiteX2262" fmla="*/ 2750453 w 12117871"/>
                <a:gd name="connsiteY2262" fmla="*/ 3506948 h 6072780"/>
                <a:gd name="connsiteX2263" fmla="*/ 2766576 w 12117871"/>
                <a:gd name="connsiteY2263" fmla="*/ 3498126 h 6072780"/>
                <a:gd name="connsiteX2264" fmla="*/ 2783382 w 12117871"/>
                <a:gd name="connsiteY2264" fmla="*/ 3487023 h 6072780"/>
                <a:gd name="connsiteX2265" fmla="*/ 2489154 w 12117871"/>
                <a:gd name="connsiteY2265" fmla="*/ 3487023 h 6072780"/>
                <a:gd name="connsiteX2266" fmla="*/ 2504060 w 12117871"/>
                <a:gd name="connsiteY2266" fmla="*/ 3487023 h 6072780"/>
                <a:gd name="connsiteX2267" fmla="*/ 2504060 w 12117871"/>
                <a:gd name="connsiteY2267" fmla="*/ 3710003 h 6072780"/>
                <a:gd name="connsiteX2268" fmla="*/ 2468772 w 12117871"/>
                <a:gd name="connsiteY2268" fmla="*/ 3710003 h 6072780"/>
                <a:gd name="connsiteX2269" fmla="*/ 2468772 w 12117871"/>
                <a:gd name="connsiteY2269" fmla="*/ 3530219 h 6072780"/>
                <a:gd name="connsiteX2270" fmla="*/ 2448163 w 12117871"/>
                <a:gd name="connsiteY2270" fmla="*/ 3541855 h 6072780"/>
                <a:gd name="connsiteX2271" fmla="*/ 2422990 w 12117871"/>
                <a:gd name="connsiteY2271" fmla="*/ 3550297 h 6072780"/>
                <a:gd name="connsiteX2272" fmla="*/ 2422990 w 12117871"/>
                <a:gd name="connsiteY2272" fmla="*/ 3520181 h 6072780"/>
                <a:gd name="connsiteX2273" fmla="*/ 2440025 w 12117871"/>
                <a:gd name="connsiteY2273" fmla="*/ 3514097 h 6072780"/>
                <a:gd name="connsiteX2274" fmla="*/ 2456224 w 12117871"/>
                <a:gd name="connsiteY2274" fmla="*/ 3506948 h 6072780"/>
                <a:gd name="connsiteX2275" fmla="*/ 2472346 w 12117871"/>
                <a:gd name="connsiteY2275" fmla="*/ 3498126 h 6072780"/>
                <a:gd name="connsiteX2276" fmla="*/ 2489154 w 12117871"/>
                <a:gd name="connsiteY2276" fmla="*/ 3487023 h 6072780"/>
                <a:gd name="connsiteX2277" fmla="*/ 1599916 w 12117871"/>
                <a:gd name="connsiteY2277" fmla="*/ 3487023 h 6072780"/>
                <a:gd name="connsiteX2278" fmla="*/ 1614822 w 12117871"/>
                <a:gd name="connsiteY2278" fmla="*/ 3487023 h 6072780"/>
                <a:gd name="connsiteX2279" fmla="*/ 1614822 w 12117871"/>
                <a:gd name="connsiteY2279" fmla="*/ 3710003 h 6072780"/>
                <a:gd name="connsiteX2280" fmla="*/ 1579534 w 12117871"/>
                <a:gd name="connsiteY2280" fmla="*/ 3710003 h 6072780"/>
                <a:gd name="connsiteX2281" fmla="*/ 1579534 w 12117871"/>
                <a:gd name="connsiteY2281" fmla="*/ 3530219 h 6072780"/>
                <a:gd name="connsiteX2282" fmla="*/ 1558925 w 12117871"/>
                <a:gd name="connsiteY2282" fmla="*/ 3541855 h 6072780"/>
                <a:gd name="connsiteX2283" fmla="*/ 1533752 w 12117871"/>
                <a:gd name="connsiteY2283" fmla="*/ 3550297 h 6072780"/>
                <a:gd name="connsiteX2284" fmla="*/ 1533752 w 12117871"/>
                <a:gd name="connsiteY2284" fmla="*/ 3520181 h 6072780"/>
                <a:gd name="connsiteX2285" fmla="*/ 1550787 w 12117871"/>
                <a:gd name="connsiteY2285" fmla="*/ 3514097 h 6072780"/>
                <a:gd name="connsiteX2286" fmla="*/ 1566986 w 12117871"/>
                <a:gd name="connsiteY2286" fmla="*/ 3506948 h 6072780"/>
                <a:gd name="connsiteX2287" fmla="*/ 1583109 w 12117871"/>
                <a:gd name="connsiteY2287" fmla="*/ 3498126 h 6072780"/>
                <a:gd name="connsiteX2288" fmla="*/ 1599916 w 12117871"/>
                <a:gd name="connsiteY2288" fmla="*/ 3487023 h 6072780"/>
                <a:gd name="connsiteX2289" fmla="*/ 1302202 w 12117871"/>
                <a:gd name="connsiteY2289" fmla="*/ 3487023 h 6072780"/>
                <a:gd name="connsiteX2290" fmla="*/ 1317108 w 12117871"/>
                <a:gd name="connsiteY2290" fmla="*/ 3487023 h 6072780"/>
                <a:gd name="connsiteX2291" fmla="*/ 1317108 w 12117871"/>
                <a:gd name="connsiteY2291" fmla="*/ 3710003 h 6072780"/>
                <a:gd name="connsiteX2292" fmla="*/ 1281820 w 12117871"/>
                <a:gd name="connsiteY2292" fmla="*/ 3710003 h 6072780"/>
                <a:gd name="connsiteX2293" fmla="*/ 1281820 w 12117871"/>
                <a:gd name="connsiteY2293" fmla="*/ 3530219 h 6072780"/>
                <a:gd name="connsiteX2294" fmla="*/ 1261211 w 12117871"/>
                <a:gd name="connsiteY2294" fmla="*/ 3541855 h 6072780"/>
                <a:gd name="connsiteX2295" fmla="*/ 1236038 w 12117871"/>
                <a:gd name="connsiteY2295" fmla="*/ 3550297 h 6072780"/>
                <a:gd name="connsiteX2296" fmla="*/ 1236038 w 12117871"/>
                <a:gd name="connsiteY2296" fmla="*/ 3520181 h 6072780"/>
                <a:gd name="connsiteX2297" fmla="*/ 1253073 w 12117871"/>
                <a:gd name="connsiteY2297" fmla="*/ 3514097 h 6072780"/>
                <a:gd name="connsiteX2298" fmla="*/ 1269272 w 12117871"/>
                <a:gd name="connsiteY2298" fmla="*/ 3506948 h 6072780"/>
                <a:gd name="connsiteX2299" fmla="*/ 1285395 w 12117871"/>
                <a:gd name="connsiteY2299" fmla="*/ 3498126 h 6072780"/>
                <a:gd name="connsiteX2300" fmla="*/ 1302202 w 12117871"/>
                <a:gd name="connsiteY2300" fmla="*/ 3487023 h 6072780"/>
                <a:gd name="connsiteX2301" fmla="*/ 927321 w 12117871"/>
                <a:gd name="connsiteY2301" fmla="*/ 3487023 h 6072780"/>
                <a:gd name="connsiteX2302" fmla="*/ 942227 w 12117871"/>
                <a:gd name="connsiteY2302" fmla="*/ 3487023 h 6072780"/>
                <a:gd name="connsiteX2303" fmla="*/ 942227 w 12117871"/>
                <a:gd name="connsiteY2303" fmla="*/ 3710003 h 6072780"/>
                <a:gd name="connsiteX2304" fmla="*/ 906939 w 12117871"/>
                <a:gd name="connsiteY2304" fmla="*/ 3710003 h 6072780"/>
                <a:gd name="connsiteX2305" fmla="*/ 906939 w 12117871"/>
                <a:gd name="connsiteY2305" fmla="*/ 3530219 h 6072780"/>
                <a:gd name="connsiteX2306" fmla="*/ 886330 w 12117871"/>
                <a:gd name="connsiteY2306" fmla="*/ 3541855 h 6072780"/>
                <a:gd name="connsiteX2307" fmla="*/ 861157 w 12117871"/>
                <a:gd name="connsiteY2307" fmla="*/ 3550297 h 6072780"/>
                <a:gd name="connsiteX2308" fmla="*/ 861157 w 12117871"/>
                <a:gd name="connsiteY2308" fmla="*/ 3520181 h 6072780"/>
                <a:gd name="connsiteX2309" fmla="*/ 878192 w 12117871"/>
                <a:gd name="connsiteY2309" fmla="*/ 3514097 h 6072780"/>
                <a:gd name="connsiteX2310" fmla="*/ 894391 w 12117871"/>
                <a:gd name="connsiteY2310" fmla="*/ 3506948 h 6072780"/>
                <a:gd name="connsiteX2311" fmla="*/ 910514 w 12117871"/>
                <a:gd name="connsiteY2311" fmla="*/ 3498126 h 6072780"/>
                <a:gd name="connsiteX2312" fmla="*/ 927321 w 12117871"/>
                <a:gd name="connsiteY2312" fmla="*/ 3487023 h 6072780"/>
                <a:gd name="connsiteX2313" fmla="*/ 778464 w 12117871"/>
                <a:gd name="connsiteY2313" fmla="*/ 3487023 h 6072780"/>
                <a:gd name="connsiteX2314" fmla="*/ 793370 w 12117871"/>
                <a:gd name="connsiteY2314" fmla="*/ 3487023 h 6072780"/>
                <a:gd name="connsiteX2315" fmla="*/ 793370 w 12117871"/>
                <a:gd name="connsiteY2315" fmla="*/ 3710003 h 6072780"/>
                <a:gd name="connsiteX2316" fmla="*/ 758082 w 12117871"/>
                <a:gd name="connsiteY2316" fmla="*/ 3710003 h 6072780"/>
                <a:gd name="connsiteX2317" fmla="*/ 758082 w 12117871"/>
                <a:gd name="connsiteY2317" fmla="*/ 3530219 h 6072780"/>
                <a:gd name="connsiteX2318" fmla="*/ 737473 w 12117871"/>
                <a:gd name="connsiteY2318" fmla="*/ 3541855 h 6072780"/>
                <a:gd name="connsiteX2319" fmla="*/ 712300 w 12117871"/>
                <a:gd name="connsiteY2319" fmla="*/ 3550297 h 6072780"/>
                <a:gd name="connsiteX2320" fmla="*/ 712300 w 12117871"/>
                <a:gd name="connsiteY2320" fmla="*/ 3520181 h 6072780"/>
                <a:gd name="connsiteX2321" fmla="*/ 729335 w 12117871"/>
                <a:gd name="connsiteY2321" fmla="*/ 3514097 h 6072780"/>
                <a:gd name="connsiteX2322" fmla="*/ 745535 w 12117871"/>
                <a:gd name="connsiteY2322" fmla="*/ 3506948 h 6072780"/>
                <a:gd name="connsiteX2323" fmla="*/ 761657 w 12117871"/>
                <a:gd name="connsiteY2323" fmla="*/ 3498126 h 6072780"/>
                <a:gd name="connsiteX2324" fmla="*/ 778464 w 12117871"/>
                <a:gd name="connsiteY2324" fmla="*/ 3487023 h 6072780"/>
                <a:gd name="connsiteX2325" fmla="*/ 629607 w 12117871"/>
                <a:gd name="connsiteY2325" fmla="*/ 3487023 h 6072780"/>
                <a:gd name="connsiteX2326" fmla="*/ 644513 w 12117871"/>
                <a:gd name="connsiteY2326" fmla="*/ 3487023 h 6072780"/>
                <a:gd name="connsiteX2327" fmla="*/ 644513 w 12117871"/>
                <a:gd name="connsiteY2327" fmla="*/ 3710003 h 6072780"/>
                <a:gd name="connsiteX2328" fmla="*/ 609225 w 12117871"/>
                <a:gd name="connsiteY2328" fmla="*/ 3710003 h 6072780"/>
                <a:gd name="connsiteX2329" fmla="*/ 609225 w 12117871"/>
                <a:gd name="connsiteY2329" fmla="*/ 3530219 h 6072780"/>
                <a:gd name="connsiteX2330" fmla="*/ 588616 w 12117871"/>
                <a:gd name="connsiteY2330" fmla="*/ 3541855 h 6072780"/>
                <a:gd name="connsiteX2331" fmla="*/ 563443 w 12117871"/>
                <a:gd name="connsiteY2331" fmla="*/ 3550297 h 6072780"/>
                <a:gd name="connsiteX2332" fmla="*/ 563443 w 12117871"/>
                <a:gd name="connsiteY2332" fmla="*/ 3520181 h 6072780"/>
                <a:gd name="connsiteX2333" fmla="*/ 580478 w 12117871"/>
                <a:gd name="connsiteY2333" fmla="*/ 3514097 h 6072780"/>
                <a:gd name="connsiteX2334" fmla="*/ 596677 w 12117871"/>
                <a:gd name="connsiteY2334" fmla="*/ 3506948 h 6072780"/>
                <a:gd name="connsiteX2335" fmla="*/ 612800 w 12117871"/>
                <a:gd name="connsiteY2335" fmla="*/ 3498126 h 6072780"/>
                <a:gd name="connsiteX2336" fmla="*/ 629607 w 12117871"/>
                <a:gd name="connsiteY2336" fmla="*/ 3487023 h 6072780"/>
                <a:gd name="connsiteX2337" fmla="*/ 480750 w 12117871"/>
                <a:gd name="connsiteY2337" fmla="*/ 3487023 h 6072780"/>
                <a:gd name="connsiteX2338" fmla="*/ 495656 w 12117871"/>
                <a:gd name="connsiteY2338" fmla="*/ 3487023 h 6072780"/>
                <a:gd name="connsiteX2339" fmla="*/ 495656 w 12117871"/>
                <a:gd name="connsiteY2339" fmla="*/ 3710003 h 6072780"/>
                <a:gd name="connsiteX2340" fmla="*/ 460368 w 12117871"/>
                <a:gd name="connsiteY2340" fmla="*/ 3710003 h 6072780"/>
                <a:gd name="connsiteX2341" fmla="*/ 460368 w 12117871"/>
                <a:gd name="connsiteY2341" fmla="*/ 3530219 h 6072780"/>
                <a:gd name="connsiteX2342" fmla="*/ 439759 w 12117871"/>
                <a:gd name="connsiteY2342" fmla="*/ 3541855 h 6072780"/>
                <a:gd name="connsiteX2343" fmla="*/ 414586 w 12117871"/>
                <a:gd name="connsiteY2343" fmla="*/ 3550297 h 6072780"/>
                <a:gd name="connsiteX2344" fmla="*/ 414586 w 12117871"/>
                <a:gd name="connsiteY2344" fmla="*/ 3520181 h 6072780"/>
                <a:gd name="connsiteX2345" fmla="*/ 431621 w 12117871"/>
                <a:gd name="connsiteY2345" fmla="*/ 3514097 h 6072780"/>
                <a:gd name="connsiteX2346" fmla="*/ 447821 w 12117871"/>
                <a:gd name="connsiteY2346" fmla="*/ 3506948 h 6072780"/>
                <a:gd name="connsiteX2347" fmla="*/ 463943 w 12117871"/>
                <a:gd name="connsiteY2347" fmla="*/ 3498126 h 6072780"/>
                <a:gd name="connsiteX2348" fmla="*/ 480750 w 12117871"/>
                <a:gd name="connsiteY2348" fmla="*/ 3487023 h 6072780"/>
                <a:gd name="connsiteX2349" fmla="*/ 11875949 w 12117871"/>
                <a:gd name="connsiteY2349" fmla="*/ 3483150 h 6072780"/>
                <a:gd name="connsiteX2350" fmla="*/ 11947116 w 12117871"/>
                <a:gd name="connsiteY2350" fmla="*/ 3593737 h 6072780"/>
                <a:gd name="connsiteX2351" fmla="*/ 11927030 w 12117871"/>
                <a:gd name="connsiteY2351" fmla="*/ 3677317 h 6072780"/>
                <a:gd name="connsiteX2352" fmla="*/ 11870833 w 12117871"/>
                <a:gd name="connsiteY2352" fmla="*/ 3706130 h 6072780"/>
                <a:gd name="connsiteX2353" fmla="*/ 11818248 w 12117871"/>
                <a:gd name="connsiteY2353" fmla="*/ 3678596 h 6072780"/>
                <a:gd name="connsiteX2354" fmla="*/ 11799365 w 12117871"/>
                <a:gd name="connsiteY2354" fmla="*/ 3599003 h 6072780"/>
                <a:gd name="connsiteX2355" fmla="*/ 11819075 w 12117871"/>
                <a:gd name="connsiteY2355" fmla="*/ 3512489 h 6072780"/>
                <a:gd name="connsiteX2356" fmla="*/ 11875949 w 12117871"/>
                <a:gd name="connsiteY2356" fmla="*/ 3483150 h 6072780"/>
                <a:gd name="connsiteX2357" fmla="*/ 11190803 w 12117871"/>
                <a:gd name="connsiteY2357" fmla="*/ 3483150 h 6072780"/>
                <a:gd name="connsiteX2358" fmla="*/ 11261970 w 12117871"/>
                <a:gd name="connsiteY2358" fmla="*/ 3593737 h 6072780"/>
                <a:gd name="connsiteX2359" fmla="*/ 11241884 w 12117871"/>
                <a:gd name="connsiteY2359" fmla="*/ 3677317 h 6072780"/>
                <a:gd name="connsiteX2360" fmla="*/ 11185687 w 12117871"/>
                <a:gd name="connsiteY2360" fmla="*/ 3706130 h 6072780"/>
                <a:gd name="connsiteX2361" fmla="*/ 11133102 w 12117871"/>
                <a:gd name="connsiteY2361" fmla="*/ 3678596 h 6072780"/>
                <a:gd name="connsiteX2362" fmla="*/ 11114219 w 12117871"/>
                <a:gd name="connsiteY2362" fmla="*/ 3599003 h 6072780"/>
                <a:gd name="connsiteX2363" fmla="*/ 11133929 w 12117871"/>
                <a:gd name="connsiteY2363" fmla="*/ 3512489 h 6072780"/>
                <a:gd name="connsiteX2364" fmla="*/ 11190803 w 12117871"/>
                <a:gd name="connsiteY2364" fmla="*/ 3483150 h 6072780"/>
                <a:gd name="connsiteX2365" fmla="*/ 9937869 w 12117871"/>
                <a:gd name="connsiteY2365" fmla="*/ 3483150 h 6072780"/>
                <a:gd name="connsiteX2366" fmla="*/ 10009036 w 12117871"/>
                <a:gd name="connsiteY2366" fmla="*/ 3593737 h 6072780"/>
                <a:gd name="connsiteX2367" fmla="*/ 9988950 w 12117871"/>
                <a:gd name="connsiteY2367" fmla="*/ 3677317 h 6072780"/>
                <a:gd name="connsiteX2368" fmla="*/ 9932753 w 12117871"/>
                <a:gd name="connsiteY2368" fmla="*/ 3706130 h 6072780"/>
                <a:gd name="connsiteX2369" fmla="*/ 9880168 w 12117871"/>
                <a:gd name="connsiteY2369" fmla="*/ 3678596 h 6072780"/>
                <a:gd name="connsiteX2370" fmla="*/ 9861285 w 12117871"/>
                <a:gd name="connsiteY2370" fmla="*/ 3599003 h 6072780"/>
                <a:gd name="connsiteX2371" fmla="*/ 9880995 w 12117871"/>
                <a:gd name="connsiteY2371" fmla="*/ 3512489 h 6072780"/>
                <a:gd name="connsiteX2372" fmla="*/ 9937869 w 12117871"/>
                <a:gd name="connsiteY2372" fmla="*/ 3483150 h 6072780"/>
                <a:gd name="connsiteX2373" fmla="*/ 9715358 w 12117871"/>
                <a:gd name="connsiteY2373" fmla="*/ 3483150 h 6072780"/>
                <a:gd name="connsiteX2374" fmla="*/ 9786525 w 12117871"/>
                <a:gd name="connsiteY2374" fmla="*/ 3593737 h 6072780"/>
                <a:gd name="connsiteX2375" fmla="*/ 9766439 w 12117871"/>
                <a:gd name="connsiteY2375" fmla="*/ 3677317 h 6072780"/>
                <a:gd name="connsiteX2376" fmla="*/ 9710242 w 12117871"/>
                <a:gd name="connsiteY2376" fmla="*/ 3706130 h 6072780"/>
                <a:gd name="connsiteX2377" fmla="*/ 9657657 w 12117871"/>
                <a:gd name="connsiteY2377" fmla="*/ 3678596 h 6072780"/>
                <a:gd name="connsiteX2378" fmla="*/ 9638774 w 12117871"/>
                <a:gd name="connsiteY2378" fmla="*/ 3599003 h 6072780"/>
                <a:gd name="connsiteX2379" fmla="*/ 9658484 w 12117871"/>
                <a:gd name="connsiteY2379" fmla="*/ 3512489 h 6072780"/>
                <a:gd name="connsiteX2380" fmla="*/ 9715358 w 12117871"/>
                <a:gd name="connsiteY2380" fmla="*/ 3483150 h 6072780"/>
                <a:gd name="connsiteX2381" fmla="*/ 6373956 w 12117871"/>
                <a:gd name="connsiteY2381" fmla="*/ 3483150 h 6072780"/>
                <a:gd name="connsiteX2382" fmla="*/ 6445123 w 12117871"/>
                <a:gd name="connsiteY2382" fmla="*/ 3593737 h 6072780"/>
                <a:gd name="connsiteX2383" fmla="*/ 6425037 w 12117871"/>
                <a:gd name="connsiteY2383" fmla="*/ 3677317 h 6072780"/>
                <a:gd name="connsiteX2384" fmla="*/ 6368840 w 12117871"/>
                <a:gd name="connsiteY2384" fmla="*/ 3706130 h 6072780"/>
                <a:gd name="connsiteX2385" fmla="*/ 6316255 w 12117871"/>
                <a:gd name="connsiteY2385" fmla="*/ 3678596 h 6072780"/>
                <a:gd name="connsiteX2386" fmla="*/ 6297372 w 12117871"/>
                <a:gd name="connsiteY2386" fmla="*/ 3599003 h 6072780"/>
                <a:gd name="connsiteX2387" fmla="*/ 6317082 w 12117871"/>
                <a:gd name="connsiteY2387" fmla="*/ 3512489 h 6072780"/>
                <a:gd name="connsiteX2388" fmla="*/ 6373956 w 12117871"/>
                <a:gd name="connsiteY2388" fmla="*/ 3483150 h 6072780"/>
                <a:gd name="connsiteX2389" fmla="*/ 5786272 w 12117871"/>
                <a:gd name="connsiteY2389" fmla="*/ 3483150 h 6072780"/>
                <a:gd name="connsiteX2390" fmla="*/ 5857440 w 12117871"/>
                <a:gd name="connsiteY2390" fmla="*/ 3593737 h 6072780"/>
                <a:gd name="connsiteX2391" fmla="*/ 5837355 w 12117871"/>
                <a:gd name="connsiteY2391" fmla="*/ 3677317 h 6072780"/>
                <a:gd name="connsiteX2392" fmla="*/ 5781158 w 12117871"/>
                <a:gd name="connsiteY2392" fmla="*/ 3706130 h 6072780"/>
                <a:gd name="connsiteX2393" fmla="*/ 5728572 w 12117871"/>
                <a:gd name="connsiteY2393" fmla="*/ 3678596 h 6072780"/>
                <a:gd name="connsiteX2394" fmla="*/ 5709690 w 12117871"/>
                <a:gd name="connsiteY2394" fmla="*/ 3599003 h 6072780"/>
                <a:gd name="connsiteX2395" fmla="*/ 5729400 w 12117871"/>
                <a:gd name="connsiteY2395" fmla="*/ 3512489 h 6072780"/>
                <a:gd name="connsiteX2396" fmla="*/ 5786272 w 12117871"/>
                <a:gd name="connsiteY2396" fmla="*/ 3483150 h 6072780"/>
                <a:gd name="connsiteX2397" fmla="*/ 5093284 w 12117871"/>
                <a:gd name="connsiteY2397" fmla="*/ 3483150 h 6072780"/>
                <a:gd name="connsiteX2398" fmla="*/ 5164451 w 12117871"/>
                <a:gd name="connsiteY2398" fmla="*/ 3593737 h 6072780"/>
                <a:gd name="connsiteX2399" fmla="*/ 5144364 w 12117871"/>
                <a:gd name="connsiteY2399" fmla="*/ 3677317 h 6072780"/>
                <a:gd name="connsiteX2400" fmla="*/ 5088168 w 12117871"/>
                <a:gd name="connsiteY2400" fmla="*/ 3706130 h 6072780"/>
                <a:gd name="connsiteX2401" fmla="*/ 5035583 w 12117871"/>
                <a:gd name="connsiteY2401" fmla="*/ 3678596 h 6072780"/>
                <a:gd name="connsiteX2402" fmla="*/ 5016700 w 12117871"/>
                <a:gd name="connsiteY2402" fmla="*/ 3599003 h 6072780"/>
                <a:gd name="connsiteX2403" fmla="*/ 5036410 w 12117871"/>
                <a:gd name="connsiteY2403" fmla="*/ 3512489 h 6072780"/>
                <a:gd name="connsiteX2404" fmla="*/ 5093284 w 12117871"/>
                <a:gd name="connsiteY2404" fmla="*/ 3483150 h 6072780"/>
                <a:gd name="connsiteX2405" fmla="*/ 3839047 w 12117871"/>
                <a:gd name="connsiteY2405" fmla="*/ 3483150 h 6072780"/>
                <a:gd name="connsiteX2406" fmla="*/ 3910214 w 12117871"/>
                <a:gd name="connsiteY2406" fmla="*/ 3593737 h 6072780"/>
                <a:gd name="connsiteX2407" fmla="*/ 3890128 w 12117871"/>
                <a:gd name="connsiteY2407" fmla="*/ 3677317 h 6072780"/>
                <a:gd name="connsiteX2408" fmla="*/ 3833931 w 12117871"/>
                <a:gd name="connsiteY2408" fmla="*/ 3706130 h 6072780"/>
                <a:gd name="connsiteX2409" fmla="*/ 3781346 w 12117871"/>
                <a:gd name="connsiteY2409" fmla="*/ 3678596 h 6072780"/>
                <a:gd name="connsiteX2410" fmla="*/ 3762464 w 12117871"/>
                <a:gd name="connsiteY2410" fmla="*/ 3599003 h 6072780"/>
                <a:gd name="connsiteX2411" fmla="*/ 3782173 w 12117871"/>
                <a:gd name="connsiteY2411" fmla="*/ 3512489 h 6072780"/>
                <a:gd name="connsiteX2412" fmla="*/ 3839047 w 12117871"/>
                <a:gd name="connsiteY2412" fmla="*/ 3483150 h 6072780"/>
                <a:gd name="connsiteX2413" fmla="*/ 3616537 w 12117871"/>
                <a:gd name="connsiteY2413" fmla="*/ 3483150 h 6072780"/>
                <a:gd name="connsiteX2414" fmla="*/ 3687703 w 12117871"/>
                <a:gd name="connsiteY2414" fmla="*/ 3593737 h 6072780"/>
                <a:gd name="connsiteX2415" fmla="*/ 3667617 w 12117871"/>
                <a:gd name="connsiteY2415" fmla="*/ 3677317 h 6072780"/>
                <a:gd name="connsiteX2416" fmla="*/ 3611420 w 12117871"/>
                <a:gd name="connsiteY2416" fmla="*/ 3706130 h 6072780"/>
                <a:gd name="connsiteX2417" fmla="*/ 3558835 w 12117871"/>
                <a:gd name="connsiteY2417" fmla="*/ 3678596 h 6072780"/>
                <a:gd name="connsiteX2418" fmla="*/ 3539952 w 12117871"/>
                <a:gd name="connsiteY2418" fmla="*/ 3599003 h 6072780"/>
                <a:gd name="connsiteX2419" fmla="*/ 3559662 w 12117871"/>
                <a:gd name="connsiteY2419" fmla="*/ 3512489 h 6072780"/>
                <a:gd name="connsiteX2420" fmla="*/ 3616537 w 12117871"/>
                <a:gd name="connsiteY2420" fmla="*/ 3483150 h 6072780"/>
                <a:gd name="connsiteX2421" fmla="*/ 11868817 w 12117871"/>
                <a:gd name="connsiteY2421" fmla="*/ 3137996 h 6072780"/>
                <a:gd name="connsiteX2422" fmla="*/ 11829547 w 12117871"/>
                <a:gd name="connsiteY2422" fmla="*/ 3224510 h 6072780"/>
                <a:gd name="connsiteX2423" fmla="*/ 11868065 w 12117871"/>
                <a:gd name="connsiteY2423" fmla="*/ 3305457 h 6072780"/>
                <a:gd name="connsiteX2424" fmla="*/ 11905980 w 12117871"/>
                <a:gd name="connsiteY2424" fmla="*/ 3223156 h 6072780"/>
                <a:gd name="connsiteX2425" fmla="*/ 11868817 w 12117871"/>
                <a:gd name="connsiteY2425" fmla="*/ 3137996 h 6072780"/>
                <a:gd name="connsiteX2426" fmla="*/ 11181652 w 12117871"/>
                <a:gd name="connsiteY2426" fmla="*/ 3137996 h 6072780"/>
                <a:gd name="connsiteX2427" fmla="*/ 11142382 w 12117871"/>
                <a:gd name="connsiteY2427" fmla="*/ 3224510 h 6072780"/>
                <a:gd name="connsiteX2428" fmla="*/ 11180900 w 12117871"/>
                <a:gd name="connsiteY2428" fmla="*/ 3305457 h 6072780"/>
                <a:gd name="connsiteX2429" fmla="*/ 11218815 w 12117871"/>
                <a:gd name="connsiteY2429" fmla="*/ 3223156 h 6072780"/>
                <a:gd name="connsiteX2430" fmla="*/ 11181652 w 12117871"/>
                <a:gd name="connsiteY2430" fmla="*/ 3137996 h 6072780"/>
                <a:gd name="connsiteX2431" fmla="*/ 9924166 w 12117871"/>
                <a:gd name="connsiteY2431" fmla="*/ 3137996 h 6072780"/>
                <a:gd name="connsiteX2432" fmla="*/ 9884896 w 12117871"/>
                <a:gd name="connsiteY2432" fmla="*/ 3224510 h 6072780"/>
                <a:gd name="connsiteX2433" fmla="*/ 9923414 w 12117871"/>
                <a:gd name="connsiteY2433" fmla="*/ 3305457 h 6072780"/>
                <a:gd name="connsiteX2434" fmla="*/ 9961329 w 12117871"/>
                <a:gd name="connsiteY2434" fmla="*/ 3223156 h 6072780"/>
                <a:gd name="connsiteX2435" fmla="*/ 9924166 w 12117871"/>
                <a:gd name="connsiteY2435" fmla="*/ 3137996 h 6072780"/>
                <a:gd name="connsiteX2436" fmla="*/ 9707272 w 12117871"/>
                <a:gd name="connsiteY2436" fmla="*/ 3137996 h 6072780"/>
                <a:gd name="connsiteX2437" fmla="*/ 9668002 w 12117871"/>
                <a:gd name="connsiteY2437" fmla="*/ 3224510 h 6072780"/>
                <a:gd name="connsiteX2438" fmla="*/ 9706520 w 12117871"/>
                <a:gd name="connsiteY2438" fmla="*/ 3305457 h 6072780"/>
                <a:gd name="connsiteX2439" fmla="*/ 9744435 w 12117871"/>
                <a:gd name="connsiteY2439" fmla="*/ 3223156 h 6072780"/>
                <a:gd name="connsiteX2440" fmla="*/ 9707272 w 12117871"/>
                <a:gd name="connsiteY2440" fmla="*/ 3137996 h 6072780"/>
                <a:gd name="connsiteX2441" fmla="*/ 6330265 w 12117871"/>
                <a:gd name="connsiteY2441" fmla="*/ 3137996 h 6072780"/>
                <a:gd name="connsiteX2442" fmla="*/ 6290995 w 12117871"/>
                <a:gd name="connsiteY2442" fmla="*/ 3224510 h 6072780"/>
                <a:gd name="connsiteX2443" fmla="*/ 6329513 w 12117871"/>
                <a:gd name="connsiteY2443" fmla="*/ 3305457 h 6072780"/>
                <a:gd name="connsiteX2444" fmla="*/ 6367428 w 12117871"/>
                <a:gd name="connsiteY2444" fmla="*/ 3223156 h 6072780"/>
                <a:gd name="connsiteX2445" fmla="*/ 6330265 w 12117871"/>
                <a:gd name="connsiteY2445" fmla="*/ 3137996 h 6072780"/>
                <a:gd name="connsiteX2446" fmla="*/ 6148770 w 12117871"/>
                <a:gd name="connsiteY2446" fmla="*/ 3137996 h 6072780"/>
                <a:gd name="connsiteX2447" fmla="*/ 6109500 w 12117871"/>
                <a:gd name="connsiteY2447" fmla="*/ 3224510 h 6072780"/>
                <a:gd name="connsiteX2448" fmla="*/ 6148018 w 12117871"/>
                <a:gd name="connsiteY2448" fmla="*/ 3305457 h 6072780"/>
                <a:gd name="connsiteX2449" fmla="*/ 6185933 w 12117871"/>
                <a:gd name="connsiteY2449" fmla="*/ 3223156 h 6072780"/>
                <a:gd name="connsiteX2450" fmla="*/ 6148770 w 12117871"/>
                <a:gd name="connsiteY2450" fmla="*/ 3137996 h 6072780"/>
                <a:gd name="connsiteX2451" fmla="*/ 5817313 w 12117871"/>
                <a:gd name="connsiteY2451" fmla="*/ 3137996 h 6072780"/>
                <a:gd name="connsiteX2452" fmla="*/ 5778043 w 12117871"/>
                <a:gd name="connsiteY2452" fmla="*/ 3224510 h 6072780"/>
                <a:gd name="connsiteX2453" fmla="*/ 5816561 w 12117871"/>
                <a:gd name="connsiteY2453" fmla="*/ 3305457 h 6072780"/>
                <a:gd name="connsiteX2454" fmla="*/ 5854477 w 12117871"/>
                <a:gd name="connsiteY2454" fmla="*/ 3223156 h 6072780"/>
                <a:gd name="connsiteX2455" fmla="*/ 5817313 w 12117871"/>
                <a:gd name="connsiteY2455" fmla="*/ 3137996 h 6072780"/>
                <a:gd name="connsiteX2456" fmla="*/ 5117746 w 12117871"/>
                <a:gd name="connsiteY2456" fmla="*/ 3137996 h 6072780"/>
                <a:gd name="connsiteX2457" fmla="*/ 5078476 w 12117871"/>
                <a:gd name="connsiteY2457" fmla="*/ 3224510 h 6072780"/>
                <a:gd name="connsiteX2458" fmla="*/ 5116994 w 12117871"/>
                <a:gd name="connsiteY2458" fmla="*/ 3305457 h 6072780"/>
                <a:gd name="connsiteX2459" fmla="*/ 5154909 w 12117871"/>
                <a:gd name="connsiteY2459" fmla="*/ 3223156 h 6072780"/>
                <a:gd name="connsiteX2460" fmla="*/ 5117746 w 12117871"/>
                <a:gd name="connsiteY2460" fmla="*/ 3137996 h 6072780"/>
                <a:gd name="connsiteX2461" fmla="*/ 3857235 w 12117871"/>
                <a:gd name="connsiteY2461" fmla="*/ 3137996 h 6072780"/>
                <a:gd name="connsiteX2462" fmla="*/ 3817965 w 12117871"/>
                <a:gd name="connsiteY2462" fmla="*/ 3224510 h 6072780"/>
                <a:gd name="connsiteX2463" fmla="*/ 3856483 w 12117871"/>
                <a:gd name="connsiteY2463" fmla="*/ 3305457 h 6072780"/>
                <a:gd name="connsiteX2464" fmla="*/ 3894397 w 12117871"/>
                <a:gd name="connsiteY2464" fmla="*/ 3223156 h 6072780"/>
                <a:gd name="connsiteX2465" fmla="*/ 3857235 w 12117871"/>
                <a:gd name="connsiteY2465" fmla="*/ 3137996 h 6072780"/>
                <a:gd name="connsiteX2466" fmla="*/ 3640341 w 12117871"/>
                <a:gd name="connsiteY2466" fmla="*/ 3137996 h 6072780"/>
                <a:gd name="connsiteX2467" fmla="*/ 3601072 w 12117871"/>
                <a:gd name="connsiteY2467" fmla="*/ 3224510 h 6072780"/>
                <a:gd name="connsiteX2468" fmla="*/ 3639589 w 12117871"/>
                <a:gd name="connsiteY2468" fmla="*/ 3305457 h 6072780"/>
                <a:gd name="connsiteX2469" fmla="*/ 3677504 w 12117871"/>
                <a:gd name="connsiteY2469" fmla="*/ 3223156 h 6072780"/>
                <a:gd name="connsiteX2470" fmla="*/ 3640341 w 12117871"/>
                <a:gd name="connsiteY2470" fmla="*/ 3137996 h 6072780"/>
                <a:gd name="connsiteX2471" fmla="*/ 273451 w 12117871"/>
                <a:gd name="connsiteY2471" fmla="*/ 3137996 h 6072780"/>
                <a:gd name="connsiteX2472" fmla="*/ 234181 w 12117871"/>
                <a:gd name="connsiteY2472" fmla="*/ 3224510 h 6072780"/>
                <a:gd name="connsiteX2473" fmla="*/ 272699 w 12117871"/>
                <a:gd name="connsiteY2473" fmla="*/ 3305457 h 6072780"/>
                <a:gd name="connsiteX2474" fmla="*/ 310614 w 12117871"/>
                <a:gd name="connsiteY2474" fmla="*/ 3223156 h 6072780"/>
                <a:gd name="connsiteX2475" fmla="*/ 273451 w 12117871"/>
                <a:gd name="connsiteY2475" fmla="*/ 3137996 h 6072780"/>
                <a:gd name="connsiteX2476" fmla="*/ 74929 w 12117871"/>
                <a:gd name="connsiteY2476" fmla="*/ 3137996 h 6072780"/>
                <a:gd name="connsiteX2477" fmla="*/ 35659 w 12117871"/>
                <a:gd name="connsiteY2477" fmla="*/ 3224510 h 6072780"/>
                <a:gd name="connsiteX2478" fmla="*/ 74177 w 12117871"/>
                <a:gd name="connsiteY2478" fmla="*/ 3305457 h 6072780"/>
                <a:gd name="connsiteX2479" fmla="*/ 112092 w 12117871"/>
                <a:gd name="connsiteY2479" fmla="*/ 3223156 h 6072780"/>
                <a:gd name="connsiteX2480" fmla="*/ 74929 w 12117871"/>
                <a:gd name="connsiteY2480" fmla="*/ 3137996 h 6072780"/>
                <a:gd name="connsiteX2481" fmla="*/ 12088449 w 12117871"/>
                <a:gd name="connsiteY2481" fmla="*/ 3110161 h 6072780"/>
                <a:gd name="connsiteX2482" fmla="*/ 12103355 w 12117871"/>
                <a:gd name="connsiteY2482" fmla="*/ 3110161 h 6072780"/>
                <a:gd name="connsiteX2483" fmla="*/ 12103355 w 12117871"/>
                <a:gd name="connsiteY2483" fmla="*/ 3333141 h 6072780"/>
                <a:gd name="connsiteX2484" fmla="*/ 12068067 w 12117871"/>
                <a:gd name="connsiteY2484" fmla="*/ 3333141 h 6072780"/>
                <a:gd name="connsiteX2485" fmla="*/ 12068067 w 12117871"/>
                <a:gd name="connsiteY2485" fmla="*/ 3153358 h 6072780"/>
                <a:gd name="connsiteX2486" fmla="*/ 12047458 w 12117871"/>
                <a:gd name="connsiteY2486" fmla="*/ 3164993 h 6072780"/>
                <a:gd name="connsiteX2487" fmla="*/ 12022285 w 12117871"/>
                <a:gd name="connsiteY2487" fmla="*/ 3173435 h 6072780"/>
                <a:gd name="connsiteX2488" fmla="*/ 12022285 w 12117871"/>
                <a:gd name="connsiteY2488" fmla="*/ 3143319 h 6072780"/>
                <a:gd name="connsiteX2489" fmla="*/ 12039320 w 12117871"/>
                <a:gd name="connsiteY2489" fmla="*/ 3137235 h 6072780"/>
                <a:gd name="connsiteX2490" fmla="*/ 12055519 w 12117871"/>
                <a:gd name="connsiteY2490" fmla="*/ 3130086 h 6072780"/>
                <a:gd name="connsiteX2491" fmla="*/ 12071642 w 12117871"/>
                <a:gd name="connsiteY2491" fmla="*/ 3121265 h 6072780"/>
                <a:gd name="connsiteX2492" fmla="*/ 12088449 w 12117871"/>
                <a:gd name="connsiteY2492" fmla="*/ 3110161 h 6072780"/>
                <a:gd name="connsiteX2493" fmla="*/ 11870472 w 12117871"/>
                <a:gd name="connsiteY2493" fmla="*/ 3110161 h 6072780"/>
                <a:gd name="connsiteX2494" fmla="*/ 11941639 w 12117871"/>
                <a:gd name="connsiteY2494" fmla="*/ 3220749 h 6072780"/>
                <a:gd name="connsiteX2495" fmla="*/ 11921553 w 12117871"/>
                <a:gd name="connsiteY2495" fmla="*/ 3304328 h 6072780"/>
                <a:gd name="connsiteX2496" fmla="*/ 11865356 w 12117871"/>
                <a:gd name="connsiteY2496" fmla="*/ 3333141 h 6072780"/>
                <a:gd name="connsiteX2497" fmla="*/ 11812771 w 12117871"/>
                <a:gd name="connsiteY2497" fmla="*/ 3305607 h 6072780"/>
                <a:gd name="connsiteX2498" fmla="*/ 11793888 w 12117871"/>
                <a:gd name="connsiteY2498" fmla="*/ 3226015 h 6072780"/>
                <a:gd name="connsiteX2499" fmla="*/ 11813598 w 12117871"/>
                <a:gd name="connsiteY2499" fmla="*/ 3139501 h 6072780"/>
                <a:gd name="connsiteX2500" fmla="*/ 11870472 w 12117871"/>
                <a:gd name="connsiteY2500" fmla="*/ 3110161 h 6072780"/>
                <a:gd name="connsiteX2501" fmla="*/ 11183307 w 12117871"/>
                <a:gd name="connsiteY2501" fmla="*/ 3110161 h 6072780"/>
                <a:gd name="connsiteX2502" fmla="*/ 11254474 w 12117871"/>
                <a:gd name="connsiteY2502" fmla="*/ 3220749 h 6072780"/>
                <a:gd name="connsiteX2503" fmla="*/ 11234388 w 12117871"/>
                <a:gd name="connsiteY2503" fmla="*/ 3304328 h 6072780"/>
                <a:gd name="connsiteX2504" fmla="*/ 11178191 w 12117871"/>
                <a:gd name="connsiteY2504" fmla="*/ 3333141 h 6072780"/>
                <a:gd name="connsiteX2505" fmla="*/ 11125606 w 12117871"/>
                <a:gd name="connsiteY2505" fmla="*/ 3305607 h 6072780"/>
                <a:gd name="connsiteX2506" fmla="*/ 11106723 w 12117871"/>
                <a:gd name="connsiteY2506" fmla="*/ 3226015 h 6072780"/>
                <a:gd name="connsiteX2507" fmla="*/ 11126433 w 12117871"/>
                <a:gd name="connsiteY2507" fmla="*/ 3139501 h 6072780"/>
                <a:gd name="connsiteX2508" fmla="*/ 11183307 w 12117871"/>
                <a:gd name="connsiteY2508" fmla="*/ 3110161 h 6072780"/>
                <a:gd name="connsiteX2509" fmla="*/ 10794576 w 12117871"/>
                <a:gd name="connsiteY2509" fmla="*/ 3110161 h 6072780"/>
                <a:gd name="connsiteX2510" fmla="*/ 10809482 w 12117871"/>
                <a:gd name="connsiteY2510" fmla="*/ 3110161 h 6072780"/>
                <a:gd name="connsiteX2511" fmla="*/ 10809482 w 12117871"/>
                <a:gd name="connsiteY2511" fmla="*/ 3333141 h 6072780"/>
                <a:gd name="connsiteX2512" fmla="*/ 10774194 w 12117871"/>
                <a:gd name="connsiteY2512" fmla="*/ 3333141 h 6072780"/>
                <a:gd name="connsiteX2513" fmla="*/ 10774194 w 12117871"/>
                <a:gd name="connsiteY2513" fmla="*/ 3153358 h 6072780"/>
                <a:gd name="connsiteX2514" fmla="*/ 10753585 w 12117871"/>
                <a:gd name="connsiteY2514" fmla="*/ 3164993 h 6072780"/>
                <a:gd name="connsiteX2515" fmla="*/ 10728412 w 12117871"/>
                <a:gd name="connsiteY2515" fmla="*/ 3173435 h 6072780"/>
                <a:gd name="connsiteX2516" fmla="*/ 10728412 w 12117871"/>
                <a:gd name="connsiteY2516" fmla="*/ 3143319 h 6072780"/>
                <a:gd name="connsiteX2517" fmla="*/ 10745447 w 12117871"/>
                <a:gd name="connsiteY2517" fmla="*/ 3137235 h 6072780"/>
                <a:gd name="connsiteX2518" fmla="*/ 10761646 w 12117871"/>
                <a:gd name="connsiteY2518" fmla="*/ 3130086 h 6072780"/>
                <a:gd name="connsiteX2519" fmla="*/ 10777769 w 12117871"/>
                <a:gd name="connsiteY2519" fmla="*/ 3121265 h 6072780"/>
                <a:gd name="connsiteX2520" fmla="*/ 10794576 w 12117871"/>
                <a:gd name="connsiteY2520" fmla="*/ 3110161 h 6072780"/>
                <a:gd name="connsiteX2521" fmla="*/ 10431054 w 12117871"/>
                <a:gd name="connsiteY2521" fmla="*/ 3110161 h 6072780"/>
                <a:gd name="connsiteX2522" fmla="*/ 10445960 w 12117871"/>
                <a:gd name="connsiteY2522" fmla="*/ 3110161 h 6072780"/>
                <a:gd name="connsiteX2523" fmla="*/ 10445960 w 12117871"/>
                <a:gd name="connsiteY2523" fmla="*/ 3333141 h 6072780"/>
                <a:gd name="connsiteX2524" fmla="*/ 10410672 w 12117871"/>
                <a:gd name="connsiteY2524" fmla="*/ 3333141 h 6072780"/>
                <a:gd name="connsiteX2525" fmla="*/ 10410672 w 12117871"/>
                <a:gd name="connsiteY2525" fmla="*/ 3153358 h 6072780"/>
                <a:gd name="connsiteX2526" fmla="*/ 10390063 w 12117871"/>
                <a:gd name="connsiteY2526" fmla="*/ 3164993 h 6072780"/>
                <a:gd name="connsiteX2527" fmla="*/ 10364890 w 12117871"/>
                <a:gd name="connsiteY2527" fmla="*/ 3173435 h 6072780"/>
                <a:gd name="connsiteX2528" fmla="*/ 10364890 w 12117871"/>
                <a:gd name="connsiteY2528" fmla="*/ 3143319 h 6072780"/>
                <a:gd name="connsiteX2529" fmla="*/ 10381925 w 12117871"/>
                <a:gd name="connsiteY2529" fmla="*/ 3137235 h 6072780"/>
                <a:gd name="connsiteX2530" fmla="*/ 10398124 w 12117871"/>
                <a:gd name="connsiteY2530" fmla="*/ 3130086 h 6072780"/>
                <a:gd name="connsiteX2531" fmla="*/ 10414247 w 12117871"/>
                <a:gd name="connsiteY2531" fmla="*/ 3121265 h 6072780"/>
                <a:gd name="connsiteX2532" fmla="*/ 10431054 w 12117871"/>
                <a:gd name="connsiteY2532" fmla="*/ 3110161 h 6072780"/>
                <a:gd name="connsiteX2533" fmla="*/ 10132191 w 12117871"/>
                <a:gd name="connsiteY2533" fmla="*/ 3110161 h 6072780"/>
                <a:gd name="connsiteX2534" fmla="*/ 10147097 w 12117871"/>
                <a:gd name="connsiteY2534" fmla="*/ 3110161 h 6072780"/>
                <a:gd name="connsiteX2535" fmla="*/ 10147097 w 12117871"/>
                <a:gd name="connsiteY2535" fmla="*/ 3333141 h 6072780"/>
                <a:gd name="connsiteX2536" fmla="*/ 10111809 w 12117871"/>
                <a:gd name="connsiteY2536" fmla="*/ 3333141 h 6072780"/>
                <a:gd name="connsiteX2537" fmla="*/ 10111809 w 12117871"/>
                <a:gd name="connsiteY2537" fmla="*/ 3153358 h 6072780"/>
                <a:gd name="connsiteX2538" fmla="*/ 10091200 w 12117871"/>
                <a:gd name="connsiteY2538" fmla="*/ 3164993 h 6072780"/>
                <a:gd name="connsiteX2539" fmla="*/ 10066027 w 12117871"/>
                <a:gd name="connsiteY2539" fmla="*/ 3173435 h 6072780"/>
                <a:gd name="connsiteX2540" fmla="*/ 10066027 w 12117871"/>
                <a:gd name="connsiteY2540" fmla="*/ 3143319 h 6072780"/>
                <a:gd name="connsiteX2541" fmla="*/ 10083062 w 12117871"/>
                <a:gd name="connsiteY2541" fmla="*/ 3137235 h 6072780"/>
                <a:gd name="connsiteX2542" fmla="*/ 10099261 w 12117871"/>
                <a:gd name="connsiteY2542" fmla="*/ 3130086 h 6072780"/>
                <a:gd name="connsiteX2543" fmla="*/ 10115384 w 12117871"/>
                <a:gd name="connsiteY2543" fmla="*/ 3121265 h 6072780"/>
                <a:gd name="connsiteX2544" fmla="*/ 10132191 w 12117871"/>
                <a:gd name="connsiteY2544" fmla="*/ 3110161 h 6072780"/>
                <a:gd name="connsiteX2545" fmla="*/ 9925821 w 12117871"/>
                <a:gd name="connsiteY2545" fmla="*/ 3110161 h 6072780"/>
                <a:gd name="connsiteX2546" fmla="*/ 9996988 w 12117871"/>
                <a:gd name="connsiteY2546" fmla="*/ 3220749 h 6072780"/>
                <a:gd name="connsiteX2547" fmla="*/ 9976902 w 12117871"/>
                <a:gd name="connsiteY2547" fmla="*/ 3304328 h 6072780"/>
                <a:gd name="connsiteX2548" fmla="*/ 9920705 w 12117871"/>
                <a:gd name="connsiteY2548" fmla="*/ 3333141 h 6072780"/>
                <a:gd name="connsiteX2549" fmla="*/ 9868120 w 12117871"/>
                <a:gd name="connsiteY2549" fmla="*/ 3305607 h 6072780"/>
                <a:gd name="connsiteX2550" fmla="*/ 9849237 w 12117871"/>
                <a:gd name="connsiteY2550" fmla="*/ 3226015 h 6072780"/>
                <a:gd name="connsiteX2551" fmla="*/ 9868947 w 12117871"/>
                <a:gd name="connsiteY2551" fmla="*/ 3139501 h 6072780"/>
                <a:gd name="connsiteX2552" fmla="*/ 9925821 w 12117871"/>
                <a:gd name="connsiteY2552" fmla="*/ 3110161 h 6072780"/>
                <a:gd name="connsiteX2553" fmla="*/ 9708927 w 12117871"/>
                <a:gd name="connsiteY2553" fmla="*/ 3110161 h 6072780"/>
                <a:gd name="connsiteX2554" fmla="*/ 9780094 w 12117871"/>
                <a:gd name="connsiteY2554" fmla="*/ 3220749 h 6072780"/>
                <a:gd name="connsiteX2555" fmla="*/ 9760008 w 12117871"/>
                <a:gd name="connsiteY2555" fmla="*/ 3304328 h 6072780"/>
                <a:gd name="connsiteX2556" fmla="*/ 9703811 w 12117871"/>
                <a:gd name="connsiteY2556" fmla="*/ 3333141 h 6072780"/>
                <a:gd name="connsiteX2557" fmla="*/ 9651226 w 12117871"/>
                <a:gd name="connsiteY2557" fmla="*/ 3305607 h 6072780"/>
                <a:gd name="connsiteX2558" fmla="*/ 9632343 w 12117871"/>
                <a:gd name="connsiteY2558" fmla="*/ 3226015 h 6072780"/>
                <a:gd name="connsiteX2559" fmla="*/ 9652053 w 12117871"/>
                <a:gd name="connsiteY2559" fmla="*/ 3139501 h 6072780"/>
                <a:gd name="connsiteX2560" fmla="*/ 9708927 w 12117871"/>
                <a:gd name="connsiteY2560" fmla="*/ 3110161 h 6072780"/>
                <a:gd name="connsiteX2561" fmla="*/ 9539026 w 12117871"/>
                <a:gd name="connsiteY2561" fmla="*/ 3110161 h 6072780"/>
                <a:gd name="connsiteX2562" fmla="*/ 9553932 w 12117871"/>
                <a:gd name="connsiteY2562" fmla="*/ 3110161 h 6072780"/>
                <a:gd name="connsiteX2563" fmla="*/ 9553932 w 12117871"/>
                <a:gd name="connsiteY2563" fmla="*/ 3333141 h 6072780"/>
                <a:gd name="connsiteX2564" fmla="*/ 9518644 w 12117871"/>
                <a:gd name="connsiteY2564" fmla="*/ 3333141 h 6072780"/>
                <a:gd name="connsiteX2565" fmla="*/ 9518644 w 12117871"/>
                <a:gd name="connsiteY2565" fmla="*/ 3153358 h 6072780"/>
                <a:gd name="connsiteX2566" fmla="*/ 9498035 w 12117871"/>
                <a:gd name="connsiteY2566" fmla="*/ 3164993 h 6072780"/>
                <a:gd name="connsiteX2567" fmla="*/ 9472862 w 12117871"/>
                <a:gd name="connsiteY2567" fmla="*/ 3173435 h 6072780"/>
                <a:gd name="connsiteX2568" fmla="*/ 9472862 w 12117871"/>
                <a:gd name="connsiteY2568" fmla="*/ 3143319 h 6072780"/>
                <a:gd name="connsiteX2569" fmla="*/ 9489897 w 12117871"/>
                <a:gd name="connsiteY2569" fmla="*/ 3137235 h 6072780"/>
                <a:gd name="connsiteX2570" fmla="*/ 9506096 w 12117871"/>
                <a:gd name="connsiteY2570" fmla="*/ 3130086 h 6072780"/>
                <a:gd name="connsiteX2571" fmla="*/ 9522219 w 12117871"/>
                <a:gd name="connsiteY2571" fmla="*/ 3121265 h 6072780"/>
                <a:gd name="connsiteX2572" fmla="*/ 9539026 w 12117871"/>
                <a:gd name="connsiteY2572" fmla="*/ 3110161 h 6072780"/>
                <a:gd name="connsiteX2573" fmla="*/ 9240163 w 12117871"/>
                <a:gd name="connsiteY2573" fmla="*/ 3110161 h 6072780"/>
                <a:gd name="connsiteX2574" fmla="*/ 9255069 w 12117871"/>
                <a:gd name="connsiteY2574" fmla="*/ 3110161 h 6072780"/>
                <a:gd name="connsiteX2575" fmla="*/ 9255069 w 12117871"/>
                <a:gd name="connsiteY2575" fmla="*/ 3333141 h 6072780"/>
                <a:gd name="connsiteX2576" fmla="*/ 9219781 w 12117871"/>
                <a:gd name="connsiteY2576" fmla="*/ 3333141 h 6072780"/>
                <a:gd name="connsiteX2577" fmla="*/ 9219781 w 12117871"/>
                <a:gd name="connsiteY2577" fmla="*/ 3153358 h 6072780"/>
                <a:gd name="connsiteX2578" fmla="*/ 9199172 w 12117871"/>
                <a:gd name="connsiteY2578" fmla="*/ 3164993 h 6072780"/>
                <a:gd name="connsiteX2579" fmla="*/ 9173999 w 12117871"/>
                <a:gd name="connsiteY2579" fmla="*/ 3173435 h 6072780"/>
                <a:gd name="connsiteX2580" fmla="*/ 9173999 w 12117871"/>
                <a:gd name="connsiteY2580" fmla="*/ 3143319 h 6072780"/>
                <a:gd name="connsiteX2581" fmla="*/ 9191034 w 12117871"/>
                <a:gd name="connsiteY2581" fmla="*/ 3137235 h 6072780"/>
                <a:gd name="connsiteX2582" fmla="*/ 9207233 w 12117871"/>
                <a:gd name="connsiteY2582" fmla="*/ 3130086 h 6072780"/>
                <a:gd name="connsiteX2583" fmla="*/ 9223356 w 12117871"/>
                <a:gd name="connsiteY2583" fmla="*/ 3121265 h 6072780"/>
                <a:gd name="connsiteX2584" fmla="*/ 9240163 w 12117871"/>
                <a:gd name="connsiteY2584" fmla="*/ 3110161 h 6072780"/>
                <a:gd name="connsiteX2585" fmla="*/ 8864744 w 12117871"/>
                <a:gd name="connsiteY2585" fmla="*/ 3110161 h 6072780"/>
                <a:gd name="connsiteX2586" fmla="*/ 8879650 w 12117871"/>
                <a:gd name="connsiteY2586" fmla="*/ 3110161 h 6072780"/>
                <a:gd name="connsiteX2587" fmla="*/ 8879650 w 12117871"/>
                <a:gd name="connsiteY2587" fmla="*/ 3333141 h 6072780"/>
                <a:gd name="connsiteX2588" fmla="*/ 8844362 w 12117871"/>
                <a:gd name="connsiteY2588" fmla="*/ 3333141 h 6072780"/>
                <a:gd name="connsiteX2589" fmla="*/ 8844362 w 12117871"/>
                <a:gd name="connsiteY2589" fmla="*/ 3153358 h 6072780"/>
                <a:gd name="connsiteX2590" fmla="*/ 8823753 w 12117871"/>
                <a:gd name="connsiteY2590" fmla="*/ 3164993 h 6072780"/>
                <a:gd name="connsiteX2591" fmla="*/ 8798580 w 12117871"/>
                <a:gd name="connsiteY2591" fmla="*/ 3173435 h 6072780"/>
                <a:gd name="connsiteX2592" fmla="*/ 8798580 w 12117871"/>
                <a:gd name="connsiteY2592" fmla="*/ 3143319 h 6072780"/>
                <a:gd name="connsiteX2593" fmla="*/ 8815615 w 12117871"/>
                <a:gd name="connsiteY2593" fmla="*/ 3137235 h 6072780"/>
                <a:gd name="connsiteX2594" fmla="*/ 8831814 w 12117871"/>
                <a:gd name="connsiteY2594" fmla="*/ 3130086 h 6072780"/>
                <a:gd name="connsiteX2595" fmla="*/ 8847937 w 12117871"/>
                <a:gd name="connsiteY2595" fmla="*/ 3121265 h 6072780"/>
                <a:gd name="connsiteX2596" fmla="*/ 8864744 w 12117871"/>
                <a:gd name="connsiteY2596" fmla="*/ 3110161 h 6072780"/>
                <a:gd name="connsiteX2597" fmla="*/ 8714738 w 12117871"/>
                <a:gd name="connsiteY2597" fmla="*/ 3110161 h 6072780"/>
                <a:gd name="connsiteX2598" fmla="*/ 8729644 w 12117871"/>
                <a:gd name="connsiteY2598" fmla="*/ 3110161 h 6072780"/>
                <a:gd name="connsiteX2599" fmla="*/ 8729644 w 12117871"/>
                <a:gd name="connsiteY2599" fmla="*/ 3333141 h 6072780"/>
                <a:gd name="connsiteX2600" fmla="*/ 8694356 w 12117871"/>
                <a:gd name="connsiteY2600" fmla="*/ 3333141 h 6072780"/>
                <a:gd name="connsiteX2601" fmla="*/ 8694356 w 12117871"/>
                <a:gd name="connsiteY2601" fmla="*/ 3153358 h 6072780"/>
                <a:gd name="connsiteX2602" fmla="*/ 8673747 w 12117871"/>
                <a:gd name="connsiteY2602" fmla="*/ 3164993 h 6072780"/>
                <a:gd name="connsiteX2603" fmla="*/ 8648574 w 12117871"/>
                <a:gd name="connsiteY2603" fmla="*/ 3173435 h 6072780"/>
                <a:gd name="connsiteX2604" fmla="*/ 8648574 w 12117871"/>
                <a:gd name="connsiteY2604" fmla="*/ 3143319 h 6072780"/>
                <a:gd name="connsiteX2605" fmla="*/ 8665609 w 12117871"/>
                <a:gd name="connsiteY2605" fmla="*/ 3137235 h 6072780"/>
                <a:gd name="connsiteX2606" fmla="*/ 8681808 w 12117871"/>
                <a:gd name="connsiteY2606" fmla="*/ 3130086 h 6072780"/>
                <a:gd name="connsiteX2607" fmla="*/ 8697931 w 12117871"/>
                <a:gd name="connsiteY2607" fmla="*/ 3121265 h 6072780"/>
                <a:gd name="connsiteX2608" fmla="*/ 8714738 w 12117871"/>
                <a:gd name="connsiteY2608" fmla="*/ 3110161 h 6072780"/>
                <a:gd name="connsiteX2609" fmla="*/ 8565881 w 12117871"/>
                <a:gd name="connsiteY2609" fmla="*/ 3110161 h 6072780"/>
                <a:gd name="connsiteX2610" fmla="*/ 8580787 w 12117871"/>
                <a:gd name="connsiteY2610" fmla="*/ 3110161 h 6072780"/>
                <a:gd name="connsiteX2611" fmla="*/ 8580787 w 12117871"/>
                <a:gd name="connsiteY2611" fmla="*/ 3333141 h 6072780"/>
                <a:gd name="connsiteX2612" fmla="*/ 8545499 w 12117871"/>
                <a:gd name="connsiteY2612" fmla="*/ 3333141 h 6072780"/>
                <a:gd name="connsiteX2613" fmla="*/ 8545499 w 12117871"/>
                <a:gd name="connsiteY2613" fmla="*/ 3153358 h 6072780"/>
                <a:gd name="connsiteX2614" fmla="*/ 8524890 w 12117871"/>
                <a:gd name="connsiteY2614" fmla="*/ 3164993 h 6072780"/>
                <a:gd name="connsiteX2615" fmla="*/ 8499717 w 12117871"/>
                <a:gd name="connsiteY2615" fmla="*/ 3173435 h 6072780"/>
                <a:gd name="connsiteX2616" fmla="*/ 8499717 w 12117871"/>
                <a:gd name="connsiteY2616" fmla="*/ 3143319 h 6072780"/>
                <a:gd name="connsiteX2617" fmla="*/ 8516752 w 12117871"/>
                <a:gd name="connsiteY2617" fmla="*/ 3137235 h 6072780"/>
                <a:gd name="connsiteX2618" fmla="*/ 8532951 w 12117871"/>
                <a:gd name="connsiteY2618" fmla="*/ 3130086 h 6072780"/>
                <a:gd name="connsiteX2619" fmla="*/ 8549074 w 12117871"/>
                <a:gd name="connsiteY2619" fmla="*/ 3121265 h 6072780"/>
                <a:gd name="connsiteX2620" fmla="*/ 8565881 w 12117871"/>
                <a:gd name="connsiteY2620" fmla="*/ 3110161 h 6072780"/>
                <a:gd name="connsiteX2621" fmla="*/ 7821713 w 12117871"/>
                <a:gd name="connsiteY2621" fmla="*/ 3110161 h 6072780"/>
                <a:gd name="connsiteX2622" fmla="*/ 7836619 w 12117871"/>
                <a:gd name="connsiteY2622" fmla="*/ 3110161 h 6072780"/>
                <a:gd name="connsiteX2623" fmla="*/ 7836619 w 12117871"/>
                <a:gd name="connsiteY2623" fmla="*/ 3333141 h 6072780"/>
                <a:gd name="connsiteX2624" fmla="*/ 7801331 w 12117871"/>
                <a:gd name="connsiteY2624" fmla="*/ 3333141 h 6072780"/>
                <a:gd name="connsiteX2625" fmla="*/ 7801331 w 12117871"/>
                <a:gd name="connsiteY2625" fmla="*/ 3153358 h 6072780"/>
                <a:gd name="connsiteX2626" fmla="*/ 7780722 w 12117871"/>
                <a:gd name="connsiteY2626" fmla="*/ 3164993 h 6072780"/>
                <a:gd name="connsiteX2627" fmla="*/ 7755549 w 12117871"/>
                <a:gd name="connsiteY2627" fmla="*/ 3173435 h 6072780"/>
                <a:gd name="connsiteX2628" fmla="*/ 7755549 w 12117871"/>
                <a:gd name="connsiteY2628" fmla="*/ 3143319 h 6072780"/>
                <a:gd name="connsiteX2629" fmla="*/ 7772584 w 12117871"/>
                <a:gd name="connsiteY2629" fmla="*/ 3137235 h 6072780"/>
                <a:gd name="connsiteX2630" fmla="*/ 7788783 w 12117871"/>
                <a:gd name="connsiteY2630" fmla="*/ 3130086 h 6072780"/>
                <a:gd name="connsiteX2631" fmla="*/ 7804906 w 12117871"/>
                <a:gd name="connsiteY2631" fmla="*/ 3121265 h 6072780"/>
                <a:gd name="connsiteX2632" fmla="*/ 7821713 w 12117871"/>
                <a:gd name="connsiteY2632" fmla="*/ 3110161 h 6072780"/>
                <a:gd name="connsiteX2633" fmla="*/ 7671707 w 12117871"/>
                <a:gd name="connsiteY2633" fmla="*/ 3110161 h 6072780"/>
                <a:gd name="connsiteX2634" fmla="*/ 7686613 w 12117871"/>
                <a:gd name="connsiteY2634" fmla="*/ 3110161 h 6072780"/>
                <a:gd name="connsiteX2635" fmla="*/ 7686613 w 12117871"/>
                <a:gd name="connsiteY2635" fmla="*/ 3333141 h 6072780"/>
                <a:gd name="connsiteX2636" fmla="*/ 7651325 w 12117871"/>
                <a:gd name="connsiteY2636" fmla="*/ 3333141 h 6072780"/>
                <a:gd name="connsiteX2637" fmla="*/ 7651325 w 12117871"/>
                <a:gd name="connsiteY2637" fmla="*/ 3153358 h 6072780"/>
                <a:gd name="connsiteX2638" fmla="*/ 7630716 w 12117871"/>
                <a:gd name="connsiteY2638" fmla="*/ 3164993 h 6072780"/>
                <a:gd name="connsiteX2639" fmla="*/ 7605543 w 12117871"/>
                <a:gd name="connsiteY2639" fmla="*/ 3173435 h 6072780"/>
                <a:gd name="connsiteX2640" fmla="*/ 7605543 w 12117871"/>
                <a:gd name="connsiteY2640" fmla="*/ 3143319 h 6072780"/>
                <a:gd name="connsiteX2641" fmla="*/ 7622578 w 12117871"/>
                <a:gd name="connsiteY2641" fmla="*/ 3137235 h 6072780"/>
                <a:gd name="connsiteX2642" fmla="*/ 7638777 w 12117871"/>
                <a:gd name="connsiteY2642" fmla="*/ 3130086 h 6072780"/>
                <a:gd name="connsiteX2643" fmla="*/ 7654900 w 12117871"/>
                <a:gd name="connsiteY2643" fmla="*/ 3121265 h 6072780"/>
                <a:gd name="connsiteX2644" fmla="*/ 7671707 w 12117871"/>
                <a:gd name="connsiteY2644" fmla="*/ 3110161 h 6072780"/>
                <a:gd name="connsiteX2645" fmla="*/ 7373993 w 12117871"/>
                <a:gd name="connsiteY2645" fmla="*/ 3110161 h 6072780"/>
                <a:gd name="connsiteX2646" fmla="*/ 7388899 w 12117871"/>
                <a:gd name="connsiteY2646" fmla="*/ 3110161 h 6072780"/>
                <a:gd name="connsiteX2647" fmla="*/ 7388899 w 12117871"/>
                <a:gd name="connsiteY2647" fmla="*/ 3333141 h 6072780"/>
                <a:gd name="connsiteX2648" fmla="*/ 7353611 w 12117871"/>
                <a:gd name="connsiteY2648" fmla="*/ 3333141 h 6072780"/>
                <a:gd name="connsiteX2649" fmla="*/ 7353611 w 12117871"/>
                <a:gd name="connsiteY2649" fmla="*/ 3153358 h 6072780"/>
                <a:gd name="connsiteX2650" fmla="*/ 7333002 w 12117871"/>
                <a:gd name="connsiteY2650" fmla="*/ 3164993 h 6072780"/>
                <a:gd name="connsiteX2651" fmla="*/ 7307829 w 12117871"/>
                <a:gd name="connsiteY2651" fmla="*/ 3173435 h 6072780"/>
                <a:gd name="connsiteX2652" fmla="*/ 7307829 w 12117871"/>
                <a:gd name="connsiteY2652" fmla="*/ 3143319 h 6072780"/>
                <a:gd name="connsiteX2653" fmla="*/ 7324864 w 12117871"/>
                <a:gd name="connsiteY2653" fmla="*/ 3137235 h 6072780"/>
                <a:gd name="connsiteX2654" fmla="*/ 7341063 w 12117871"/>
                <a:gd name="connsiteY2654" fmla="*/ 3130086 h 6072780"/>
                <a:gd name="connsiteX2655" fmla="*/ 7357186 w 12117871"/>
                <a:gd name="connsiteY2655" fmla="*/ 3121265 h 6072780"/>
                <a:gd name="connsiteX2656" fmla="*/ 7373993 w 12117871"/>
                <a:gd name="connsiteY2656" fmla="*/ 3110161 h 6072780"/>
                <a:gd name="connsiteX2657" fmla="*/ 6993038 w 12117871"/>
                <a:gd name="connsiteY2657" fmla="*/ 3110161 h 6072780"/>
                <a:gd name="connsiteX2658" fmla="*/ 7007944 w 12117871"/>
                <a:gd name="connsiteY2658" fmla="*/ 3110161 h 6072780"/>
                <a:gd name="connsiteX2659" fmla="*/ 7007944 w 12117871"/>
                <a:gd name="connsiteY2659" fmla="*/ 3333141 h 6072780"/>
                <a:gd name="connsiteX2660" fmla="*/ 6972656 w 12117871"/>
                <a:gd name="connsiteY2660" fmla="*/ 3333141 h 6072780"/>
                <a:gd name="connsiteX2661" fmla="*/ 6972656 w 12117871"/>
                <a:gd name="connsiteY2661" fmla="*/ 3153358 h 6072780"/>
                <a:gd name="connsiteX2662" fmla="*/ 6952047 w 12117871"/>
                <a:gd name="connsiteY2662" fmla="*/ 3164993 h 6072780"/>
                <a:gd name="connsiteX2663" fmla="*/ 6926874 w 12117871"/>
                <a:gd name="connsiteY2663" fmla="*/ 3173435 h 6072780"/>
                <a:gd name="connsiteX2664" fmla="*/ 6926874 w 12117871"/>
                <a:gd name="connsiteY2664" fmla="*/ 3143319 h 6072780"/>
                <a:gd name="connsiteX2665" fmla="*/ 6943909 w 12117871"/>
                <a:gd name="connsiteY2665" fmla="*/ 3137235 h 6072780"/>
                <a:gd name="connsiteX2666" fmla="*/ 6960108 w 12117871"/>
                <a:gd name="connsiteY2666" fmla="*/ 3130086 h 6072780"/>
                <a:gd name="connsiteX2667" fmla="*/ 6976231 w 12117871"/>
                <a:gd name="connsiteY2667" fmla="*/ 3121265 h 6072780"/>
                <a:gd name="connsiteX2668" fmla="*/ 6993038 w 12117871"/>
                <a:gd name="connsiteY2668" fmla="*/ 3110161 h 6072780"/>
                <a:gd name="connsiteX2669" fmla="*/ 6843032 w 12117871"/>
                <a:gd name="connsiteY2669" fmla="*/ 3110161 h 6072780"/>
                <a:gd name="connsiteX2670" fmla="*/ 6857938 w 12117871"/>
                <a:gd name="connsiteY2670" fmla="*/ 3110161 h 6072780"/>
                <a:gd name="connsiteX2671" fmla="*/ 6857938 w 12117871"/>
                <a:gd name="connsiteY2671" fmla="*/ 3333141 h 6072780"/>
                <a:gd name="connsiteX2672" fmla="*/ 6822650 w 12117871"/>
                <a:gd name="connsiteY2672" fmla="*/ 3333141 h 6072780"/>
                <a:gd name="connsiteX2673" fmla="*/ 6822650 w 12117871"/>
                <a:gd name="connsiteY2673" fmla="*/ 3153358 h 6072780"/>
                <a:gd name="connsiteX2674" fmla="*/ 6802041 w 12117871"/>
                <a:gd name="connsiteY2674" fmla="*/ 3164993 h 6072780"/>
                <a:gd name="connsiteX2675" fmla="*/ 6776868 w 12117871"/>
                <a:gd name="connsiteY2675" fmla="*/ 3173435 h 6072780"/>
                <a:gd name="connsiteX2676" fmla="*/ 6776868 w 12117871"/>
                <a:gd name="connsiteY2676" fmla="*/ 3143319 h 6072780"/>
                <a:gd name="connsiteX2677" fmla="*/ 6793903 w 12117871"/>
                <a:gd name="connsiteY2677" fmla="*/ 3137235 h 6072780"/>
                <a:gd name="connsiteX2678" fmla="*/ 6810102 w 12117871"/>
                <a:gd name="connsiteY2678" fmla="*/ 3130086 h 6072780"/>
                <a:gd name="connsiteX2679" fmla="*/ 6826225 w 12117871"/>
                <a:gd name="connsiteY2679" fmla="*/ 3121265 h 6072780"/>
                <a:gd name="connsiteX2680" fmla="*/ 6843032 w 12117871"/>
                <a:gd name="connsiteY2680" fmla="*/ 3110161 h 6072780"/>
                <a:gd name="connsiteX2681" fmla="*/ 6694175 w 12117871"/>
                <a:gd name="connsiteY2681" fmla="*/ 3110161 h 6072780"/>
                <a:gd name="connsiteX2682" fmla="*/ 6709081 w 12117871"/>
                <a:gd name="connsiteY2682" fmla="*/ 3110161 h 6072780"/>
                <a:gd name="connsiteX2683" fmla="*/ 6709081 w 12117871"/>
                <a:gd name="connsiteY2683" fmla="*/ 3333141 h 6072780"/>
                <a:gd name="connsiteX2684" fmla="*/ 6673793 w 12117871"/>
                <a:gd name="connsiteY2684" fmla="*/ 3333141 h 6072780"/>
                <a:gd name="connsiteX2685" fmla="*/ 6673793 w 12117871"/>
                <a:gd name="connsiteY2685" fmla="*/ 3153358 h 6072780"/>
                <a:gd name="connsiteX2686" fmla="*/ 6653184 w 12117871"/>
                <a:gd name="connsiteY2686" fmla="*/ 3164993 h 6072780"/>
                <a:gd name="connsiteX2687" fmla="*/ 6628011 w 12117871"/>
                <a:gd name="connsiteY2687" fmla="*/ 3173435 h 6072780"/>
                <a:gd name="connsiteX2688" fmla="*/ 6628011 w 12117871"/>
                <a:gd name="connsiteY2688" fmla="*/ 3143319 h 6072780"/>
                <a:gd name="connsiteX2689" fmla="*/ 6645046 w 12117871"/>
                <a:gd name="connsiteY2689" fmla="*/ 3137235 h 6072780"/>
                <a:gd name="connsiteX2690" fmla="*/ 6661245 w 12117871"/>
                <a:gd name="connsiteY2690" fmla="*/ 3130086 h 6072780"/>
                <a:gd name="connsiteX2691" fmla="*/ 6677368 w 12117871"/>
                <a:gd name="connsiteY2691" fmla="*/ 3121265 h 6072780"/>
                <a:gd name="connsiteX2692" fmla="*/ 6694175 w 12117871"/>
                <a:gd name="connsiteY2692" fmla="*/ 3110161 h 6072780"/>
                <a:gd name="connsiteX2693" fmla="*/ 6545318 w 12117871"/>
                <a:gd name="connsiteY2693" fmla="*/ 3110161 h 6072780"/>
                <a:gd name="connsiteX2694" fmla="*/ 6560224 w 12117871"/>
                <a:gd name="connsiteY2694" fmla="*/ 3110161 h 6072780"/>
                <a:gd name="connsiteX2695" fmla="*/ 6560224 w 12117871"/>
                <a:gd name="connsiteY2695" fmla="*/ 3333141 h 6072780"/>
                <a:gd name="connsiteX2696" fmla="*/ 6524936 w 12117871"/>
                <a:gd name="connsiteY2696" fmla="*/ 3333141 h 6072780"/>
                <a:gd name="connsiteX2697" fmla="*/ 6524936 w 12117871"/>
                <a:gd name="connsiteY2697" fmla="*/ 3153358 h 6072780"/>
                <a:gd name="connsiteX2698" fmla="*/ 6504327 w 12117871"/>
                <a:gd name="connsiteY2698" fmla="*/ 3164993 h 6072780"/>
                <a:gd name="connsiteX2699" fmla="*/ 6479154 w 12117871"/>
                <a:gd name="connsiteY2699" fmla="*/ 3173435 h 6072780"/>
                <a:gd name="connsiteX2700" fmla="*/ 6479154 w 12117871"/>
                <a:gd name="connsiteY2700" fmla="*/ 3143319 h 6072780"/>
                <a:gd name="connsiteX2701" fmla="*/ 6496189 w 12117871"/>
                <a:gd name="connsiteY2701" fmla="*/ 3137235 h 6072780"/>
                <a:gd name="connsiteX2702" fmla="*/ 6512388 w 12117871"/>
                <a:gd name="connsiteY2702" fmla="*/ 3130086 h 6072780"/>
                <a:gd name="connsiteX2703" fmla="*/ 6528511 w 12117871"/>
                <a:gd name="connsiteY2703" fmla="*/ 3121265 h 6072780"/>
                <a:gd name="connsiteX2704" fmla="*/ 6545318 w 12117871"/>
                <a:gd name="connsiteY2704" fmla="*/ 3110161 h 6072780"/>
                <a:gd name="connsiteX2705" fmla="*/ 6331920 w 12117871"/>
                <a:gd name="connsiteY2705" fmla="*/ 3110161 h 6072780"/>
                <a:gd name="connsiteX2706" fmla="*/ 6403087 w 12117871"/>
                <a:gd name="connsiteY2706" fmla="*/ 3220749 h 6072780"/>
                <a:gd name="connsiteX2707" fmla="*/ 6383001 w 12117871"/>
                <a:gd name="connsiteY2707" fmla="*/ 3304328 h 6072780"/>
                <a:gd name="connsiteX2708" fmla="*/ 6326804 w 12117871"/>
                <a:gd name="connsiteY2708" fmla="*/ 3333141 h 6072780"/>
                <a:gd name="connsiteX2709" fmla="*/ 6274219 w 12117871"/>
                <a:gd name="connsiteY2709" fmla="*/ 3305607 h 6072780"/>
                <a:gd name="connsiteX2710" fmla="*/ 6255336 w 12117871"/>
                <a:gd name="connsiteY2710" fmla="*/ 3226015 h 6072780"/>
                <a:gd name="connsiteX2711" fmla="*/ 6275046 w 12117871"/>
                <a:gd name="connsiteY2711" fmla="*/ 3139501 h 6072780"/>
                <a:gd name="connsiteX2712" fmla="*/ 6331920 w 12117871"/>
                <a:gd name="connsiteY2712" fmla="*/ 3110161 h 6072780"/>
                <a:gd name="connsiteX2713" fmla="*/ 6150425 w 12117871"/>
                <a:gd name="connsiteY2713" fmla="*/ 3110161 h 6072780"/>
                <a:gd name="connsiteX2714" fmla="*/ 6221592 w 12117871"/>
                <a:gd name="connsiteY2714" fmla="*/ 3220749 h 6072780"/>
                <a:gd name="connsiteX2715" fmla="*/ 6201506 w 12117871"/>
                <a:gd name="connsiteY2715" fmla="*/ 3304328 h 6072780"/>
                <a:gd name="connsiteX2716" fmla="*/ 6145309 w 12117871"/>
                <a:gd name="connsiteY2716" fmla="*/ 3333141 h 6072780"/>
                <a:gd name="connsiteX2717" fmla="*/ 6092724 w 12117871"/>
                <a:gd name="connsiteY2717" fmla="*/ 3305607 h 6072780"/>
                <a:gd name="connsiteX2718" fmla="*/ 6073841 w 12117871"/>
                <a:gd name="connsiteY2718" fmla="*/ 3226015 h 6072780"/>
                <a:gd name="connsiteX2719" fmla="*/ 6093551 w 12117871"/>
                <a:gd name="connsiteY2719" fmla="*/ 3139501 h 6072780"/>
                <a:gd name="connsiteX2720" fmla="*/ 6150425 w 12117871"/>
                <a:gd name="connsiteY2720" fmla="*/ 3110161 h 6072780"/>
                <a:gd name="connsiteX2721" fmla="*/ 6019293 w 12117871"/>
                <a:gd name="connsiteY2721" fmla="*/ 3110161 h 6072780"/>
                <a:gd name="connsiteX2722" fmla="*/ 6034201 w 12117871"/>
                <a:gd name="connsiteY2722" fmla="*/ 3110161 h 6072780"/>
                <a:gd name="connsiteX2723" fmla="*/ 6034201 w 12117871"/>
                <a:gd name="connsiteY2723" fmla="*/ 3333141 h 6072780"/>
                <a:gd name="connsiteX2724" fmla="*/ 5998911 w 12117871"/>
                <a:gd name="connsiteY2724" fmla="*/ 3333141 h 6072780"/>
                <a:gd name="connsiteX2725" fmla="*/ 5998911 w 12117871"/>
                <a:gd name="connsiteY2725" fmla="*/ 3153358 h 6072780"/>
                <a:gd name="connsiteX2726" fmla="*/ 5978302 w 12117871"/>
                <a:gd name="connsiteY2726" fmla="*/ 3164993 h 6072780"/>
                <a:gd name="connsiteX2727" fmla="*/ 5953129 w 12117871"/>
                <a:gd name="connsiteY2727" fmla="*/ 3173435 h 6072780"/>
                <a:gd name="connsiteX2728" fmla="*/ 5953129 w 12117871"/>
                <a:gd name="connsiteY2728" fmla="*/ 3143319 h 6072780"/>
                <a:gd name="connsiteX2729" fmla="*/ 5970164 w 12117871"/>
                <a:gd name="connsiteY2729" fmla="*/ 3137235 h 6072780"/>
                <a:gd name="connsiteX2730" fmla="*/ 5986363 w 12117871"/>
                <a:gd name="connsiteY2730" fmla="*/ 3130086 h 6072780"/>
                <a:gd name="connsiteX2731" fmla="*/ 6002488 w 12117871"/>
                <a:gd name="connsiteY2731" fmla="*/ 3121265 h 6072780"/>
                <a:gd name="connsiteX2732" fmla="*/ 6019293 w 12117871"/>
                <a:gd name="connsiteY2732" fmla="*/ 3110161 h 6072780"/>
                <a:gd name="connsiteX2733" fmla="*/ 5818968 w 12117871"/>
                <a:gd name="connsiteY2733" fmla="*/ 3110161 h 6072780"/>
                <a:gd name="connsiteX2734" fmla="*/ 5890135 w 12117871"/>
                <a:gd name="connsiteY2734" fmla="*/ 3220749 h 6072780"/>
                <a:gd name="connsiteX2735" fmla="*/ 5870048 w 12117871"/>
                <a:gd name="connsiteY2735" fmla="*/ 3304328 h 6072780"/>
                <a:gd name="connsiteX2736" fmla="*/ 5813852 w 12117871"/>
                <a:gd name="connsiteY2736" fmla="*/ 3333141 h 6072780"/>
                <a:gd name="connsiteX2737" fmla="*/ 5761266 w 12117871"/>
                <a:gd name="connsiteY2737" fmla="*/ 3305607 h 6072780"/>
                <a:gd name="connsiteX2738" fmla="*/ 5742384 w 12117871"/>
                <a:gd name="connsiteY2738" fmla="*/ 3226015 h 6072780"/>
                <a:gd name="connsiteX2739" fmla="*/ 5762094 w 12117871"/>
                <a:gd name="connsiteY2739" fmla="*/ 3139501 h 6072780"/>
                <a:gd name="connsiteX2740" fmla="*/ 5818968 w 12117871"/>
                <a:gd name="connsiteY2740" fmla="*/ 3110161 h 6072780"/>
                <a:gd name="connsiteX2741" fmla="*/ 5119401 w 12117871"/>
                <a:gd name="connsiteY2741" fmla="*/ 3110161 h 6072780"/>
                <a:gd name="connsiteX2742" fmla="*/ 5190567 w 12117871"/>
                <a:gd name="connsiteY2742" fmla="*/ 3220749 h 6072780"/>
                <a:gd name="connsiteX2743" fmla="*/ 5170483 w 12117871"/>
                <a:gd name="connsiteY2743" fmla="*/ 3304328 h 6072780"/>
                <a:gd name="connsiteX2744" fmla="*/ 5114285 w 12117871"/>
                <a:gd name="connsiteY2744" fmla="*/ 3333141 h 6072780"/>
                <a:gd name="connsiteX2745" fmla="*/ 5061701 w 12117871"/>
                <a:gd name="connsiteY2745" fmla="*/ 3305607 h 6072780"/>
                <a:gd name="connsiteX2746" fmla="*/ 5042817 w 12117871"/>
                <a:gd name="connsiteY2746" fmla="*/ 3226015 h 6072780"/>
                <a:gd name="connsiteX2747" fmla="*/ 5062526 w 12117871"/>
                <a:gd name="connsiteY2747" fmla="*/ 3139501 h 6072780"/>
                <a:gd name="connsiteX2748" fmla="*/ 5119401 w 12117871"/>
                <a:gd name="connsiteY2748" fmla="*/ 3110161 h 6072780"/>
                <a:gd name="connsiteX2749" fmla="*/ 4734951 w 12117871"/>
                <a:gd name="connsiteY2749" fmla="*/ 3110161 h 6072780"/>
                <a:gd name="connsiteX2750" fmla="*/ 4749856 w 12117871"/>
                <a:gd name="connsiteY2750" fmla="*/ 3110161 h 6072780"/>
                <a:gd name="connsiteX2751" fmla="*/ 4749856 w 12117871"/>
                <a:gd name="connsiteY2751" fmla="*/ 3333141 h 6072780"/>
                <a:gd name="connsiteX2752" fmla="*/ 4714569 w 12117871"/>
                <a:gd name="connsiteY2752" fmla="*/ 3333141 h 6072780"/>
                <a:gd name="connsiteX2753" fmla="*/ 4714569 w 12117871"/>
                <a:gd name="connsiteY2753" fmla="*/ 3153358 h 6072780"/>
                <a:gd name="connsiteX2754" fmla="*/ 4693960 w 12117871"/>
                <a:gd name="connsiteY2754" fmla="*/ 3164993 h 6072780"/>
                <a:gd name="connsiteX2755" fmla="*/ 4668786 w 12117871"/>
                <a:gd name="connsiteY2755" fmla="*/ 3173435 h 6072780"/>
                <a:gd name="connsiteX2756" fmla="*/ 4668786 w 12117871"/>
                <a:gd name="connsiteY2756" fmla="*/ 3143319 h 6072780"/>
                <a:gd name="connsiteX2757" fmla="*/ 4685822 w 12117871"/>
                <a:gd name="connsiteY2757" fmla="*/ 3137235 h 6072780"/>
                <a:gd name="connsiteX2758" fmla="*/ 4702020 w 12117871"/>
                <a:gd name="connsiteY2758" fmla="*/ 3130086 h 6072780"/>
                <a:gd name="connsiteX2759" fmla="*/ 4718143 w 12117871"/>
                <a:gd name="connsiteY2759" fmla="*/ 3121265 h 6072780"/>
                <a:gd name="connsiteX2760" fmla="*/ 4734951 w 12117871"/>
                <a:gd name="connsiteY2760" fmla="*/ 3110161 h 6072780"/>
                <a:gd name="connsiteX2761" fmla="*/ 4377441 w 12117871"/>
                <a:gd name="connsiteY2761" fmla="*/ 3110161 h 6072780"/>
                <a:gd name="connsiteX2762" fmla="*/ 4392346 w 12117871"/>
                <a:gd name="connsiteY2762" fmla="*/ 3110161 h 6072780"/>
                <a:gd name="connsiteX2763" fmla="*/ 4392346 w 12117871"/>
                <a:gd name="connsiteY2763" fmla="*/ 3333141 h 6072780"/>
                <a:gd name="connsiteX2764" fmla="*/ 4357058 w 12117871"/>
                <a:gd name="connsiteY2764" fmla="*/ 3333141 h 6072780"/>
                <a:gd name="connsiteX2765" fmla="*/ 4357058 w 12117871"/>
                <a:gd name="connsiteY2765" fmla="*/ 3153358 h 6072780"/>
                <a:gd name="connsiteX2766" fmla="*/ 4336449 w 12117871"/>
                <a:gd name="connsiteY2766" fmla="*/ 3164993 h 6072780"/>
                <a:gd name="connsiteX2767" fmla="*/ 4311276 w 12117871"/>
                <a:gd name="connsiteY2767" fmla="*/ 3173435 h 6072780"/>
                <a:gd name="connsiteX2768" fmla="*/ 4311276 w 12117871"/>
                <a:gd name="connsiteY2768" fmla="*/ 3143319 h 6072780"/>
                <a:gd name="connsiteX2769" fmla="*/ 4328311 w 12117871"/>
                <a:gd name="connsiteY2769" fmla="*/ 3137235 h 6072780"/>
                <a:gd name="connsiteX2770" fmla="*/ 4344510 w 12117871"/>
                <a:gd name="connsiteY2770" fmla="*/ 3130086 h 6072780"/>
                <a:gd name="connsiteX2771" fmla="*/ 4360634 w 12117871"/>
                <a:gd name="connsiteY2771" fmla="*/ 3121265 h 6072780"/>
                <a:gd name="connsiteX2772" fmla="*/ 4377441 w 12117871"/>
                <a:gd name="connsiteY2772" fmla="*/ 3110161 h 6072780"/>
                <a:gd name="connsiteX2773" fmla="*/ 4078579 w 12117871"/>
                <a:gd name="connsiteY2773" fmla="*/ 3110161 h 6072780"/>
                <a:gd name="connsiteX2774" fmla="*/ 4093484 w 12117871"/>
                <a:gd name="connsiteY2774" fmla="*/ 3110161 h 6072780"/>
                <a:gd name="connsiteX2775" fmla="*/ 4093484 w 12117871"/>
                <a:gd name="connsiteY2775" fmla="*/ 3333141 h 6072780"/>
                <a:gd name="connsiteX2776" fmla="*/ 4058197 w 12117871"/>
                <a:gd name="connsiteY2776" fmla="*/ 3333141 h 6072780"/>
                <a:gd name="connsiteX2777" fmla="*/ 4058197 w 12117871"/>
                <a:gd name="connsiteY2777" fmla="*/ 3153358 h 6072780"/>
                <a:gd name="connsiteX2778" fmla="*/ 4037588 w 12117871"/>
                <a:gd name="connsiteY2778" fmla="*/ 3164993 h 6072780"/>
                <a:gd name="connsiteX2779" fmla="*/ 4012416 w 12117871"/>
                <a:gd name="connsiteY2779" fmla="*/ 3173435 h 6072780"/>
                <a:gd name="connsiteX2780" fmla="*/ 4012416 w 12117871"/>
                <a:gd name="connsiteY2780" fmla="*/ 3143319 h 6072780"/>
                <a:gd name="connsiteX2781" fmla="*/ 4029449 w 12117871"/>
                <a:gd name="connsiteY2781" fmla="*/ 3137235 h 6072780"/>
                <a:gd name="connsiteX2782" fmla="*/ 4045649 w 12117871"/>
                <a:gd name="connsiteY2782" fmla="*/ 3130086 h 6072780"/>
                <a:gd name="connsiteX2783" fmla="*/ 4061772 w 12117871"/>
                <a:gd name="connsiteY2783" fmla="*/ 3121265 h 6072780"/>
                <a:gd name="connsiteX2784" fmla="*/ 4078579 w 12117871"/>
                <a:gd name="connsiteY2784" fmla="*/ 3110161 h 6072780"/>
                <a:gd name="connsiteX2785" fmla="*/ 3858890 w 12117871"/>
                <a:gd name="connsiteY2785" fmla="*/ 3110161 h 6072780"/>
                <a:gd name="connsiteX2786" fmla="*/ 3930057 w 12117871"/>
                <a:gd name="connsiteY2786" fmla="*/ 3220749 h 6072780"/>
                <a:gd name="connsiteX2787" fmla="*/ 3909971 w 12117871"/>
                <a:gd name="connsiteY2787" fmla="*/ 3304328 h 6072780"/>
                <a:gd name="connsiteX2788" fmla="*/ 3853774 w 12117871"/>
                <a:gd name="connsiteY2788" fmla="*/ 3333141 h 6072780"/>
                <a:gd name="connsiteX2789" fmla="*/ 3801189 w 12117871"/>
                <a:gd name="connsiteY2789" fmla="*/ 3305607 h 6072780"/>
                <a:gd name="connsiteX2790" fmla="*/ 3782306 w 12117871"/>
                <a:gd name="connsiteY2790" fmla="*/ 3226015 h 6072780"/>
                <a:gd name="connsiteX2791" fmla="*/ 3802016 w 12117871"/>
                <a:gd name="connsiteY2791" fmla="*/ 3139501 h 6072780"/>
                <a:gd name="connsiteX2792" fmla="*/ 3858890 w 12117871"/>
                <a:gd name="connsiteY2792" fmla="*/ 3110161 h 6072780"/>
                <a:gd name="connsiteX2793" fmla="*/ 3641996 w 12117871"/>
                <a:gd name="connsiteY2793" fmla="*/ 3110161 h 6072780"/>
                <a:gd name="connsiteX2794" fmla="*/ 3713163 w 12117871"/>
                <a:gd name="connsiteY2794" fmla="*/ 3220749 h 6072780"/>
                <a:gd name="connsiteX2795" fmla="*/ 3693077 w 12117871"/>
                <a:gd name="connsiteY2795" fmla="*/ 3304328 h 6072780"/>
                <a:gd name="connsiteX2796" fmla="*/ 3636881 w 12117871"/>
                <a:gd name="connsiteY2796" fmla="*/ 3333141 h 6072780"/>
                <a:gd name="connsiteX2797" fmla="*/ 3584295 w 12117871"/>
                <a:gd name="connsiteY2797" fmla="*/ 3305607 h 6072780"/>
                <a:gd name="connsiteX2798" fmla="*/ 3565413 w 12117871"/>
                <a:gd name="connsiteY2798" fmla="*/ 3226015 h 6072780"/>
                <a:gd name="connsiteX2799" fmla="*/ 3585122 w 12117871"/>
                <a:gd name="connsiteY2799" fmla="*/ 3139501 h 6072780"/>
                <a:gd name="connsiteX2800" fmla="*/ 3641996 w 12117871"/>
                <a:gd name="connsiteY2800" fmla="*/ 3110161 h 6072780"/>
                <a:gd name="connsiteX2801" fmla="*/ 3482114 w 12117871"/>
                <a:gd name="connsiteY2801" fmla="*/ 3110161 h 6072780"/>
                <a:gd name="connsiteX2802" fmla="*/ 3497021 w 12117871"/>
                <a:gd name="connsiteY2802" fmla="*/ 3110161 h 6072780"/>
                <a:gd name="connsiteX2803" fmla="*/ 3497021 w 12117871"/>
                <a:gd name="connsiteY2803" fmla="*/ 3333141 h 6072780"/>
                <a:gd name="connsiteX2804" fmla="*/ 3461732 w 12117871"/>
                <a:gd name="connsiteY2804" fmla="*/ 3333141 h 6072780"/>
                <a:gd name="connsiteX2805" fmla="*/ 3461732 w 12117871"/>
                <a:gd name="connsiteY2805" fmla="*/ 3153358 h 6072780"/>
                <a:gd name="connsiteX2806" fmla="*/ 3441123 w 12117871"/>
                <a:gd name="connsiteY2806" fmla="*/ 3164993 h 6072780"/>
                <a:gd name="connsiteX2807" fmla="*/ 3415951 w 12117871"/>
                <a:gd name="connsiteY2807" fmla="*/ 3173435 h 6072780"/>
                <a:gd name="connsiteX2808" fmla="*/ 3415951 w 12117871"/>
                <a:gd name="connsiteY2808" fmla="*/ 3143319 h 6072780"/>
                <a:gd name="connsiteX2809" fmla="*/ 3432986 w 12117871"/>
                <a:gd name="connsiteY2809" fmla="*/ 3137235 h 6072780"/>
                <a:gd name="connsiteX2810" fmla="*/ 3449184 w 12117871"/>
                <a:gd name="connsiteY2810" fmla="*/ 3130086 h 6072780"/>
                <a:gd name="connsiteX2811" fmla="*/ 3465307 w 12117871"/>
                <a:gd name="connsiteY2811" fmla="*/ 3121265 h 6072780"/>
                <a:gd name="connsiteX2812" fmla="*/ 3482114 w 12117871"/>
                <a:gd name="connsiteY2812" fmla="*/ 3110161 h 6072780"/>
                <a:gd name="connsiteX2813" fmla="*/ 3183252 w 12117871"/>
                <a:gd name="connsiteY2813" fmla="*/ 3110161 h 6072780"/>
                <a:gd name="connsiteX2814" fmla="*/ 3198157 w 12117871"/>
                <a:gd name="connsiteY2814" fmla="*/ 3110161 h 6072780"/>
                <a:gd name="connsiteX2815" fmla="*/ 3198157 w 12117871"/>
                <a:gd name="connsiteY2815" fmla="*/ 3333141 h 6072780"/>
                <a:gd name="connsiteX2816" fmla="*/ 3162870 w 12117871"/>
                <a:gd name="connsiteY2816" fmla="*/ 3333141 h 6072780"/>
                <a:gd name="connsiteX2817" fmla="*/ 3162870 w 12117871"/>
                <a:gd name="connsiteY2817" fmla="*/ 3153358 h 6072780"/>
                <a:gd name="connsiteX2818" fmla="*/ 3142260 w 12117871"/>
                <a:gd name="connsiteY2818" fmla="*/ 3164993 h 6072780"/>
                <a:gd name="connsiteX2819" fmla="*/ 3117087 w 12117871"/>
                <a:gd name="connsiteY2819" fmla="*/ 3173435 h 6072780"/>
                <a:gd name="connsiteX2820" fmla="*/ 3117087 w 12117871"/>
                <a:gd name="connsiteY2820" fmla="*/ 3143319 h 6072780"/>
                <a:gd name="connsiteX2821" fmla="*/ 3134122 w 12117871"/>
                <a:gd name="connsiteY2821" fmla="*/ 3137235 h 6072780"/>
                <a:gd name="connsiteX2822" fmla="*/ 3150322 w 12117871"/>
                <a:gd name="connsiteY2822" fmla="*/ 3130086 h 6072780"/>
                <a:gd name="connsiteX2823" fmla="*/ 3166445 w 12117871"/>
                <a:gd name="connsiteY2823" fmla="*/ 3121265 h 6072780"/>
                <a:gd name="connsiteX2824" fmla="*/ 3183252 w 12117871"/>
                <a:gd name="connsiteY2824" fmla="*/ 3110161 h 6072780"/>
                <a:gd name="connsiteX2825" fmla="*/ 2804036 w 12117871"/>
                <a:gd name="connsiteY2825" fmla="*/ 3110161 h 6072780"/>
                <a:gd name="connsiteX2826" fmla="*/ 2818942 w 12117871"/>
                <a:gd name="connsiteY2826" fmla="*/ 3110161 h 6072780"/>
                <a:gd name="connsiteX2827" fmla="*/ 2818942 w 12117871"/>
                <a:gd name="connsiteY2827" fmla="*/ 3333141 h 6072780"/>
                <a:gd name="connsiteX2828" fmla="*/ 2783655 w 12117871"/>
                <a:gd name="connsiteY2828" fmla="*/ 3333141 h 6072780"/>
                <a:gd name="connsiteX2829" fmla="*/ 2783655 w 12117871"/>
                <a:gd name="connsiteY2829" fmla="*/ 3153358 h 6072780"/>
                <a:gd name="connsiteX2830" fmla="*/ 2763045 w 12117871"/>
                <a:gd name="connsiteY2830" fmla="*/ 3164993 h 6072780"/>
                <a:gd name="connsiteX2831" fmla="*/ 2737872 w 12117871"/>
                <a:gd name="connsiteY2831" fmla="*/ 3173435 h 6072780"/>
                <a:gd name="connsiteX2832" fmla="*/ 2737872 w 12117871"/>
                <a:gd name="connsiteY2832" fmla="*/ 3143319 h 6072780"/>
                <a:gd name="connsiteX2833" fmla="*/ 2754907 w 12117871"/>
                <a:gd name="connsiteY2833" fmla="*/ 3137235 h 6072780"/>
                <a:gd name="connsiteX2834" fmla="*/ 2771106 w 12117871"/>
                <a:gd name="connsiteY2834" fmla="*/ 3130086 h 6072780"/>
                <a:gd name="connsiteX2835" fmla="*/ 2787229 w 12117871"/>
                <a:gd name="connsiteY2835" fmla="*/ 3121265 h 6072780"/>
                <a:gd name="connsiteX2836" fmla="*/ 2804036 w 12117871"/>
                <a:gd name="connsiteY2836" fmla="*/ 3110161 h 6072780"/>
                <a:gd name="connsiteX2837" fmla="*/ 2654030 w 12117871"/>
                <a:gd name="connsiteY2837" fmla="*/ 3110161 h 6072780"/>
                <a:gd name="connsiteX2838" fmla="*/ 2668936 w 12117871"/>
                <a:gd name="connsiteY2838" fmla="*/ 3110161 h 6072780"/>
                <a:gd name="connsiteX2839" fmla="*/ 2668936 w 12117871"/>
                <a:gd name="connsiteY2839" fmla="*/ 3333141 h 6072780"/>
                <a:gd name="connsiteX2840" fmla="*/ 2633648 w 12117871"/>
                <a:gd name="connsiteY2840" fmla="*/ 3333141 h 6072780"/>
                <a:gd name="connsiteX2841" fmla="*/ 2633648 w 12117871"/>
                <a:gd name="connsiteY2841" fmla="*/ 3153358 h 6072780"/>
                <a:gd name="connsiteX2842" fmla="*/ 2613039 w 12117871"/>
                <a:gd name="connsiteY2842" fmla="*/ 3164993 h 6072780"/>
                <a:gd name="connsiteX2843" fmla="*/ 2587866 w 12117871"/>
                <a:gd name="connsiteY2843" fmla="*/ 3173435 h 6072780"/>
                <a:gd name="connsiteX2844" fmla="*/ 2587866 w 12117871"/>
                <a:gd name="connsiteY2844" fmla="*/ 3143319 h 6072780"/>
                <a:gd name="connsiteX2845" fmla="*/ 2604901 w 12117871"/>
                <a:gd name="connsiteY2845" fmla="*/ 3137235 h 6072780"/>
                <a:gd name="connsiteX2846" fmla="*/ 2621100 w 12117871"/>
                <a:gd name="connsiteY2846" fmla="*/ 3130086 h 6072780"/>
                <a:gd name="connsiteX2847" fmla="*/ 2637223 w 12117871"/>
                <a:gd name="connsiteY2847" fmla="*/ 3121265 h 6072780"/>
                <a:gd name="connsiteX2848" fmla="*/ 2654030 w 12117871"/>
                <a:gd name="connsiteY2848" fmla="*/ 3110161 h 6072780"/>
                <a:gd name="connsiteX2849" fmla="*/ 2505173 w 12117871"/>
                <a:gd name="connsiteY2849" fmla="*/ 3110161 h 6072780"/>
                <a:gd name="connsiteX2850" fmla="*/ 2520079 w 12117871"/>
                <a:gd name="connsiteY2850" fmla="*/ 3110161 h 6072780"/>
                <a:gd name="connsiteX2851" fmla="*/ 2520079 w 12117871"/>
                <a:gd name="connsiteY2851" fmla="*/ 3333141 h 6072780"/>
                <a:gd name="connsiteX2852" fmla="*/ 2484791 w 12117871"/>
                <a:gd name="connsiteY2852" fmla="*/ 3333141 h 6072780"/>
                <a:gd name="connsiteX2853" fmla="*/ 2484791 w 12117871"/>
                <a:gd name="connsiteY2853" fmla="*/ 3153358 h 6072780"/>
                <a:gd name="connsiteX2854" fmla="*/ 2464183 w 12117871"/>
                <a:gd name="connsiteY2854" fmla="*/ 3164993 h 6072780"/>
                <a:gd name="connsiteX2855" fmla="*/ 2439009 w 12117871"/>
                <a:gd name="connsiteY2855" fmla="*/ 3173435 h 6072780"/>
                <a:gd name="connsiteX2856" fmla="*/ 2439009 w 12117871"/>
                <a:gd name="connsiteY2856" fmla="*/ 3143319 h 6072780"/>
                <a:gd name="connsiteX2857" fmla="*/ 2456044 w 12117871"/>
                <a:gd name="connsiteY2857" fmla="*/ 3137235 h 6072780"/>
                <a:gd name="connsiteX2858" fmla="*/ 2472243 w 12117871"/>
                <a:gd name="connsiteY2858" fmla="*/ 3130086 h 6072780"/>
                <a:gd name="connsiteX2859" fmla="*/ 2488366 w 12117871"/>
                <a:gd name="connsiteY2859" fmla="*/ 3121265 h 6072780"/>
                <a:gd name="connsiteX2860" fmla="*/ 2505173 w 12117871"/>
                <a:gd name="connsiteY2860" fmla="*/ 3110161 h 6072780"/>
                <a:gd name="connsiteX2861" fmla="*/ 1749921 w 12117871"/>
                <a:gd name="connsiteY2861" fmla="*/ 3110161 h 6072780"/>
                <a:gd name="connsiteX2862" fmla="*/ 1764827 w 12117871"/>
                <a:gd name="connsiteY2862" fmla="*/ 3110161 h 6072780"/>
                <a:gd name="connsiteX2863" fmla="*/ 1764827 w 12117871"/>
                <a:gd name="connsiteY2863" fmla="*/ 3333141 h 6072780"/>
                <a:gd name="connsiteX2864" fmla="*/ 1729539 w 12117871"/>
                <a:gd name="connsiteY2864" fmla="*/ 3333141 h 6072780"/>
                <a:gd name="connsiteX2865" fmla="*/ 1729539 w 12117871"/>
                <a:gd name="connsiteY2865" fmla="*/ 3153358 h 6072780"/>
                <a:gd name="connsiteX2866" fmla="*/ 1708930 w 12117871"/>
                <a:gd name="connsiteY2866" fmla="*/ 3164993 h 6072780"/>
                <a:gd name="connsiteX2867" fmla="*/ 1683757 w 12117871"/>
                <a:gd name="connsiteY2867" fmla="*/ 3173435 h 6072780"/>
                <a:gd name="connsiteX2868" fmla="*/ 1683757 w 12117871"/>
                <a:gd name="connsiteY2868" fmla="*/ 3143319 h 6072780"/>
                <a:gd name="connsiteX2869" fmla="*/ 1700792 w 12117871"/>
                <a:gd name="connsiteY2869" fmla="*/ 3137235 h 6072780"/>
                <a:gd name="connsiteX2870" fmla="*/ 1716991 w 12117871"/>
                <a:gd name="connsiteY2870" fmla="*/ 3130086 h 6072780"/>
                <a:gd name="connsiteX2871" fmla="*/ 1733114 w 12117871"/>
                <a:gd name="connsiteY2871" fmla="*/ 3121265 h 6072780"/>
                <a:gd name="connsiteX2872" fmla="*/ 1749921 w 12117871"/>
                <a:gd name="connsiteY2872" fmla="*/ 3110161 h 6072780"/>
                <a:gd name="connsiteX2873" fmla="*/ 1599915 w 12117871"/>
                <a:gd name="connsiteY2873" fmla="*/ 3110161 h 6072780"/>
                <a:gd name="connsiteX2874" fmla="*/ 1614821 w 12117871"/>
                <a:gd name="connsiteY2874" fmla="*/ 3110161 h 6072780"/>
                <a:gd name="connsiteX2875" fmla="*/ 1614821 w 12117871"/>
                <a:gd name="connsiteY2875" fmla="*/ 3333141 h 6072780"/>
                <a:gd name="connsiteX2876" fmla="*/ 1579533 w 12117871"/>
                <a:gd name="connsiteY2876" fmla="*/ 3333141 h 6072780"/>
                <a:gd name="connsiteX2877" fmla="*/ 1579533 w 12117871"/>
                <a:gd name="connsiteY2877" fmla="*/ 3153358 h 6072780"/>
                <a:gd name="connsiteX2878" fmla="*/ 1558924 w 12117871"/>
                <a:gd name="connsiteY2878" fmla="*/ 3164993 h 6072780"/>
                <a:gd name="connsiteX2879" fmla="*/ 1533751 w 12117871"/>
                <a:gd name="connsiteY2879" fmla="*/ 3173435 h 6072780"/>
                <a:gd name="connsiteX2880" fmla="*/ 1533751 w 12117871"/>
                <a:gd name="connsiteY2880" fmla="*/ 3143319 h 6072780"/>
                <a:gd name="connsiteX2881" fmla="*/ 1550786 w 12117871"/>
                <a:gd name="connsiteY2881" fmla="*/ 3137235 h 6072780"/>
                <a:gd name="connsiteX2882" fmla="*/ 1566985 w 12117871"/>
                <a:gd name="connsiteY2882" fmla="*/ 3130086 h 6072780"/>
                <a:gd name="connsiteX2883" fmla="*/ 1583108 w 12117871"/>
                <a:gd name="connsiteY2883" fmla="*/ 3121265 h 6072780"/>
                <a:gd name="connsiteX2884" fmla="*/ 1599915 w 12117871"/>
                <a:gd name="connsiteY2884" fmla="*/ 3110161 h 6072780"/>
                <a:gd name="connsiteX2885" fmla="*/ 1302201 w 12117871"/>
                <a:gd name="connsiteY2885" fmla="*/ 3110161 h 6072780"/>
                <a:gd name="connsiteX2886" fmla="*/ 1317107 w 12117871"/>
                <a:gd name="connsiteY2886" fmla="*/ 3110161 h 6072780"/>
                <a:gd name="connsiteX2887" fmla="*/ 1317107 w 12117871"/>
                <a:gd name="connsiteY2887" fmla="*/ 3333141 h 6072780"/>
                <a:gd name="connsiteX2888" fmla="*/ 1281819 w 12117871"/>
                <a:gd name="connsiteY2888" fmla="*/ 3333141 h 6072780"/>
                <a:gd name="connsiteX2889" fmla="*/ 1281819 w 12117871"/>
                <a:gd name="connsiteY2889" fmla="*/ 3153358 h 6072780"/>
                <a:gd name="connsiteX2890" fmla="*/ 1261210 w 12117871"/>
                <a:gd name="connsiteY2890" fmla="*/ 3164993 h 6072780"/>
                <a:gd name="connsiteX2891" fmla="*/ 1236037 w 12117871"/>
                <a:gd name="connsiteY2891" fmla="*/ 3173435 h 6072780"/>
                <a:gd name="connsiteX2892" fmla="*/ 1236037 w 12117871"/>
                <a:gd name="connsiteY2892" fmla="*/ 3143319 h 6072780"/>
                <a:gd name="connsiteX2893" fmla="*/ 1253072 w 12117871"/>
                <a:gd name="connsiteY2893" fmla="*/ 3137235 h 6072780"/>
                <a:gd name="connsiteX2894" fmla="*/ 1269271 w 12117871"/>
                <a:gd name="connsiteY2894" fmla="*/ 3130086 h 6072780"/>
                <a:gd name="connsiteX2895" fmla="*/ 1285394 w 12117871"/>
                <a:gd name="connsiteY2895" fmla="*/ 3121265 h 6072780"/>
                <a:gd name="connsiteX2896" fmla="*/ 1302201 w 12117871"/>
                <a:gd name="connsiteY2896" fmla="*/ 3110161 h 6072780"/>
                <a:gd name="connsiteX2897" fmla="*/ 927321 w 12117871"/>
                <a:gd name="connsiteY2897" fmla="*/ 3110161 h 6072780"/>
                <a:gd name="connsiteX2898" fmla="*/ 942227 w 12117871"/>
                <a:gd name="connsiteY2898" fmla="*/ 3110161 h 6072780"/>
                <a:gd name="connsiteX2899" fmla="*/ 942227 w 12117871"/>
                <a:gd name="connsiteY2899" fmla="*/ 3333141 h 6072780"/>
                <a:gd name="connsiteX2900" fmla="*/ 906939 w 12117871"/>
                <a:gd name="connsiteY2900" fmla="*/ 3333141 h 6072780"/>
                <a:gd name="connsiteX2901" fmla="*/ 906939 w 12117871"/>
                <a:gd name="connsiteY2901" fmla="*/ 3153358 h 6072780"/>
                <a:gd name="connsiteX2902" fmla="*/ 886330 w 12117871"/>
                <a:gd name="connsiteY2902" fmla="*/ 3164993 h 6072780"/>
                <a:gd name="connsiteX2903" fmla="*/ 861157 w 12117871"/>
                <a:gd name="connsiteY2903" fmla="*/ 3173435 h 6072780"/>
                <a:gd name="connsiteX2904" fmla="*/ 861157 w 12117871"/>
                <a:gd name="connsiteY2904" fmla="*/ 3143319 h 6072780"/>
                <a:gd name="connsiteX2905" fmla="*/ 878192 w 12117871"/>
                <a:gd name="connsiteY2905" fmla="*/ 3137235 h 6072780"/>
                <a:gd name="connsiteX2906" fmla="*/ 894391 w 12117871"/>
                <a:gd name="connsiteY2906" fmla="*/ 3130086 h 6072780"/>
                <a:gd name="connsiteX2907" fmla="*/ 910514 w 12117871"/>
                <a:gd name="connsiteY2907" fmla="*/ 3121265 h 6072780"/>
                <a:gd name="connsiteX2908" fmla="*/ 927321 w 12117871"/>
                <a:gd name="connsiteY2908" fmla="*/ 3110161 h 6072780"/>
                <a:gd name="connsiteX2909" fmla="*/ 778464 w 12117871"/>
                <a:gd name="connsiteY2909" fmla="*/ 3110161 h 6072780"/>
                <a:gd name="connsiteX2910" fmla="*/ 793370 w 12117871"/>
                <a:gd name="connsiteY2910" fmla="*/ 3110161 h 6072780"/>
                <a:gd name="connsiteX2911" fmla="*/ 793370 w 12117871"/>
                <a:gd name="connsiteY2911" fmla="*/ 3333141 h 6072780"/>
                <a:gd name="connsiteX2912" fmla="*/ 758082 w 12117871"/>
                <a:gd name="connsiteY2912" fmla="*/ 3333141 h 6072780"/>
                <a:gd name="connsiteX2913" fmla="*/ 758082 w 12117871"/>
                <a:gd name="connsiteY2913" fmla="*/ 3153358 h 6072780"/>
                <a:gd name="connsiteX2914" fmla="*/ 737473 w 12117871"/>
                <a:gd name="connsiteY2914" fmla="*/ 3164993 h 6072780"/>
                <a:gd name="connsiteX2915" fmla="*/ 712300 w 12117871"/>
                <a:gd name="connsiteY2915" fmla="*/ 3173435 h 6072780"/>
                <a:gd name="connsiteX2916" fmla="*/ 712300 w 12117871"/>
                <a:gd name="connsiteY2916" fmla="*/ 3143319 h 6072780"/>
                <a:gd name="connsiteX2917" fmla="*/ 729335 w 12117871"/>
                <a:gd name="connsiteY2917" fmla="*/ 3137235 h 6072780"/>
                <a:gd name="connsiteX2918" fmla="*/ 745534 w 12117871"/>
                <a:gd name="connsiteY2918" fmla="*/ 3130086 h 6072780"/>
                <a:gd name="connsiteX2919" fmla="*/ 761657 w 12117871"/>
                <a:gd name="connsiteY2919" fmla="*/ 3121265 h 6072780"/>
                <a:gd name="connsiteX2920" fmla="*/ 778464 w 12117871"/>
                <a:gd name="connsiteY2920" fmla="*/ 3110161 h 6072780"/>
                <a:gd name="connsiteX2921" fmla="*/ 629607 w 12117871"/>
                <a:gd name="connsiteY2921" fmla="*/ 3110161 h 6072780"/>
                <a:gd name="connsiteX2922" fmla="*/ 644513 w 12117871"/>
                <a:gd name="connsiteY2922" fmla="*/ 3110161 h 6072780"/>
                <a:gd name="connsiteX2923" fmla="*/ 644513 w 12117871"/>
                <a:gd name="connsiteY2923" fmla="*/ 3333141 h 6072780"/>
                <a:gd name="connsiteX2924" fmla="*/ 609225 w 12117871"/>
                <a:gd name="connsiteY2924" fmla="*/ 3333141 h 6072780"/>
                <a:gd name="connsiteX2925" fmla="*/ 609225 w 12117871"/>
                <a:gd name="connsiteY2925" fmla="*/ 3153358 h 6072780"/>
                <a:gd name="connsiteX2926" fmla="*/ 588616 w 12117871"/>
                <a:gd name="connsiteY2926" fmla="*/ 3164993 h 6072780"/>
                <a:gd name="connsiteX2927" fmla="*/ 563443 w 12117871"/>
                <a:gd name="connsiteY2927" fmla="*/ 3173435 h 6072780"/>
                <a:gd name="connsiteX2928" fmla="*/ 563443 w 12117871"/>
                <a:gd name="connsiteY2928" fmla="*/ 3143319 h 6072780"/>
                <a:gd name="connsiteX2929" fmla="*/ 580478 w 12117871"/>
                <a:gd name="connsiteY2929" fmla="*/ 3137235 h 6072780"/>
                <a:gd name="connsiteX2930" fmla="*/ 596677 w 12117871"/>
                <a:gd name="connsiteY2930" fmla="*/ 3130086 h 6072780"/>
                <a:gd name="connsiteX2931" fmla="*/ 612800 w 12117871"/>
                <a:gd name="connsiteY2931" fmla="*/ 3121265 h 6072780"/>
                <a:gd name="connsiteX2932" fmla="*/ 629607 w 12117871"/>
                <a:gd name="connsiteY2932" fmla="*/ 3110161 h 6072780"/>
                <a:gd name="connsiteX2933" fmla="*/ 480750 w 12117871"/>
                <a:gd name="connsiteY2933" fmla="*/ 3110161 h 6072780"/>
                <a:gd name="connsiteX2934" fmla="*/ 495656 w 12117871"/>
                <a:gd name="connsiteY2934" fmla="*/ 3110161 h 6072780"/>
                <a:gd name="connsiteX2935" fmla="*/ 495656 w 12117871"/>
                <a:gd name="connsiteY2935" fmla="*/ 3333141 h 6072780"/>
                <a:gd name="connsiteX2936" fmla="*/ 460368 w 12117871"/>
                <a:gd name="connsiteY2936" fmla="*/ 3333141 h 6072780"/>
                <a:gd name="connsiteX2937" fmla="*/ 460368 w 12117871"/>
                <a:gd name="connsiteY2937" fmla="*/ 3153358 h 6072780"/>
                <a:gd name="connsiteX2938" fmla="*/ 439759 w 12117871"/>
                <a:gd name="connsiteY2938" fmla="*/ 3164993 h 6072780"/>
                <a:gd name="connsiteX2939" fmla="*/ 414586 w 12117871"/>
                <a:gd name="connsiteY2939" fmla="*/ 3173435 h 6072780"/>
                <a:gd name="connsiteX2940" fmla="*/ 414586 w 12117871"/>
                <a:gd name="connsiteY2940" fmla="*/ 3143319 h 6072780"/>
                <a:gd name="connsiteX2941" fmla="*/ 431621 w 12117871"/>
                <a:gd name="connsiteY2941" fmla="*/ 3137235 h 6072780"/>
                <a:gd name="connsiteX2942" fmla="*/ 447820 w 12117871"/>
                <a:gd name="connsiteY2942" fmla="*/ 3130086 h 6072780"/>
                <a:gd name="connsiteX2943" fmla="*/ 463943 w 12117871"/>
                <a:gd name="connsiteY2943" fmla="*/ 3121265 h 6072780"/>
                <a:gd name="connsiteX2944" fmla="*/ 480750 w 12117871"/>
                <a:gd name="connsiteY2944" fmla="*/ 3110161 h 6072780"/>
                <a:gd name="connsiteX2945" fmla="*/ 275106 w 12117871"/>
                <a:gd name="connsiteY2945" fmla="*/ 3110161 h 6072780"/>
                <a:gd name="connsiteX2946" fmla="*/ 346273 w 12117871"/>
                <a:gd name="connsiteY2946" fmla="*/ 3220749 h 6072780"/>
                <a:gd name="connsiteX2947" fmla="*/ 326187 w 12117871"/>
                <a:gd name="connsiteY2947" fmla="*/ 3304328 h 6072780"/>
                <a:gd name="connsiteX2948" fmla="*/ 269990 w 12117871"/>
                <a:gd name="connsiteY2948" fmla="*/ 3333141 h 6072780"/>
                <a:gd name="connsiteX2949" fmla="*/ 217405 w 12117871"/>
                <a:gd name="connsiteY2949" fmla="*/ 3305607 h 6072780"/>
                <a:gd name="connsiteX2950" fmla="*/ 198522 w 12117871"/>
                <a:gd name="connsiteY2950" fmla="*/ 3226015 h 6072780"/>
                <a:gd name="connsiteX2951" fmla="*/ 218232 w 12117871"/>
                <a:gd name="connsiteY2951" fmla="*/ 3139501 h 6072780"/>
                <a:gd name="connsiteX2952" fmla="*/ 275106 w 12117871"/>
                <a:gd name="connsiteY2952" fmla="*/ 3110161 h 6072780"/>
                <a:gd name="connsiteX2953" fmla="*/ 76584 w 12117871"/>
                <a:gd name="connsiteY2953" fmla="*/ 3110161 h 6072780"/>
                <a:gd name="connsiteX2954" fmla="*/ 147751 w 12117871"/>
                <a:gd name="connsiteY2954" fmla="*/ 3220749 h 6072780"/>
                <a:gd name="connsiteX2955" fmla="*/ 127665 w 12117871"/>
                <a:gd name="connsiteY2955" fmla="*/ 3304328 h 6072780"/>
                <a:gd name="connsiteX2956" fmla="*/ 71468 w 12117871"/>
                <a:gd name="connsiteY2956" fmla="*/ 3333141 h 6072780"/>
                <a:gd name="connsiteX2957" fmla="*/ 18883 w 12117871"/>
                <a:gd name="connsiteY2957" fmla="*/ 3305607 h 6072780"/>
                <a:gd name="connsiteX2958" fmla="*/ 0 w 12117871"/>
                <a:gd name="connsiteY2958" fmla="*/ 3226015 h 6072780"/>
                <a:gd name="connsiteX2959" fmla="*/ 19710 w 12117871"/>
                <a:gd name="connsiteY2959" fmla="*/ 3139501 h 6072780"/>
                <a:gd name="connsiteX2960" fmla="*/ 76584 w 12117871"/>
                <a:gd name="connsiteY2960" fmla="*/ 3110161 h 6072780"/>
                <a:gd name="connsiteX2961" fmla="*/ 10090194 w 12117871"/>
                <a:gd name="connsiteY2961" fmla="*/ 2836964 h 6072780"/>
                <a:gd name="connsiteX2962" fmla="*/ 10050924 w 12117871"/>
                <a:gd name="connsiteY2962" fmla="*/ 2923478 h 6072780"/>
                <a:gd name="connsiteX2963" fmla="*/ 10089442 w 12117871"/>
                <a:gd name="connsiteY2963" fmla="*/ 3004425 h 6072780"/>
                <a:gd name="connsiteX2964" fmla="*/ 10127357 w 12117871"/>
                <a:gd name="connsiteY2964" fmla="*/ 2922124 h 6072780"/>
                <a:gd name="connsiteX2965" fmla="*/ 10090194 w 12117871"/>
                <a:gd name="connsiteY2965" fmla="*/ 2836964 h 6072780"/>
                <a:gd name="connsiteX2966" fmla="*/ 9869271 w 12117871"/>
                <a:gd name="connsiteY2966" fmla="*/ 2836964 h 6072780"/>
                <a:gd name="connsiteX2967" fmla="*/ 9830001 w 12117871"/>
                <a:gd name="connsiteY2967" fmla="*/ 2923478 h 6072780"/>
                <a:gd name="connsiteX2968" fmla="*/ 9868519 w 12117871"/>
                <a:gd name="connsiteY2968" fmla="*/ 3004425 h 6072780"/>
                <a:gd name="connsiteX2969" fmla="*/ 9906434 w 12117871"/>
                <a:gd name="connsiteY2969" fmla="*/ 2922124 h 6072780"/>
                <a:gd name="connsiteX2970" fmla="*/ 9869271 w 12117871"/>
                <a:gd name="connsiteY2970" fmla="*/ 2836964 h 6072780"/>
                <a:gd name="connsiteX2971" fmla="*/ 9207610 w 12117871"/>
                <a:gd name="connsiteY2971" fmla="*/ 2836964 h 6072780"/>
                <a:gd name="connsiteX2972" fmla="*/ 9168340 w 12117871"/>
                <a:gd name="connsiteY2972" fmla="*/ 2923478 h 6072780"/>
                <a:gd name="connsiteX2973" fmla="*/ 9206858 w 12117871"/>
                <a:gd name="connsiteY2973" fmla="*/ 3004425 h 6072780"/>
                <a:gd name="connsiteX2974" fmla="*/ 9244773 w 12117871"/>
                <a:gd name="connsiteY2974" fmla="*/ 2922124 h 6072780"/>
                <a:gd name="connsiteX2975" fmla="*/ 9207610 w 12117871"/>
                <a:gd name="connsiteY2975" fmla="*/ 2836964 h 6072780"/>
                <a:gd name="connsiteX2976" fmla="*/ 8986687 w 12117871"/>
                <a:gd name="connsiteY2976" fmla="*/ 2836964 h 6072780"/>
                <a:gd name="connsiteX2977" fmla="*/ 8947417 w 12117871"/>
                <a:gd name="connsiteY2977" fmla="*/ 2923478 h 6072780"/>
                <a:gd name="connsiteX2978" fmla="*/ 8985935 w 12117871"/>
                <a:gd name="connsiteY2978" fmla="*/ 3004425 h 6072780"/>
                <a:gd name="connsiteX2979" fmla="*/ 9023850 w 12117871"/>
                <a:gd name="connsiteY2979" fmla="*/ 2922124 h 6072780"/>
                <a:gd name="connsiteX2980" fmla="*/ 8986687 w 12117871"/>
                <a:gd name="connsiteY2980" fmla="*/ 2836964 h 6072780"/>
                <a:gd name="connsiteX2981" fmla="*/ 6137225 w 12117871"/>
                <a:gd name="connsiteY2981" fmla="*/ 2836964 h 6072780"/>
                <a:gd name="connsiteX2982" fmla="*/ 6097955 w 12117871"/>
                <a:gd name="connsiteY2982" fmla="*/ 2923478 h 6072780"/>
                <a:gd name="connsiteX2983" fmla="*/ 6136473 w 12117871"/>
                <a:gd name="connsiteY2983" fmla="*/ 3004425 h 6072780"/>
                <a:gd name="connsiteX2984" fmla="*/ 6174388 w 12117871"/>
                <a:gd name="connsiteY2984" fmla="*/ 2922124 h 6072780"/>
                <a:gd name="connsiteX2985" fmla="*/ 6137225 w 12117871"/>
                <a:gd name="connsiteY2985" fmla="*/ 2836964 h 6072780"/>
                <a:gd name="connsiteX2986" fmla="*/ 4034143 w 12117871"/>
                <a:gd name="connsiteY2986" fmla="*/ 2836964 h 6072780"/>
                <a:gd name="connsiteX2987" fmla="*/ 3994873 w 12117871"/>
                <a:gd name="connsiteY2987" fmla="*/ 2923478 h 6072780"/>
                <a:gd name="connsiteX2988" fmla="*/ 4033391 w 12117871"/>
                <a:gd name="connsiteY2988" fmla="*/ 3004425 h 6072780"/>
                <a:gd name="connsiteX2989" fmla="*/ 4071306 w 12117871"/>
                <a:gd name="connsiteY2989" fmla="*/ 2922124 h 6072780"/>
                <a:gd name="connsiteX2990" fmla="*/ 4034143 w 12117871"/>
                <a:gd name="connsiteY2990" fmla="*/ 2836964 h 6072780"/>
                <a:gd name="connsiteX2991" fmla="*/ 3813220 w 12117871"/>
                <a:gd name="connsiteY2991" fmla="*/ 2836964 h 6072780"/>
                <a:gd name="connsiteX2992" fmla="*/ 3773950 w 12117871"/>
                <a:gd name="connsiteY2992" fmla="*/ 2923478 h 6072780"/>
                <a:gd name="connsiteX2993" fmla="*/ 3812467 w 12117871"/>
                <a:gd name="connsiteY2993" fmla="*/ 3004425 h 6072780"/>
                <a:gd name="connsiteX2994" fmla="*/ 3850383 w 12117871"/>
                <a:gd name="connsiteY2994" fmla="*/ 2922124 h 6072780"/>
                <a:gd name="connsiteX2995" fmla="*/ 3813220 w 12117871"/>
                <a:gd name="connsiteY2995" fmla="*/ 2836964 h 6072780"/>
                <a:gd name="connsiteX2996" fmla="*/ 3151560 w 12117871"/>
                <a:gd name="connsiteY2996" fmla="*/ 2836964 h 6072780"/>
                <a:gd name="connsiteX2997" fmla="*/ 3112290 w 12117871"/>
                <a:gd name="connsiteY2997" fmla="*/ 2923478 h 6072780"/>
                <a:gd name="connsiteX2998" fmla="*/ 3150807 w 12117871"/>
                <a:gd name="connsiteY2998" fmla="*/ 3004425 h 6072780"/>
                <a:gd name="connsiteX2999" fmla="*/ 3188723 w 12117871"/>
                <a:gd name="connsiteY2999" fmla="*/ 2922124 h 6072780"/>
                <a:gd name="connsiteX3000" fmla="*/ 3151560 w 12117871"/>
                <a:gd name="connsiteY3000" fmla="*/ 2836964 h 6072780"/>
                <a:gd name="connsiteX3001" fmla="*/ 2930637 w 12117871"/>
                <a:gd name="connsiteY3001" fmla="*/ 2836964 h 6072780"/>
                <a:gd name="connsiteX3002" fmla="*/ 2891367 w 12117871"/>
                <a:gd name="connsiteY3002" fmla="*/ 2923478 h 6072780"/>
                <a:gd name="connsiteX3003" fmla="*/ 2929884 w 12117871"/>
                <a:gd name="connsiteY3003" fmla="*/ 3004425 h 6072780"/>
                <a:gd name="connsiteX3004" fmla="*/ 2967800 w 12117871"/>
                <a:gd name="connsiteY3004" fmla="*/ 2922124 h 6072780"/>
                <a:gd name="connsiteX3005" fmla="*/ 2930637 w 12117871"/>
                <a:gd name="connsiteY3005" fmla="*/ 2836964 h 6072780"/>
                <a:gd name="connsiteX3006" fmla="*/ 78039 w 12117871"/>
                <a:gd name="connsiteY3006" fmla="*/ 2834954 h 6072780"/>
                <a:gd name="connsiteX3007" fmla="*/ 38769 w 12117871"/>
                <a:gd name="connsiteY3007" fmla="*/ 2921468 h 6072780"/>
                <a:gd name="connsiteX3008" fmla="*/ 77287 w 12117871"/>
                <a:gd name="connsiteY3008" fmla="*/ 3002415 h 6072780"/>
                <a:gd name="connsiteX3009" fmla="*/ 115202 w 12117871"/>
                <a:gd name="connsiteY3009" fmla="*/ 2920114 h 6072780"/>
                <a:gd name="connsiteX3010" fmla="*/ 78039 w 12117871"/>
                <a:gd name="connsiteY3010" fmla="*/ 2834954 h 6072780"/>
                <a:gd name="connsiteX3011" fmla="*/ 11918627 w 12117871"/>
                <a:gd name="connsiteY3011" fmla="*/ 2809130 h 6072780"/>
                <a:gd name="connsiteX3012" fmla="*/ 11933533 w 12117871"/>
                <a:gd name="connsiteY3012" fmla="*/ 2809130 h 6072780"/>
                <a:gd name="connsiteX3013" fmla="*/ 11933533 w 12117871"/>
                <a:gd name="connsiteY3013" fmla="*/ 3032110 h 6072780"/>
                <a:gd name="connsiteX3014" fmla="*/ 11898245 w 12117871"/>
                <a:gd name="connsiteY3014" fmla="*/ 3032110 h 6072780"/>
                <a:gd name="connsiteX3015" fmla="*/ 11898245 w 12117871"/>
                <a:gd name="connsiteY3015" fmla="*/ 2852327 h 6072780"/>
                <a:gd name="connsiteX3016" fmla="*/ 11877636 w 12117871"/>
                <a:gd name="connsiteY3016" fmla="*/ 2863962 h 6072780"/>
                <a:gd name="connsiteX3017" fmla="*/ 11852463 w 12117871"/>
                <a:gd name="connsiteY3017" fmla="*/ 2872404 h 6072780"/>
                <a:gd name="connsiteX3018" fmla="*/ 11852463 w 12117871"/>
                <a:gd name="connsiteY3018" fmla="*/ 2842288 h 6072780"/>
                <a:gd name="connsiteX3019" fmla="*/ 11869498 w 12117871"/>
                <a:gd name="connsiteY3019" fmla="*/ 2836204 h 6072780"/>
                <a:gd name="connsiteX3020" fmla="*/ 11885697 w 12117871"/>
                <a:gd name="connsiteY3020" fmla="*/ 2829055 h 6072780"/>
                <a:gd name="connsiteX3021" fmla="*/ 11901820 w 12117871"/>
                <a:gd name="connsiteY3021" fmla="*/ 2820234 h 6072780"/>
                <a:gd name="connsiteX3022" fmla="*/ 11918627 w 12117871"/>
                <a:gd name="connsiteY3022" fmla="*/ 2809130 h 6072780"/>
                <a:gd name="connsiteX3023" fmla="*/ 11535759 w 12117871"/>
                <a:gd name="connsiteY3023" fmla="*/ 2809130 h 6072780"/>
                <a:gd name="connsiteX3024" fmla="*/ 11550665 w 12117871"/>
                <a:gd name="connsiteY3024" fmla="*/ 2809130 h 6072780"/>
                <a:gd name="connsiteX3025" fmla="*/ 11550665 w 12117871"/>
                <a:gd name="connsiteY3025" fmla="*/ 3032110 h 6072780"/>
                <a:gd name="connsiteX3026" fmla="*/ 11515377 w 12117871"/>
                <a:gd name="connsiteY3026" fmla="*/ 3032110 h 6072780"/>
                <a:gd name="connsiteX3027" fmla="*/ 11515377 w 12117871"/>
                <a:gd name="connsiteY3027" fmla="*/ 2852327 h 6072780"/>
                <a:gd name="connsiteX3028" fmla="*/ 11494768 w 12117871"/>
                <a:gd name="connsiteY3028" fmla="*/ 2863962 h 6072780"/>
                <a:gd name="connsiteX3029" fmla="*/ 11469595 w 12117871"/>
                <a:gd name="connsiteY3029" fmla="*/ 2872404 h 6072780"/>
                <a:gd name="connsiteX3030" fmla="*/ 11469595 w 12117871"/>
                <a:gd name="connsiteY3030" fmla="*/ 2842288 h 6072780"/>
                <a:gd name="connsiteX3031" fmla="*/ 11486630 w 12117871"/>
                <a:gd name="connsiteY3031" fmla="*/ 2836204 h 6072780"/>
                <a:gd name="connsiteX3032" fmla="*/ 11502829 w 12117871"/>
                <a:gd name="connsiteY3032" fmla="*/ 2829055 h 6072780"/>
                <a:gd name="connsiteX3033" fmla="*/ 11518952 w 12117871"/>
                <a:gd name="connsiteY3033" fmla="*/ 2820234 h 6072780"/>
                <a:gd name="connsiteX3034" fmla="*/ 11535759 w 12117871"/>
                <a:gd name="connsiteY3034" fmla="*/ 2809130 h 6072780"/>
                <a:gd name="connsiteX3035" fmla="*/ 11391633 w 12117871"/>
                <a:gd name="connsiteY3035" fmla="*/ 2809130 h 6072780"/>
                <a:gd name="connsiteX3036" fmla="*/ 11406539 w 12117871"/>
                <a:gd name="connsiteY3036" fmla="*/ 2809130 h 6072780"/>
                <a:gd name="connsiteX3037" fmla="*/ 11406539 w 12117871"/>
                <a:gd name="connsiteY3037" fmla="*/ 3032110 h 6072780"/>
                <a:gd name="connsiteX3038" fmla="*/ 11371251 w 12117871"/>
                <a:gd name="connsiteY3038" fmla="*/ 3032110 h 6072780"/>
                <a:gd name="connsiteX3039" fmla="*/ 11371251 w 12117871"/>
                <a:gd name="connsiteY3039" fmla="*/ 2852327 h 6072780"/>
                <a:gd name="connsiteX3040" fmla="*/ 11350642 w 12117871"/>
                <a:gd name="connsiteY3040" fmla="*/ 2863962 h 6072780"/>
                <a:gd name="connsiteX3041" fmla="*/ 11325469 w 12117871"/>
                <a:gd name="connsiteY3041" fmla="*/ 2872404 h 6072780"/>
                <a:gd name="connsiteX3042" fmla="*/ 11325469 w 12117871"/>
                <a:gd name="connsiteY3042" fmla="*/ 2842288 h 6072780"/>
                <a:gd name="connsiteX3043" fmla="*/ 11342504 w 12117871"/>
                <a:gd name="connsiteY3043" fmla="*/ 2836204 h 6072780"/>
                <a:gd name="connsiteX3044" fmla="*/ 11358703 w 12117871"/>
                <a:gd name="connsiteY3044" fmla="*/ 2829055 h 6072780"/>
                <a:gd name="connsiteX3045" fmla="*/ 11374826 w 12117871"/>
                <a:gd name="connsiteY3045" fmla="*/ 2820234 h 6072780"/>
                <a:gd name="connsiteX3046" fmla="*/ 11391633 w 12117871"/>
                <a:gd name="connsiteY3046" fmla="*/ 2809130 h 6072780"/>
                <a:gd name="connsiteX3047" fmla="*/ 11247508 w 12117871"/>
                <a:gd name="connsiteY3047" fmla="*/ 2809130 h 6072780"/>
                <a:gd name="connsiteX3048" fmla="*/ 11262414 w 12117871"/>
                <a:gd name="connsiteY3048" fmla="*/ 2809130 h 6072780"/>
                <a:gd name="connsiteX3049" fmla="*/ 11262414 w 12117871"/>
                <a:gd name="connsiteY3049" fmla="*/ 3032110 h 6072780"/>
                <a:gd name="connsiteX3050" fmla="*/ 11227126 w 12117871"/>
                <a:gd name="connsiteY3050" fmla="*/ 3032110 h 6072780"/>
                <a:gd name="connsiteX3051" fmla="*/ 11227126 w 12117871"/>
                <a:gd name="connsiteY3051" fmla="*/ 2852327 h 6072780"/>
                <a:gd name="connsiteX3052" fmla="*/ 11206517 w 12117871"/>
                <a:gd name="connsiteY3052" fmla="*/ 2863962 h 6072780"/>
                <a:gd name="connsiteX3053" fmla="*/ 11181344 w 12117871"/>
                <a:gd name="connsiteY3053" fmla="*/ 2872404 h 6072780"/>
                <a:gd name="connsiteX3054" fmla="*/ 11181344 w 12117871"/>
                <a:gd name="connsiteY3054" fmla="*/ 2842288 h 6072780"/>
                <a:gd name="connsiteX3055" fmla="*/ 11198379 w 12117871"/>
                <a:gd name="connsiteY3055" fmla="*/ 2836204 h 6072780"/>
                <a:gd name="connsiteX3056" fmla="*/ 11214578 w 12117871"/>
                <a:gd name="connsiteY3056" fmla="*/ 2829055 h 6072780"/>
                <a:gd name="connsiteX3057" fmla="*/ 11230701 w 12117871"/>
                <a:gd name="connsiteY3057" fmla="*/ 2820234 h 6072780"/>
                <a:gd name="connsiteX3058" fmla="*/ 11247508 w 12117871"/>
                <a:gd name="connsiteY3058" fmla="*/ 2809130 h 6072780"/>
                <a:gd name="connsiteX3059" fmla="*/ 11103383 w 12117871"/>
                <a:gd name="connsiteY3059" fmla="*/ 2809130 h 6072780"/>
                <a:gd name="connsiteX3060" fmla="*/ 11118289 w 12117871"/>
                <a:gd name="connsiteY3060" fmla="*/ 2809130 h 6072780"/>
                <a:gd name="connsiteX3061" fmla="*/ 11118289 w 12117871"/>
                <a:gd name="connsiteY3061" fmla="*/ 3032110 h 6072780"/>
                <a:gd name="connsiteX3062" fmla="*/ 11083001 w 12117871"/>
                <a:gd name="connsiteY3062" fmla="*/ 3032110 h 6072780"/>
                <a:gd name="connsiteX3063" fmla="*/ 11083001 w 12117871"/>
                <a:gd name="connsiteY3063" fmla="*/ 2852327 h 6072780"/>
                <a:gd name="connsiteX3064" fmla="*/ 11062392 w 12117871"/>
                <a:gd name="connsiteY3064" fmla="*/ 2863962 h 6072780"/>
                <a:gd name="connsiteX3065" fmla="*/ 11037219 w 12117871"/>
                <a:gd name="connsiteY3065" fmla="*/ 2872404 h 6072780"/>
                <a:gd name="connsiteX3066" fmla="*/ 11037219 w 12117871"/>
                <a:gd name="connsiteY3066" fmla="*/ 2842288 h 6072780"/>
                <a:gd name="connsiteX3067" fmla="*/ 11054254 w 12117871"/>
                <a:gd name="connsiteY3067" fmla="*/ 2836204 h 6072780"/>
                <a:gd name="connsiteX3068" fmla="*/ 11070453 w 12117871"/>
                <a:gd name="connsiteY3068" fmla="*/ 2829055 h 6072780"/>
                <a:gd name="connsiteX3069" fmla="*/ 11086576 w 12117871"/>
                <a:gd name="connsiteY3069" fmla="*/ 2820234 h 6072780"/>
                <a:gd name="connsiteX3070" fmla="*/ 11103383 w 12117871"/>
                <a:gd name="connsiteY3070" fmla="*/ 2809130 h 6072780"/>
                <a:gd name="connsiteX3071" fmla="*/ 10959258 w 12117871"/>
                <a:gd name="connsiteY3071" fmla="*/ 2809130 h 6072780"/>
                <a:gd name="connsiteX3072" fmla="*/ 10974164 w 12117871"/>
                <a:gd name="connsiteY3072" fmla="*/ 2809130 h 6072780"/>
                <a:gd name="connsiteX3073" fmla="*/ 10974164 w 12117871"/>
                <a:gd name="connsiteY3073" fmla="*/ 3032110 h 6072780"/>
                <a:gd name="connsiteX3074" fmla="*/ 10938876 w 12117871"/>
                <a:gd name="connsiteY3074" fmla="*/ 3032110 h 6072780"/>
                <a:gd name="connsiteX3075" fmla="*/ 10938876 w 12117871"/>
                <a:gd name="connsiteY3075" fmla="*/ 2852327 h 6072780"/>
                <a:gd name="connsiteX3076" fmla="*/ 10918267 w 12117871"/>
                <a:gd name="connsiteY3076" fmla="*/ 2863962 h 6072780"/>
                <a:gd name="connsiteX3077" fmla="*/ 10893094 w 12117871"/>
                <a:gd name="connsiteY3077" fmla="*/ 2872404 h 6072780"/>
                <a:gd name="connsiteX3078" fmla="*/ 10893094 w 12117871"/>
                <a:gd name="connsiteY3078" fmla="*/ 2842288 h 6072780"/>
                <a:gd name="connsiteX3079" fmla="*/ 10910129 w 12117871"/>
                <a:gd name="connsiteY3079" fmla="*/ 2836204 h 6072780"/>
                <a:gd name="connsiteX3080" fmla="*/ 10926328 w 12117871"/>
                <a:gd name="connsiteY3080" fmla="*/ 2829055 h 6072780"/>
                <a:gd name="connsiteX3081" fmla="*/ 10942451 w 12117871"/>
                <a:gd name="connsiteY3081" fmla="*/ 2820234 h 6072780"/>
                <a:gd name="connsiteX3082" fmla="*/ 10959258 w 12117871"/>
                <a:gd name="connsiteY3082" fmla="*/ 2809130 h 6072780"/>
                <a:gd name="connsiteX3083" fmla="*/ 10571025 w 12117871"/>
                <a:gd name="connsiteY3083" fmla="*/ 2809130 h 6072780"/>
                <a:gd name="connsiteX3084" fmla="*/ 10585931 w 12117871"/>
                <a:gd name="connsiteY3084" fmla="*/ 2809130 h 6072780"/>
                <a:gd name="connsiteX3085" fmla="*/ 10585931 w 12117871"/>
                <a:gd name="connsiteY3085" fmla="*/ 3032110 h 6072780"/>
                <a:gd name="connsiteX3086" fmla="*/ 10550643 w 12117871"/>
                <a:gd name="connsiteY3086" fmla="*/ 3032110 h 6072780"/>
                <a:gd name="connsiteX3087" fmla="*/ 10550643 w 12117871"/>
                <a:gd name="connsiteY3087" fmla="*/ 2852327 h 6072780"/>
                <a:gd name="connsiteX3088" fmla="*/ 10530034 w 12117871"/>
                <a:gd name="connsiteY3088" fmla="*/ 2863962 h 6072780"/>
                <a:gd name="connsiteX3089" fmla="*/ 10504861 w 12117871"/>
                <a:gd name="connsiteY3089" fmla="*/ 2872404 h 6072780"/>
                <a:gd name="connsiteX3090" fmla="*/ 10504861 w 12117871"/>
                <a:gd name="connsiteY3090" fmla="*/ 2842288 h 6072780"/>
                <a:gd name="connsiteX3091" fmla="*/ 10521896 w 12117871"/>
                <a:gd name="connsiteY3091" fmla="*/ 2836204 h 6072780"/>
                <a:gd name="connsiteX3092" fmla="*/ 10538095 w 12117871"/>
                <a:gd name="connsiteY3092" fmla="*/ 2829055 h 6072780"/>
                <a:gd name="connsiteX3093" fmla="*/ 10554218 w 12117871"/>
                <a:gd name="connsiteY3093" fmla="*/ 2820234 h 6072780"/>
                <a:gd name="connsiteX3094" fmla="*/ 10571025 w 12117871"/>
                <a:gd name="connsiteY3094" fmla="*/ 2809130 h 6072780"/>
                <a:gd name="connsiteX3095" fmla="*/ 10304917 w 12117871"/>
                <a:gd name="connsiteY3095" fmla="*/ 2809130 h 6072780"/>
                <a:gd name="connsiteX3096" fmla="*/ 10319823 w 12117871"/>
                <a:gd name="connsiteY3096" fmla="*/ 2809130 h 6072780"/>
                <a:gd name="connsiteX3097" fmla="*/ 10319823 w 12117871"/>
                <a:gd name="connsiteY3097" fmla="*/ 3032110 h 6072780"/>
                <a:gd name="connsiteX3098" fmla="*/ 10284535 w 12117871"/>
                <a:gd name="connsiteY3098" fmla="*/ 3032110 h 6072780"/>
                <a:gd name="connsiteX3099" fmla="*/ 10284535 w 12117871"/>
                <a:gd name="connsiteY3099" fmla="*/ 2852327 h 6072780"/>
                <a:gd name="connsiteX3100" fmla="*/ 10263926 w 12117871"/>
                <a:gd name="connsiteY3100" fmla="*/ 2863962 h 6072780"/>
                <a:gd name="connsiteX3101" fmla="*/ 10238753 w 12117871"/>
                <a:gd name="connsiteY3101" fmla="*/ 2872404 h 6072780"/>
                <a:gd name="connsiteX3102" fmla="*/ 10238753 w 12117871"/>
                <a:gd name="connsiteY3102" fmla="*/ 2842288 h 6072780"/>
                <a:gd name="connsiteX3103" fmla="*/ 10255788 w 12117871"/>
                <a:gd name="connsiteY3103" fmla="*/ 2836204 h 6072780"/>
                <a:gd name="connsiteX3104" fmla="*/ 10271987 w 12117871"/>
                <a:gd name="connsiteY3104" fmla="*/ 2829055 h 6072780"/>
                <a:gd name="connsiteX3105" fmla="*/ 10288110 w 12117871"/>
                <a:gd name="connsiteY3105" fmla="*/ 2820234 h 6072780"/>
                <a:gd name="connsiteX3106" fmla="*/ 10304917 w 12117871"/>
                <a:gd name="connsiteY3106" fmla="*/ 2809130 h 6072780"/>
                <a:gd name="connsiteX3107" fmla="*/ 9693318 w 12117871"/>
                <a:gd name="connsiteY3107" fmla="*/ 2809130 h 6072780"/>
                <a:gd name="connsiteX3108" fmla="*/ 9708224 w 12117871"/>
                <a:gd name="connsiteY3108" fmla="*/ 2809130 h 6072780"/>
                <a:gd name="connsiteX3109" fmla="*/ 9708224 w 12117871"/>
                <a:gd name="connsiteY3109" fmla="*/ 3032110 h 6072780"/>
                <a:gd name="connsiteX3110" fmla="*/ 9672936 w 12117871"/>
                <a:gd name="connsiteY3110" fmla="*/ 3032110 h 6072780"/>
                <a:gd name="connsiteX3111" fmla="*/ 9672936 w 12117871"/>
                <a:gd name="connsiteY3111" fmla="*/ 2852327 h 6072780"/>
                <a:gd name="connsiteX3112" fmla="*/ 9652327 w 12117871"/>
                <a:gd name="connsiteY3112" fmla="*/ 2863962 h 6072780"/>
                <a:gd name="connsiteX3113" fmla="*/ 9627154 w 12117871"/>
                <a:gd name="connsiteY3113" fmla="*/ 2872404 h 6072780"/>
                <a:gd name="connsiteX3114" fmla="*/ 9627154 w 12117871"/>
                <a:gd name="connsiteY3114" fmla="*/ 2842288 h 6072780"/>
                <a:gd name="connsiteX3115" fmla="*/ 9644189 w 12117871"/>
                <a:gd name="connsiteY3115" fmla="*/ 2836204 h 6072780"/>
                <a:gd name="connsiteX3116" fmla="*/ 9660388 w 12117871"/>
                <a:gd name="connsiteY3116" fmla="*/ 2829055 h 6072780"/>
                <a:gd name="connsiteX3117" fmla="*/ 9676511 w 12117871"/>
                <a:gd name="connsiteY3117" fmla="*/ 2820234 h 6072780"/>
                <a:gd name="connsiteX3118" fmla="*/ 9693318 w 12117871"/>
                <a:gd name="connsiteY3118" fmla="*/ 2809130 h 6072780"/>
                <a:gd name="connsiteX3119" fmla="*/ 9427209 w 12117871"/>
                <a:gd name="connsiteY3119" fmla="*/ 2809130 h 6072780"/>
                <a:gd name="connsiteX3120" fmla="*/ 9442115 w 12117871"/>
                <a:gd name="connsiteY3120" fmla="*/ 2809130 h 6072780"/>
                <a:gd name="connsiteX3121" fmla="*/ 9442115 w 12117871"/>
                <a:gd name="connsiteY3121" fmla="*/ 3032110 h 6072780"/>
                <a:gd name="connsiteX3122" fmla="*/ 9406827 w 12117871"/>
                <a:gd name="connsiteY3122" fmla="*/ 3032110 h 6072780"/>
                <a:gd name="connsiteX3123" fmla="*/ 9406827 w 12117871"/>
                <a:gd name="connsiteY3123" fmla="*/ 2852327 h 6072780"/>
                <a:gd name="connsiteX3124" fmla="*/ 9386218 w 12117871"/>
                <a:gd name="connsiteY3124" fmla="*/ 2863962 h 6072780"/>
                <a:gd name="connsiteX3125" fmla="*/ 9361045 w 12117871"/>
                <a:gd name="connsiteY3125" fmla="*/ 2872404 h 6072780"/>
                <a:gd name="connsiteX3126" fmla="*/ 9361045 w 12117871"/>
                <a:gd name="connsiteY3126" fmla="*/ 2842288 h 6072780"/>
                <a:gd name="connsiteX3127" fmla="*/ 9378080 w 12117871"/>
                <a:gd name="connsiteY3127" fmla="*/ 2836204 h 6072780"/>
                <a:gd name="connsiteX3128" fmla="*/ 9394279 w 12117871"/>
                <a:gd name="connsiteY3128" fmla="*/ 2829055 h 6072780"/>
                <a:gd name="connsiteX3129" fmla="*/ 9410402 w 12117871"/>
                <a:gd name="connsiteY3129" fmla="*/ 2820234 h 6072780"/>
                <a:gd name="connsiteX3130" fmla="*/ 9427209 w 12117871"/>
                <a:gd name="connsiteY3130" fmla="*/ 2809130 h 6072780"/>
                <a:gd name="connsiteX3131" fmla="*/ 8820862 w 12117871"/>
                <a:gd name="connsiteY3131" fmla="*/ 2809130 h 6072780"/>
                <a:gd name="connsiteX3132" fmla="*/ 8835768 w 12117871"/>
                <a:gd name="connsiteY3132" fmla="*/ 2809130 h 6072780"/>
                <a:gd name="connsiteX3133" fmla="*/ 8835768 w 12117871"/>
                <a:gd name="connsiteY3133" fmla="*/ 3032110 h 6072780"/>
                <a:gd name="connsiteX3134" fmla="*/ 8800480 w 12117871"/>
                <a:gd name="connsiteY3134" fmla="*/ 3032110 h 6072780"/>
                <a:gd name="connsiteX3135" fmla="*/ 8800480 w 12117871"/>
                <a:gd name="connsiteY3135" fmla="*/ 2852327 h 6072780"/>
                <a:gd name="connsiteX3136" fmla="*/ 8779871 w 12117871"/>
                <a:gd name="connsiteY3136" fmla="*/ 2863962 h 6072780"/>
                <a:gd name="connsiteX3137" fmla="*/ 8754698 w 12117871"/>
                <a:gd name="connsiteY3137" fmla="*/ 2872404 h 6072780"/>
                <a:gd name="connsiteX3138" fmla="*/ 8754698 w 12117871"/>
                <a:gd name="connsiteY3138" fmla="*/ 2842288 h 6072780"/>
                <a:gd name="connsiteX3139" fmla="*/ 8771733 w 12117871"/>
                <a:gd name="connsiteY3139" fmla="*/ 2836204 h 6072780"/>
                <a:gd name="connsiteX3140" fmla="*/ 8787932 w 12117871"/>
                <a:gd name="connsiteY3140" fmla="*/ 2829055 h 6072780"/>
                <a:gd name="connsiteX3141" fmla="*/ 8804055 w 12117871"/>
                <a:gd name="connsiteY3141" fmla="*/ 2820234 h 6072780"/>
                <a:gd name="connsiteX3142" fmla="*/ 8820862 w 12117871"/>
                <a:gd name="connsiteY3142" fmla="*/ 2809130 h 6072780"/>
                <a:gd name="connsiteX3143" fmla="*/ 8554754 w 12117871"/>
                <a:gd name="connsiteY3143" fmla="*/ 2809130 h 6072780"/>
                <a:gd name="connsiteX3144" fmla="*/ 8569660 w 12117871"/>
                <a:gd name="connsiteY3144" fmla="*/ 2809130 h 6072780"/>
                <a:gd name="connsiteX3145" fmla="*/ 8569660 w 12117871"/>
                <a:gd name="connsiteY3145" fmla="*/ 3032110 h 6072780"/>
                <a:gd name="connsiteX3146" fmla="*/ 8534372 w 12117871"/>
                <a:gd name="connsiteY3146" fmla="*/ 3032110 h 6072780"/>
                <a:gd name="connsiteX3147" fmla="*/ 8534372 w 12117871"/>
                <a:gd name="connsiteY3147" fmla="*/ 2852327 h 6072780"/>
                <a:gd name="connsiteX3148" fmla="*/ 8513763 w 12117871"/>
                <a:gd name="connsiteY3148" fmla="*/ 2863962 h 6072780"/>
                <a:gd name="connsiteX3149" fmla="*/ 8488590 w 12117871"/>
                <a:gd name="connsiteY3149" fmla="*/ 2872404 h 6072780"/>
                <a:gd name="connsiteX3150" fmla="*/ 8488590 w 12117871"/>
                <a:gd name="connsiteY3150" fmla="*/ 2842288 h 6072780"/>
                <a:gd name="connsiteX3151" fmla="*/ 8505625 w 12117871"/>
                <a:gd name="connsiteY3151" fmla="*/ 2836204 h 6072780"/>
                <a:gd name="connsiteX3152" fmla="*/ 8521824 w 12117871"/>
                <a:gd name="connsiteY3152" fmla="*/ 2829055 h 6072780"/>
                <a:gd name="connsiteX3153" fmla="*/ 8537947 w 12117871"/>
                <a:gd name="connsiteY3153" fmla="*/ 2820234 h 6072780"/>
                <a:gd name="connsiteX3154" fmla="*/ 8554754 w 12117871"/>
                <a:gd name="connsiteY3154" fmla="*/ 2809130 h 6072780"/>
                <a:gd name="connsiteX3155" fmla="*/ 8142986 w 12117871"/>
                <a:gd name="connsiteY3155" fmla="*/ 2809130 h 6072780"/>
                <a:gd name="connsiteX3156" fmla="*/ 8157893 w 12117871"/>
                <a:gd name="connsiteY3156" fmla="*/ 2809130 h 6072780"/>
                <a:gd name="connsiteX3157" fmla="*/ 8157893 w 12117871"/>
                <a:gd name="connsiteY3157" fmla="*/ 3032110 h 6072780"/>
                <a:gd name="connsiteX3158" fmla="*/ 8122605 w 12117871"/>
                <a:gd name="connsiteY3158" fmla="*/ 3032110 h 6072780"/>
                <a:gd name="connsiteX3159" fmla="*/ 8122605 w 12117871"/>
                <a:gd name="connsiteY3159" fmla="*/ 2852327 h 6072780"/>
                <a:gd name="connsiteX3160" fmla="*/ 8101995 w 12117871"/>
                <a:gd name="connsiteY3160" fmla="*/ 2863962 h 6072780"/>
                <a:gd name="connsiteX3161" fmla="*/ 8076823 w 12117871"/>
                <a:gd name="connsiteY3161" fmla="*/ 2872404 h 6072780"/>
                <a:gd name="connsiteX3162" fmla="*/ 8076823 w 12117871"/>
                <a:gd name="connsiteY3162" fmla="*/ 2842288 h 6072780"/>
                <a:gd name="connsiteX3163" fmla="*/ 8093858 w 12117871"/>
                <a:gd name="connsiteY3163" fmla="*/ 2836204 h 6072780"/>
                <a:gd name="connsiteX3164" fmla="*/ 8110057 w 12117871"/>
                <a:gd name="connsiteY3164" fmla="*/ 2829055 h 6072780"/>
                <a:gd name="connsiteX3165" fmla="*/ 8126179 w 12117871"/>
                <a:gd name="connsiteY3165" fmla="*/ 2820234 h 6072780"/>
                <a:gd name="connsiteX3166" fmla="*/ 8142986 w 12117871"/>
                <a:gd name="connsiteY3166" fmla="*/ 2809130 h 6072780"/>
                <a:gd name="connsiteX3167" fmla="*/ 8009932 w 12117871"/>
                <a:gd name="connsiteY3167" fmla="*/ 2809130 h 6072780"/>
                <a:gd name="connsiteX3168" fmla="*/ 8024839 w 12117871"/>
                <a:gd name="connsiteY3168" fmla="*/ 2809130 h 6072780"/>
                <a:gd name="connsiteX3169" fmla="*/ 8024839 w 12117871"/>
                <a:gd name="connsiteY3169" fmla="*/ 3032110 h 6072780"/>
                <a:gd name="connsiteX3170" fmla="*/ 7989551 w 12117871"/>
                <a:gd name="connsiteY3170" fmla="*/ 3032110 h 6072780"/>
                <a:gd name="connsiteX3171" fmla="*/ 7989551 w 12117871"/>
                <a:gd name="connsiteY3171" fmla="*/ 2852327 h 6072780"/>
                <a:gd name="connsiteX3172" fmla="*/ 7968941 w 12117871"/>
                <a:gd name="connsiteY3172" fmla="*/ 2863962 h 6072780"/>
                <a:gd name="connsiteX3173" fmla="*/ 7943769 w 12117871"/>
                <a:gd name="connsiteY3173" fmla="*/ 2872404 h 6072780"/>
                <a:gd name="connsiteX3174" fmla="*/ 7943769 w 12117871"/>
                <a:gd name="connsiteY3174" fmla="*/ 2842288 h 6072780"/>
                <a:gd name="connsiteX3175" fmla="*/ 7960804 w 12117871"/>
                <a:gd name="connsiteY3175" fmla="*/ 2836204 h 6072780"/>
                <a:gd name="connsiteX3176" fmla="*/ 7977003 w 12117871"/>
                <a:gd name="connsiteY3176" fmla="*/ 2829055 h 6072780"/>
                <a:gd name="connsiteX3177" fmla="*/ 7993125 w 12117871"/>
                <a:gd name="connsiteY3177" fmla="*/ 2820234 h 6072780"/>
                <a:gd name="connsiteX3178" fmla="*/ 8009932 w 12117871"/>
                <a:gd name="connsiteY3178" fmla="*/ 2809130 h 6072780"/>
                <a:gd name="connsiteX3179" fmla="*/ 7876878 w 12117871"/>
                <a:gd name="connsiteY3179" fmla="*/ 2809130 h 6072780"/>
                <a:gd name="connsiteX3180" fmla="*/ 7891785 w 12117871"/>
                <a:gd name="connsiteY3180" fmla="*/ 2809130 h 6072780"/>
                <a:gd name="connsiteX3181" fmla="*/ 7891785 w 12117871"/>
                <a:gd name="connsiteY3181" fmla="*/ 3032110 h 6072780"/>
                <a:gd name="connsiteX3182" fmla="*/ 7856497 w 12117871"/>
                <a:gd name="connsiteY3182" fmla="*/ 3032110 h 6072780"/>
                <a:gd name="connsiteX3183" fmla="*/ 7856497 w 12117871"/>
                <a:gd name="connsiteY3183" fmla="*/ 2852327 h 6072780"/>
                <a:gd name="connsiteX3184" fmla="*/ 7835887 w 12117871"/>
                <a:gd name="connsiteY3184" fmla="*/ 2863962 h 6072780"/>
                <a:gd name="connsiteX3185" fmla="*/ 7810715 w 12117871"/>
                <a:gd name="connsiteY3185" fmla="*/ 2872404 h 6072780"/>
                <a:gd name="connsiteX3186" fmla="*/ 7810715 w 12117871"/>
                <a:gd name="connsiteY3186" fmla="*/ 2842288 h 6072780"/>
                <a:gd name="connsiteX3187" fmla="*/ 7827750 w 12117871"/>
                <a:gd name="connsiteY3187" fmla="*/ 2836204 h 6072780"/>
                <a:gd name="connsiteX3188" fmla="*/ 7843949 w 12117871"/>
                <a:gd name="connsiteY3188" fmla="*/ 2829055 h 6072780"/>
                <a:gd name="connsiteX3189" fmla="*/ 7860071 w 12117871"/>
                <a:gd name="connsiteY3189" fmla="*/ 2820234 h 6072780"/>
                <a:gd name="connsiteX3190" fmla="*/ 7876878 w 12117871"/>
                <a:gd name="connsiteY3190" fmla="*/ 2809130 h 6072780"/>
                <a:gd name="connsiteX3191" fmla="*/ 7734266 w 12117871"/>
                <a:gd name="connsiteY3191" fmla="*/ 2809130 h 6072780"/>
                <a:gd name="connsiteX3192" fmla="*/ 7749173 w 12117871"/>
                <a:gd name="connsiteY3192" fmla="*/ 2809130 h 6072780"/>
                <a:gd name="connsiteX3193" fmla="*/ 7749173 w 12117871"/>
                <a:gd name="connsiteY3193" fmla="*/ 3032110 h 6072780"/>
                <a:gd name="connsiteX3194" fmla="*/ 7713885 w 12117871"/>
                <a:gd name="connsiteY3194" fmla="*/ 3032110 h 6072780"/>
                <a:gd name="connsiteX3195" fmla="*/ 7713885 w 12117871"/>
                <a:gd name="connsiteY3195" fmla="*/ 2852327 h 6072780"/>
                <a:gd name="connsiteX3196" fmla="*/ 7693275 w 12117871"/>
                <a:gd name="connsiteY3196" fmla="*/ 2863962 h 6072780"/>
                <a:gd name="connsiteX3197" fmla="*/ 7668103 w 12117871"/>
                <a:gd name="connsiteY3197" fmla="*/ 2872404 h 6072780"/>
                <a:gd name="connsiteX3198" fmla="*/ 7668103 w 12117871"/>
                <a:gd name="connsiteY3198" fmla="*/ 2842288 h 6072780"/>
                <a:gd name="connsiteX3199" fmla="*/ 7685138 w 12117871"/>
                <a:gd name="connsiteY3199" fmla="*/ 2836204 h 6072780"/>
                <a:gd name="connsiteX3200" fmla="*/ 7701337 w 12117871"/>
                <a:gd name="connsiteY3200" fmla="*/ 2829055 h 6072780"/>
                <a:gd name="connsiteX3201" fmla="*/ 7717459 w 12117871"/>
                <a:gd name="connsiteY3201" fmla="*/ 2820234 h 6072780"/>
                <a:gd name="connsiteX3202" fmla="*/ 7734266 w 12117871"/>
                <a:gd name="connsiteY3202" fmla="*/ 2809130 h 6072780"/>
                <a:gd name="connsiteX3203" fmla="*/ 6986928 w 12117871"/>
                <a:gd name="connsiteY3203" fmla="*/ 2809130 h 6072780"/>
                <a:gd name="connsiteX3204" fmla="*/ 7001834 w 12117871"/>
                <a:gd name="connsiteY3204" fmla="*/ 2809130 h 6072780"/>
                <a:gd name="connsiteX3205" fmla="*/ 7001834 w 12117871"/>
                <a:gd name="connsiteY3205" fmla="*/ 3032110 h 6072780"/>
                <a:gd name="connsiteX3206" fmla="*/ 6966546 w 12117871"/>
                <a:gd name="connsiteY3206" fmla="*/ 3032110 h 6072780"/>
                <a:gd name="connsiteX3207" fmla="*/ 6966546 w 12117871"/>
                <a:gd name="connsiteY3207" fmla="*/ 2852327 h 6072780"/>
                <a:gd name="connsiteX3208" fmla="*/ 6945937 w 12117871"/>
                <a:gd name="connsiteY3208" fmla="*/ 2863962 h 6072780"/>
                <a:gd name="connsiteX3209" fmla="*/ 6920764 w 12117871"/>
                <a:gd name="connsiteY3209" fmla="*/ 2872404 h 6072780"/>
                <a:gd name="connsiteX3210" fmla="*/ 6920764 w 12117871"/>
                <a:gd name="connsiteY3210" fmla="*/ 2842288 h 6072780"/>
                <a:gd name="connsiteX3211" fmla="*/ 6937799 w 12117871"/>
                <a:gd name="connsiteY3211" fmla="*/ 2836204 h 6072780"/>
                <a:gd name="connsiteX3212" fmla="*/ 6953998 w 12117871"/>
                <a:gd name="connsiteY3212" fmla="*/ 2829055 h 6072780"/>
                <a:gd name="connsiteX3213" fmla="*/ 6970121 w 12117871"/>
                <a:gd name="connsiteY3213" fmla="*/ 2820234 h 6072780"/>
                <a:gd name="connsiteX3214" fmla="*/ 6986928 w 12117871"/>
                <a:gd name="connsiteY3214" fmla="*/ 2809130 h 6072780"/>
                <a:gd name="connsiteX3215" fmla="*/ 6842802 w 12117871"/>
                <a:gd name="connsiteY3215" fmla="*/ 2809130 h 6072780"/>
                <a:gd name="connsiteX3216" fmla="*/ 6857708 w 12117871"/>
                <a:gd name="connsiteY3216" fmla="*/ 2809130 h 6072780"/>
                <a:gd name="connsiteX3217" fmla="*/ 6857708 w 12117871"/>
                <a:gd name="connsiteY3217" fmla="*/ 3032110 h 6072780"/>
                <a:gd name="connsiteX3218" fmla="*/ 6822420 w 12117871"/>
                <a:gd name="connsiteY3218" fmla="*/ 3032110 h 6072780"/>
                <a:gd name="connsiteX3219" fmla="*/ 6822420 w 12117871"/>
                <a:gd name="connsiteY3219" fmla="*/ 2852327 h 6072780"/>
                <a:gd name="connsiteX3220" fmla="*/ 6801811 w 12117871"/>
                <a:gd name="connsiteY3220" fmla="*/ 2863962 h 6072780"/>
                <a:gd name="connsiteX3221" fmla="*/ 6776638 w 12117871"/>
                <a:gd name="connsiteY3221" fmla="*/ 2872404 h 6072780"/>
                <a:gd name="connsiteX3222" fmla="*/ 6776638 w 12117871"/>
                <a:gd name="connsiteY3222" fmla="*/ 2842288 h 6072780"/>
                <a:gd name="connsiteX3223" fmla="*/ 6793673 w 12117871"/>
                <a:gd name="connsiteY3223" fmla="*/ 2836204 h 6072780"/>
                <a:gd name="connsiteX3224" fmla="*/ 6809872 w 12117871"/>
                <a:gd name="connsiteY3224" fmla="*/ 2829055 h 6072780"/>
                <a:gd name="connsiteX3225" fmla="*/ 6825995 w 12117871"/>
                <a:gd name="connsiteY3225" fmla="*/ 2820234 h 6072780"/>
                <a:gd name="connsiteX3226" fmla="*/ 6842802 w 12117871"/>
                <a:gd name="connsiteY3226" fmla="*/ 2809130 h 6072780"/>
                <a:gd name="connsiteX3227" fmla="*/ 5862574 w 12117871"/>
                <a:gd name="connsiteY3227" fmla="*/ 2809130 h 6072780"/>
                <a:gd name="connsiteX3228" fmla="*/ 5877481 w 12117871"/>
                <a:gd name="connsiteY3228" fmla="*/ 2809130 h 6072780"/>
                <a:gd name="connsiteX3229" fmla="*/ 5877481 w 12117871"/>
                <a:gd name="connsiteY3229" fmla="*/ 3032110 h 6072780"/>
                <a:gd name="connsiteX3230" fmla="*/ 5842193 w 12117871"/>
                <a:gd name="connsiteY3230" fmla="*/ 3032110 h 6072780"/>
                <a:gd name="connsiteX3231" fmla="*/ 5842193 w 12117871"/>
                <a:gd name="connsiteY3231" fmla="*/ 2852327 h 6072780"/>
                <a:gd name="connsiteX3232" fmla="*/ 5821582 w 12117871"/>
                <a:gd name="connsiteY3232" fmla="*/ 2863962 h 6072780"/>
                <a:gd name="connsiteX3233" fmla="*/ 5796410 w 12117871"/>
                <a:gd name="connsiteY3233" fmla="*/ 2872404 h 6072780"/>
                <a:gd name="connsiteX3234" fmla="*/ 5796410 w 12117871"/>
                <a:gd name="connsiteY3234" fmla="*/ 2842288 h 6072780"/>
                <a:gd name="connsiteX3235" fmla="*/ 5813446 w 12117871"/>
                <a:gd name="connsiteY3235" fmla="*/ 2836204 h 6072780"/>
                <a:gd name="connsiteX3236" fmla="*/ 5829644 w 12117871"/>
                <a:gd name="connsiteY3236" fmla="*/ 2829055 h 6072780"/>
                <a:gd name="connsiteX3237" fmla="*/ 5845767 w 12117871"/>
                <a:gd name="connsiteY3237" fmla="*/ 2820234 h 6072780"/>
                <a:gd name="connsiteX3238" fmla="*/ 5862574 w 12117871"/>
                <a:gd name="connsiteY3238" fmla="*/ 2809130 h 6072780"/>
                <a:gd name="connsiteX3239" fmla="*/ 5479705 w 12117871"/>
                <a:gd name="connsiteY3239" fmla="*/ 2809130 h 6072780"/>
                <a:gd name="connsiteX3240" fmla="*/ 5494614 w 12117871"/>
                <a:gd name="connsiteY3240" fmla="*/ 2809130 h 6072780"/>
                <a:gd name="connsiteX3241" fmla="*/ 5494614 w 12117871"/>
                <a:gd name="connsiteY3241" fmla="*/ 3032110 h 6072780"/>
                <a:gd name="connsiteX3242" fmla="*/ 5459325 w 12117871"/>
                <a:gd name="connsiteY3242" fmla="*/ 3032110 h 6072780"/>
                <a:gd name="connsiteX3243" fmla="*/ 5459325 w 12117871"/>
                <a:gd name="connsiteY3243" fmla="*/ 2852327 h 6072780"/>
                <a:gd name="connsiteX3244" fmla="*/ 5438715 w 12117871"/>
                <a:gd name="connsiteY3244" fmla="*/ 2863962 h 6072780"/>
                <a:gd name="connsiteX3245" fmla="*/ 5413543 w 12117871"/>
                <a:gd name="connsiteY3245" fmla="*/ 2872404 h 6072780"/>
                <a:gd name="connsiteX3246" fmla="*/ 5413543 w 12117871"/>
                <a:gd name="connsiteY3246" fmla="*/ 2842288 h 6072780"/>
                <a:gd name="connsiteX3247" fmla="*/ 5430578 w 12117871"/>
                <a:gd name="connsiteY3247" fmla="*/ 2836204 h 6072780"/>
                <a:gd name="connsiteX3248" fmla="*/ 5446777 w 12117871"/>
                <a:gd name="connsiteY3248" fmla="*/ 2829055 h 6072780"/>
                <a:gd name="connsiteX3249" fmla="*/ 5462899 w 12117871"/>
                <a:gd name="connsiteY3249" fmla="*/ 2820234 h 6072780"/>
                <a:gd name="connsiteX3250" fmla="*/ 5479705 w 12117871"/>
                <a:gd name="connsiteY3250" fmla="*/ 2809130 h 6072780"/>
                <a:gd name="connsiteX3251" fmla="*/ 5335580 w 12117871"/>
                <a:gd name="connsiteY3251" fmla="*/ 2809130 h 6072780"/>
                <a:gd name="connsiteX3252" fmla="*/ 5350487 w 12117871"/>
                <a:gd name="connsiteY3252" fmla="*/ 2809130 h 6072780"/>
                <a:gd name="connsiteX3253" fmla="*/ 5350487 w 12117871"/>
                <a:gd name="connsiteY3253" fmla="*/ 3032110 h 6072780"/>
                <a:gd name="connsiteX3254" fmla="*/ 5315200 w 12117871"/>
                <a:gd name="connsiteY3254" fmla="*/ 3032110 h 6072780"/>
                <a:gd name="connsiteX3255" fmla="*/ 5315200 w 12117871"/>
                <a:gd name="connsiteY3255" fmla="*/ 2852327 h 6072780"/>
                <a:gd name="connsiteX3256" fmla="*/ 5294589 w 12117871"/>
                <a:gd name="connsiteY3256" fmla="*/ 2863962 h 6072780"/>
                <a:gd name="connsiteX3257" fmla="*/ 5269417 w 12117871"/>
                <a:gd name="connsiteY3257" fmla="*/ 2872404 h 6072780"/>
                <a:gd name="connsiteX3258" fmla="*/ 5269417 w 12117871"/>
                <a:gd name="connsiteY3258" fmla="*/ 2842288 h 6072780"/>
                <a:gd name="connsiteX3259" fmla="*/ 5286452 w 12117871"/>
                <a:gd name="connsiteY3259" fmla="*/ 2836204 h 6072780"/>
                <a:gd name="connsiteX3260" fmla="*/ 5302652 w 12117871"/>
                <a:gd name="connsiteY3260" fmla="*/ 2829055 h 6072780"/>
                <a:gd name="connsiteX3261" fmla="*/ 5318773 w 12117871"/>
                <a:gd name="connsiteY3261" fmla="*/ 2820234 h 6072780"/>
                <a:gd name="connsiteX3262" fmla="*/ 5335580 w 12117871"/>
                <a:gd name="connsiteY3262" fmla="*/ 2809130 h 6072780"/>
                <a:gd name="connsiteX3263" fmla="*/ 5191455 w 12117871"/>
                <a:gd name="connsiteY3263" fmla="*/ 2809130 h 6072780"/>
                <a:gd name="connsiteX3264" fmla="*/ 5206362 w 12117871"/>
                <a:gd name="connsiteY3264" fmla="*/ 2809130 h 6072780"/>
                <a:gd name="connsiteX3265" fmla="*/ 5206362 w 12117871"/>
                <a:gd name="connsiteY3265" fmla="*/ 3032110 h 6072780"/>
                <a:gd name="connsiteX3266" fmla="*/ 5171074 w 12117871"/>
                <a:gd name="connsiteY3266" fmla="*/ 3032110 h 6072780"/>
                <a:gd name="connsiteX3267" fmla="*/ 5171074 w 12117871"/>
                <a:gd name="connsiteY3267" fmla="*/ 2852327 h 6072780"/>
                <a:gd name="connsiteX3268" fmla="*/ 5150464 w 12117871"/>
                <a:gd name="connsiteY3268" fmla="*/ 2863962 h 6072780"/>
                <a:gd name="connsiteX3269" fmla="*/ 5125292 w 12117871"/>
                <a:gd name="connsiteY3269" fmla="*/ 2872404 h 6072780"/>
                <a:gd name="connsiteX3270" fmla="*/ 5125292 w 12117871"/>
                <a:gd name="connsiteY3270" fmla="*/ 2842288 h 6072780"/>
                <a:gd name="connsiteX3271" fmla="*/ 5142326 w 12117871"/>
                <a:gd name="connsiteY3271" fmla="*/ 2836204 h 6072780"/>
                <a:gd name="connsiteX3272" fmla="*/ 5158526 w 12117871"/>
                <a:gd name="connsiteY3272" fmla="*/ 2829055 h 6072780"/>
                <a:gd name="connsiteX3273" fmla="*/ 5174648 w 12117871"/>
                <a:gd name="connsiteY3273" fmla="*/ 2820234 h 6072780"/>
                <a:gd name="connsiteX3274" fmla="*/ 5191455 w 12117871"/>
                <a:gd name="connsiteY3274" fmla="*/ 2809130 h 6072780"/>
                <a:gd name="connsiteX3275" fmla="*/ 5047330 w 12117871"/>
                <a:gd name="connsiteY3275" fmla="*/ 2809130 h 6072780"/>
                <a:gd name="connsiteX3276" fmla="*/ 5062237 w 12117871"/>
                <a:gd name="connsiteY3276" fmla="*/ 2809130 h 6072780"/>
                <a:gd name="connsiteX3277" fmla="*/ 5062237 w 12117871"/>
                <a:gd name="connsiteY3277" fmla="*/ 3032110 h 6072780"/>
                <a:gd name="connsiteX3278" fmla="*/ 5026949 w 12117871"/>
                <a:gd name="connsiteY3278" fmla="*/ 3032110 h 6072780"/>
                <a:gd name="connsiteX3279" fmla="*/ 5026949 w 12117871"/>
                <a:gd name="connsiteY3279" fmla="*/ 2852327 h 6072780"/>
                <a:gd name="connsiteX3280" fmla="*/ 5006339 w 12117871"/>
                <a:gd name="connsiteY3280" fmla="*/ 2863962 h 6072780"/>
                <a:gd name="connsiteX3281" fmla="*/ 4981168 w 12117871"/>
                <a:gd name="connsiteY3281" fmla="*/ 2872404 h 6072780"/>
                <a:gd name="connsiteX3282" fmla="*/ 4981168 w 12117871"/>
                <a:gd name="connsiteY3282" fmla="*/ 2842288 h 6072780"/>
                <a:gd name="connsiteX3283" fmla="*/ 4998201 w 12117871"/>
                <a:gd name="connsiteY3283" fmla="*/ 2836204 h 6072780"/>
                <a:gd name="connsiteX3284" fmla="*/ 5014401 w 12117871"/>
                <a:gd name="connsiteY3284" fmla="*/ 2829055 h 6072780"/>
                <a:gd name="connsiteX3285" fmla="*/ 5030524 w 12117871"/>
                <a:gd name="connsiteY3285" fmla="*/ 2820234 h 6072780"/>
                <a:gd name="connsiteX3286" fmla="*/ 5047330 w 12117871"/>
                <a:gd name="connsiteY3286" fmla="*/ 2809130 h 6072780"/>
                <a:gd name="connsiteX3287" fmla="*/ 4903206 w 12117871"/>
                <a:gd name="connsiteY3287" fmla="*/ 2809130 h 6072780"/>
                <a:gd name="connsiteX3288" fmla="*/ 4918113 w 12117871"/>
                <a:gd name="connsiteY3288" fmla="*/ 2809130 h 6072780"/>
                <a:gd name="connsiteX3289" fmla="*/ 4918113 w 12117871"/>
                <a:gd name="connsiteY3289" fmla="*/ 3032110 h 6072780"/>
                <a:gd name="connsiteX3290" fmla="*/ 4882824 w 12117871"/>
                <a:gd name="connsiteY3290" fmla="*/ 3032110 h 6072780"/>
                <a:gd name="connsiteX3291" fmla="*/ 4882824 w 12117871"/>
                <a:gd name="connsiteY3291" fmla="*/ 2852327 h 6072780"/>
                <a:gd name="connsiteX3292" fmla="*/ 4862214 w 12117871"/>
                <a:gd name="connsiteY3292" fmla="*/ 2863962 h 6072780"/>
                <a:gd name="connsiteX3293" fmla="*/ 4837041 w 12117871"/>
                <a:gd name="connsiteY3293" fmla="*/ 2872404 h 6072780"/>
                <a:gd name="connsiteX3294" fmla="*/ 4837041 w 12117871"/>
                <a:gd name="connsiteY3294" fmla="*/ 2842288 h 6072780"/>
                <a:gd name="connsiteX3295" fmla="*/ 4854077 w 12117871"/>
                <a:gd name="connsiteY3295" fmla="*/ 2836204 h 6072780"/>
                <a:gd name="connsiteX3296" fmla="*/ 4870276 w 12117871"/>
                <a:gd name="connsiteY3296" fmla="*/ 2829055 h 6072780"/>
                <a:gd name="connsiteX3297" fmla="*/ 4886398 w 12117871"/>
                <a:gd name="connsiteY3297" fmla="*/ 2820234 h 6072780"/>
                <a:gd name="connsiteX3298" fmla="*/ 4903206 w 12117871"/>
                <a:gd name="connsiteY3298" fmla="*/ 2809130 h 6072780"/>
                <a:gd name="connsiteX3299" fmla="*/ 4514973 w 12117871"/>
                <a:gd name="connsiteY3299" fmla="*/ 2809130 h 6072780"/>
                <a:gd name="connsiteX3300" fmla="*/ 4529879 w 12117871"/>
                <a:gd name="connsiteY3300" fmla="*/ 2809130 h 6072780"/>
                <a:gd name="connsiteX3301" fmla="*/ 4529879 w 12117871"/>
                <a:gd name="connsiteY3301" fmla="*/ 3032110 h 6072780"/>
                <a:gd name="connsiteX3302" fmla="*/ 4494591 w 12117871"/>
                <a:gd name="connsiteY3302" fmla="*/ 3032110 h 6072780"/>
                <a:gd name="connsiteX3303" fmla="*/ 4494591 w 12117871"/>
                <a:gd name="connsiteY3303" fmla="*/ 2852327 h 6072780"/>
                <a:gd name="connsiteX3304" fmla="*/ 4473982 w 12117871"/>
                <a:gd name="connsiteY3304" fmla="*/ 2863962 h 6072780"/>
                <a:gd name="connsiteX3305" fmla="*/ 4448809 w 12117871"/>
                <a:gd name="connsiteY3305" fmla="*/ 2872404 h 6072780"/>
                <a:gd name="connsiteX3306" fmla="*/ 4448809 w 12117871"/>
                <a:gd name="connsiteY3306" fmla="*/ 2842288 h 6072780"/>
                <a:gd name="connsiteX3307" fmla="*/ 4465844 w 12117871"/>
                <a:gd name="connsiteY3307" fmla="*/ 2836204 h 6072780"/>
                <a:gd name="connsiteX3308" fmla="*/ 4482043 w 12117871"/>
                <a:gd name="connsiteY3308" fmla="*/ 2829055 h 6072780"/>
                <a:gd name="connsiteX3309" fmla="*/ 4498166 w 12117871"/>
                <a:gd name="connsiteY3309" fmla="*/ 2820234 h 6072780"/>
                <a:gd name="connsiteX3310" fmla="*/ 4514973 w 12117871"/>
                <a:gd name="connsiteY3310" fmla="*/ 2809130 h 6072780"/>
                <a:gd name="connsiteX3311" fmla="*/ 4248864 w 12117871"/>
                <a:gd name="connsiteY3311" fmla="*/ 2809130 h 6072780"/>
                <a:gd name="connsiteX3312" fmla="*/ 4263771 w 12117871"/>
                <a:gd name="connsiteY3312" fmla="*/ 2809130 h 6072780"/>
                <a:gd name="connsiteX3313" fmla="*/ 4263771 w 12117871"/>
                <a:gd name="connsiteY3313" fmla="*/ 3032110 h 6072780"/>
                <a:gd name="connsiteX3314" fmla="*/ 4228483 w 12117871"/>
                <a:gd name="connsiteY3314" fmla="*/ 3032110 h 6072780"/>
                <a:gd name="connsiteX3315" fmla="*/ 4228483 w 12117871"/>
                <a:gd name="connsiteY3315" fmla="*/ 2852327 h 6072780"/>
                <a:gd name="connsiteX3316" fmla="*/ 4207874 w 12117871"/>
                <a:gd name="connsiteY3316" fmla="*/ 2863962 h 6072780"/>
                <a:gd name="connsiteX3317" fmla="*/ 4182701 w 12117871"/>
                <a:gd name="connsiteY3317" fmla="*/ 2872404 h 6072780"/>
                <a:gd name="connsiteX3318" fmla="*/ 4182701 w 12117871"/>
                <a:gd name="connsiteY3318" fmla="*/ 2842288 h 6072780"/>
                <a:gd name="connsiteX3319" fmla="*/ 4199736 w 12117871"/>
                <a:gd name="connsiteY3319" fmla="*/ 2836204 h 6072780"/>
                <a:gd name="connsiteX3320" fmla="*/ 4215934 w 12117871"/>
                <a:gd name="connsiteY3320" fmla="*/ 2829055 h 6072780"/>
                <a:gd name="connsiteX3321" fmla="*/ 4232057 w 12117871"/>
                <a:gd name="connsiteY3321" fmla="*/ 2820234 h 6072780"/>
                <a:gd name="connsiteX3322" fmla="*/ 4248864 w 12117871"/>
                <a:gd name="connsiteY3322" fmla="*/ 2809130 h 6072780"/>
                <a:gd name="connsiteX3323" fmla="*/ 3637267 w 12117871"/>
                <a:gd name="connsiteY3323" fmla="*/ 2809130 h 6072780"/>
                <a:gd name="connsiteX3324" fmla="*/ 3652173 w 12117871"/>
                <a:gd name="connsiteY3324" fmla="*/ 2809130 h 6072780"/>
                <a:gd name="connsiteX3325" fmla="*/ 3652173 w 12117871"/>
                <a:gd name="connsiteY3325" fmla="*/ 3032110 h 6072780"/>
                <a:gd name="connsiteX3326" fmla="*/ 3616885 w 12117871"/>
                <a:gd name="connsiteY3326" fmla="*/ 3032110 h 6072780"/>
                <a:gd name="connsiteX3327" fmla="*/ 3616885 w 12117871"/>
                <a:gd name="connsiteY3327" fmla="*/ 2852327 h 6072780"/>
                <a:gd name="connsiteX3328" fmla="*/ 3596276 w 12117871"/>
                <a:gd name="connsiteY3328" fmla="*/ 2863962 h 6072780"/>
                <a:gd name="connsiteX3329" fmla="*/ 3571102 w 12117871"/>
                <a:gd name="connsiteY3329" fmla="*/ 2872404 h 6072780"/>
                <a:gd name="connsiteX3330" fmla="*/ 3571102 w 12117871"/>
                <a:gd name="connsiteY3330" fmla="*/ 2842288 h 6072780"/>
                <a:gd name="connsiteX3331" fmla="*/ 3588139 w 12117871"/>
                <a:gd name="connsiteY3331" fmla="*/ 2836204 h 6072780"/>
                <a:gd name="connsiteX3332" fmla="*/ 3604337 w 12117871"/>
                <a:gd name="connsiteY3332" fmla="*/ 2829055 h 6072780"/>
                <a:gd name="connsiteX3333" fmla="*/ 3620459 w 12117871"/>
                <a:gd name="connsiteY3333" fmla="*/ 2820234 h 6072780"/>
                <a:gd name="connsiteX3334" fmla="*/ 3637267 w 12117871"/>
                <a:gd name="connsiteY3334" fmla="*/ 2809130 h 6072780"/>
                <a:gd name="connsiteX3335" fmla="*/ 3371159 w 12117871"/>
                <a:gd name="connsiteY3335" fmla="*/ 2809130 h 6072780"/>
                <a:gd name="connsiteX3336" fmla="*/ 3386065 w 12117871"/>
                <a:gd name="connsiteY3336" fmla="*/ 2809130 h 6072780"/>
                <a:gd name="connsiteX3337" fmla="*/ 3386065 w 12117871"/>
                <a:gd name="connsiteY3337" fmla="*/ 3032110 h 6072780"/>
                <a:gd name="connsiteX3338" fmla="*/ 3350777 w 12117871"/>
                <a:gd name="connsiteY3338" fmla="*/ 3032110 h 6072780"/>
                <a:gd name="connsiteX3339" fmla="*/ 3350777 w 12117871"/>
                <a:gd name="connsiteY3339" fmla="*/ 2852327 h 6072780"/>
                <a:gd name="connsiteX3340" fmla="*/ 3330168 w 12117871"/>
                <a:gd name="connsiteY3340" fmla="*/ 2863962 h 6072780"/>
                <a:gd name="connsiteX3341" fmla="*/ 3304995 w 12117871"/>
                <a:gd name="connsiteY3341" fmla="*/ 2872404 h 6072780"/>
                <a:gd name="connsiteX3342" fmla="*/ 3304995 w 12117871"/>
                <a:gd name="connsiteY3342" fmla="*/ 2842288 h 6072780"/>
                <a:gd name="connsiteX3343" fmla="*/ 3322030 w 12117871"/>
                <a:gd name="connsiteY3343" fmla="*/ 2836204 h 6072780"/>
                <a:gd name="connsiteX3344" fmla="*/ 3338229 w 12117871"/>
                <a:gd name="connsiteY3344" fmla="*/ 2829055 h 6072780"/>
                <a:gd name="connsiteX3345" fmla="*/ 3354351 w 12117871"/>
                <a:gd name="connsiteY3345" fmla="*/ 2820234 h 6072780"/>
                <a:gd name="connsiteX3346" fmla="*/ 3371159 w 12117871"/>
                <a:gd name="connsiteY3346" fmla="*/ 2809130 h 6072780"/>
                <a:gd name="connsiteX3347" fmla="*/ 2764812 w 12117871"/>
                <a:gd name="connsiteY3347" fmla="*/ 2809130 h 6072780"/>
                <a:gd name="connsiteX3348" fmla="*/ 2779718 w 12117871"/>
                <a:gd name="connsiteY3348" fmla="*/ 2809130 h 6072780"/>
                <a:gd name="connsiteX3349" fmla="*/ 2779718 w 12117871"/>
                <a:gd name="connsiteY3349" fmla="*/ 3032110 h 6072780"/>
                <a:gd name="connsiteX3350" fmla="*/ 2744430 w 12117871"/>
                <a:gd name="connsiteY3350" fmla="*/ 3032110 h 6072780"/>
                <a:gd name="connsiteX3351" fmla="*/ 2744430 w 12117871"/>
                <a:gd name="connsiteY3351" fmla="*/ 2852327 h 6072780"/>
                <a:gd name="connsiteX3352" fmla="*/ 2723821 w 12117871"/>
                <a:gd name="connsiteY3352" fmla="*/ 2863962 h 6072780"/>
                <a:gd name="connsiteX3353" fmla="*/ 2698648 w 12117871"/>
                <a:gd name="connsiteY3353" fmla="*/ 2872404 h 6072780"/>
                <a:gd name="connsiteX3354" fmla="*/ 2698648 w 12117871"/>
                <a:gd name="connsiteY3354" fmla="*/ 2842288 h 6072780"/>
                <a:gd name="connsiteX3355" fmla="*/ 2715683 w 12117871"/>
                <a:gd name="connsiteY3355" fmla="*/ 2836204 h 6072780"/>
                <a:gd name="connsiteX3356" fmla="*/ 2731882 w 12117871"/>
                <a:gd name="connsiteY3356" fmla="*/ 2829055 h 6072780"/>
                <a:gd name="connsiteX3357" fmla="*/ 2748004 w 12117871"/>
                <a:gd name="connsiteY3357" fmla="*/ 2820234 h 6072780"/>
                <a:gd name="connsiteX3358" fmla="*/ 2764812 w 12117871"/>
                <a:gd name="connsiteY3358" fmla="*/ 2809130 h 6072780"/>
                <a:gd name="connsiteX3359" fmla="*/ 2498704 w 12117871"/>
                <a:gd name="connsiteY3359" fmla="*/ 2809130 h 6072780"/>
                <a:gd name="connsiteX3360" fmla="*/ 2513610 w 12117871"/>
                <a:gd name="connsiteY3360" fmla="*/ 2809130 h 6072780"/>
                <a:gd name="connsiteX3361" fmla="*/ 2513610 w 12117871"/>
                <a:gd name="connsiteY3361" fmla="*/ 3032110 h 6072780"/>
                <a:gd name="connsiteX3362" fmla="*/ 2478322 w 12117871"/>
                <a:gd name="connsiteY3362" fmla="*/ 3032110 h 6072780"/>
                <a:gd name="connsiteX3363" fmla="*/ 2478322 w 12117871"/>
                <a:gd name="connsiteY3363" fmla="*/ 2852327 h 6072780"/>
                <a:gd name="connsiteX3364" fmla="*/ 2457713 w 12117871"/>
                <a:gd name="connsiteY3364" fmla="*/ 2863962 h 6072780"/>
                <a:gd name="connsiteX3365" fmla="*/ 2432540 w 12117871"/>
                <a:gd name="connsiteY3365" fmla="*/ 2872404 h 6072780"/>
                <a:gd name="connsiteX3366" fmla="*/ 2432540 w 12117871"/>
                <a:gd name="connsiteY3366" fmla="*/ 2842288 h 6072780"/>
                <a:gd name="connsiteX3367" fmla="*/ 2449575 w 12117871"/>
                <a:gd name="connsiteY3367" fmla="*/ 2836204 h 6072780"/>
                <a:gd name="connsiteX3368" fmla="*/ 2465774 w 12117871"/>
                <a:gd name="connsiteY3368" fmla="*/ 2829055 h 6072780"/>
                <a:gd name="connsiteX3369" fmla="*/ 2481896 w 12117871"/>
                <a:gd name="connsiteY3369" fmla="*/ 2820234 h 6072780"/>
                <a:gd name="connsiteX3370" fmla="*/ 2498704 w 12117871"/>
                <a:gd name="connsiteY3370" fmla="*/ 2809130 h 6072780"/>
                <a:gd name="connsiteX3371" fmla="*/ 2086937 w 12117871"/>
                <a:gd name="connsiteY3371" fmla="*/ 2809130 h 6072780"/>
                <a:gd name="connsiteX3372" fmla="*/ 2101843 w 12117871"/>
                <a:gd name="connsiteY3372" fmla="*/ 2809130 h 6072780"/>
                <a:gd name="connsiteX3373" fmla="*/ 2101843 w 12117871"/>
                <a:gd name="connsiteY3373" fmla="*/ 3032110 h 6072780"/>
                <a:gd name="connsiteX3374" fmla="*/ 2066555 w 12117871"/>
                <a:gd name="connsiteY3374" fmla="*/ 3032110 h 6072780"/>
                <a:gd name="connsiteX3375" fmla="*/ 2066555 w 12117871"/>
                <a:gd name="connsiteY3375" fmla="*/ 2852327 h 6072780"/>
                <a:gd name="connsiteX3376" fmla="*/ 2045946 w 12117871"/>
                <a:gd name="connsiteY3376" fmla="*/ 2863962 h 6072780"/>
                <a:gd name="connsiteX3377" fmla="*/ 2020773 w 12117871"/>
                <a:gd name="connsiteY3377" fmla="*/ 2872404 h 6072780"/>
                <a:gd name="connsiteX3378" fmla="*/ 2020773 w 12117871"/>
                <a:gd name="connsiteY3378" fmla="*/ 2842288 h 6072780"/>
                <a:gd name="connsiteX3379" fmla="*/ 2037808 w 12117871"/>
                <a:gd name="connsiteY3379" fmla="*/ 2836204 h 6072780"/>
                <a:gd name="connsiteX3380" fmla="*/ 2054007 w 12117871"/>
                <a:gd name="connsiteY3380" fmla="*/ 2829055 h 6072780"/>
                <a:gd name="connsiteX3381" fmla="*/ 2070129 w 12117871"/>
                <a:gd name="connsiteY3381" fmla="*/ 2820234 h 6072780"/>
                <a:gd name="connsiteX3382" fmla="*/ 2086937 w 12117871"/>
                <a:gd name="connsiteY3382" fmla="*/ 2809130 h 6072780"/>
                <a:gd name="connsiteX3383" fmla="*/ 1953883 w 12117871"/>
                <a:gd name="connsiteY3383" fmla="*/ 2809130 h 6072780"/>
                <a:gd name="connsiteX3384" fmla="*/ 1968789 w 12117871"/>
                <a:gd name="connsiteY3384" fmla="*/ 2809130 h 6072780"/>
                <a:gd name="connsiteX3385" fmla="*/ 1968789 w 12117871"/>
                <a:gd name="connsiteY3385" fmla="*/ 3032110 h 6072780"/>
                <a:gd name="connsiteX3386" fmla="*/ 1933501 w 12117871"/>
                <a:gd name="connsiteY3386" fmla="*/ 3032110 h 6072780"/>
                <a:gd name="connsiteX3387" fmla="*/ 1933501 w 12117871"/>
                <a:gd name="connsiteY3387" fmla="*/ 2852327 h 6072780"/>
                <a:gd name="connsiteX3388" fmla="*/ 1912892 w 12117871"/>
                <a:gd name="connsiteY3388" fmla="*/ 2863962 h 6072780"/>
                <a:gd name="connsiteX3389" fmla="*/ 1887719 w 12117871"/>
                <a:gd name="connsiteY3389" fmla="*/ 2872404 h 6072780"/>
                <a:gd name="connsiteX3390" fmla="*/ 1887719 w 12117871"/>
                <a:gd name="connsiteY3390" fmla="*/ 2842288 h 6072780"/>
                <a:gd name="connsiteX3391" fmla="*/ 1904754 w 12117871"/>
                <a:gd name="connsiteY3391" fmla="*/ 2836204 h 6072780"/>
                <a:gd name="connsiteX3392" fmla="*/ 1920953 w 12117871"/>
                <a:gd name="connsiteY3392" fmla="*/ 2829055 h 6072780"/>
                <a:gd name="connsiteX3393" fmla="*/ 1937075 w 12117871"/>
                <a:gd name="connsiteY3393" fmla="*/ 2820234 h 6072780"/>
                <a:gd name="connsiteX3394" fmla="*/ 1953883 w 12117871"/>
                <a:gd name="connsiteY3394" fmla="*/ 2809130 h 6072780"/>
                <a:gd name="connsiteX3395" fmla="*/ 1820829 w 12117871"/>
                <a:gd name="connsiteY3395" fmla="*/ 2809130 h 6072780"/>
                <a:gd name="connsiteX3396" fmla="*/ 1835735 w 12117871"/>
                <a:gd name="connsiteY3396" fmla="*/ 2809130 h 6072780"/>
                <a:gd name="connsiteX3397" fmla="*/ 1835735 w 12117871"/>
                <a:gd name="connsiteY3397" fmla="*/ 3032110 h 6072780"/>
                <a:gd name="connsiteX3398" fmla="*/ 1800447 w 12117871"/>
                <a:gd name="connsiteY3398" fmla="*/ 3032110 h 6072780"/>
                <a:gd name="connsiteX3399" fmla="*/ 1800447 w 12117871"/>
                <a:gd name="connsiteY3399" fmla="*/ 2852327 h 6072780"/>
                <a:gd name="connsiteX3400" fmla="*/ 1779838 w 12117871"/>
                <a:gd name="connsiteY3400" fmla="*/ 2863962 h 6072780"/>
                <a:gd name="connsiteX3401" fmla="*/ 1754665 w 12117871"/>
                <a:gd name="connsiteY3401" fmla="*/ 2872404 h 6072780"/>
                <a:gd name="connsiteX3402" fmla="*/ 1754665 w 12117871"/>
                <a:gd name="connsiteY3402" fmla="*/ 2842288 h 6072780"/>
                <a:gd name="connsiteX3403" fmla="*/ 1771700 w 12117871"/>
                <a:gd name="connsiteY3403" fmla="*/ 2836204 h 6072780"/>
                <a:gd name="connsiteX3404" fmla="*/ 1787899 w 12117871"/>
                <a:gd name="connsiteY3404" fmla="*/ 2829055 h 6072780"/>
                <a:gd name="connsiteX3405" fmla="*/ 1804022 w 12117871"/>
                <a:gd name="connsiteY3405" fmla="*/ 2820234 h 6072780"/>
                <a:gd name="connsiteX3406" fmla="*/ 1820829 w 12117871"/>
                <a:gd name="connsiteY3406" fmla="*/ 2809130 h 6072780"/>
                <a:gd name="connsiteX3407" fmla="*/ 1678217 w 12117871"/>
                <a:gd name="connsiteY3407" fmla="*/ 2809130 h 6072780"/>
                <a:gd name="connsiteX3408" fmla="*/ 1693123 w 12117871"/>
                <a:gd name="connsiteY3408" fmla="*/ 2809130 h 6072780"/>
                <a:gd name="connsiteX3409" fmla="*/ 1693123 w 12117871"/>
                <a:gd name="connsiteY3409" fmla="*/ 3032110 h 6072780"/>
                <a:gd name="connsiteX3410" fmla="*/ 1657835 w 12117871"/>
                <a:gd name="connsiteY3410" fmla="*/ 3032110 h 6072780"/>
                <a:gd name="connsiteX3411" fmla="*/ 1657835 w 12117871"/>
                <a:gd name="connsiteY3411" fmla="*/ 2852327 h 6072780"/>
                <a:gd name="connsiteX3412" fmla="*/ 1637226 w 12117871"/>
                <a:gd name="connsiteY3412" fmla="*/ 2863962 h 6072780"/>
                <a:gd name="connsiteX3413" fmla="*/ 1612053 w 12117871"/>
                <a:gd name="connsiteY3413" fmla="*/ 2872404 h 6072780"/>
                <a:gd name="connsiteX3414" fmla="*/ 1612053 w 12117871"/>
                <a:gd name="connsiteY3414" fmla="*/ 2842288 h 6072780"/>
                <a:gd name="connsiteX3415" fmla="*/ 1629088 w 12117871"/>
                <a:gd name="connsiteY3415" fmla="*/ 2836204 h 6072780"/>
                <a:gd name="connsiteX3416" fmla="*/ 1645287 w 12117871"/>
                <a:gd name="connsiteY3416" fmla="*/ 2829055 h 6072780"/>
                <a:gd name="connsiteX3417" fmla="*/ 1661410 w 12117871"/>
                <a:gd name="connsiteY3417" fmla="*/ 2820234 h 6072780"/>
                <a:gd name="connsiteX3418" fmla="*/ 1678217 w 12117871"/>
                <a:gd name="connsiteY3418" fmla="*/ 2809130 h 6072780"/>
                <a:gd name="connsiteX3419" fmla="*/ 922825 w 12117871"/>
                <a:gd name="connsiteY3419" fmla="*/ 2809130 h 6072780"/>
                <a:gd name="connsiteX3420" fmla="*/ 937731 w 12117871"/>
                <a:gd name="connsiteY3420" fmla="*/ 2809130 h 6072780"/>
                <a:gd name="connsiteX3421" fmla="*/ 937731 w 12117871"/>
                <a:gd name="connsiteY3421" fmla="*/ 3032110 h 6072780"/>
                <a:gd name="connsiteX3422" fmla="*/ 902443 w 12117871"/>
                <a:gd name="connsiteY3422" fmla="*/ 3032110 h 6072780"/>
                <a:gd name="connsiteX3423" fmla="*/ 902443 w 12117871"/>
                <a:gd name="connsiteY3423" fmla="*/ 2852327 h 6072780"/>
                <a:gd name="connsiteX3424" fmla="*/ 881834 w 12117871"/>
                <a:gd name="connsiteY3424" fmla="*/ 2863962 h 6072780"/>
                <a:gd name="connsiteX3425" fmla="*/ 856661 w 12117871"/>
                <a:gd name="connsiteY3425" fmla="*/ 2872404 h 6072780"/>
                <a:gd name="connsiteX3426" fmla="*/ 856661 w 12117871"/>
                <a:gd name="connsiteY3426" fmla="*/ 2842288 h 6072780"/>
                <a:gd name="connsiteX3427" fmla="*/ 873696 w 12117871"/>
                <a:gd name="connsiteY3427" fmla="*/ 2836204 h 6072780"/>
                <a:gd name="connsiteX3428" fmla="*/ 889895 w 12117871"/>
                <a:gd name="connsiteY3428" fmla="*/ 2829055 h 6072780"/>
                <a:gd name="connsiteX3429" fmla="*/ 906018 w 12117871"/>
                <a:gd name="connsiteY3429" fmla="*/ 2820234 h 6072780"/>
                <a:gd name="connsiteX3430" fmla="*/ 922825 w 12117871"/>
                <a:gd name="connsiteY3430" fmla="*/ 2809130 h 6072780"/>
                <a:gd name="connsiteX3431" fmla="*/ 789771 w 12117871"/>
                <a:gd name="connsiteY3431" fmla="*/ 2809130 h 6072780"/>
                <a:gd name="connsiteX3432" fmla="*/ 804677 w 12117871"/>
                <a:gd name="connsiteY3432" fmla="*/ 2809130 h 6072780"/>
                <a:gd name="connsiteX3433" fmla="*/ 804677 w 12117871"/>
                <a:gd name="connsiteY3433" fmla="*/ 3032110 h 6072780"/>
                <a:gd name="connsiteX3434" fmla="*/ 769389 w 12117871"/>
                <a:gd name="connsiteY3434" fmla="*/ 3032110 h 6072780"/>
                <a:gd name="connsiteX3435" fmla="*/ 769389 w 12117871"/>
                <a:gd name="connsiteY3435" fmla="*/ 2852327 h 6072780"/>
                <a:gd name="connsiteX3436" fmla="*/ 748780 w 12117871"/>
                <a:gd name="connsiteY3436" fmla="*/ 2863962 h 6072780"/>
                <a:gd name="connsiteX3437" fmla="*/ 723607 w 12117871"/>
                <a:gd name="connsiteY3437" fmla="*/ 2872404 h 6072780"/>
                <a:gd name="connsiteX3438" fmla="*/ 723607 w 12117871"/>
                <a:gd name="connsiteY3438" fmla="*/ 2842288 h 6072780"/>
                <a:gd name="connsiteX3439" fmla="*/ 740642 w 12117871"/>
                <a:gd name="connsiteY3439" fmla="*/ 2836204 h 6072780"/>
                <a:gd name="connsiteX3440" fmla="*/ 756841 w 12117871"/>
                <a:gd name="connsiteY3440" fmla="*/ 2829055 h 6072780"/>
                <a:gd name="connsiteX3441" fmla="*/ 772964 w 12117871"/>
                <a:gd name="connsiteY3441" fmla="*/ 2820234 h 6072780"/>
                <a:gd name="connsiteX3442" fmla="*/ 789771 w 12117871"/>
                <a:gd name="connsiteY3442" fmla="*/ 2809130 h 6072780"/>
                <a:gd name="connsiteX3443" fmla="*/ 10091849 w 12117871"/>
                <a:gd name="connsiteY3443" fmla="*/ 2809129 h 6072780"/>
                <a:gd name="connsiteX3444" fmla="*/ 10163016 w 12117871"/>
                <a:gd name="connsiteY3444" fmla="*/ 2919717 h 6072780"/>
                <a:gd name="connsiteX3445" fmla="*/ 10142930 w 12117871"/>
                <a:gd name="connsiteY3445" fmla="*/ 3003296 h 6072780"/>
                <a:gd name="connsiteX3446" fmla="*/ 10086733 w 12117871"/>
                <a:gd name="connsiteY3446" fmla="*/ 3032109 h 6072780"/>
                <a:gd name="connsiteX3447" fmla="*/ 10034148 w 12117871"/>
                <a:gd name="connsiteY3447" fmla="*/ 3004575 h 6072780"/>
                <a:gd name="connsiteX3448" fmla="*/ 10015265 w 12117871"/>
                <a:gd name="connsiteY3448" fmla="*/ 2924983 h 6072780"/>
                <a:gd name="connsiteX3449" fmla="*/ 10034975 w 12117871"/>
                <a:gd name="connsiteY3449" fmla="*/ 2838469 h 6072780"/>
                <a:gd name="connsiteX3450" fmla="*/ 10091849 w 12117871"/>
                <a:gd name="connsiteY3450" fmla="*/ 2809129 h 6072780"/>
                <a:gd name="connsiteX3451" fmla="*/ 9870926 w 12117871"/>
                <a:gd name="connsiteY3451" fmla="*/ 2809129 h 6072780"/>
                <a:gd name="connsiteX3452" fmla="*/ 9942093 w 12117871"/>
                <a:gd name="connsiteY3452" fmla="*/ 2919717 h 6072780"/>
                <a:gd name="connsiteX3453" fmla="*/ 9922007 w 12117871"/>
                <a:gd name="connsiteY3453" fmla="*/ 3003296 h 6072780"/>
                <a:gd name="connsiteX3454" fmla="*/ 9865810 w 12117871"/>
                <a:gd name="connsiteY3454" fmla="*/ 3032109 h 6072780"/>
                <a:gd name="connsiteX3455" fmla="*/ 9813225 w 12117871"/>
                <a:gd name="connsiteY3455" fmla="*/ 3004575 h 6072780"/>
                <a:gd name="connsiteX3456" fmla="*/ 9794342 w 12117871"/>
                <a:gd name="connsiteY3456" fmla="*/ 2924983 h 6072780"/>
                <a:gd name="connsiteX3457" fmla="*/ 9814052 w 12117871"/>
                <a:gd name="connsiteY3457" fmla="*/ 2838469 h 6072780"/>
                <a:gd name="connsiteX3458" fmla="*/ 9870926 w 12117871"/>
                <a:gd name="connsiteY3458" fmla="*/ 2809129 h 6072780"/>
                <a:gd name="connsiteX3459" fmla="*/ 9209265 w 12117871"/>
                <a:gd name="connsiteY3459" fmla="*/ 2809129 h 6072780"/>
                <a:gd name="connsiteX3460" fmla="*/ 9280432 w 12117871"/>
                <a:gd name="connsiteY3460" fmla="*/ 2919717 h 6072780"/>
                <a:gd name="connsiteX3461" fmla="*/ 9260346 w 12117871"/>
                <a:gd name="connsiteY3461" fmla="*/ 3003296 h 6072780"/>
                <a:gd name="connsiteX3462" fmla="*/ 9204149 w 12117871"/>
                <a:gd name="connsiteY3462" fmla="*/ 3032109 h 6072780"/>
                <a:gd name="connsiteX3463" fmla="*/ 9151564 w 12117871"/>
                <a:gd name="connsiteY3463" fmla="*/ 3004575 h 6072780"/>
                <a:gd name="connsiteX3464" fmla="*/ 9132681 w 12117871"/>
                <a:gd name="connsiteY3464" fmla="*/ 2924983 h 6072780"/>
                <a:gd name="connsiteX3465" fmla="*/ 9152391 w 12117871"/>
                <a:gd name="connsiteY3465" fmla="*/ 2838469 h 6072780"/>
                <a:gd name="connsiteX3466" fmla="*/ 9209265 w 12117871"/>
                <a:gd name="connsiteY3466" fmla="*/ 2809129 h 6072780"/>
                <a:gd name="connsiteX3467" fmla="*/ 8988342 w 12117871"/>
                <a:gd name="connsiteY3467" fmla="*/ 2809129 h 6072780"/>
                <a:gd name="connsiteX3468" fmla="*/ 9059509 w 12117871"/>
                <a:gd name="connsiteY3468" fmla="*/ 2919717 h 6072780"/>
                <a:gd name="connsiteX3469" fmla="*/ 9039423 w 12117871"/>
                <a:gd name="connsiteY3469" fmla="*/ 3003296 h 6072780"/>
                <a:gd name="connsiteX3470" fmla="*/ 8983226 w 12117871"/>
                <a:gd name="connsiteY3470" fmla="*/ 3032109 h 6072780"/>
                <a:gd name="connsiteX3471" fmla="*/ 8930641 w 12117871"/>
                <a:gd name="connsiteY3471" fmla="*/ 3004575 h 6072780"/>
                <a:gd name="connsiteX3472" fmla="*/ 8911758 w 12117871"/>
                <a:gd name="connsiteY3472" fmla="*/ 2924983 h 6072780"/>
                <a:gd name="connsiteX3473" fmla="*/ 8931468 w 12117871"/>
                <a:gd name="connsiteY3473" fmla="*/ 2838469 h 6072780"/>
                <a:gd name="connsiteX3474" fmla="*/ 8988342 w 12117871"/>
                <a:gd name="connsiteY3474" fmla="*/ 2809129 h 6072780"/>
                <a:gd name="connsiteX3475" fmla="*/ 6138880 w 12117871"/>
                <a:gd name="connsiteY3475" fmla="*/ 2809129 h 6072780"/>
                <a:gd name="connsiteX3476" fmla="*/ 6210047 w 12117871"/>
                <a:gd name="connsiteY3476" fmla="*/ 2919717 h 6072780"/>
                <a:gd name="connsiteX3477" fmla="*/ 6189961 w 12117871"/>
                <a:gd name="connsiteY3477" fmla="*/ 3003296 h 6072780"/>
                <a:gd name="connsiteX3478" fmla="*/ 6133764 w 12117871"/>
                <a:gd name="connsiteY3478" fmla="*/ 3032109 h 6072780"/>
                <a:gd name="connsiteX3479" fmla="*/ 6081179 w 12117871"/>
                <a:gd name="connsiteY3479" fmla="*/ 3004575 h 6072780"/>
                <a:gd name="connsiteX3480" fmla="*/ 6062296 w 12117871"/>
                <a:gd name="connsiteY3480" fmla="*/ 2924983 h 6072780"/>
                <a:gd name="connsiteX3481" fmla="*/ 6082006 w 12117871"/>
                <a:gd name="connsiteY3481" fmla="*/ 2838469 h 6072780"/>
                <a:gd name="connsiteX3482" fmla="*/ 6138880 w 12117871"/>
                <a:gd name="connsiteY3482" fmla="*/ 2809129 h 6072780"/>
                <a:gd name="connsiteX3483" fmla="*/ 4035798 w 12117871"/>
                <a:gd name="connsiteY3483" fmla="*/ 2809129 h 6072780"/>
                <a:gd name="connsiteX3484" fmla="*/ 4106965 w 12117871"/>
                <a:gd name="connsiteY3484" fmla="*/ 2919717 h 6072780"/>
                <a:gd name="connsiteX3485" fmla="*/ 4086879 w 12117871"/>
                <a:gd name="connsiteY3485" fmla="*/ 3003296 h 6072780"/>
                <a:gd name="connsiteX3486" fmla="*/ 4030682 w 12117871"/>
                <a:gd name="connsiteY3486" fmla="*/ 3032109 h 6072780"/>
                <a:gd name="connsiteX3487" fmla="*/ 3978097 w 12117871"/>
                <a:gd name="connsiteY3487" fmla="*/ 3004575 h 6072780"/>
                <a:gd name="connsiteX3488" fmla="*/ 3959214 w 12117871"/>
                <a:gd name="connsiteY3488" fmla="*/ 2924983 h 6072780"/>
                <a:gd name="connsiteX3489" fmla="*/ 3978924 w 12117871"/>
                <a:gd name="connsiteY3489" fmla="*/ 2838469 h 6072780"/>
                <a:gd name="connsiteX3490" fmla="*/ 4035798 w 12117871"/>
                <a:gd name="connsiteY3490" fmla="*/ 2809129 h 6072780"/>
                <a:gd name="connsiteX3491" fmla="*/ 3814874 w 12117871"/>
                <a:gd name="connsiteY3491" fmla="*/ 2809129 h 6072780"/>
                <a:gd name="connsiteX3492" fmla="*/ 3886042 w 12117871"/>
                <a:gd name="connsiteY3492" fmla="*/ 2919717 h 6072780"/>
                <a:gd name="connsiteX3493" fmla="*/ 3865956 w 12117871"/>
                <a:gd name="connsiteY3493" fmla="*/ 3003296 h 6072780"/>
                <a:gd name="connsiteX3494" fmla="*/ 3809759 w 12117871"/>
                <a:gd name="connsiteY3494" fmla="*/ 3032109 h 6072780"/>
                <a:gd name="connsiteX3495" fmla="*/ 3757174 w 12117871"/>
                <a:gd name="connsiteY3495" fmla="*/ 3004575 h 6072780"/>
                <a:gd name="connsiteX3496" fmla="*/ 3738291 w 12117871"/>
                <a:gd name="connsiteY3496" fmla="*/ 2924983 h 6072780"/>
                <a:gd name="connsiteX3497" fmla="*/ 3758001 w 12117871"/>
                <a:gd name="connsiteY3497" fmla="*/ 2838469 h 6072780"/>
                <a:gd name="connsiteX3498" fmla="*/ 3814874 w 12117871"/>
                <a:gd name="connsiteY3498" fmla="*/ 2809129 h 6072780"/>
                <a:gd name="connsiteX3499" fmla="*/ 3153215 w 12117871"/>
                <a:gd name="connsiteY3499" fmla="*/ 2809129 h 6072780"/>
                <a:gd name="connsiteX3500" fmla="*/ 3224382 w 12117871"/>
                <a:gd name="connsiteY3500" fmla="*/ 2919717 h 6072780"/>
                <a:gd name="connsiteX3501" fmla="*/ 3204296 w 12117871"/>
                <a:gd name="connsiteY3501" fmla="*/ 3003296 h 6072780"/>
                <a:gd name="connsiteX3502" fmla="*/ 3148099 w 12117871"/>
                <a:gd name="connsiteY3502" fmla="*/ 3032109 h 6072780"/>
                <a:gd name="connsiteX3503" fmla="*/ 3095514 w 12117871"/>
                <a:gd name="connsiteY3503" fmla="*/ 3004575 h 6072780"/>
                <a:gd name="connsiteX3504" fmla="*/ 3076631 w 12117871"/>
                <a:gd name="connsiteY3504" fmla="*/ 2924983 h 6072780"/>
                <a:gd name="connsiteX3505" fmla="*/ 3096341 w 12117871"/>
                <a:gd name="connsiteY3505" fmla="*/ 2838469 h 6072780"/>
                <a:gd name="connsiteX3506" fmla="*/ 3153215 w 12117871"/>
                <a:gd name="connsiteY3506" fmla="*/ 2809129 h 6072780"/>
                <a:gd name="connsiteX3507" fmla="*/ 2932291 w 12117871"/>
                <a:gd name="connsiteY3507" fmla="*/ 2809129 h 6072780"/>
                <a:gd name="connsiteX3508" fmla="*/ 3003459 w 12117871"/>
                <a:gd name="connsiteY3508" fmla="*/ 2919717 h 6072780"/>
                <a:gd name="connsiteX3509" fmla="*/ 2983373 w 12117871"/>
                <a:gd name="connsiteY3509" fmla="*/ 3003296 h 6072780"/>
                <a:gd name="connsiteX3510" fmla="*/ 2927176 w 12117871"/>
                <a:gd name="connsiteY3510" fmla="*/ 3032109 h 6072780"/>
                <a:gd name="connsiteX3511" fmla="*/ 2874591 w 12117871"/>
                <a:gd name="connsiteY3511" fmla="*/ 3004575 h 6072780"/>
                <a:gd name="connsiteX3512" fmla="*/ 2855708 w 12117871"/>
                <a:gd name="connsiteY3512" fmla="*/ 2924983 h 6072780"/>
                <a:gd name="connsiteX3513" fmla="*/ 2875418 w 12117871"/>
                <a:gd name="connsiteY3513" fmla="*/ 2838469 h 6072780"/>
                <a:gd name="connsiteX3514" fmla="*/ 2932291 w 12117871"/>
                <a:gd name="connsiteY3514" fmla="*/ 2809129 h 6072780"/>
                <a:gd name="connsiteX3515" fmla="*/ 79694 w 12117871"/>
                <a:gd name="connsiteY3515" fmla="*/ 2807119 h 6072780"/>
                <a:gd name="connsiteX3516" fmla="*/ 150861 w 12117871"/>
                <a:gd name="connsiteY3516" fmla="*/ 2917707 h 6072780"/>
                <a:gd name="connsiteX3517" fmla="*/ 130775 w 12117871"/>
                <a:gd name="connsiteY3517" fmla="*/ 3001286 h 6072780"/>
                <a:gd name="connsiteX3518" fmla="*/ 74578 w 12117871"/>
                <a:gd name="connsiteY3518" fmla="*/ 3030099 h 6072780"/>
                <a:gd name="connsiteX3519" fmla="*/ 21993 w 12117871"/>
                <a:gd name="connsiteY3519" fmla="*/ 3002565 h 6072780"/>
                <a:gd name="connsiteX3520" fmla="*/ 3110 w 12117871"/>
                <a:gd name="connsiteY3520" fmla="*/ 2922973 h 6072780"/>
                <a:gd name="connsiteX3521" fmla="*/ 22820 w 12117871"/>
                <a:gd name="connsiteY3521" fmla="*/ 2836459 h 6072780"/>
                <a:gd name="connsiteX3522" fmla="*/ 79694 w 12117871"/>
                <a:gd name="connsiteY3522" fmla="*/ 2807119 h 6072780"/>
                <a:gd name="connsiteX3523" fmla="*/ 9131180 w 12117871"/>
                <a:gd name="connsiteY3523" fmla="*/ 2508571 h 6072780"/>
                <a:gd name="connsiteX3524" fmla="*/ 9091910 w 12117871"/>
                <a:gd name="connsiteY3524" fmla="*/ 2595085 h 6072780"/>
                <a:gd name="connsiteX3525" fmla="*/ 9130428 w 12117871"/>
                <a:gd name="connsiteY3525" fmla="*/ 2676032 h 6072780"/>
                <a:gd name="connsiteX3526" fmla="*/ 9168343 w 12117871"/>
                <a:gd name="connsiteY3526" fmla="*/ 2593731 h 6072780"/>
                <a:gd name="connsiteX3527" fmla="*/ 9131180 w 12117871"/>
                <a:gd name="connsiteY3527" fmla="*/ 2508571 h 6072780"/>
                <a:gd name="connsiteX3528" fmla="*/ 8789423 w 12117871"/>
                <a:gd name="connsiteY3528" fmla="*/ 2508571 h 6072780"/>
                <a:gd name="connsiteX3529" fmla="*/ 8750153 w 12117871"/>
                <a:gd name="connsiteY3529" fmla="*/ 2595085 h 6072780"/>
                <a:gd name="connsiteX3530" fmla="*/ 8788671 w 12117871"/>
                <a:gd name="connsiteY3530" fmla="*/ 2676032 h 6072780"/>
                <a:gd name="connsiteX3531" fmla="*/ 8826586 w 12117871"/>
                <a:gd name="connsiteY3531" fmla="*/ 2593731 h 6072780"/>
                <a:gd name="connsiteX3532" fmla="*/ 8789423 w 12117871"/>
                <a:gd name="connsiteY3532" fmla="*/ 2508571 h 6072780"/>
                <a:gd name="connsiteX3533" fmla="*/ 8088021 w 12117871"/>
                <a:gd name="connsiteY3533" fmla="*/ 2508571 h 6072780"/>
                <a:gd name="connsiteX3534" fmla="*/ 8048751 w 12117871"/>
                <a:gd name="connsiteY3534" fmla="*/ 2595085 h 6072780"/>
                <a:gd name="connsiteX3535" fmla="*/ 8087269 w 12117871"/>
                <a:gd name="connsiteY3535" fmla="*/ 2676032 h 6072780"/>
                <a:gd name="connsiteX3536" fmla="*/ 8125184 w 12117871"/>
                <a:gd name="connsiteY3536" fmla="*/ 2593731 h 6072780"/>
                <a:gd name="connsiteX3537" fmla="*/ 8088021 w 12117871"/>
                <a:gd name="connsiteY3537" fmla="*/ 2508571 h 6072780"/>
                <a:gd name="connsiteX3538" fmla="*/ 6829532 w 12117871"/>
                <a:gd name="connsiteY3538" fmla="*/ 2508571 h 6072780"/>
                <a:gd name="connsiteX3539" fmla="*/ 6790262 w 12117871"/>
                <a:gd name="connsiteY3539" fmla="*/ 2595085 h 6072780"/>
                <a:gd name="connsiteX3540" fmla="*/ 6828780 w 12117871"/>
                <a:gd name="connsiteY3540" fmla="*/ 2676032 h 6072780"/>
                <a:gd name="connsiteX3541" fmla="*/ 6866695 w 12117871"/>
                <a:gd name="connsiteY3541" fmla="*/ 2593731 h 6072780"/>
                <a:gd name="connsiteX3542" fmla="*/ 6829532 w 12117871"/>
                <a:gd name="connsiteY3542" fmla="*/ 2508571 h 6072780"/>
                <a:gd name="connsiteX3543" fmla="*/ 6616438 w 12117871"/>
                <a:gd name="connsiteY3543" fmla="*/ 2508571 h 6072780"/>
                <a:gd name="connsiteX3544" fmla="*/ 6577168 w 12117871"/>
                <a:gd name="connsiteY3544" fmla="*/ 2595085 h 6072780"/>
                <a:gd name="connsiteX3545" fmla="*/ 6615686 w 12117871"/>
                <a:gd name="connsiteY3545" fmla="*/ 2676032 h 6072780"/>
                <a:gd name="connsiteX3546" fmla="*/ 6653601 w 12117871"/>
                <a:gd name="connsiteY3546" fmla="*/ 2593731 h 6072780"/>
                <a:gd name="connsiteX3547" fmla="*/ 6616438 w 12117871"/>
                <a:gd name="connsiteY3547" fmla="*/ 2508571 h 6072780"/>
                <a:gd name="connsiteX3548" fmla="*/ 3070764 w 12117871"/>
                <a:gd name="connsiteY3548" fmla="*/ 2508571 h 6072780"/>
                <a:gd name="connsiteX3549" fmla="*/ 3031494 w 12117871"/>
                <a:gd name="connsiteY3549" fmla="*/ 2595085 h 6072780"/>
                <a:gd name="connsiteX3550" fmla="*/ 3070012 w 12117871"/>
                <a:gd name="connsiteY3550" fmla="*/ 2676032 h 6072780"/>
                <a:gd name="connsiteX3551" fmla="*/ 3107927 w 12117871"/>
                <a:gd name="connsiteY3551" fmla="*/ 2593731 h 6072780"/>
                <a:gd name="connsiteX3552" fmla="*/ 3070764 w 12117871"/>
                <a:gd name="connsiteY3552" fmla="*/ 2508571 h 6072780"/>
                <a:gd name="connsiteX3553" fmla="*/ 2723961 w 12117871"/>
                <a:gd name="connsiteY3553" fmla="*/ 2508571 h 6072780"/>
                <a:gd name="connsiteX3554" fmla="*/ 2684691 w 12117871"/>
                <a:gd name="connsiteY3554" fmla="*/ 2595085 h 6072780"/>
                <a:gd name="connsiteX3555" fmla="*/ 2723209 w 12117871"/>
                <a:gd name="connsiteY3555" fmla="*/ 2676032 h 6072780"/>
                <a:gd name="connsiteX3556" fmla="*/ 2761124 w 12117871"/>
                <a:gd name="connsiteY3556" fmla="*/ 2593731 h 6072780"/>
                <a:gd name="connsiteX3557" fmla="*/ 2723961 w 12117871"/>
                <a:gd name="connsiteY3557" fmla="*/ 2508571 h 6072780"/>
                <a:gd name="connsiteX3558" fmla="*/ 2032595 w 12117871"/>
                <a:gd name="connsiteY3558" fmla="*/ 2508571 h 6072780"/>
                <a:gd name="connsiteX3559" fmla="*/ 1993326 w 12117871"/>
                <a:gd name="connsiteY3559" fmla="*/ 2595085 h 6072780"/>
                <a:gd name="connsiteX3560" fmla="*/ 2031843 w 12117871"/>
                <a:gd name="connsiteY3560" fmla="*/ 2676032 h 6072780"/>
                <a:gd name="connsiteX3561" fmla="*/ 2069759 w 12117871"/>
                <a:gd name="connsiteY3561" fmla="*/ 2593731 h 6072780"/>
                <a:gd name="connsiteX3562" fmla="*/ 2032595 w 12117871"/>
                <a:gd name="connsiteY3562" fmla="*/ 2508571 h 6072780"/>
                <a:gd name="connsiteX3563" fmla="*/ 777389 w 12117871"/>
                <a:gd name="connsiteY3563" fmla="*/ 2508571 h 6072780"/>
                <a:gd name="connsiteX3564" fmla="*/ 738119 w 12117871"/>
                <a:gd name="connsiteY3564" fmla="*/ 2595085 h 6072780"/>
                <a:gd name="connsiteX3565" fmla="*/ 776637 w 12117871"/>
                <a:gd name="connsiteY3565" fmla="*/ 2676032 h 6072780"/>
                <a:gd name="connsiteX3566" fmla="*/ 814552 w 12117871"/>
                <a:gd name="connsiteY3566" fmla="*/ 2593731 h 6072780"/>
                <a:gd name="connsiteX3567" fmla="*/ 777389 w 12117871"/>
                <a:gd name="connsiteY3567" fmla="*/ 2508571 h 6072780"/>
                <a:gd name="connsiteX3568" fmla="*/ 556789 w 12117871"/>
                <a:gd name="connsiteY3568" fmla="*/ 2508571 h 6072780"/>
                <a:gd name="connsiteX3569" fmla="*/ 517519 w 12117871"/>
                <a:gd name="connsiteY3569" fmla="*/ 2595085 h 6072780"/>
                <a:gd name="connsiteX3570" fmla="*/ 556037 w 12117871"/>
                <a:gd name="connsiteY3570" fmla="*/ 2676032 h 6072780"/>
                <a:gd name="connsiteX3571" fmla="*/ 593952 w 12117871"/>
                <a:gd name="connsiteY3571" fmla="*/ 2593731 h 6072780"/>
                <a:gd name="connsiteX3572" fmla="*/ 556789 w 12117871"/>
                <a:gd name="connsiteY3572" fmla="*/ 2508571 h 6072780"/>
                <a:gd name="connsiteX3573" fmla="*/ 12035876 w 12117871"/>
                <a:gd name="connsiteY3573" fmla="*/ 2480736 h 6072780"/>
                <a:gd name="connsiteX3574" fmla="*/ 12050782 w 12117871"/>
                <a:gd name="connsiteY3574" fmla="*/ 2480736 h 6072780"/>
                <a:gd name="connsiteX3575" fmla="*/ 12050782 w 12117871"/>
                <a:gd name="connsiteY3575" fmla="*/ 2703716 h 6072780"/>
                <a:gd name="connsiteX3576" fmla="*/ 12015494 w 12117871"/>
                <a:gd name="connsiteY3576" fmla="*/ 2703716 h 6072780"/>
                <a:gd name="connsiteX3577" fmla="*/ 12015494 w 12117871"/>
                <a:gd name="connsiteY3577" fmla="*/ 2523933 h 6072780"/>
                <a:gd name="connsiteX3578" fmla="*/ 11994885 w 12117871"/>
                <a:gd name="connsiteY3578" fmla="*/ 2535568 h 6072780"/>
                <a:gd name="connsiteX3579" fmla="*/ 11969712 w 12117871"/>
                <a:gd name="connsiteY3579" fmla="*/ 2544010 h 6072780"/>
                <a:gd name="connsiteX3580" fmla="*/ 11969712 w 12117871"/>
                <a:gd name="connsiteY3580" fmla="*/ 2513894 h 6072780"/>
                <a:gd name="connsiteX3581" fmla="*/ 11986747 w 12117871"/>
                <a:gd name="connsiteY3581" fmla="*/ 2507810 h 6072780"/>
                <a:gd name="connsiteX3582" fmla="*/ 12002946 w 12117871"/>
                <a:gd name="connsiteY3582" fmla="*/ 2500661 h 6072780"/>
                <a:gd name="connsiteX3583" fmla="*/ 12019069 w 12117871"/>
                <a:gd name="connsiteY3583" fmla="*/ 2491839 h 6072780"/>
                <a:gd name="connsiteX3584" fmla="*/ 12035876 w 12117871"/>
                <a:gd name="connsiteY3584" fmla="*/ 2480736 h 6072780"/>
                <a:gd name="connsiteX3585" fmla="*/ 11663311 w 12117871"/>
                <a:gd name="connsiteY3585" fmla="*/ 2480736 h 6072780"/>
                <a:gd name="connsiteX3586" fmla="*/ 11678217 w 12117871"/>
                <a:gd name="connsiteY3586" fmla="*/ 2480736 h 6072780"/>
                <a:gd name="connsiteX3587" fmla="*/ 11678217 w 12117871"/>
                <a:gd name="connsiteY3587" fmla="*/ 2703716 h 6072780"/>
                <a:gd name="connsiteX3588" fmla="*/ 11642929 w 12117871"/>
                <a:gd name="connsiteY3588" fmla="*/ 2703716 h 6072780"/>
                <a:gd name="connsiteX3589" fmla="*/ 11642929 w 12117871"/>
                <a:gd name="connsiteY3589" fmla="*/ 2523933 h 6072780"/>
                <a:gd name="connsiteX3590" fmla="*/ 11622320 w 12117871"/>
                <a:gd name="connsiteY3590" fmla="*/ 2535568 h 6072780"/>
                <a:gd name="connsiteX3591" fmla="*/ 11597147 w 12117871"/>
                <a:gd name="connsiteY3591" fmla="*/ 2544010 h 6072780"/>
                <a:gd name="connsiteX3592" fmla="*/ 11597147 w 12117871"/>
                <a:gd name="connsiteY3592" fmla="*/ 2513894 h 6072780"/>
                <a:gd name="connsiteX3593" fmla="*/ 11614182 w 12117871"/>
                <a:gd name="connsiteY3593" fmla="*/ 2507810 h 6072780"/>
                <a:gd name="connsiteX3594" fmla="*/ 11630381 w 12117871"/>
                <a:gd name="connsiteY3594" fmla="*/ 2500661 h 6072780"/>
                <a:gd name="connsiteX3595" fmla="*/ 11646504 w 12117871"/>
                <a:gd name="connsiteY3595" fmla="*/ 2491839 h 6072780"/>
                <a:gd name="connsiteX3596" fmla="*/ 11663311 w 12117871"/>
                <a:gd name="connsiteY3596" fmla="*/ 2480736 h 6072780"/>
                <a:gd name="connsiteX3597" fmla="*/ 11513338 w 12117871"/>
                <a:gd name="connsiteY3597" fmla="*/ 2480736 h 6072780"/>
                <a:gd name="connsiteX3598" fmla="*/ 11528244 w 12117871"/>
                <a:gd name="connsiteY3598" fmla="*/ 2480736 h 6072780"/>
                <a:gd name="connsiteX3599" fmla="*/ 11528244 w 12117871"/>
                <a:gd name="connsiteY3599" fmla="*/ 2703716 h 6072780"/>
                <a:gd name="connsiteX3600" fmla="*/ 11492956 w 12117871"/>
                <a:gd name="connsiteY3600" fmla="*/ 2703716 h 6072780"/>
                <a:gd name="connsiteX3601" fmla="*/ 11492956 w 12117871"/>
                <a:gd name="connsiteY3601" fmla="*/ 2523933 h 6072780"/>
                <a:gd name="connsiteX3602" fmla="*/ 11472347 w 12117871"/>
                <a:gd name="connsiteY3602" fmla="*/ 2535568 h 6072780"/>
                <a:gd name="connsiteX3603" fmla="*/ 11447174 w 12117871"/>
                <a:gd name="connsiteY3603" fmla="*/ 2544010 h 6072780"/>
                <a:gd name="connsiteX3604" fmla="*/ 11447174 w 12117871"/>
                <a:gd name="connsiteY3604" fmla="*/ 2513894 h 6072780"/>
                <a:gd name="connsiteX3605" fmla="*/ 11464209 w 12117871"/>
                <a:gd name="connsiteY3605" fmla="*/ 2507810 h 6072780"/>
                <a:gd name="connsiteX3606" fmla="*/ 11480408 w 12117871"/>
                <a:gd name="connsiteY3606" fmla="*/ 2500661 h 6072780"/>
                <a:gd name="connsiteX3607" fmla="*/ 11496531 w 12117871"/>
                <a:gd name="connsiteY3607" fmla="*/ 2491839 h 6072780"/>
                <a:gd name="connsiteX3608" fmla="*/ 11513338 w 12117871"/>
                <a:gd name="connsiteY3608" fmla="*/ 2480736 h 6072780"/>
                <a:gd name="connsiteX3609" fmla="*/ 11363365 w 12117871"/>
                <a:gd name="connsiteY3609" fmla="*/ 2480736 h 6072780"/>
                <a:gd name="connsiteX3610" fmla="*/ 11378271 w 12117871"/>
                <a:gd name="connsiteY3610" fmla="*/ 2480736 h 6072780"/>
                <a:gd name="connsiteX3611" fmla="*/ 11378271 w 12117871"/>
                <a:gd name="connsiteY3611" fmla="*/ 2703716 h 6072780"/>
                <a:gd name="connsiteX3612" fmla="*/ 11342983 w 12117871"/>
                <a:gd name="connsiteY3612" fmla="*/ 2703716 h 6072780"/>
                <a:gd name="connsiteX3613" fmla="*/ 11342983 w 12117871"/>
                <a:gd name="connsiteY3613" fmla="*/ 2523933 h 6072780"/>
                <a:gd name="connsiteX3614" fmla="*/ 11322374 w 12117871"/>
                <a:gd name="connsiteY3614" fmla="*/ 2535568 h 6072780"/>
                <a:gd name="connsiteX3615" fmla="*/ 11297201 w 12117871"/>
                <a:gd name="connsiteY3615" fmla="*/ 2544010 h 6072780"/>
                <a:gd name="connsiteX3616" fmla="*/ 11297201 w 12117871"/>
                <a:gd name="connsiteY3616" fmla="*/ 2513894 h 6072780"/>
                <a:gd name="connsiteX3617" fmla="*/ 11314236 w 12117871"/>
                <a:gd name="connsiteY3617" fmla="*/ 2507810 h 6072780"/>
                <a:gd name="connsiteX3618" fmla="*/ 11330435 w 12117871"/>
                <a:gd name="connsiteY3618" fmla="*/ 2500661 h 6072780"/>
                <a:gd name="connsiteX3619" fmla="*/ 11346558 w 12117871"/>
                <a:gd name="connsiteY3619" fmla="*/ 2491839 h 6072780"/>
                <a:gd name="connsiteX3620" fmla="*/ 11363365 w 12117871"/>
                <a:gd name="connsiteY3620" fmla="*/ 2480736 h 6072780"/>
                <a:gd name="connsiteX3621" fmla="*/ 10620407 w 12117871"/>
                <a:gd name="connsiteY3621" fmla="*/ 2480736 h 6072780"/>
                <a:gd name="connsiteX3622" fmla="*/ 10635313 w 12117871"/>
                <a:gd name="connsiteY3622" fmla="*/ 2480736 h 6072780"/>
                <a:gd name="connsiteX3623" fmla="*/ 10635313 w 12117871"/>
                <a:gd name="connsiteY3623" fmla="*/ 2703716 h 6072780"/>
                <a:gd name="connsiteX3624" fmla="*/ 10600025 w 12117871"/>
                <a:gd name="connsiteY3624" fmla="*/ 2703716 h 6072780"/>
                <a:gd name="connsiteX3625" fmla="*/ 10600025 w 12117871"/>
                <a:gd name="connsiteY3625" fmla="*/ 2523933 h 6072780"/>
                <a:gd name="connsiteX3626" fmla="*/ 10579416 w 12117871"/>
                <a:gd name="connsiteY3626" fmla="*/ 2535568 h 6072780"/>
                <a:gd name="connsiteX3627" fmla="*/ 10554243 w 12117871"/>
                <a:gd name="connsiteY3627" fmla="*/ 2544010 h 6072780"/>
                <a:gd name="connsiteX3628" fmla="*/ 10554243 w 12117871"/>
                <a:gd name="connsiteY3628" fmla="*/ 2513894 h 6072780"/>
                <a:gd name="connsiteX3629" fmla="*/ 10571278 w 12117871"/>
                <a:gd name="connsiteY3629" fmla="*/ 2507810 h 6072780"/>
                <a:gd name="connsiteX3630" fmla="*/ 10587477 w 12117871"/>
                <a:gd name="connsiteY3630" fmla="*/ 2500661 h 6072780"/>
                <a:gd name="connsiteX3631" fmla="*/ 10603600 w 12117871"/>
                <a:gd name="connsiteY3631" fmla="*/ 2491839 h 6072780"/>
                <a:gd name="connsiteX3632" fmla="*/ 10620407 w 12117871"/>
                <a:gd name="connsiteY3632" fmla="*/ 2480736 h 6072780"/>
                <a:gd name="connsiteX3633" fmla="*/ 10469278 w 12117871"/>
                <a:gd name="connsiteY3633" fmla="*/ 2480736 h 6072780"/>
                <a:gd name="connsiteX3634" fmla="*/ 10484184 w 12117871"/>
                <a:gd name="connsiteY3634" fmla="*/ 2480736 h 6072780"/>
                <a:gd name="connsiteX3635" fmla="*/ 10484184 w 12117871"/>
                <a:gd name="connsiteY3635" fmla="*/ 2703716 h 6072780"/>
                <a:gd name="connsiteX3636" fmla="*/ 10448896 w 12117871"/>
                <a:gd name="connsiteY3636" fmla="*/ 2703716 h 6072780"/>
                <a:gd name="connsiteX3637" fmla="*/ 10448896 w 12117871"/>
                <a:gd name="connsiteY3637" fmla="*/ 2523933 h 6072780"/>
                <a:gd name="connsiteX3638" fmla="*/ 10428287 w 12117871"/>
                <a:gd name="connsiteY3638" fmla="*/ 2535568 h 6072780"/>
                <a:gd name="connsiteX3639" fmla="*/ 10403114 w 12117871"/>
                <a:gd name="connsiteY3639" fmla="*/ 2544010 h 6072780"/>
                <a:gd name="connsiteX3640" fmla="*/ 10403114 w 12117871"/>
                <a:gd name="connsiteY3640" fmla="*/ 2513894 h 6072780"/>
                <a:gd name="connsiteX3641" fmla="*/ 10420149 w 12117871"/>
                <a:gd name="connsiteY3641" fmla="*/ 2507810 h 6072780"/>
                <a:gd name="connsiteX3642" fmla="*/ 10436348 w 12117871"/>
                <a:gd name="connsiteY3642" fmla="*/ 2500661 h 6072780"/>
                <a:gd name="connsiteX3643" fmla="*/ 10452471 w 12117871"/>
                <a:gd name="connsiteY3643" fmla="*/ 2491839 h 6072780"/>
                <a:gd name="connsiteX3644" fmla="*/ 10469278 w 12117871"/>
                <a:gd name="connsiteY3644" fmla="*/ 2480736 h 6072780"/>
                <a:gd name="connsiteX3645" fmla="*/ 10169331 w 12117871"/>
                <a:gd name="connsiteY3645" fmla="*/ 2480736 h 6072780"/>
                <a:gd name="connsiteX3646" fmla="*/ 10184237 w 12117871"/>
                <a:gd name="connsiteY3646" fmla="*/ 2480736 h 6072780"/>
                <a:gd name="connsiteX3647" fmla="*/ 10184237 w 12117871"/>
                <a:gd name="connsiteY3647" fmla="*/ 2703716 h 6072780"/>
                <a:gd name="connsiteX3648" fmla="*/ 10148949 w 12117871"/>
                <a:gd name="connsiteY3648" fmla="*/ 2703716 h 6072780"/>
                <a:gd name="connsiteX3649" fmla="*/ 10148949 w 12117871"/>
                <a:gd name="connsiteY3649" fmla="*/ 2523933 h 6072780"/>
                <a:gd name="connsiteX3650" fmla="*/ 10128340 w 12117871"/>
                <a:gd name="connsiteY3650" fmla="*/ 2535568 h 6072780"/>
                <a:gd name="connsiteX3651" fmla="*/ 10103167 w 12117871"/>
                <a:gd name="connsiteY3651" fmla="*/ 2544010 h 6072780"/>
                <a:gd name="connsiteX3652" fmla="*/ 10103167 w 12117871"/>
                <a:gd name="connsiteY3652" fmla="*/ 2513894 h 6072780"/>
                <a:gd name="connsiteX3653" fmla="*/ 10120202 w 12117871"/>
                <a:gd name="connsiteY3653" fmla="*/ 2507810 h 6072780"/>
                <a:gd name="connsiteX3654" fmla="*/ 10136401 w 12117871"/>
                <a:gd name="connsiteY3654" fmla="*/ 2500661 h 6072780"/>
                <a:gd name="connsiteX3655" fmla="*/ 10152524 w 12117871"/>
                <a:gd name="connsiteY3655" fmla="*/ 2491839 h 6072780"/>
                <a:gd name="connsiteX3656" fmla="*/ 10169331 w 12117871"/>
                <a:gd name="connsiteY3656" fmla="*/ 2480736 h 6072780"/>
                <a:gd name="connsiteX3657" fmla="*/ 9784303 w 12117871"/>
                <a:gd name="connsiteY3657" fmla="*/ 2480736 h 6072780"/>
                <a:gd name="connsiteX3658" fmla="*/ 9799209 w 12117871"/>
                <a:gd name="connsiteY3658" fmla="*/ 2480736 h 6072780"/>
                <a:gd name="connsiteX3659" fmla="*/ 9799209 w 12117871"/>
                <a:gd name="connsiteY3659" fmla="*/ 2703716 h 6072780"/>
                <a:gd name="connsiteX3660" fmla="*/ 9763921 w 12117871"/>
                <a:gd name="connsiteY3660" fmla="*/ 2703716 h 6072780"/>
                <a:gd name="connsiteX3661" fmla="*/ 9763921 w 12117871"/>
                <a:gd name="connsiteY3661" fmla="*/ 2523933 h 6072780"/>
                <a:gd name="connsiteX3662" fmla="*/ 9743312 w 12117871"/>
                <a:gd name="connsiteY3662" fmla="*/ 2535568 h 6072780"/>
                <a:gd name="connsiteX3663" fmla="*/ 9718139 w 12117871"/>
                <a:gd name="connsiteY3663" fmla="*/ 2544010 h 6072780"/>
                <a:gd name="connsiteX3664" fmla="*/ 9718139 w 12117871"/>
                <a:gd name="connsiteY3664" fmla="*/ 2513894 h 6072780"/>
                <a:gd name="connsiteX3665" fmla="*/ 9735174 w 12117871"/>
                <a:gd name="connsiteY3665" fmla="*/ 2507810 h 6072780"/>
                <a:gd name="connsiteX3666" fmla="*/ 9751373 w 12117871"/>
                <a:gd name="connsiteY3666" fmla="*/ 2500661 h 6072780"/>
                <a:gd name="connsiteX3667" fmla="*/ 9767496 w 12117871"/>
                <a:gd name="connsiteY3667" fmla="*/ 2491839 h 6072780"/>
                <a:gd name="connsiteX3668" fmla="*/ 9784303 w 12117871"/>
                <a:gd name="connsiteY3668" fmla="*/ 2480736 h 6072780"/>
                <a:gd name="connsiteX3669" fmla="*/ 9633174 w 12117871"/>
                <a:gd name="connsiteY3669" fmla="*/ 2480736 h 6072780"/>
                <a:gd name="connsiteX3670" fmla="*/ 9648080 w 12117871"/>
                <a:gd name="connsiteY3670" fmla="*/ 2480736 h 6072780"/>
                <a:gd name="connsiteX3671" fmla="*/ 9648080 w 12117871"/>
                <a:gd name="connsiteY3671" fmla="*/ 2703716 h 6072780"/>
                <a:gd name="connsiteX3672" fmla="*/ 9612792 w 12117871"/>
                <a:gd name="connsiteY3672" fmla="*/ 2703716 h 6072780"/>
                <a:gd name="connsiteX3673" fmla="*/ 9612792 w 12117871"/>
                <a:gd name="connsiteY3673" fmla="*/ 2523933 h 6072780"/>
                <a:gd name="connsiteX3674" fmla="*/ 9592183 w 12117871"/>
                <a:gd name="connsiteY3674" fmla="*/ 2535568 h 6072780"/>
                <a:gd name="connsiteX3675" fmla="*/ 9567010 w 12117871"/>
                <a:gd name="connsiteY3675" fmla="*/ 2544010 h 6072780"/>
                <a:gd name="connsiteX3676" fmla="*/ 9567010 w 12117871"/>
                <a:gd name="connsiteY3676" fmla="*/ 2513894 h 6072780"/>
                <a:gd name="connsiteX3677" fmla="*/ 9584045 w 12117871"/>
                <a:gd name="connsiteY3677" fmla="*/ 2507810 h 6072780"/>
                <a:gd name="connsiteX3678" fmla="*/ 9600244 w 12117871"/>
                <a:gd name="connsiteY3678" fmla="*/ 2500661 h 6072780"/>
                <a:gd name="connsiteX3679" fmla="*/ 9616367 w 12117871"/>
                <a:gd name="connsiteY3679" fmla="*/ 2491839 h 6072780"/>
                <a:gd name="connsiteX3680" fmla="*/ 9633174 w 12117871"/>
                <a:gd name="connsiteY3680" fmla="*/ 2480736 h 6072780"/>
                <a:gd name="connsiteX3681" fmla="*/ 9483201 w 12117871"/>
                <a:gd name="connsiteY3681" fmla="*/ 2480736 h 6072780"/>
                <a:gd name="connsiteX3682" fmla="*/ 9498107 w 12117871"/>
                <a:gd name="connsiteY3682" fmla="*/ 2480736 h 6072780"/>
                <a:gd name="connsiteX3683" fmla="*/ 9498107 w 12117871"/>
                <a:gd name="connsiteY3683" fmla="*/ 2703716 h 6072780"/>
                <a:gd name="connsiteX3684" fmla="*/ 9462819 w 12117871"/>
                <a:gd name="connsiteY3684" fmla="*/ 2703716 h 6072780"/>
                <a:gd name="connsiteX3685" fmla="*/ 9462819 w 12117871"/>
                <a:gd name="connsiteY3685" fmla="*/ 2523933 h 6072780"/>
                <a:gd name="connsiteX3686" fmla="*/ 9442210 w 12117871"/>
                <a:gd name="connsiteY3686" fmla="*/ 2535568 h 6072780"/>
                <a:gd name="connsiteX3687" fmla="*/ 9417037 w 12117871"/>
                <a:gd name="connsiteY3687" fmla="*/ 2544010 h 6072780"/>
                <a:gd name="connsiteX3688" fmla="*/ 9417037 w 12117871"/>
                <a:gd name="connsiteY3688" fmla="*/ 2513894 h 6072780"/>
                <a:gd name="connsiteX3689" fmla="*/ 9434072 w 12117871"/>
                <a:gd name="connsiteY3689" fmla="*/ 2507810 h 6072780"/>
                <a:gd name="connsiteX3690" fmla="*/ 9450271 w 12117871"/>
                <a:gd name="connsiteY3690" fmla="*/ 2500661 h 6072780"/>
                <a:gd name="connsiteX3691" fmla="*/ 9466394 w 12117871"/>
                <a:gd name="connsiteY3691" fmla="*/ 2491839 h 6072780"/>
                <a:gd name="connsiteX3692" fmla="*/ 9483201 w 12117871"/>
                <a:gd name="connsiteY3692" fmla="*/ 2480736 h 6072780"/>
                <a:gd name="connsiteX3693" fmla="*/ 9333228 w 12117871"/>
                <a:gd name="connsiteY3693" fmla="*/ 2480736 h 6072780"/>
                <a:gd name="connsiteX3694" fmla="*/ 9348134 w 12117871"/>
                <a:gd name="connsiteY3694" fmla="*/ 2480736 h 6072780"/>
                <a:gd name="connsiteX3695" fmla="*/ 9348134 w 12117871"/>
                <a:gd name="connsiteY3695" fmla="*/ 2703716 h 6072780"/>
                <a:gd name="connsiteX3696" fmla="*/ 9312846 w 12117871"/>
                <a:gd name="connsiteY3696" fmla="*/ 2703716 h 6072780"/>
                <a:gd name="connsiteX3697" fmla="*/ 9312846 w 12117871"/>
                <a:gd name="connsiteY3697" fmla="*/ 2523933 h 6072780"/>
                <a:gd name="connsiteX3698" fmla="*/ 9292237 w 12117871"/>
                <a:gd name="connsiteY3698" fmla="*/ 2535568 h 6072780"/>
                <a:gd name="connsiteX3699" fmla="*/ 9267064 w 12117871"/>
                <a:gd name="connsiteY3699" fmla="*/ 2544010 h 6072780"/>
                <a:gd name="connsiteX3700" fmla="*/ 9267064 w 12117871"/>
                <a:gd name="connsiteY3700" fmla="*/ 2513894 h 6072780"/>
                <a:gd name="connsiteX3701" fmla="*/ 9284099 w 12117871"/>
                <a:gd name="connsiteY3701" fmla="*/ 2507810 h 6072780"/>
                <a:gd name="connsiteX3702" fmla="*/ 9300298 w 12117871"/>
                <a:gd name="connsiteY3702" fmla="*/ 2500661 h 6072780"/>
                <a:gd name="connsiteX3703" fmla="*/ 9316421 w 12117871"/>
                <a:gd name="connsiteY3703" fmla="*/ 2491839 h 6072780"/>
                <a:gd name="connsiteX3704" fmla="*/ 9333228 w 12117871"/>
                <a:gd name="connsiteY3704" fmla="*/ 2480736 h 6072780"/>
                <a:gd name="connsiteX3705" fmla="*/ 9132835 w 12117871"/>
                <a:gd name="connsiteY3705" fmla="*/ 2480736 h 6072780"/>
                <a:gd name="connsiteX3706" fmla="*/ 9204002 w 12117871"/>
                <a:gd name="connsiteY3706" fmla="*/ 2591324 h 6072780"/>
                <a:gd name="connsiteX3707" fmla="*/ 9183916 w 12117871"/>
                <a:gd name="connsiteY3707" fmla="*/ 2674903 h 6072780"/>
                <a:gd name="connsiteX3708" fmla="*/ 9127719 w 12117871"/>
                <a:gd name="connsiteY3708" fmla="*/ 2703716 h 6072780"/>
                <a:gd name="connsiteX3709" fmla="*/ 9075134 w 12117871"/>
                <a:gd name="connsiteY3709" fmla="*/ 2676182 h 6072780"/>
                <a:gd name="connsiteX3710" fmla="*/ 9056251 w 12117871"/>
                <a:gd name="connsiteY3710" fmla="*/ 2596590 h 6072780"/>
                <a:gd name="connsiteX3711" fmla="*/ 9075961 w 12117871"/>
                <a:gd name="connsiteY3711" fmla="*/ 2510075 h 6072780"/>
                <a:gd name="connsiteX3712" fmla="*/ 9132835 w 12117871"/>
                <a:gd name="connsiteY3712" fmla="*/ 2480736 h 6072780"/>
                <a:gd name="connsiteX3713" fmla="*/ 9001759 w 12117871"/>
                <a:gd name="connsiteY3713" fmla="*/ 2480736 h 6072780"/>
                <a:gd name="connsiteX3714" fmla="*/ 9016665 w 12117871"/>
                <a:gd name="connsiteY3714" fmla="*/ 2480736 h 6072780"/>
                <a:gd name="connsiteX3715" fmla="*/ 9016665 w 12117871"/>
                <a:gd name="connsiteY3715" fmla="*/ 2703716 h 6072780"/>
                <a:gd name="connsiteX3716" fmla="*/ 8981377 w 12117871"/>
                <a:gd name="connsiteY3716" fmla="*/ 2703716 h 6072780"/>
                <a:gd name="connsiteX3717" fmla="*/ 8981377 w 12117871"/>
                <a:gd name="connsiteY3717" fmla="*/ 2523933 h 6072780"/>
                <a:gd name="connsiteX3718" fmla="*/ 8960768 w 12117871"/>
                <a:gd name="connsiteY3718" fmla="*/ 2535568 h 6072780"/>
                <a:gd name="connsiteX3719" fmla="*/ 8935595 w 12117871"/>
                <a:gd name="connsiteY3719" fmla="*/ 2544010 h 6072780"/>
                <a:gd name="connsiteX3720" fmla="*/ 8935595 w 12117871"/>
                <a:gd name="connsiteY3720" fmla="*/ 2513894 h 6072780"/>
                <a:gd name="connsiteX3721" fmla="*/ 8952630 w 12117871"/>
                <a:gd name="connsiteY3721" fmla="*/ 2507810 h 6072780"/>
                <a:gd name="connsiteX3722" fmla="*/ 8968829 w 12117871"/>
                <a:gd name="connsiteY3722" fmla="*/ 2500661 h 6072780"/>
                <a:gd name="connsiteX3723" fmla="*/ 8984952 w 12117871"/>
                <a:gd name="connsiteY3723" fmla="*/ 2491839 h 6072780"/>
                <a:gd name="connsiteX3724" fmla="*/ 9001759 w 12117871"/>
                <a:gd name="connsiteY3724" fmla="*/ 2480736 h 6072780"/>
                <a:gd name="connsiteX3725" fmla="*/ 8791078 w 12117871"/>
                <a:gd name="connsiteY3725" fmla="*/ 2480736 h 6072780"/>
                <a:gd name="connsiteX3726" fmla="*/ 8862245 w 12117871"/>
                <a:gd name="connsiteY3726" fmla="*/ 2591324 h 6072780"/>
                <a:gd name="connsiteX3727" fmla="*/ 8842159 w 12117871"/>
                <a:gd name="connsiteY3727" fmla="*/ 2674903 h 6072780"/>
                <a:gd name="connsiteX3728" fmla="*/ 8785962 w 12117871"/>
                <a:gd name="connsiteY3728" fmla="*/ 2703716 h 6072780"/>
                <a:gd name="connsiteX3729" fmla="*/ 8733377 w 12117871"/>
                <a:gd name="connsiteY3729" fmla="*/ 2676182 h 6072780"/>
                <a:gd name="connsiteX3730" fmla="*/ 8714494 w 12117871"/>
                <a:gd name="connsiteY3730" fmla="*/ 2596590 h 6072780"/>
                <a:gd name="connsiteX3731" fmla="*/ 8734204 w 12117871"/>
                <a:gd name="connsiteY3731" fmla="*/ 2510075 h 6072780"/>
                <a:gd name="connsiteX3732" fmla="*/ 8791078 w 12117871"/>
                <a:gd name="connsiteY3732" fmla="*/ 2480736 h 6072780"/>
                <a:gd name="connsiteX3733" fmla="*/ 8089676 w 12117871"/>
                <a:gd name="connsiteY3733" fmla="*/ 2480736 h 6072780"/>
                <a:gd name="connsiteX3734" fmla="*/ 8160843 w 12117871"/>
                <a:gd name="connsiteY3734" fmla="*/ 2591324 h 6072780"/>
                <a:gd name="connsiteX3735" fmla="*/ 8140757 w 12117871"/>
                <a:gd name="connsiteY3735" fmla="*/ 2674903 h 6072780"/>
                <a:gd name="connsiteX3736" fmla="*/ 8084560 w 12117871"/>
                <a:gd name="connsiteY3736" fmla="*/ 2703716 h 6072780"/>
                <a:gd name="connsiteX3737" fmla="*/ 8031975 w 12117871"/>
                <a:gd name="connsiteY3737" fmla="*/ 2676182 h 6072780"/>
                <a:gd name="connsiteX3738" fmla="*/ 8013092 w 12117871"/>
                <a:gd name="connsiteY3738" fmla="*/ 2596590 h 6072780"/>
                <a:gd name="connsiteX3739" fmla="*/ 8032802 w 12117871"/>
                <a:gd name="connsiteY3739" fmla="*/ 2510075 h 6072780"/>
                <a:gd name="connsiteX3740" fmla="*/ 8089676 w 12117871"/>
                <a:gd name="connsiteY3740" fmla="*/ 2480736 h 6072780"/>
                <a:gd name="connsiteX3741" fmla="*/ 7710515 w 12117871"/>
                <a:gd name="connsiteY3741" fmla="*/ 2480736 h 6072780"/>
                <a:gd name="connsiteX3742" fmla="*/ 7725421 w 12117871"/>
                <a:gd name="connsiteY3742" fmla="*/ 2480736 h 6072780"/>
                <a:gd name="connsiteX3743" fmla="*/ 7725421 w 12117871"/>
                <a:gd name="connsiteY3743" fmla="*/ 2703716 h 6072780"/>
                <a:gd name="connsiteX3744" fmla="*/ 7690133 w 12117871"/>
                <a:gd name="connsiteY3744" fmla="*/ 2703716 h 6072780"/>
                <a:gd name="connsiteX3745" fmla="*/ 7690133 w 12117871"/>
                <a:gd name="connsiteY3745" fmla="*/ 2523933 h 6072780"/>
                <a:gd name="connsiteX3746" fmla="*/ 7669524 w 12117871"/>
                <a:gd name="connsiteY3746" fmla="*/ 2535568 h 6072780"/>
                <a:gd name="connsiteX3747" fmla="*/ 7644351 w 12117871"/>
                <a:gd name="connsiteY3747" fmla="*/ 2544010 h 6072780"/>
                <a:gd name="connsiteX3748" fmla="*/ 7644351 w 12117871"/>
                <a:gd name="connsiteY3748" fmla="*/ 2513894 h 6072780"/>
                <a:gd name="connsiteX3749" fmla="*/ 7661386 w 12117871"/>
                <a:gd name="connsiteY3749" fmla="*/ 2507810 h 6072780"/>
                <a:gd name="connsiteX3750" fmla="*/ 7677585 w 12117871"/>
                <a:gd name="connsiteY3750" fmla="*/ 2500661 h 6072780"/>
                <a:gd name="connsiteX3751" fmla="*/ 7693708 w 12117871"/>
                <a:gd name="connsiteY3751" fmla="*/ 2491839 h 6072780"/>
                <a:gd name="connsiteX3752" fmla="*/ 7710515 w 12117871"/>
                <a:gd name="connsiteY3752" fmla="*/ 2480736 h 6072780"/>
                <a:gd name="connsiteX3753" fmla="*/ 7348573 w 12117871"/>
                <a:gd name="connsiteY3753" fmla="*/ 2480736 h 6072780"/>
                <a:gd name="connsiteX3754" fmla="*/ 7363479 w 12117871"/>
                <a:gd name="connsiteY3754" fmla="*/ 2480736 h 6072780"/>
                <a:gd name="connsiteX3755" fmla="*/ 7363479 w 12117871"/>
                <a:gd name="connsiteY3755" fmla="*/ 2703716 h 6072780"/>
                <a:gd name="connsiteX3756" fmla="*/ 7328191 w 12117871"/>
                <a:gd name="connsiteY3756" fmla="*/ 2703716 h 6072780"/>
                <a:gd name="connsiteX3757" fmla="*/ 7328191 w 12117871"/>
                <a:gd name="connsiteY3757" fmla="*/ 2523933 h 6072780"/>
                <a:gd name="connsiteX3758" fmla="*/ 7307582 w 12117871"/>
                <a:gd name="connsiteY3758" fmla="*/ 2535568 h 6072780"/>
                <a:gd name="connsiteX3759" fmla="*/ 7282409 w 12117871"/>
                <a:gd name="connsiteY3759" fmla="*/ 2544010 h 6072780"/>
                <a:gd name="connsiteX3760" fmla="*/ 7282409 w 12117871"/>
                <a:gd name="connsiteY3760" fmla="*/ 2513894 h 6072780"/>
                <a:gd name="connsiteX3761" fmla="*/ 7299444 w 12117871"/>
                <a:gd name="connsiteY3761" fmla="*/ 2507810 h 6072780"/>
                <a:gd name="connsiteX3762" fmla="*/ 7315643 w 12117871"/>
                <a:gd name="connsiteY3762" fmla="*/ 2500661 h 6072780"/>
                <a:gd name="connsiteX3763" fmla="*/ 7331766 w 12117871"/>
                <a:gd name="connsiteY3763" fmla="*/ 2491839 h 6072780"/>
                <a:gd name="connsiteX3764" fmla="*/ 7348573 w 12117871"/>
                <a:gd name="connsiteY3764" fmla="*/ 2480736 h 6072780"/>
                <a:gd name="connsiteX3765" fmla="*/ 7048627 w 12117871"/>
                <a:gd name="connsiteY3765" fmla="*/ 2480736 h 6072780"/>
                <a:gd name="connsiteX3766" fmla="*/ 7063533 w 12117871"/>
                <a:gd name="connsiteY3766" fmla="*/ 2480736 h 6072780"/>
                <a:gd name="connsiteX3767" fmla="*/ 7063533 w 12117871"/>
                <a:gd name="connsiteY3767" fmla="*/ 2703716 h 6072780"/>
                <a:gd name="connsiteX3768" fmla="*/ 7028245 w 12117871"/>
                <a:gd name="connsiteY3768" fmla="*/ 2703716 h 6072780"/>
                <a:gd name="connsiteX3769" fmla="*/ 7028245 w 12117871"/>
                <a:gd name="connsiteY3769" fmla="*/ 2523933 h 6072780"/>
                <a:gd name="connsiteX3770" fmla="*/ 7007636 w 12117871"/>
                <a:gd name="connsiteY3770" fmla="*/ 2535568 h 6072780"/>
                <a:gd name="connsiteX3771" fmla="*/ 6982463 w 12117871"/>
                <a:gd name="connsiteY3771" fmla="*/ 2544010 h 6072780"/>
                <a:gd name="connsiteX3772" fmla="*/ 6982463 w 12117871"/>
                <a:gd name="connsiteY3772" fmla="*/ 2513894 h 6072780"/>
                <a:gd name="connsiteX3773" fmla="*/ 6999498 w 12117871"/>
                <a:gd name="connsiteY3773" fmla="*/ 2507810 h 6072780"/>
                <a:gd name="connsiteX3774" fmla="*/ 7015697 w 12117871"/>
                <a:gd name="connsiteY3774" fmla="*/ 2500661 h 6072780"/>
                <a:gd name="connsiteX3775" fmla="*/ 7031820 w 12117871"/>
                <a:gd name="connsiteY3775" fmla="*/ 2491839 h 6072780"/>
                <a:gd name="connsiteX3776" fmla="*/ 7048627 w 12117871"/>
                <a:gd name="connsiteY3776" fmla="*/ 2480736 h 6072780"/>
                <a:gd name="connsiteX3777" fmla="*/ 6831187 w 12117871"/>
                <a:gd name="connsiteY3777" fmla="*/ 2480736 h 6072780"/>
                <a:gd name="connsiteX3778" fmla="*/ 6902354 w 12117871"/>
                <a:gd name="connsiteY3778" fmla="*/ 2591324 h 6072780"/>
                <a:gd name="connsiteX3779" fmla="*/ 6882268 w 12117871"/>
                <a:gd name="connsiteY3779" fmla="*/ 2674903 h 6072780"/>
                <a:gd name="connsiteX3780" fmla="*/ 6826071 w 12117871"/>
                <a:gd name="connsiteY3780" fmla="*/ 2703716 h 6072780"/>
                <a:gd name="connsiteX3781" fmla="*/ 6773486 w 12117871"/>
                <a:gd name="connsiteY3781" fmla="*/ 2676182 h 6072780"/>
                <a:gd name="connsiteX3782" fmla="*/ 6754603 w 12117871"/>
                <a:gd name="connsiteY3782" fmla="*/ 2596590 h 6072780"/>
                <a:gd name="connsiteX3783" fmla="*/ 6774313 w 12117871"/>
                <a:gd name="connsiteY3783" fmla="*/ 2510075 h 6072780"/>
                <a:gd name="connsiteX3784" fmla="*/ 6831187 w 12117871"/>
                <a:gd name="connsiteY3784" fmla="*/ 2480736 h 6072780"/>
                <a:gd name="connsiteX3785" fmla="*/ 6618093 w 12117871"/>
                <a:gd name="connsiteY3785" fmla="*/ 2480736 h 6072780"/>
                <a:gd name="connsiteX3786" fmla="*/ 6689260 w 12117871"/>
                <a:gd name="connsiteY3786" fmla="*/ 2591324 h 6072780"/>
                <a:gd name="connsiteX3787" fmla="*/ 6669174 w 12117871"/>
                <a:gd name="connsiteY3787" fmla="*/ 2674903 h 6072780"/>
                <a:gd name="connsiteX3788" fmla="*/ 6612977 w 12117871"/>
                <a:gd name="connsiteY3788" fmla="*/ 2703716 h 6072780"/>
                <a:gd name="connsiteX3789" fmla="*/ 6560392 w 12117871"/>
                <a:gd name="connsiteY3789" fmla="*/ 2676182 h 6072780"/>
                <a:gd name="connsiteX3790" fmla="*/ 6541509 w 12117871"/>
                <a:gd name="connsiteY3790" fmla="*/ 2596590 h 6072780"/>
                <a:gd name="connsiteX3791" fmla="*/ 6561219 w 12117871"/>
                <a:gd name="connsiteY3791" fmla="*/ 2510075 h 6072780"/>
                <a:gd name="connsiteX3792" fmla="*/ 6618093 w 12117871"/>
                <a:gd name="connsiteY3792" fmla="*/ 2480736 h 6072780"/>
                <a:gd name="connsiteX3793" fmla="*/ 6456544 w 12117871"/>
                <a:gd name="connsiteY3793" fmla="*/ 2480736 h 6072780"/>
                <a:gd name="connsiteX3794" fmla="*/ 6471450 w 12117871"/>
                <a:gd name="connsiteY3794" fmla="*/ 2480736 h 6072780"/>
                <a:gd name="connsiteX3795" fmla="*/ 6471450 w 12117871"/>
                <a:gd name="connsiteY3795" fmla="*/ 2703716 h 6072780"/>
                <a:gd name="connsiteX3796" fmla="*/ 6436162 w 12117871"/>
                <a:gd name="connsiteY3796" fmla="*/ 2703716 h 6072780"/>
                <a:gd name="connsiteX3797" fmla="*/ 6436162 w 12117871"/>
                <a:gd name="connsiteY3797" fmla="*/ 2523933 h 6072780"/>
                <a:gd name="connsiteX3798" fmla="*/ 6415553 w 12117871"/>
                <a:gd name="connsiteY3798" fmla="*/ 2535568 h 6072780"/>
                <a:gd name="connsiteX3799" fmla="*/ 6390380 w 12117871"/>
                <a:gd name="connsiteY3799" fmla="*/ 2544010 h 6072780"/>
                <a:gd name="connsiteX3800" fmla="*/ 6390380 w 12117871"/>
                <a:gd name="connsiteY3800" fmla="*/ 2513894 h 6072780"/>
                <a:gd name="connsiteX3801" fmla="*/ 6407415 w 12117871"/>
                <a:gd name="connsiteY3801" fmla="*/ 2507810 h 6072780"/>
                <a:gd name="connsiteX3802" fmla="*/ 6423614 w 12117871"/>
                <a:gd name="connsiteY3802" fmla="*/ 2500661 h 6072780"/>
                <a:gd name="connsiteX3803" fmla="*/ 6439737 w 12117871"/>
                <a:gd name="connsiteY3803" fmla="*/ 2491839 h 6072780"/>
                <a:gd name="connsiteX3804" fmla="*/ 6456544 w 12117871"/>
                <a:gd name="connsiteY3804" fmla="*/ 2480736 h 6072780"/>
                <a:gd name="connsiteX3805" fmla="*/ 6156598 w 12117871"/>
                <a:gd name="connsiteY3805" fmla="*/ 2480736 h 6072780"/>
                <a:gd name="connsiteX3806" fmla="*/ 6171504 w 12117871"/>
                <a:gd name="connsiteY3806" fmla="*/ 2480736 h 6072780"/>
                <a:gd name="connsiteX3807" fmla="*/ 6171504 w 12117871"/>
                <a:gd name="connsiteY3807" fmla="*/ 2703716 h 6072780"/>
                <a:gd name="connsiteX3808" fmla="*/ 6136216 w 12117871"/>
                <a:gd name="connsiteY3808" fmla="*/ 2703716 h 6072780"/>
                <a:gd name="connsiteX3809" fmla="*/ 6136216 w 12117871"/>
                <a:gd name="connsiteY3809" fmla="*/ 2523933 h 6072780"/>
                <a:gd name="connsiteX3810" fmla="*/ 6115607 w 12117871"/>
                <a:gd name="connsiteY3810" fmla="*/ 2535568 h 6072780"/>
                <a:gd name="connsiteX3811" fmla="*/ 6090434 w 12117871"/>
                <a:gd name="connsiteY3811" fmla="*/ 2544010 h 6072780"/>
                <a:gd name="connsiteX3812" fmla="*/ 6090434 w 12117871"/>
                <a:gd name="connsiteY3812" fmla="*/ 2513894 h 6072780"/>
                <a:gd name="connsiteX3813" fmla="*/ 6107469 w 12117871"/>
                <a:gd name="connsiteY3813" fmla="*/ 2507810 h 6072780"/>
                <a:gd name="connsiteX3814" fmla="*/ 6123668 w 12117871"/>
                <a:gd name="connsiteY3814" fmla="*/ 2500661 h 6072780"/>
                <a:gd name="connsiteX3815" fmla="*/ 6139791 w 12117871"/>
                <a:gd name="connsiteY3815" fmla="*/ 2491839 h 6072780"/>
                <a:gd name="connsiteX3816" fmla="*/ 6156598 w 12117871"/>
                <a:gd name="connsiteY3816" fmla="*/ 2480736 h 6072780"/>
                <a:gd name="connsiteX3817" fmla="*/ 5973070 w 12117871"/>
                <a:gd name="connsiteY3817" fmla="*/ 2480736 h 6072780"/>
                <a:gd name="connsiteX3818" fmla="*/ 5987976 w 12117871"/>
                <a:gd name="connsiteY3818" fmla="*/ 2480736 h 6072780"/>
                <a:gd name="connsiteX3819" fmla="*/ 5987976 w 12117871"/>
                <a:gd name="connsiteY3819" fmla="*/ 2703716 h 6072780"/>
                <a:gd name="connsiteX3820" fmla="*/ 5952688 w 12117871"/>
                <a:gd name="connsiteY3820" fmla="*/ 2703716 h 6072780"/>
                <a:gd name="connsiteX3821" fmla="*/ 5952688 w 12117871"/>
                <a:gd name="connsiteY3821" fmla="*/ 2523933 h 6072780"/>
                <a:gd name="connsiteX3822" fmla="*/ 5932078 w 12117871"/>
                <a:gd name="connsiteY3822" fmla="*/ 2535568 h 6072780"/>
                <a:gd name="connsiteX3823" fmla="*/ 5906905 w 12117871"/>
                <a:gd name="connsiteY3823" fmla="*/ 2544010 h 6072780"/>
                <a:gd name="connsiteX3824" fmla="*/ 5906905 w 12117871"/>
                <a:gd name="connsiteY3824" fmla="*/ 2513894 h 6072780"/>
                <a:gd name="connsiteX3825" fmla="*/ 5923941 w 12117871"/>
                <a:gd name="connsiteY3825" fmla="*/ 2507810 h 6072780"/>
                <a:gd name="connsiteX3826" fmla="*/ 5940139 w 12117871"/>
                <a:gd name="connsiteY3826" fmla="*/ 2500661 h 6072780"/>
                <a:gd name="connsiteX3827" fmla="*/ 5956262 w 12117871"/>
                <a:gd name="connsiteY3827" fmla="*/ 2491839 h 6072780"/>
                <a:gd name="connsiteX3828" fmla="*/ 5973070 w 12117871"/>
                <a:gd name="connsiteY3828" fmla="*/ 2480736 h 6072780"/>
                <a:gd name="connsiteX3829" fmla="*/ 5605408 w 12117871"/>
                <a:gd name="connsiteY3829" fmla="*/ 2480736 h 6072780"/>
                <a:gd name="connsiteX3830" fmla="*/ 5620313 w 12117871"/>
                <a:gd name="connsiteY3830" fmla="*/ 2480736 h 6072780"/>
                <a:gd name="connsiteX3831" fmla="*/ 5620313 w 12117871"/>
                <a:gd name="connsiteY3831" fmla="*/ 2703716 h 6072780"/>
                <a:gd name="connsiteX3832" fmla="*/ 5585026 w 12117871"/>
                <a:gd name="connsiteY3832" fmla="*/ 2703716 h 6072780"/>
                <a:gd name="connsiteX3833" fmla="*/ 5585026 w 12117871"/>
                <a:gd name="connsiteY3833" fmla="*/ 2523933 h 6072780"/>
                <a:gd name="connsiteX3834" fmla="*/ 5564417 w 12117871"/>
                <a:gd name="connsiteY3834" fmla="*/ 2535568 h 6072780"/>
                <a:gd name="connsiteX3835" fmla="*/ 5539244 w 12117871"/>
                <a:gd name="connsiteY3835" fmla="*/ 2544010 h 6072780"/>
                <a:gd name="connsiteX3836" fmla="*/ 5539244 w 12117871"/>
                <a:gd name="connsiteY3836" fmla="*/ 2513894 h 6072780"/>
                <a:gd name="connsiteX3837" fmla="*/ 5556279 w 12117871"/>
                <a:gd name="connsiteY3837" fmla="*/ 2507810 h 6072780"/>
                <a:gd name="connsiteX3838" fmla="*/ 5572478 w 12117871"/>
                <a:gd name="connsiteY3838" fmla="*/ 2500661 h 6072780"/>
                <a:gd name="connsiteX3839" fmla="*/ 5588600 w 12117871"/>
                <a:gd name="connsiteY3839" fmla="*/ 2491839 h 6072780"/>
                <a:gd name="connsiteX3840" fmla="*/ 5605408 w 12117871"/>
                <a:gd name="connsiteY3840" fmla="*/ 2480736 h 6072780"/>
                <a:gd name="connsiteX3841" fmla="*/ 5455435 w 12117871"/>
                <a:gd name="connsiteY3841" fmla="*/ 2480736 h 6072780"/>
                <a:gd name="connsiteX3842" fmla="*/ 5470341 w 12117871"/>
                <a:gd name="connsiteY3842" fmla="*/ 2480736 h 6072780"/>
                <a:gd name="connsiteX3843" fmla="*/ 5470341 w 12117871"/>
                <a:gd name="connsiteY3843" fmla="*/ 2703716 h 6072780"/>
                <a:gd name="connsiteX3844" fmla="*/ 5435053 w 12117871"/>
                <a:gd name="connsiteY3844" fmla="*/ 2703716 h 6072780"/>
                <a:gd name="connsiteX3845" fmla="*/ 5435053 w 12117871"/>
                <a:gd name="connsiteY3845" fmla="*/ 2523933 h 6072780"/>
                <a:gd name="connsiteX3846" fmla="*/ 5414443 w 12117871"/>
                <a:gd name="connsiteY3846" fmla="*/ 2535568 h 6072780"/>
                <a:gd name="connsiteX3847" fmla="*/ 5389271 w 12117871"/>
                <a:gd name="connsiteY3847" fmla="*/ 2544010 h 6072780"/>
                <a:gd name="connsiteX3848" fmla="*/ 5389271 w 12117871"/>
                <a:gd name="connsiteY3848" fmla="*/ 2513894 h 6072780"/>
                <a:gd name="connsiteX3849" fmla="*/ 5406306 w 12117871"/>
                <a:gd name="connsiteY3849" fmla="*/ 2507810 h 6072780"/>
                <a:gd name="connsiteX3850" fmla="*/ 5422505 w 12117871"/>
                <a:gd name="connsiteY3850" fmla="*/ 2500661 h 6072780"/>
                <a:gd name="connsiteX3851" fmla="*/ 5438628 w 12117871"/>
                <a:gd name="connsiteY3851" fmla="*/ 2491839 h 6072780"/>
                <a:gd name="connsiteX3852" fmla="*/ 5455435 w 12117871"/>
                <a:gd name="connsiteY3852" fmla="*/ 2480736 h 6072780"/>
                <a:gd name="connsiteX3853" fmla="*/ 5305462 w 12117871"/>
                <a:gd name="connsiteY3853" fmla="*/ 2480736 h 6072780"/>
                <a:gd name="connsiteX3854" fmla="*/ 5320368 w 12117871"/>
                <a:gd name="connsiteY3854" fmla="*/ 2480736 h 6072780"/>
                <a:gd name="connsiteX3855" fmla="*/ 5320368 w 12117871"/>
                <a:gd name="connsiteY3855" fmla="*/ 2703716 h 6072780"/>
                <a:gd name="connsiteX3856" fmla="*/ 5285079 w 12117871"/>
                <a:gd name="connsiteY3856" fmla="*/ 2703716 h 6072780"/>
                <a:gd name="connsiteX3857" fmla="*/ 5285079 w 12117871"/>
                <a:gd name="connsiteY3857" fmla="*/ 2523933 h 6072780"/>
                <a:gd name="connsiteX3858" fmla="*/ 5264471 w 12117871"/>
                <a:gd name="connsiteY3858" fmla="*/ 2535568 h 6072780"/>
                <a:gd name="connsiteX3859" fmla="*/ 5239298 w 12117871"/>
                <a:gd name="connsiteY3859" fmla="*/ 2544010 h 6072780"/>
                <a:gd name="connsiteX3860" fmla="*/ 5239298 w 12117871"/>
                <a:gd name="connsiteY3860" fmla="*/ 2513894 h 6072780"/>
                <a:gd name="connsiteX3861" fmla="*/ 5256333 w 12117871"/>
                <a:gd name="connsiteY3861" fmla="*/ 2507810 h 6072780"/>
                <a:gd name="connsiteX3862" fmla="*/ 5272532 w 12117871"/>
                <a:gd name="connsiteY3862" fmla="*/ 2500661 h 6072780"/>
                <a:gd name="connsiteX3863" fmla="*/ 5288656 w 12117871"/>
                <a:gd name="connsiteY3863" fmla="*/ 2491839 h 6072780"/>
                <a:gd name="connsiteX3864" fmla="*/ 5305462 w 12117871"/>
                <a:gd name="connsiteY3864" fmla="*/ 2480736 h 6072780"/>
                <a:gd name="connsiteX3865" fmla="*/ 4556784 w 12117871"/>
                <a:gd name="connsiteY3865" fmla="*/ 2480736 h 6072780"/>
                <a:gd name="connsiteX3866" fmla="*/ 4571690 w 12117871"/>
                <a:gd name="connsiteY3866" fmla="*/ 2480736 h 6072780"/>
                <a:gd name="connsiteX3867" fmla="*/ 4571690 w 12117871"/>
                <a:gd name="connsiteY3867" fmla="*/ 2703716 h 6072780"/>
                <a:gd name="connsiteX3868" fmla="*/ 4536402 w 12117871"/>
                <a:gd name="connsiteY3868" fmla="*/ 2703716 h 6072780"/>
                <a:gd name="connsiteX3869" fmla="*/ 4536402 w 12117871"/>
                <a:gd name="connsiteY3869" fmla="*/ 2523933 h 6072780"/>
                <a:gd name="connsiteX3870" fmla="*/ 4515793 w 12117871"/>
                <a:gd name="connsiteY3870" fmla="*/ 2535568 h 6072780"/>
                <a:gd name="connsiteX3871" fmla="*/ 4490620 w 12117871"/>
                <a:gd name="connsiteY3871" fmla="*/ 2544010 h 6072780"/>
                <a:gd name="connsiteX3872" fmla="*/ 4490620 w 12117871"/>
                <a:gd name="connsiteY3872" fmla="*/ 2513894 h 6072780"/>
                <a:gd name="connsiteX3873" fmla="*/ 4507655 w 12117871"/>
                <a:gd name="connsiteY3873" fmla="*/ 2507810 h 6072780"/>
                <a:gd name="connsiteX3874" fmla="*/ 4523854 w 12117871"/>
                <a:gd name="connsiteY3874" fmla="*/ 2500661 h 6072780"/>
                <a:gd name="connsiteX3875" fmla="*/ 4539977 w 12117871"/>
                <a:gd name="connsiteY3875" fmla="*/ 2491839 h 6072780"/>
                <a:gd name="connsiteX3876" fmla="*/ 4556784 w 12117871"/>
                <a:gd name="connsiteY3876" fmla="*/ 2480736 h 6072780"/>
                <a:gd name="connsiteX3877" fmla="*/ 4406811 w 12117871"/>
                <a:gd name="connsiteY3877" fmla="*/ 2480736 h 6072780"/>
                <a:gd name="connsiteX3878" fmla="*/ 4421716 w 12117871"/>
                <a:gd name="connsiteY3878" fmla="*/ 2480736 h 6072780"/>
                <a:gd name="connsiteX3879" fmla="*/ 4421716 w 12117871"/>
                <a:gd name="connsiteY3879" fmla="*/ 2703716 h 6072780"/>
                <a:gd name="connsiteX3880" fmla="*/ 4386429 w 12117871"/>
                <a:gd name="connsiteY3880" fmla="*/ 2703716 h 6072780"/>
                <a:gd name="connsiteX3881" fmla="*/ 4386429 w 12117871"/>
                <a:gd name="connsiteY3881" fmla="*/ 2523933 h 6072780"/>
                <a:gd name="connsiteX3882" fmla="*/ 4365820 w 12117871"/>
                <a:gd name="connsiteY3882" fmla="*/ 2535568 h 6072780"/>
                <a:gd name="connsiteX3883" fmla="*/ 4340647 w 12117871"/>
                <a:gd name="connsiteY3883" fmla="*/ 2544010 h 6072780"/>
                <a:gd name="connsiteX3884" fmla="*/ 4340647 w 12117871"/>
                <a:gd name="connsiteY3884" fmla="*/ 2513894 h 6072780"/>
                <a:gd name="connsiteX3885" fmla="*/ 4357682 w 12117871"/>
                <a:gd name="connsiteY3885" fmla="*/ 2507810 h 6072780"/>
                <a:gd name="connsiteX3886" fmla="*/ 4373881 w 12117871"/>
                <a:gd name="connsiteY3886" fmla="*/ 2500661 h 6072780"/>
                <a:gd name="connsiteX3887" fmla="*/ 4390004 w 12117871"/>
                <a:gd name="connsiteY3887" fmla="*/ 2491839 h 6072780"/>
                <a:gd name="connsiteX3888" fmla="*/ 4406811 w 12117871"/>
                <a:gd name="connsiteY3888" fmla="*/ 2480736 h 6072780"/>
                <a:gd name="connsiteX3889" fmla="*/ 4106866 w 12117871"/>
                <a:gd name="connsiteY3889" fmla="*/ 2480736 h 6072780"/>
                <a:gd name="connsiteX3890" fmla="*/ 4121772 w 12117871"/>
                <a:gd name="connsiteY3890" fmla="*/ 2480736 h 6072780"/>
                <a:gd name="connsiteX3891" fmla="*/ 4121772 w 12117871"/>
                <a:gd name="connsiteY3891" fmla="*/ 2703716 h 6072780"/>
                <a:gd name="connsiteX3892" fmla="*/ 4086484 w 12117871"/>
                <a:gd name="connsiteY3892" fmla="*/ 2703716 h 6072780"/>
                <a:gd name="connsiteX3893" fmla="*/ 4086484 w 12117871"/>
                <a:gd name="connsiteY3893" fmla="*/ 2523933 h 6072780"/>
                <a:gd name="connsiteX3894" fmla="*/ 4065875 w 12117871"/>
                <a:gd name="connsiteY3894" fmla="*/ 2535568 h 6072780"/>
                <a:gd name="connsiteX3895" fmla="*/ 4040701 w 12117871"/>
                <a:gd name="connsiteY3895" fmla="*/ 2544010 h 6072780"/>
                <a:gd name="connsiteX3896" fmla="*/ 4040701 w 12117871"/>
                <a:gd name="connsiteY3896" fmla="*/ 2513894 h 6072780"/>
                <a:gd name="connsiteX3897" fmla="*/ 4057737 w 12117871"/>
                <a:gd name="connsiteY3897" fmla="*/ 2507810 h 6072780"/>
                <a:gd name="connsiteX3898" fmla="*/ 4073936 w 12117871"/>
                <a:gd name="connsiteY3898" fmla="*/ 2500661 h 6072780"/>
                <a:gd name="connsiteX3899" fmla="*/ 4090059 w 12117871"/>
                <a:gd name="connsiteY3899" fmla="*/ 2491839 h 6072780"/>
                <a:gd name="connsiteX3900" fmla="*/ 4106866 w 12117871"/>
                <a:gd name="connsiteY3900" fmla="*/ 2480736 h 6072780"/>
                <a:gd name="connsiteX3901" fmla="*/ 3726275 w 12117871"/>
                <a:gd name="connsiteY3901" fmla="*/ 2480736 h 6072780"/>
                <a:gd name="connsiteX3902" fmla="*/ 3741181 w 12117871"/>
                <a:gd name="connsiteY3902" fmla="*/ 2480736 h 6072780"/>
                <a:gd name="connsiteX3903" fmla="*/ 3741181 w 12117871"/>
                <a:gd name="connsiteY3903" fmla="*/ 2703716 h 6072780"/>
                <a:gd name="connsiteX3904" fmla="*/ 3705893 w 12117871"/>
                <a:gd name="connsiteY3904" fmla="*/ 2703716 h 6072780"/>
                <a:gd name="connsiteX3905" fmla="*/ 3705893 w 12117871"/>
                <a:gd name="connsiteY3905" fmla="*/ 2523933 h 6072780"/>
                <a:gd name="connsiteX3906" fmla="*/ 3685283 w 12117871"/>
                <a:gd name="connsiteY3906" fmla="*/ 2535568 h 6072780"/>
                <a:gd name="connsiteX3907" fmla="*/ 3660111 w 12117871"/>
                <a:gd name="connsiteY3907" fmla="*/ 2544010 h 6072780"/>
                <a:gd name="connsiteX3908" fmla="*/ 3660111 w 12117871"/>
                <a:gd name="connsiteY3908" fmla="*/ 2513894 h 6072780"/>
                <a:gd name="connsiteX3909" fmla="*/ 3677146 w 12117871"/>
                <a:gd name="connsiteY3909" fmla="*/ 2507810 h 6072780"/>
                <a:gd name="connsiteX3910" fmla="*/ 3693344 w 12117871"/>
                <a:gd name="connsiteY3910" fmla="*/ 2500661 h 6072780"/>
                <a:gd name="connsiteX3911" fmla="*/ 3709468 w 12117871"/>
                <a:gd name="connsiteY3911" fmla="*/ 2491839 h 6072780"/>
                <a:gd name="connsiteX3912" fmla="*/ 3726275 w 12117871"/>
                <a:gd name="connsiteY3912" fmla="*/ 2480736 h 6072780"/>
                <a:gd name="connsiteX3913" fmla="*/ 3576301 w 12117871"/>
                <a:gd name="connsiteY3913" fmla="*/ 2480736 h 6072780"/>
                <a:gd name="connsiteX3914" fmla="*/ 3591208 w 12117871"/>
                <a:gd name="connsiteY3914" fmla="*/ 2480736 h 6072780"/>
                <a:gd name="connsiteX3915" fmla="*/ 3591208 w 12117871"/>
                <a:gd name="connsiteY3915" fmla="*/ 2703716 h 6072780"/>
                <a:gd name="connsiteX3916" fmla="*/ 3555920 w 12117871"/>
                <a:gd name="connsiteY3916" fmla="*/ 2703716 h 6072780"/>
                <a:gd name="connsiteX3917" fmla="*/ 3555920 w 12117871"/>
                <a:gd name="connsiteY3917" fmla="*/ 2523933 h 6072780"/>
                <a:gd name="connsiteX3918" fmla="*/ 3535311 w 12117871"/>
                <a:gd name="connsiteY3918" fmla="*/ 2535568 h 6072780"/>
                <a:gd name="connsiteX3919" fmla="*/ 3510138 w 12117871"/>
                <a:gd name="connsiteY3919" fmla="*/ 2544010 h 6072780"/>
                <a:gd name="connsiteX3920" fmla="*/ 3510138 w 12117871"/>
                <a:gd name="connsiteY3920" fmla="*/ 2513894 h 6072780"/>
                <a:gd name="connsiteX3921" fmla="*/ 3527173 w 12117871"/>
                <a:gd name="connsiteY3921" fmla="*/ 2507810 h 6072780"/>
                <a:gd name="connsiteX3922" fmla="*/ 3543372 w 12117871"/>
                <a:gd name="connsiteY3922" fmla="*/ 2500661 h 6072780"/>
                <a:gd name="connsiteX3923" fmla="*/ 3559494 w 12117871"/>
                <a:gd name="connsiteY3923" fmla="*/ 2491839 h 6072780"/>
                <a:gd name="connsiteX3924" fmla="*/ 3576301 w 12117871"/>
                <a:gd name="connsiteY3924" fmla="*/ 2480736 h 6072780"/>
                <a:gd name="connsiteX3925" fmla="*/ 3426329 w 12117871"/>
                <a:gd name="connsiteY3925" fmla="*/ 2480736 h 6072780"/>
                <a:gd name="connsiteX3926" fmla="*/ 3441235 w 12117871"/>
                <a:gd name="connsiteY3926" fmla="*/ 2480736 h 6072780"/>
                <a:gd name="connsiteX3927" fmla="*/ 3441235 w 12117871"/>
                <a:gd name="connsiteY3927" fmla="*/ 2703716 h 6072780"/>
                <a:gd name="connsiteX3928" fmla="*/ 3405947 w 12117871"/>
                <a:gd name="connsiteY3928" fmla="*/ 2703716 h 6072780"/>
                <a:gd name="connsiteX3929" fmla="*/ 3405947 w 12117871"/>
                <a:gd name="connsiteY3929" fmla="*/ 2523933 h 6072780"/>
                <a:gd name="connsiteX3930" fmla="*/ 3385338 w 12117871"/>
                <a:gd name="connsiteY3930" fmla="*/ 2535568 h 6072780"/>
                <a:gd name="connsiteX3931" fmla="*/ 3360165 w 12117871"/>
                <a:gd name="connsiteY3931" fmla="*/ 2544010 h 6072780"/>
                <a:gd name="connsiteX3932" fmla="*/ 3360165 w 12117871"/>
                <a:gd name="connsiteY3932" fmla="*/ 2513894 h 6072780"/>
                <a:gd name="connsiteX3933" fmla="*/ 3377200 w 12117871"/>
                <a:gd name="connsiteY3933" fmla="*/ 2507810 h 6072780"/>
                <a:gd name="connsiteX3934" fmla="*/ 3393399 w 12117871"/>
                <a:gd name="connsiteY3934" fmla="*/ 2500661 h 6072780"/>
                <a:gd name="connsiteX3935" fmla="*/ 3409521 w 12117871"/>
                <a:gd name="connsiteY3935" fmla="*/ 2491839 h 6072780"/>
                <a:gd name="connsiteX3936" fmla="*/ 3426329 w 12117871"/>
                <a:gd name="connsiteY3936" fmla="*/ 2480736 h 6072780"/>
                <a:gd name="connsiteX3937" fmla="*/ 3276356 w 12117871"/>
                <a:gd name="connsiteY3937" fmla="*/ 2480736 h 6072780"/>
                <a:gd name="connsiteX3938" fmla="*/ 3291262 w 12117871"/>
                <a:gd name="connsiteY3938" fmla="*/ 2480736 h 6072780"/>
                <a:gd name="connsiteX3939" fmla="*/ 3291262 w 12117871"/>
                <a:gd name="connsiteY3939" fmla="*/ 2703716 h 6072780"/>
                <a:gd name="connsiteX3940" fmla="*/ 3255974 w 12117871"/>
                <a:gd name="connsiteY3940" fmla="*/ 2703716 h 6072780"/>
                <a:gd name="connsiteX3941" fmla="*/ 3255974 w 12117871"/>
                <a:gd name="connsiteY3941" fmla="*/ 2523933 h 6072780"/>
                <a:gd name="connsiteX3942" fmla="*/ 3235365 w 12117871"/>
                <a:gd name="connsiteY3942" fmla="*/ 2535568 h 6072780"/>
                <a:gd name="connsiteX3943" fmla="*/ 3210192 w 12117871"/>
                <a:gd name="connsiteY3943" fmla="*/ 2544010 h 6072780"/>
                <a:gd name="connsiteX3944" fmla="*/ 3210192 w 12117871"/>
                <a:gd name="connsiteY3944" fmla="*/ 2513894 h 6072780"/>
                <a:gd name="connsiteX3945" fmla="*/ 3227227 w 12117871"/>
                <a:gd name="connsiteY3945" fmla="*/ 2507810 h 6072780"/>
                <a:gd name="connsiteX3946" fmla="*/ 3243426 w 12117871"/>
                <a:gd name="connsiteY3946" fmla="*/ 2500661 h 6072780"/>
                <a:gd name="connsiteX3947" fmla="*/ 3259549 w 12117871"/>
                <a:gd name="connsiteY3947" fmla="*/ 2491839 h 6072780"/>
                <a:gd name="connsiteX3948" fmla="*/ 3276356 w 12117871"/>
                <a:gd name="connsiteY3948" fmla="*/ 2480736 h 6072780"/>
                <a:gd name="connsiteX3949" fmla="*/ 3072419 w 12117871"/>
                <a:gd name="connsiteY3949" fmla="*/ 2480736 h 6072780"/>
                <a:gd name="connsiteX3950" fmla="*/ 3143586 w 12117871"/>
                <a:gd name="connsiteY3950" fmla="*/ 2591324 h 6072780"/>
                <a:gd name="connsiteX3951" fmla="*/ 3123500 w 12117871"/>
                <a:gd name="connsiteY3951" fmla="*/ 2674903 h 6072780"/>
                <a:gd name="connsiteX3952" fmla="*/ 3067303 w 12117871"/>
                <a:gd name="connsiteY3952" fmla="*/ 2703716 h 6072780"/>
                <a:gd name="connsiteX3953" fmla="*/ 3014718 w 12117871"/>
                <a:gd name="connsiteY3953" fmla="*/ 2676182 h 6072780"/>
                <a:gd name="connsiteX3954" fmla="*/ 2995835 w 12117871"/>
                <a:gd name="connsiteY3954" fmla="*/ 2596590 h 6072780"/>
                <a:gd name="connsiteX3955" fmla="*/ 3015545 w 12117871"/>
                <a:gd name="connsiteY3955" fmla="*/ 2510075 h 6072780"/>
                <a:gd name="connsiteX3956" fmla="*/ 3072419 w 12117871"/>
                <a:gd name="connsiteY3956" fmla="*/ 2480736 h 6072780"/>
                <a:gd name="connsiteX3957" fmla="*/ 2942173 w 12117871"/>
                <a:gd name="connsiteY3957" fmla="*/ 2480736 h 6072780"/>
                <a:gd name="connsiteX3958" fmla="*/ 2957079 w 12117871"/>
                <a:gd name="connsiteY3958" fmla="*/ 2480736 h 6072780"/>
                <a:gd name="connsiteX3959" fmla="*/ 2957079 w 12117871"/>
                <a:gd name="connsiteY3959" fmla="*/ 2703716 h 6072780"/>
                <a:gd name="connsiteX3960" fmla="*/ 2921791 w 12117871"/>
                <a:gd name="connsiteY3960" fmla="*/ 2703716 h 6072780"/>
                <a:gd name="connsiteX3961" fmla="*/ 2921791 w 12117871"/>
                <a:gd name="connsiteY3961" fmla="*/ 2523933 h 6072780"/>
                <a:gd name="connsiteX3962" fmla="*/ 2901182 w 12117871"/>
                <a:gd name="connsiteY3962" fmla="*/ 2535568 h 6072780"/>
                <a:gd name="connsiteX3963" fmla="*/ 2876008 w 12117871"/>
                <a:gd name="connsiteY3963" fmla="*/ 2544010 h 6072780"/>
                <a:gd name="connsiteX3964" fmla="*/ 2876008 w 12117871"/>
                <a:gd name="connsiteY3964" fmla="*/ 2513894 h 6072780"/>
                <a:gd name="connsiteX3965" fmla="*/ 2893044 w 12117871"/>
                <a:gd name="connsiteY3965" fmla="*/ 2507810 h 6072780"/>
                <a:gd name="connsiteX3966" fmla="*/ 2909242 w 12117871"/>
                <a:gd name="connsiteY3966" fmla="*/ 2500661 h 6072780"/>
                <a:gd name="connsiteX3967" fmla="*/ 2925366 w 12117871"/>
                <a:gd name="connsiteY3967" fmla="*/ 2491839 h 6072780"/>
                <a:gd name="connsiteX3968" fmla="*/ 2942173 w 12117871"/>
                <a:gd name="connsiteY3968" fmla="*/ 2480736 h 6072780"/>
                <a:gd name="connsiteX3969" fmla="*/ 2725616 w 12117871"/>
                <a:gd name="connsiteY3969" fmla="*/ 2480736 h 6072780"/>
                <a:gd name="connsiteX3970" fmla="*/ 2796783 w 12117871"/>
                <a:gd name="connsiteY3970" fmla="*/ 2591324 h 6072780"/>
                <a:gd name="connsiteX3971" fmla="*/ 2776697 w 12117871"/>
                <a:gd name="connsiteY3971" fmla="*/ 2674903 h 6072780"/>
                <a:gd name="connsiteX3972" fmla="*/ 2720500 w 12117871"/>
                <a:gd name="connsiteY3972" fmla="*/ 2703716 h 6072780"/>
                <a:gd name="connsiteX3973" fmla="*/ 2667915 w 12117871"/>
                <a:gd name="connsiteY3973" fmla="*/ 2676182 h 6072780"/>
                <a:gd name="connsiteX3974" fmla="*/ 2649032 w 12117871"/>
                <a:gd name="connsiteY3974" fmla="*/ 2596590 h 6072780"/>
                <a:gd name="connsiteX3975" fmla="*/ 2668742 w 12117871"/>
                <a:gd name="connsiteY3975" fmla="*/ 2510075 h 6072780"/>
                <a:gd name="connsiteX3976" fmla="*/ 2725616 w 12117871"/>
                <a:gd name="connsiteY3976" fmla="*/ 2480736 h 6072780"/>
                <a:gd name="connsiteX3977" fmla="*/ 2034250 w 12117871"/>
                <a:gd name="connsiteY3977" fmla="*/ 2480736 h 6072780"/>
                <a:gd name="connsiteX3978" fmla="*/ 2105417 w 12117871"/>
                <a:gd name="connsiteY3978" fmla="*/ 2591324 h 6072780"/>
                <a:gd name="connsiteX3979" fmla="*/ 2085332 w 12117871"/>
                <a:gd name="connsiteY3979" fmla="*/ 2674903 h 6072780"/>
                <a:gd name="connsiteX3980" fmla="*/ 2029134 w 12117871"/>
                <a:gd name="connsiteY3980" fmla="*/ 2703716 h 6072780"/>
                <a:gd name="connsiteX3981" fmla="*/ 1976549 w 12117871"/>
                <a:gd name="connsiteY3981" fmla="*/ 2676182 h 6072780"/>
                <a:gd name="connsiteX3982" fmla="*/ 1957666 w 12117871"/>
                <a:gd name="connsiteY3982" fmla="*/ 2596590 h 6072780"/>
                <a:gd name="connsiteX3983" fmla="*/ 1977376 w 12117871"/>
                <a:gd name="connsiteY3983" fmla="*/ 2510075 h 6072780"/>
                <a:gd name="connsiteX3984" fmla="*/ 2034250 w 12117871"/>
                <a:gd name="connsiteY3984" fmla="*/ 2480736 h 6072780"/>
                <a:gd name="connsiteX3985" fmla="*/ 1661890 w 12117871"/>
                <a:gd name="connsiteY3985" fmla="*/ 2480736 h 6072780"/>
                <a:gd name="connsiteX3986" fmla="*/ 1676796 w 12117871"/>
                <a:gd name="connsiteY3986" fmla="*/ 2480736 h 6072780"/>
                <a:gd name="connsiteX3987" fmla="*/ 1676796 w 12117871"/>
                <a:gd name="connsiteY3987" fmla="*/ 2703716 h 6072780"/>
                <a:gd name="connsiteX3988" fmla="*/ 1641507 w 12117871"/>
                <a:gd name="connsiteY3988" fmla="*/ 2703716 h 6072780"/>
                <a:gd name="connsiteX3989" fmla="*/ 1641507 w 12117871"/>
                <a:gd name="connsiteY3989" fmla="*/ 2523933 h 6072780"/>
                <a:gd name="connsiteX3990" fmla="*/ 1620898 w 12117871"/>
                <a:gd name="connsiteY3990" fmla="*/ 2535568 h 6072780"/>
                <a:gd name="connsiteX3991" fmla="*/ 1595726 w 12117871"/>
                <a:gd name="connsiteY3991" fmla="*/ 2544010 h 6072780"/>
                <a:gd name="connsiteX3992" fmla="*/ 1595726 w 12117871"/>
                <a:gd name="connsiteY3992" fmla="*/ 2513894 h 6072780"/>
                <a:gd name="connsiteX3993" fmla="*/ 1612761 w 12117871"/>
                <a:gd name="connsiteY3993" fmla="*/ 2507810 h 6072780"/>
                <a:gd name="connsiteX3994" fmla="*/ 1628960 w 12117871"/>
                <a:gd name="connsiteY3994" fmla="*/ 2500661 h 6072780"/>
                <a:gd name="connsiteX3995" fmla="*/ 1645083 w 12117871"/>
                <a:gd name="connsiteY3995" fmla="*/ 2491839 h 6072780"/>
                <a:gd name="connsiteX3996" fmla="*/ 1661890 w 12117871"/>
                <a:gd name="connsiteY3996" fmla="*/ 2480736 h 6072780"/>
                <a:gd name="connsiteX3997" fmla="*/ 1285224 w 12117871"/>
                <a:gd name="connsiteY3997" fmla="*/ 2480736 h 6072780"/>
                <a:gd name="connsiteX3998" fmla="*/ 1300130 w 12117871"/>
                <a:gd name="connsiteY3998" fmla="*/ 2480736 h 6072780"/>
                <a:gd name="connsiteX3999" fmla="*/ 1300130 w 12117871"/>
                <a:gd name="connsiteY3999" fmla="*/ 2703716 h 6072780"/>
                <a:gd name="connsiteX4000" fmla="*/ 1264841 w 12117871"/>
                <a:gd name="connsiteY4000" fmla="*/ 2703716 h 6072780"/>
                <a:gd name="connsiteX4001" fmla="*/ 1264841 w 12117871"/>
                <a:gd name="connsiteY4001" fmla="*/ 2523933 h 6072780"/>
                <a:gd name="connsiteX4002" fmla="*/ 1244232 w 12117871"/>
                <a:gd name="connsiteY4002" fmla="*/ 2535568 h 6072780"/>
                <a:gd name="connsiteX4003" fmla="*/ 1219060 w 12117871"/>
                <a:gd name="connsiteY4003" fmla="*/ 2544010 h 6072780"/>
                <a:gd name="connsiteX4004" fmla="*/ 1219060 w 12117871"/>
                <a:gd name="connsiteY4004" fmla="*/ 2513894 h 6072780"/>
                <a:gd name="connsiteX4005" fmla="*/ 1236094 w 12117871"/>
                <a:gd name="connsiteY4005" fmla="*/ 2507810 h 6072780"/>
                <a:gd name="connsiteX4006" fmla="*/ 1252294 w 12117871"/>
                <a:gd name="connsiteY4006" fmla="*/ 2500661 h 6072780"/>
                <a:gd name="connsiteX4007" fmla="*/ 1268416 w 12117871"/>
                <a:gd name="connsiteY4007" fmla="*/ 2491839 h 6072780"/>
                <a:gd name="connsiteX4008" fmla="*/ 1285224 w 12117871"/>
                <a:gd name="connsiteY4008" fmla="*/ 2480736 h 6072780"/>
                <a:gd name="connsiteX4009" fmla="*/ 985278 w 12117871"/>
                <a:gd name="connsiteY4009" fmla="*/ 2480736 h 6072780"/>
                <a:gd name="connsiteX4010" fmla="*/ 1000183 w 12117871"/>
                <a:gd name="connsiteY4010" fmla="*/ 2480736 h 6072780"/>
                <a:gd name="connsiteX4011" fmla="*/ 1000183 w 12117871"/>
                <a:gd name="connsiteY4011" fmla="*/ 2703716 h 6072780"/>
                <a:gd name="connsiteX4012" fmla="*/ 964896 w 12117871"/>
                <a:gd name="connsiteY4012" fmla="*/ 2703716 h 6072780"/>
                <a:gd name="connsiteX4013" fmla="*/ 964896 w 12117871"/>
                <a:gd name="connsiteY4013" fmla="*/ 2523933 h 6072780"/>
                <a:gd name="connsiteX4014" fmla="*/ 944286 w 12117871"/>
                <a:gd name="connsiteY4014" fmla="*/ 2535568 h 6072780"/>
                <a:gd name="connsiteX4015" fmla="*/ 919114 w 12117871"/>
                <a:gd name="connsiteY4015" fmla="*/ 2544010 h 6072780"/>
                <a:gd name="connsiteX4016" fmla="*/ 919114 w 12117871"/>
                <a:gd name="connsiteY4016" fmla="*/ 2513894 h 6072780"/>
                <a:gd name="connsiteX4017" fmla="*/ 936149 w 12117871"/>
                <a:gd name="connsiteY4017" fmla="*/ 2507810 h 6072780"/>
                <a:gd name="connsiteX4018" fmla="*/ 952348 w 12117871"/>
                <a:gd name="connsiteY4018" fmla="*/ 2500661 h 6072780"/>
                <a:gd name="connsiteX4019" fmla="*/ 968471 w 12117871"/>
                <a:gd name="connsiteY4019" fmla="*/ 2491839 h 6072780"/>
                <a:gd name="connsiteX4020" fmla="*/ 985278 w 12117871"/>
                <a:gd name="connsiteY4020" fmla="*/ 2480736 h 6072780"/>
                <a:gd name="connsiteX4021" fmla="*/ 779044 w 12117871"/>
                <a:gd name="connsiteY4021" fmla="*/ 2480736 h 6072780"/>
                <a:gd name="connsiteX4022" fmla="*/ 850211 w 12117871"/>
                <a:gd name="connsiteY4022" fmla="*/ 2591324 h 6072780"/>
                <a:gd name="connsiteX4023" fmla="*/ 830125 w 12117871"/>
                <a:gd name="connsiteY4023" fmla="*/ 2674903 h 6072780"/>
                <a:gd name="connsiteX4024" fmla="*/ 773928 w 12117871"/>
                <a:gd name="connsiteY4024" fmla="*/ 2703716 h 6072780"/>
                <a:gd name="connsiteX4025" fmla="*/ 721343 w 12117871"/>
                <a:gd name="connsiteY4025" fmla="*/ 2676182 h 6072780"/>
                <a:gd name="connsiteX4026" fmla="*/ 702460 w 12117871"/>
                <a:gd name="connsiteY4026" fmla="*/ 2596590 h 6072780"/>
                <a:gd name="connsiteX4027" fmla="*/ 722170 w 12117871"/>
                <a:gd name="connsiteY4027" fmla="*/ 2510075 h 6072780"/>
                <a:gd name="connsiteX4028" fmla="*/ 779044 w 12117871"/>
                <a:gd name="connsiteY4028" fmla="*/ 2480736 h 6072780"/>
                <a:gd name="connsiteX4029" fmla="*/ 558444 w 12117871"/>
                <a:gd name="connsiteY4029" fmla="*/ 2480736 h 6072780"/>
                <a:gd name="connsiteX4030" fmla="*/ 629611 w 12117871"/>
                <a:gd name="connsiteY4030" fmla="*/ 2591324 h 6072780"/>
                <a:gd name="connsiteX4031" fmla="*/ 609525 w 12117871"/>
                <a:gd name="connsiteY4031" fmla="*/ 2674903 h 6072780"/>
                <a:gd name="connsiteX4032" fmla="*/ 553328 w 12117871"/>
                <a:gd name="connsiteY4032" fmla="*/ 2703716 h 6072780"/>
                <a:gd name="connsiteX4033" fmla="*/ 500742 w 12117871"/>
                <a:gd name="connsiteY4033" fmla="*/ 2676182 h 6072780"/>
                <a:gd name="connsiteX4034" fmla="*/ 481860 w 12117871"/>
                <a:gd name="connsiteY4034" fmla="*/ 2596590 h 6072780"/>
                <a:gd name="connsiteX4035" fmla="*/ 501570 w 12117871"/>
                <a:gd name="connsiteY4035" fmla="*/ 2510075 h 6072780"/>
                <a:gd name="connsiteX4036" fmla="*/ 558444 w 12117871"/>
                <a:gd name="connsiteY4036" fmla="*/ 2480736 h 6072780"/>
                <a:gd name="connsiteX4037" fmla="*/ 391282 w 12117871"/>
                <a:gd name="connsiteY4037" fmla="*/ 2480736 h 6072780"/>
                <a:gd name="connsiteX4038" fmla="*/ 406188 w 12117871"/>
                <a:gd name="connsiteY4038" fmla="*/ 2480736 h 6072780"/>
                <a:gd name="connsiteX4039" fmla="*/ 406188 w 12117871"/>
                <a:gd name="connsiteY4039" fmla="*/ 2703716 h 6072780"/>
                <a:gd name="connsiteX4040" fmla="*/ 370900 w 12117871"/>
                <a:gd name="connsiteY4040" fmla="*/ 2703716 h 6072780"/>
                <a:gd name="connsiteX4041" fmla="*/ 370900 w 12117871"/>
                <a:gd name="connsiteY4041" fmla="*/ 2523933 h 6072780"/>
                <a:gd name="connsiteX4042" fmla="*/ 350291 w 12117871"/>
                <a:gd name="connsiteY4042" fmla="*/ 2535568 h 6072780"/>
                <a:gd name="connsiteX4043" fmla="*/ 325118 w 12117871"/>
                <a:gd name="connsiteY4043" fmla="*/ 2544010 h 6072780"/>
                <a:gd name="connsiteX4044" fmla="*/ 325118 w 12117871"/>
                <a:gd name="connsiteY4044" fmla="*/ 2513894 h 6072780"/>
                <a:gd name="connsiteX4045" fmla="*/ 342153 w 12117871"/>
                <a:gd name="connsiteY4045" fmla="*/ 2507810 h 6072780"/>
                <a:gd name="connsiteX4046" fmla="*/ 358352 w 12117871"/>
                <a:gd name="connsiteY4046" fmla="*/ 2500661 h 6072780"/>
                <a:gd name="connsiteX4047" fmla="*/ 374475 w 12117871"/>
                <a:gd name="connsiteY4047" fmla="*/ 2491839 h 6072780"/>
                <a:gd name="connsiteX4048" fmla="*/ 391282 w 12117871"/>
                <a:gd name="connsiteY4048" fmla="*/ 2480736 h 6072780"/>
                <a:gd name="connsiteX4049" fmla="*/ 91336 w 12117871"/>
                <a:gd name="connsiteY4049" fmla="*/ 2480736 h 6072780"/>
                <a:gd name="connsiteX4050" fmla="*/ 106242 w 12117871"/>
                <a:gd name="connsiteY4050" fmla="*/ 2480736 h 6072780"/>
                <a:gd name="connsiteX4051" fmla="*/ 106242 w 12117871"/>
                <a:gd name="connsiteY4051" fmla="*/ 2703716 h 6072780"/>
                <a:gd name="connsiteX4052" fmla="*/ 70954 w 12117871"/>
                <a:gd name="connsiteY4052" fmla="*/ 2703716 h 6072780"/>
                <a:gd name="connsiteX4053" fmla="*/ 70954 w 12117871"/>
                <a:gd name="connsiteY4053" fmla="*/ 2523933 h 6072780"/>
                <a:gd name="connsiteX4054" fmla="*/ 50345 w 12117871"/>
                <a:gd name="connsiteY4054" fmla="*/ 2535568 h 6072780"/>
                <a:gd name="connsiteX4055" fmla="*/ 25172 w 12117871"/>
                <a:gd name="connsiteY4055" fmla="*/ 2544010 h 6072780"/>
                <a:gd name="connsiteX4056" fmla="*/ 25172 w 12117871"/>
                <a:gd name="connsiteY4056" fmla="*/ 2513894 h 6072780"/>
                <a:gd name="connsiteX4057" fmla="*/ 42207 w 12117871"/>
                <a:gd name="connsiteY4057" fmla="*/ 2507810 h 6072780"/>
                <a:gd name="connsiteX4058" fmla="*/ 58406 w 12117871"/>
                <a:gd name="connsiteY4058" fmla="*/ 2500661 h 6072780"/>
                <a:gd name="connsiteX4059" fmla="*/ 74529 w 12117871"/>
                <a:gd name="connsiteY4059" fmla="*/ 2491839 h 6072780"/>
                <a:gd name="connsiteX4060" fmla="*/ 91336 w 12117871"/>
                <a:gd name="connsiteY4060" fmla="*/ 2480736 h 6072780"/>
                <a:gd name="connsiteX4061" fmla="*/ 11987506 w 12117871"/>
                <a:gd name="connsiteY4061" fmla="*/ 2204600 h 6072780"/>
                <a:gd name="connsiteX4062" fmla="*/ 11948236 w 12117871"/>
                <a:gd name="connsiteY4062" fmla="*/ 2291114 h 6072780"/>
                <a:gd name="connsiteX4063" fmla="*/ 11986754 w 12117871"/>
                <a:gd name="connsiteY4063" fmla="*/ 2372061 h 6072780"/>
                <a:gd name="connsiteX4064" fmla="*/ 12024669 w 12117871"/>
                <a:gd name="connsiteY4064" fmla="*/ 2289760 h 6072780"/>
                <a:gd name="connsiteX4065" fmla="*/ 11987506 w 12117871"/>
                <a:gd name="connsiteY4065" fmla="*/ 2204600 h 6072780"/>
                <a:gd name="connsiteX4066" fmla="*/ 11770996 w 12117871"/>
                <a:gd name="connsiteY4066" fmla="*/ 2204600 h 6072780"/>
                <a:gd name="connsiteX4067" fmla="*/ 11731726 w 12117871"/>
                <a:gd name="connsiteY4067" fmla="*/ 2291114 h 6072780"/>
                <a:gd name="connsiteX4068" fmla="*/ 11770244 w 12117871"/>
                <a:gd name="connsiteY4068" fmla="*/ 2372061 h 6072780"/>
                <a:gd name="connsiteX4069" fmla="*/ 11808159 w 12117871"/>
                <a:gd name="connsiteY4069" fmla="*/ 2289760 h 6072780"/>
                <a:gd name="connsiteX4070" fmla="*/ 11770996 w 12117871"/>
                <a:gd name="connsiteY4070" fmla="*/ 2204600 h 6072780"/>
                <a:gd name="connsiteX4071" fmla="*/ 6976208 w 12117871"/>
                <a:gd name="connsiteY4071" fmla="*/ 2204600 h 6072780"/>
                <a:gd name="connsiteX4072" fmla="*/ 6936938 w 12117871"/>
                <a:gd name="connsiteY4072" fmla="*/ 2291114 h 6072780"/>
                <a:gd name="connsiteX4073" fmla="*/ 6975456 w 12117871"/>
                <a:gd name="connsiteY4073" fmla="*/ 2372061 h 6072780"/>
                <a:gd name="connsiteX4074" fmla="*/ 7013371 w 12117871"/>
                <a:gd name="connsiteY4074" fmla="*/ 2289760 h 6072780"/>
                <a:gd name="connsiteX4075" fmla="*/ 6976208 w 12117871"/>
                <a:gd name="connsiteY4075" fmla="*/ 2204600 h 6072780"/>
                <a:gd name="connsiteX4076" fmla="*/ 6759698 w 12117871"/>
                <a:gd name="connsiteY4076" fmla="*/ 2204600 h 6072780"/>
                <a:gd name="connsiteX4077" fmla="*/ 6720428 w 12117871"/>
                <a:gd name="connsiteY4077" fmla="*/ 2291114 h 6072780"/>
                <a:gd name="connsiteX4078" fmla="*/ 6758946 w 12117871"/>
                <a:gd name="connsiteY4078" fmla="*/ 2372061 h 6072780"/>
                <a:gd name="connsiteX4079" fmla="*/ 6796861 w 12117871"/>
                <a:gd name="connsiteY4079" fmla="*/ 2289760 h 6072780"/>
                <a:gd name="connsiteX4080" fmla="*/ 6759698 w 12117871"/>
                <a:gd name="connsiteY4080" fmla="*/ 2204600 h 6072780"/>
                <a:gd name="connsiteX4081" fmla="*/ 6141921 w 12117871"/>
                <a:gd name="connsiteY4081" fmla="*/ 2204600 h 6072780"/>
                <a:gd name="connsiteX4082" fmla="*/ 6102651 w 12117871"/>
                <a:gd name="connsiteY4082" fmla="*/ 2291114 h 6072780"/>
                <a:gd name="connsiteX4083" fmla="*/ 6141169 w 12117871"/>
                <a:gd name="connsiteY4083" fmla="*/ 2372061 h 6072780"/>
                <a:gd name="connsiteX4084" fmla="*/ 6179084 w 12117871"/>
                <a:gd name="connsiteY4084" fmla="*/ 2289760 h 6072780"/>
                <a:gd name="connsiteX4085" fmla="*/ 6141921 w 12117871"/>
                <a:gd name="connsiteY4085" fmla="*/ 2204600 h 6072780"/>
                <a:gd name="connsiteX4086" fmla="*/ 5925411 w 12117871"/>
                <a:gd name="connsiteY4086" fmla="*/ 2204600 h 6072780"/>
                <a:gd name="connsiteX4087" fmla="*/ 5886141 w 12117871"/>
                <a:gd name="connsiteY4087" fmla="*/ 2291114 h 6072780"/>
                <a:gd name="connsiteX4088" fmla="*/ 5924659 w 12117871"/>
                <a:gd name="connsiteY4088" fmla="*/ 2372061 h 6072780"/>
                <a:gd name="connsiteX4089" fmla="*/ 5962574 w 12117871"/>
                <a:gd name="connsiteY4089" fmla="*/ 2289760 h 6072780"/>
                <a:gd name="connsiteX4090" fmla="*/ 5925411 w 12117871"/>
                <a:gd name="connsiteY4090" fmla="*/ 2204600 h 6072780"/>
                <a:gd name="connsiteX4091" fmla="*/ 5701303 w 12117871"/>
                <a:gd name="connsiteY4091" fmla="*/ 2204600 h 6072780"/>
                <a:gd name="connsiteX4092" fmla="*/ 5662035 w 12117871"/>
                <a:gd name="connsiteY4092" fmla="*/ 2291114 h 6072780"/>
                <a:gd name="connsiteX4093" fmla="*/ 5700551 w 12117871"/>
                <a:gd name="connsiteY4093" fmla="*/ 2372061 h 6072780"/>
                <a:gd name="connsiteX4094" fmla="*/ 5738467 w 12117871"/>
                <a:gd name="connsiteY4094" fmla="*/ 2289760 h 6072780"/>
                <a:gd name="connsiteX4095" fmla="*/ 5701303 w 12117871"/>
                <a:gd name="connsiteY4095" fmla="*/ 2204600 h 6072780"/>
                <a:gd name="connsiteX4096" fmla="*/ 923326 w 12117871"/>
                <a:gd name="connsiteY4096" fmla="*/ 2204600 h 6072780"/>
                <a:gd name="connsiteX4097" fmla="*/ 884056 w 12117871"/>
                <a:gd name="connsiteY4097" fmla="*/ 2291114 h 6072780"/>
                <a:gd name="connsiteX4098" fmla="*/ 922574 w 12117871"/>
                <a:gd name="connsiteY4098" fmla="*/ 2372061 h 6072780"/>
                <a:gd name="connsiteX4099" fmla="*/ 960489 w 12117871"/>
                <a:gd name="connsiteY4099" fmla="*/ 2289760 h 6072780"/>
                <a:gd name="connsiteX4100" fmla="*/ 923326 w 12117871"/>
                <a:gd name="connsiteY4100" fmla="*/ 2204600 h 6072780"/>
                <a:gd name="connsiteX4101" fmla="*/ 707049 w 12117871"/>
                <a:gd name="connsiteY4101" fmla="*/ 2204600 h 6072780"/>
                <a:gd name="connsiteX4102" fmla="*/ 667781 w 12117871"/>
                <a:gd name="connsiteY4102" fmla="*/ 2291114 h 6072780"/>
                <a:gd name="connsiteX4103" fmla="*/ 706298 w 12117871"/>
                <a:gd name="connsiteY4103" fmla="*/ 2372061 h 6072780"/>
                <a:gd name="connsiteX4104" fmla="*/ 744214 w 12117871"/>
                <a:gd name="connsiteY4104" fmla="*/ 2289760 h 6072780"/>
                <a:gd name="connsiteX4105" fmla="*/ 707049 w 12117871"/>
                <a:gd name="connsiteY4105" fmla="*/ 2204600 h 6072780"/>
                <a:gd name="connsiteX4106" fmla="*/ 85445 w 12117871"/>
                <a:gd name="connsiteY4106" fmla="*/ 2204600 h 6072780"/>
                <a:gd name="connsiteX4107" fmla="*/ 46174 w 12117871"/>
                <a:gd name="connsiteY4107" fmla="*/ 2291114 h 6072780"/>
                <a:gd name="connsiteX4108" fmla="*/ 84690 w 12117871"/>
                <a:gd name="connsiteY4108" fmla="*/ 2372061 h 6072780"/>
                <a:gd name="connsiteX4109" fmla="*/ 122606 w 12117871"/>
                <a:gd name="connsiteY4109" fmla="*/ 2289760 h 6072780"/>
                <a:gd name="connsiteX4110" fmla="*/ 85445 w 12117871"/>
                <a:gd name="connsiteY4110" fmla="*/ 2204600 h 6072780"/>
                <a:gd name="connsiteX4111" fmla="*/ 11989161 w 12117871"/>
                <a:gd name="connsiteY4111" fmla="*/ 2176765 h 6072780"/>
                <a:gd name="connsiteX4112" fmla="*/ 12060328 w 12117871"/>
                <a:gd name="connsiteY4112" fmla="*/ 2287352 h 6072780"/>
                <a:gd name="connsiteX4113" fmla="*/ 12040242 w 12117871"/>
                <a:gd name="connsiteY4113" fmla="*/ 2370932 h 6072780"/>
                <a:gd name="connsiteX4114" fmla="*/ 11984045 w 12117871"/>
                <a:gd name="connsiteY4114" fmla="*/ 2399745 h 6072780"/>
                <a:gd name="connsiteX4115" fmla="*/ 11931460 w 12117871"/>
                <a:gd name="connsiteY4115" fmla="*/ 2372211 h 6072780"/>
                <a:gd name="connsiteX4116" fmla="*/ 11912577 w 12117871"/>
                <a:gd name="connsiteY4116" fmla="*/ 2292619 h 6072780"/>
                <a:gd name="connsiteX4117" fmla="*/ 11932287 w 12117871"/>
                <a:gd name="connsiteY4117" fmla="*/ 2206104 h 6072780"/>
                <a:gd name="connsiteX4118" fmla="*/ 11989161 w 12117871"/>
                <a:gd name="connsiteY4118" fmla="*/ 2176765 h 6072780"/>
                <a:gd name="connsiteX4119" fmla="*/ 11772651 w 12117871"/>
                <a:gd name="connsiteY4119" fmla="*/ 2176765 h 6072780"/>
                <a:gd name="connsiteX4120" fmla="*/ 11843818 w 12117871"/>
                <a:gd name="connsiteY4120" fmla="*/ 2287352 h 6072780"/>
                <a:gd name="connsiteX4121" fmla="*/ 11823732 w 12117871"/>
                <a:gd name="connsiteY4121" fmla="*/ 2370932 h 6072780"/>
                <a:gd name="connsiteX4122" fmla="*/ 11767535 w 12117871"/>
                <a:gd name="connsiteY4122" fmla="*/ 2399745 h 6072780"/>
                <a:gd name="connsiteX4123" fmla="*/ 11714950 w 12117871"/>
                <a:gd name="connsiteY4123" fmla="*/ 2372211 h 6072780"/>
                <a:gd name="connsiteX4124" fmla="*/ 11696067 w 12117871"/>
                <a:gd name="connsiteY4124" fmla="*/ 2292619 h 6072780"/>
                <a:gd name="connsiteX4125" fmla="*/ 11715777 w 12117871"/>
                <a:gd name="connsiteY4125" fmla="*/ 2206104 h 6072780"/>
                <a:gd name="connsiteX4126" fmla="*/ 11772651 w 12117871"/>
                <a:gd name="connsiteY4126" fmla="*/ 2176765 h 6072780"/>
                <a:gd name="connsiteX4127" fmla="*/ 11621096 w 12117871"/>
                <a:gd name="connsiteY4127" fmla="*/ 2176765 h 6072780"/>
                <a:gd name="connsiteX4128" fmla="*/ 11636002 w 12117871"/>
                <a:gd name="connsiteY4128" fmla="*/ 2176765 h 6072780"/>
                <a:gd name="connsiteX4129" fmla="*/ 11636002 w 12117871"/>
                <a:gd name="connsiteY4129" fmla="*/ 2399745 h 6072780"/>
                <a:gd name="connsiteX4130" fmla="*/ 11600714 w 12117871"/>
                <a:gd name="connsiteY4130" fmla="*/ 2399745 h 6072780"/>
                <a:gd name="connsiteX4131" fmla="*/ 11600714 w 12117871"/>
                <a:gd name="connsiteY4131" fmla="*/ 2219962 h 6072780"/>
                <a:gd name="connsiteX4132" fmla="*/ 11580105 w 12117871"/>
                <a:gd name="connsiteY4132" fmla="*/ 2231597 h 6072780"/>
                <a:gd name="connsiteX4133" fmla="*/ 11554932 w 12117871"/>
                <a:gd name="connsiteY4133" fmla="*/ 2240039 h 6072780"/>
                <a:gd name="connsiteX4134" fmla="*/ 11554932 w 12117871"/>
                <a:gd name="connsiteY4134" fmla="*/ 2209923 h 6072780"/>
                <a:gd name="connsiteX4135" fmla="*/ 11571967 w 12117871"/>
                <a:gd name="connsiteY4135" fmla="*/ 2203839 h 6072780"/>
                <a:gd name="connsiteX4136" fmla="*/ 11588166 w 12117871"/>
                <a:gd name="connsiteY4136" fmla="*/ 2196690 h 6072780"/>
                <a:gd name="connsiteX4137" fmla="*/ 11604289 w 12117871"/>
                <a:gd name="connsiteY4137" fmla="*/ 2187868 h 6072780"/>
                <a:gd name="connsiteX4138" fmla="*/ 11621096 w 12117871"/>
                <a:gd name="connsiteY4138" fmla="*/ 2176765 h 6072780"/>
                <a:gd name="connsiteX4139" fmla="*/ 11318321 w 12117871"/>
                <a:gd name="connsiteY4139" fmla="*/ 2176765 h 6072780"/>
                <a:gd name="connsiteX4140" fmla="*/ 11333227 w 12117871"/>
                <a:gd name="connsiteY4140" fmla="*/ 2176765 h 6072780"/>
                <a:gd name="connsiteX4141" fmla="*/ 11333227 w 12117871"/>
                <a:gd name="connsiteY4141" fmla="*/ 2399745 h 6072780"/>
                <a:gd name="connsiteX4142" fmla="*/ 11297939 w 12117871"/>
                <a:gd name="connsiteY4142" fmla="*/ 2399745 h 6072780"/>
                <a:gd name="connsiteX4143" fmla="*/ 11297939 w 12117871"/>
                <a:gd name="connsiteY4143" fmla="*/ 2219962 h 6072780"/>
                <a:gd name="connsiteX4144" fmla="*/ 11277330 w 12117871"/>
                <a:gd name="connsiteY4144" fmla="*/ 2231597 h 6072780"/>
                <a:gd name="connsiteX4145" fmla="*/ 11252157 w 12117871"/>
                <a:gd name="connsiteY4145" fmla="*/ 2240039 h 6072780"/>
                <a:gd name="connsiteX4146" fmla="*/ 11252157 w 12117871"/>
                <a:gd name="connsiteY4146" fmla="*/ 2209923 h 6072780"/>
                <a:gd name="connsiteX4147" fmla="*/ 11269192 w 12117871"/>
                <a:gd name="connsiteY4147" fmla="*/ 2203839 h 6072780"/>
                <a:gd name="connsiteX4148" fmla="*/ 11285391 w 12117871"/>
                <a:gd name="connsiteY4148" fmla="*/ 2196690 h 6072780"/>
                <a:gd name="connsiteX4149" fmla="*/ 11301514 w 12117871"/>
                <a:gd name="connsiteY4149" fmla="*/ 2187868 h 6072780"/>
                <a:gd name="connsiteX4150" fmla="*/ 11318321 w 12117871"/>
                <a:gd name="connsiteY4150" fmla="*/ 2176765 h 6072780"/>
                <a:gd name="connsiteX4151" fmla="*/ 10941157 w 12117871"/>
                <a:gd name="connsiteY4151" fmla="*/ 2176765 h 6072780"/>
                <a:gd name="connsiteX4152" fmla="*/ 10956063 w 12117871"/>
                <a:gd name="connsiteY4152" fmla="*/ 2176765 h 6072780"/>
                <a:gd name="connsiteX4153" fmla="*/ 10956063 w 12117871"/>
                <a:gd name="connsiteY4153" fmla="*/ 2399745 h 6072780"/>
                <a:gd name="connsiteX4154" fmla="*/ 10920775 w 12117871"/>
                <a:gd name="connsiteY4154" fmla="*/ 2399745 h 6072780"/>
                <a:gd name="connsiteX4155" fmla="*/ 10920775 w 12117871"/>
                <a:gd name="connsiteY4155" fmla="*/ 2219962 h 6072780"/>
                <a:gd name="connsiteX4156" fmla="*/ 10900166 w 12117871"/>
                <a:gd name="connsiteY4156" fmla="*/ 2231597 h 6072780"/>
                <a:gd name="connsiteX4157" fmla="*/ 10874993 w 12117871"/>
                <a:gd name="connsiteY4157" fmla="*/ 2240039 h 6072780"/>
                <a:gd name="connsiteX4158" fmla="*/ 10874993 w 12117871"/>
                <a:gd name="connsiteY4158" fmla="*/ 2209923 h 6072780"/>
                <a:gd name="connsiteX4159" fmla="*/ 10892028 w 12117871"/>
                <a:gd name="connsiteY4159" fmla="*/ 2203839 h 6072780"/>
                <a:gd name="connsiteX4160" fmla="*/ 10908227 w 12117871"/>
                <a:gd name="connsiteY4160" fmla="*/ 2196690 h 6072780"/>
                <a:gd name="connsiteX4161" fmla="*/ 10924350 w 12117871"/>
                <a:gd name="connsiteY4161" fmla="*/ 2187868 h 6072780"/>
                <a:gd name="connsiteX4162" fmla="*/ 10941157 w 12117871"/>
                <a:gd name="connsiteY4162" fmla="*/ 2176765 h 6072780"/>
                <a:gd name="connsiteX4163" fmla="*/ 10792300 w 12117871"/>
                <a:gd name="connsiteY4163" fmla="*/ 2176765 h 6072780"/>
                <a:gd name="connsiteX4164" fmla="*/ 10807206 w 12117871"/>
                <a:gd name="connsiteY4164" fmla="*/ 2176765 h 6072780"/>
                <a:gd name="connsiteX4165" fmla="*/ 10807206 w 12117871"/>
                <a:gd name="connsiteY4165" fmla="*/ 2399745 h 6072780"/>
                <a:gd name="connsiteX4166" fmla="*/ 10771918 w 12117871"/>
                <a:gd name="connsiteY4166" fmla="*/ 2399745 h 6072780"/>
                <a:gd name="connsiteX4167" fmla="*/ 10771918 w 12117871"/>
                <a:gd name="connsiteY4167" fmla="*/ 2219962 h 6072780"/>
                <a:gd name="connsiteX4168" fmla="*/ 10751309 w 12117871"/>
                <a:gd name="connsiteY4168" fmla="*/ 2231597 h 6072780"/>
                <a:gd name="connsiteX4169" fmla="*/ 10726136 w 12117871"/>
                <a:gd name="connsiteY4169" fmla="*/ 2240039 h 6072780"/>
                <a:gd name="connsiteX4170" fmla="*/ 10726136 w 12117871"/>
                <a:gd name="connsiteY4170" fmla="*/ 2209923 h 6072780"/>
                <a:gd name="connsiteX4171" fmla="*/ 10743171 w 12117871"/>
                <a:gd name="connsiteY4171" fmla="*/ 2203839 h 6072780"/>
                <a:gd name="connsiteX4172" fmla="*/ 10759370 w 12117871"/>
                <a:gd name="connsiteY4172" fmla="*/ 2196690 h 6072780"/>
                <a:gd name="connsiteX4173" fmla="*/ 10775493 w 12117871"/>
                <a:gd name="connsiteY4173" fmla="*/ 2187868 h 6072780"/>
                <a:gd name="connsiteX4174" fmla="*/ 10792300 w 12117871"/>
                <a:gd name="connsiteY4174" fmla="*/ 2176765 h 6072780"/>
                <a:gd name="connsiteX4175" fmla="*/ 10638382 w 12117871"/>
                <a:gd name="connsiteY4175" fmla="*/ 2176765 h 6072780"/>
                <a:gd name="connsiteX4176" fmla="*/ 10653288 w 12117871"/>
                <a:gd name="connsiteY4176" fmla="*/ 2176765 h 6072780"/>
                <a:gd name="connsiteX4177" fmla="*/ 10653288 w 12117871"/>
                <a:gd name="connsiteY4177" fmla="*/ 2399745 h 6072780"/>
                <a:gd name="connsiteX4178" fmla="*/ 10618000 w 12117871"/>
                <a:gd name="connsiteY4178" fmla="*/ 2399745 h 6072780"/>
                <a:gd name="connsiteX4179" fmla="*/ 10618000 w 12117871"/>
                <a:gd name="connsiteY4179" fmla="*/ 2219962 h 6072780"/>
                <a:gd name="connsiteX4180" fmla="*/ 10597391 w 12117871"/>
                <a:gd name="connsiteY4180" fmla="*/ 2231597 h 6072780"/>
                <a:gd name="connsiteX4181" fmla="*/ 10572218 w 12117871"/>
                <a:gd name="connsiteY4181" fmla="*/ 2240039 h 6072780"/>
                <a:gd name="connsiteX4182" fmla="*/ 10572218 w 12117871"/>
                <a:gd name="connsiteY4182" fmla="*/ 2209923 h 6072780"/>
                <a:gd name="connsiteX4183" fmla="*/ 10589253 w 12117871"/>
                <a:gd name="connsiteY4183" fmla="*/ 2203839 h 6072780"/>
                <a:gd name="connsiteX4184" fmla="*/ 10605452 w 12117871"/>
                <a:gd name="connsiteY4184" fmla="*/ 2196690 h 6072780"/>
                <a:gd name="connsiteX4185" fmla="*/ 10621575 w 12117871"/>
                <a:gd name="connsiteY4185" fmla="*/ 2187868 h 6072780"/>
                <a:gd name="connsiteX4186" fmla="*/ 10638382 w 12117871"/>
                <a:gd name="connsiteY4186" fmla="*/ 2176765 h 6072780"/>
                <a:gd name="connsiteX4187" fmla="*/ 10489525 w 12117871"/>
                <a:gd name="connsiteY4187" fmla="*/ 2176765 h 6072780"/>
                <a:gd name="connsiteX4188" fmla="*/ 10504431 w 12117871"/>
                <a:gd name="connsiteY4188" fmla="*/ 2176765 h 6072780"/>
                <a:gd name="connsiteX4189" fmla="*/ 10504431 w 12117871"/>
                <a:gd name="connsiteY4189" fmla="*/ 2399745 h 6072780"/>
                <a:gd name="connsiteX4190" fmla="*/ 10469143 w 12117871"/>
                <a:gd name="connsiteY4190" fmla="*/ 2399745 h 6072780"/>
                <a:gd name="connsiteX4191" fmla="*/ 10469143 w 12117871"/>
                <a:gd name="connsiteY4191" fmla="*/ 2219962 h 6072780"/>
                <a:gd name="connsiteX4192" fmla="*/ 10448534 w 12117871"/>
                <a:gd name="connsiteY4192" fmla="*/ 2231597 h 6072780"/>
                <a:gd name="connsiteX4193" fmla="*/ 10423361 w 12117871"/>
                <a:gd name="connsiteY4193" fmla="*/ 2240039 h 6072780"/>
                <a:gd name="connsiteX4194" fmla="*/ 10423361 w 12117871"/>
                <a:gd name="connsiteY4194" fmla="*/ 2209923 h 6072780"/>
                <a:gd name="connsiteX4195" fmla="*/ 10440396 w 12117871"/>
                <a:gd name="connsiteY4195" fmla="*/ 2203839 h 6072780"/>
                <a:gd name="connsiteX4196" fmla="*/ 10456595 w 12117871"/>
                <a:gd name="connsiteY4196" fmla="*/ 2196690 h 6072780"/>
                <a:gd name="connsiteX4197" fmla="*/ 10472718 w 12117871"/>
                <a:gd name="connsiteY4197" fmla="*/ 2187868 h 6072780"/>
                <a:gd name="connsiteX4198" fmla="*/ 10489525 w 12117871"/>
                <a:gd name="connsiteY4198" fmla="*/ 2176765 h 6072780"/>
                <a:gd name="connsiteX4199" fmla="*/ 9768134 w 12117871"/>
                <a:gd name="connsiteY4199" fmla="*/ 2176765 h 6072780"/>
                <a:gd name="connsiteX4200" fmla="*/ 9783040 w 12117871"/>
                <a:gd name="connsiteY4200" fmla="*/ 2176765 h 6072780"/>
                <a:gd name="connsiteX4201" fmla="*/ 9783040 w 12117871"/>
                <a:gd name="connsiteY4201" fmla="*/ 2399745 h 6072780"/>
                <a:gd name="connsiteX4202" fmla="*/ 9747752 w 12117871"/>
                <a:gd name="connsiteY4202" fmla="*/ 2399745 h 6072780"/>
                <a:gd name="connsiteX4203" fmla="*/ 9747752 w 12117871"/>
                <a:gd name="connsiteY4203" fmla="*/ 2219962 h 6072780"/>
                <a:gd name="connsiteX4204" fmla="*/ 9727143 w 12117871"/>
                <a:gd name="connsiteY4204" fmla="*/ 2231597 h 6072780"/>
                <a:gd name="connsiteX4205" fmla="*/ 9701970 w 12117871"/>
                <a:gd name="connsiteY4205" fmla="*/ 2240039 h 6072780"/>
                <a:gd name="connsiteX4206" fmla="*/ 9701970 w 12117871"/>
                <a:gd name="connsiteY4206" fmla="*/ 2209923 h 6072780"/>
                <a:gd name="connsiteX4207" fmla="*/ 9719005 w 12117871"/>
                <a:gd name="connsiteY4207" fmla="*/ 2203839 h 6072780"/>
                <a:gd name="connsiteX4208" fmla="*/ 9735204 w 12117871"/>
                <a:gd name="connsiteY4208" fmla="*/ 2196690 h 6072780"/>
                <a:gd name="connsiteX4209" fmla="*/ 9751327 w 12117871"/>
                <a:gd name="connsiteY4209" fmla="*/ 2187868 h 6072780"/>
                <a:gd name="connsiteX4210" fmla="*/ 9768134 w 12117871"/>
                <a:gd name="connsiteY4210" fmla="*/ 2176765 h 6072780"/>
                <a:gd name="connsiteX4211" fmla="*/ 9619277 w 12117871"/>
                <a:gd name="connsiteY4211" fmla="*/ 2176765 h 6072780"/>
                <a:gd name="connsiteX4212" fmla="*/ 9634183 w 12117871"/>
                <a:gd name="connsiteY4212" fmla="*/ 2176765 h 6072780"/>
                <a:gd name="connsiteX4213" fmla="*/ 9634183 w 12117871"/>
                <a:gd name="connsiteY4213" fmla="*/ 2399745 h 6072780"/>
                <a:gd name="connsiteX4214" fmla="*/ 9598895 w 12117871"/>
                <a:gd name="connsiteY4214" fmla="*/ 2399745 h 6072780"/>
                <a:gd name="connsiteX4215" fmla="*/ 9598895 w 12117871"/>
                <a:gd name="connsiteY4215" fmla="*/ 2219962 h 6072780"/>
                <a:gd name="connsiteX4216" fmla="*/ 9578286 w 12117871"/>
                <a:gd name="connsiteY4216" fmla="*/ 2231597 h 6072780"/>
                <a:gd name="connsiteX4217" fmla="*/ 9553113 w 12117871"/>
                <a:gd name="connsiteY4217" fmla="*/ 2240039 h 6072780"/>
                <a:gd name="connsiteX4218" fmla="*/ 9553113 w 12117871"/>
                <a:gd name="connsiteY4218" fmla="*/ 2209923 h 6072780"/>
                <a:gd name="connsiteX4219" fmla="*/ 9570148 w 12117871"/>
                <a:gd name="connsiteY4219" fmla="*/ 2203839 h 6072780"/>
                <a:gd name="connsiteX4220" fmla="*/ 9586347 w 12117871"/>
                <a:gd name="connsiteY4220" fmla="*/ 2196690 h 6072780"/>
                <a:gd name="connsiteX4221" fmla="*/ 9602470 w 12117871"/>
                <a:gd name="connsiteY4221" fmla="*/ 2187868 h 6072780"/>
                <a:gd name="connsiteX4222" fmla="*/ 9619277 w 12117871"/>
                <a:gd name="connsiteY4222" fmla="*/ 2176765 h 6072780"/>
                <a:gd name="connsiteX4223" fmla="*/ 8816172 w 12117871"/>
                <a:gd name="connsiteY4223" fmla="*/ 2176765 h 6072780"/>
                <a:gd name="connsiteX4224" fmla="*/ 8831078 w 12117871"/>
                <a:gd name="connsiteY4224" fmla="*/ 2176765 h 6072780"/>
                <a:gd name="connsiteX4225" fmla="*/ 8831078 w 12117871"/>
                <a:gd name="connsiteY4225" fmla="*/ 2399745 h 6072780"/>
                <a:gd name="connsiteX4226" fmla="*/ 8795790 w 12117871"/>
                <a:gd name="connsiteY4226" fmla="*/ 2399745 h 6072780"/>
                <a:gd name="connsiteX4227" fmla="*/ 8795790 w 12117871"/>
                <a:gd name="connsiteY4227" fmla="*/ 2219962 h 6072780"/>
                <a:gd name="connsiteX4228" fmla="*/ 8775181 w 12117871"/>
                <a:gd name="connsiteY4228" fmla="*/ 2231597 h 6072780"/>
                <a:gd name="connsiteX4229" fmla="*/ 8750008 w 12117871"/>
                <a:gd name="connsiteY4229" fmla="*/ 2240039 h 6072780"/>
                <a:gd name="connsiteX4230" fmla="*/ 8750008 w 12117871"/>
                <a:gd name="connsiteY4230" fmla="*/ 2209923 h 6072780"/>
                <a:gd name="connsiteX4231" fmla="*/ 8767043 w 12117871"/>
                <a:gd name="connsiteY4231" fmla="*/ 2203839 h 6072780"/>
                <a:gd name="connsiteX4232" fmla="*/ 8783242 w 12117871"/>
                <a:gd name="connsiteY4232" fmla="*/ 2196690 h 6072780"/>
                <a:gd name="connsiteX4233" fmla="*/ 8799365 w 12117871"/>
                <a:gd name="connsiteY4233" fmla="*/ 2187868 h 6072780"/>
                <a:gd name="connsiteX4234" fmla="*/ 8816172 w 12117871"/>
                <a:gd name="connsiteY4234" fmla="*/ 2176765 h 6072780"/>
                <a:gd name="connsiteX4235" fmla="*/ 8437565 w 12117871"/>
                <a:gd name="connsiteY4235" fmla="*/ 2176765 h 6072780"/>
                <a:gd name="connsiteX4236" fmla="*/ 8452471 w 12117871"/>
                <a:gd name="connsiteY4236" fmla="*/ 2176765 h 6072780"/>
                <a:gd name="connsiteX4237" fmla="*/ 8452471 w 12117871"/>
                <a:gd name="connsiteY4237" fmla="*/ 2399745 h 6072780"/>
                <a:gd name="connsiteX4238" fmla="*/ 8417183 w 12117871"/>
                <a:gd name="connsiteY4238" fmla="*/ 2399745 h 6072780"/>
                <a:gd name="connsiteX4239" fmla="*/ 8417183 w 12117871"/>
                <a:gd name="connsiteY4239" fmla="*/ 2219962 h 6072780"/>
                <a:gd name="connsiteX4240" fmla="*/ 8396574 w 12117871"/>
                <a:gd name="connsiteY4240" fmla="*/ 2231597 h 6072780"/>
                <a:gd name="connsiteX4241" fmla="*/ 8371401 w 12117871"/>
                <a:gd name="connsiteY4241" fmla="*/ 2240039 h 6072780"/>
                <a:gd name="connsiteX4242" fmla="*/ 8371401 w 12117871"/>
                <a:gd name="connsiteY4242" fmla="*/ 2209923 h 6072780"/>
                <a:gd name="connsiteX4243" fmla="*/ 8388436 w 12117871"/>
                <a:gd name="connsiteY4243" fmla="*/ 2203839 h 6072780"/>
                <a:gd name="connsiteX4244" fmla="*/ 8404635 w 12117871"/>
                <a:gd name="connsiteY4244" fmla="*/ 2196690 h 6072780"/>
                <a:gd name="connsiteX4245" fmla="*/ 8420758 w 12117871"/>
                <a:gd name="connsiteY4245" fmla="*/ 2187868 h 6072780"/>
                <a:gd name="connsiteX4246" fmla="*/ 8437565 w 12117871"/>
                <a:gd name="connsiteY4246" fmla="*/ 2176765 h 6072780"/>
                <a:gd name="connsiteX4247" fmla="*/ 8288708 w 12117871"/>
                <a:gd name="connsiteY4247" fmla="*/ 2176765 h 6072780"/>
                <a:gd name="connsiteX4248" fmla="*/ 8303614 w 12117871"/>
                <a:gd name="connsiteY4248" fmla="*/ 2176765 h 6072780"/>
                <a:gd name="connsiteX4249" fmla="*/ 8303614 w 12117871"/>
                <a:gd name="connsiteY4249" fmla="*/ 2399745 h 6072780"/>
                <a:gd name="connsiteX4250" fmla="*/ 8268326 w 12117871"/>
                <a:gd name="connsiteY4250" fmla="*/ 2399745 h 6072780"/>
                <a:gd name="connsiteX4251" fmla="*/ 8268326 w 12117871"/>
                <a:gd name="connsiteY4251" fmla="*/ 2219962 h 6072780"/>
                <a:gd name="connsiteX4252" fmla="*/ 8247717 w 12117871"/>
                <a:gd name="connsiteY4252" fmla="*/ 2231597 h 6072780"/>
                <a:gd name="connsiteX4253" fmla="*/ 8222544 w 12117871"/>
                <a:gd name="connsiteY4253" fmla="*/ 2240039 h 6072780"/>
                <a:gd name="connsiteX4254" fmla="*/ 8222544 w 12117871"/>
                <a:gd name="connsiteY4254" fmla="*/ 2209923 h 6072780"/>
                <a:gd name="connsiteX4255" fmla="*/ 8239579 w 12117871"/>
                <a:gd name="connsiteY4255" fmla="*/ 2203839 h 6072780"/>
                <a:gd name="connsiteX4256" fmla="*/ 8255778 w 12117871"/>
                <a:gd name="connsiteY4256" fmla="*/ 2196690 h 6072780"/>
                <a:gd name="connsiteX4257" fmla="*/ 8271901 w 12117871"/>
                <a:gd name="connsiteY4257" fmla="*/ 2187868 h 6072780"/>
                <a:gd name="connsiteX4258" fmla="*/ 8288708 w 12117871"/>
                <a:gd name="connsiteY4258" fmla="*/ 2176765 h 6072780"/>
                <a:gd name="connsiteX4259" fmla="*/ 8134790 w 12117871"/>
                <a:gd name="connsiteY4259" fmla="*/ 2176765 h 6072780"/>
                <a:gd name="connsiteX4260" fmla="*/ 8149696 w 12117871"/>
                <a:gd name="connsiteY4260" fmla="*/ 2176765 h 6072780"/>
                <a:gd name="connsiteX4261" fmla="*/ 8149696 w 12117871"/>
                <a:gd name="connsiteY4261" fmla="*/ 2399745 h 6072780"/>
                <a:gd name="connsiteX4262" fmla="*/ 8114408 w 12117871"/>
                <a:gd name="connsiteY4262" fmla="*/ 2399745 h 6072780"/>
                <a:gd name="connsiteX4263" fmla="*/ 8114408 w 12117871"/>
                <a:gd name="connsiteY4263" fmla="*/ 2219962 h 6072780"/>
                <a:gd name="connsiteX4264" fmla="*/ 8093799 w 12117871"/>
                <a:gd name="connsiteY4264" fmla="*/ 2231597 h 6072780"/>
                <a:gd name="connsiteX4265" fmla="*/ 8068626 w 12117871"/>
                <a:gd name="connsiteY4265" fmla="*/ 2240039 h 6072780"/>
                <a:gd name="connsiteX4266" fmla="*/ 8068626 w 12117871"/>
                <a:gd name="connsiteY4266" fmla="*/ 2209923 h 6072780"/>
                <a:gd name="connsiteX4267" fmla="*/ 8085661 w 12117871"/>
                <a:gd name="connsiteY4267" fmla="*/ 2203839 h 6072780"/>
                <a:gd name="connsiteX4268" fmla="*/ 8101860 w 12117871"/>
                <a:gd name="connsiteY4268" fmla="*/ 2196690 h 6072780"/>
                <a:gd name="connsiteX4269" fmla="*/ 8117983 w 12117871"/>
                <a:gd name="connsiteY4269" fmla="*/ 2187868 h 6072780"/>
                <a:gd name="connsiteX4270" fmla="*/ 8134790 w 12117871"/>
                <a:gd name="connsiteY4270" fmla="*/ 2176765 h 6072780"/>
                <a:gd name="connsiteX4271" fmla="*/ 7985933 w 12117871"/>
                <a:gd name="connsiteY4271" fmla="*/ 2176765 h 6072780"/>
                <a:gd name="connsiteX4272" fmla="*/ 8000839 w 12117871"/>
                <a:gd name="connsiteY4272" fmla="*/ 2176765 h 6072780"/>
                <a:gd name="connsiteX4273" fmla="*/ 8000839 w 12117871"/>
                <a:gd name="connsiteY4273" fmla="*/ 2399745 h 6072780"/>
                <a:gd name="connsiteX4274" fmla="*/ 7965551 w 12117871"/>
                <a:gd name="connsiteY4274" fmla="*/ 2399745 h 6072780"/>
                <a:gd name="connsiteX4275" fmla="*/ 7965551 w 12117871"/>
                <a:gd name="connsiteY4275" fmla="*/ 2219962 h 6072780"/>
                <a:gd name="connsiteX4276" fmla="*/ 7944942 w 12117871"/>
                <a:gd name="connsiteY4276" fmla="*/ 2231597 h 6072780"/>
                <a:gd name="connsiteX4277" fmla="*/ 7919769 w 12117871"/>
                <a:gd name="connsiteY4277" fmla="*/ 2240039 h 6072780"/>
                <a:gd name="connsiteX4278" fmla="*/ 7919769 w 12117871"/>
                <a:gd name="connsiteY4278" fmla="*/ 2209923 h 6072780"/>
                <a:gd name="connsiteX4279" fmla="*/ 7936804 w 12117871"/>
                <a:gd name="connsiteY4279" fmla="*/ 2203839 h 6072780"/>
                <a:gd name="connsiteX4280" fmla="*/ 7953003 w 12117871"/>
                <a:gd name="connsiteY4280" fmla="*/ 2196690 h 6072780"/>
                <a:gd name="connsiteX4281" fmla="*/ 7969126 w 12117871"/>
                <a:gd name="connsiteY4281" fmla="*/ 2187868 h 6072780"/>
                <a:gd name="connsiteX4282" fmla="*/ 7985933 w 12117871"/>
                <a:gd name="connsiteY4282" fmla="*/ 2176765 h 6072780"/>
                <a:gd name="connsiteX4283" fmla="*/ 7837076 w 12117871"/>
                <a:gd name="connsiteY4283" fmla="*/ 2176765 h 6072780"/>
                <a:gd name="connsiteX4284" fmla="*/ 7851982 w 12117871"/>
                <a:gd name="connsiteY4284" fmla="*/ 2176765 h 6072780"/>
                <a:gd name="connsiteX4285" fmla="*/ 7851982 w 12117871"/>
                <a:gd name="connsiteY4285" fmla="*/ 2399745 h 6072780"/>
                <a:gd name="connsiteX4286" fmla="*/ 7816694 w 12117871"/>
                <a:gd name="connsiteY4286" fmla="*/ 2399745 h 6072780"/>
                <a:gd name="connsiteX4287" fmla="*/ 7816694 w 12117871"/>
                <a:gd name="connsiteY4287" fmla="*/ 2219962 h 6072780"/>
                <a:gd name="connsiteX4288" fmla="*/ 7796085 w 12117871"/>
                <a:gd name="connsiteY4288" fmla="*/ 2231597 h 6072780"/>
                <a:gd name="connsiteX4289" fmla="*/ 7770912 w 12117871"/>
                <a:gd name="connsiteY4289" fmla="*/ 2240039 h 6072780"/>
                <a:gd name="connsiteX4290" fmla="*/ 7770912 w 12117871"/>
                <a:gd name="connsiteY4290" fmla="*/ 2209923 h 6072780"/>
                <a:gd name="connsiteX4291" fmla="*/ 7787947 w 12117871"/>
                <a:gd name="connsiteY4291" fmla="*/ 2203839 h 6072780"/>
                <a:gd name="connsiteX4292" fmla="*/ 7804146 w 12117871"/>
                <a:gd name="connsiteY4292" fmla="*/ 2196690 h 6072780"/>
                <a:gd name="connsiteX4293" fmla="*/ 7820269 w 12117871"/>
                <a:gd name="connsiteY4293" fmla="*/ 2187868 h 6072780"/>
                <a:gd name="connsiteX4294" fmla="*/ 7837076 w 12117871"/>
                <a:gd name="connsiteY4294" fmla="*/ 2176765 h 6072780"/>
                <a:gd name="connsiteX4295" fmla="*/ 7484989 w 12117871"/>
                <a:gd name="connsiteY4295" fmla="*/ 2176765 h 6072780"/>
                <a:gd name="connsiteX4296" fmla="*/ 7499895 w 12117871"/>
                <a:gd name="connsiteY4296" fmla="*/ 2176765 h 6072780"/>
                <a:gd name="connsiteX4297" fmla="*/ 7499895 w 12117871"/>
                <a:gd name="connsiteY4297" fmla="*/ 2399745 h 6072780"/>
                <a:gd name="connsiteX4298" fmla="*/ 7464607 w 12117871"/>
                <a:gd name="connsiteY4298" fmla="*/ 2399745 h 6072780"/>
                <a:gd name="connsiteX4299" fmla="*/ 7464607 w 12117871"/>
                <a:gd name="connsiteY4299" fmla="*/ 2219962 h 6072780"/>
                <a:gd name="connsiteX4300" fmla="*/ 7443998 w 12117871"/>
                <a:gd name="connsiteY4300" fmla="*/ 2231597 h 6072780"/>
                <a:gd name="connsiteX4301" fmla="*/ 7418825 w 12117871"/>
                <a:gd name="connsiteY4301" fmla="*/ 2240039 h 6072780"/>
                <a:gd name="connsiteX4302" fmla="*/ 7418825 w 12117871"/>
                <a:gd name="connsiteY4302" fmla="*/ 2209923 h 6072780"/>
                <a:gd name="connsiteX4303" fmla="*/ 7435860 w 12117871"/>
                <a:gd name="connsiteY4303" fmla="*/ 2203839 h 6072780"/>
                <a:gd name="connsiteX4304" fmla="*/ 7452059 w 12117871"/>
                <a:gd name="connsiteY4304" fmla="*/ 2196690 h 6072780"/>
                <a:gd name="connsiteX4305" fmla="*/ 7468182 w 12117871"/>
                <a:gd name="connsiteY4305" fmla="*/ 2187868 h 6072780"/>
                <a:gd name="connsiteX4306" fmla="*/ 7484989 w 12117871"/>
                <a:gd name="connsiteY4306" fmla="*/ 2176765 h 6072780"/>
                <a:gd name="connsiteX4307" fmla="*/ 7187275 w 12117871"/>
                <a:gd name="connsiteY4307" fmla="*/ 2176765 h 6072780"/>
                <a:gd name="connsiteX4308" fmla="*/ 7202181 w 12117871"/>
                <a:gd name="connsiteY4308" fmla="*/ 2176765 h 6072780"/>
                <a:gd name="connsiteX4309" fmla="*/ 7202181 w 12117871"/>
                <a:gd name="connsiteY4309" fmla="*/ 2399745 h 6072780"/>
                <a:gd name="connsiteX4310" fmla="*/ 7166893 w 12117871"/>
                <a:gd name="connsiteY4310" fmla="*/ 2399745 h 6072780"/>
                <a:gd name="connsiteX4311" fmla="*/ 7166893 w 12117871"/>
                <a:gd name="connsiteY4311" fmla="*/ 2219962 h 6072780"/>
                <a:gd name="connsiteX4312" fmla="*/ 7146284 w 12117871"/>
                <a:gd name="connsiteY4312" fmla="*/ 2231597 h 6072780"/>
                <a:gd name="connsiteX4313" fmla="*/ 7121111 w 12117871"/>
                <a:gd name="connsiteY4313" fmla="*/ 2240039 h 6072780"/>
                <a:gd name="connsiteX4314" fmla="*/ 7121111 w 12117871"/>
                <a:gd name="connsiteY4314" fmla="*/ 2209923 h 6072780"/>
                <a:gd name="connsiteX4315" fmla="*/ 7138146 w 12117871"/>
                <a:gd name="connsiteY4315" fmla="*/ 2203839 h 6072780"/>
                <a:gd name="connsiteX4316" fmla="*/ 7154345 w 12117871"/>
                <a:gd name="connsiteY4316" fmla="*/ 2196690 h 6072780"/>
                <a:gd name="connsiteX4317" fmla="*/ 7170468 w 12117871"/>
                <a:gd name="connsiteY4317" fmla="*/ 2187868 h 6072780"/>
                <a:gd name="connsiteX4318" fmla="*/ 7187275 w 12117871"/>
                <a:gd name="connsiteY4318" fmla="*/ 2176765 h 6072780"/>
                <a:gd name="connsiteX4319" fmla="*/ 6977863 w 12117871"/>
                <a:gd name="connsiteY4319" fmla="*/ 2176765 h 6072780"/>
                <a:gd name="connsiteX4320" fmla="*/ 7049030 w 12117871"/>
                <a:gd name="connsiteY4320" fmla="*/ 2287352 h 6072780"/>
                <a:gd name="connsiteX4321" fmla="*/ 7028944 w 12117871"/>
                <a:gd name="connsiteY4321" fmla="*/ 2370932 h 6072780"/>
                <a:gd name="connsiteX4322" fmla="*/ 6972747 w 12117871"/>
                <a:gd name="connsiteY4322" fmla="*/ 2399745 h 6072780"/>
                <a:gd name="connsiteX4323" fmla="*/ 6920162 w 12117871"/>
                <a:gd name="connsiteY4323" fmla="*/ 2372211 h 6072780"/>
                <a:gd name="connsiteX4324" fmla="*/ 6901279 w 12117871"/>
                <a:gd name="connsiteY4324" fmla="*/ 2292619 h 6072780"/>
                <a:gd name="connsiteX4325" fmla="*/ 6920989 w 12117871"/>
                <a:gd name="connsiteY4325" fmla="*/ 2206104 h 6072780"/>
                <a:gd name="connsiteX4326" fmla="*/ 6977863 w 12117871"/>
                <a:gd name="connsiteY4326" fmla="*/ 2176765 h 6072780"/>
                <a:gd name="connsiteX4327" fmla="*/ 6761353 w 12117871"/>
                <a:gd name="connsiteY4327" fmla="*/ 2176765 h 6072780"/>
                <a:gd name="connsiteX4328" fmla="*/ 6832520 w 12117871"/>
                <a:gd name="connsiteY4328" fmla="*/ 2287352 h 6072780"/>
                <a:gd name="connsiteX4329" fmla="*/ 6812434 w 12117871"/>
                <a:gd name="connsiteY4329" fmla="*/ 2370932 h 6072780"/>
                <a:gd name="connsiteX4330" fmla="*/ 6756237 w 12117871"/>
                <a:gd name="connsiteY4330" fmla="*/ 2399745 h 6072780"/>
                <a:gd name="connsiteX4331" fmla="*/ 6703652 w 12117871"/>
                <a:gd name="connsiteY4331" fmla="*/ 2372211 h 6072780"/>
                <a:gd name="connsiteX4332" fmla="*/ 6684769 w 12117871"/>
                <a:gd name="connsiteY4332" fmla="*/ 2292619 h 6072780"/>
                <a:gd name="connsiteX4333" fmla="*/ 6704479 w 12117871"/>
                <a:gd name="connsiteY4333" fmla="*/ 2206104 h 6072780"/>
                <a:gd name="connsiteX4334" fmla="*/ 6761353 w 12117871"/>
                <a:gd name="connsiteY4334" fmla="*/ 2176765 h 6072780"/>
                <a:gd name="connsiteX4335" fmla="*/ 6615046 w 12117871"/>
                <a:gd name="connsiteY4335" fmla="*/ 2176765 h 6072780"/>
                <a:gd name="connsiteX4336" fmla="*/ 6629952 w 12117871"/>
                <a:gd name="connsiteY4336" fmla="*/ 2176765 h 6072780"/>
                <a:gd name="connsiteX4337" fmla="*/ 6629952 w 12117871"/>
                <a:gd name="connsiteY4337" fmla="*/ 2399745 h 6072780"/>
                <a:gd name="connsiteX4338" fmla="*/ 6594664 w 12117871"/>
                <a:gd name="connsiteY4338" fmla="*/ 2399745 h 6072780"/>
                <a:gd name="connsiteX4339" fmla="*/ 6594664 w 12117871"/>
                <a:gd name="connsiteY4339" fmla="*/ 2219962 h 6072780"/>
                <a:gd name="connsiteX4340" fmla="*/ 6574055 w 12117871"/>
                <a:gd name="connsiteY4340" fmla="*/ 2231597 h 6072780"/>
                <a:gd name="connsiteX4341" fmla="*/ 6548882 w 12117871"/>
                <a:gd name="connsiteY4341" fmla="*/ 2240039 h 6072780"/>
                <a:gd name="connsiteX4342" fmla="*/ 6548882 w 12117871"/>
                <a:gd name="connsiteY4342" fmla="*/ 2209923 h 6072780"/>
                <a:gd name="connsiteX4343" fmla="*/ 6565917 w 12117871"/>
                <a:gd name="connsiteY4343" fmla="*/ 2203839 h 6072780"/>
                <a:gd name="connsiteX4344" fmla="*/ 6582116 w 12117871"/>
                <a:gd name="connsiteY4344" fmla="*/ 2196690 h 6072780"/>
                <a:gd name="connsiteX4345" fmla="*/ 6598239 w 12117871"/>
                <a:gd name="connsiteY4345" fmla="*/ 2187868 h 6072780"/>
                <a:gd name="connsiteX4346" fmla="*/ 6615046 w 12117871"/>
                <a:gd name="connsiteY4346" fmla="*/ 2176765 h 6072780"/>
                <a:gd name="connsiteX4347" fmla="*/ 6317332 w 12117871"/>
                <a:gd name="connsiteY4347" fmla="*/ 2176765 h 6072780"/>
                <a:gd name="connsiteX4348" fmla="*/ 6332238 w 12117871"/>
                <a:gd name="connsiteY4348" fmla="*/ 2176765 h 6072780"/>
                <a:gd name="connsiteX4349" fmla="*/ 6332238 w 12117871"/>
                <a:gd name="connsiteY4349" fmla="*/ 2399745 h 6072780"/>
                <a:gd name="connsiteX4350" fmla="*/ 6296950 w 12117871"/>
                <a:gd name="connsiteY4350" fmla="*/ 2399745 h 6072780"/>
                <a:gd name="connsiteX4351" fmla="*/ 6296950 w 12117871"/>
                <a:gd name="connsiteY4351" fmla="*/ 2219962 h 6072780"/>
                <a:gd name="connsiteX4352" fmla="*/ 6276341 w 12117871"/>
                <a:gd name="connsiteY4352" fmla="*/ 2231597 h 6072780"/>
                <a:gd name="connsiteX4353" fmla="*/ 6251168 w 12117871"/>
                <a:gd name="connsiteY4353" fmla="*/ 2240039 h 6072780"/>
                <a:gd name="connsiteX4354" fmla="*/ 6251168 w 12117871"/>
                <a:gd name="connsiteY4354" fmla="*/ 2209923 h 6072780"/>
                <a:gd name="connsiteX4355" fmla="*/ 6268203 w 12117871"/>
                <a:gd name="connsiteY4355" fmla="*/ 2203839 h 6072780"/>
                <a:gd name="connsiteX4356" fmla="*/ 6284402 w 12117871"/>
                <a:gd name="connsiteY4356" fmla="*/ 2196690 h 6072780"/>
                <a:gd name="connsiteX4357" fmla="*/ 6300525 w 12117871"/>
                <a:gd name="connsiteY4357" fmla="*/ 2187868 h 6072780"/>
                <a:gd name="connsiteX4358" fmla="*/ 6317332 w 12117871"/>
                <a:gd name="connsiteY4358" fmla="*/ 2176765 h 6072780"/>
                <a:gd name="connsiteX4359" fmla="*/ 6143576 w 12117871"/>
                <a:gd name="connsiteY4359" fmla="*/ 2176765 h 6072780"/>
                <a:gd name="connsiteX4360" fmla="*/ 6214743 w 12117871"/>
                <a:gd name="connsiteY4360" fmla="*/ 2287352 h 6072780"/>
                <a:gd name="connsiteX4361" fmla="*/ 6194657 w 12117871"/>
                <a:gd name="connsiteY4361" fmla="*/ 2370932 h 6072780"/>
                <a:gd name="connsiteX4362" fmla="*/ 6138460 w 12117871"/>
                <a:gd name="connsiteY4362" fmla="*/ 2399745 h 6072780"/>
                <a:gd name="connsiteX4363" fmla="*/ 6085875 w 12117871"/>
                <a:gd name="connsiteY4363" fmla="*/ 2372211 h 6072780"/>
                <a:gd name="connsiteX4364" fmla="*/ 6066992 w 12117871"/>
                <a:gd name="connsiteY4364" fmla="*/ 2292619 h 6072780"/>
                <a:gd name="connsiteX4365" fmla="*/ 6086702 w 12117871"/>
                <a:gd name="connsiteY4365" fmla="*/ 2206104 h 6072780"/>
                <a:gd name="connsiteX4366" fmla="*/ 6143576 w 12117871"/>
                <a:gd name="connsiteY4366" fmla="*/ 2176765 h 6072780"/>
                <a:gd name="connsiteX4367" fmla="*/ 5927066 w 12117871"/>
                <a:gd name="connsiteY4367" fmla="*/ 2176765 h 6072780"/>
                <a:gd name="connsiteX4368" fmla="*/ 5998233 w 12117871"/>
                <a:gd name="connsiteY4368" fmla="*/ 2287352 h 6072780"/>
                <a:gd name="connsiteX4369" fmla="*/ 5978148 w 12117871"/>
                <a:gd name="connsiteY4369" fmla="*/ 2370932 h 6072780"/>
                <a:gd name="connsiteX4370" fmla="*/ 5921951 w 12117871"/>
                <a:gd name="connsiteY4370" fmla="*/ 2399745 h 6072780"/>
                <a:gd name="connsiteX4371" fmla="*/ 5869364 w 12117871"/>
                <a:gd name="connsiteY4371" fmla="*/ 2372211 h 6072780"/>
                <a:gd name="connsiteX4372" fmla="*/ 5850483 w 12117871"/>
                <a:gd name="connsiteY4372" fmla="*/ 2292619 h 6072780"/>
                <a:gd name="connsiteX4373" fmla="*/ 5870192 w 12117871"/>
                <a:gd name="connsiteY4373" fmla="*/ 2206104 h 6072780"/>
                <a:gd name="connsiteX4374" fmla="*/ 5927066 w 12117871"/>
                <a:gd name="connsiteY4374" fmla="*/ 2176765 h 6072780"/>
                <a:gd name="connsiteX4375" fmla="*/ 5702958 w 12117871"/>
                <a:gd name="connsiteY4375" fmla="*/ 2176765 h 6072780"/>
                <a:gd name="connsiteX4376" fmla="*/ 5774126 w 12117871"/>
                <a:gd name="connsiteY4376" fmla="*/ 2287352 h 6072780"/>
                <a:gd name="connsiteX4377" fmla="*/ 5754041 w 12117871"/>
                <a:gd name="connsiteY4377" fmla="*/ 2370932 h 6072780"/>
                <a:gd name="connsiteX4378" fmla="*/ 5697845 w 12117871"/>
                <a:gd name="connsiteY4378" fmla="*/ 2399745 h 6072780"/>
                <a:gd name="connsiteX4379" fmla="*/ 5645258 w 12117871"/>
                <a:gd name="connsiteY4379" fmla="*/ 2372211 h 6072780"/>
                <a:gd name="connsiteX4380" fmla="*/ 5626376 w 12117871"/>
                <a:gd name="connsiteY4380" fmla="*/ 2292619 h 6072780"/>
                <a:gd name="connsiteX4381" fmla="*/ 5646086 w 12117871"/>
                <a:gd name="connsiteY4381" fmla="*/ 2206104 h 6072780"/>
                <a:gd name="connsiteX4382" fmla="*/ 5702958 w 12117871"/>
                <a:gd name="connsiteY4382" fmla="*/ 2176765 h 6072780"/>
                <a:gd name="connsiteX4383" fmla="*/ 5545678 w 12117871"/>
                <a:gd name="connsiteY4383" fmla="*/ 2176765 h 6072780"/>
                <a:gd name="connsiteX4384" fmla="*/ 5560587 w 12117871"/>
                <a:gd name="connsiteY4384" fmla="*/ 2176765 h 6072780"/>
                <a:gd name="connsiteX4385" fmla="*/ 5560587 w 12117871"/>
                <a:gd name="connsiteY4385" fmla="*/ 2399745 h 6072780"/>
                <a:gd name="connsiteX4386" fmla="*/ 5525299 w 12117871"/>
                <a:gd name="connsiteY4386" fmla="*/ 2399745 h 6072780"/>
                <a:gd name="connsiteX4387" fmla="*/ 5525299 w 12117871"/>
                <a:gd name="connsiteY4387" fmla="*/ 2219962 h 6072780"/>
                <a:gd name="connsiteX4388" fmla="*/ 5504689 w 12117871"/>
                <a:gd name="connsiteY4388" fmla="*/ 2231597 h 6072780"/>
                <a:gd name="connsiteX4389" fmla="*/ 5479516 w 12117871"/>
                <a:gd name="connsiteY4389" fmla="*/ 2240039 h 6072780"/>
                <a:gd name="connsiteX4390" fmla="*/ 5479516 w 12117871"/>
                <a:gd name="connsiteY4390" fmla="*/ 2209923 h 6072780"/>
                <a:gd name="connsiteX4391" fmla="*/ 5496550 w 12117871"/>
                <a:gd name="connsiteY4391" fmla="*/ 2203839 h 6072780"/>
                <a:gd name="connsiteX4392" fmla="*/ 5512750 w 12117871"/>
                <a:gd name="connsiteY4392" fmla="*/ 2196690 h 6072780"/>
                <a:gd name="connsiteX4393" fmla="*/ 5528872 w 12117871"/>
                <a:gd name="connsiteY4393" fmla="*/ 2187868 h 6072780"/>
                <a:gd name="connsiteX4394" fmla="*/ 5545678 w 12117871"/>
                <a:gd name="connsiteY4394" fmla="*/ 2176765 h 6072780"/>
                <a:gd name="connsiteX4395" fmla="*/ 5247965 w 12117871"/>
                <a:gd name="connsiteY4395" fmla="*/ 2176765 h 6072780"/>
                <a:gd name="connsiteX4396" fmla="*/ 5262872 w 12117871"/>
                <a:gd name="connsiteY4396" fmla="*/ 2176765 h 6072780"/>
                <a:gd name="connsiteX4397" fmla="*/ 5262872 w 12117871"/>
                <a:gd name="connsiteY4397" fmla="*/ 2399745 h 6072780"/>
                <a:gd name="connsiteX4398" fmla="*/ 5227584 w 12117871"/>
                <a:gd name="connsiteY4398" fmla="*/ 2399745 h 6072780"/>
                <a:gd name="connsiteX4399" fmla="*/ 5227584 w 12117871"/>
                <a:gd name="connsiteY4399" fmla="*/ 2219962 h 6072780"/>
                <a:gd name="connsiteX4400" fmla="*/ 5206974 w 12117871"/>
                <a:gd name="connsiteY4400" fmla="*/ 2231597 h 6072780"/>
                <a:gd name="connsiteX4401" fmla="*/ 5181802 w 12117871"/>
                <a:gd name="connsiteY4401" fmla="*/ 2240039 h 6072780"/>
                <a:gd name="connsiteX4402" fmla="*/ 5181802 w 12117871"/>
                <a:gd name="connsiteY4402" fmla="*/ 2209923 h 6072780"/>
                <a:gd name="connsiteX4403" fmla="*/ 5198836 w 12117871"/>
                <a:gd name="connsiteY4403" fmla="*/ 2203839 h 6072780"/>
                <a:gd name="connsiteX4404" fmla="*/ 5215036 w 12117871"/>
                <a:gd name="connsiteY4404" fmla="*/ 2196690 h 6072780"/>
                <a:gd name="connsiteX4405" fmla="*/ 5231158 w 12117871"/>
                <a:gd name="connsiteY4405" fmla="*/ 2187868 h 6072780"/>
                <a:gd name="connsiteX4406" fmla="*/ 5247965 w 12117871"/>
                <a:gd name="connsiteY4406" fmla="*/ 2176765 h 6072780"/>
                <a:gd name="connsiteX4407" fmla="*/ 4873220 w 12117871"/>
                <a:gd name="connsiteY4407" fmla="*/ 2176765 h 6072780"/>
                <a:gd name="connsiteX4408" fmla="*/ 4888126 w 12117871"/>
                <a:gd name="connsiteY4408" fmla="*/ 2176765 h 6072780"/>
                <a:gd name="connsiteX4409" fmla="*/ 4888126 w 12117871"/>
                <a:gd name="connsiteY4409" fmla="*/ 2399745 h 6072780"/>
                <a:gd name="connsiteX4410" fmla="*/ 4852838 w 12117871"/>
                <a:gd name="connsiteY4410" fmla="*/ 2399745 h 6072780"/>
                <a:gd name="connsiteX4411" fmla="*/ 4852838 w 12117871"/>
                <a:gd name="connsiteY4411" fmla="*/ 2219962 h 6072780"/>
                <a:gd name="connsiteX4412" fmla="*/ 4832228 w 12117871"/>
                <a:gd name="connsiteY4412" fmla="*/ 2231597 h 6072780"/>
                <a:gd name="connsiteX4413" fmla="*/ 4807057 w 12117871"/>
                <a:gd name="connsiteY4413" fmla="*/ 2240039 h 6072780"/>
                <a:gd name="connsiteX4414" fmla="*/ 4807057 w 12117871"/>
                <a:gd name="connsiteY4414" fmla="*/ 2209923 h 6072780"/>
                <a:gd name="connsiteX4415" fmla="*/ 4824092 w 12117871"/>
                <a:gd name="connsiteY4415" fmla="*/ 2203839 h 6072780"/>
                <a:gd name="connsiteX4416" fmla="*/ 4840292 w 12117871"/>
                <a:gd name="connsiteY4416" fmla="*/ 2196690 h 6072780"/>
                <a:gd name="connsiteX4417" fmla="*/ 4856413 w 12117871"/>
                <a:gd name="connsiteY4417" fmla="*/ 2187868 h 6072780"/>
                <a:gd name="connsiteX4418" fmla="*/ 4873220 w 12117871"/>
                <a:gd name="connsiteY4418" fmla="*/ 2176765 h 6072780"/>
                <a:gd name="connsiteX4419" fmla="*/ 4729612 w 12117871"/>
                <a:gd name="connsiteY4419" fmla="*/ 2176765 h 6072780"/>
                <a:gd name="connsiteX4420" fmla="*/ 4744518 w 12117871"/>
                <a:gd name="connsiteY4420" fmla="*/ 2176765 h 6072780"/>
                <a:gd name="connsiteX4421" fmla="*/ 4744518 w 12117871"/>
                <a:gd name="connsiteY4421" fmla="*/ 2399745 h 6072780"/>
                <a:gd name="connsiteX4422" fmla="*/ 4709230 w 12117871"/>
                <a:gd name="connsiteY4422" fmla="*/ 2399745 h 6072780"/>
                <a:gd name="connsiteX4423" fmla="*/ 4709230 w 12117871"/>
                <a:gd name="connsiteY4423" fmla="*/ 2219962 h 6072780"/>
                <a:gd name="connsiteX4424" fmla="*/ 4688621 w 12117871"/>
                <a:gd name="connsiteY4424" fmla="*/ 2231597 h 6072780"/>
                <a:gd name="connsiteX4425" fmla="*/ 4663449 w 12117871"/>
                <a:gd name="connsiteY4425" fmla="*/ 2240039 h 6072780"/>
                <a:gd name="connsiteX4426" fmla="*/ 4663449 w 12117871"/>
                <a:gd name="connsiteY4426" fmla="*/ 2209923 h 6072780"/>
                <a:gd name="connsiteX4427" fmla="*/ 4680483 w 12117871"/>
                <a:gd name="connsiteY4427" fmla="*/ 2203839 h 6072780"/>
                <a:gd name="connsiteX4428" fmla="*/ 4696683 w 12117871"/>
                <a:gd name="connsiteY4428" fmla="*/ 2196690 h 6072780"/>
                <a:gd name="connsiteX4429" fmla="*/ 4712804 w 12117871"/>
                <a:gd name="connsiteY4429" fmla="*/ 2187868 h 6072780"/>
                <a:gd name="connsiteX4430" fmla="*/ 4729612 w 12117871"/>
                <a:gd name="connsiteY4430" fmla="*/ 2176765 h 6072780"/>
                <a:gd name="connsiteX4431" fmla="*/ 4586004 w 12117871"/>
                <a:gd name="connsiteY4431" fmla="*/ 2176765 h 6072780"/>
                <a:gd name="connsiteX4432" fmla="*/ 4600910 w 12117871"/>
                <a:gd name="connsiteY4432" fmla="*/ 2176765 h 6072780"/>
                <a:gd name="connsiteX4433" fmla="*/ 4600910 w 12117871"/>
                <a:gd name="connsiteY4433" fmla="*/ 2399745 h 6072780"/>
                <a:gd name="connsiteX4434" fmla="*/ 4565622 w 12117871"/>
                <a:gd name="connsiteY4434" fmla="*/ 2399745 h 6072780"/>
                <a:gd name="connsiteX4435" fmla="*/ 4565622 w 12117871"/>
                <a:gd name="connsiteY4435" fmla="*/ 2219962 h 6072780"/>
                <a:gd name="connsiteX4436" fmla="*/ 4545013 w 12117871"/>
                <a:gd name="connsiteY4436" fmla="*/ 2231597 h 6072780"/>
                <a:gd name="connsiteX4437" fmla="*/ 4519841 w 12117871"/>
                <a:gd name="connsiteY4437" fmla="*/ 2240039 h 6072780"/>
                <a:gd name="connsiteX4438" fmla="*/ 4519841 w 12117871"/>
                <a:gd name="connsiteY4438" fmla="*/ 2209923 h 6072780"/>
                <a:gd name="connsiteX4439" fmla="*/ 4536875 w 12117871"/>
                <a:gd name="connsiteY4439" fmla="*/ 2203839 h 6072780"/>
                <a:gd name="connsiteX4440" fmla="*/ 4553076 w 12117871"/>
                <a:gd name="connsiteY4440" fmla="*/ 2196690 h 6072780"/>
                <a:gd name="connsiteX4441" fmla="*/ 4569196 w 12117871"/>
                <a:gd name="connsiteY4441" fmla="*/ 2187868 h 6072780"/>
                <a:gd name="connsiteX4442" fmla="*/ 4586004 w 12117871"/>
                <a:gd name="connsiteY4442" fmla="*/ 2176765 h 6072780"/>
                <a:gd name="connsiteX4443" fmla="*/ 4442396 w 12117871"/>
                <a:gd name="connsiteY4443" fmla="*/ 2176765 h 6072780"/>
                <a:gd name="connsiteX4444" fmla="*/ 4457303 w 12117871"/>
                <a:gd name="connsiteY4444" fmla="*/ 2176765 h 6072780"/>
                <a:gd name="connsiteX4445" fmla="*/ 4457303 w 12117871"/>
                <a:gd name="connsiteY4445" fmla="*/ 2399745 h 6072780"/>
                <a:gd name="connsiteX4446" fmla="*/ 4422014 w 12117871"/>
                <a:gd name="connsiteY4446" fmla="*/ 2399745 h 6072780"/>
                <a:gd name="connsiteX4447" fmla="*/ 4422014 w 12117871"/>
                <a:gd name="connsiteY4447" fmla="*/ 2219962 h 6072780"/>
                <a:gd name="connsiteX4448" fmla="*/ 4401405 w 12117871"/>
                <a:gd name="connsiteY4448" fmla="*/ 2231597 h 6072780"/>
                <a:gd name="connsiteX4449" fmla="*/ 4376233 w 12117871"/>
                <a:gd name="connsiteY4449" fmla="*/ 2240039 h 6072780"/>
                <a:gd name="connsiteX4450" fmla="*/ 4376233 w 12117871"/>
                <a:gd name="connsiteY4450" fmla="*/ 2209923 h 6072780"/>
                <a:gd name="connsiteX4451" fmla="*/ 4393267 w 12117871"/>
                <a:gd name="connsiteY4451" fmla="*/ 2203839 h 6072780"/>
                <a:gd name="connsiteX4452" fmla="*/ 4409467 w 12117871"/>
                <a:gd name="connsiteY4452" fmla="*/ 2196690 h 6072780"/>
                <a:gd name="connsiteX4453" fmla="*/ 4425590 w 12117871"/>
                <a:gd name="connsiteY4453" fmla="*/ 2187868 h 6072780"/>
                <a:gd name="connsiteX4454" fmla="*/ 4442396 w 12117871"/>
                <a:gd name="connsiteY4454" fmla="*/ 2176765 h 6072780"/>
                <a:gd name="connsiteX4455" fmla="*/ 3702228 w 12117871"/>
                <a:gd name="connsiteY4455" fmla="*/ 2176765 h 6072780"/>
                <a:gd name="connsiteX4456" fmla="*/ 3717133 w 12117871"/>
                <a:gd name="connsiteY4456" fmla="*/ 2176765 h 6072780"/>
                <a:gd name="connsiteX4457" fmla="*/ 3717133 w 12117871"/>
                <a:gd name="connsiteY4457" fmla="*/ 2399745 h 6072780"/>
                <a:gd name="connsiteX4458" fmla="*/ 3681845 w 12117871"/>
                <a:gd name="connsiteY4458" fmla="*/ 2399745 h 6072780"/>
                <a:gd name="connsiteX4459" fmla="*/ 3681845 w 12117871"/>
                <a:gd name="connsiteY4459" fmla="*/ 2219962 h 6072780"/>
                <a:gd name="connsiteX4460" fmla="*/ 3661236 w 12117871"/>
                <a:gd name="connsiteY4460" fmla="*/ 2231597 h 6072780"/>
                <a:gd name="connsiteX4461" fmla="*/ 3636063 w 12117871"/>
                <a:gd name="connsiteY4461" fmla="*/ 2240039 h 6072780"/>
                <a:gd name="connsiteX4462" fmla="*/ 3636063 w 12117871"/>
                <a:gd name="connsiteY4462" fmla="*/ 2209923 h 6072780"/>
                <a:gd name="connsiteX4463" fmla="*/ 3653098 w 12117871"/>
                <a:gd name="connsiteY4463" fmla="*/ 2203839 h 6072780"/>
                <a:gd name="connsiteX4464" fmla="*/ 3669298 w 12117871"/>
                <a:gd name="connsiteY4464" fmla="*/ 2196690 h 6072780"/>
                <a:gd name="connsiteX4465" fmla="*/ 3685419 w 12117871"/>
                <a:gd name="connsiteY4465" fmla="*/ 2187868 h 6072780"/>
                <a:gd name="connsiteX4466" fmla="*/ 3702228 w 12117871"/>
                <a:gd name="connsiteY4466" fmla="*/ 2176765 h 6072780"/>
                <a:gd name="connsiteX4467" fmla="*/ 3553371 w 12117871"/>
                <a:gd name="connsiteY4467" fmla="*/ 2176765 h 6072780"/>
                <a:gd name="connsiteX4468" fmla="*/ 3568277 w 12117871"/>
                <a:gd name="connsiteY4468" fmla="*/ 2176765 h 6072780"/>
                <a:gd name="connsiteX4469" fmla="*/ 3568277 w 12117871"/>
                <a:gd name="connsiteY4469" fmla="*/ 2399745 h 6072780"/>
                <a:gd name="connsiteX4470" fmla="*/ 3532989 w 12117871"/>
                <a:gd name="connsiteY4470" fmla="*/ 2399745 h 6072780"/>
                <a:gd name="connsiteX4471" fmla="*/ 3532989 w 12117871"/>
                <a:gd name="connsiteY4471" fmla="*/ 2219962 h 6072780"/>
                <a:gd name="connsiteX4472" fmla="*/ 3512380 w 12117871"/>
                <a:gd name="connsiteY4472" fmla="*/ 2231597 h 6072780"/>
                <a:gd name="connsiteX4473" fmla="*/ 3487206 w 12117871"/>
                <a:gd name="connsiteY4473" fmla="*/ 2240039 h 6072780"/>
                <a:gd name="connsiteX4474" fmla="*/ 3487206 w 12117871"/>
                <a:gd name="connsiteY4474" fmla="*/ 2209923 h 6072780"/>
                <a:gd name="connsiteX4475" fmla="*/ 3504242 w 12117871"/>
                <a:gd name="connsiteY4475" fmla="*/ 2203839 h 6072780"/>
                <a:gd name="connsiteX4476" fmla="*/ 3520441 w 12117871"/>
                <a:gd name="connsiteY4476" fmla="*/ 2196690 h 6072780"/>
                <a:gd name="connsiteX4477" fmla="*/ 3536563 w 12117871"/>
                <a:gd name="connsiteY4477" fmla="*/ 2187868 h 6072780"/>
                <a:gd name="connsiteX4478" fmla="*/ 3553371 w 12117871"/>
                <a:gd name="connsiteY4478" fmla="*/ 2176765 h 6072780"/>
                <a:gd name="connsiteX4479" fmla="*/ 2748702 w 12117871"/>
                <a:gd name="connsiteY4479" fmla="*/ 2176765 h 6072780"/>
                <a:gd name="connsiteX4480" fmla="*/ 2763608 w 12117871"/>
                <a:gd name="connsiteY4480" fmla="*/ 2176765 h 6072780"/>
                <a:gd name="connsiteX4481" fmla="*/ 2763608 w 12117871"/>
                <a:gd name="connsiteY4481" fmla="*/ 2399745 h 6072780"/>
                <a:gd name="connsiteX4482" fmla="*/ 2728321 w 12117871"/>
                <a:gd name="connsiteY4482" fmla="*/ 2399745 h 6072780"/>
                <a:gd name="connsiteX4483" fmla="*/ 2728321 w 12117871"/>
                <a:gd name="connsiteY4483" fmla="*/ 2219962 h 6072780"/>
                <a:gd name="connsiteX4484" fmla="*/ 2707711 w 12117871"/>
                <a:gd name="connsiteY4484" fmla="*/ 2231597 h 6072780"/>
                <a:gd name="connsiteX4485" fmla="*/ 2682538 w 12117871"/>
                <a:gd name="connsiteY4485" fmla="*/ 2240039 h 6072780"/>
                <a:gd name="connsiteX4486" fmla="*/ 2682538 w 12117871"/>
                <a:gd name="connsiteY4486" fmla="*/ 2209923 h 6072780"/>
                <a:gd name="connsiteX4487" fmla="*/ 2699574 w 12117871"/>
                <a:gd name="connsiteY4487" fmla="*/ 2203839 h 6072780"/>
                <a:gd name="connsiteX4488" fmla="*/ 2715773 w 12117871"/>
                <a:gd name="connsiteY4488" fmla="*/ 2196690 h 6072780"/>
                <a:gd name="connsiteX4489" fmla="*/ 2731895 w 12117871"/>
                <a:gd name="connsiteY4489" fmla="*/ 2187868 h 6072780"/>
                <a:gd name="connsiteX4490" fmla="*/ 2748702 w 12117871"/>
                <a:gd name="connsiteY4490" fmla="*/ 2176765 h 6072780"/>
                <a:gd name="connsiteX4491" fmla="*/ 2355943 w 12117871"/>
                <a:gd name="connsiteY4491" fmla="*/ 2176765 h 6072780"/>
                <a:gd name="connsiteX4492" fmla="*/ 2370850 w 12117871"/>
                <a:gd name="connsiteY4492" fmla="*/ 2176765 h 6072780"/>
                <a:gd name="connsiteX4493" fmla="*/ 2370850 w 12117871"/>
                <a:gd name="connsiteY4493" fmla="*/ 2399745 h 6072780"/>
                <a:gd name="connsiteX4494" fmla="*/ 2335562 w 12117871"/>
                <a:gd name="connsiteY4494" fmla="*/ 2399745 h 6072780"/>
                <a:gd name="connsiteX4495" fmla="*/ 2335562 w 12117871"/>
                <a:gd name="connsiteY4495" fmla="*/ 2219962 h 6072780"/>
                <a:gd name="connsiteX4496" fmla="*/ 2314952 w 12117871"/>
                <a:gd name="connsiteY4496" fmla="*/ 2231597 h 6072780"/>
                <a:gd name="connsiteX4497" fmla="*/ 2289780 w 12117871"/>
                <a:gd name="connsiteY4497" fmla="*/ 2240039 h 6072780"/>
                <a:gd name="connsiteX4498" fmla="*/ 2289780 w 12117871"/>
                <a:gd name="connsiteY4498" fmla="*/ 2209923 h 6072780"/>
                <a:gd name="connsiteX4499" fmla="*/ 2306815 w 12117871"/>
                <a:gd name="connsiteY4499" fmla="*/ 2203839 h 6072780"/>
                <a:gd name="connsiteX4500" fmla="*/ 2323013 w 12117871"/>
                <a:gd name="connsiteY4500" fmla="*/ 2196690 h 6072780"/>
                <a:gd name="connsiteX4501" fmla="*/ 2339135 w 12117871"/>
                <a:gd name="connsiteY4501" fmla="*/ 2187868 h 6072780"/>
                <a:gd name="connsiteX4502" fmla="*/ 2355943 w 12117871"/>
                <a:gd name="connsiteY4502" fmla="*/ 2176765 h 6072780"/>
                <a:gd name="connsiteX4503" fmla="*/ 2212336 w 12117871"/>
                <a:gd name="connsiteY4503" fmla="*/ 2176765 h 6072780"/>
                <a:gd name="connsiteX4504" fmla="*/ 2227242 w 12117871"/>
                <a:gd name="connsiteY4504" fmla="*/ 2176765 h 6072780"/>
                <a:gd name="connsiteX4505" fmla="*/ 2227242 w 12117871"/>
                <a:gd name="connsiteY4505" fmla="*/ 2399745 h 6072780"/>
                <a:gd name="connsiteX4506" fmla="*/ 2191954 w 12117871"/>
                <a:gd name="connsiteY4506" fmla="*/ 2399745 h 6072780"/>
                <a:gd name="connsiteX4507" fmla="*/ 2191954 w 12117871"/>
                <a:gd name="connsiteY4507" fmla="*/ 2219962 h 6072780"/>
                <a:gd name="connsiteX4508" fmla="*/ 2171344 w 12117871"/>
                <a:gd name="connsiteY4508" fmla="*/ 2231597 h 6072780"/>
                <a:gd name="connsiteX4509" fmla="*/ 2146172 w 12117871"/>
                <a:gd name="connsiteY4509" fmla="*/ 2240039 h 6072780"/>
                <a:gd name="connsiteX4510" fmla="*/ 2146172 w 12117871"/>
                <a:gd name="connsiteY4510" fmla="*/ 2209923 h 6072780"/>
                <a:gd name="connsiteX4511" fmla="*/ 2163206 w 12117871"/>
                <a:gd name="connsiteY4511" fmla="*/ 2203839 h 6072780"/>
                <a:gd name="connsiteX4512" fmla="*/ 2179406 w 12117871"/>
                <a:gd name="connsiteY4512" fmla="*/ 2196690 h 6072780"/>
                <a:gd name="connsiteX4513" fmla="*/ 2195528 w 12117871"/>
                <a:gd name="connsiteY4513" fmla="*/ 2187868 h 6072780"/>
                <a:gd name="connsiteX4514" fmla="*/ 2212336 w 12117871"/>
                <a:gd name="connsiteY4514" fmla="*/ 2176765 h 6072780"/>
                <a:gd name="connsiteX4515" fmla="*/ 2068726 w 12117871"/>
                <a:gd name="connsiteY4515" fmla="*/ 2176765 h 6072780"/>
                <a:gd name="connsiteX4516" fmla="*/ 2083633 w 12117871"/>
                <a:gd name="connsiteY4516" fmla="*/ 2176765 h 6072780"/>
                <a:gd name="connsiteX4517" fmla="*/ 2083633 w 12117871"/>
                <a:gd name="connsiteY4517" fmla="*/ 2399745 h 6072780"/>
                <a:gd name="connsiteX4518" fmla="*/ 2048345 w 12117871"/>
                <a:gd name="connsiteY4518" fmla="*/ 2399745 h 6072780"/>
                <a:gd name="connsiteX4519" fmla="*/ 2048345 w 12117871"/>
                <a:gd name="connsiteY4519" fmla="*/ 2219962 h 6072780"/>
                <a:gd name="connsiteX4520" fmla="*/ 2027735 w 12117871"/>
                <a:gd name="connsiteY4520" fmla="*/ 2231597 h 6072780"/>
                <a:gd name="connsiteX4521" fmla="*/ 2002563 w 12117871"/>
                <a:gd name="connsiteY4521" fmla="*/ 2240039 h 6072780"/>
                <a:gd name="connsiteX4522" fmla="*/ 2002563 w 12117871"/>
                <a:gd name="connsiteY4522" fmla="*/ 2209923 h 6072780"/>
                <a:gd name="connsiteX4523" fmla="*/ 2019598 w 12117871"/>
                <a:gd name="connsiteY4523" fmla="*/ 2203839 h 6072780"/>
                <a:gd name="connsiteX4524" fmla="*/ 2035796 w 12117871"/>
                <a:gd name="connsiteY4524" fmla="*/ 2196690 h 6072780"/>
                <a:gd name="connsiteX4525" fmla="*/ 2051918 w 12117871"/>
                <a:gd name="connsiteY4525" fmla="*/ 2187868 h 6072780"/>
                <a:gd name="connsiteX4526" fmla="*/ 2068726 w 12117871"/>
                <a:gd name="connsiteY4526" fmla="*/ 2176765 h 6072780"/>
                <a:gd name="connsiteX4527" fmla="*/ 1925119 w 12117871"/>
                <a:gd name="connsiteY4527" fmla="*/ 2176765 h 6072780"/>
                <a:gd name="connsiteX4528" fmla="*/ 1940025 w 12117871"/>
                <a:gd name="connsiteY4528" fmla="*/ 2176765 h 6072780"/>
                <a:gd name="connsiteX4529" fmla="*/ 1940025 w 12117871"/>
                <a:gd name="connsiteY4529" fmla="*/ 2399745 h 6072780"/>
                <a:gd name="connsiteX4530" fmla="*/ 1904738 w 12117871"/>
                <a:gd name="connsiteY4530" fmla="*/ 2399745 h 6072780"/>
                <a:gd name="connsiteX4531" fmla="*/ 1904738 w 12117871"/>
                <a:gd name="connsiteY4531" fmla="*/ 2219962 h 6072780"/>
                <a:gd name="connsiteX4532" fmla="*/ 1884128 w 12117871"/>
                <a:gd name="connsiteY4532" fmla="*/ 2231597 h 6072780"/>
                <a:gd name="connsiteX4533" fmla="*/ 1858955 w 12117871"/>
                <a:gd name="connsiteY4533" fmla="*/ 2240039 h 6072780"/>
                <a:gd name="connsiteX4534" fmla="*/ 1858955 w 12117871"/>
                <a:gd name="connsiteY4534" fmla="*/ 2209923 h 6072780"/>
                <a:gd name="connsiteX4535" fmla="*/ 1875991 w 12117871"/>
                <a:gd name="connsiteY4535" fmla="*/ 2203839 h 6072780"/>
                <a:gd name="connsiteX4536" fmla="*/ 1892190 w 12117871"/>
                <a:gd name="connsiteY4536" fmla="*/ 2196690 h 6072780"/>
                <a:gd name="connsiteX4537" fmla="*/ 1908312 w 12117871"/>
                <a:gd name="connsiteY4537" fmla="*/ 2187868 h 6072780"/>
                <a:gd name="connsiteX4538" fmla="*/ 1925119 w 12117871"/>
                <a:gd name="connsiteY4538" fmla="*/ 2176765 h 6072780"/>
                <a:gd name="connsiteX4539" fmla="*/ 1781511 w 12117871"/>
                <a:gd name="connsiteY4539" fmla="*/ 2176765 h 6072780"/>
                <a:gd name="connsiteX4540" fmla="*/ 1796417 w 12117871"/>
                <a:gd name="connsiteY4540" fmla="*/ 2176765 h 6072780"/>
                <a:gd name="connsiteX4541" fmla="*/ 1796417 w 12117871"/>
                <a:gd name="connsiteY4541" fmla="*/ 2399745 h 6072780"/>
                <a:gd name="connsiteX4542" fmla="*/ 1761130 w 12117871"/>
                <a:gd name="connsiteY4542" fmla="*/ 2399745 h 6072780"/>
                <a:gd name="connsiteX4543" fmla="*/ 1761130 w 12117871"/>
                <a:gd name="connsiteY4543" fmla="*/ 2219962 h 6072780"/>
                <a:gd name="connsiteX4544" fmla="*/ 1740520 w 12117871"/>
                <a:gd name="connsiteY4544" fmla="*/ 2231597 h 6072780"/>
                <a:gd name="connsiteX4545" fmla="*/ 1715347 w 12117871"/>
                <a:gd name="connsiteY4545" fmla="*/ 2240039 h 6072780"/>
                <a:gd name="connsiteX4546" fmla="*/ 1715347 w 12117871"/>
                <a:gd name="connsiteY4546" fmla="*/ 2209923 h 6072780"/>
                <a:gd name="connsiteX4547" fmla="*/ 1732383 w 12117871"/>
                <a:gd name="connsiteY4547" fmla="*/ 2203839 h 6072780"/>
                <a:gd name="connsiteX4548" fmla="*/ 1748582 w 12117871"/>
                <a:gd name="connsiteY4548" fmla="*/ 2196690 h 6072780"/>
                <a:gd name="connsiteX4549" fmla="*/ 1764704 w 12117871"/>
                <a:gd name="connsiteY4549" fmla="*/ 2187868 h 6072780"/>
                <a:gd name="connsiteX4550" fmla="*/ 1781511 w 12117871"/>
                <a:gd name="connsiteY4550" fmla="*/ 2176765 h 6072780"/>
                <a:gd name="connsiteX4551" fmla="*/ 1433813 w 12117871"/>
                <a:gd name="connsiteY4551" fmla="*/ 2176765 h 6072780"/>
                <a:gd name="connsiteX4552" fmla="*/ 1448720 w 12117871"/>
                <a:gd name="connsiteY4552" fmla="*/ 2176765 h 6072780"/>
                <a:gd name="connsiteX4553" fmla="*/ 1448720 w 12117871"/>
                <a:gd name="connsiteY4553" fmla="*/ 2399745 h 6072780"/>
                <a:gd name="connsiteX4554" fmla="*/ 1413432 w 12117871"/>
                <a:gd name="connsiteY4554" fmla="*/ 2399745 h 6072780"/>
                <a:gd name="connsiteX4555" fmla="*/ 1413432 w 12117871"/>
                <a:gd name="connsiteY4555" fmla="*/ 2219962 h 6072780"/>
                <a:gd name="connsiteX4556" fmla="*/ 1392822 w 12117871"/>
                <a:gd name="connsiteY4556" fmla="*/ 2231597 h 6072780"/>
                <a:gd name="connsiteX4557" fmla="*/ 1367650 w 12117871"/>
                <a:gd name="connsiteY4557" fmla="*/ 2240039 h 6072780"/>
                <a:gd name="connsiteX4558" fmla="*/ 1367650 w 12117871"/>
                <a:gd name="connsiteY4558" fmla="*/ 2209923 h 6072780"/>
                <a:gd name="connsiteX4559" fmla="*/ 1384685 w 12117871"/>
                <a:gd name="connsiteY4559" fmla="*/ 2203839 h 6072780"/>
                <a:gd name="connsiteX4560" fmla="*/ 1400884 w 12117871"/>
                <a:gd name="connsiteY4560" fmla="*/ 2196690 h 6072780"/>
                <a:gd name="connsiteX4561" fmla="*/ 1417006 w 12117871"/>
                <a:gd name="connsiteY4561" fmla="*/ 2187868 h 6072780"/>
                <a:gd name="connsiteX4562" fmla="*/ 1433813 w 12117871"/>
                <a:gd name="connsiteY4562" fmla="*/ 2176765 h 6072780"/>
                <a:gd name="connsiteX4563" fmla="*/ 1136100 w 12117871"/>
                <a:gd name="connsiteY4563" fmla="*/ 2176765 h 6072780"/>
                <a:gd name="connsiteX4564" fmla="*/ 1151006 w 12117871"/>
                <a:gd name="connsiteY4564" fmla="*/ 2176765 h 6072780"/>
                <a:gd name="connsiteX4565" fmla="*/ 1151006 w 12117871"/>
                <a:gd name="connsiteY4565" fmla="*/ 2399745 h 6072780"/>
                <a:gd name="connsiteX4566" fmla="*/ 1115718 w 12117871"/>
                <a:gd name="connsiteY4566" fmla="*/ 2399745 h 6072780"/>
                <a:gd name="connsiteX4567" fmla="*/ 1115718 w 12117871"/>
                <a:gd name="connsiteY4567" fmla="*/ 2219962 h 6072780"/>
                <a:gd name="connsiteX4568" fmla="*/ 1095109 w 12117871"/>
                <a:gd name="connsiteY4568" fmla="*/ 2231597 h 6072780"/>
                <a:gd name="connsiteX4569" fmla="*/ 1069936 w 12117871"/>
                <a:gd name="connsiteY4569" fmla="*/ 2240039 h 6072780"/>
                <a:gd name="connsiteX4570" fmla="*/ 1069936 w 12117871"/>
                <a:gd name="connsiteY4570" fmla="*/ 2209923 h 6072780"/>
                <a:gd name="connsiteX4571" fmla="*/ 1086971 w 12117871"/>
                <a:gd name="connsiteY4571" fmla="*/ 2203839 h 6072780"/>
                <a:gd name="connsiteX4572" fmla="*/ 1103170 w 12117871"/>
                <a:gd name="connsiteY4572" fmla="*/ 2196690 h 6072780"/>
                <a:gd name="connsiteX4573" fmla="*/ 1119293 w 12117871"/>
                <a:gd name="connsiteY4573" fmla="*/ 2187868 h 6072780"/>
                <a:gd name="connsiteX4574" fmla="*/ 1136100 w 12117871"/>
                <a:gd name="connsiteY4574" fmla="*/ 2176765 h 6072780"/>
                <a:gd name="connsiteX4575" fmla="*/ 924981 w 12117871"/>
                <a:gd name="connsiteY4575" fmla="*/ 2176765 h 6072780"/>
                <a:gd name="connsiteX4576" fmla="*/ 996148 w 12117871"/>
                <a:gd name="connsiteY4576" fmla="*/ 2287352 h 6072780"/>
                <a:gd name="connsiteX4577" fmla="*/ 976062 w 12117871"/>
                <a:gd name="connsiteY4577" fmla="*/ 2370932 h 6072780"/>
                <a:gd name="connsiteX4578" fmla="*/ 919866 w 12117871"/>
                <a:gd name="connsiteY4578" fmla="*/ 2399745 h 6072780"/>
                <a:gd name="connsiteX4579" fmla="*/ 867279 w 12117871"/>
                <a:gd name="connsiteY4579" fmla="*/ 2372211 h 6072780"/>
                <a:gd name="connsiteX4580" fmla="*/ 848398 w 12117871"/>
                <a:gd name="connsiteY4580" fmla="*/ 2292619 h 6072780"/>
                <a:gd name="connsiteX4581" fmla="*/ 868108 w 12117871"/>
                <a:gd name="connsiteY4581" fmla="*/ 2206104 h 6072780"/>
                <a:gd name="connsiteX4582" fmla="*/ 924981 w 12117871"/>
                <a:gd name="connsiteY4582" fmla="*/ 2176765 h 6072780"/>
                <a:gd name="connsiteX4583" fmla="*/ 708705 w 12117871"/>
                <a:gd name="connsiteY4583" fmla="*/ 2176765 h 6072780"/>
                <a:gd name="connsiteX4584" fmla="*/ 779872 w 12117871"/>
                <a:gd name="connsiteY4584" fmla="*/ 2287352 h 6072780"/>
                <a:gd name="connsiteX4585" fmla="*/ 759785 w 12117871"/>
                <a:gd name="connsiteY4585" fmla="*/ 2370932 h 6072780"/>
                <a:gd name="connsiteX4586" fmla="*/ 703590 w 12117871"/>
                <a:gd name="connsiteY4586" fmla="*/ 2399745 h 6072780"/>
                <a:gd name="connsiteX4587" fmla="*/ 651004 w 12117871"/>
                <a:gd name="connsiteY4587" fmla="*/ 2372211 h 6072780"/>
                <a:gd name="connsiteX4588" fmla="*/ 632122 w 12117871"/>
                <a:gd name="connsiteY4588" fmla="*/ 2292619 h 6072780"/>
                <a:gd name="connsiteX4589" fmla="*/ 651832 w 12117871"/>
                <a:gd name="connsiteY4589" fmla="*/ 2206104 h 6072780"/>
                <a:gd name="connsiteX4590" fmla="*/ 708705 w 12117871"/>
                <a:gd name="connsiteY4590" fmla="*/ 2176765 h 6072780"/>
                <a:gd name="connsiteX4591" fmla="*/ 560572 w 12117871"/>
                <a:gd name="connsiteY4591" fmla="*/ 2176765 h 6072780"/>
                <a:gd name="connsiteX4592" fmla="*/ 575479 w 12117871"/>
                <a:gd name="connsiteY4592" fmla="*/ 2176765 h 6072780"/>
                <a:gd name="connsiteX4593" fmla="*/ 575479 w 12117871"/>
                <a:gd name="connsiteY4593" fmla="*/ 2399745 h 6072780"/>
                <a:gd name="connsiteX4594" fmla="*/ 540191 w 12117871"/>
                <a:gd name="connsiteY4594" fmla="*/ 2399745 h 6072780"/>
                <a:gd name="connsiteX4595" fmla="*/ 540191 w 12117871"/>
                <a:gd name="connsiteY4595" fmla="*/ 2219962 h 6072780"/>
                <a:gd name="connsiteX4596" fmla="*/ 519581 w 12117871"/>
                <a:gd name="connsiteY4596" fmla="*/ 2231597 h 6072780"/>
                <a:gd name="connsiteX4597" fmla="*/ 494409 w 12117871"/>
                <a:gd name="connsiteY4597" fmla="*/ 2240039 h 6072780"/>
                <a:gd name="connsiteX4598" fmla="*/ 494409 w 12117871"/>
                <a:gd name="connsiteY4598" fmla="*/ 2209923 h 6072780"/>
                <a:gd name="connsiteX4599" fmla="*/ 511444 w 12117871"/>
                <a:gd name="connsiteY4599" fmla="*/ 2203839 h 6072780"/>
                <a:gd name="connsiteX4600" fmla="*/ 527643 w 12117871"/>
                <a:gd name="connsiteY4600" fmla="*/ 2196690 h 6072780"/>
                <a:gd name="connsiteX4601" fmla="*/ 543766 w 12117871"/>
                <a:gd name="connsiteY4601" fmla="*/ 2187868 h 6072780"/>
                <a:gd name="connsiteX4602" fmla="*/ 560572 w 12117871"/>
                <a:gd name="connsiteY4602" fmla="*/ 2176765 h 6072780"/>
                <a:gd name="connsiteX4603" fmla="*/ 262859 w 12117871"/>
                <a:gd name="connsiteY4603" fmla="*/ 2176765 h 6072780"/>
                <a:gd name="connsiteX4604" fmla="*/ 277764 w 12117871"/>
                <a:gd name="connsiteY4604" fmla="*/ 2176765 h 6072780"/>
                <a:gd name="connsiteX4605" fmla="*/ 277764 w 12117871"/>
                <a:gd name="connsiteY4605" fmla="*/ 2399745 h 6072780"/>
                <a:gd name="connsiteX4606" fmla="*/ 242478 w 12117871"/>
                <a:gd name="connsiteY4606" fmla="*/ 2399745 h 6072780"/>
                <a:gd name="connsiteX4607" fmla="*/ 242478 w 12117871"/>
                <a:gd name="connsiteY4607" fmla="*/ 2219962 h 6072780"/>
                <a:gd name="connsiteX4608" fmla="*/ 221869 w 12117871"/>
                <a:gd name="connsiteY4608" fmla="*/ 2231597 h 6072780"/>
                <a:gd name="connsiteX4609" fmla="*/ 196695 w 12117871"/>
                <a:gd name="connsiteY4609" fmla="*/ 2240039 h 6072780"/>
                <a:gd name="connsiteX4610" fmla="*/ 196695 w 12117871"/>
                <a:gd name="connsiteY4610" fmla="*/ 2209923 h 6072780"/>
                <a:gd name="connsiteX4611" fmla="*/ 213729 w 12117871"/>
                <a:gd name="connsiteY4611" fmla="*/ 2203839 h 6072780"/>
                <a:gd name="connsiteX4612" fmla="*/ 229928 w 12117871"/>
                <a:gd name="connsiteY4612" fmla="*/ 2196690 h 6072780"/>
                <a:gd name="connsiteX4613" fmla="*/ 246052 w 12117871"/>
                <a:gd name="connsiteY4613" fmla="*/ 2187868 h 6072780"/>
                <a:gd name="connsiteX4614" fmla="*/ 262859 w 12117871"/>
                <a:gd name="connsiteY4614" fmla="*/ 2176765 h 6072780"/>
                <a:gd name="connsiteX4615" fmla="*/ 87099 w 12117871"/>
                <a:gd name="connsiteY4615" fmla="*/ 2176765 h 6072780"/>
                <a:gd name="connsiteX4616" fmla="*/ 158266 w 12117871"/>
                <a:gd name="connsiteY4616" fmla="*/ 2287352 h 6072780"/>
                <a:gd name="connsiteX4617" fmla="*/ 138180 w 12117871"/>
                <a:gd name="connsiteY4617" fmla="*/ 2370932 h 6072780"/>
                <a:gd name="connsiteX4618" fmla="*/ 81984 w 12117871"/>
                <a:gd name="connsiteY4618" fmla="*/ 2399745 h 6072780"/>
                <a:gd name="connsiteX4619" fmla="*/ 29398 w 12117871"/>
                <a:gd name="connsiteY4619" fmla="*/ 2372211 h 6072780"/>
                <a:gd name="connsiteX4620" fmla="*/ 10515 w 12117871"/>
                <a:gd name="connsiteY4620" fmla="*/ 2292619 h 6072780"/>
                <a:gd name="connsiteX4621" fmla="*/ 30225 w 12117871"/>
                <a:gd name="connsiteY4621" fmla="*/ 2206104 h 6072780"/>
                <a:gd name="connsiteX4622" fmla="*/ 87099 w 12117871"/>
                <a:gd name="connsiteY4622" fmla="*/ 2176765 h 6072780"/>
                <a:gd name="connsiteX4623" fmla="*/ 11895120 w 12117871"/>
                <a:gd name="connsiteY4623" fmla="*/ 1870182 h 6072780"/>
                <a:gd name="connsiteX4624" fmla="*/ 11855850 w 12117871"/>
                <a:gd name="connsiteY4624" fmla="*/ 1956697 h 6072780"/>
                <a:gd name="connsiteX4625" fmla="*/ 11894368 w 12117871"/>
                <a:gd name="connsiteY4625" fmla="*/ 2037642 h 6072780"/>
                <a:gd name="connsiteX4626" fmla="*/ 11932283 w 12117871"/>
                <a:gd name="connsiteY4626" fmla="*/ 1955343 h 6072780"/>
                <a:gd name="connsiteX4627" fmla="*/ 11895120 w 12117871"/>
                <a:gd name="connsiteY4627" fmla="*/ 1870182 h 6072780"/>
                <a:gd name="connsiteX4628" fmla="*/ 11188558 w 12117871"/>
                <a:gd name="connsiteY4628" fmla="*/ 1870182 h 6072780"/>
                <a:gd name="connsiteX4629" fmla="*/ 11149288 w 12117871"/>
                <a:gd name="connsiteY4629" fmla="*/ 1956697 h 6072780"/>
                <a:gd name="connsiteX4630" fmla="*/ 11187806 w 12117871"/>
                <a:gd name="connsiteY4630" fmla="*/ 2037642 h 6072780"/>
                <a:gd name="connsiteX4631" fmla="*/ 11225721 w 12117871"/>
                <a:gd name="connsiteY4631" fmla="*/ 1955343 h 6072780"/>
                <a:gd name="connsiteX4632" fmla="*/ 11188558 w 12117871"/>
                <a:gd name="connsiteY4632" fmla="*/ 1870182 h 6072780"/>
                <a:gd name="connsiteX4633" fmla="*/ 9941039 w 12117871"/>
                <a:gd name="connsiteY4633" fmla="*/ 1870182 h 6072780"/>
                <a:gd name="connsiteX4634" fmla="*/ 9901769 w 12117871"/>
                <a:gd name="connsiteY4634" fmla="*/ 1956697 h 6072780"/>
                <a:gd name="connsiteX4635" fmla="*/ 9940287 w 12117871"/>
                <a:gd name="connsiteY4635" fmla="*/ 2037642 h 6072780"/>
                <a:gd name="connsiteX4636" fmla="*/ 9978202 w 12117871"/>
                <a:gd name="connsiteY4636" fmla="*/ 1955343 h 6072780"/>
                <a:gd name="connsiteX4637" fmla="*/ 9941039 w 12117871"/>
                <a:gd name="connsiteY4637" fmla="*/ 1870182 h 6072780"/>
                <a:gd name="connsiteX4638" fmla="*/ 9721595 w 12117871"/>
                <a:gd name="connsiteY4638" fmla="*/ 1870182 h 6072780"/>
                <a:gd name="connsiteX4639" fmla="*/ 9682325 w 12117871"/>
                <a:gd name="connsiteY4639" fmla="*/ 1956697 h 6072780"/>
                <a:gd name="connsiteX4640" fmla="*/ 9720843 w 12117871"/>
                <a:gd name="connsiteY4640" fmla="*/ 2037642 h 6072780"/>
                <a:gd name="connsiteX4641" fmla="*/ 9758758 w 12117871"/>
                <a:gd name="connsiteY4641" fmla="*/ 1955343 h 6072780"/>
                <a:gd name="connsiteX4642" fmla="*/ 9721595 w 12117871"/>
                <a:gd name="connsiteY4642" fmla="*/ 1870182 h 6072780"/>
                <a:gd name="connsiteX4643" fmla="*/ 6366950 w 12117871"/>
                <a:gd name="connsiteY4643" fmla="*/ 1870182 h 6072780"/>
                <a:gd name="connsiteX4644" fmla="*/ 6327680 w 12117871"/>
                <a:gd name="connsiteY4644" fmla="*/ 1956697 h 6072780"/>
                <a:gd name="connsiteX4645" fmla="*/ 6366198 w 12117871"/>
                <a:gd name="connsiteY4645" fmla="*/ 2037642 h 6072780"/>
                <a:gd name="connsiteX4646" fmla="*/ 6404113 w 12117871"/>
                <a:gd name="connsiteY4646" fmla="*/ 1955343 h 6072780"/>
                <a:gd name="connsiteX4647" fmla="*/ 6366950 w 12117871"/>
                <a:gd name="connsiteY4647" fmla="*/ 1870182 h 6072780"/>
                <a:gd name="connsiteX4648" fmla="*/ 5831864 w 12117871"/>
                <a:gd name="connsiteY4648" fmla="*/ 1870182 h 6072780"/>
                <a:gd name="connsiteX4649" fmla="*/ 5792595 w 12117871"/>
                <a:gd name="connsiteY4649" fmla="*/ 1956697 h 6072780"/>
                <a:gd name="connsiteX4650" fmla="*/ 5831113 w 12117871"/>
                <a:gd name="connsiteY4650" fmla="*/ 2037642 h 6072780"/>
                <a:gd name="connsiteX4651" fmla="*/ 5869027 w 12117871"/>
                <a:gd name="connsiteY4651" fmla="*/ 1955343 h 6072780"/>
                <a:gd name="connsiteX4652" fmla="*/ 5831864 w 12117871"/>
                <a:gd name="connsiteY4652" fmla="*/ 1870182 h 6072780"/>
                <a:gd name="connsiteX4653" fmla="*/ 5134215 w 12117871"/>
                <a:gd name="connsiteY4653" fmla="*/ 1870182 h 6072780"/>
                <a:gd name="connsiteX4654" fmla="*/ 5094945 w 12117871"/>
                <a:gd name="connsiteY4654" fmla="*/ 1956697 h 6072780"/>
                <a:gd name="connsiteX4655" fmla="*/ 5133463 w 12117871"/>
                <a:gd name="connsiteY4655" fmla="*/ 2037642 h 6072780"/>
                <a:gd name="connsiteX4656" fmla="*/ 5171378 w 12117871"/>
                <a:gd name="connsiteY4656" fmla="*/ 1955343 h 6072780"/>
                <a:gd name="connsiteX4657" fmla="*/ 5134215 w 12117871"/>
                <a:gd name="connsiteY4657" fmla="*/ 1870182 h 6072780"/>
                <a:gd name="connsiteX4658" fmla="*/ 3882478 w 12117871"/>
                <a:gd name="connsiteY4658" fmla="*/ 1870182 h 6072780"/>
                <a:gd name="connsiteX4659" fmla="*/ 3843208 w 12117871"/>
                <a:gd name="connsiteY4659" fmla="*/ 1956697 h 6072780"/>
                <a:gd name="connsiteX4660" fmla="*/ 3881726 w 12117871"/>
                <a:gd name="connsiteY4660" fmla="*/ 2037642 h 6072780"/>
                <a:gd name="connsiteX4661" fmla="*/ 3919642 w 12117871"/>
                <a:gd name="connsiteY4661" fmla="*/ 1955343 h 6072780"/>
                <a:gd name="connsiteX4662" fmla="*/ 3882478 w 12117871"/>
                <a:gd name="connsiteY4662" fmla="*/ 1870182 h 6072780"/>
                <a:gd name="connsiteX4663" fmla="*/ 3657815 w 12117871"/>
                <a:gd name="connsiteY4663" fmla="*/ 1870182 h 6072780"/>
                <a:gd name="connsiteX4664" fmla="*/ 3618545 w 12117871"/>
                <a:gd name="connsiteY4664" fmla="*/ 1956697 h 6072780"/>
                <a:gd name="connsiteX4665" fmla="*/ 3657061 w 12117871"/>
                <a:gd name="connsiteY4665" fmla="*/ 2037642 h 6072780"/>
                <a:gd name="connsiteX4666" fmla="*/ 3694977 w 12117871"/>
                <a:gd name="connsiteY4666" fmla="*/ 1955343 h 6072780"/>
                <a:gd name="connsiteX4667" fmla="*/ 3657815 w 12117871"/>
                <a:gd name="connsiteY4667" fmla="*/ 1870182 h 6072780"/>
                <a:gd name="connsiteX4668" fmla="*/ 295699 w 12117871"/>
                <a:gd name="connsiteY4668" fmla="*/ 1870182 h 6072780"/>
                <a:gd name="connsiteX4669" fmla="*/ 256429 w 12117871"/>
                <a:gd name="connsiteY4669" fmla="*/ 1956697 h 6072780"/>
                <a:gd name="connsiteX4670" fmla="*/ 294947 w 12117871"/>
                <a:gd name="connsiteY4670" fmla="*/ 2037642 h 6072780"/>
                <a:gd name="connsiteX4671" fmla="*/ 332862 w 12117871"/>
                <a:gd name="connsiteY4671" fmla="*/ 1955343 h 6072780"/>
                <a:gd name="connsiteX4672" fmla="*/ 295699 w 12117871"/>
                <a:gd name="connsiteY4672" fmla="*/ 1870182 h 6072780"/>
                <a:gd name="connsiteX4673" fmla="*/ 12088449 w 12117871"/>
                <a:gd name="connsiteY4673" fmla="*/ 1842348 h 6072780"/>
                <a:gd name="connsiteX4674" fmla="*/ 12103355 w 12117871"/>
                <a:gd name="connsiteY4674" fmla="*/ 1842348 h 6072780"/>
                <a:gd name="connsiteX4675" fmla="*/ 12103355 w 12117871"/>
                <a:gd name="connsiteY4675" fmla="*/ 2065327 h 6072780"/>
                <a:gd name="connsiteX4676" fmla="*/ 12068067 w 12117871"/>
                <a:gd name="connsiteY4676" fmla="*/ 2065327 h 6072780"/>
                <a:gd name="connsiteX4677" fmla="*/ 12068067 w 12117871"/>
                <a:gd name="connsiteY4677" fmla="*/ 1885544 h 6072780"/>
                <a:gd name="connsiteX4678" fmla="*/ 12047458 w 12117871"/>
                <a:gd name="connsiteY4678" fmla="*/ 1897179 h 6072780"/>
                <a:gd name="connsiteX4679" fmla="*/ 12022285 w 12117871"/>
                <a:gd name="connsiteY4679" fmla="*/ 1905622 h 6072780"/>
                <a:gd name="connsiteX4680" fmla="*/ 12022285 w 12117871"/>
                <a:gd name="connsiteY4680" fmla="*/ 1875506 h 6072780"/>
                <a:gd name="connsiteX4681" fmla="*/ 12039320 w 12117871"/>
                <a:gd name="connsiteY4681" fmla="*/ 1869422 h 6072780"/>
                <a:gd name="connsiteX4682" fmla="*/ 12055519 w 12117871"/>
                <a:gd name="connsiteY4682" fmla="*/ 1862273 h 6072780"/>
                <a:gd name="connsiteX4683" fmla="*/ 12071642 w 12117871"/>
                <a:gd name="connsiteY4683" fmla="*/ 1853451 h 6072780"/>
                <a:gd name="connsiteX4684" fmla="*/ 12088449 w 12117871"/>
                <a:gd name="connsiteY4684" fmla="*/ 1842348 h 6072780"/>
                <a:gd name="connsiteX4685" fmla="*/ 11896775 w 12117871"/>
                <a:gd name="connsiteY4685" fmla="*/ 1842348 h 6072780"/>
                <a:gd name="connsiteX4686" fmla="*/ 11967942 w 12117871"/>
                <a:gd name="connsiteY4686" fmla="*/ 1952935 h 6072780"/>
                <a:gd name="connsiteX4687" fmla="*/ 11947856 w 12117871"/>
                <a:gd name="connsiteY4687" fmla="*/ 2036514 h 6072780"/>
                <a:gd name="connsiteX4688" fmla="*/ 11891659 w 12117871"/>
                <a:gd name="connsiteY4688" fmla="*/ 2065327 h 6072780"/>
                <a:gd name="connsiteX4689" fmla="*/ 11839074 w 12117871"/>
                <a:gd name="connsiteY4689" fmla="*/ 2037793 h 6072780"/>
                <a:gd name="connsiteX4690" fmla="*/ 11820191 w 12117871"/>
                <a:gd name="connsiteY4690" fmla="*/ 1958202 h 6072780"/>
                <a:gd name="connsiteX4691" fmla="*/ 11839901 w 12117871"/>
                <a:gd name="connsiteY4691" fmla="*/ 1871686 h 6072780"/>
                <a:gd name="connsiteX4692" fmla="*/ 11896775 w 12117871"/>
                <a:gd name="connsiteY4692" fmla="*/ 1842348 h 6072780"/>
                <a:gd name="connsiteX4693" fmla="*/ 11190213 w 12117871"/>
                <a:gd name="connsiteY4693" fmla="*/ 1842348 h 6072780"/>
                <a:gd name="connsiteX4694" fmla="*/ 11261380 w 12117871"/>
                <a:gd name="connsiteY4694" fmla="*/ 1952935 h 6072780"/>
                <a:gd name="connsiteX4695" fmla="*/ 11241294 w 12117871"/>
                <a:gd name="connsiteY4695" fmla="*/ 2036514 h 6072780"/>
                <a:gd name="connsiteX4696" fmla="*/ 11185097 w 12117871"/>
                <a:gd name="connsiteY4696" fmla="*/ 2065327 h 6072780"/>
                <a:gd name="connsiteX4697" fmla="*/ 11132512 w 12117871"/>
                <a:gd name="connsiteY4697" fmla="*/ 2037793 h 6072780"/>
                <a:gd name="connsiteX4698" fmla="*/ 11113629 w 12117871"/>
                <a:gd name="connsiteY4698" fmla="*/ 1958202 h 6072780"/>
                <a:gd name="connsiteX4699" fmla="*/ 11133339 w 12117871"/>
                <a:gd name="connsiteY4699" fmla="*/ 1871686 h 6072780"/>
                <a:gd name="connsiteX4700" fmla="*/ 11190213 w 12117871"/>
                <a:gd name="connsiteY4700" fmla="*/ 1842348 h 6072780"/>
                <a:gd name="connsiteX4701" fmla="*/ 10816495 w 12117871"/>
                <a:gd name="connsiteY4701" fmla="*/ 1842348 h 6072780"/>
                <a:gd name="connsiteX4702" fmla="*/ 10831401 w 12117871"/>
                <a:gd name="connsiteY4702" fmla="*/ 1842348 h 6072780"/>
                <a:gd name="connsiteX4703" fmla="*/ 10831401 w 12117871"/>
                <a:gd name="connsiteY4703" fmla="*/ 2065327 h 6072780"/>
                <a:gd name="connsiteX4704" fmla="*/ 10796113 w 12117871"/>
                <a:gd name="connsiteY4704" fmla="*/ 2065327 h 6072780"/>
                <a:gd name="connsiteX4705" fmla="*/ 10796113 w 12117871"/>
                <a:gd name="connsiteY4705" fmla="*/ 1885544 h 6072780"/>
                <a:gd name="connsiteX4706" fmla="*/ 10775504 w 12117871"/>
                <a:gd name="connsiteY4706" fmla="*/ 1897179 h 6072780"/>
                <a:gd name="connsiteX4707" fmla="*/ 10750331 w 12117871"/>
                <a:gd name="connsiteY4707" fmla="*/ 1905622 h 6072780"/>
                <a:gd name="connsiteX4708" fmla="*/ 10750331 w 12117871"/>
                <a:gd name="connsiteY4708" fmla="*/ 1875506 h 6072780"/>
                <a:gd name="connsiteX4709" fmla="*/ 10767366 w 12117871"/>
                <a:gd name="connsiteY4709" fmla="*/ 1869422 h 6072780"/>
                <a:gd name="connsiteX4710" fmla="*/ 10783565 w 12117871"/>
                <a:gd name="connsiteY4710" fmla="*/ 1862273 h 6072780"/>
                <a:gd name="connsiteX4711" fmla="*/ 10799688 w 12117871"/>
                <a:gd name="connsiteY4711" fmla="*/ 1853451 h 6072780"/>
                <a:gd name="connsiteX4712" fmla="*/ 10816495 w 12117871"/>
                <a:gd name="connsiteY4712" fmla="*/ 1842348 h 6072780"/>
                <a:gd name="connsiteX4713" fmla="*/ 10444287 w 12117871"/>
                <a:gd name="connsiteY4713" fmla="*/ 1842348 h 6072780"/>
                <a:gd name="connsiteX4714" fmla="*/ 10459193 w 12117871"/>
                <a:gd name="connsiteY4714" fmla="*/ 1842348 h 6072780"/>
                <a:gd name="connsiteX4715" fmla="*/ 10459193 w 12117871"/>
                <a:gd name="connsiteY4715" fmla="*/ 2065327 h 6072780"/>
                <a:gd name="connsiteX4716" fmla="*/ 10423905 w 12117871"/>
                <a:gd name="connsiteY4716" fmla="*/ 2065327 h 6072780"/>
                <a:gd name="connsiteX4717" fmla="*/ 10423905 w 12117871"/>
                <a:gd name="connsiteY4717" fmla="*/ 1885544 h 6072780"/>
                <a:gd name="connsiteX4718" fmla="*/ 10403296 w 12117871"/>
                <a:gd name="connsiteY4718" fmla="*/ 1897179 h 6072780"/>
                <a:gd name="connsiteX4719" fmla="*/ 10378123 w 12117871"/>
                <a:gd name="connsiteY4719" fmla="*/ 1905622 h 6072780"/>
                <a:gd name="connsiteX4720" fmla="*/ 10378123 w 12117871"/>
                <a:gd name="connsiteY4720" fmla="*/ 1875506 h 6072780"/>
                <a:gd name="connsiteX4721" fmla="*/ 10395158 w 12117871"/>
                <a:gd name="connsiteY4721" fmla="*/ 1869422 h 6072780"/>
                <a:gd name="connsiteX4722" fmla="*/ 10411357 w 12117871"/>
                <a:gd name="connsiteY4722" fmla="*/ 1862273 h 6072780"/>
                <a:gd name="connsiteX4723" fmla="*/ 10427480 w 12117871"/>
                <a:gd name="connsiteY4723" fmla="*/ 1853451 h 6072780"/>
                <a:gd name="connsiteX4724" fmla="*/ 10444287 w 12117871"/>
                <a:gd name="connsiteY4724" fmla="*/ 1842348 h 6072780"/>
                <a:gd name="connsiteX4725" fmla="*/ 10157071 w 12117871"/>
                <a:gd name="connsiteY4725" fmla="*/ 1842348 h 6072780"/>
                <a:gd name="connsiteX4726" fmla="*/ 10171977 w 12117871"/>
                <a:gd name="connsiteY4726" fmla="*/ 1842348 h 6072780"/>
                <a:gd name="connsiteX4727" fmla="*/ 10171977 w 12117871"/>
                <a:gd name="connsiteY4727" fmla="*/ 2065327 h 6072780"/>
                <a:gd name="connsiteX4728" fmla="*/ 10136689 w 12117871"/>
                <a:gd name="connsiteY4728" fmla="*/ 2065327 h 6072780"/>
                <a:gd name="connsiteX4729" fmla="*/ 10136689 w 12117871"/>
                <a:gd name="connsiteY4729" fmla="*/ 1885544 h 6072780"/>
                <a:gd name="connsiteX4730" fmla="*/ 10116080 w 12117871"/>
                <a:gd name="connsiteY4730" fmla="*/ 1897179 h 6072780"/>
                <a:gd name="connsiteX4731" fmla="*/ 10090907 w 12117871"/>
                <a:gd name="connsiteY4731" fmla="*/ 1905622 h 6072780"/>
                <a:gd name="connsiteX4732" fmla="*/ 10090907 w 12117871"/>
                <a:gd name="connsiteY4732" fmla="*/ 1875506 h 6072780"/>
                <a:gd name="connsiteX4733" fmla="*/ 10107942 w 12117871"/>
                <a:gd name="connsiteY4733" fmla="*/ 1869422 h 6072780"/>
                <a:gd name="connsiteX4734" fmla="*/ 10124141 w 12117871"/>
                <a:gd name="connsiteY4734" fmla="*/ 1862273 h 6072780"/>
                <a:gd name="connsiteX4735" fmla="*/ 10140264 w 12117871"/>
                <a:gd name="connsiteY4735" fmla="*/ 1853451 h 6072780"/>
                <a:gd name="connsiteX4736" fmla="*/ 10157071 w 12117871"/>
                <a:gd name="connsiteY4736" fmla="*/ 1842348 h 6072780"/>
                <a:gd name="connsiteX4737" fmla="*/ 9942694 w 12117871"/>
                <a:gd name="connsiteY4737" fmla="*/ 1842348 h 6072780"/>
                <a:gd name="connsiteX4738" fmla="*/ 10013861 w 12117871"/>
                <a:gd name="connsiteY4738" fmla="*/ 1952935 h 6072780"/>
                <a:gd name="connsiteX4739" fmla="*/ 9993775 w 12117871"/>
                <a:gd name="connsiteY4739" fmla="*/ 2036514 h 6072780"/>
                <a:gd name="connsiteX4740" fmla="*/ 9937578 w 12117871"/>
                <a:gd name="connsiteY4740" fmla="*/ 2065327 h 6072780"/>
                <a:gd name="connsiteX4741" fmla="*/ 9884993 w 12117871"/>
                <a:gd name="connsiteY4741" fmla="*/ 2037793 h 6072780"/>
                <a:gd name="connsiteX4742" fmla="*/ 9866110 w 12117871"/>
                <a:gd name="connsiteY4742" fmla="*/ 1958202 h 6072780"/>
                <a:gd name="connsiteX4743" fmla="*/ 9885820 w 12117871"/>
                <a:gd name="connsiteY4743" fmla="*/ 1871686 h 6072780"/>
                <a:gd name="connsiteX4744" fmla="*/ 9942694 w 12117871"/>
                <a:gd name="connsiteY4744" fmla="*/ 1842348 h 6072780"/>
                <a:gd name="connsiteX4745" fmla="*/ 9723250 w 12117871"/>
                <a:gd name="connsiteY4745" fmla="*/ 1842348 h 6072780"/>
                <a:gd name="connsiteX4746" fmla="*/ 9794417 w 12117871"/>
                <a:gd name="connsiteY4746" fmla="*/ 1952935 h 6072780"/>
                <a:gd name="connsiteX4747" fmla="*/ 9774331 w 12117871"/>
                <a:gd name="connsiteY4747" fmla="*/ 2036514 h 6072780"/>
                <a:gd name="connsiteX4748" fmla="*/ 9718134 w 12117871"/>
                <a:gd name="connsiteY4748" fmla="*/ 2065327 h 6072780"/>
                <a:gd name="connsiteX4749" fmla="*/ 9665549 w 12117871"/>
                <a:gd name="connsiteY4749" fmla="*/ 2037793 h 6072780"/>
                <a:gd name="connsiteX4750" fmla="*/ 9646666 w 12117871"/>
                <a:gd name="connsiteY4750" fmla="*/ 1958202 h 6072780"/>
                <a:gd name="connsiteX4751" fmla="*/ 9666376 w 12117871"/>
                <a:gd name="connsiteY4751" fmla="*/ 1871686 h 6072780"/>
                <a:gd name="connsiteX4752" fmla="*/ 9723250 w 12117871"/>
                <a:gd name="connsiteY4752" fmla="*/ 1842348 h 6072780"/>
                <a:gd name="connsiteX4753" fmla="*/ 9556263 w 12117871"/>
                <a:gd name="connsiteY4753" fmla="*/ 1842348 h 6072780"/>
                <a:gd name="connsiteX4754" fmla="*/ 9571169 w 12117871"/>
                <a:gd name="connsiteY4754" fmla="*/ 1842348 h 6072780"/>
                <a:gd name="connsiteX4755" fmla="*/ 9571169 w 12117871"/>
                <a:gd name="connsiteY4755" fmla="*/ 2065327 h 6072780"/>
                <a:gd name="connsiteX4756" fmla="*/ 9535881 w 12117871"/>
                <a:gd name="connsiteY4756" fmla="*/ 2065327 h 6072780"/>
                <a:gd name="connsiteX4757" fmla="*/ 9535881 w 12117871"/>
                <a:gd name="connsiteY4757" fmla="*/ 1885544 h 6072780"/>
                <a:gd name="connsiteX4758" fmla="*/ 9515272 w 12117871"/>
                <a:gd name="connsiteY4758" fmla="*/ 1897179 h 6072780"/>
                <a:gd name="connsiteX4759" fmla="*/ 9490099 w 12117871"/>
                <a:gd name="connsiteY4759" fmla="*/ 1905622 h 6072780"/>
                <a:gd name="connsiteX4760" fmla="*/ 9490099 w 12117871"/>
                <a:gd name="connsiteY4760" fmla="*/ 1875506 h 6072780"/>
                <a:gd name="connsiteX4761" fmla="*/ 9507134 w 12117871"/>
                <a:gd name="connsiteY4761" fmla="*/ 1869422 h 6072780"/>
                <a:gd name="connsiteX4762" fmla="*/ 9523333 w 12117871"/>
                <a:gd name="connsiteY4762" fmla="*/ 1862273 h 6072780"/>
                <a:gd name="connsiteX4763" fmla="*/ 9539456 w 12117871"/>
                <a:gd name="connsiteY4763" fmla="*/ 1853451 h 6072780"/>
                <a:gd name="connsiteX4764" fmla="*/ 9556263 w 12117871"/>
                <a:gd name="connsiteY4764" fmla="*/ 1842348 h 6072780"/>
                <a:gd name="connsiteX4765" fmla="*/ 9269047 w 12117871"/>
                <a:gd name="connsiteY4765" fmla="*/ 1842348 h 6072780"/>
                <a:gd name="connsiteX4766" fmla="*/ 9283953 w 12117871"/>
                <a:gd name="connsiteY4766" fmla="*/ 1842348 h 6072780"/>
                <a:gd name="connsiteX4767" fmla="*/ 9283953 w 12117871"/>
                <a:gd name="connsiteY4767" fmla="*/ 2065327 h 6072780"/>
                <a:gd name="connsiteX4768" fmla="*/ 9248665 w 12117871"/>
                <a:gd name="connsiteY4768" fmla="*/ 2065327 h 6072780"/>
                <a:gd name="connsiteX4769" fmla="*/ 9248665 w 12117871"/>
                <a:gd name="connsiteY4769" fmla="*/ 1885544 h 6072780"/>
                <a:gd name="connsiteX4770" fmla="*/ 9228056 w 12117871"/>
                <a:gd name="connsiteY4770" fmla="*/ 1897179 h 6072780"/>
                <a:gd name="connsiteX4771" fmla="*/ 9202883 w 12117871"/>
                <a:gd name="connsiteY4771" fmla="*/ 1905622 h 6072780"/>
                <a:gd name="connsiteX4772" fmla="*/ 9202883 w 12117871"/>
                <a:gd name="connsiteY4772" fmla="*/ 1875506 h 6072780"/>
                <a:gd name="connsiteX4773" fmla="*/ 9219918 w 12117871"/>
                <a:gd name="connsiteY4773" fmla="*/ 1869422 h 6072780"/>
                <a:gd name="connsiteX4774" fmla="*/ 9236117 w 12117871"/>
                <a:gd name="connsiteY4774" fmla="*/ 1862273 h 6072780"/>
                <a:gd name="connsiteX4775" fmla="*/ 9252240 w 12117871"/>
                <a:gd name="connsiteY4775" fmla="*/ 1853451 h 6072780"/>
                <a:gd name="connsiteX4776" fmla="*/ 9269047 w 12117871"/>
                <a:gd name="connsiteY4776" fmla="*/ 1842348 h 6072780"/>
                <a:gd name="connsiteX4777" fmla="*/ 8879256 w 12117871"/>
                <a:gd name="connsiteY4777" fmla="*/ 1842348 h 6072780"/>
                <a:gd name="connsiteX4778" fmla="*/ 8894162 w 12117871"/>
                <a:gd name="connsiteY4778" fmla="*/ 1842348 h 6072780"/>
                <a:gd name="connsiteX4779" fmla="*/ 8894162 w 12117871"/>
                <a:gd name="connsiteY4779" fmla="*/ 2065327 h 6072780"/>
                <a:gd name="connsiteX4780" fmla="*/ 8858874 w 12117871"/>
                <a:gd name="connsiteY4780" fmla="*/ 2065327 h 6072780"/>
                <a:gd name="connsiteX4781" fmla="*/ 8858874 w 12117871"/>
                <a:gd name="connsiteY4781" fmla="*/ 1885544 h 6072780"/>
                <a:gd name="connsiteX4782" fmla="*/ 8838265 w 12117871"/>
                <a:gd name="connsiteY4782" fmla="*/ 1897179 h 6072780"/>
                <a:gd name="connsiteX4783" fmla="*/ 8813092 w 12117871"/>
                <a:gd name="connsiteY4783" fmla="*/ 1905622 h 6072780"/>
                <a:gd name="connsiteX4784" fmla="*/ 8813092 w 12117871"/>
                <a:gd name="connsiteY4784" fmla="*/ 1875506 h 6072780"/>
                <a:gd name="connsiteX4785" fmla="*/ 8830127 w 12117871"/>
                <a:gd name="connsiteY4785" fmla="*/ 1869422 h 6072780"/>
                <a:gd name="connsiteX4786" fmla="*/ 8846326 w 12117871"/>
                <a:gd name="connsiteY4786" fmla="*/ 1862273 h 6072780"/>
                <a:gd name="connsiteX4787" fmla="*/ 8862449 w 12117871"/>
                <a:gd name="connsiteY4787" fmla="*/ 1853451 h 6072780"/>
                <a:gd name="connsiteX4788" fmla="*/ 8879256 w 12117871"/>
                <a:gd name="connsiteY4788" fmla="*/ 1842348 h 6072780"/>
                <a:gd name="connsiteX4789" fmla="*/ 8735648 w 12117871"/>
                <a:gd name="connsiteY4789" fmla="*/ 1842348 h 6072780"/>
                <a:gd name="connsiteX4790" fmla="*/ 8750554 w 12117871"/>
                <a:gd name="connsiteY4790" fmla="*/ 1842348 h 6072780"/>
                <a:gd name="connsiteX4791" fmla="*/ 8750554 w 12117871"/>
                <a:gd name="connsiteY4791" fmla="*/ 2065327 h 6072780"/>
                <a:gd name="connsiteX4792" fmla="*/ 8715266 w 12117871"/>
                <a:gd name="connsiteY4792" fmla="*/ 2065327 h 6072780"/>
                <a:gd name="connsiteX4793" fmla="*/ 8715266 w 12117871"/>
                <a:gd name="connsiteY4793" fmla="*/ 1885544 h 6072780"/>
                <a:gd name="connsiteX4794" fmla="*/ 8694657 w 12117871"/>
                <a:gd name="connsiteY4794" fmla="*/ 1897179 h 6072780"/>
                <a:gd name="connsiteX4795" fmla="*/ 8669484 w 12117871"/>
                <a:gd name="connsiteY4795" fmla="*/ 1905622 h 6072780"/>
                <a:gd name="connsiteX4796" fmla="*/ 8669484 w 12117871"/>
                <a:gd name="connsiteY4796" fmla="*/ 1875506 h 6072780"/>
                <a:gd name="connsiteX4797" fmla="*/ 8686519 w 12117871"/>
                <a:gd name="connsiteY4797" fmla="*/ 1869422 h 6072780"/>
                <a:gd name="connsiteX4798" fmla="*/ 8702718 w 12117871"/>
                <a:gd name="connsiteY4798" fmla="*/ 1862273 h 6072780"/>
                <a:gd name="connsiteX4799" fmla="*/ 8718841 w 12117871"/>
                <a:gd name="connsiteY4799" fmla="*/ 1853451 h 6072780"/>
                <a:gd name="connsiteX4800" fmla="*/ 8735648 w 12117871"/>
                <a:gd name="connsiteY4800" fmla="*/ 1842348 h 6072780"/>
                <a:gd name="connsiteX4801" fmla="*/ 8592040 w 12117871"/>
                <a:gd name="connsiteY4801" fmla="*/ 1842348 h 6072780"/>
                <a:gd name="connsiteX4802" fmla="*/ 8606946 w 12117871"/>
                <a:gd name="connsiteY4802" fmla="*/ 1842348 h 6072780"/>
                <a:gd name="connsiteX4803" fmla="*/ 8606946 w 12117871"/>
                <a:gd name="connsiteY4803" fmla="*/ 2065327 h 6072780"/>
                <a:gd name="connsiteX4804" fmla="*/ 8571658 w 12117871"/>
                <a:gd name="connsiteY4804" fmla="*/ 2065327 h 6072780"/>
                <a:gd name="connsiteX4805" fmla="*/ 8571658 w 12117871"/>
                <a:gd name="connsiteY4805" fmla="*/ 1885544 h 6072780"/>
                <a:gd name="connsiteX4806" fmla="*/ 8551049 w 12117871"/>
                <a:gd name="connsiteY4806" fmla="*/ 1897179 h 6072780"/>
                <a:gd name="connsiteX4807" fmla="*/ 8525876 w 12117871"/>
                <a:gd name="connsiteY4807" fmla="*/ 1905622 h 6072780"/>
                <a:gd name="connsiteX4808" fmla="*/ 8525876 w 12117871"/>
                <a:gd name="connsiteY4808" fmla="*/ 1875506 h 6072780"/>
                <a:gd name="connsiteX4809" fmla="*/ 8542911 w 12117871"/>
                <a:gd name="connsiteY4809" fmla="*/ 1869422 h 6072780"/>
                <a:gd name="connsiteX4810" fmla="*/ 8559110 w 12117871"/>
                <a:gd name="connsiteY4810" fmla="*/ 1862273 h 6072780"/>
                <a:gd name="connsiteX4811" fmla="*/ 8575233 w 12117871"/>
                <a:gd name="connsiteY4811" fmla="*/ 1853451 h 6072780"/>
                <a:gd name="connsiteX4812" fmla="*/ 8592040 w 12117871"/>
                <a:gd name="connsiteY4812" fmla="*/ 1842348 h 6072780"/>
                <a:gd name="connsiteX4813" fmla="*/ 7830039 w 12117871"/>
                <a:gd name="connsiteY4813" fmla="*/ 1842348 h 6072780"/>
                <a:gd name="connsiteX4814" fmla="*/ 7844946 w 12117871"/>
                <a:gd name="connsiteY4814" fmla="*/ 1842348 h 6072780"/>
                <a:gd name="connsiteX4815" fmla="*/ 7844946 w 12117871"/>
                <a:gd name="connsiteY4815" fmla="*/ 2065327 h 6072780"/>
                <a:gd name="connsiteX4816" fmla="*/ 7809658 w 12117871"/>
                <a:gd name="connsiteY4816" fmla="*/ 2065327 h 6072780"/>
                <a:gd name="connsiteX4817" fmla="*/ 7809658 w 12117871"/>
                <a:gd name="connsiteY4817" fmla="*/ 1885544 h 6072780"/>
                <a:gd name="connsiteX4818" fmla="*/ 7789048 w 12117871"/>
                <a:gd name="connsiteY4818" fmla="*/ 1897179 h 6072780"/>
                <a:gd name="connsiteX4819" fmla="*/ 7763876 w 12117871"/>
                <a:gd name="connsiteY4819" fmla="*/ 1905622 h 6072780"/>
                <a:gd name="connsiteX4820" fmla="*/ 7763876 w 12117871"/>
                <a:gd name="connsiteY4820" fmla="*/ 1875506 h 6072780"/>
                <a:gd name="connsiteX4821" fmla="*/ 7780911 w 12117871"/>
                <a:gd name="connsiteY4821" fmla="*/ 1869422 h 6072780"/>
                <a:gd name="connsiteX4822" fmla="*/ 7797110 w 12117871"/>
                <a:gd name="connsiteY4822" fmla="*/ 1862273 h 6072780"/>
                <a:gd name="connsiteX4823" fmla="*/ 7813232 w 12117871"/>
                <a:gd name="connsiteY4823" fmla="*/ 1853451 h 6072780"/>
                <a:gd name="connsiteX4824" fmla="*/ 7830039 w 12117871"/>
                <a:gd name="connsiteY4824" fmla="*/ 1842348 h 6072780"/>
                <a:gd name="connsiteX4825" fmla="*/ 7686431 w 12117871"/>
                <a:gd name="connsiteY4825" fmla="*/ 1842348 h 6072780"/>
                <a:gd name="connsiteX4826" fmla="*/ 7701338 w 12117871"/>
                <a:gd name="connsiteY4826" fmla="*/ 1842348 h 6072780"/>
                <a:gd name="connsiteX4827" fmla="*/ 7701338 w 12117871"/>
                <a:gd name="connsiteY4827" fmla="*/ 2065327 h 6072780"/>
                <a:gd name="connsiteX4828" fmla="*/ 7666050 w 12117871"/>
                <a:gd name="connsiteY4828" fmla="*/ 2065327 h 6072780"/>
                <a:gd name="connsiteX4829" fmla="*/ 7666050 w 12117871"/>
                <a:gd name="connsiteY4829" fmla="*/ 1885544 h 6072780"/>
                <a:gd name="connsiteX4830" fmla="*/ 7645440 w 12117871"/>
                <a:gd name="connsiteY4830" fmla="*/ 1897179 h 6072780"/>
                <a:gd name="connsiteX4831" fmla="*/ 7620268 w 12117871"/>
                <a:gd name="connsiteY4831" fmla="*/ 1905622 h 6072780"/>
                <a:gd name="connsiteX4832" fmla="*/ 7620268 w 12117871"/>
                <a:gd name="connsiteY4832" fmla="*/ 1875506 h 6072780"/>
                <a:gd name="connsiteX4833" fmla="*/ 7637303 w 12117871"/>
                <a:gd name="connsiteY4833" fmla="*/ 1869422 h 6072780"/>
                <a:gd name="connsiteX4834" fmla="*/ 7653502 w 12117871"/>
                <a:gd name="connsiteY4834" fmla="*/ 1862273 h 6072780"/>
                <a:gd name="connsiteX4835" fmla="*/ 7669624 w 12117871"/>
                <a:gd name="connsiteY4835" fmla="*/ 1853451 h 6072780"/>
                <a:gd name="connsiteX4836" fmla="*/ 7686431 w 12117871"/>
                <a:gd name="connsiteY4836" fmla="*/ 1842348 h 6072780"/>
                <a:gd name="connsiteX4837" fmla="*/ 7399215 w 12117871"/>
                <a:gd name="connsiteY4837" fmla="*/ 1842348 h 6072780"/>
                <a:gd name="connsiteX4838" fmla="*/ 7414122 w 12117871"/>
                <a:gd name="connsiteY4838" fmla="*/ 1842348 h 6072780"/>
                <a:gd name="connsiteX4839" fmla="*/ 7414122 w 12117871"/>
                <a:gd name="connsiteY4839" fmla="*/ 2065327 h 6072780"/>
                <a:gd name="connsiteX4840" fmla="*/ 7378834 w 12117871"/>
                <a:gd name="connsiteY4840" fmla="*/ 2065327 h 6072780"/>
                <a:gd name="connsiteX4841" fmla="*/ 7378834 w 12117871"/>
                <a:gd name="connsiteY4841" fmla="*/ 1885544 h 6072780"/>
                <a:gd name="connsiteX4842" fmla="*/ 7358224 w 12117871"/>
                <a:gd name="connsiteY4842" fmla="*/ 1897179 h 6072780"/>
                <a:gd name="connsiteX4843" fmla="*/ 7333052 w 12117871"/>
                <a:gd name="connsiteY4843" fmla="*/ 1905622 h 6072780"/>
                <a:gd name="connsiteX4844" fmla="*/ 7333052 w 12117871"/>
                <a:gd name="connsiteY4844" fmla="*/ 1875506 h 6072780"/>
                <a:gd name="connsiteX4845" fmla="*/ 7350087 w 12117871"/>
                <a:gd name="connsiteY4845" fmla="*/ 1869422 h 6072780"/>
                <a:gd name="connsiteX4846" fmla="*/ 7366286 w 12117871"/>
                <a:gd name="connsiteY4846" fmla="*/ 1862273 h 6072780"/>
                <a:gd name="connsiteX4847" fmla="*/ 7382408 w 12117871"/>
                <a:gd name="connsiteY4847" fmla="*/ 1853451 h 6072780"/>
                <a:gd name="connsiteX4848" fmla="*/ 7399215 w 12117871"/>
                <a:gd name="connsiteY4848" fmla="*/ 1842348 h 6072780"/>
                <a:gd name="connsiteX4849" fmla="*/ 7000631 w 12117871"/>
                <a:gd name="connsiteY4849" fmla="*/ 1842348 h 6072780"/>
                <a:gd name="connsiteX4850" fmla="*/ 7015537 w 12117871"/>
                <a:gd name="connsiteY4850" fmla="*/ 1842348 h 6072780"/>
                <a:gd name="connsiteX4851" fmla="*/ 7015537 w 12117871"/>
                <a:gd name="connsiteY4851" fmla="*/ 2065327 h 6072780"/>
                <a:gd name="connsiteX4852" fmla="*/ 6980249 w 12117871"/>
                <a:gd name="connsiteY4852" fmla="*/ 2065327 h 6072780"/>
                <a:gd name="connsiteX4853" fmla="*/ 6980249 w 12117871"/>
                <a:gd name="connsiteY4853" fmla="*/ 1885544 h 6072780"/>
                <a:gd name="connsiteX4854" fmla="*/ 6959640 w 12117871"/>
                <a:gd name="connsiteY4854" fmla="*/ 1897179 h 6072780"/>
                <a:gd name="connsiteX4855" fmla="*/ 6934467 w 12117871"/>
                <a:gd name="connsiteY4855" fmla="*/ 1905622 h 6072780"/>
                <a:gd name="connsiteX4856" fmla="*/ 6934467 w 12117871"/>
                <a:gd name="connsiteY4856" fmla="*/ 1875506 h 6072780"/>
                <a:gd name="connsiteX4857" fmla="*/ 6951502 w 12117871"/>
                <a:gd name="connsiteY4857" fmla="*/ 1869422 h 6072780"/>
                <a:gd name="connsiteX4858" fmla="*/ 6967701 w 12117871"/>
                <a:gd name="connsiteY4858" fmla="*/ 1862273 h 6072780"/>
                <a:gd name="connsiteX4859" fmla="*/ 6983824 w 12117871"/>
                <a:gd name="connsiteY4859" fmla="*/ 1853451 h 6072780"/>
                <a:gd name="connsiteX4860" fmla="*/ 7000631 w 12117871"/>
                <a:gd name="connsiteY4860" fmla="*/ 1842348 h 6072780"/>
                <a:gd name="connsiteX4861" fmla="*/ 6857023 w 12117871"/>
                <a:gd name="connsiteY4861" fmla="*/ 1842348 h 6072780"/>
                <a:gd name="connsiteX4862" fmla="*/ 6871929 w 12117871"/>
                <a:gd name="connsiteY4862" fmla="*/ 1842348 h 6072780"/>
                <a:gd name="connsiteX4863" fmla="*/ 6871929 w 12117871"/>
                <a:gd name="connsiteY4863" fmla="*/ 2065327 h 6072780"/>
                <a:gd name="connsiteX4864" fmla="*/ 6836641 w 12117871"/>
                <a:gd name="connsiteY4864" fmla="*/ 2065327 h 6072780"/>
                <a:gd name="connsiteX4865" fmla="*/ 6836641 w 12117871"/>
                <a:gd name="connsiteY4865" fmla="*/ 1885544 h 6072780"/>
                <a:gd name="connsiteX4866" fmla="*/ 6816032 w 12117871"/>
                <a:gd name="connsiteY4866" fmla="*/ 1897179 h 6072780"/>
                <a:gd name="connsiteX4867" fmla="*/ 6790859 w 12117871"/>
                <a:gd name="connsiteY4867" fmla="*/ 1905622 h 6072780"/>
                <a:gd name="connsiteX4868" fmla="*/ 6790859 w 12117871"/>
                <a:gd name="connsiteY4868" fmla="*/ 1875506 h 6072780"/>
                <a:gd name="connsiteX4869" fmla="*/ 6807894 w 12117871"/>
                <a:gd name="connsiteY4869" fmla="*/ 1869422 h 6072780"/>
                <a:gd name="connsiteX4870" fmla="*/ 6824093 w 12117871"/>
                <a:gd name="connsiteY4870" fmla="*/ 1862273 h 6072780"/>
                <a:gd name="connsiteX4871" fmla="*/ 6840216 w 12117871"/>
                <a:gd name="connsiteY4871" fmla="*/ 1853451 h 6072780"/>
                <a:gd name="connsiteX4872" fmla="*/ 6857023 w 12117871"/>
                <a:gd name="connsiteY4872" fmla="*/ 1842348 h 6072780"/>
                <a:gd name="connsiteX4873" fmla="*/ 6713415 w 12117871"/>
                <a:gd name="connsiteY4873" fmla="*/ 1842348 h 6072780"/>
                <a:gd name="connsiteX4874" fmla="*/ 6728321 w 12117871"/>
                <a:gd name="connsiteY4874" fmla="*/ 1842348 h 6072780"/>
                <a:gd name="connsiteX4875" fmla="*/ 6728321 w 12117871"/>
                <a:gd name="connsiteY4875" fmla="*/ 2065327 h 6072780"/>
                <a:gd name="connsiteX4876" fmla="*/ 6693033 w 12117871"/>
                <a:gd name="connsiteY4876" fmla="*/ 2065327 h 6072780"/>
                <a:gd name="connsiteX4877" fmla="*/ 6693033 w 12117871"/>
                <a:gd name="connsiteY4877" fmla="*/ 1885544 h 6072780"/>
                <a:gd name="connsiteX4878" fmla="*/ 6672424 w 12117871"/>
                <a:gd name="connsiteY4878" fmla="*/ 1897179 h 6072780"/>
                <a:gd name="connsiteX4879" fmla="*/ 6647251 w 12117871"/>
                <a:gd name="connsiteY4879" fmla="*/ 1905622 h 6072780"/>
                <a:gd name="connsiteX4880" fmla="*/ 6647251 w 12117871"/>
                <a:gd name="connsiteY4880" fmla="*/ 1875506 h 6072780"/>
                <a:gd name="connsiteX4881" fmla="*/ 6664286 w 12117871"/>
                <a:gd name="connsiteY4881" fmla="*/ 1869422 h 6072780"/>
                <a:gd name="connsiteX4882" fmla="*/ 6680485 w 12117871"/>
                <a:gd name="connsiteY4882" fmla="*/ 1862273 h 6072780"/>
                <a:gd name="connsiteX4883" fmla="*/ 6696608 w 12117871"/>
                <a:gd name="connsiteY4883" fmla="*/ 1853451 h 6072780"/>
                <a:gd name="connsiteX4884" fmla="*/ 6713415 w 12117871"/>
                <a:gd name="connsiteY4884" fmla="*/ 1842348 h 6072780"/>
                <a:gd name="connsiteX4885" fmla="*/ 6569807 w 12117871"/>
                <a:gd name="connsiteY4885" fmla="*/ 1842348 h 6072780"/>
                <a:gd name="connsiteX4886" fmla="*/ 6584713 w 12117871"/>
                <a:gd name="connsiteY4886" fmla="*/ 1842348 h 6072780"/>
                <a:gd name="connsiteX4887" fmla="*/ 6584713 w 12117871"/>
                <a:gd name="connsiteY4887" fmla="*/ 2065327 h 6072780"/>
                <a:gd name="connsiteX4888" fmla="*/ 6549425 w 12117871"/>
                <a:gd name="connsiteY4888" fmla="*/ 2065327 h 6072780"/>
                <a:gd name="connsiteX4889" fmla="*/ 6549425 w 12117871"/>
                <a:gd name="connsiteY4889" fmla="*/ 1885544 h 6072780"/>
                <a:gd name="connsiteX4890" fmla="*/ 6528816 w 12117871"/>
                <a:gd name="connsiteY4890" fmla="*/ 1897179 h 6072780"/>
                <a:gd name="connsiteX4891" fmla="*/ 6503643 w 12117871"/>
                <a:gd name="connsiteY4891" fmla="*/ 1905622 h 6072780"/>
                <a:gd name="connsiteX4892" fmla="*/ 6503643 w 12117871"/>
                <a:gd name="connsiteY4892" fmla="*/ 1875506 h 6072780"/>
                <a:gd name="connsiteX4893" fmla="*/ 6520678 w 12117871"/>
                <a:gd name="connsiteY4893" fmla="*/ 1869422 h 6072780"/>
                <a:gd name="connsiteX4894" fmla="*/ 6536877 w 12117871"/>
                <a:gd name="connsiteY4894" fmla="*/ 1862273 h 6072780"/>
                <a:gd name="connsiteX4895" fmla="*/ 6553000 w 12117871"/>
                <a:gd name="connsiteY4895" fmla="*/ 1853451 h 6072780"/>
                <a:gd name="connsiteX4896" fmla="*/ 6569807 w 12117871"/>
                <a:gd name="connsiteY4896" fmla="*/ 1842348 h 6072780"/>
                <a:gd name="connsiteX4897" fmla="*/ 6368605 w 12117871"/>
                <a:gd name="connsiteY4897" fmla="*/ 1842348 h 6072780"/>
                <a:gd name="connsiteX4898" fmla="*/ 6439772 w 12117871"/>
                <a:gd name="connsiteY4898" fmla="*/ 1952935 h 6072780"/>
                <a:gd name="connsiteX4899" fmla="*/ 6419686 w 12117871"/>
                <a:gd name="connsiteY4899" fmla="*/ 2036514 h 6072780"/>
                <a:gd name="connsiteX4900" fmla="*/ 6363489 w 12117871"/>
                <a:gd name="connsiteY4900" fmla="*/ 2065327 h 6072780"/>
                <a:gd name="connsiteX4901" fmla="*/ 6310904 w 12117871"/>
                <a:gd name="connsiteY4901" fmla="*/ 2037793 h 6072780"/>
                <a:gd name="connsiteX4902" fmla="*/ 6292021 w 12117871"/>
                <a:gd name="connsiteY4902" fmla="*/ 1958202 h 6072780"/>
                <a:gd name="connsiteX4903" fmla="*/ 6311731 w 12117871"/>
                <a:gd name="connsiteY4903" fmla="*/ 1871686 h 6072780"/>
                <a:gd name="connsiteX4904" fmla="*/ 6368605 w 12117871"/>
                <a:gd name="connsiteY4904" fmla="*/ 1842348 h 6072780"/>
                <a:gd name="connsiteX4905" fmla="*/ 6033478 w 12117871"/>
                <a:gd name="connsiteY4905" fmla="*/ 1842348 h 6072780"/>
                <a:gd name="connsiteX4906" fmla="*/ 6048383 w 12117871"/>
                <a:gd name="connsiteY4906" fmla="*/ 1842348 h 6072780"/>
                <a:gd name="connsiteX4907" fmla="*/ 6048383 w 12117871"/>
                <a:gd name="connsiteY4907" fmla="*/ 2065327 h 6072780"/>
                <a:gd name="connsiteX4908" fmla="*/ 6013095 w 12117871"/>
                <a:gd name="connsiteY4908" fmla="*/ 2065327 h 6072780"/>
                <a:gd name="connsiteX4909" fmla="*/ 6013095 w 12117871"/>
                <a:gd name="connsiteY4909" fmla="*/ 1885544 h 6072780"/>
                <a:gd name="connsiteX4910" fmla="*/ 5992487 w 12117871"/>
                <a:gd name="connsiteY4910" fmla="*/ 1897179 h 6072780"/>
                <a:gd name="connsiteX4911" fmla="*/ 5967315 w 12117871"/>
                <a:gd name="connsiteY4911" fmla="*/ 1905622 h 6072780"/>
                <a:gd name="connsiteX4912" fmla="*/ 5967315 w 12117871"/>
                <a:gd name="connsiteY4912" fmla="*/ 1875506 h 6072780"/>
                <a:gd name="connsiteX4913" fmla="*/ 5984348 w 12117871"/>
                <a:gd name="connsiteY4913" fmla="*/ 1869422 h 6072780"/>
                <a:gd name="connsiteX4914" fmla="*/ 6000547 w 12117871"/>
                <a:gd name="connsiteY4914" fmla="*/ 1862273 h 6072780"/>
                <a:gd name="connsiteX4915" fmla="*/ 6016670 w 12117871"/>
                <a:gd name="connsiteY4915" fmla="*/ 1853451 h 6072780"/>
                <a:gd name="connsiteX4916" fmla="*/ 6033478 w 12117871"/>
                <a:gd name="connsiteY4916" fmla="*/ 1842348 h 6072780"/>
                <a:gd name="connsiteX4917" fmla="*/ 5833520 w 12117871"/>
                <a:gd name="connsiteY4917" fmla="*/ 1842348 h 6072780"/>
                <a:gd name="connsiteX4918" fmla="*/ 5904686 w 12117871"/>
                <a:gd name="connsiteY4918" fmla="*/ 1952935 h 6072780"/>
                <a:gd name="connsiteX4919" fmla="*/ 5884601 w 12117871"/>
                <a:gd name="connsiteY4919" fmla="*/ 2036514 h 6072780"/>
                <a:gd name="connsiteX4920" fmla="*/ 5828403 w 12117871"/>
                <a:gd name="connsiteY4920" fmla="*/ 2065327 h 6072780"/>
                <a:gd name="connsiteX4921" fmla="*/ 5775818 w 12117871"/>
                <a:gd name="connsiteY4921" fmla="*/ 2037793 h 6072780"/>
                <a:gd name="connsiteX4922" fmla="*/ 5756935 w 12117871"/>
                <a:gd name="connsiteY4922" fmla="*/ 1958202 h 6072780"/>
                <a:gd name="connsiteX4923" fmla="*/ 5776646 w 12117871"/>
                <a:gd name="connsiteY4923" fmla="*/ 1871686 h 6072780"/>
                <a:gd name="connsiteX4924" fmla="*/ 5833520 w 12117871"/>
                <a:gd name="connsiteY4924" fmla="*/ 1842348 h 6072780"/>
                <a:gd name="connsiteX4925" fmla="*/ 5135870 w 12117871"/>
                <a:gd name="connsiteY4925" fmla="*/ 1842348 h 6072780"/>
                <a:gd name="connsiteX4926" fmla="*/ 5207037 w 12117871"/>
                <a:gd name="connsiteY4926" fmla="*/ 1952935 h 6072780"/>
                <a:gd name="connsiteX4927" fmla="*/ 5186950 w 12117871"/>
                <a:gd name="connsiteY4927" fmla="*/ 2036514 h 6072780"/>
                <a:gd name="connsiteX4928" fmla="*/ 5130754 w 12117871"/>
                <a:gd name="connsiteY4928" fmla="*/ 2065327 h 6072780"/>
                <a:gd name="connsiteX4929" fmla="*/ 5078168 w 12117871"/>
                <a:gd name="connsiteY4929" fmla="*/ 2037793 h 6072780"/>
                <a:gd name="connsiteX4930" fmla="*/ 5059286 w 12117871"/>
                <a:gd name="connsiteY4930" fmla="*/ 1958202 h 6072780"/>
                <a:gd name="connsiteX4931" fmla="*/ 5078996 w 12117871"/>
                <a:gd name="connsiteY4931" fmla="*/ 1871686 h 6072780"/>
                <a:gd name="connsiteX4932" fmla="*/ 5135870 w 12117871"/>
                <a:gd name="connsiteY4932" fmla="*/ 1842348 h 6072780"/>
                <a:gd name="connsiteX4933" fmla="*/ 4761526 w 12117871"/>
                <a:gd name="connsiteY4933" fmla="*/ 1842348 h 6072780"/>
                <a:gd name="connsiteX4934" fmla="*/ 4776431 w 12117871"/>
                <a:gd name="connsiteY4934" fmla="*/ 1842348 h 6072780"/>
                <a:gd name="connsiteX4935" fmla="*/ 4776431 w 12117871"/>
                <a:gd name="connsiteY4935" fmla="*/ 2065327 h 6072780"/>
                <a:gd name="connsiteX4936" fmla="*/ 4741143 w 12117871"/>
                <a:gd name="connsiteY4936" fmla="*/ 2065327 h 6072780"/>
                <a:gd name="connsiteX4937" fmla="*/ 4741143 w 12117871"/>
                <a:gd name="connsiteY4937" fmla="*/ 1885544 h 6072780"/>
                <a:gd name="connsiteX4938" fmla="*/ 4720534 w 12117871"/>
                <a:gd name="connsiteY4938" fmla="*/ 1897179 h 6072780"/>
                <a:gd name="connsiteX4939" fmla="*/ 4695361 w 12117871"/>
                <a:gd name="connsiteY4939" fmla="*/ 1905622 h 6072780"/>
                <a:gd name="connsiteX4940" fmla="*/ 4695361 w 12117871"/>
                <a:gd name="connsiteY4940" fmla="*/ 1875506 h 6072780"/>
                <a:gd name="connsiteX4941" fmla="*/ 4712395 w 12117871"/>
                <a:gd name="connsiteY4941" fmla="*/ 1869422 h 6072780"/>
                <a:gd name="connsiteX4942" fmla="*/ 4728594 w 12117871"/>
                <a:gd name="connsiteY4942" fmla="*/ 1862273 h 6072780"/>
                <a:gd name="connsiteX4943" fmla="*/ 4744717 w 12117871"/>
                <a:gd name="connsiteY4943" fmla="*/ 1853451 h 6072780"/>
                <a:gd name="connsiteX4944" fmla="*/ 4761526 w 12117871"/>
                <a:gd name="connsiteY4944" fmla="*/ 1842348 h 6072780"/>
                <a:gd name="connsiteX4945" fmla="*/ 4392240 w 12117871"/>
                <a:gd name="connsiteY4945" fmla="*/ 1842348 h 6072780"/>
                <a:gd name="connsiteX4946" fmla="*/ 4407147 w 12117871"/>
                <a:gd name="connsiteY4946" fmla="*/ 1842348 h 6072780"/>
                <a:gd name="connsiteX4947" fmla="*/ 4407147 w 12117871"/>
                <a:gd name="connsiteY4947" fmla="*/ 2065327 h 6072780"/>
                <a:gd name="connsiteX4948" fmla="*/ 4371860 w 12117871"/>
                <a:gd name="connsiteY4948" fmla="*/ 2065327 h 6072780"/>
                <a:gd name="connsiteX4949" fmla="*/ 4371860 w 12117871"/>
                <a:gd name="connsiteY4949" fmla="*/ 1885544 h 6072780"/>
                <a:gd name="connsiteX4950" fmla="*/ 4351250 w 12117871"/>
                <a:gd name="connsiteY4950" fmla="*/ 1897179 h 6072780"/>
                <a:gd name="connsiteX4951" fmla="*/ 4326077 w 12117871"/>
                <a:gd name="connsiteY4951" fmla="*/ 1905622 h 6072780"/>
                <a:gd name="connsiteX4952" fmla="*/ 4326077 w 12117871"/>
                <a:gd name="connsiteY4952" fmla="*/ 1875506 h 6072780"/>
                <a:gd name="connsiteX4953" fmla="*/ 4343113 w 12117871"/>
                <a:gd name="connsiteY4953" fmla="*/ 1869422 h 6072780"/>
                <a:gd name="connsiteX4954" fmla="*/ 4359312 w 12117871"/>
                <a:gd name="connsiteY4954" fmla="*/ 1862273 h 6072780"/>
                <a:gd name="connsiteX4955" fmla="*/ 4375433 w 12117871"/>
                <a:gd name="connsiteY4955" fmla="*/ 1853451 h 6072780"/>
                <a:gd name="connsiteX4956" fmla="*/ 4392240 w 12117871"/>
                <a:gd name="connsiteY4956" fmla="*/ 1842348 h 6072780"/>
                <a:gd name="connsiteX4957" fmla="*/ 4091705 w 12117871"/>
                <a:gd name="connsiteY4957" fmla="*/ 1842348 h 6072780"/>
                <a:gd name="connsiteX4958" fmla="*/ 4106611 w 12117871"/>
                <a:gd name="connsiteY4958" fmla="*/ 1842348 h 6072780"/>
                <a:gd name="connsiteX4959" fmla="*/ 4106611 w 12117871"/>
                <a:gd name="connsiteY4959" fmla="*/ 2065327 h 6072780"/>
                <a:gd name="connsiteX4960" fmla="*/ 4071322 w 12117871"/>
                <a:gd name="connsiteY4960" fmla="*/ 2065327 h 6072780"/>
                <a:gd name="connsiteX4961" fmla="*/ 4071322 w 12117871"/>
                <a:gd name="connsiteY4961" fmla="*/ 1885544 h 6072780"/>
                <a:gd name="connsiteX4962" fmla="*/ 4050714 w 12117871"/>
                <a:gd name="connsiteY4962" fmla="*/ 1897179 h 6072780"/>
                <a:gd name="connsiteX4963" fmla="*/ 4025540 w 12117871"/>
                <a:gd name="connsiteY4963" fmla="*/ 1905622 h 6072780"/>
                <a:gd name="connsiteX4964" fmla="*/ 4025540 w 12117871"/>
                <a:gd name="connsiteY4964" fmla="*/ 1875506 h 6072780"/>
                <a:gd name="connsiteX4965" fmla="*/ 4042575 w 12117871"/>
                <a:gd name="connsiteY4965" fmla="*/ 1869422 h 6072780"/>
                <a:gd name="connsiteX4966" fmla="*/ 4058774 w 12117871"/>
                <a:gd name="connsiteY4966" fmla="*/ 1862273 h 6072780"/>
                <a:gd name="connsiteX4967" fmla="*/ 4074897 w 12117871"/>
                <a:gd name="connsiteY4967" fmla="*/ 1853451 h 6072780"/>
                <a:gd name="connsiteX4968" fmla="*/ 4091705 w 12117871"/>
                <a:gd name="connsiteY4968" fmla="*/ 1842348 h 6072780"/>
                <a:gd name="connsiteX4969" fmla="*/ 3884133 w 12117871"/>
                <a:gd name="connsiteY4969" fmla="*/ 1842348 h 6072780"/>
                <a:gd name="connsiteX4970" fmla="*/ 3955300 w 12117871"/>
                <a:gd name="connsiteY4970" fmla="*/ 1952935 h 6072780"/>
                <a:gd name="connsiteX4971" fmla="*/ 3935215 w 12117871"/>
                <a:gd name="connsiteY4971" fmla="*/ 2036514 h 6072780"/>
                <a:gd name="connsiteX4972" fmla="*/ 3879017 w 12117871"/>
                <a:gd name="connsiteY4972" fmla="*/ 2065327 h 6072780"/>
                <a:gd name="connsiteX4973" fmla="*/ 3826433 w 12117871"/>
                <a:gd name="connsiteY4973" fmla="*/ 2037793 h 6072780"/>
                <a:gd name="connsiteX4974" fmla="*/ 3807549 w 12117871"/>
                <a:gd name="connsiteY4974" fmla="*/ 1958202 h 6072780"/>
                <a:gd name="connsiteX4975" fmla="*/ 3827259 w 12117871"/>
                <a:gd name="connsiteY4975" fmla="*/ 1871686 h 6072780"/>
                <a:gd name="connsiteX4976" fmla="*/ 3884133 w 12117871"/>
                <a:gd name="connsiteY4976" fmla="*/ 1842348 h 6072780"/>
                <a:gd name="connsiteX4977" fmla="*/ 3659468 w 12117871"/>
                <a:gd name="connsiteY4977" fmla="*/ 1842348 h 6072780"/>
                <a:gd name="connsiteX4978" fmla="*/ 3730636 w 12117871"/>
                <a:gd name="connsiteY4978" fmla="*/ 1952935 h 6072780"/>
                <a:gd name="connsiteX4979" fmla="*/ 3710550 w 12117871"/>
                <a:gd name="connsiteY4979" fmla="*/ 2036514 h 6072780"/>
                <a:gd name="connsiteX4980" fmla="*/ 3654354 w 12117871"/>
                <a:gd name="connsiteY4980" fmla="*/ 2065327 h 6072780"/>
                <a:gd name="connsiteX4981" fmla="*/ 3601769 w 12117871"/>
                <a:gd name="connsiteY4981" fmla="*/ 2037793 h 6072780"/>
                <a:gd name="connsiteX4982" fmla="*/ 3582886 w 12117871"/>
                <a:gd name="connsiteY4982" fmla="*/ 1958202 h 6072780"/>
                <a:gd name="connsiteX4983" fmla="*/ 3602596 w 12117871"/>
                <a:gd name="connsiteY4983" fmla="*/ 1871686 h 6072780"/>
                <a:gd name="connsiteX4984" fmla="*/ 3659468 w 12117871"/>
                <a:gd name="connsiteY4984" fmla="*/ 1842348 h 6072780"/>
                <a:gd name="connsiteX4985" fmla="*/ 3513017 w 12117871"/>
                <a:gd name="connsiteY4985" fmla="*/ 1842348 h 6072780"/>
                <a:gd name="connsiteX4986" fmla="*/ 3527924 w 12117871"/>
                <a:gd name="connsiteY4986" fmla="*/ 1842348 h 6072780"/>
                <a:gd name="connsiteX4987" fmla="*/ 3527924 w 12117871"/>
                <a:gd name="connsiteY4987" fmla="*/ 2065327 h 6072780"/>
                <a:gd name="connsiteX4988" fmla="*/ 3492635 w 12117871"/>
                <a:gd name="connsiteY4988" fmla="*/ 2065327 h 6072780"/>
                <a:gd name="connsiteX4989" fmla="*/ 3492635 w 12117871"/>
                <a:gd name="connsiteY4989" fmla="*/ 1885544 h 6072780"/>
                <a:gd name="connsiteX4990" fmla="*/ 3472027 w 12117871"/>
                <a:gd name="connsiteY4990" fmla="*/ 1897179 h 6072780"/>
                <a:gd name="connsiteX4991" fmla="*/ 3446854 w 12117871"/>
                <a:gd name="connsiteY4991" fmla="*/ 1905622 h 6072780"/>
                <a:gd name="connsiteX4992" fmla="*/ 3446854 w 12117871"/>
                <a:gd name="connsiteY4992" fmla="*/ 1875506 h 6072780"/>
                <a:gd name="connsiteX4993" fmla="*/ 3463889 w 12117871"/>
                <a:gd name="connsiteY4993" fmla="*/ 1869422 h 6072780"/>
                <a:gd name="connsiteX4994" fmla="*/ 3480087 w 12117871"/>
                <a:gd name="connsiteY4994" fmla="*/ 1862273 h 6072780"/>
                <a:gd name="connsiteX4995" fmla="*/ 3496210 w 12117871"/>
                <a:gd name="connsiteY4995" fmla="*/ 1853451 h 6072780"/>
                <a:gd name="connsiteX4996" fmla="*/ 3513017 w 12117871"/>
                <a:gd name="connsiteY4996" fmla="*/ 1842348 h 6072780"/>
                <a:gd name="connsiteX4997" fmla="*/ 3208218 w 12117871"/>
                <a:gd name="connsiteY4997" fmla="*/ 1842348 h 6072780"/>
                <a:gd name="connsiteX4998" fmla="*/ 3223124 w 12117871"/>
                <a:gd name="connsiteY4998" fmla="*/ 1842348 h 6072780"/>
                <a:gd name="connsiteX4999" fmla="*/ 3223124 w 12117871"/>
                <a:gd name="connsiteY4999" fmla="*/ 2065327 h 6072780"/>
                <a:gd name="connsiteX5000" fmla="*/ 3187836 w 12117871"/>
                <a:gd name="connsiteY5000" fmla="*/ 2065327 h 6072780"/>
                <a:gd name="connsiteX5001" fmla="*/ 3187836 w 12117871"/>
                <a:gd name="connsiteY5001" fmla="*/ 1885544 h 6072780"/>
                <a:gd name="connsiteX5002" fmla="*/ 3167227 w 12117871"/>
                <a:gd name="connsiteY5002" fmla="*/ 1897179 h 6072780"/>
                <a:gd name="connsiteX5003" fmla="*/ 3142053 w 12117871"/>
                <a:gd name="connsiteY5003" fmla="*/ 1905622 h 6072780"/>
                <a:gd name="connsiteX5004" fmla="*/ 3142053 w 12117871"/>
                <a:gd name="connsiteY5004" fmla="*/ 1875506 h 6072780"/>
                <a:gd name="connsiteX5005" fmla="*/ 3159089 w 12117871"/>
                <a:gd name="connsiteY5005" fmla="*/ 1869422 h 6072780"/>
                <a:gd name="connsiteX5006" fmla="*/ 3175288 w 12117871"/>
                <a:gd name="connsiteY5006" fmla="*/ 1862273 h 6072780"/>
                <a:gd name="connsiteX5007" fmla="*/ 3191409 w 12117871"/>
                <a:gd name="connsiteY5007" fmla="*/ 1853451 h 6072780"/>
                <a:gd name="connsiteX5008" fmla="*/ 3208218 w 12117871"/>
                <a:gd name="connsiteY5008" fmla="*/ 1842348 h 6072780"/>
                <a:gd name="connsiteX5009" fmla="*/ 2813523 w 12117871"/>
                <a:gd name="connsiteY5009" fmla="*/ 1842348 h 6072780"/>
                <a:gd name="connsiteX5010" fmla="*/ 2828429 w 12117871"/>
                <a:gd name="connsiteY5010" fmla="*/ 1842348 h 6072780"/>
                <a:gd name="connsiteX5011" fmla="*/ 2828429 w 12117871"/>
                <a:gd name="connsiteY5011" fmla="*/ 2065327 h 6072780"/>
                <a:gd name="connsiteX5012" fmla="*/ 2793141 w 12117871"/>
                <a:gd name="connsiteY5012" fmla="*/ 2065327 h 6072780"/>
                <a:gd name="connsiteX5013" fmla="*/ 2793141 w 12117871"/>
                <a:gd name="connsiteY5013" fmla="*/ 1885544 h 6072780"/>
                <a:gd name="connsiteX5014" fmla="*/ 2772531 w 12117871"/>
                <a:gd name="connsiteY5014" fmla="*/ 1897179 h 6072780"/>
                <a:gd name="connsiteX5015" fmla="*/ 2747358 w 12117871"/>
                <a:gd name="connsiteY5015" fmla="*/ 1905622 h 6072780"/>
                <a:gd name="connsiteX5016" fmla="*/ 2747358 w 12117871"/>
                <a:gd name="connsiteY5016" fmla="*/ 1875506 h 6072780"/>
                <a:gd name="connsiteX5017" fmla="*/ 2764394 w 12117871"/>
                <a:gd name="connsiteY5017" fmla="*/ 1869422 h 6072780"/>
                <a:gd name="connsiteX5018" fmla="*/ 2780592 w 12117871"/>
                <a:gd name="connsiteY5018" fmla="*/ 1862273 h 6072780"/>
                <a:gd name="connsiteX5019" fmla="*/ 2796715 w 12117871"/>
                <a:gd name="connsiteY5019" fmla="*/ 1853451 h 6072780"/>
                <a:gd name="connsiteX5020" fmla="*/ 2813523 w 12117871"/>
                <a:gd name="connsiteY5020" fmla="*/ 1842348 h 6072780"/>
                <a:gd name="connsiteX5021" fmla="*/ 2662929 w 12117871"/>
                <a:gd name="connsiteY5021" fmla="*/ 1842348 h 6072780"/>
                <a:gd name="connsiteX5022" fmla="*/ 2677834 w 12117871"/>
                <a:gd name="connsiteY5022" fmla="*/ 1842348 h 6072780"/>
                <a:gd name="connsiteX5023" fmla="*/ 2677834 w 12117871"/>
                <a:gd name="connsiteY5023" fmla="*/ 2065327 h 6072780"/>
                <a:gd name="connsiteX5024" fmla="*/ 2642547 w 12117871"/>
                <a:gd name="connsiteY5024" fmla="*/ 2065327 h 6072780"/>
                <a:gd name="connsiteX5025" fmla="*/ 2642547 w 12117871"/>
                <a:gd name="connsiteY5025" fmla="*/ 1885544 h 6072780"/>
                <a:gd name="connsiteX5026" fmla="*/ 2621937 w 12117871"/>
                <a:gd name="connsiteY5026" fmla="*/ 1897179 h 6072780"/>
                <a:gd name="connsiteX5027" fmla="*/ 2596765 w 12117871"/>
                <a:gd name="connsiteY5027" fmla="*/ 1905622 h 6072780"/>
                <a:gd name="connsiteX5028" fmla="*/ 2596765 w 12117871"/>
                <a:gd name="connsiteY5028" fmla="*/ 1875506 h 6072780"/>
                <a:gd name="connsiteX5029" fmla="*/ 2613800 w 12117871"/>
                <a:gd name="connsiteY5029" fmla="*/ 1869422 h 6072780"/>
                <a:gd name="connsiteX5030" fmla="*/ 2629998 w 12117871"/>
                <a:gd name="connsiteY5030" fmla="*/ 1862273 h 6072780"/>
                <a:gd name="connsiteX5031" fmla="*/ 2646120 w 12117871"/>
                <a:gd name="connsiteY5031" fmla="*/ 1853451 h 6072780"/>
                <a:gd name="connsiteX5032" fmla="*/ 2662929 w 12117871"/>
                <a:gd name="connsiteY5032" fmla="*/ 1842348 h 6072780"/>
                <a:gd name="connsiteX5033" fmla="*/ 2529603 w 12117871"/>
                <a:gd name="connsiteY5033" fmla="*/ 1842348 h 6072780"/>
                <a:gd name="connsiteX5034" fmla="*/ 2544509 w 12117871"/>
                <a:gd name="connsiteY5034" fmla="*/ 1842348 h 6072780"/>
                <a:gd name="connsiteX5035" fmla="*/ 2544509 w 12117871"/>
                <a:gd name="connsiteY5035" fmla="*/ 2065327 h 6072780"/>
                <a:gd name="connsiteX5036" fmla="*/ 2509221 w 12117871"/>
                <a:gd name="connsiteY5036" fmla="*/ 2065327 h 6072780"/>
                <a:gd name="connsiteX5037" fmla="*/ 2509221 w 12117871"/>
                <a:gd name="connsiteY5037" fmla="*/ 1885544 h 6072780"/>
                <a:gd name="connsiteX5038" fmla="*/ 2488613 w 12117871"/>
                <a:gd name="connsiteY5038" fmla="*/ 1897179 h 6072780"/>
                <a:gd name="connsiteX5039" fmla="*/ 2463440 w 12117871"/>
                <a:gd name="connsiteY5039" fmla="*/ 1905622 h 6072780"/>
                <a:gd name="connsiteX5040" fmla="*/ 2463440 w 12117871"/>
                <a:gd name="connsiteY5040" fmla="*/ 1875506 h 6072780"/>
                <a:gd name="connsiteX5041" fmla="*/ 2480475 w 12117871"/>
                <a:gd name="connsiteY5041" fmla="*/ 1869422 h 6072780"/>
                <a:gd name="connsiteX5042" fmla="*/ 2496673 w 12117871"/>
                <a:gd name="connsiteY5042" fmla="*/ 1862273 h 6072780"/>
                <a:gd name="connsiteX5043" fmla="*/ 2512795 w 12117871"/>
                <a:gd name="connsiteY5043" fmla="*/ 1853451 h 6072780"/>
                <a:gd name="connsiteX5044" fmla="*/ 2529603 w 12117871"/>
                <a:gd name="connsiteY5044" fmla="*/ 1842348 h 6072780"/>
                <a:gd name="connsiteX5045" fmla="*/ 1775939 w 12117871"/>
                <a:gd name="connsiteY5045" fmla="*/ 1842348 h 6072780"/>
                <a:gd name="connsiteX5046" fmla="*/ 1790845 w 12117871"/>
                <a:gd name="connsiteY5046" fmla="*/ 1842348 h 6072780"/>
                <a:gd name="connsiteX5047" fmla="*/ 1790845 w 12117871"/>
                <a:gd name="connsiteY5047" fmla="*/ 2065327 h 6072780"/>
                <a:gd name="connsiteX5048" fmla="*/ 1755557 w 12117871"/>
                <a:gd name="connsiteY5048" fmla="*/ 2065327 h 6072780"/>
                <a:gd name="connsiteX5049" fmla="*/ 1755557 w 12117871"/>
                <a:gd name="connsiteY5049" fmla="*/ 1885544 h 6072780"/>
                <a:gd name="connsiteX5050" fmla="*/ 1734948 w 12117871"/>
                <a:gd name="connsiteY5050" fmla="*/ 1897179 h 6072780"/>
                <a:gd name="connsiteX5051" fmla="*/ 1709775 w 12117871"/>
                <a:gd name="connsiteY5051" fmla="*/ 1905622 h 6072780"/>
                <a:gd name="connsiteX5052" fmla="*/ 1709775 w 12117871"/>
                <a:gd name="connsiteY5052" fmla="*/ 1875506 h 6072780"/>
                <a:gd name="connsiteX5053" fmla="*/ 1726810 w 12117871"/>
                <a:gd name="connsiteY5053" fmla="*/ 1869422 h 6072780"/>
                <a:gd name="connsiteX5054" fmla="*/ 1743009 w 12117871"/>
                <a:gd name="connsiteY5054" fmla="*/ 1862273 h 6072780"/>
                <a:gd name="connsiteX5055" fmla="*/ 1759132 w 12117871"/>
                <a:gd name="connsiteY5055" fmla="*/ 1853451 h 6072780"/>
                <a:gd name="connsiteX5056" fmla="*/ 1775939 w 12117871"/>
                <a:gd name="connsiteY5056" fmla="*/ 1842348 h 6072780"/>
                <a:gd name="connsiteX5057" fmla="*/ 1622547 w 12117871"/>
                <a:gd name="connsiteY5057" fmla="*/ 1842348 h 6072780"/>
                <a:gd name="connsiteX5058" fmla="*/ 1637453 w 12117871"/>
                <a:gd name="connsiteY5058" fmla="*/ 1842348 h 6072780"/>
                <a:gd name="connsiteX5059" fmla="*/ 1637453 w 12117871"/>
                <a:gd name="connsiteY5059" fmla="*/ 2065327 h 6072780"/>
                <a:gd name="connsiteX5060" fmla="*/ 1602165 w 12117871"/>
                <a:gd name="connsiteY5060" fmla="*/ 2065327 h 6072780"/>
                <a:gd name="connsiteX5061" fmla="*/ 1602165 w 12117871"/>
                <a:gd name="connsiteY5061" fmla="*/ 1885544 h 6072780"/>
                <a:gd name="connsiteX5062" fmla="*/ 1581556 w 12117871"/>
                <a:gd name="connsiteY5062" fmla="*/ 1897179 h 6072780"/>
                <a:gd name="connsiteX5063" fmla="*/ 1556383 w 12117871"/>
                <a:gd name="connsiteY5063" fmla="*/ 1905622 h 6072780"/>
                <a:gd name="connsiteX5064" fmla="*/ 1556383 w 12117871"/>
                <a:gd name="connsiteY5064" fmla="*/ 1875506 h 6072780"/>
                <a:gd name="connsiteX5065" fmla="*/ 1573418 w 12117871"/>
                <a:gd name="connsiteY5065" fmla="*/ 1869422 h 6072780"/>
                <a:gd name="connsiteX5066" fmla="*/ 1589617 w 12117871"/>
                <a:gd name="connsiteY5066" fmla="*/ 1862273 h 6072780"/>
                <a:gd name="connsiteX5067" fmla="*/ 1605740 w 12117871"/>
                <a:gd name="connsiteY5067" fmla="*/ 1853451 h 6072780"/>
                <a:gd name="connsiteX5068" fmla="*/ 1622547 w 12117871"/>
                <a:gd name="connsiteY5068" fmla="*/ 1842348 h 6072780"/>
                <a:gd name="connsiteX5069" fmla="*/ 1328478 w 12117871"/>
                <a:gd name="connsiteY5069" fmla="*/ 1842348 h 6072780"/>
                <a:gd name="connsiteX5070" fmla="*/ 1343384 w 12117871"/>
                <a:gd name="connsiteY5070" fmla="*/ 1842348 h 6072780"/>
                <a:gd name="connsiteX5071" fmla="*/ 1343384 w 12117871"/>
                <a:gd name="connsiteY5071" fmla="*/ 2065327 h 6072780"/>
                <a:gd name="connsiteX5072" fmla="*/ 1308096 w 12117871"/>
                <a:gd name="connsiteY5072" fmla="*/ 2065327 h 6072780"/>
                <a:gd name="connsiteX5073" fmla="*/ 1308096 w 12117871"/>
                <a:gd name="connsiteY5073" fmla="*/ 1885544 h 6072780"/>
                <a:gd name="connsiteX5074" fmla="*/ 1287487 w 12117871"/>
                <a:gd name="connsiteY5074" fmla="*/ 1897179 h 6072780"/>
                <a:gd name="connsiteX5075" fmla="*/ 1262314 w 12117871"/>
                <a:gd name="connsiteY5075" fmla="*/ 1905622 h 6072780"/>
                <a:gd name="connsiteX5076" fmla="*/ 1262314 w 12117871"/>
                <a:gd name="connsiteY5076" fmla="*/ 1875506 h 6072780"/>
                <a:gd name="connsiteX5077" fmla="*/ 1279349 w 12117871"/>
                <a:gd name="connsiteY5077" fmla="*/ 1869422 h 6072780"/>
                <a:gd name="connsiteX5078" fmla="*/ 1295548 w 12117871"/>
                <a:gd name="connsiteY5078" fmla="*/ 1862273 h 6072780"/>
                <a:gd name="connsiteX5079" fmla="*/ 1311671 w 12117871"/>
                <a:gd name="connsiteY5079" fmla="*/ 1853451 h 6072780"/>
                <a:gd name="connsiteX5080" fmla="*/ 1328478 w 12117871"/>
                <a:gd name="connsiteY5080" fmla="*/ 1842348 h 6072780"/>
                <a:gd name="connsiteX5081" fmla="*/ 953339 w 12117871"/>
                <a:gd name="connsiteY5081" fmla="*/ 1842348 h 6072780"/>
                <a:gd name="connsiteX5082" fmla="*/ 968245 w 12117871"/>
                <a:gd name="connsiteY5082" fmla="*/ 1842348 h 6072780"/>
                <a:gd name="connsiteX5083" fmla="*/ 968245 w 12117871"/>
                <a:gd name="connsiteY5083" fmla="*/ 2065327 h 6072780"/>
                <a:gd name="connsiteX5084" fmla="*/ 932957 w 12117871"/>
                <a:gd name="connsiteY5084" fmla="*/ 2065327 h 6072780"/>
                <a:gd name="connsiteX5085" fmla="*/ 932957 w 12117871"/>
                <a:gd name="connsiteY5085" fmla="*/ 1885544 h 6072780"/>
                <a:gd name="connsiteX5086" fmla="*/ 912348 w 12117871"/>
                <a:gd name="connsiteY5086" fmla="*/ 1897179 h 6072780"/>
                <a:gd name="connsiteX5087" fmla="*/ 887175 w 12117871"/>
                <a:gd name="connsiteY5087" fmla="*/ 1905622 h 6072780"/>
                <a:gd name="connsiteX5088" fmla="*/ 887175 w 12117871"/>
                <a:gd name="connsiteY5088" fmla="*/ 1875506 h 6072780"/>
                <a:gd name="connsiteX5089" fmla="*/ 904210 w 12117871"/>
                <a:gd name="connsiteY5089" fmla="*/ 1869422 h 6072780"/>
                <a:gd name="connsiteX5090" fmla="*/ 920409 w 12117871"/>
                <a:gd name="connsiteY5090" fmla="*/ 1862273 h 6072780"/>
                <a:gd name="connsiteX5091" fmla="*/ 936532 w 12117871"/>
                <a:gd name="connsiteY5091" fmla="*/ 1853451 h 6072780"/>
                <a:gd name="connsiteX5092" fmla="*/ 953339 w 12117871"/>
                <a:gd name="connsiteY5092" fmla="*/ 1842348 h 6072780"/>
                <a:gd name="connsiteX5093" fmla="*/ 804482 w 12117871"/>
                <a:gd name="connsiteY5093" fmla="*/ 1842348 h 6072780"/>
                <a:gd name="connsiteX5094" fmla="*/ 819388 w 12117871"/>
                <a:gd name="connsiteY5094" fmla="*/ 1842348 h 6072780"/>
                <a:gd name="connsiteX5095" fmla="*/ 819388 w 12117871"/>
                <a:gd name="connsiteY5095" fmla="*/ 2065327 h 6072780"/>
                <a:gd name="connsiteX5096" fmla="*/ 784100 w 12117871"/>
                <a:gd name="connsiteY5096" fmla="*/ 2065327 h 6072780"/>
                <a:gd name="connsiteX5097" fmla="*/ 784100 w 12117871"/>
                <a:gd name="connsiteY5097" fmla="*/ 1885544 h 6072780"/>
                <a:gd name="connsiteX5098" fmla="*/ 763491 w 12117871"/>
                <a:gd name="connsiteY5098" fmla="*/ 1897179 h 6072780"/>
                <a:gd name="connsiteX5099" fmla="*/ 738318 w 12117871"/>
                <a:gd name="connsiteY5099" fmla="*/ 1905622 h 6072780"/>
                <a:gd name="connsiteX5100" fmla="*/ 738318 w 12117871"/>
                <a:gd name="connsiteY5100" fmla="*/ 1875506 h 6072780"/>
                <a:gd name="connsiteX5101" fmla="*/ 755353 w 12117871"/>
                <a:gd name="connsiteY5101" fmla="*/ 1869422 h 6072780"/>
                <a:gd name="connsiteX5102" fmla="*/ 771552 w 12117871"/>
                <a:gd name="connsiteY5102" fmla="*/ 1862273 h 6072780"/>
                <a:gd name="connsiteX5103" fmla="*/ 787675 w 12117871"/>
                <a:gd name="connsiteY5103" fmla="*/ 1853451 h 6072780"/>
                <a:gd name="connsiteX5104" fmla="*/ 804482 w 12117871"/>
                <a:gd name="connsiteY5104" fmla="*/ 1842348 h 6072780"/>
                <a:gd name="connsiteX5105" fmla="*/ 655625 w 12117871"/>
                <a:gd name="connsiteY5105" fmla="*/ 1842348 h 6072780"/>
                <a:gd name="connsiteX5106" fmla="*/ 670531 w 12117871"/>
                <a:gd name="connsiteY5106" fmla="*/ 1842348 h 6072780"/>
                <a:gd name="connsiteX5107" fmla="*/ 670531 w 12117871"/>
                <a:gd name="connsiteY5107" fmla="*/ 2065327 h 6072780"/>
                <a:gd name="connsiteX5108" fmla="*/ 635243 w 12117871"/>
                <a:gd name="connsiteY5108" fmla="*/ 2065327 h 6072780"/>
                <a:gd name="connsiteX5109" fmla="*/ 635243 w 12117871"/>
                <a:gd name="connsiteY5109" fmla="*/ 1885544 h 6072780"/>
                <a:gd name="connsiteX5110" fmla="*/ 614634 w 12117871"/>
                <a:gd name="connsiteY5110" fmla="*/ 1897179 h 6072780"/>
                <a:gd name="connsiteX5111" fmla="*/ 589461 w 12117871"/>
                <a:gd name="connsiteY5111" fmla="*/ 1905622 h 6072780"/>
                <a:gd name="connsiteX5112" fmla="*/ 589461 w 12117871"/>
                <a:gd name="connsiteY5112" fmla="*/ 1875506 h 6072780"/>
                <a:gd name="connsiteX5113" fmla="*/ 606496 w 12117871"/>
                <a:gd name="connsiteY5113" fmla="*/ 1869422 h 6072780"/>
                <a:gd name="connsiteX5114" fmla="*/ 622695 w 12117871"/>
                <a:gd name="connsiteY5114" fmla="*/ 1862273 h 6072780"/>
                <a:gd name="connsiteX5115" fmla="*/ 638818 w 12117871"/>
                <a:gd name="connsiteY5115" fmla="*/ 1853451 h 6072780"/>
                <a:gd name="connsiteX5116" fmla="*/ 655625 w 12117871"/>
                <a:gd name="connsiteY5116" fmla="*/ 1842348 h 6072780"/>
                <a:gd name="connsiteX5117" fmla="*/ 506768 w 12117871"/>
                <a:gd name="connsiteY5117" fmla="*/ 1842348 h 6072780"/>
                <a:gd name="connsiteX5118" fmla="*/ 521674 w 12117871"/>
                <a:gd name="connsiteY5118" fmla="*/ 1842348 h 6072780"/>
                <a:gd name="connsiteX5119" fmla="*/ 521674 w 12117871"/>
                <a:gd name="connsiteY5119" fmla="*/ 2065327 h 6072780"/>
                <a:gd name="connsiteX5120" fmla="*/ 486386 w 12117871"/>
                <a:gd name="connsiteY5120" fmla="*/ 2065327 h 6072780"/>
                <a:gd name="connsiteX5121" fmla="*/ 486386 w 12117871"/>
                <a:gd name="connsiteY5121" fmla="*/ 1885544 h 6072780"/>
                <a:gd name="connsiteX5122" fmla="*/ 465777 w 12117871"/>
                <a:gd name="connsiteY5122" fmla="*/ 1897179 h 6072780"/>
                <a:gd name="connsiteX5123" fmla="*/ 440604 w 12117871"/>
                <a:gd name="connsiteY5123" fmla="*/ 1905622 h 6072780"/>
                <a:gd name="connsiteX5124" fmla="*/ 440604 w 12117871"/>
                <a:gd name="connsiteY5124" fmla="*/ 1875506 h 6072780"/>
                <a:gd name="connsiteX5125" fmla="*/ 457639 w 12117871"/>
                <a:gd name="connsiteY5125" fmla="*/ 1869422 h 6072780"/>
                <a:gd name="connsiteX5126" fmla="*/ 473838 w 12117871"/>
                <a:gd name="connsiteY5126" fmla="*/ 1862273 h 6072780"/>
                <a:gd name="connsiteX5127" fmla="*/ 489961 w 12117871"/>
                <a:gd name="connsiteY5127" fmla="*/ 1853451 h 6072780"/>
                <a:gd name="connsiteX5128" fmla="*/ 506768 w 12117871"/>
                <a:gd name="connsiteY5128" fmla="*/ 1842348 h 6072780"/>
                <a:gd name="connsiteX5129" fmla="*/ 297354 w 12117871"/>
                <a:gd name="connsiteY5129" fmla="*/ 1842348 h 6072780"/>
                <a:gd name="connsiteX5130" fmla="*/ 368521 w 12117871"/>
                <a:gd name="connsiteY5130" fmla="*/ 1952935 h 6072780"/>
                <a:gd name="connsiteX5131" fmla="*/ 348435 w 12117871"/>
                <a:gd name="connsiteY5131" fmla="*/ 2036514 h 6072780"/>
                <a:gd name="connsiteX5132" fmla="*/ 292238 w 12117871"/>
                <a:gd name="connsiteY5132" fmla="*/ 2065327 h 6072780"/>
                <a:gd name="connsiteX5133" fmla="*/ 239653 w 12117871"/>
                <a:gd name="connsiteY5133" fmla="*/ 2037793 h 6072780"/>
                <a:gd name="connsiteX5134" fmla="*/ 220770 w 12117871"/>
                <a:gd name="connsiteY5134" fmla="*/ 1958202 h 6072780"/>
                <a:gd name="connsiteX5135" fmla="*/ 240480 w 12117871"/>
                <a:gd name="connsiteY5135" fmla="*/ 1871686 h 6072780"/>
                <a:gd name="connsiteX5136" fmla="*/ 297354 w 12117871"/>
                <a:gd name="connsiteY5136" fmla="*/ 1842348 h 6072780"/>
                <a:gd name="connsiteX5137" fmla="*/ 10090194 w 12117871"/>
                <a:gd name="connsiteY5137" fmla="*/ 1549837 h 6072780"/>
                <a:gd name="connsiteX5138" fmla="*/ 10050924 w 12117871"/>
                <a:gd name="connsiteY5138" fmla="*/ 1636351 h 6072780"/>
                <a:gd name="connsiteX5139" fmla="*/ 10089442 w 12117871"/>
                <a:gd name="connsiteY5139" fmla="*/ 1717298 h 6072780"/>
                <a:gd name="connsiteX5140" fmla="*/ 10127357 w 12117871"/>
                <a:gd name="connsiteY5140" fmla="*/ 1634998 h 6072780"/>
                <a:gd name="connsiteX5141" fmla="*/ 10090194 w 12117871"/>
                <a:gd name="connsiteY5141" fmla="*/ 1549837 h 6072780"/>
                <a:gd name="connsiteX5142" fmla="*/ 9869271 w 12117871"/>
                <a:gd name="connsiteY5142" fmla="*/ 1549837 h 6072780"/>
                <a:gd name="connsiteX5143" fmla="*/ 9830001 w 12117871"/>
                <a:gd name="connsiteY5143" fmla="*/ 1636351 h 6072780"/>
                <a:gd name="connsiteX5144" fmla="*/ 9868519 w 12117871"/>
                <a:gd name="connsiteY5144" fmla="*/ 1717298 h 6072780"/>
                <a:gd name="connsiteX5145" fmla="*/ 9906434 w 12117871"/>
                <a:gd name="connsiteY5145" fmla="*/ 1634998 h 6072780"/>
                <a:gd name="connsiteX5146" fmla="*/ 9869271 w 12117871"/>
                <a:gd name="connsiteY5146" fmla="*/ 1549837 h 6072780"/>
                <a:gd name="connsiteX5147" fmla="*/ 9207611 w 12117871"/>
                <a:gd name="connsiteY5147" fmla="*/ 1549837 h 6072780"/>
                <a:gd name="connsiteX5148" fmla="*/ 9168341 w 12117871"/>
                <a:gd name="connsiteY5148" fmla="*/ 1636351 h 6072780"/>
                <a:gd name="connsiteX5149" fmla="*/ 9206859 w 12117871"/>
                <a:gd name="connsiteY5149" fmla="*/ 1717298 h 6072780"/>
                <a:gd name="connsiteX5150" fmla="*/ 9244774 w 12117871"/>
                <a:gd name="connsiteY5150" fmla="*/ 1634998 h 6072780"/>
                <a:gd name="connsiteX5151" fmla="*/ 9207611 w 12117871"/>
                <a:gd name="connsiteY5151" fmla="*/ 1549837 h 6072780"/>
                <a:gd name="connsiteX5152" fmla="*/ 8986688 w 12117871"/>
                <a:gd name="connsiteY5152" fmla="*/ 1549837 h 6072780"/>
                <a:gd name="connsiteX5153" fmla="*/ 8947418 w 12117871"/>
                <a:gd name="connsiteY5153" fmla="*/ 1636351 h 6072780"/>
                <a:gd name="connsiteX5154" fmla="*/ 8985936 w 12117871"/>
                <a:gd name="connsiteY5154" fmla="*/ 1717298 h 6072780"/>
                <a:gd name="connsiteX5155" fmla="*/ 9023851 w 12117871"/>
                <a:gd name="connsiteY5155" fmla="*/ 1634998 h 6072780"/>
                <a:gd name="connsiteX5156" fmla="*/ 8986688 w 12117871"/>
                <a:gd name="connsiteY5156" fmla="*/ 1549837 h 6072780"/>
                <a:gd name="connsiteX5157" fmla="*/ 4034142 w 12117871"/>
                <a:gd name="connsiteY5157" fmla="*/ 1549837 h 6072780"/>
                <a:gd name="connsiteX5158" fmla="*/ 3994872 w 12117871"/>
                <a:gd name="connsiteY5158" fmla="*/ 1636351 h 6072780"/>
                <a:gd name="connsiteX5159" fmla="*/ 4033390 w 12117871"/>
                <a:gd name="connsiteY5159" fmla="*/ 1717298 h 6072780"/>
                <a:gd name="connsiteX5160" fmla="*/ 4071305 w 12117871"/>
                <a:gd name="connsiteY5160" fmla="*/ 1634998 h 6072780"/>
                <a:gd name="connsiteX5161" fmla="*/ 4034142 w 12117871"/>
                <a:gd name="connsiteY5161" fmla="*/ 1549837 h 6072780"/>
                <a:gd name="connsiteX5162" fmla="*/ 3813219 w 12117871"/>
                <a:gd name="connsiteY5162" fmla="*/ 1549837 h 6072780"/>
                <a:gd name="connsiteX5163" fmla="*/ 3773949 w 12117871"/>
                <a:gd name="connsiteY5163" fmla="*/ 1636351 h 6072780"/>
                <a:gd name="connsiteX5164" fmla="*/ 3812467 w 12117871"/>
                <a:gd name="connsiteY5164" fmla="*/ 1717298 h 6072780"/>
                <a:gd name="connsiteX5165" fmla="*/ 3850382 w 12117871"/>
                <a:gd name="connsiteY5165" fmla="*/ 1634998 h 6072780"/>
                <a:gd name="connsiteX5166" fmla="*/ 3813219 w 12117871"/>
                <a:gd name="connsiteY5166" fmla="*/ 1549837 h 6072780"/>
                <a:gd name="connsiteX5167" fmla="*/ 3151559 w 12117871"/>
                <a:gd name="connsiteY5167" fmla="*/ 1549837 h 6072780"/>
                <a:gd name="connsiteX5168" fmla="*/ 3112289 w 12117871"/>
                <a:gd name="connsiteY5168" fmla="*/ 1636351 h 6072780"/>
                <a:gd name="connsiteX5169" fmla="*/ 3150808 w 12117871"/>
                <a:gd name="connsiteY5169" fmla="*/ 1717298 h 6072780"/>
                <a:gd name="connsiteX5170" fmla="*/ 3188723 w 12117871"/>
                <a:gd name="connsiteY5170" fmla="*/ 1634998 h 6072780"/>
                <a:gd name="connsiteX5171" fmla="*/ 3151559 w 12117871"/>
                <a:gd name="connsiteY5171" fmla="*/ 1549837 h 6072780"/>
                <a:gd name="connsiteX5172" fmla="*/ 2930637 w 12117871"/>
                <a:gd name="connsiteY5172" fmla="*/ 1549837 h 6072780"/>
                <a:gd name="connsiteX5173" fmla="*/ 2891366 w 12117871"/>
                <a:gd name="connsiteY5173" fmla="*/ 1636351 h 6072780"/>
                <a:gd name="connsiteX5174" fmla="*/ 2929884 w 12117871"/>
                <a:gd name="connsiteY5174" fmla="*/ 1717298 h 6072780"/>
                <a:gd name="connsiteX5175" fmla="*/ 2967799 w 12117871"/>
                <a:gd name="connsiteY5175" fmla="*/ 1634998 h 6072780"/>
                <a:gd name="connsiteX5176" fmla="*/ 2930637 w 12117871"/>
                <a:gd name="connsiteY5176" fmla="*/ 1549837 h 6072780"/>
                <a:gd name="connsiteX5177" fmla="*/ 11918627 w 12117871"/>
                <a:gd name="connsiteY5177" fmla="*/ 1522003 h 6072780"/>
                <a:gd name="connsiteX5178" fmla="*/ 11933533 w 12117871"/>
                <a:gd name="connsiteY5178" fmla="*/ 1522003 h 6072780"/>
                <a:gd name="connsiteX5179" fmla="*/ 11933533 w 12117871"/>
                <a:gd name="connsiteY5179" fmla="*/ 1744984 h 6072780"/>
                <a:gd name="connsiteX5180" fmla="*/ 11898245 w 12117871"/>
                <a:gd name="connsiteY5180" fmla="*/ 1744984 h 6072780"/>
                <a:gd name="connsiteX5181" fmla="*/ 11898245 w 12117871"/>
                <a:gd name="connsiteY5181" fmla="*/ 1565200 h 6072780"/>
                <a:gd name="connsiteX5182" fmla="*/ 11877636 w 12117871"/>
                <a:gd name="connsiteY5182" fmla="*/ 1576836 h 6072780"/>
                <a:gd name="connsiteX5183" fmla="*/ 11852463 w 12117871"/>
                <a:gd name="connsiteY5183" fmla="*/ 1585278 h 6072780"/>
                <a:gd name="connsiteX5184" fmla="*/ 11852463 w 12117871"/>
                <a:gd name="connsiteY5184" fmla="*/ 1555161 h 6072780"/>
                <a:gd name="connsiteX5185" fmla="*/ 11869498 w 12117871"/>
                <a:gd name="connsiteY5185" fmla="*/ 1549078 h 6072780"/>
                <a:gd name="connsiteX5186" fmla="*/ 11885697 w 12117871"/>
                <a:gd name="connsiteY5186" fmla="*/ 1541929 h 6072780"/>
                <a:gd name="connsiteX5187" fmla="*/ 11901820 w 12117871"/>
                <a:gd name="connsiteY5187" fmla="*/ 1533106 h 6072780"/>
                <a:gd name="connsiteX5188" fmla="*/ 11918627 w 12117871"/>
                <a:gd name="connsiteY5188" fmla="*/ 1522003 h 6072780"/>
                <a:gd name="connsiteX5189" fmla="*/ 11535759 w 12117871"/>
                <a:gd name="connsiteY5189" fmla="*/ 1522003 h 6072780"/>
                <a:gd name="connsiteX5190" fmla="*/ 11550665 w 12117871"/>
                <a:gd name="connsiteY5190" fmla="*/ 1522003 h 6072780"/>
                <a:gd name="connsiteX5191" fmla="*/ 11550665 w 12117871"/>
                <a:gd name="connsiteY5191" fmla="*/ 1744984 h 6072780"/>
                <a:gd name="connsiteX5192" fmla="*/ 11515377 w 12117871"/>
                <a:gd name="connsiteY5192" fmla="*/ 1744984 h 6072780"/>
                <a:gd name="connsiteX5193" fmla="*/ 11515377 w 12117871"/>
                <a:gd name="connsiteY5193" fmla="*/ 1565200 h 6072780"/>
                <a:gd name="connsiteX5194" fmla="*/ 11494768 w 12117871"/>
                <a:gd name="connsiteY5194" fmla="*/ 1576836 h 6072780"/>
                <a:gd name="connsiteX5195" fmla="*/ 11469595 w 12117871"/>
                <a:gd name="connsiteY5195" fmla="*/ 1585278 h 6072780"/>
                <a:gd name="connsiteX5196" fmla="*/ 11469595 w 12117871"/>
                <a:gd name="connsiteY5196" fmla="*/ 1555161 h 6072780"/>
                <a:gd name="connsiteX5197" fmla="*/ 11486630 w 12117871"/>
                <a:gd name="connsiteY5197" fmla="*/ 1549078 h 6072780"/>
                <a:gd name="connsiteX5198" fmla="*/ 11502829 w 12117871"/>
                <a:gd name="connsiteY5198" fmla="*/ 1541929 h 6072780"/>
                <a:gd name="connsiteX5199" fmla="*/ 11518952 w 12117871"/>
                <a:gd name="connsiteY5199" fmla="*/ 1533106 h 6072780"/>
                <a:gd name="connsiteX5200" fmla="*/ 11535759 w 12117871"/>
                <a:gd name="connsiteY5200" fmla="*/ 1522003 h 6072780"/>
                <a:gd name="connsiteX5201" fmla="*/ 11391633 w 12117871"/>
                <a:gd name="connsiteY5201" fmla="*/ 1522003 h 6072780"/>
                <a:gd name="connsiteX5202" fmla="*/ 11406539 w 12117871"/>
                <a:gd name="connsiteY5202" fmla="*/ 1522003 h 6072780"/>
                <a:gd name="connsiteX5203" fmla="*/ 11406539 w 12117871"/>
                <a:gd name="connsiteY5203" fmla="*/ 1744984 h 6072780"/>
                <a:gd name="connsiteX5204" fmla="*/ 11371251 w 12117871"/>
                <a:gd name="connsiteY5204" fmla="*/ 1744984 h 6072780"/>
                <a:gd name="connsiteX5205" fmla="*/ 11371251 w 12117871"/>
                <a:gd name="connsiteY5205" fmla="*/ 1565200 h 6072780"/>
                <a:gd name="connsiteX5206" fmla="*/ 11350642 w 12117871"/>
                <a:gd name="connsiteY5206" fmla="*/ 1576836 h 6072780"/>
                <a:gd name="connsiteX5207" fmla="*/ 11325469 w 12117871"/>
                <a:gd name="connsiteY5207" fmla="*/ 1585278 h 6072780"/>
                <a:gd name="connsiteX5208" fmla="*/ 11325469 w 12117871"/>
                <a:gd name="connsiteY5208" fmla="*/ 1555161 h 6072780"/>
                <a:gd name="connsiteX5209" fmla="*/ 11342504 w 12117871"/>
                <a:gd name="connsiteY5209" fmla="*/ 1549078 h 6072780"/>
                <a:gd name="connsiteX5210" fmla="*/ 11358703 w 12117871"/>
                <a:gd name="connsiteY5210" fmla="*/ 1541929 h 6072780"/>
                <a:gd name="connsiteX5211" fmla="*/ 11374826 w 12117871"/>
                <a:gd name="connsiteY5211" fmla="*/ 1533106 h 6072780"/>
                <a:gd name="connsiteX5212" fmla="*/ 11391633 w 12117871"/>
                <a:gd name="connsiteY5212" fmla="*/ 1522003 h 6072780"/>
                <a:gd name="connsiteX5213" fmla="*/ 11247508 w 12117871"/>
                <a:gd name="connsiteY5213" fmla="*/ 1522003 h 6072780"/>
                <a:gd name="connsiteX5214" fmla="*/ 11262414 w 12117871"/>
                <a:gd name="connsiteY5214" fmla="*/ 1522003 h 6072780"/>
                <a:gd name="connsiteX5215" fmla="*/ 11262414 w 12117871"/>
                <a:gd name="connsiteY5215" fmla="*/ 1744984 h 6072780"/>
                <a:gd name="connsiteX5216" fmla="*/ 11227126 w 12117871"/>
                <a:gd name="connsiteY5216" fmla="*/ 1744984 h 6072780"/>
                <a:gd name="connsiteX5217" fmla="*/ 11227126 w 12117871"/>
                <a:gd name="connsiteY5217" fmla="*/ 1565200 h 6072780"/>
                <a:gd name="connsiteX5218" fmla="*/ 11206517 w 12117871"/>
                <a:gd name="connsiteY5218" fmla="*/ 1576836 h 6072780"/>
                <a:gd name="connsiteX5219" fmla="*/ 11181344 w 12117871"/>
                <a:gd name="connsiteY5219" fmla="*/ 1585278 h 6072780"/>
                <a:gd name="connsiteX5220" fmla="*/ 11181344 w 12117871"/>
                <a:gd name="connsiteY5220" fmla="*/ 1555161 h 6072780"/>
                <a:gd name="connsiteX5221" fmla="*/ 11198379 w 12117871"/>
                <a:gd name="connsiteY5221" fmla="*/ 1549078 h 6072780"/>
                <a:gd name="connsiteX5222" fmla="*/ 11214578 w 12117871"/>
                <a:gd name="connsiteY5222" fmla="*/ 1541929 h 6072780"/>
                <a:gd name="connsiteX5223" fmla="*/ 11230701 w 12117871"/>
                <a:gd name="connsiteY5223" fmla="*/ 1533106 h 6072780"/>
                <a:gd name="connsiteX5224" fmla="*/ 11247508 w 12117871"/>
                <a:gd name="connsiteY5224" fmla="*/ 1522003 h 6072780"/>
                <a:gd name="connsiteX5225" fmla="*/ 11103383 w 12117871"/>
                <a:gd name="connsiteY5225" fmla="*/ 1522003 h 6072780"/>
                <a:gd name="connsiteX5226" fmla="*/ 11118289 w 12117871"/>
                <a:gd name="connsiteY5226" fmla="*/ 1522003 h 6072780"/>
                <a:gd name="connsiteX5227" fmla="*/ 11118289 w 12117871"/>
                <a:gd name="connsiteY5227" fmla="*/ 1744984 h 6072780"/>
                <a:gd name="connsiteX5228" fmla="*/ 11083001 w 12117871"/>
                <a:gd name="connsiteY5228" fmla="*/ 1744984 h 6072780"/>
                <a:gd name="connsiteX5229" fmla="*/ 11083001 w 12117871"/>
                <a:gd name="connsiteY5229" fmla="*/ 1565200 h 6072780"/>
                <a:gd name="connsiteX5230" fmla="*/ 11062392 w 12117871"/>
                <a:gd name="connsiteY5230" fmla="*/ 1576836 h 6072780"/>
                <a:gd name="connsiteX5231" fmla="*/ 11037219 w 12117871"/>
                <a:gd name="connsiteY5231" fmla="*/ 1585278 h 6072780"/>
                <a:gd name="connsiteX5232" fmla="*/ 11037219 w 12117871"/>
                <a:gd name="connsiteY5232" fmla="*/ 1555161 h 6072780"/>
                <a:gd name="connsiteX5233" fmla="*/ 11054254 w 12117871"/>
                <a:gd name="connsiteY5233" fmla="*/ 1549078 h 6072780"/>
                <a:gd name="connsiteX5234" fmla="*/ 11070453 w 12117871"/>
                <a:gd name="connsiteY5234" fmla="*/ 1541929 h 6072780"/>
                <a:gd name="connsiteX5235" fmla="*/ 11086576 w 12117871"/>
                <a:gd name="connsiteY5235" fmla="*/ 1533106 h 6072780"/>
                <a:gd name="connsiteX5236" fmla="*/ 11103383 w 12117871"/>
                <a:gd name="connsiteY5236" fmla="*/ 1522003 h 6072780"/>
                <a:gd name="connsiteX5237" fmla="*/ 10959258 w 12117871"/>
                <a:gd name="connsiteY5237" fmla="*/ 1522003 h 6072780"/>
                <a:gd name="connsiteX5238" fmla="*/ 10974164 w 12117871"/>
                <a:gd name="connsiteY5238" fmla="*/ 1522003 h 6072780"/>
                <a:gd name="connsiteX5239" fmla="*/ 10974164 w 12117871"/>
                <a:gd name="connsiteY5239" fmla="*/ 1744984 h 6072780"/>
                <a:gd name="connsiteX5240" fmla="*/ 10938876 w 12117871"/>
                <a:gd name="connsiteY5240" fmla="*/ 1744984 h 6072780"/>
                <a:gd name="connsiteX5241" fmla="*/ 10938876 w 12117871"/>
                <a:gd name="connsiteY5241" fmla="*/ 1565200 h 6072780"/>
                <a:gd name="connsiteX5242" fmla="*/ 10918267 w 12117871"/>
                <a:gd name="connsiteY5242" fmla="*/ 1576836 h 6072780"/>
                <a:gd name="connsiteX5243" fmla="*/ 10893094 w 12117871"/>
                <a:gd name="connsiteY5243" fmla="*/ 1585278 h 6072780"/>
                <a:gd name="connsiteX5244" fmla="*/ 10893094 w 12117871"/>
                <a:gd name="connsiteY5244" fmla="*/ 1555161 h 6072780"/>
                <a:gd name="connsiteX5245" fmla="*/ 10910129 w 12117871"/>
                <a:gd name="connsiteY5245" fmla="*/ 1549078 h 6072780"/>
                <a:gd name="connsiteX5246" fmla="*/ 10926328 w 12117871"/>
                <a:gd name="connsiteY5246" fmla="*/ 1541929 h 6072780"/>
                <a:gd name="connsiteX5247" fmla="*/ 10942451 w 12117871"/>
                <a:gd name="connsiteY5247" fmla="*/ 1533106 h 6072780"/>
                <a:gd name="connsiteX5248" fmla="*/ 10959258 w 12117871"/>
                <a:gd name="connsiteY5248" fmla="*/ 1522003 h 6072780"/>
                <a:gd name="connsiteX5249" fmla="*/ 10571025 w 12117871"/>
                <a:gd name="connsiteY5249" fmla="*/ 1522003 h 6072780"/>
                <a:gd name="connsiteX5250" fmla="*/ 10585931 w 12117871"/>
                <a:gd name="connsiteY5250" fmla="*/ 1522003 h 6072780"/>
                <a:gd name="connsiteX5251" fmla="*/ 10585931 w 12117871"/>
                <a:gd name="connsiteY5251" fmla="*/ 1744984 h 6072780"/>
                <a:gd name="connsiteX5252" fmla="*/ 10550643 w 12117871"/>
                <a:gd name="connsiteY5252" fmla="*/ 1744984 h 6072780"/>
                <a:gd name="connsiteX5253" fmla="*/ 10550643 w 12117871"/>
                <a:gd name="connsiteY5253" fmla="*/ 1565200 h 6072780"/>
                <a:gd name="connsiteX5254" fmla="*/ 10530034 w 12117871"/>
                <a:gd name="connsiteY5254" fmla="*/ 1576836 h 6072780"/>
                <a:gd name="connsiteX5255" fmla="*/ 10504861 w 12117871"/>
                <a:gd name="connsiteY5255" fmla="*/ 1585278 h 6072780"/>
                <a:gd name="connsiteX5256" fmla="*/ 10504861 w 12117871"/>
                <a:gd name="connsiteY5256" fmla="*/ 1555161 h 6072780"/>
                <a:gd name="connsiteX5257" fmla="*/ 10521896 w 12117871"/>
                <a:gd name="connsiteY5257" fmla="*/ 1549078 h 6072780"/>
                <a:gd name="connsiteX5258" fmla="*/ 10538095 w 12117871"/>
                <a:gd name="connsiteY5258" fmla="*/ 1541929 h 6072780"/>
                <a:gd name="connsiteX5259" fmla="*/ 10554218 w 12117871"/>
                <a:gd name="connsiteY5259" fmla="*/ 1533106 h 6072780"/>
                <a:gd name="connsiteX5260" fmla="*/ 10571025 w 12117871"/>
                <a:gd name="connsiteY5260" fmla="*/ 1522003 h 6072780"/>
                <a:gd name="connsiteX5261" fmla="*/ 10304917 w 12117871"/>
                <a:gd name="connsiteY5261" fmla="*/ 1522003 h 6072780"/>
                <a:gd name="connsiteX5262" fmla="*/ 10319823 w 12117871"/>
                <a:gd name="connsiteY5262" fmla="*/ 1522003 h 6072780"/>
                <a:gd name="connsiteX5263" fmla="*/ 10319823 w 12117871"/>
                <a:gd name="connsiteY5263" fmla="*/ 1744984 h 6072780"/>
                <a:gd name="connsiteX5264" fmla="*/ 10284535 w 12117871"/>
                <a:gd name="connsiteY5264" fmla="*/ 1744984 h 6072780"/>
                <a:gd name="connsiteX5265" fmla="*/ 10284535 w 12117871"/>
                <a:gd name="connsiteY5265" fmla="*/ 1565200 h 6072780"/>
                <a:gd name="connsiteX5266" fmla="*/ 10263926 w 12117871"/>
                <a:gd name="connsiteY5266" fmla="*/ 1576836 h 6072780"/>
                <a:gd name="connsiteX5267" fmla="*/ 10238753 w 12117871"/>
                <a:gd name="connsiteY5267" fmla="*/ 1585278 h 6072780"/>
                <a:gd name="connsiteX5268" fmla="*/ 10238753 w 12117871"/>
                <a:gd name="connsiteY5268" fmla="*/ 1555161 h 6072780"/>
                <a:gd name="connsiteX5269" fmla="*/ 10255788 w 12117871"/>
                <a:gd name="connsiteY5269" fmla="*/ 1549078 h 6072780"/>
                <a:gd name="connsiteX5270" fmla="*/ 10271987 w 12117871"/>
                <a:gd name="connsiteY5270" fmla="*/ 1541929 h 6072780"/>
                <a:gd name="connsiteX5271" fmla="*/ 10288110 w 12117871"/>
                <a:gd name="connsiteY5271" fmla="*/ 1533106 h 6072780"/>
                <a:gd name="connsiteX5272" fmla="*/ 10304917 w 12117871"/>
                <a:gd name="connsiteY5272" fmla="*/ 1522003 h 6072780"/>
                <a:gd name="connsiteX5273" fmla="*/ 9693318 w 12117871"/>
                <a:gd name="connsiteY5273" fmla="*/ 1522003 h 6072780"/>
                <a:gd name="connsiteX5274" fmla="*/ 9708224 w 12117871"/>
                <a:gd name="connsiteY5274" fmla="*/ 1522003 h 6072780"/>
                <a:gd name="connsiteX5275" fmla="*/ 9708224 w 12117871"/>
                <a:gd name="connsiteY5275" fmla="*/ 1744984 h 6072780"/>
                <a:gd name="connsiteX5276" fmla="*/ 9672936 w 12117871"/>
                <a:gd name="connsiteY5276" fmla="*/ 1744984 h 6072780"/>
                <a:gd name="connsiteX5277" fmla="*/ 9672936 w 12117871"/>
                <a:gd name="connsiteY5277" fmla="*/ 1565200 h 6072780"/>
                <a:gd name="connsiteX5278" fmla="*/ 9652327 w 12117871"/>
                <a:gd name="connsiteY5278" fmla="*/ 1576836 h 6072780"/>
                <a:gd name="connsiteX5279" fmla="*/ 9627154 w 12117871"/>
                <a:gd name="connsiteY5279" fmla="*/ 1585278 h 6072780"/>
                <a:gd name="connsiteX5280" fmla="*/ 9627154 w 12117871"/>
                <a:gd name="connsiteY5280" fmla="*/ 1555161 h 6072780"/>
                <a:gd name="connsiteX5281" fmla="*/ 9644189 w 12117871"/>
                <a:gd name="connsiteY5281" fmla="*/ 1549078 h 6072780"/>
                <a:gd name="connsiteX5282" fmla="*/ 9660388 w 12117871"/>
                <a:gd name="connsiteY5282" fmla="*/ 1541929 h 6072780"/>
                <a:gd name="connsiteX5283" fmla="*/ 9676511 w 12117871"/>
                <a:gd name="connsiteY5283" fmla="*/ 1533106 h 6072780"/>
                <a:gd name="connsiteX5284" fmla="*/ 9693318 w 12117871"/>
                <a:gd name="connsiteY5284" fmla="*/ 1522003 h 6072780"/>
                <a:gd name="connsiteX5285" fmla="*/ 9427210 w 12117871"/>
                <a:gd name="connsiteY5285" fmla="*/ 1522003 h 6072780"/>
                <a:gd name="connsiteX5286" fmla="*/ 9442116 w 12117871"/>
                <a:gd name="connsiteY5286" fmla="*/ 1522003 h 6072780"/>
                <a:gd name="connsiteX5287" fmla="*/ 9442116 w 12117871"/>
                <a:gd name="connsiteY5287" fmla="*/ 1744984 h 6072780"/>
                <a:gd name="connsiteX5288" fmla="*/ 9406828 w 12117871"/>
                <a:gd name="connsiteY5288" fmla="*/ 1744984 h 6072780"/>
                <a:gd name="connsiteX5289" fmla="*/ 9406828 w 12117871"/>
                <a:gd name="connsiteY5289" fmla="*/ 1565200 h 6072780"/>
                <a:gd name="connsiteX5290" fmla="*/ 9386219 w 12117871"/>
                <a:gd name="connsiteY5290" fmla="*/ 1576836 h 6072780"/>
                <a:gd name="connsiteX5291" fmla="*/ 9361046 w 12117871"/>
                <a:gd name="connsiteY5291" fmla="*/ 1585278 h 6072780"/>
                <a:gd name="connsiteX5292" fmla="*/ 9361046 w 12117871"/>
                <a:gd name="connsiteY5292" fmla="*/ 1555161 h 6072780"/>
                <a:gd name="connsiteX5293" fmla="*/ 9378081 w 12117871"/>
                <a:gd name="connsiteY5293" fmla="*/ 1549078 h 6072780"/>
                <a:gd name="connsiteX5294" fmla="*/ 9394280 w 12117871"/>
                <a:gd name="connsiteY5294" fmla="*/ 1541929 h 6072780"/>
                <a:gd name="connsiteX5295" fmla="*/ 9410403 w 12117871"/>
                <a:gd name="connsiteY5295" fmla="*/ 1533106 h 6072780"/>
                <a:gd name="connsiteX5296" fmla="*/ 9427210 w 12117871"/>
                <a:gd name="connsiteY5296" fmla="*/ 1522003 h 6072780"/>
                <a:gd name="connsiteX5297" fmla="*/ 8820863 w 12117871"/>
                <a:gd name="connsiteY5297" fmla="*/ 1522003 h 6072780"/>
                <a:gd name="connsiteX5298" fmla="*/ 8835769 w 12117871"/>
                <a:gd name="connsiteY5298" fmla="*/ 1522003 h 6072780"/>
                <a:gd name="connsiteX5299" fmla="*/ 8835769 w 12117871"/>
                <a:gd name="connsiteY5299" fmla="*/ 1744984 h 6072780"/>
                <a:gd name="connsiteX5300" fmla="*/ 8800481 w 12117871"/>
                <a:gd name="connsiteY5300" fmla="*/ 1744984 h 6072780"/>
                <a:gd name="connsiteX5301" fmla="*/ 8800481 w 12117871"/>
                <a:gd name="connsiteY5301" fmla="*/ 1565200 h 6072780"/>
                <a:gd name="connsiteX5302" fmla="*/ 8779872 w 12117871"/>
                <a:gd name="connsiteY5302" fmla="*/ 1576836 h 6072780"/>
                <a:gd name="connsiteX5303" fmla="*/ 8754699 w 12117871"/>
                <a:gd name="connsiteY5303" fmla="*/ 1585278 h 6072780"/>
                <a:gd name="connsiteX5304" fmla="*/ 8754699 w 12117871"/>
                <a:gd name="connsiteY5304" fmla="*/ 1555161 h 6072780"/>
                <a:gd name="connsiteX5305" fmla="*/ 8771734 w 12117871"/>
                <a:gd name="connsiteY5305" fmla="*/ 1549078 h 6072780"/>
                <a:gd name="connsiteX5306" fmla="*/ 8787933 w 12117871"/>
                <a:gd name="connsiteY5306" fmla="*/ 1541929 h 6072780"/>
                <a:gd name="connsiteX5307" fmla="*/ 8804056 w 12117871"/>
                <a:gd name="connsiteY5307" fmla="*/ 1533106 h 6072780"/>
                <a:gd name="connsiteX5308" fmla="*/ 8820863 w 12117871"/>
                <a:gd name="connsiteY5308" fmla="*/ 1522003 h 6072780"/>
                <a:gd name="connsiteX5309" fmla="*/ 8554755 w 12117871"/>
                <a:gd name="connsiteY5309" fmla="*/ 1522003 h 6072780"/>
                <a:gd name="connsiteX5310" fmla="*/ 8569661 w 12117871"/>
                <a:gd name="connsiteY5310" fmla="*/ 1522003 h 6072780"/>
                <a:gd name="connsiteX5311" fmla="*/ 8569661 w 12117871"/>
                <a:gd name="connsiteY5311" fmla="*/ 1744984 h 6072780"/>
                <a:gd name="connsiteX5312" fmla="*/ 8534373 w 12117871"/>
                <a:gd name="connsiteY5312" fmla="*/ 1744984 h 6072780"/>
                <a:gd name="connsiteX5313" fmla="*/ 8534373 w 12117871"/>
                <a:gd name="connsiteY5313" fmla="*/ 1565200 h 6072780"/>
                <a:gd name="connsiteX5314" fmla="*/ 8513764 w 12117871"/>
                <a:gd name="connsiteY5314" fmla="*/ 1576836 h 6072780"/>
                <a:gd name="connsiteX5315" fmla="*/ 8488591 w 12117871"/>
                <a:gd name="connsiteY5315" fmla="*/ 1585278 h 6072780"/>
                <a:gd name="connsiteX5316" fmla="*/ 8488591 w 12117871"/>
                <a:gd name="connsiteY5316" fmla="*/ 1555161 h 6072780"/>
                <a:gd name="connsiteX5317" fmla="*/ 8505626 w 12117871"/>
                <a:gd name="connsiteY5317" fmla="*/ 1549078 h 6072780"/>
                <a:gd name="connsiteX5318" fmla="*/ 8521825 w 12117871"/>
                <a:gd name="connsiteY5318" fmla="*/ 1541929 h 6072780"/>
                <a:gd name="connsiteX5319" fmla="*/ 8537948 w 12117871"/>
                <a:gd name="connsiteY5319" fmla="*/ 1533106 h 6072780"/>
                <a:gd name="connsiteX5320" fmla="*/ 8554755 w 12117871"/>
                <a:gd name="connsiteY5320" fmla="*/ 1522003 h 6072780"/>
                <a:gd name="connsiteX5321" fmla="*/ 8142987 w 12117871"/>
                <a:gd name="connsiteY5321" fmla="*/ 1522003 h 6072780"/>
                <a:gd name="connsiteX5322" fmla="*/ 8157894 w 12117871"/>
                <a:gd name="connsiteY5322" fmla="*/ 1522003 h 6072780"/>
                <a:gd name="connsiteX5323" fmla="*/ 8157894 w 12117871"/>
                <a:gd name="connsiteY5323" fmla="*/ 1744984 h 6072780"/>
                <a:gd name="connsiteX5324" fmla="*/ 8122606 w 12117871"/>
                <a:gd name="connsiteY5324" fmla="*/ 1744984 h 6072780"/>
                <a:gd name="connsiteX5325" fmla="*/ 8122606 w 12117871"/>
                <a:gd name="connsiteY5325" fmla="*/ 1565200 h 6072780"/>
                <a:gd name="connsiteX5326" fmla="*/ 8101996 w 12117871"/>
                <a:gd name="connsiteY5326" fmla="*/ 1576836 h 6072780"/>
                <a:gd name="connsiteX5327" fmla="*/ 8076824 w 12117871"/>
                <a:gd name="connsiteY5327" fmla="*/ 1585278 h 6072780"/>
                <a:gd name="connsiteX5328" fmla="*/ 8076824 w 12117871"/>
                <a:gd name="connsiteY5328" fmla="*/ 1555161 h 6072780"/>
                <a:gd name="connsiteX5329" fmla="*/ 8093859 w 12117871"/>
                <a:gd name="connsiteY5329" fmla="*/ 1549078 h 6072780"/>
                <a:gd name="connsiteX5330" fmla="*/ 8110058 w 12117871"/>
                <a:gd name="connsiteY5330" fmla="*/ 1541929 h 6072780"/>
                <a:gd name="connsiteX5331" fmla="*/ 8126180 w 12117871"/>
                <a:gd name="connsiteY5331" fmla="*/ 1533106 h 6072780"/>
                <a:gd name="connsiteX5332" fmla="*/ 8142987 w 12117871"/>
                <a:gd name="connsiteY5332" fmla="*/ 1522003 h 6072780"/>
                <a:gd name="connsiteX5333" fmla="*/ 8009933 w 12117871"/>
                <a:gd name="connsiteY5333" fmla="*/ 1522003 h 6072780"/>
                <a:gd name="connsiteX5334" fmla="*/ 8024840 w 12117871"/>
                <a:gd name="connsiteY5334" fmla="*/ 1522003 h 6072780"/>
                <a:gd name="connsiteX5335" fmla="*/ 8024840 w 12117871"/>
                <a:gd name="connsiteY5335" fmla="*/ 1744984 h 6072780"/>
                <a:gd name="connsiteX5336" fmla="*/ 7989552 w 12117871"/>
                <a:gd name="connsiteY5336" fmla="*/ 1744984 h 6072780"/>
                <a:gd name="connsiteX5337" fmla="*/ 7989552 w 12117871"/>
                <a:gd name="connsiteY5337" fmla="*/ 1565200 h 6072780"/>
                <a:gd name="connsiteX5338" fmla="*/ 7968942 w 12117871"/>
                <a:gd name="connsiteY5338" fmla="*/ 1576836 h 6072780"/>
                <a:gd name="connsiteX5339" fmla="*/ 7943770 w 12117871"/>
                <a:gd name="connsiteY5339" fmla="*/ 1585278 h 6072780"/>
                <a:gd name="connsiteX5340" fmla="*/ 7943770 w 12117871"/>
                <a:gd name="connsiteY5340" fmla="*/ 1555161 h 6072780"/>
                <a:gd name="connsiteX5341" fmla="*/ 7960805 w 12117871"/>
                <a:gd name="connsiteY5341" fmla="*/ 1549078 h 6072780"/>
                <a:gd name="connsiteX5342" fmla="*/ 7977004 w 12117871"/>
                <a:gd name="connsiteY5342" fmla="*/ 1541929 h 6072780"/>
                <a:gd name="connsiteX5343" fmla="*/ 7993126 w 12117871"/>
                <a:gd name="connsiteY5343" fmla="*/ 1533106 h 6072780"/>
                <a:gd name="connsiteX5344" fmla="*/ 8009933 w 12117871"/>
                <a:gd name="connsiteY5344" fmla="*/ 1522003 h 6072780"/>
                <a:gd name="connsiteX5345" fmla="*/ 7876879 w 12117871"/>
                <a:gd name="connsiteY5345" fmla="*/ 1522003 h 6072780"/>
                <a:gd name="connsiteX5346" fmla="*/ 7891786 w 12117871"/>
                <a:gd name="connsiteY5346" fmla="*/ 1522003 h 6072780"/>
                <a:gd name="connsiteX5347" fmla="*/ 7891786 w 12117871"/>
                <a:gd name="connsiteY5347" fmla="*/ 1744984 h 6072780"/>
                <a:gd name="connsiteX5348" fmla="*/ 7856498 w 12117871"/>
                <a:gd name="connsiteY5348" fmla="*/ 1744984 h 6072780"/>
                <a:gd name="connsiteX5349" fmla="*/ 7856498 w 12117871"/>
                <a:gd name="connsiteY5349" fmla="*/ 1565200 h 6072780"/>
                <a:gd name="connsiteX5350" fmla="*/ 7835888 w 12117871"/>
                <a:gd name="connsiteY5350" fmla="*/ 1576836 h 6072780"/>
                <a:gd name="connsiteX5351" fmla="*/ 7810716 w 12117871"/>
                <a:gd name="connsiteY5351" fmla="*/ 1585278 h 6072780"/>
                <a:gd name="connsiteX5352" fmla="*/ 7810716 w 12117871"/>
                <a:gd name="connsiteY5352" fmla="*/ 1555161 h 6072780"/>
                <a:gd name="connsiteX5353" fmla="*/ 7827751 w 12117871"/>
                <a:gd name="connsiteY5353" fmla="*/ 1549078 h 6072780"/>
                <a:gd name="connsiteX5354" fmla="*/ 7843950 w 12117871"/>
                <a:gd name="connsiteY5354" fmla="*/ 1541929 h 6072780"/>
                <a:gd name="connsiteX5355" fmla="*/ 7860072 w 12117871"/>
                <a:gd name="connsiteY5355" fmla="*/ 1533106 h 6072780"/>
                <a:gd name="connsiteX5356" fmla="*/ 7876879 w 12117871"/>
                <a:gd name="connsiteY5356" fmla="*/ 1522003 h 6072780"/>
                <a:gd name="connsiteX5357" fmla="*/ 7734267 w 12117871"/>
                <a:gd name="connsiteY5357" fmla="*/ 1522003 h 6072780"/>
                <a:gd name="connsiteX5358" fmla="*/ 7749174 w 12117871"/>
                <a:gd name="connsiteY5358" fmla="*/ 1522003 h 6072780"/>
                <a:gd name="connsiteX5359" fmla="*/ 7749174 w 12117871"/>
                <a:gd name="connsiteY5359" fmla="*/ 1744984 h 6072780"/>
                <a:gd name="connsiteX5360" fmla="*/ 7713886 w 12117871"/>
                <a:gd name="connsiteY5360" fmla="*/ 1744984 h 6072780"/>
                <a:gd name="connsiteX5361" fmla="*/ 7713886 w 12117871"/>
                <a:gd name="connsiteY5361" fmla="*/ 1565200 h 6072780"/>
                <a:gd name="connsiteX5362" fmla="*/ 7693276 w 12117871"/>
                <a:gd name="connsiteY5362" fmla="*/ 1576836 h 6072780"/>
                <a:gd name="connsiteX5363" fmla="*/ 7668104 w 12117871"/>
                <a:gd name="connsiteY5363" fmla="*/ 1585278 h 6072780"/>
                <a:gd name="connsiteX5364" fmla="*/ 7668104 w 12117871"/>
                <a:gd name="connsiteY5364" fmla="*/ 1555161 h 6072780"/>
                <a:gd name="connsiteX5365" fmla="*/ 7685139 w 12117871"/>
                <a:gd name="connsiteY5365" fmla="*/ 1549078 h 6072780"/>
                <a:gd name="connsiteX5366" fmla="*/ 7701338 w 12117871"/>
                <a:gd name="connsiteY5366" fmla="*/ 1541929 h 6072780"/>
                <a:gd name="connsiteX5367" fmla="*/ 7717460 w 12117871"/>
                <a:gd name="connsiteY5367" fmla="*/ 1533106 h 6072780"/>
                <a:gd name="connsiteX5368" fmla="*/ 7734267 w 12117871"/>
                <a:gd name="connsiteY5368" fmla="*/ 1522003 h 6072780"/>
                <a:gd name="connsiteX5369" fmla="*/ 6986927 w 12117871"/>
                <a:gd name="connsiteY5369" fmla="*/ 1522003 h 6072780"/>
                <a:gd name="connsiteX5370" fmla="*/ 7001834 w 12117871"/>
                <a:gd name="connsiteY5370" fmla="*/ 1522003 h 6072780"/>
                <a:gd name="connsiteX5371" fmla="*/ 7001834 w 12117871"/>
                <a:gd name="connsiteY5371" fmla="*/ 1744984 h 6072780"/>
                <a:gd name="connsiteX5372" fmla="*/ 6966546 w 12117871"/>
                <a:gd name="connsiteY5372" fmla="*/ 1744984 h 6072780"/>
                <a:gd name="connsiteX5373" fmla="*/ 6966546 w 12117871"/>
                <a:gd name="connsiteY5373" fmla="*/ 1565200 h 6072780"/>
                <a:gd name="connsiteX5374" fmla="*/ 6945936 w 12117871"/>
                <a:gd name="connsiteY5374" fmla="*/ 1576836 h 6072780"/>
                <a:gd name="connsiteX5375" fmla="*/ 6920764 w 12117871"/>
                <a:gd name="connsiteY5375" fmla="*/ 1585278 h 6072780"/>
                <a:gd name="connsiteX5376" fmla="*/ 6920764 w 12117871"/>
                <a:gd name="connsiteY5376" fmla="*/ 1555161 h 6072780"/>
                <a:gd name="connsiteX5377" fmla="*/ 6937799 w 12117871"/>
                <a:gd name="connsiteY5377" fmla="*/ 1549078 h 6072780"/>
                <a:gd name="connsiteX5378" fmla="*/ 6953998 w 12117871"/>
                <a:gd name="connsiteY5378" fmla="*/ 1541929 h 6072780"/>
                <a:gd name="connsiteX5379" fmla="*/ 6970120 w 12117871"/>
                <a:gd name="connsiteY5379" fmla="*/ 1533106 h 6072780"/>
                <a:gd name="connsiteX5380" fmla="*/ 6986927 w 12117871"/>
                <a:gd name="connsiteY5380" fmla="*/ 1522003 h 6072780"/>
                <a:gd name="connsiteX5381" fmla="*/ 6842801 w 12117871"/>
                <a:gd name="connsiteY5381" fmla="*/ 1522003 h 6072780"/>
                <a:gd name="connsiteX5382" fmla="*/ 6857708 w 12117871"/>
                <a:gd name="connsiteY5382" fmla="*/ 1522003 h 6072780"/>
                <a:gd name="connsiteX5383" fmla="*/ 6857708 w 12117871"/>
                <a:gd name="connsiteY5383" fmla="*/ 1744984 h 6072780"/>
                <a:gd name="connsiteX5384" fmla="*/ 6822420 w 12117871"/>
                <a:gd name="connsiteY5384" fmla="*/ 1744984 h 6072780"/>
                <a:gd name="connsiteX5385" fmla="*/ 6822420 w 12117871"/>
                <a:gd name="connsiteY5385" fmla="*/ 1565200 h 6072780"/>
                <a:gd name="connsiteX5386" fmla="*/ 6801810 w 12117871"/>
                <a:gd name="connsiteY5386" fmla="*/ 1576836 h 6072780"/>
                <a:gd name="connsiteX5387" fmla="*/ 6776638 w 12117871"/>
                <a:gd name="connsiteY5387" fmla="*/ 1585278 h 6072780"/>
                <a:gd name="connsiteX5388" fmla="*/ 6776638 w 12117871"/>
                <a:gd name="connsiteY5388" fmla="*/ 1555161 h 6072780"/>
                <a:gd name="connsiteX5389" fmla="*/ 6793673 w 12117871"/>
                <a:gd name="connsiteY5389" fmla="*/ 1549078 h 6072780"/>
                <a:gd name="connsiteX5390" fmla="*/ 6809872 w 12117871"/>
                <a:gd name="connsiteY5390" fmla="*/ 1541929 h 6072780"/>
                <a:gd name="connsiteX5391" fmla="*/ 6825994 w 12117871"/>
                <a:gd name="connsiteY5391" fmla="*/ 1533106 h 6072780"/>
                <a:gd name="connsiteX5392" fmla="*/ 6842801 w 12117871"/>
                <a:gd name="connsiteY5392" fmla="*/ 1522003 h 6072780"/>
                <a:gd name="connsiteX5393" fmla="*/ 6150824 w 12117871"/>
                <a:gd name="connsiteY5393" fmla="*/ 1522003 h 6072780"/>
                <a:gd name="connsiteX5394" fmla="*/ 6165731 w 12117871"/>
                <a:gd name="connsiteY5394" fmla="*/ 1522003 h 6072780"/>
                <a:gd name="connsiteX5395" fmla="*/ 6165731 w 12117871"/>
                <a:gd name="connsiteY5395" fmla="*/ 1744984 h 6072780"/>
                <a:gd name="connsiteX5396" fmla="*/ 6130443 w 12117871"/>
                <a:gd name="connsiteY5396" fmla="*/ 1744984 h 6072780"/>
                <a:gd name="connsiteX5397" fmla="*/ 6130443 w 12117871"/>
                <a:gd name="connsiteY5397" fmla="*/ 1565200 h 6072780"/>
                <a:gd name="connsiteX5398" fmla="*/ 6109833 w 12117871"/>
                <a:gd name="connsiteY5398" fmla="*/ 1576836 h 6072780"/>
                <a:gd name="connsiteX5399" fmla="*/ 6084661 w 12117871"/>
                <a:gd name="connsiteY5399" fmla="*/ 1585278 h 6072780"/>
                <a:gd name="connsiteX5400" fmla="*/ 6084661 w 12117871"/>
                <a:gd name="connsiteY5400" fmla="*/ 1555161 h 6072780"/>
                <a:gd name="connsiteX5401" fmla="*/ 6101696 w 12117871"/>
                <a:gd name="connsiteY5401" fmla="*/ 1549078 h 6072780"/>
                <a:gd name="connsiteX5402" fmla="*/ 6117895 w 12117871"/>
                <a:gd name="connsiteY5402" fmla="*/ 1541929 h 6072780"/>
                <a:gd name="connsiteX5403" fmla="*/ 6134017 w 12117871"/>
                <a:gd name="connsiteY5403" fmla="*/ 1533106 h 6072780"/>
                <a:gd name="connsiteX5404" fmla="*/ 6150824 w 12117871"/>
                <a:gd name="connsiteY5404" fmla="*/ 1522003 h 6072780"/>
                <a:gd name="connsiteX5405" fmla="*/ 5862574 w 12117871"/>
                <a:gd name="connsiteY5405" fmla="*/ 1522003 h 6072780"/>
                <a:gd name="connsiteX5406" fmla="*/ 5877481 w 12117871"/>
                <a:gd name="connsiteY5406" fmla="*/ 1522003 h 6072780"/>
                <a:gd name="connsiteX5407" fmla="*/ 5877481 w 12117871"/>
                <a:gd name="connsiteY5407" fmla="*/ 1744984 h 6072780"/>
                <a:gd name="connsiteX5408" fmla="*/ 5842193 w 12117871"/>
                <a:gd name="connsiteY5408" fmla="*/ 1744984 h 6072780"/>
                <a:gd name="connsiteX5409" fmla="*/ 5842193 w 12117871"/>
                <a:gd name="connsiteY5409" fmla="*/ 1565200 h 6072780"/>
                <a:gd name="connsiteX5410" fmla="*/ 5821582 w 12117871"/>
                <a:gd name="connsiteY5410" fmla="*/ 1576836 h 6072780"/>
                <a:gd name="connsiteX5411" fmla="*/ 5796410 w 12117871"/>
                <a:gd name="connsiteY5411" fmla="*/ 1585278 h 6072780"/>
                <a:gd name="connsiteX5412" fmla="*/ 5796410 w 12117871"/>
                <a:gd name="connsiteY5412" fmla="*/ 1555161 h 6072780"/>
                <a:gd name="connsiteX5413" fmla="*/ 5813446 w 12117871"/>
                <a:gd name="connsiteY5413" fmla="*/ 1549078 h 6072780"/>
                <a:gd name="connsiteX5414" fmla="*/ 5829644 w 12117871"/>
                <a:gd name="connsiteY5414" fmla="*/ 1541929 h 6072780"/>
                <a:gd name="connsiteX5415" fmla="*/ 5845767 w 12117871"/>
                <a:gd name="connsiteY5415" fmla="*/ 1533106 h 6072780"/>
                <a:gd name="connsiteX5416" fmla="*/ 5862574 w 12117871"/>
                <a:gd name="connsiteY5416" fmla="*/ 1522003 h 6072780"/>
                <a:gd name="connsiteX5417" fmla="*/ 5479705 w 12117871"/>
                <a:gd name="connsiteY5417" fmla="*/ 1522003 h 6072780"/>
                <a:gd name="connsiteX5418" fmla="*/ 5494612 w 12117871"/>
                <a:gd name="connsiteY5418" fmla="*/ 1522003 h 6072780"/>
                <a:gd name="connsiteX5419" fmla="*/ 5494612 w 12117871"/>
                <a:gd name="connsiteY5419" fmla="*/ 1744984 h 6072780"/>
                <a:gd name="connsiteX5420" fmla="*/ 5459325 w 12117871"/>
                <a:gd name="connsiteY5420" fmla="*/ 1744984 h 6072780"/>
                <a:gd name="connsiteX5421" fmla="*/ 5459325 w 12117871"/>
                <a:gd name="connsiteY5421" fmla="*/ 1565200 h 6072780"/>
                <a:gd name="connsiteX5422" fmla="*/ 5438715 w 12117871"/>
                <a:gd name="connsiteY5422" fmla="*/ 1576836 h 6072780"/>
                <a:gd name="connsiteX5423" fmla="*/ 5413543 w 12117871"/>
                <a:gd name="connsiteY5423" fmla="*/ 1585278 h 6072780"/>
                <a:gd name="connsiteX5424" fmla="*/ 5413543 w 12117871"/>
                <a:gd name="connsiteY5424" fmla="*/ 1555161 h 6072780"/>
                <a:gd name="connsiteX5425" fmla="*/ 5430578 w 12117871"/>
                <a:gd name="connsiteY5425" fmla="*/ 1549078 h 6072780"/>
                <a:gd name="connsiteX5426" fmla="*/ 5446777 w 12117871"/>
                <a:gd name="connsiteY5426" fmla="*/ 1541929 h 6072780"/>
                <a:gd name="connsiteX5427" fmla="*/ 5462898 w 12117871"/>
                <a:gd name="connsiteY5427" fmla="*/ 1533106 h 6072780"/>
                <a:gd name="connsiteX5428" fmla="*/ 5479705 w 12117871"/>
                <a:gd name="connsiteY5428" fmla="*/ 1522003 h 6072780"/>
                <a:gd name="connsiteX5429" fmla="*/ 5335580 w 12117871"/>
                <a:gd name="connsiteY5429" fmla="*/ 1522003 h 6072780"/>
                <a:gd name="connsiteX5430" fmla="*/ 5350487 w 12117871"/>
                <a:gd name="connsiteY5430" fmla="*/ 1522003 h 6072780"/>
                <a:gd name="connsiteX5431" fmla="*/ 5350487 w 12117871"/>
                <a:gd name="connsiteY5431" fmla="*/ 1744984 h 6072780"/>
                <a:gd name="connsiteX5432" fmla="*/ 5315199 w 12117871"/>
                <a:gd name="connsiteY5432" fmla="*/ 1744984 h 6072780"/>
                <a:gd name="connsiteX5433" fmla="*/ 5315199 w 12117871"/>
                <a:gd name="connsiteY5433" fmla="*/ 1565200 h 6072780"/>
                <a:gd name="connsiteX5434" fmla="*/ 5294589 w 12117871"/>
                <a:gd name="connsiteY5434" fmla="*/ 1576836 h 6072780"/>
                <a:gd name="connsiteX5435" fmla="*/ 5269417 w 12117871"/>
                <a:gd name="connsiteY5435" fmla="*/ 1585278 h 6072780"/>
                <a:gd name="connsiteX5436" fmla="*/ 5269417 w 12117871"/>
                <a:gd name="connsiteY5436" fmla="*/ 1555161 h 6072780"/>
                <a:gd name="connsiteX5437" fmla="*/ 5286452 w 12117871"/>
                <a:gd name="connsiteY5437" fmla="*/ 1549078 h 6072780"/>
                <a:gd name="connsiteX5438" fmla="*/ 5302650 w 12117871"/>
                <a:gd name="connsiteY5438" fmla="*/ 1541929 h 6072780"/>
                <a:gd name="connsiteX5439" fmla="*/ 5318773 w 12117871"/>
                <a:gd name="connsiteY5439" fmla="*/ 1533106 h 6072780"/>
                <a:gd name="connsiteX5440" fmla="*/ 5335580 w 12117871"/>
                <a:gd name="connsiteY5440" fmla="*/ 1522003 h 6072780"/>
                <a:gd name="connsiteX5441" fmla="*/ 5191455 w 12117871"/>
                <a:gd name="connsiteY5441" fmla="*/ 1522003 h 6072780"/>
                <a:gd name="connsiteX5442" fmla="*/ 5206362 w 12117871"/>
                <a:gd name="connsiteY5442" fmla="*/ 1522003 h 6072780"/>
                <a:gd name="connsiteX5443" fmla="*/ 5206362 w 12117871"/>
                <a:gd name="connsiteY5443" fmla="*/ 1744984 h 6072780"/>
                <a:gd name="connsiteX5444" fmla="*/ 5171074 w 12117871"/>
                <a:gd name="connsiteY5444" fmla="*/ 1744984 h 6072780"/>
                <a:gd name="connsiteX5445" fmla="*/ 5171074 w 12117871"/>
                <a:gd name="connsiteY5445" fmla="*/ 1565200 h 6072780"/>
                <a:gd name="connsiteX5446" fmla="*/ 5150464 w 12117871"/>
                <a:gd name="connsiteY5446" fmla="*/ 1576836 h 6072780"/>
                <a:gd name="connsiteX5447" fmla="*/ 5125291 w 12117871"/>
                <a:gd name="connsiteY5447" fmla="*/ 1585278 h 6072780"/>
                <a:gd name="connsiteX5448" fmla="*/ 5125291 w 12117871"/>
                <a:gd name="connsiteY5448" fmla="*/ 1555161 h 6072780"/>
                <a:gd name="connsiteX5449" fmla="*/ 5142326 w 12117871"/>
                <a:gd name="connsiteY5449" fmla="*/ 1549078 h 6072780"/>
                <a:gd name="connsiteX5450" fmla="*/ 5158526 w 12117871"/>
                <a:gd name="connsiteY5450" fmla="*/ 1541929 h 6072780"/>
                <a:gd name="connsiteX5451" fmla="*/ 5174648 w 12117871"/>
                <a:gd name="connsiteY5451" fmla="*/ 1533106 h 6072780"/>
                <a:gd name="connsiteX5452" fmla="*/ 5191455 w 12117871"/>
                <a:gd name="connsiteY5452" fmla="*/ 1522003 h 6072780"/>
                <a:gd name="connsiteX5453" fmla="*/ 5047329 w 12117871"/>
                <a:gd name="connsiteY5453" fmla="*/ 1522003 h 6072780"/>
                <a:gd name="connsiteX5454" fmla="*/ 5062237 w 12117871"/>
                <a:gd name="connsiteY5454" fmla="*/ 1522003 h 6072780"/>
                <a:gd name="connsiteX5455" fmla="*/ 5062237 w 12117871"/>
                <a:gd name="connsiteY5455" fmla="*/ 1744984 h 6072780"/>
                <a:gd name="connsiteX5456" fmla="*/ 5026949 w 12117871"/>
                <a:gd name="connsiteY5456" fmla="*/ 1744984 h 6072780"/>
                <a:gd name="connsiteX5457" fmla="*/ 5026949 w 12117871"/>
                <a:gd name="connsiteY5457" fmla="*/ 1565200 h 6072780"/>
                <a:gd name="connsiteX5458" fmla="*/ 5006339 w 12117871"/>
                <a:gd name="connsiteY5458" fmla="*/ 1576836 h 6072780"/>
                <a:gd name="connsiteX5459" fmla="*/ 4981166 w 12117871"/>
                <a:gd name="connsiteY5459" fmla="*/ 1585278 h 6072780"/>
                <a:gd name="connsiteX5460" fmla="*/ 4981166 w 12117871"/>
                <a:gd name="connsiteY5460" fmla="*/ 1555161 h 6072780"/>
                <a:gd name="connsiteX5461" fmla="*/ 4998201 w 12117871"/>
                <a:gd name="connsiteY5461" fmla="*/ 1549078 h 6072780"/>
                <a:gd name="connsiteX5462" fmla="*/ 5014401 w 12117871"/>
                <a:gd name="connsiteY5462" fmla="*/ 1541929 h 6072780"/>
                <a:gd name="connsiteX5463" fmla="*/ 5030524 w 12117871"/>
                <a:gd name="connsiteY5463" fmla="*/ 1533106 h 6072780"/>
                <a:gd name="connsiteX5464" fmla="*/ 5047329 w 12117871"/>
                <a:gd name="connsiteY5464" fmla="*/ 1522003 h 6072780"/>
                <a:gd name="connsiteX5465" fmla="*/ 4903204 w 12117871"/>
                <a:gd name="connsiteY5465" fmla="*/ 1522003 h 6072780"/>
                <a:gd name="connsiteX5466" fmla="*/ 4918113 w 12117871"/>
                <a:gd name="connsiteY5466" fmla="*/ 1522003 h 6072780"/>
                <a:gd name="connsiteX5467" fmla="*/ 4918113 w 12117871"/>
                <a:gd name="connsiteY5467" fmla="*/ 1744984 h 6072780"/>
                <a:gd name="connsiteX5468" fmla="*/ 4882824 w 12117871"/>
                <a:gd name="connsiteY5468" fmla="*/ 1744984 h 6072780"/>
                <a:gd name="connsiteX5469" fmla="*/ 4882824 w 12117871"/>
                <a:gd name="connsiteY5469" fmla="*/ 1565200 h 6072780"/>
                <a:gd name="connsiteX5470" fmla="*/ 4862214 w 12117871"/>
                <a:gd name="connsiteY5470" fmla="*/ 1576836 h 6072780"/>
                <a:gd name="connsiteX5471" fmla="*/ 4837041 w 12117871"/>
                <a:gd name="connsiteY5471" fmla="*/ 1585278 h 6072780"/>
                <a:gd name="connsiteX5472" fmla="*/ 4837041 w 12117871"/>
                <a:gd name="connsiteY5472" fmla="*/ 1555161 h 6072780"/>
                <a:gd name="connsiteX5473" fmla="*/ 4854077 w 12117871"/>
                <a:gd name="connsiteY5473" fmla="*/ 1549078 h 6072780"/>
                <a:gd name="connsiteX5474" fmla="*/ 4870276 w 12117871"/>
                <a:gd name="connsiteY5474" fmla="*/ 1541929 h 6072780"/>
                <a:gd name="connsiteX5475" fmla="*/ 4886398 w 12117871"/>
                <a:gd name="connsiteY5475" fmla="*/ 1533106 h 6072780"/>
                <a:gd name="connsiteX5476" fmla="*/ 4903204 w 12117871"/>
                <a:gd name="connsiteY5476" fmla="*/ 1522003 h 6072780"/>
                <a:gd name="connsiteX5477" fmla="*/ 4514973 w 12117871"/>
                <a:gd name="connsiteY5477" fmla="*/ 1522003 h 6072780"/>
                <a:gd name="connsiteX5478" fmla="*/ 4529878 w 12117871"/>
                <a:gd name="connsiteY5478" fmla="*/ 1522003 h 6072780"/>
                <a:gd name="connsiteX5479" fmla="*/ 4529878 w 12117871"/>
                <a:gd name="connsiteY5479" fmla="*/ 1744984 h 6072780"/>
                <a:gd name="connsiteX5480" fmla="*/ 4494591 w 12117871"/>
                <a:gd name="connsiteY5480" fmla="*/ 1744984 h 6072780"/>
                <a:gd name="connsiteX5481" fmla="*/ 4494591 w 12117871"/>
                <a:gd name="connsiteY5481" fmla="*/ 1565200 h 6072780"/>
                <a:gd name="connsiteX5482" fmla="*/ 4473982 w 12117871"/>
                <a:gd name="connsiteY5482" fmla="*/ 1576836 h 6072780"/>
                <a:gd name="connsiteX5483" fmla="*/ 4448809 w 12117871"/>
                <a:gd name="connsiteY5483" fmla="*/ 1585278 h 6072780"/>
                <a:gd name="connsiteX5484" fmla="*/ 4448809 w 12117871"/>
                <a:gd name="connsiteY5484" fmla="*/ 1555161 h 6072780"/>
                <a:gd name="connsiteX5485" fmla="*/ 4465844 w 12117871"/>
                <a:gd name="connsiteY5485" fmla="*/ 1549078 h 6072780"/>
                <a:gd name="connsiteX5486" fmla="*/ 4482043 w 12117871"/>
                <a:gd name="connsiteY5486" fmla="*/ 1541929 h 6072780"/>
                <a:gd name="connsiteX5487" fmla="*/ 4498165 w 12117871"/>
                <a:gd name="connsiteY5487" fmla="*/ 1533106 h 6072780"/>
                <a:gd name="connsiteX5488" fmla="*/ 4514973 w 12117871"/>
                <a:gd name="connsiteY5488" fmla="*/ 1522003 h 6072780"/>
                <a:gd name="connsiteX5489" fmla="*/ 4248864 w 12117871"/>
                <a:gd name="connsiteY5489" fmla="*/ 1522003 h 6072780"/>
                <a:gd name="connsiteX5490" fmla="*/ 4263771 w 12117871"/>
                <a:gd name="connsiteY5490" fmla="*/ 1522003 h 6072780"/>
                <a:gd name="connsiteX5491" fmla="*/ 4263771 w 12117871"/>
                <a:gd name="connsiteY5491" fmla="*/ 1744984 h 6072780"/>
                <a:gd name="connsiteX5492" fmla="*/ 4228482 w 12117871"/>
                <a:gd name="connsiteY5492" fmla="*/ 1744984 h 6072780"/>
                <a:gd name="connsiteX5493" fmla="*/ 4228482 w 12117871"/>
                <a:gd name="connsiteY5493" fmla="*/ 1565200 h 6072780"/>
                <a:gd name="connsiteX5494" fmla="*/ 4207874 w 12117871"/>
                <a:gd name="connsiteY5494" fmla="*/ 1576836 h 6072780"/>
                <a:gd name="connsiteX5495" fmla="*/ 4182701 w 12117871"/>
                <a:gd name="connsiteY5495" fmla="*/ 1585278 h 6072780"/>
                <a:gd name="connsiteX5496" fmla="*/ 4182701 w 12117871"/>
                <a:gd name="connsiteY5496" fmla="*/ 1555161 h 6072780"/>
                <a:gd name="connsiteX5497" fmla="*/ 4199735 w 12117871"/>
                <a:gd name="connsiteY5497" fmla="*/ 1549078 h 6072780"/>
                <a:gd name="connsiteX5498" fmla="*/ 4215934 w 12117871"/>
                <a:gd name="connsiteY5498" fmla="*/ 1541929 h 6072780"/>
                <a:gd name="connsiteX5499" fmla="*/ 4232057 w 12117871"/>
                <a:gd name="connsiteY5499" fmla="*/ 1533106 h 6072780"/>
                <a:gd name="connsiteX5500" fmla="*/ 4248864 w 12117871"/>
                <a:gd name="connsiteY5500" fmla="*/ 1522003 h 6072780"/>
                <a:gd name="connsiteX5501" fmla="*/ 3637266 w 12117871"/>
                <a:gd name="connsiteY5501" fmla="*/ 1522003 h 6072780"/>
                <a:gd name="connsiteX5502" fmla="*/ 3652172 w 12117871"/>
                <a:gd name="connsiteY5502" fmla="*/ 1522003 h 6072780"/>
                <a:gd name="connsiteX5503" fmla="*/ 3652172 w 12117871"/>
                <a:gd name="connsiteY5503" fmla="*/ 1744984 h 6072780"/>
                <a:gd name="connsiteX5504" fmla="*/ 3616884 w 12117871"/>
                <a:gd name="connsiteY5504" fmla="*/ 1744984 h 6072780"/>
                <a:gd name="connsiteX5505" fmla="*/ 3616884 w 12117871"/>
                <a:gd name="connsiteY5505" fmla="*/ 1565200 h 6072780"/>
                <a:gd name="connsiteX5506" fmla="*/ 3596275 w 12117871"/>
                <a:gd name="connsiteY5506" fmla="*/ 1576836 h 6072780"/>
                <a:gd name="connsiteX5507" fmla="*/ 3571102 w 12117871"/>
                <a:gd name="connsiteY5507" fmla="*/ 1585278 h 6072780"/>
                <a:gd name="connsiteX5508" fmla="*/ 3571102 w 12117871"/>
                <a:gd name="connsiteY5508" fmla="*/ 1555161 h 6072780"/>
                <a:gd name="connsiteX5509" fmla="*/ 3588137 w 12117871"/>
                <a:gd name="connsiteY5509" fmla="*/ 1549078 h 6072780"/>
                <a:gd name="connsiteX5510" fmla="*/ 3604336 w 12117871"/>
                <a:gd name="connsiteY5510" fmla="*/ 1541929 h 6072780"/>
                <a:gd name="connsiteX5511" fmla="*/ 3620460 w 12117871"/>
                <a:gd name="connsiteY5511" fmla="*/ 1533106 h 6072780"/>
                <a:gd name="connsiteX5512" fmla="*/ 3637266 w 12117871"/>
                <a:gd name="connsiteY5512" fmla="*/ 1522003 h 6072780"/>
                <a:gd name="connsiteX5513" fmla="*/ 3371159 w 12117871"/>
                <a:gd name="connsiteY5513" fmla="*/ 1522003 h 6072780"/>
                <a:gd name="connsiteX5514" fmla="*/ 3386064 w 12117871"/>
                <a:gd name="connsiteY5514" fmla="*/ 1522003 h 6072780"/>
                <a:gd name="connsiteX5515" fmla="*/ 3386064 w 12117871"/>
                <a:gd name="connsiteY5515" fmla="*/ 1744984 h 6072780"/>
                <a:gd name="connsiteX5516" fmla="*/ 3350777 w 12117871"/>
                <a:gd name="connsiteY5516" fmla="*/ 1744984 h 6072780"/>
                <a:gd name="connsiteX5517" fmla="*/ 3350777 w 12117871"/>
                <a:gd name="connsiteY5517" fmla="*/ 1565200 h 6072780"/>
                <a:gd name="connsiteX5518" fmla="*/ 3330167 w 12117871"/>
                <a:gd name="connsiteY5518" fmla="*/ 1576836 h 6072780"/>
                <a:gd name="connsiteX5519" fmla="*/ 3304994 w 12117871"/>
                <a:gd name="connsiteY5519" fmla="*/ 1585278 h 6072780"/>
                <a:gd name="connsiteX5520" fmla="*/ 3304994 w 12117871"/>
                <a:gd name="connsiteY5520" fmla="*/ 1555161 h 6072780"/>
                <a:gd name="connsiteX5521" fmla="*/ 3322030 w 12117871"/>
                <a:gd name="connsiteY5521" fmla="*/ 1549078 h 6072780"/>
                <a:gd name="connsiteX5522" fmla="*/ 3338229 w 12117871"/>
                <a:gd name="connsiteY5522" fmla="*/ 1541929 h 6072780"/>
                <a:gd name="connsiteX5523" fmla="*/ 3354351 w 12117871"/>
                <a:gd name="connsiteY5523" fmla="*/ 1533106 h 6072780"/>
                <a:gd name="connsiteX5524" fmla="*/ 3371159 w 12117871"/>
                <a:gd name="connsiteY5524" fmla="*/ 1522003 h 6072780"/>
                <a:gd name="connsiteX5525" fmla="*/ 2764811 w 12117871"/>
                <a:gd name="connsiteY5525" fmla="*/ 1522003 h 6072780"/>
                <a:gd name="connsiteX5526" fmla="*/ 2779717 w 12117871"/>
                <a:gd name="connsiteY5526" fmla="*/ 1522003 h 6072780"/>
                <a:gd name="connsiteX5527" fmla="*/ 2779717 w 12117871"/>
                <a:gd name="connsiteY5527" fmla="*/ 1744984 h 6072780"/>
                <a:gd name="connsiteX5528" fmla="*/ 2744429 w 12117871"/>
                <a:gd name="connsiteY5528" fmla="*/ 1744984 h 6072780"/>
                <a:gd name="connsiteX5529" fmla="*/ 2744429 w 12117871"/>
                <a:gd name="connsiteY5529" fmla="*/ 1565200 h 6072780"/>
                <a:gd name="connsiteX5530" fmla="*/ 2723820 w 12117871"/>
                <a:gd name="connsiteY5530" fmla="*/ 1576836 h 6072780"/>
                <a:gd name="connsiteX5531" fmla="*/ 2698648 w 12117871"/>
                <a:gd name="connsiteY5531" fmla="*/ 1585278 h 6072780"/>
                <a:gd name="connsiteX5532" fmla="*/ 2698648 w 12117871"/>
                <a:gd name="connsiteY5532" fmla="*/ 1555161 h 6072780"/>
                <a:gd name="connsiteX5533" fmla="*/ 2715682 w 12117871"/>
                <a:gd name="connsiteY5533" fmla="*/ 1549078 h 6072780"/>
                <a:gd name="connsiteX5534" fmla="*/ 2731881 w 12117871"/>
                <a:gd name="connsiteY5534" fmla="*/ 1541929 h 6072780"/>
                <a:gd name="connsiteX5535" fmla="*/ 2748004 w 12117871"/>
                <a:gd name="connsiteY5535" fmla="*/ 1533106 h 6072780"/>
                <a:gd name="connsiteX5536" fmla="*/ 2764811 w 12117871"/>
                <a:gd name="connsiteY5536" fmla="*/ 1522003 h 6072780"/>
                <a:gd name="connsiteX5537" fmla="*/ 2498703 w 12117871"/>
                <a:gd name="connsiteY5537" fmla="*/ 1522003 h 6072780"/>
                <a:gd name="connsiteX5538" fmla="*/ 2513609 w 12117871"/>
                <a:gd name="connsiteY5538" fmla="*/ 1522003 h 6072780"/>
                <a:gd name="connsiteX5539" fmla="*/ 2513609 w 12117871"/>
                <a:gd name="connsiteY5539" fmla="*/ 1744984 h 6072780"/>
                <a:gd name="connsiteX5540" fmla="*/ 2478321 w 12117871"/>
                <a:gd name="connsiteY5540" fmla="*/ 1744984 h 6072780"/>
                <a:gd name="connsiteX5541" fmla="*/ 2478321 w 12117871"/>
                <a:gd name="connsiteY5541" fmla="*/ 1565200 h 6072780"/>
                <a:gd name="connsiteX5542" fmla="*/ 2457712 w 12117871"/>
                <a:gd name="connsiteY5542" fmla="*/ 1576836 h 6072780"/>
                <a:gd name="connsiteX5543" fmla="*/ 2432539 w 12117871"/>
                <a:gd name="connsiteY5543" fmla="*/ 1585278 h 6072780"/>
                <a:gd name="connsiteX5544" fmla="*/ 2432539 w 12117871"/>
                <a:gd name="connsiteY5544" fmla="*/ 1555161 h 6072780"/>
                <a:gd name="connsiteX5545" fmla="*/ 2449574 w 12117871"/>
                <a:gd name="connsiteY5545" fmla="*/ 1549078 h 6072780"/>
                <a:gd name="connsiteX5546" fmla="*/ 2465773 w 12117871"/>
                <a:gd name="connsiteY5546" fmla="*/ 1541929 h 6072780"/>
                <a:gd name="connsiteX5547" fmla="*/ 2481896 w 12117871"/>
                <a:gd name="connsiteY5547" fmla="*/ 1533106 h 6072780"/>
                <a:gd name="connsiteX5548" fmla="*/ 2498703 w 12117871"/>
                <a:gd name="connsiteY5548" fmla="*/ 1522003 h 6072780"/>
                <a:gd name="connsiteX5549" fmla="*/ 2086936 w 12117871"/>
                <a:gd name="connsiteY5549" fmla="*/ 1522003 h 6072780"/>
                <a:gd name="connsiteX5550" fmla="*/ 2101842 w 12117871"/>
                <a:gd name="connsiteY5550" fmla="*/ 1522003 h 6072780"/>
                <a:gd name="connsiteX5551" fmla="*/ 2101842 w 12117871"/>
                <a:gd name="connsiteY5551" fmla="*/ 1744984 h 6072780"/>
                <a:gd name="connsiteX5552" fmla="*/ 2066554 w 12117871"/>
                <a:gd name="connsiteY5552" fmla="*/ 1744984 h 6072780"/>
                <a:gd name="connsiteX5553" fmla="*/ 2066554 w 12117871"/>
                <a:gd name="connsiteY5553" fmla="*/ 1565200 h 6072780"/>
                <a:gd name="connsiteX5554" fmla="*/ 2045945 w 12117871"/>
                <a:gd name="connsiteY5554" fmla="*/ 1576836 h 6072780"/>
                <a:gd name="connsiteX5555" fmla="*/ 2020772 w 12117871"/>
                <a:gd name="connsiteY5555" fmla="*/ 1585278 h 6072780"/>
                <a:gd name="connsiteX5556" fmla="*/ 2020772 w 12117871"/>
                <a:gd name="connsiteY5556" fmla="*/ 1555161 h 6072780"/>
                <a:gd name="connsiteX5557" fmla="*/ 2037808 w 12117871"/>
                <a:gd name="connsiteY5557" fmla="*/ 1549078 h 6072780"/>
                <a:gd name="connsiteX5558" fmla="*/ 2054006 w 12117871"/>
                <a:gd name="connsiteY5558" fmla="*/ 1541929 h 6072780"/>
                <a:gd name="connsiteX5559" fmla="*/ 2070129 w 12117871"/>
                <a:gd name="connsiteY5559" fmla="*/ 1533106 h 6072780"/>
                <a:gd name="connsiteX5560" fmla="*/ 2086936 w 12117871"/>
                <a:gd name="connsiteY5560" fmla="*/ 1522003 h 6072780"/>
                <a:gd name="connsiteX5561" fmla="*/ 1953882 w 12117871"/>
                <a:gd name="connsiteY5561" fmla="*/ 1522003 h 6072780"/>
                <a:gd name="connsiteX5562" fmla="*/ 1968788 w 12117871"/>
                <a:gd name="connsiteY5562" fmla="*/ 1522003 h 6072780"/>
                <a:gd name="connsiteX5563" fmla="*/ 1968788 w 12117871"/>
                <a:gd name="connsiteY5563" fmla="*/ 1744984 h 6072780"/>
                <a:gd name="connsiteX5564" fmla="*/ 1933501 w 12117871"/>
                <a:gd name="connsiteY5564" fmla="*/ 1744984 h 6072780"/>
                <a:gd name="connsiteX5565" fmla="*/ 1933501 w 12117871"/>
                <a:gd name="connsiteY5565" fmla="*/ 1565200 h 6072780"/>
                <a:gd name="connsiteX5566" fmla="*/ 1912891 w 12117871"/>
                <a:gd name="connsiteY5566" fmla="*/ 1576836 h 6072780"/>
                <a:gd name="connsiteX5567" fmla="*/ 1887718 w 12117871"/>
                <a:gd name="connsiteY5567" fmla="*/ 1585278 h 6072780"/>
                <a:gd name="connsiteX5568" fmla="*/ 1887718 w 12117871"/>
                <a:gd name="connsiteY5568" fmla="*/ 1555161 h 6072780"/>
                <a:gd name="connsiteX5569" fmla="*/ 1904753 w 12117871"/>
                <a:gd name="connsiteY5569" fmla="*/ 1549078 h 6072780"/>
                <a:gd name="connsiteX5570" fmla="*/ 1920952 w 12117871"/>
                <a:gd name="connsiteY5570" fmla="*/ 1541929 h 6072780"/>
                <a:gd name="connsiteX5571" fmla="*/ 1937075 w 12117871"/>
                <a:gd name="connsiteY5571" fmla="*/ 1533106 h 6072780"/>
                <a:gd name="connsiteX5572" fmla="*/ 1953882 w 12117871"/>
                <a:gd name="connsiteY5572" fmla="*/ 1522003 h 6072780"/>
                <a:gd name="connsiteX5573" fmla="*/ 1820828 w 12117871"/>
                <a:gd name="connsiteY5573" fmla="*/ 1522003 h 6072780"/>
                <a:gd name="connsiteX5574" fmla="*/ 1835734 w 12117871"/>
                <a:gd name="connsiteY5574" fmla="*/ 1522003 h 6072780"/>
                <a:gd name="connsiteX5575" fmla="*/ 1835734 w 12117871"/>
                <a:gd name="connsiteY5575" fmla="*/ 1744984 h 6072780"/>
                <a:gd name="connsiteX5576" fmla="*/ 1800447 w 12117871"/>
                <a:gd name="connsiteY5576" fmla="*/ 1744984 h 6072780"/>
                <a:gd name="connsiteX5577" fmla="*/ 1800447 w 12117871"/>
                <a:gd name="connsiteY5577" fmla="*/ 1565200 h 6072780"/>
                <a:gd name="connsiteX5578" fmla="*/ 1779837 w 12117871"/>
                <a:gd name="connsiteY5578" fmla="*/ 1576836 h 6072780"/>
                <a:gd name="connsiteX5579" fmla="*/ 1754664 w 12117871"/>
                <a:gd name="connsiteY5579" fmla="*/ 1585278 h 6072780"/>
                <a:gd name="connsiteX5580" fmla="*/ 1754664 w 12117871"/>
                <a:gd name="connsiteY5580" fmla="*/ 1555161 h 6072780"/>
                <a:gd name="connsiteX5581" fmla="*/ 1771699 w 12117871"/>
                <a:gd name="connsiteY5581" fmla="*/ 1549078 h 6072780"/>
                <a:gd name="connsiteX5582" fmla="*/ 1787898 w 12117871"/>
                <a:gd name="connsiteY5582" fmla="*/ 1541929 h 6072780"/>
                <a:gd name="connsiteX5583" fmla="*/ 1804021 w 12117871"/>
                <a:gd name="connsiteY5583" fmla="*/ 1533106 h 6072780"/>
                <a:gd name="connsiteX5584" fmla="*/ 1820828 w 12117871"/>
                <a:gd name="connsiteY5584" fmla="*/ 1522003 h 6072780"/>
                <a:gd name="connsiteX5585" fmla="*/ 1678216 w 12117871"/>
                <a:gd name="connsiteY5585" fmla="*/ 1522003 h 6072780"/>
                <a:gd name="connsiteX5586" fmla="*/ 1693123 w 12117871"/>
                <a:gd name="connsiteY5586" fmla="*/ 1522003 h 6072780"/>
                <a:gd name="connsiteX5587" fmla="*/ 1693123 w 12117871"/>
                <a:gd name="connsiteY5587" fmla="*/ 1744984 h 6072780"/>
                <a:gd name="connsiteX5588" fmla="*/ 1657834 w 12117871"/>
                <a:gd name="connsiteY5588" fmla="*/ 1744984 h 6072780"/>
                <a:gd name="connsiteX5589" fmla="*/ 1657834 w 12117871"/>
                <a:gd name="connsiteY5589" fmla="*/ 1565200 h 6072780"/>
                <a:gd name="connsiteX5590" fmla="*/ 1637225 w 12117871"/>
                <a:gd name="connsiteY5590" fmla="*/ 1576836 h 6072780"/>
                <a:gd name="connsiteX5591" fmla="*/ 1612053 w 12117871"/>
                <a:gd name="connsiteY5591" fmla="*/ 1585278 h 6072780"/>
                <a:gd name="connsiteX5592" fmla="*/ 1612053 w 12117871"/>
                <a:gd name="connsiteY5592" fmla="*/ 1555161 h 6072780"/>
                <a:gd name="connsiteX5593" fmla="*/ 1629088 w 12117871"/>
                <a:gd name="connsiteY5593" fmla="*/ 1549078 h 6072780"/>
                <a:gd name="connsiteX5594" fmla="*/ 1645287 w 12117871"/>
                <a:gd name="connsiteY5594" fmla="*/ 1541929 h 6072780"/>
                <a:gd name="connsiteX5595" fmla="*/ 1661409 w 12117871"/>
                <a:gd name="connsiteY5595" fmla="*/ 1533106 h 6072780"/>
                <a:gd name="connsiteX5596" fmla="*/ 1678216 w 12117871"/>
                <a:gd name="connsiteY5596" fmla="*/ 1522003 h 6072780"/>
                <a:gd name="connsiteX5597" fmla="*/ 922825 w 12117871"/>
                <a:gd name="connsiteY5597" fmla="*/ 1522003 h 6072780"/>
                <a:gd name="connsiteX5598" fmla="*/ 937731 w 12117871"/>
                <a:gd name="connsiteY5598" fmla="*/ 1522003 h 6072780"/>
                <a:gd name="connsiteX5599" fmla="*/ 937731 w 12117871"/>
                <a:gd name="connsiteY5599" fmla="*/ 1744984 h 6072780"/>
                <a:gd name="connsiteX5600" fmla="*/ 902443 w 12117871"/>
                <a:gd name="connsiteY5600" fmla="*/ 1744984 h 6072780"/>
                <a:gd name="connsiteX5601" fmla="*/ 902443 w 12117871"/>
                <a:gd name="connsiteY5601" fmla="*/ 1565200 h 6072780"/>
                <a:gd name="connsiteX5602" fmla="*/ 881833 w 12117871"/>
                <a:gd name="connsiteY5602" fmla="*/ 1576836 h 6072780"/>
                <a:gd name="connsiteX5603" fmla="*/ 856661 w 12117871"/>
                <a:gd name="connsiteY5603" fmla="*/ 1585278 h 6072780"/>
                <a:gd name="connsiteX5604" fmla="*/ 856661 w 12117871"/>
                <a:gd name="connsiteY5604" fmla="*/ 1555161 h 6072780"/>
                <a:gd name="connsiteX5605" fmla="*/ 873696 w 12117871"/>
                <a:gd name="connsiteY5605" fmla="*/ 1549078 h 6072780"/>
                <a:gd name="connsiteX5606" fmla="*/ 889895 w 12117871"/>
                <a:gd name="connsiteY5606" fmla="*/ 1541929 h 6072780"/>
                <a:gd name="connsiteX5607" fmla="*/ 906017 w 12117871"/>
                <a:gd name="connsiteY5607" fmla="*/ 1533106 h 6072780"/>
                <a:gd name="connsiteX5608" fmla="*/ 922825 w 12117871"/>
                <a:gd name="connsiteY5608" fmla="*/ 1522003 h 6072780"/>
                <a:gd name="connsiteX5609" fmla="*/ 789770 w 12117871"/>
                <a:gd name="connsiteY5609" fmla="*/ 1522003 h 6072780"/>
                <a:gd name="connsiteX5610" fmla="*/ 804677 w 12117871"/>
                <a:gd name="connsiteY5610" fmla="*/ 1522003 h 6072780"/>
                <a:gd name="connsiteX5611" fmla="*/ 804677 w 12117871"/>
                <a:gd name="connsiteY5611" fmla="*/ 1744984 h 6072780"/>
                <a:gd name="connsiteX5612" fmla="*/ 769389 w 12117871"/>
                <a:gd name="connsiteY5612" fmla="*/ 1744984 h 6072780"/>
                <a:gd name="connsiteX5613" fmla="*/ 769389 w 12117871"/>
                <a:gd name="connsiteY5613" fmla="*/ 1565200 h 6072780"/>
                <a:gd name="connsiteX5614" fmla="*/ 748779 w 12117871"/>
                <a:gd name="connsiteY5614" fmla="*/ 1576836 h 6072780"/>
                <a:gd name="connsiteX5615" fmla="*/ 723607 w 12117871"/>
                <a:gd name="connsiteY5615" fmla="*/ 1585278 h 6072780"/>
                <a:gd name="connsiteX5616" fmla="*/ 723607 w 12117871"/>
                <a:gd name="connsiteY5616" fmla="*/ 1555161 h 6072780"/>
                <a:gd name="connsiteX5617" fmla="*/ 740642 w 12117871"/>
                <a:gd name="connsiteY5617" fmla="*/ 1549078 h 6072780"/>
                <a:gd name="connsiteX5618" fmla="*/ 756841 w 12117871"/>
                <a:gd name="connsiteY5618" fmla="*/ 1541929 h 6072780"/>
                <a:gd name="connsiteX5619" fmla="*/ 772963 w 12117871"/>
                <a:gd name="connsiteY5619" fmla="*/ 1533106 h 6072780"/>
                <a:gd name="connsiteX5620" fmla="*/ 789770 w 12117871"/>
                <a:gd name="connsiteY5620" fmla="*/ 1522003 h 6072780"/>
                <a:gd name="connsiteX5621" fmla="*/ 10091849 w 12117871"/>
                <a:gd name="connsiteY5621" fmla="*/ 1522002 h 6072780"/>
                <a:gd name="connsiteX5622" fmla="*/ 10163016 w 12117871"/>
                <a:gd name="connsiteY5622" fmla="*/ 1632590 h 6072780"/>
                <a:gd name="connsiteX5623" fmla="*/ 10142930 w 12117871"/>
                <a:gd name="connsiteY5623" fmla="*/ 1716169 h 6072780"/>
                <a:gd name="connsiteX5624" fmla="*/ 10086733 w 12117871"/>
                <a:gd name="connsiteY5624" fmla="*/ 1744982 h 6072780"/>
                <a:gd name="connsiteX5625" fmla="*/ 10034148 w 12117871"/>
                <a:gd name="connsiteY5625" fmla="*/ 1717449 h 6072780"/>
                <a:gd name="connsiteX5626" fmla="*/ 10015265 w 12117871"/>
                <a:gd name="connsiteY5626" fmla="*/ 1637857 h 6072780"/>
                <a:gd name="connsiteX5627" fmla="*/ 10034975 w 12117871"/>
                <a:gd name="connsiteY5627" fmla="*/ 1551343 h 6072780"/>
                <a:gd name="connsiteX5628" fmla="*/ 10091849 w 12117871"/>
                <a:gd name="connsiteY5628" fmla="*/ 1522002 h 6072780"/>
                <a:gd name="connsiteX5629" fmla="*/ 9870926 w 12117871"/>
                <a:gd name="connsiteY5629" fmla="*/ 1522002 h 6072780"/>
                <a:gd name="connsiteX5630" fmla="*/ 9942093 w 12117871"/>
                <a:gd name="connsiteY5630" fmla="*/ 1632590 h 6072780"/>
                <a:gd name="connsiteX5631" fmla="*/ 9922007 w 12117871"/>
                <a:gd name="connsiteY5631" fmla="*/ 1716169 h 6072780"/>
                <a:gd name="connsiteX5632" fmla="*/ 9865810 w 12117871"/>
                <a:gd name="connsiteY5632" fmla="*/ 1744982 h 6072780"/>
                <a:gd name="connsiteX5633" fmla="*/ 9813225 w 12117871"/>
                <a:gd name="connsiteY5633" fmla="*/ 1717449 h 6072780"/>
                <a:gd name="connsiteX5634" fmla="*/ 9794342 w 12117871"/>
                <a:gd name="connsiteY5634" fmla="*/ 1637857 h 6072780"/>
                <a:gd name="connsiteX5635" fmla="*/ 9814052 w 12117871"/>
                <a:gd name="connsiteY5635" fmla="*/ 1551343 h 6072780"/>
                <a:gd name="connsiteX5636" fmla="*/ 9870926 w 12117871"/>
                <a:gd name="connsiteY5636" fmla="*/ 1522002 h 6072780"/>
                <a:gd name="connsiteX5637" fmla="*/ 9209266 w 12117871"/>
                <a:gd name="connsiteY5637" fmla="*/ 1522002 h 6072780"/>
                <a:gd name="connsiteX5638" fmla="*/ 9280433 w 12117871"/>
                <a:gd name="connsiteY5638" fmla="*/ 1632590 h 6072780"/>
                <a:gd name="connsiteX5639" fmla="*/ 9260347 w 12117871"/>
                <a:gd name="connsiteY5639" fmla="*/ 1716169 h 6072780"/>
                <a:gd name="connsiteX5640" fmla="*/ 9204150 w 12117871"/>
                <a:gd name="connsiteY5640" fmla="*/ 1744982 h 6072780"/>
                <a:gd name="connsiteX5641" fmla="*/ 9151565 w 12117871"/>
                <a:gd name="connsiteY5641" fmla="*/ 1717449 h 6072780"/>
                <a:gd name="connsiteX5642" fmla="*/ 9132682 w 12117871"/>
                <a:gd name="connsiteY5642" fmla="*/ 1637857 h 6072780"/>
                <a:gd name="connsiteX5643" fmla="*/ 9152392 w 12117871"/>
                <a:gd name="connsiteY5643" fmla="*/ 1551343 h 6072780"/>
                <a:gd name="connsiteX5644" fmla="*/ 9209266 w 12117871"/>
                <a:gd name="connsiteY5644" fmla="*/ 1522002 h 6072780"/>
                <a:gd name="connsiteX5645" fmla="*/ 8988343 w 12117871"/>
                <a:gd name="connsiteY5645" fmla="*/ 1522002 h 6072780"/>
                <a:gd name="connsiteX5646" fmla="*/ 9059510 w 12117871"/>
                <a:gd name="connsiteY5646" fmla="*/ 1632590 h 6072780"/>
                <a:gd name="connsiteX5647" fmla="*/ 9039424 w 12117871"/>
                <a:gd name="connsiteY5647" fmla="*/ 1716169 h 6072780"/>
                <a:gd name="connsiteX5648" fmla="*/ 8983227 w 12117871"/>
                <a:gd name="connsiteY5648" fmla="*/ 1744982 h 6072780"/>
                <a:gd name="connsiteX5649" fmla="*/ 8930642 w 12117871"/>
                <a:gd name="connsiteY5649" fmla="*/ 1717449 h 6072780"/>
                <a:gd name="connsiteX5650" fmla="*/ 8911759 w 12117871"/>
                <a:gd name="connsiteY5650" fmla="*/ 1637857 h 6072780"/>
                <a:gd name="connsiteX5651" fmla="*/ 8931469 w 12117871"/>
                <a:gd name="connsiteY5651" fmla="*/ 1551343 h 6072780"/>
                <a:gd name="connsiteX5652" fmla="*/ 8988343 w 12117871"/>
                <a:gd name="connsiteY5652" fmla="*/ 1522002 h 6072780"/>
                <a:gd name="connsiteX5653" fmla="*/ 4035797 w 12117871"/>
                <a:gd name="connsiteY5653" fmla="*/ 1522002 h 6072780"/>
                <a:gd name="connsiteX5654" fmla="*/ 4106964 w 12117871"/>
                <a:gd name="connsiteY5654" fmla="*/ 1632590 h 6072780"/>
                <a:gd name="connsiteX5655" fmla="*/ 4086878 w 12117871"/>
                <a:gd name="connsiteY5655" fmla="*/ 1716169 h 6072780"/>
                <a:gd name="connsiteX5656" fmla="*/ 4030681 w 12117871"/>
                <a:gd name="connsiteY5656" fmla="*/ 1744982 h 6072780"/>
                <a:gd name="connsiteX5657" fmla="*/ 3978096 w 12117871"/>
                <a:gd name="connsiteY5657" fmla="*/ 1717449 h 6072780"/>
                <a:gd name="connsiteX5658" fmla="*/ 3959213 w 12117871"/>
                <a:gd name="connsiteY5658" fmla="*/ 1637857 h 6072780"/>
                <a:gd name="connsiteX5659" fmla="*/ 3978923 w 12117871"/>
                <a:gd name="connsiteY5659" fmla="*/ 1551343 h 6072780"/>
                <a:gd name="connsiteX5660" fmla="*/ 4035797 w 12117871"/>
                <a:gd name="connsiteY5660" fmla="*/ 1522002 h 6072780"/>
                <a:gd name="connsiteX5661" fmla="*/ 3814874 w 12117871"/>
                <a:gd name="connsiteY5661" fmla="*/ 1522002 h 6072780"/>
                <a:gd name="connsiteX5662" fmla="*/ 3886042 w 12117871"/>
                <a:gd name="connsiteY5662" fmla="*/ 1632590 h 6072780"/>
                <a:gd name="connsiteX5663" fmla="*/ 3865955 w 12117871"/>
                <a:gd name="connsiteY5663" fmla="*/ 1716169 h 6072780"/>
                <a:gd name="connsiteX5664" fmla="*/ 3809758 w 12117871"/>
                <a:gd name="connsiteY5664" fmla="*/ 1744982 h 6072780"/>
                <a:gd name="connsiteX5665" fmla="*/ 3757173 w 12117871"/>
                <a:gd name="connsiteY5665" fmla="*/ 1717449 h 6072780"/>
                <a:gd name="connsiteX5666" fmla="*/ 3738290 w 12117871"/>
                <a:gd name="connsiteY5666" fmla="*/ 1637857 h 6072780"/>
                <a:gd name="connsiteX5667" fmla="*/ 3758000 w 12117871"/>
                <a:gd name="connsiteY5667" fmla="*/ 1551343 h 6072780"/>
                <a:gd name="connsiteX5668" fmla="*/ 3814874 w 12117871"/>
                <a:gd name="connsiteY5668" fmla="*/ 1522002 h 6072780"/>
                <a:gd name="connsiteX5669" fmla="*/ 3153215 w 12117871"/>
                <a:gd name="connsiteY5669" fmla="*/ 1522002 h 6072780"/>
                <a:gd name="connsiteX5670" fmla="*/ 3224382 w 12117871"/>
                <a:gd name="connsiteY5670" fmla="*/ 1632590 h 6072780"/>
                <a:gd name="connsiteX5671" fmla="*/ 3204295 w 12117871"/>
                <a:gd name="connsiteY5671" fmla="*/ 1716169 h 6072780"/>
                <a:gd name="connsiteX5672" fmla="*/ 3148098 w 12117871"/>
                <a:gd name="connsiteY5672" fmla="*/ 1744982 h 6072780"/>
                <a:gd name="connsiteX5673" fmla="*/ 3095513 w 12117871"/>
                <a:gd name="connsiteY5673" fmla="*/ 1717449 h 6072780"/>
                <a:gd name="connsiteX5674" fmla="*/ 3076630 w 12117871"/>
                <a:gd name="connsiteY5674" fmla="*/ 1637857 h 6072780"/>
                <a:gd name="connsiteX5675" fmla="*/ 3096340 w 12117871"/>
                <a:gd name="connsiteY5675" fmla="*/ 1551343 h 6072780"/>
                <a:gd name="connsiteX5676" fmla="*/ 3153215 w 12117871"/>
                <a:gd name="connsiteY5676" fmla="*/ 1522002 h 6072780"/>
                <a:gd name="connsiteX5677" fmla="*/ 2932291 w 12117871"/>
                <a:gd name="connsiteY5677" fmla="*/ 1522002 h 6072780"/>
                <a:gd name="connsiteX5678" fmla="*/ 3003458 w 12117871"/>
                <a:gd name="connsiteY5678" fmla="*/ 1632590 h 6072780"/>
                <a:gd name="connsiteX5679" fmla="*/ 2983372 w 12117871"/>
                <a:gd name="connsiteY5679" fmla="*/ 1716169 h 6072780"/>
                <a:gd name="connsiteX5680" fmla="*/ 2927176 w 12117871"/>
                <a:gd name="connsiteY5680" fmla="*/ 1744982 h 6072780"/>
                <a:gd name="connsiteX5681" fmla="*/ 2874590 w 12117871"/>
                <a:gd name="connsiteY5681" fmla="*/ 1717449 h 6072780"/>
                <a:gd name="connsiteX5682" fmla="*/ 2855708 w 12117871"/>
                <a:gd name="connsiteY5682" fmla="*/ 1637857 h 6072780"/>
                <a:gd name="connsiteX5683" fmla="*/ 2875417 w 12117871"/>
                <a:gd name="connsiteY5683" fmla="*/ 1551343 h 6072780"/>
                <a:gd name="connsiteX5684" fmla="*/ 2932291 w 12117871"/>
                <a:gd name="connsiteY5684" fmla="*/ 1522002 h 6072780"/>
                <a:gd name="connsiteX5685" fmla="*/ 111672 w 12117871"/>
                <a:gd name="connsiteY5685" fmla="*/ 1522002 h 6072780"/>
                <a:gd name="connsiteX5686" fmla="*/ 126579 w 12117871"/>
                <a:gd name="connsiteY5686" fmla="*/ 1522002 h 6072780"/>
                <a:gd name="connsiteX5687" fmla="*/ 126579 w 12117871"/>
                <a:gd name="connsiteY5687" fmla="*/ 1744982 h 6072780"/>
                <a:gd name="connsiteX5688" fmla="*/ 91291 w 12117871"/>
                <a:gd name="connsiteY5688" fmla="*/ 1744982 h 6072780"/>
                <a:gd name="connsiteX5689" fmla="*/ 91291 w 12117871"/>
                <a:gd name="connsiteY5689" fmla="*/ 1565199 h 6072780"/>
                <a:gd name="connsiteX5690" fmla="*/ 70681 w 12117871"/>
                <a:gd name="connsiteY5690" fmla="*/ 1576835 h 6072780"/>
                <a:gd name="connsiteX5691" fmla="*/ 45509 w 12117871"/>
                <a:gd name="connsiteY5691" fmla="*/ 1585277 h 6072780"/>
                <a:gd name="connsiteX5692" fmla="*/ 45509 w 12117871"/>
                <a:gd name="connsiteY5692" fmla="*/ 1555160 h 6072780"/>
                <a:gd name="connsiteX5693" fmla="*/ 62544 w 12117871"/>
                <a:gd name="connsiteY5693" fmla="*/ 1549076 h 6072780"/>
                <a:gd name="connsiteX5694" fmla="*/ 78743 w 12117871"/>
                <a:gd name="connsiteY5694" fmla="*/ 1541927 h 6072780"/>
                <a:gd name="connsiteX5695" fmla="*/ 94865 w 12117871"/>
                <a:gd name="connsiteY5695" fmla="*/ 1533105 h 6072780"/>
                <a:gd name="connsiteX5696" fmla="*/ 111672 w 12117871"/>
                <a:gd name="connsiteY5696" fmla="*/ 1522002 h 6072780"/>
                <a:gd name="connsiteX5697" fmla="*/ 9137689 w 12117871"/>
                <a:gd name="connsiteY5697" fmla="*/ 1236534 h 6072780"/>
                <a:gd name="connsiteX5698" fmla="*/ 9098419 w 12117871"/>
                <a:gd name="connsiteY5698" fmla="*/ 1323048 h 6072780"/>
                <a:gd name="connsiteX5699" fmla="*/ 9136937 w 12117871"/>
                <a:gd name="connsiteY5699" fmla="*/ 1403995 h 6072780"/>
                <a:gd name="connsiteX5700" fmla="*/ 9174852 w 12117871"/>
                <a:gd name="connsiteY5700" fmla="*/ 1321695 h 6072780"/>
                <a:gd name="connsiteX5701" fmla="*/ 9137689 w 12117871"/>
                <a:gd name="connsiteY5701" fmla="*/ 1236534 h 6072780"/>
                <a:gd name="connsiteX5702" fmla="*/ 8795932 w 12117871"/>
                <a:gd name="connsiteY5702" fmla="*/ 1236534 h 6072780"/>
                <a:gd name="connsiteX5703" fmla="*/ 8756662 w 12117871"/>
                <a:gd name="connsiteY5703" fmla="*/ 1323048 h 6072780"/>
                <a:gd name="connsiteX5704" fmla="*/ 8795180 w 12117871"/>
                <a:gd name="connsiteY5704" fmla="*/ 1403995 h 6072780"/>
                <a:gd name="connsiteX5705" fmla="*/ 8833095 w 12117871"/>
                <a:gd name="connsiteY5705" fmla="*/ 1321695 h 6072780"/>
                <a:gd name="connsiteX5706" fmla="*/ 8795932 w 12117871"/>
                <a:gd name="connsiteY5706" fmla="*/ 1236534 h 6072780"/>
                <a:gd name="connsiteX5707" fmla="*/ 8094530 w 12117871"/>
                <a:gd name="connsiteY5707" fmla="*/ 1236534 h 6072780"/>
                <a:gd name="connsiteX5708" fmla="*/ 8055260 w 12117871"/>
                <a:gd name="connsiteY5708" fmla="*/ 1323048 h 6072780"/>
                <a:gd name="connsiteX5709" fmla="*/ 8093778 w 12117871"/>
                <a:gd name="connsiteY5709" fmla="*/ 1403995 h 6072780"/>
                <a:gd name="connsiteX5710" fmla="*/ 8131693 w 12117871"/>
                <a:gd name="connsiteY5710" fmla="*/ 1321695 h 6072780"/>
                <a:gd name="connsiteX5711" fmla="*/ 8094530 w 12117871"/>
                <a:gd name="connsiteY5711" fmla="*/ 1236534 h 6072780"/>
                <a:gd name="connsiteX5712" fmla="*/ 6836041 w 12117871"/>
                <a:gd name="connsiteY5712" fmla="*/ 1236534 h 6072780"/>
                <a:gd name="connsiteX5713" fmla="*/ 6796771 w 12117871"/>
                <a:gd name="connsiteY5713" fmla="*/ 1323048 h 6072780"/>
                <a:gd name="connsiteX5714" fmla="*/ 6835289 w 12117871"/>
                <a:gd name="connsiteY5714" fmla="*/ 1403995 h 6072780"/>
                <a:gd name="connsiteX5715" fmla="*/ 6873204 w 12117871"/>
                <a:gd name="connsiteY5715" fmla="*/ 1321695 h 6072780"/>
                <a:gd name="connsiteX5716" fmla="*/ 6836041 w 12117871"/>
                <a:gd name="connsiteY5716" fmla="*/ 1236534 h 6072780"/>
                <a:gd name="connsiteX5717" fmla="*/ 6622947 w 12117871"/>
                <a:gd name="connsiteY5717" fmla="*/ 1236534 h 6072780"/>
                <a:gd name="connsiteX5718" fmla="*/ 6583677 w 12117871"/>
                <a:gd name="connsiteY5718" fmla="*/ 1323048 h 6072780"/>
                <a:gd name="connsiteX5719" fmla="*/ 6622195 w 12117871"/>
                <a:gd name="connsiteY5719" fmla="*/ 1403995 h 6072780"/>
                <a:gd name="connsiteX5720" fmla="*/ 6660110 w 12117871"/>
                <a:gd name="connsiteY5720" fmla="*/ 1321695 h 6072780"/>
                <a:gd name="connsiteX5721" fmla="*/ 6622947 w 12117871"/>
                <a:gd name="connsiteY5721" fmla="*/ 1236534 h 6072780"/>
                <a:gd name="connsiteX5722" fmla="*/ 3077272 w 12117871"/>
                <a:gd name="connsiteY5722" fmla="*/ 1236534 h 6072780"/>
                <a:gd name="connsiteX5723" fmla="*/ 3038002 w 12117871"/>
                <a:gd name="connsiteY5723" fmla="*/ 1323048 h 6072780"/>
                <a:gd name="connsiteX5724" fmla="*/ 3076520 w 12117871"/>
                <a:gd name="connsiteY5724" fmla="*/ 1403995 h 6072780"/>
                <a:gd name="connsiteX5725" fmla="*/ 3114435 w 12117871"/>
                <a:gd name="connsiteY5725" fmla="*/ 1321695 h 6072780"/>
                <a:gd name="connsiteX5726" fmla="*/ 3077272 w 12117871"/>
                <a:gd name="connsiteY5726" fmla="*/ 1236534 h 6072780"/>
                <a:gd name="connsiteX5727" fmla="*/ 2730469 w 12117871"/>
                <a:gd name="connsiteY5727" fmla="*/ 1236534 h 6072780"/>
                <a:gd name="connsiteX5728" fmla="*/ 2691199 w 12117871"/>
                <a:gd name="connsiteY5728" fmla="*/ 1323048 h 6072780"/>
                <a:gd name="connsiteX5729" fmla="*/ 2729717 w 12117871"/>
                <a:gd name="connsiteY5729" fmla="*/ 1403995 h 6072780"/>
                <a:gd name="connsiteX5730" fmla="*/ 2767632 w 12117871"/>
                <a:gd name="connsiteY5730" fmla="*/ 1321695 h 6072780"/>
                <a:gd name="connsiteX5731" fmla="*/ 2730469 w 12117871"/>
                <a:gd name="connsiteY5731" fmla="*/ 1236534 h 6072780"/>
                <a:gd name="connsiteX5732" fmla="*/ 2039104 w 12117871"/>
                <a:gd name="connsiteY5732" fmla="*/ 1236534 h 6072780"/>
                <a:gd name="connsiteX5733" fmla="*/ 1999834 w 12117871"/>
                <a:gd name="connsiteY5733" fmla="*/ 1323048 h 6072780"/>
                <a:gd name="connsiteX5734" fmla="*/ 2038352 w 12117871"/>
                <a:gd name="connsiteY5734" fmla="*/ 1403995 h 6072780"/>
                <a:gd name="connsiteX5735" fmla="*/ 2076267 w 12117871"/>
                <a:gd name="connsiteY5735" fmla="*/ 1321695 h 6072780"/>
                <a:gd name="connsiteX5736" fmla="*/ 2039104 w 12117871"/>
                <a:gd name="connsiteY5736" fmla="*/ 1236534 h 6072780"/>
                <a:gd name="connsiteX5737" fmla="*/ 783897 w 12117871"/>
                <a:gd name="connsiteY5737" fmla="*/ 1236534 h 6072780"/>
                <a:gd name="connsiteX5738" fmla="*/ 744627 w 12117871"/>
                <a:gd name="connsiteY5738" fmla="*/ 1323048 h 6072780"/>
                <a:gd name="connsiteX5739" fmla="*/ 783145 w 12117871"/>
                <a:gd name="connsiteY5739" fmla="*/ 1403995 h 6072780"/>
                <a:gd name="connsiteX5740" fmla="*/ 821060 w 12117871"/>
                <a:gd name="connsiteY5740" fmla="*/ 1321695 h 6072780"/>
                <a:gd name="connsiteX5741" fmla="*/ 783897 w 12117871"/>
                <a:gd name="connsiteY5741" fmla="*/ 1236534 h 6072780"/>
                <a:gd name="connsiteX5742" fmla="*/ 563297 w 12117871"/>
                <a:gd name="connsiteY5742" fmla="*/ 1236534 h 6072780"/>
                <a:gd name="connsiteX5743" fmla="*/ 524027 w 12117871"/>
                <a:gd name="connsiteY5743" fmla="*/ 1323048 h 6072780"/>
                <a:gd name="connsiteX5744" fmla="*/ 562545 w 12117871"/>
                <a:gd name="connsiteY5744" fmla="*/ 1403995 h 6072780"/>
                <a:gd name="connsiteX5745" fmla="*/ 600460 w 12117871"/>
                <a:gd name="connsiteY5745" fmla="*/ 1321695 h 6072780"/>
                <a:gd name="connsiteX5746" fmla="*/ 563297 w 12117871"/>
                <a:gd name="connsiteY5746" fmla="*/ 1236534 h 6072780"/>
                <a:gd name="connsiteX5747" fmla="*/ 12042385 w 12117871"/>
                <a:gd name="connsiteY5747" fmla="*/ 1208700 h 6072780"/>
                <a:gd name="connsiteX5748" fmla="*/ 12057291 w 12117871"/>
                <a:gd name="connsiteY5748" fmla="*/ 1208700 h 6072780"/>
                <a:gd name="connsiteX5749" fmla="*/ 12057291 w 12117871"/>
                <a:gd name="connsiteY5749" fmla="*/ 1431679 h 6072780"/>
                <a:gd name="connsiteX5750" fmla="*/ 12022003 w 12117871"/>
                <a:gd name="connsiteY5750" fmla="*/ 1431679 h 6072780"/>
                <a:gd name="connsiteX5751" fmla="*/ 12022003 w 12117871"/>
                <a:gd name="connsiteY5751" fmla="*/ 1251896 h 6072780"/>
                <a:gd name="connsiteX5752" fmla="*/ 12001394 w 12117871"/>
                <a:gd name="connsiteY5752" fmla="*/ 1263531 h 6072780"/>
                <a:gd name="connsiteX5753" fmla="*/ 11976221 w 12117871"/>
                <a:gd name="connsiteY5753" fmla="*/ 1271973 h 6072780"/>
                <a:gd name="connsiteX5754" fmla="*/ 11976221 w 12117871"/>
                <a:gd name="connsiteY5754" fmla="*/ 1241857 h 6072780"/>
                <a:gd name="connsiteX5755" fmla="*/ 11993256 w 12117871"/>
                <a:gd name="connsiteY5755" fmla="*/ 1235773 h 6072780"/>
                <a:gd name="connsiteX5756" fmla="*/ 12009455 w 12117871"/>
                <a:gd name="connsiteY5756" fmla="*/ 1228624 h 6072780"/>
                <a:gd name="connsiteX5757" fmla="*/ 12025578 w 12117871"/>
                <a:gd name="connsiteY5757" fmla="*/ 1219803 h 6072780"/>
                <a:gd name="connsiteX5758" fmla="*/ 12042385 w 12117871"/>
                <a:gd name="connsiteY5758" fmla="*/ 1208700 h 6072780"/>
                <a:gd name="connsiteX5759" fmla="*/ 11669820 w 12117871"/>
                <a:gd name="connsiteY5759" fmla="*/ 1208700 h 6072780"/>
                <a:gd name="connsiteX5760" fmla="*/ 11684726 w 12117871"/>
                <a:gd name="connsiteY5760" fmla="*/ 1208700 h 6072780"/>
                <a:gd name="connsiteX5761" fmla="*/ 11684726 w 12117871"/>
                <a:gd name="connsiteY5761" fmla="*/ 1431679 h 6072780"/>
                <a:gd name="connsiteX5762" fmla="*/ 11649438 w 12117871"/>
                <a:gd name="connsiteY5762" fmla="*/ 1431679 h 6072780"/>
                <a:gd name="connsiteX5763" fmla="*/ 11649438 w 12117871"/>
                <a:gd name="connsiteY5763" fmla="*/ 1251896 h 6072780"/>
                <a:gd name="connsiteX5764" fmla="*/ 11628829 w 12117871"/>
                <a:gd name="connsiteY5764" fmla="*/ 1263531 h 6072780"/>
                <a:gd name="connsiteX5765" fmla="*/ 11603656 w 12117871"/>
                <a:gd name="connsiteY5765" fmla="*/ 1271973 h 6072780"/>
                <a:gd name="connsiteX5766" fmla="*/ 11603656 w 12117871"/>
                <a:gd name="connsiteY5766" fmla="*/ 1241857 h 6072780"/>
                <a:gd name="connsiteX5767" fmla="*/ 11620691 w 12117871"/>
                <a:gd name="connsiteY5767" fmla="*/ 1235773 h 6072780"/>
                <a:gd name="connsiteX5768" fmla="*/ 11636890 w 12117871"/>
                <a:gd name="connsiteY5768" fmla="*/ 1228624 h 6072780"/>
                <a:gd name="connsiteX5769" fmla="*/ 11653013 w 12117871"/>
                <a:gd name="connsiteY5769" fmla="*/ 1219803 h 6072780"/>
                <a:gd name="connsiteX5770" fmla="*/ 11669820 w 12117871"/>
                <a:gd name="connsiteY5770" fmla="*/ 1208700 h 6072780"/>
                <a:gd name="connsiteX5771" fmla="*/ 11519847 w 12117871"/>
                <a:gd name="connsiteY5771" fmla="*/ 1208700 h 6072780"/>
                <a:gd name="connsiteX5772" fmla="*/ 11534753 w 12117871"/>
                <a:gd name="connsiteY5772" fmla="*/ 1208700 h 6072780"/>
                <a:gd name="connsiteX5773" fmla="*/ 11534753 w 12117871"/>
                <a:gd name="connsiteY5773" fmla="*/ 1431679 h 6072780"/>
                <a:gd name="connsiteX5774" fmla="*/ 11499465 w 12117871"/>
                <a:gd name="connsiteY5774" fmla="*/ 1431679 h 6072780"/>
                <a:gd name="connsiteX5775" fmla="*/ 11499465 w 12117871"/>
                <a:gd name="connsiteY5775" fmla="*/ 1251896 h 6072780"/>
                <a:gd name="connsiteX5776" fmla="*/ 11478856 w 12117871"/>
                <a:gd name="connsiteY5776" fmla="*/ 1263531 h 6072780"/>
                <a:gd name="connsiteX5777" fmla="*/ 11453683 w 12117871"/>
                <a:gd name="connsiteY5777" fmla="*/ 1271973 h 6072780"/>
                <a:gd name="connsiteX5778" fmla="*/ 11453683 w 12117871"/>
                <a:gd name="connsiteY5778" fmla="*/ 1241857 h 6072780"/>
                <a:gd name="connsiteX5779" fmla="*/ 11470718 w 12117871"/>
                <a:gd name="connsiteY5779" fmla="*/ 1235773 h 6072780"/>
                <a:gd name="connsiteX5780" fmla="*/ 11486917 w 12117871"/>
                <a:gd name="connsiteY5780" fmla="*/ 1228624 h 6072780"/>
                <a:gd name="connsiteX5781" fmla="*/ 11503040 w 12117871"/>
                <a:gd name="connsiteY5781" fmla="*/ 1219803 h 6072780"/>
                <a:gd name="connsiteX5782" fmla="*/ 11519847 w 12117871"/>
                <a:gd name="connsiteY5782" fmla="*/ 1208700 h 6072780"/>
                <a:gd name="connsiteX5783" fmla="*/ 11369874 w 12117871"/>
                <a:gd name="connsiteY5783" fmla="*/ 1208700 h 6072780"/>
                <a:gd name="connsiteX5784" fmla="*/ 11384780 w 12117871"/>
                <a:gd name="connsiteY5784" fmla="*/ 1208700 h 6072780"/>
                <a:gd name="connsiteX5785" fmla="*/ 11384780 w 12117871"/>
                <a:gd name="connsiteY5785" fmla="*/ 1431679 h 6072780"/>
                <a:gd name="connsiteX5786" fmla="*/ 11349492 w 12117871"/>
                <a:gd name="connsiteY5786" fmla="*/ 1431679 h 6072780"/>
                <a:gd name="connsiteX5787" fmla="*/ 11349492 w 12117871"/>
                <a:gd name="connsiteY5787" fmla="*/ 1251896 h 6072780"/>
                <a:gd name="connsiteX5788" fmla="*/ 11328883 w 12117871"/>
                <a:gd name="connsiteY5788" fmla="*/ 1263531 h 6072780"/>
                <a:gd name="connsiteX5789" fmla="*/ 11303710 w 12117871"/>
                <a:gd name="connsiteY5789" fmla="*/ 1271973 h 6072780"/>
                <a:gd name="connsiteX5790" fmla="*/ 11303710 w 12117871"/>
                <a:gd name="connsiteY5790" fmla="*/ 1241857 h 6072780"/>
                <a:gd name="connsiteX5791" fmla="*/ 11320745 w 12117871"/>
                <a:gd name="connsiteY5791" fmla="*/ 1235773 h 6072780"/>
                <a:gd name="connsiteX5792" fmla="*/ 11336944 w 12117871"/>
                <a:gd name="connsiteY5792" fmla="*/ 1228624 h 6072780"/>
                <a:gd name="connsiteX5793" fmla="*/ 11353067 w 12117871"/>
                <a:gd name="connsiteY5793" fmla="*/ 1219803 h 6072780"/>
                <a:gd name="connsiteX5794" fmla="*/ 11369874 w 12117871"/>
                <a:gd name="connsiteY5794" fmla="*/ 1208700 h 6072780"/>
                <a:gd name="connsiteX5795" fmla="*/ 10626916 w 12117871"/>
                <a:gd name="connsiteY5795" fmla="*/ 1208700 h 6072780"/>
                <a:gd name="connsiteX5796" fmla="*/ 10641822 w 12117871"/>
                <a:gd name="connsiteY5796" fmla="*/ 1208700 h 6072780"/>
                <a:gd name="connsiteX5797" fmla="*/ 10641822 w 12117871"/>
                <a:gd name="connsiteY5797" fmla="*/ 1431679 h 6072780"/>
                <a:gd name="connsiteX5798" fmla="*/ 10606534 w 12117871"/>
                <a:gd name="connsiteY5798" fmla="*/ 1431679 h 6072780"/>
                <a:gd name="connsiteX5799" fmla="*/ 10606534 w 12117871"/>
                <a:gd name="connsiteY5799" fmla="*/ 1251896 h 6072780"/>
                <a:gd name="connsiteX5800" fmla="*/ 10585925 w 12117871"/>
                <a:gd name="connsiteY5800" fmla="*/ 1263531 h 6072780"/>
                <a:gd name="connsiteX5801" fmla="*/ 10560752 w 12117871"/>
                <a:gd name="connsiteY5801" fmla="*/ 1271973 h 6072780"/>
                <a:gd name="connsiteX5802" fmla="*/ 10560752 w 12117871"/>
                <a:gd name="connsiteY5802" fmla="*/ 1241857 h 6072780"/>
                <a:gd name="connsiteX5803" fmla="*/ 10577787 w 12117871"/>
                <a:gd name="connsiteY5803" fmla="*/ 1235773 h 6072780"/>
                <a:gd name="connsiteX5804" fmla="*/ 10593986 w 12117871"/>
                <a:gd name="connsiteY5804" fmla="*/ 1228624 h 6072780"/>
                <a:gd name="connsiteX5805" fmla="*/ 10610109 w 12117871"/>
                <a:gd name="connsiteY5805" fmla="*/ 1219803 h 6072780"/>
                <a:gd name="connsiteX5806" fmla="*/ 10626916 w 12117871"/>
                <a:gd name="connsiteY5806" fmla="*/ 1208700 h 6072780"/>
                <a:gd name="connsiteX5807" fmla="*/ 10475787 w 12117871"/>
                <a:gd name="connsiteY5807" fmla="*/ 1208700 h 6072780"/>
                <a:gd name="connsiteX5808" fmla="*/ 10490693 w 12117871"/>
                <a:gd name="connsiteY5808" fmla="*/ 1208700 h 6072780"/>
                <a:gd name="connsiteX5809" fmla="*/ 10490693 w 12117871"/>
                <a:gd name="connsiteY5809" fmla="*/ 1431679 h 6072780"/>
                <a:gd name="connsiteX5810" fmla="*/ 10455405 w 12117871"/>
                <a:gd name="connsiteY5810" fmla="*/ 1431679 h 6072780"/>
                <a:gd name="connsiteX5811" fmla="*/ 10455405 w 12117871"/>
                <a:gd name="connsiteY5811" fmla="*/ 1251896 h 6072780"/>
                <a:gd name="connsiteX5812" fmla="*/ 10434796 w 12117871"/>
                <a:gd name="connsiteY5812" fmla="*/ 1263531 h 6072780"/>
                <a:gd name="connsiteX5813" fmla="*/ 10409623 w 12117871"/>
                <a:gd name="connsiteY5813" fmla="*/ 1271973 h 6072780"/>
                <a:gd name="connsiteX5814" fmla="*/ 10409623 w 12117871"/>
                <a:gd name="connsiteY5814" fmla="*/ 1241857 h 6072780"/>
                <a:gd name="connsiteX5815" fmla="*/ 10426658 w 12117871"/>
                <a:gd name="connsiteY5815" fmla="*/ 1235773 h 6072780"/>
                <a:gd name="connsiteX5816" fmla="*/ 10442857 w 12117871"/>
                <a:gd name="connsiteY5816" fmla="*/ 1228624 h 6072780"/>
                <a:gd name="connsiteX5817" fmla="*/ 10458980 w 12117871"/>
                <a:gd name="connsiteY5817" fmla="*/ 1219803 h 6072780"/>
                <a:gd name="connsiteX5818" fmla="*/ 10475787 w 12117871"/>
                <a:gd name="connsiteY5818" fmla="*/ 1208700 h 6072780"/>
                <a:gd name="connsiteX5819" fmla="*/ 10175840 w 12117871"/>
                <a:gd name="connsiteY5819" fmla="*/ 1208700 h 6072780"/>
                <a:gd name="connsiteX5820" fmla="*/ 10190746 w 12117871"/>
                <a:gd name="connsiteY5820" fmla="*/ 1208700 h 6072780"/>
                <a:gd name="connsiteX5821" fmla="*/ 10190746 w 12117871"/>
                <a:gd name="connsiteY5821" fmla="*/ 1431679 h 6072780"/>
                <a:gd name="connsiteX5822" fmla="*/ 10155458 w 12117871"/>
                <a:gd name="connsiteY5822" fmla="*/ 1431679 h 6072780"/>
                <a:gd name="connsiteX5823" fmla="*/ 10155458 w 12117871"/>
                <a:gd name="connsiteY5823" fmla="*/ 1251896 h 6072780"/>
                <a:gd name="connsiteX5824" fmla="*/ 10134849 w 12117871"/>
                <a:gd name="connsiteY5824" fmla="*/ 1263531 h 6072780"/>
                <a:gd name="connsiteX5825" fmla="*/ 10109676 w 12117871"/>
                <a:gd name="connsiteY5825" fmla="*/ 1271973 h 6072780"/>
                <a:gd name="connsiteX5826" fmla="*/ 10109676 w 12117871"/>
                <a:gd name="connsiteY5826" fmla="*/ 1241857 h 6072780"/>
                <a:gd name="connsiteX5827" fmla="*/ 10126711 w 12117871"/>
                <a:gd name="connsiteY5827" fmla="*/ 1235773 h 6072780"/>
                <a:gd name="connsiteX5828" fmla="*/ 10142910 w 12117871"/>
                <a:gd name="connsiteY5828" fmla="*/ 1228624 h 6072780"/>
                <a:gd name="connsiteX5829" fmla="*/ 10159033 w 12117871"/>
                <a:gd name="connsiteY5829" fmla="*/ 1219803 h 6072780"/>
                <a:gd name="connsiteX5830" fmla="*/ 10175840 w 12117871"/>
                <a:gd name="connsiteY5830" fmla="*/ 1208700 h 6072780"/>
                <a:gd name="connsiteX5831" fmla="*/ 9790812 w 12117871"/>
                <a:gd name="connsiteY5831" fmla="*/ 1208700 h 6072780"/>
                <a:gd name="connsiteX5832" fmla="*/ 9805718 w 12117871"/>
                <a:gd name="connsiteY5832" fmla="*/ 1208700 h 6072780"/>
                <a:gd name="connsiteX5833" fmla="*/ 9805718 w 12117871"/>
                <a:gd name="connsiteY5833" fmla="*/ 1431679 h 6072780"/>
                <a:gd name="connsiteX5834" fmla="*/ 9770430 w 12117871"/>
                <a:gd name="connsiteY5834" fmla="*/ 1431679 h 6072780"/>
                <a:gd name="connsiteX5835" fmla="*/ 9770430 w 12117871"/>
                <a:gd name="connsiteY5835" fmla="*/ 1251896 h 6072780"/>
                <a:gd name="connsiteX5836" fmla="*/ 9749821 w 12117871"/>
                <a:gd name="connsiteY5836" fmla="*/ 1263531 h 6072780"/>
                <a:gd name="connsiteX5837" fmla="*/ 9724648 w 12117871"/>
                <a:gd name="connsiteY5837" fmla="*/ 1271973 h 6072780"/>
                <a:gd name="connsiteX5838" fmla="*/ 9724648 w 12117871"/>
                <a:gd name="connsiteY5838" fmla="*/ 1241857 h 6072780"/>
                <a:gd name="connsiteX5839" fmla="*/ 9741683 w 12117871"/>
                <a:gd name="connsiteY5839" fmla="*/ 1235773 h 6072780"/>
                <a:gd name="connsiteX5840" fmla="*/ 9757882 w 12117871"/>
                <a:gd name="connsiteY5840" fmla="*/ 1228624 h 6072780"/>
                <a:gd name="connsiteX5841" fmla="*/ 9774005 w 12117871"/>
                <a:gd name="connsiteY5841" fmla="*/ 1219803 h 6072780"/>
                <a:gd name="connsiteX5842" fmla="*/ 9790812 w 12117871"/>
                <a:gd name="connsiteY5842" fmla="*/ 1208700 h 6072780"/>
                <a:gd name="connsiteX5843" fmla="*/ 9639683 w 12117871"/>
                <a:gd name="connsiteY5843" fmla="*/ 1208700 h 6072780"/>
                <a:gd name="connsiteX5844" fmla="*/ 9654589 w 12117871"/>
                <a:gd name="connsiteY5844" fmla="*/ 1208700 h 6072780"/>
                <a:gd name="connsiteX5845" fmla="*/ 9654589 w 12117871"/>
                <a:gd name="connsiteY5845" fmla="*/ 1431679 h 6072780"/>
                <a:gd name="connsiteX5846" fmla="*/ 9619301 w 12117871"/>
                <a:gd name="connsiteY5846" fmla="*/ 1431679 h 6072780"/>
                <a:gd name="connsiteX5847" fmla="*/ 9619301 w 12117871"/>
                <a:gd name="connsiteY5847" fmla="*/ 1251896 h 6072780"/>
                <a:gd name="connsiteX5848" fmla="*/ 9598692 w 12117871"/>
                <a:gd name="connsiteY5848" fmla="*/ 1263531 h 6072780"/>
                <a:gd name="connsiteX5849" fmla="*/ 9573519 w 12117871"/>
                <a:gd name="connsiteY5849" fmla="*/ 1271973 h 6072780"/>
                <a:gd name="connsiteX5850" fmla="*/ 9573519 w 12117871"/>
                <a:gd name="connsiteY5850" fmla="*/ 1241857 h 6072780"/>
                <a:gd name="connsiteX5851" fmla="*/ 9590554 w 12117871"/>
                <a:gd name="connsiteY5851" fmla="*/ 1235773 h 6072780"/>
                <a:gd name="connsiteX5852" fmla="*/ 9606753 w 12117871"/>
                <a:gd name="connsiteY5852" fmla="*/ 1228624 h 6072780"/>
                <a:gd name="connsiteX5853" fmla="*/ 9622876 w 12117871"/>
                <a:gd name="connsiteY5853" fmla="*/ 1219803 h 6072780"/>
                <a:gd name="connsiteX5854" fmla="*/ 9639683 w 12117871"/>
                <a:gd name="connsiteY5854" fmla="*/ 1208700 h 6072780"/>
                <a:gd name="connsiteX5855" fmla="*/ 9489710 w 12117871"/>
                <a:gd name="connsiteY5855" fmla="*/ 1208700 h 6072780"/>
                <a:gd name="connsiteX5856" fmla="*/ 9504616 w 12117871"/>
                <a:gd name="connsiteY5856" fmla="*/ 1208700 h 6072780"/>
                <a:gd name="connsiteX5857" fmla="*/ 9504616 w 12117871"/>
                <a:gd name="connsiteY5857" fmla="*/ 1431679 h 6072780"/>
                <a:gd name="connsiteX5858" fmla="*/ 9469328 w 12117871"/>
                <a:gd name="connsiteY5858" fmla="*/ 1431679 h 6072780"/>
                <a:gd name="connsiteX5859" fmla="*/ 9469328 w 12117871"/>
                <a:gd name="connsiteY5859" fmla="*/ 1251896 h 6072780"/>
                <a:gd name="connsiteX5860" fmla="*/ 9448719 w 12117871"/>
                <a:gd name="connsiteY5860" fmla="*/ 1263531 h 6072780"/>
                <a:gd name="connsiteX5861" fmla="*/ 9423546 w 12117871"/>
                <a:gd name="connsiteY5861" fmla="*/ 1271973 h 6072780"/>
                <a:gd name="connsiteX5862" fmla="*/ 9423546 w 12117871"/>
                <a:gd name="connsiteY5862" fmla="*/ 1241857 h 6072780"/>
                <a:gd name="connsiteX5863" fmla="*/ 9440581 w 12117871"/>
                <a:gd name="connsiteY5863" fmla="*/ 1235773 h 6072780"/>
                <a:gd name="connsiteX5864" fmla="*/ 9456780 w 12117871"/>
                <a:gd name="connsiteY5864" fmla="*/ 1228624 h 6072780"/>
                <a:gd name="connsiteX5865" fmla="*/ 9472903 w 12117871"/>
                <a:gd name="connsiteY5865" fmla="*/ 1219803 h 6072780"/>
                <a:gd name="connsiteX5866" fmla="*/ 9489710 w 12117871"/>
                <a:gd name="connsiteY5866" fmla="*/ 1208700 h 6072780"/>
                <a:gd name="connsiteX5867" fmla="*/ 9339737 w 12117871"/>
                <a:gd name="connsiteY5867" fmla="*/ 1208700 h 6072780"/>
                <a:gd name="connsiteX5868" fmla="*/ 9354643 w 12117871"/>
                <a:gd name="connsiteY5868" fmla="*/ 1208700 h 6072780"/>
                <a:gd name="connsiteX5869" fmla="*/ 9354643 w 12117871"/>
                <a:gd name="connsiteY5869" fmla="*/ 1431679 h 6072780"/>
                <a:gd name="connsiteX5870" fmla="*/ 9319355 w 12117871"/>
                <a:gd name="connsiteY5870" fmla="*/ 1431679 h 6072780"/>
                <a:gd name="connsiteX5871" fmla="*/ 9319355 w 12117871"/>
                <a:gd name="connsiteY5871" fmla="*/ 1251896 h 6072780"/>
                <a:gd name="connsiteX5872" fmla="*/ 9298746 w 12117871"/>
                <a:gd name="connsiteY5872" fmla="*/ 1263531 h 6072780"/>
                <a:gd name="connsiteX5873" fmla="*/ 9273573 w 12117871"/>
                <a:gd name="connsiteY5873" fmla="*/ 1271973 h 6072780"/>
                <a:gd name="connsiteX5874" fmla="*/ 9273573 w 12117871"/>
                <a:gd name="connsiteY5874" fmla="*/ 1241857 h 6072780"/>
                <a:gd name="connsiteX5875" fmla="*/ 9290608 w 12117871"/>
                <a:gd name="connsiteY5875" fmla="*/ 1235773 h 6072780"/>
                <a:gd name="connsiteX5876" fmla="*/ 9306807 w 12117871"/>
                <a:gd name="connsiteY5876" fmla="*/ 1228624 h 6072780"/>
                <a:gd name="connsiteX5877" fmla="*/ 9322930 w 12117871"/>
                <a:gd name="connsiteY5877" fmla="*/ 1219803 h 6072780"/>
                <a:gd name="connsiteX5878" fmla="*/ 9339737 w 12117871"/>
                <a:gd name="connsiteY5878" fmla="*/ 1208700 h 6072780"/>
                <a:gd name="connsiteX5879" fmla="*/ 9139344 w 12117871"/>
                <a:gd name="connsiteY5879" fmla="*/ 1208700 h 6072780"/>
                <a:gd name="connsiteX5880" fmla="*/ 9210511 w 12117871"/>
                <a:gd name="connsiteY5880" fmla="*/ 1319287 h 6072780"/>
                <a:gd name="connsiteX5881" fmla="*/ 9190425 w 12117871"/>
                <a:gd name="connsiteY5881" fmla="*/ 1402866 h 6072780"/>
                <a:gd name="connsiteX5882" fmla="*/ 9134228 w 12117871"/>
                <a:gd name="connsiteY5882" fmla="*/ 1431679 h 6072780"/>
                <a:gd name="connsiteX5883" fmla="*/ 9081643 w 12117871"/>
                <a:gd name="connsiteY5883" fmla="*/ 1404145 h 6072780"/>
                <a:gd name="connsiteX5884" fmla="*/ 9062760 w 12117871"/>
                <a:gd name="connsiteY5884" fmla="*/ 1324553 h 6072780"/>
                <a:gd name="connsiteX5885" fmla="*/ 9082470 w 12117871"/>
                <a:gd name="connsiteY5885" fmla="*/ 1238039 h 6072780"/>
                <a:gd name="connsiteX5886" fmla="*/ 9139344 w 12117871"/>
                <a:gd name="connsiteY5886" fmla="*/ 1208700 h 6072780"/>
                <a:gd name="connsiteX5887" fmla="*/ 9008268 w 12117871"/>
                <a:gd name="connsiteY5887" fmla="*/ 1208700 h 6072780"/>
                <a:gd name="connsiteX5888" fmla="*/ 9023174 w 12117871"/>
                <a:gd name="connsiteY5888" fmla="*/ 1208700 h 6072780"/>
                <a:gd name="connsiteX5889" fmla="*/ 9023174 w 12117871"/>
                <a:gd name="connsiteY5889" fmla="*/ 1431679 h 6072780"/>
                <a:gd name="connsiteX5890" fmla="*/ 8987886 w 12117871"/>
                <a:gd name="connsiteY5890" fmla="*/ 1431679 h 6072780"/>
                <a:gd name="connsiteX5891" fmla="*/ 8987886 w 12117871"/>
                <a:gd name="connsiteY5891" fmla="*/ 1251896 h 6072780"/>
                <a:gd name="connsiteX5892" fmla="*/ 8967277 w 12117871"/>
                <a:gd name="connsiteY5892" fmla="*/ 1263531 h 6072780"/>
                <a:gd name="connsiteX5893" fmla="*/ 8942104 w 12117871"/>
                <a:gd name="connsiteY5893" fmla="*/ 1271973 h 6072780"/>
                <a:gd name="connsiteX5894" fmla="*/ 8942104 w 12117871"/>
                <a:gd name="connsiteY5894" fmla="*/ 1241857 h 6072780"/>
                <a:gd name="connsiteX5895" fmla="*/ 8959139 w 12117871"/>
                <a:gd name="connsiteY5895" fmla="*/ 1235773 h 6072780"/>
                <a:gd name="connsiteX5896" fmla="*/ 8975338 w 12117871"/>
                <a:gd name="connsiteY5896" fmla="*/ 1228624 h 6072780"/>
                <a:gd name="connsiteX5897" fmla="*/ 8991461 w 12117871"/>
                <a:gd name="connsiteY5897" fmla="*/ 1219803 h 6072780"/>
                <a:gd name="connsiteX5898" fmla="*/ 9008268 w 12117871"/>
                <a:gd name="connsiteY5898" fmla="*/ 1208700 h 6072780"/>
                <a:gd name="connsiteX5899" fmla="*/ 8797587 w 12117871"/>
                <a:gd name="connsiteY5899" fmla="*/ 1208700 h 6072780"/>
                <a:gd name="connsiteX5900" fmla="*/ 8868754 w 12117871"/>
                <a:gd name="connsiteY5900" fmla="*/ 1319287 h 6072780"/>
                <a:gd name="connsiteX5901" fmla="*/ 8848668 w 12117871"/>
                <a:gd name="connsiteY5901" fmla="*/ 1402866 h 6072780"/>
                <a:gd name="connsiteX5902" fmla="*/ 8792471 w 12117871"/>
                <a:gd name="connsiteY5902" fmla="*/ 1431679 h 6072780"/>
                <a:gd name="connsiteX5903" fmla="*/ 8739886 w 12117871"/>
                <a:gd name="connsiteY5903" fmla="*/ 1404145 h 6072780"/>
                <a:gd name="connsiteX5904" fmla="*/ 8721003 w 12117871"/>
                <a:gd name="connsiteY5904" fmla="*/ 1324553 h 6072780"/>
                <a:gd name="connsiteX5905" fmla="*/ 8740713 w 12117871"/>
                <a:gd name="connsiteY5905" fmla="*/ 1238039 h 6072780"/>
                <a:gd name="connsiteX5906" fmla="*/ 8797587 w 12117871"/>
                <a:gd name="connsiteY5906" fmla="*/ 1208700 h 6072780"/>
                <a:gd name="connsiteX5907" fmla="*/ 8096185 w 12117871"/>
                <a:gd name="connsiteY5907" fmla="*/ 1208700 h 6072780"/>
                <a:gd name="connsiteX5908" fmla="*/ 8167352 w 12117871"/>
                <a:gd name="connsiteY5908" fmla="*/ 1319287 h 6072780"/>
                <a:gd name="connsiteX5909" fmla="*/ 8147266 w 12117871"/>
                <a:gd name="connsiteY5909" fmla="*/ 1402866 h 6072780"/>
                <a:gd name="connsiteX5910" fmla="*/ 8091069 w 12117871"/>
                <a:gd name="connsiteY5910" fmla="*/ 1431679 h 6072780"/>
                <a:gd name="connsiteX5911" fmla="*/ 8038484 w 12117871"/>
                <a:gd name="connsiteY5911" fmla="*/ 1404145 h 6072780"/>
                <a:gd name="connsiteX5912" fmla="*/ 8019601 w 12117871"/>
                <a:gd name="connsiteY5912" fmla="*/ 1324553 h 6072780"/>
                <a:gd name="connsiteX5913" fmla="*/ 8039311 w 12117871"/>
                <a:gd name="connsiteY5913" fmla="*/ 1238039 h 6072780"/>
                <a:gd name="connsiteX5914" fmla="*/ 8096185 w 12117871"/>
                <a:gd name="connsiteY5914" fmla="*/ 1208700 h 6072780"/>
                <a:gd name="connsiteX5915" fmla="*/ 7717024 w 12117871"/>
                <a:gd name="connsiteY5915" fmla="*/ 1208700 h 6072780"/>
                <a:gd name="connsiteX5916" fmla="*/ 7731930 w 12117871"/>
                <a:gd name="connsiteY5916" fmla="*/ 1208700 h 6072780"/>
                <a:gd name="connsiteX5917" fmla="*/ 7731930 w 12117871"/>
                <a:gd name="connsiteY5917" fmla="*/ 1431679 h 6072780"/>
                <a:gd name="connsiteX5918" fmla="*/ 7696642 w 12117871"/>
                <a:gd name="connsiteY5918" fmla="*/ 1431679 h 6072780"/>
                <a:gd name="connsiteX5919" fmla="*/ 7696642 w 12117871"/>
                <a:gd name="connsiteY5919" fmla="*/ 1251896 h 6072780"/>
                <a:gd name="connsiteX5920" fmla="*/ 7676033 w 12117871"/>
                <a:gd name="connsiteY5920" fmla="*/ 1263531 h 6072780"/>
                <a:gd name="connsiteX5921" fmla="*/ 7650860 w 12117871"/>
                <a:gd name="connsiteY5921" fmla="*/ 1271973 h 6072780"/>
                <a:gd name="connsiteX5922" fmla="*/ 7650860 w 12117871"/>
                <a:gd name="connsiteY5922" fmla="*/ 1241857 h 6072780"/>
                <a:gd name="connsiteX5923" fmla="*/ 7667895 w 12117871"/>
                <a:gd name="connsiteY5923" fmla="*/ 1235773 h 6072780"/>
                <a:gd name="connsiteX5924" fmla="*/ 7684094 w 12117871"/>
                <a:gd name="connsiteY5924" fmla="*/ 1228624 h 6072780"/>
                <a:gd name="connsiteX5925" fmla="*/ 7700217 w 12117871"/>
                <a:gd name="connsiteY5925" fmla="*/ 1219803 h 6072780"/>
                <a:gd name="connsiteX5926" fmla="*/ 7717024 w 12117871"/>
                <a:gd name="connsiteY5926" fmla="*/ 1208700 h 6072780"/>
                <a:gd name="connsiteX5927" fmla="*/ 7355082 w 12117871"/>
                <a:gd name="connsiteY5927" fmla="*/ 1208700 h 6072780"/>
                <a:gd name="connsiteX5928" fmla="*/ 7369988 w 12117871"/>
                <a:gd name="connsiteY5928" fmla="*/ 1208700 h 6072780"/>
                <a:gd name="connsiteX5929" fmla="*/ 7369988 w 12117871"/>
                <a:gd name="connsiteY5929" fmla="*/ 1431679 h 6072780"/>
                <a:gd name="connsiteX5930" fmla="*/ 7334700 w 12117871"/>
                <a:gd name="connsiteY5930" fmla="*/ 1431679 h 6072780"/>
                <a:gd name="connsiteX5931" fmla="*/ 7334700 w 12117871"/>
                <a:gd name="connsiteY5931" fmla="*/ 1251896 h 6072780"/>
                <a:gd name="connsiteX5932" fmla="*/ 7314091 w 12117871"/>
                <a:gd name="connsiteY5932" fmla="*/ 1263531 h 6072780"/>
                <a:gd name="connsiteX5933" fmla="*/ 7288918 w 12117871"/>
                <a:gd name="connsiteY5933" fmla="*/ 1271973 h 6072780"/>
                <a:gd name="connsiteX5934" fmla="*/ 7288918 w 12117871"/>
                <a:gd name="connsiteY5934" fmla="*/ 1241857 h 6072780"/>
                <a:gd name="connsiteX5935" fmla="*/ 7305953 w 12117871"/>
                <a:gd name="connsiteY5935" fmla="*/ 1235773 h 6072780"/>
                <a:gd name="connsiteX5936" fmla="*/ 7322152 w 12117871"/>
                <a:gd name="connsiteY5936" fmla="*/ 1228624 h 6072780"/>
                <a:gd name="connsiteX5937" fmla="*/ 7338275 w 12117871"/>
                <a:gd name="connsiteY5937" fmla="*/ 1219803 h 6072780"/>
                <a:gd name="connsiteX5938" fmla="*/ 7355082 w 12117871"/>
                <a:gd name="connsiteY5938" fmla="*/ 1208700 h 6072780"/>
                <a:gd name="connsiteX5939" fmla="*/ 7055136 w 12117871"/>
                <a:gd name="connsiteY5939" fmla="*/ 1208700 h 6072780"/>
                <a:gd name="connsiteX5940" fmla="*/ 7070042 w 12117871"/>
                <a:gd name="connsiteY5940" fmla="*/ 1208700 h 6072780"/>
                <a:gd name="connsiteX5941" fmla="*/ 7070042 w 12117871"/>
                <a:gd name="connsiteY5941" fmla="*/ 1431679 h 6072780"/>
                <a:gd name="connsiteX5942" fmla="*/ 7034754 w 12117871"/>
                <a:gd name="connsiteY5942" fmla="*/ 1431679 h 6072780"/>
                <a:gd name="connsiteX5943" fmla="*/ 7034754 w 12117871"/>
                <a:gd name="connsiteY5943" fmla="*/ 1251896 h 6072780"/>
                <a:gd name="connsiteX5944" fmla="*/ 7014145 w 12117871"/>
                <a:gd name="connsiteY5944" fmla="*/ 1263531 h 6072780"/>
                <a:gd name="connsiteX5945" fmla="*/ 6988972 w 12117871"/>
                <a:gd name="connsiteY5945" fmla="*/ 1271973 h 6072780"/>
                <a:gd name="connsiteX5946" fmla="*/ 6988972 w 12117871"/>
                <a:gd name="connsiteY5946" fmla="*/ 1241857 h 6072780"/>
                <a:gd name="connsiteX5947" fmla="*/ 7006007 w 12117871"/>
                <a:gd name="connsiteY5947" fmla="*/ 1235773 h 6072780"/>
                <a:gd name="connsiteX5948" fmla="*/ 7022206 w 12117871"/>
                <a:gd name="connsiteY5948" fmla="*/ 1228624 h 6072780"/>
                <a:gd name="connsiteX5949" fmla="*/ 7038329 w 12117871"/>
                <a:gd name="connsiteY5949" fmla="*/ 1219803 h 6072780"/>
                <a:gd name="connsiteX5950" fmla="*/ 7055136 w 12117871"/>
                <a:gd name="connsiteY5950" fmla="*/ 1208700 h 6072780"/>
                <a:gd name="connsiteX5951" fmla="*/ 6837696 w 12117871"/>
                <a:gd name="connsiteY5951" fmla="*/ 1208700 h 6072780"/>
                <a:gd name="connsiteX5952" fmla="*/ 6908863 w 12117871"/>
                <a:gd name="connsiteY5952" fmla="*/ 1319287 h 6072780"/>
                <a:gd name="connsiteX5953" fmla="*/ 6888777 w 12117871"/>
                <a:gd name="connsiteY5953" fmla="*/ 1402866 h 6072780"/>
                <a:gd name="connsiteX5954" fmla="*/ 6832580 w 12117871"/>
                <a:gd name="connsiteY5954" fmla="*/ 1431679 h 6072780"/>
                <a:gd name="connsiteX5955" fmla="*/ 6779995 w 12117871"/>
                <a:gd name="connsiteY5955" fmla="*/ 1404145 h 6072780"/>
                <a:gd name="connsiteX5956" fmla="*/ 6761112 w 12117871"/>
                <a:gd name="connsiteY5956" fmla="*/ 1324553 h 6072780"/>
                <a:gd name="connsiteX5957" fmla="*/ 6780822 w 12117871"/>
                <a:gd name="connsiteY5957" fmla="*/ 1238039 h 6072780"/>
                <a:gd name="connsiteX5958" fmla="*/ 6837696 w 12117871"/>
                <a:gd name="connsiteY5958" fmla="*/ 1208700 h 6072780"/>
                <a:gd name="connsiteX5959" fmla="*/ 6624602 w 12117871"/>
                <a:gd name="connsiteY5959" fmla="*/ 1208700 h 6072780"/>
                <a:gd name="connsiteX5960" fmla="*/ 6695769 w 12117871"/>
                <a:gd name="connsiteY5960" fmla="*/ 1319287 h 6072780"/>
                <a:gd name="connsiteX5961" fmla="*/ 6675683 w 12117871"/>
                <a:gd name="connsiteY5961" fmla="*/ 1402866 h 6072780"/>
                <a:gd name="connsiteX5962" fmla="*/ 6619486 w 12117871"/>
                <a:gd name="connsiteY5962" fmla="*/ 1431679 h 6072780"/>
                <a:gd name="connsiteX5963" fmla="*/ 6566901 w 12117871"/>
                <a:gd name="connsiteY5963" fmla="*/ 1404145 h 6072780"/>
                <a:gd name="connsiteX5964" fmla="*/ 6548018 w 12117871"/>
                <a:gd name="connsiteY5964" fmla="*/ 1324553 h 6072780"/>
                <a:gd name="connsiteX5965" fmla="*/ 6567728 w 12117871"/>
                <a:gd name="connsiteY5965" fmla="*/ 1238039 h 6072780"/>
                <a:gd name="connsiteX5966" fmla="*/ 6624602 w 12117871"/>
                <a:gd name="connsiteY5966" fmla="*/ 1208700 h 6072780"/>
                <a:gd name="connsiteX5967" fmla="*/ 6463053 w 12117871"/>
                <a:gd name="connsiteY5967" fmla="*/ 1208700 h 6072780"/>
                <a:gd name="connsiteX5968" fmla="*/ 6477959 w 12117871"/>
                <a:gd name="connsiteY5968" fmla="*/ 1208700 h 6072780"/>
                <a:gd name="connsiteX5969" fmla="*/ 6477959 w 12117871"/>
                <a:gd name="connsiteY5969" fmla="*/ 1431679 h 6072780"/>
                <a:gd name="connsiteX5970" fmla="*/ 6442671 w 12117871"/>
                <a:gd name="connsiteY5970" fmla="*/ 1431679 h 6072780"/>
                <a:gd name="connsiteX5971" fmla="*/ 6442671 w 12117871"/>
                <a:gd name="connsiteY5971" fmla="*/ 1251896 h 6072780"/>
                <a:gd name="connsiteX5972" fmla="*/ 6422062 w 12117871"/>
                <a:gd name="connsiteY5972" fmla="*/ 1263531 h 6072780"/>
                <a:gd name="connsiteX5973" fmla="*/ 6396889 w 12117871"/>
                <a:gd name="connsiteY5973" fmla="*/ 1271973 h 6072780"/>
                <a:gd name="connsiteX5974" fmla="*/ 6396889 w 12117871"/>
                <a:gd name="connsiteY5974" fmla="*/ 1241857 h 6072780"/>
                <a:gd name="connsiteX5975" fmla="*/ 6413924 w 12117871"/>
                <a:gd name="connsiteY5975" fmla="*/ 1235773 h 6072780"/>
                <a:gd name="connsiteX5976" fmla="*/ 6430123 w 12117871"/>
                <a:gd name="connsiteY5976" fmla="*/ 1228624 h 6072780"/>
                <a:gd name="connsiteX5977" fmla="*/ 6446246 w 12117871"/>
                <a:gd name="connsiteY5977" fmla="*/ 1219803 h 6072780"/>
                <a:gd name="connsiteX5978" fmla="*/ 6463053 w 12117871"/>
                <a:gd name="connsiteY5978" fmla="*/ 1208700 h 6072780"/>
                <a:gd name="connsiteX5979" fmla="*/ 6163107 w 12117871"/>
                <a:gd name="connsiteY5979" fmla="*/ 1208700 h 6072780"/>
                <a:gd name="connsiteX5980" fmla="*/ 6178013 w 12117871"/>
                <a:gd name="connsiteY5980" fmla="*/ 1208700 h 6072780"/>
                <a:gd name="connsiteX5981" fmla="*/ 6178013 w 12117871"/>
                <a:gd name="connsiteY5981" fmla="*/ 1431679 h 6072780"/>
                <a:gd name="connsiteX5982" fmla="*/ 6142725 w 12117871"/>
                <a:gd name="connsiteY5982" fmla="*/ 1431679 h 6072780"/>
                <a:gd name="connsiteX5983" fmla="*/ 6142725 w 12117871"/>
                <a:gd name="connsiteY5983" fmla="*/ 1251896 h 6072780"/>
                <a:gd name="connsiteX5984" fmla="*/ 6122116 w 12117871"/>
                <a:gd name="connsiteY5984" fmla="*/ 1263531 h 6072780"/>
                <a:gd name="connsiteX5985" fmla="*/ 6096943 w 12117871"/>
                <a:gd name="connsiteY5985" fmla="*/ 1271973 h 6072780"/>
                <a:gd name="connsiteX5986" fmla="*/ 6096943 w 12117871"/>
                <a:gd name="connsiteY5986" fmla="*/ 1241857 h 6072780"/>
                <a:gd name="connsiteX5987" fmla="*/ 6113978 w 12117871"/>
                <a:gd name="connsiteY5987" fmla="*/ 1235773 h 6072780"/>
                <a:gd name="connsiteX5988" fmla="*/ 6130177 w 12117871"/>
                <a:gd name="connsiteY5988" fmla="*/ 1228624 h 6072780"/>
                <a:gd name="connsiteX5989" fmla="*/ 6146300 w 12117871"/>
                <a:gd name="connsiteY5989" fmla="*/ 1219803 h 6072780"/>
                <a:gd name="connsiteX5990" fmla="*/ 6163107 w 12117871"/>
                <a:gd name="connsiteY5990" fmla="*/ 1208700 h 6072780"/>
                <a:gd name="connsiteX5991" fmla="*/ 5979578 w 12117871"/>
                <a:gd name="connsiteY5991" fmla="*/ 1208700 h 6072780"/>
                <a:gd name="connsiteX5992" fmla="*/ 5994484 w 12117871"/>
                <a:gd name="connsiteY5992" fmla="*/ 1208700 h 6072780"/>
                <a:gd name="connsiteX5993" fmla="*/ 5994484 w 12117871"/>
                <a:gd name="connsiteY5993" fmla="*/ 1431679 h 6072780"/>
                <a:gd name="connsiteX5994" fmla="*/ 5959196 w 12117871"/>
                <a:gd name="connsiteY5994" fmla="*/ 1431679 h 6072780"/>
                <a:gd name="connsiteX5995" fmla="*/ 5959196 w 12117871"/>
                <a:gd name="connsiteY5995" fmla="*/ 1251896 h 6072780"/>
                <a:gd name="connsiteX5996" fmla="*/ 5938587 w 12117871"/>
                <a:gd name="connsiteY5996" fmla="*/ 1263531 h 6072780"/>
                <a:gd name="connsiteX5997" fmla="*/ 5913415 w 12117871"/>
                <a:gd name="connsiteY5997" fmla="*/ 1271973 h 6072780"/>
                <a:gd name="connsiteX5998" fmla="*/ 5913415 w 12117871"/>
                <a:gd name="connsiteY5998" fmla="*/ 1241857 h 6072780"/>
                <a:gd name="connsiteX5999" fmla="*/ 5930450 w 12117871"/>
                <a:gd name="connsiteY5999" fmla="*/ 1235773 h 6072780"/>
                <a:gd name="connsiteX6000" fmla="*/ 5946648 w 12117871"/>
                <a:gd name="connsiteY6000" fmla="*/ 1228624 h 6072780"/>
                <a:gd name="connsiteX6001" fmla="*/ 5962771 w 12117871"/>
                <a:gd name="connsiteY6001" fmla="*/ 1219803 h 6072780"/>
                <a:gd name="connsiteX6002" fmla="*/ 5979578 w 12117871"/>
                <a:gd name="connsiteY6002" fmla="*/ 1208700 h 6072780"/>
                <a:gd name="connsiteX6003" fmla="*/ 5611916 w 12117871"/>
                <a:gd name="connsiteY6003" fmla="*/ 1208700 h 6072780"/>
                <a:gd name="connsiteX6004" fmla="*/ 5626822 w 12117871"/>
                <a:gd name="connsiteY6004" fmla="*/ 1208700 h 6072780"/>
                <a:gd name="connsiteX6005" fmla="*/ 5626822 w 12117871"/>
                <a:gd name="connsiteY6005" fmla="*/ 1431679 h 6072780"/>
                <a:gd name="connsiteX6006" fmla="*/ 5591534 w 12117871"/>
                <a:gd name="connsiteY6006" fmla="*/ 1431679 h 6072780"/>
                <a:gd name="connsiteX6007" fmla="*/ 5591534 w 12117871"/>
                <a:gd name="connsiteY6007" fmla="*/ 1251896 h 6072780"/>
                <a:gd name="connsiteX6008" fmla="*/ 5570926 w 12117871"/>
                <a:gd name="connsiteY6008" fmla="*/ 1263531 h 6072780"/>
                <a:gd name="connsiteX6009" fmla="*/ 5545753 w 12117871"/>
                <a:gd name="connsiteY6009" fmla="*/ 1271973 h 6072780"/>
                <a:gd name="connsiteX6010" fmla="*/ 5545753 w 12117871"/>
                <a:gd name="connsiteY6010" fmla="*/ 1241857 h 6072780"/>
                <a:gd name="connsiteX6011" fmla="*/ 5562787 w 12117871"/>
                <a:gd name="connsiteY6011" fmla="*/ 1235773 h 6072780"/>
                <a:gd name="connsiteX6012" fmla="*/ 5578987 w 12117871"/>
                <a:gd name="connsiteY6012" fmla="*/ 1228624 h 6072780"/>
                <a:gd name="connsiteX6013" fmla="*/ 5595109 w 12117871"/>
                <a:gd name="connsiteY6013" fmla="*/ 1219803 h 6072780"/>
                <a:gd name="connsiteX6014" fmla="*/ 5611916 w 12117871"/>
                <a:gd name="connsiteY6014" fmla="*/ 1208700 h 6072780"/>
                <a:gd name="connsiteX6015" fmla="*/ 5461944 w 12117871"/>
                <a:gd name="connsiteY6015" fmla="*/ 1208700 h 6072780"/>
                <a:gd name="connsiteX6016" fmla="*/ 5476850 w 12117871"/>
                <a:gd name="connsiteY6016" fmla="*/ 1208700 h 6072780"/>
                <a:gd name="connsiteX6017" fmla="*/ 5476850 w 12117871"/>
                <a:gd name="connsiteY6017" fmla="*/ 1431679 h 6072780"/>
                <a:gd name="connsiteX6018" fmla="*/ 5441562 w 12117871"/>
                <a:gd name="connsiteY6018" fmla="*/ 1431679 h 6072780"/>
                <a:gd name="connsiteX6019" fmla="*/ 5441562 w 12117871"/>
                <a:gd name="connsiteY6019" fmla="*/ 1251896 h 6072780"/>
                <a:gd name="connsiteX6020" fmla="*/ 5420952 w 12117871"/>
                <a:gd name="connsiteY6020" fmla="*/ 1263531 h 6072780"/>
                <a:gd name="connsiteX6021" fmla="*/ 5395779 w 12117871"/>
                <a:gd name="connsiteY6021" fmla="*/ 1271973 h 6072780"/>
                <a:gd name="connsiteX6022" fmla="*/ 5395779 w 12117871"/>
                <a:gd name="connsiteY6022" fmla="*/ 1241857 h 6072780"/>
                <a:gd name="connsiteX6023" fmla="*/ 5412815 w 12117871"/>
                <a:gd name="connsiteY6023" fmla="*/ 1235773 h 6072780"/>
                <a:gd name="connsiteX6024" fmla="*/ 5429013 w 12117871"/>
                <a:gd name="connsiteY6024" fmla="*/ 1228624 h 6072780"/>
                <a:gd name="connsiteX6025" fmla="*/ 5445137 w 12117871"/>
                <a:gd name="connsiteY6025" fmla="*/ 1219803 h 6072780"/>
                <a:gd name="connsiteX6026" fmla="*/ 5461944 w 12117871"/>
                <a:gd name="connsiteY6026" fmla="*/ 1208700 h 6072780"/>
                <a:gd name="connsiteX6027" fmla="*/ 5311970 w 12117871"/>
                <a:gd name="connsiteY6027" fmla="*/ 1208700 h 6072780"/>
                <a:gd name="connsiteX6028" fmla="*/ 5326877 w 12117871"/>
                <a:gd name="connsiteY6028" fmla="*/ 1208700 h 6072780"/>
                <a:gd name="connsiteX6029" fmla="*/ 5326877 w 12117871"/>
                <a:gd name="connsiteY6029" fmla="*/ 1431679 h 6072780"/>
                <a:gd name="connsiteX6030" fmla="*/ 5291589 w 12117871"/>
                <a:gd name="connsiteY6030" fmla="*/ 1431679 h 6072780"/>
                <a:gd name="connsiteX6031" fmla="*/ 5291589 w 12117871"/>
                <a:gd name="connsiteY6031" fmla="*/ 1251896 h 6072780"/>
                <a:gd name="connsiteX6032" fmla="*/ 5270980 w 12117871"/>
                <a:gd name="connsiteY6032" fmla="*/ 1263531 h 6072780"/>
                <a:gd name="connsiteX6033" fmla="*/ 5245806 w 12117871"/>
                <a:gd name="connsiteY6033" fmla="*/ 1271973 h 6072780"/>
                <a:gd name="connsiteX6034" fmla="*/ 5245806 w 12117871"/>
                <a:gd name="connsiteY6034" fmla="*/ 1241857 h 6072780"/>
                <a:gd name="connsiteX6035" fmla="*/ 5262841 w 12117871"/>
                <a:gd name="connsiteY6035" fmla="*/ 1235773 h 6072780"/>
                <a:gd name="connsiteX6036" fmla="*/ 5279041 w 12117871"/>
                <a:gd name="connsiteY6036" fmla="*/ 1228624 h 6072780"/>
                <a:gd name="connsiteX6037" fmla="*/ 5295163 w 12117871"/>
                <a:gd name="connsiteY6037" fmla="*/ 1219803 h 6072780"/>
                <a:gd name="connsiteX6038" fmla="*/ 5311970 w 12117871"/>
                <a:gd name="connsiteY6038" fmla="*/ 1208700 h 6072780"/>
                <a:gd name="connsiteX6039" fmla="*/ 4563292 w 12117871"/>
                <a:gd name="connsiteY6039" fmla="*/ 1208700 h 6072780"/>
                <a:gd name="connsiteX6040" fmla="*/ 4578199 w 12117871"/>
                <a:gd name="connsiteY6040" fmla="*/ 1208700 h 6072780"/>
                <a:gd name="connsiteX6041" fmla="*/ 4578199 w 12117871"/>
                <a:gd name="connsiteY6041" fmla="*/ 1431679 h 6072780"/>
                <a:gd name="connsiteX6042" fmla="*/ 4542910 w 12117871"/>
                <a:gd name="connsiteY6042" fmla="*/ 1431679 h 6072780"/>
                <a:gd name="connsiteX6043" fmla="*/ 4542910 w 12117871"/>
                <a:gd name="connsiteY6043" fmla="*/ 1251896 h 6072780"/>
                <a:gd name="connsiteX6044" fmla="*/ 4522301 w 12117871"/>
                <a:gd name="connsiteY6044" fmla="*/ 1263531 h 6072780"/>
                <a:gd name="connsiteX6045" fmla="*/ 4497129 w 12117871"/>
                <a:gd name="connsiteY6045" fmla="*/ 1271973 h 6072780"/>
                <a:gd name="connsiteX6046" fmla="*/ 4497129 w 12117871"/>
                <a:gd name="connsiteY6046" fmla="*/ 1241857 h 6072780"/>
                <a:gd name="connsiteX6047" fmla="*/ 4514163 w 12117871"/>
                <a:gd name="connsiteY6047" fmla="*/ 1235773 h 6072780"/>
                <a:gd name="connsiteX6048" fmla="*/ 4530362 w 12117871"/>
                <a:gd name="connsiteY6048" fmla="*/ 1228624 h 6072780"/>
                <a:gd name="connsiteX6049" fmla="*/ 4546485 w 12117871"/>
                <a:gd name="connsiteY6049" fmla="*/ 1219803 h 6072780"/>
                <a:gd name="connsiteX6050" fmla="*/ 4563292 w 12117871"/>
                <a:gd name="connsiteY6050" fmla="*/ 1208700 h 6072780"/>
                <a:gd name="connsiteX6051" fmla="*/ 4413319 w 12117871"/>
                <a:gd name="connsiteY6051" fmla="*/ 1208700 h 6072780"/>
                <a:gd name="connsiteX6052" fmla="*/ 4428226 w 12117871"/>
                <a:gd name="connsiteY6052" fmla="*/ 1208700 h 6072780"/>
                <a:gd name="connsiteX6053" fmla="*/ 4428226 w 12117871"/>
                <a:gd name="connsiteY6053" fmla="*/ 1431679 h 6072780"/>
                <a:gd name="connsiteX6054" fmla="*/ 4392937 w 12117871"/>
                <a:gd name="connsiteY6054" fmla="*/ 1431679 h 6072780"/>
                <a:gd name="connsiteX6055" fmla="*/ 4392937 w 12117871"/>
                <a:gd name="connsiteY6055" fmla="*/ 1251896 h 6072780"/>
                <a:gd name="connsiteX6056" fmla="*/ 4372329 w 12117871"/>
                <a:gd name="connsiteY6056" fmla="*/ 1263531 h 6072780"/>
                <a:gd name="connsiteX6057" fmla="*/ 4347156 w 12117871"/>
                <a:gd name="connsiteY6057" fmla="*/ 1271973 h 6072780"/>
                <a:gd name="connsiteX6058" fmla="*/ 4347156 w 12117871"/>
                <a:gd name="connsiteY6058" fmla="*/ 1241857 h 6072780"/>
                <a:gd name="connsiteX6059" fmla="*/ 4364190 w 12117871"/>
                <a:gd name="connsiteY6059" fmla="*/ 1235773 h 6072780"/>
                <a:gd name="connsiteX6060" fmla="*/ 4380389 w 12117871"/>
                <a:gd name="connsiteY6060" fmla="*/ 1228624 h 6072780"/>
                <a:gd name="connsiteX6061" fmla="*/ 4396513 w 12117871"/>
                <a:gd name="connsiteY6061" fmla="*/ 1219803 h 6072780"/>
                <a:gd name="connsiteX6062" fmla="*/ 4413319 w 12117871"/>
                <a:gd name="connsiteY6062" fmla="*/ 1208700 h 6072780"/>
                <a:gd name="connsiteX6063" fmla="*/ 4113374 w 12117871"/>
                <a:gd name="connsiteY6063" fmla="*/ 1208700 h 6072780"/>
                <a:gd name="connsiteX6064" fmla="*/ 4128280 w 12117871"/>
                <a:gd name="connsiteY6064" fmla="*/ 1208700 h 6072780"/>
                <a:gd name="connsiteX6065" fmla="*/ 4128280 w 12117871"/>
                <a:gd name="connsiteY6065" fmla="*/ 1431679 h 6072780"/>
                <a:gd name="connsiteX6066" fmla="*/ 4092992 w 12117871"/>
                <a:gd name="connsiteY6066" fmla="*/ 1431679 h 6072780"/>
                <a:gd name="connsiteX6067" fmla="*/ 4092992 w 12117871"/>
                <a:gd name="connsiteY6067" fmla="*/ 1251896 h 6072780"/>
                <a:gd name="connsiteX6068" fmla="*/ 4072383 w 12117871"/>
                <a:gd name="connsiteY6068" fmla="*/ 1263531 h 6072780"/>
                <a:gd name="connsiteX6069" fmla="*/ 4047210 w 12117871"/>
                <a:gd name="connsiteY6069" fmla="*/ 1271973 h 6072780"/>
                <a:gd name="connsiteX6070" fmla="*/ 4047210 w 12117871"/>
                <a:gd name="connsiteY6070" fmla="*/ 1241857 h 6072780"/>
                <a:gd name="connsiteX6071" fmla="*/ 4064245 w 12117871"/>
                <a:gd name="connsiteY6071" fmla="*/ 1235773 h 6072780"/>
                <a:gd name="connsiteX6072" fmla="*/ 4080444 w 12117871"/>
                <a:gd name="connsiteY6072" fmla="*/ 1228624 h 6072780"/>
                <a:gd name="connsiteX6073" fmla="*/ 4096567 w 12117871"/>
                <a:gd name="connsiteY6073" fmla="*/ 1219803 h 6072780"/>
                <a:gd name="connsiteX6074" fmla="*/ 4113374 w 12117871"/>
                <a:gd name="connsiteY6074" fmla="*/ 1208700 h 6072780"/>
                <a:gd name="connsiteX6075" fmla="*/ 3732783 w 12117871"/>
                <a:gd name="connsiteY6075" fmla="*/ 1208700 h 6072780"/>
                <a:gd name="connsiteX6076" fmla="*/ 3747689 w 12117871"/>
                <a:gd name="connsiteY6076" fmla="*/ 1208700 h 6072780"/>
                <a:gd name="connsiteX6077" fmla="*/ 3747689 w 12117871"/>
                <a:gd name="connsiteY6077" fmla="*/ 1431679 h 6072780"/>
                <a:gd name="connsiteX6078" fmla="*/ 3712401 w 12117871"/>
                <a:gd name="connsiteY6078" fmla="*/ 1431679 h 6072780"/>
                <a:gd name="connsiteX6079" fmla="*/ 3712401 w 12117871"/>
                <a:gd name="connsiteY6079" fmla="*/ 1251896 h 6072780"/>
                <a:gd name="connsiteX6080" fmla="*/ 3691792 w 12117871"/>
                <a:gd name="connsiteY6080" fmla="*/ 1263531 h 6072780"/>
                <a:gd name="connsiteX6081" fmla="*/ 3666619 w 12117871"/>
                <a:gd name="connsiteY6081" fmla="*/ 1271973 h 6072780"/>
                <a:gd name="connsiteX6082" fmla="*/ 3666619 w 12117871"/>
                <a:gd name="connsiteY6082" fmla="*/ 1241857 h 6072780"/>
                <a:gd name="connsiteX6083" fmla="*/ 3683654 w 12117871"/>
                <a:gd name="connsiteY6083" fmla="*/ 1235773 h 6072780"/>
                <a:gd name="connsiteX6084" fmla="*/ 3699853 w 12117871"/>
                <a:gd name="connsiteY6084" fmla="*/ 1228624 h 6072780"/>
                <a:gd name="connsiteX6085" fmla="*/ 3715976 w 12117871"/>
                <a:gd name="connsiteY6085" fmla="*/ 1219803 h 6072780"/>
                <a:gd name="connsiteX6086" fmla="*/ 3732783 w 12117871"/>
                <a:gd name="connsiteY6086" fmla="*/ 1208700 h 6072780"/>
                <a:gd name="connsiteX6087" fmla="*/ 3582810 w 12117871"/>
                <a:gd name="connsiteY6087" fmla="*/ 1208700 h 6072780"/>
                <a:gd name="connsiteX6088" fmla="*/ 3597716 w 12117871"/>
                <a:gd name="connsiteY6088" fmla="*/ 1208700 h 6072780"/>
                <a:gd name="connsiteX6089" fmla="*/ 3597716 w 12117871"/>
                <a:gd name="connsiteY6089" fmla="*/ 1431679 h 6072780"/>
                <a:gd name="connsiteX6090" fmla="*/ 3562428 w 12117871"/>
                <a:gd name="connsiteY6090" fmla="*/ 1431679 h 6072780"/>
                <a:gd name="connsiteX6091" fmla="*/ 3562428 w 12117871"/>
                <a:gd name="connsiteY6091" fmla="*/ 1251896 h 6072780"/>
                <a:gd name="connsiteX6092" fmla="*/ 3541819 w 12117871"/>
                <a:gd name="connsiteY6092" fmla="*/ 1263531 h 6072780"/>
                <a:gd name="connsiteX6093" fmla="*/ 3516646 w 12117871"/>
                <a:gd name="connsiteY6093" fmla="*/ 1271973 h 6072780"/>
                <a:gd name="connsiteX6094" fmla="*/ 3516646 w 12117871"/>
                <a:gd name="connsiteY6094" fmla="*/ 1241857 h 6072780"/>
                <a:gd name="connsiteX6095" fmla="*/ 3533681 w 12117871"/>
                <a:gd name="connsiteY6095" fmla="*/ 1235773 h 6072780"/>
                <a:gd name="connsiteX6096" fmla="*/ 3549880 w 12117871"/>
                <a:gd name="connsiteY6096" fmla="*/ 1228624 h 6072780"/>
                <a:gd name="connsiteX6097" fmla="*/ 3566003 w 12117871"/>
                <a:gd name="connsiteY6097" fmla="*/ 1219803 h 6072780"/>
                <a:gd name="connsiteX6098" fmla="*/ 3582810 w 12117871"/>
                <a:gd name="connsiteY6098" fmla="*/ 1208700 h 6072780"/>
                <a:gd name="connsiteX6099" fmla="*/ 3432837 w 12117871"/>
                <a:gd name="connsiteY6099" fmla="*/ 1208700 h 6072780"/>
                <a:gd name="connsiteX6100" fmla="*/ 3447743 w 12117871"/>
                <a:gd name="connsiteY6100" fmla="*/ 1208700 h 6072780"/>
                <a:gd name="connsiteX6101" fmla="*/ 3447743 w 12117871"/>
                <a:gd name="connsiteY6101" fmla="*/ 1431679 h 6072780"/>
                <a:gd name="connsiteX6102" fmla="*/ 3412455 w 12117871"/>
                <a:gd name="connsiteY6102" fmla="*/ 1431679 h 6072780"/>
                <a:gd name="connsiteX6103" fmla="*/ 3412455 w 12117871"/>
                <a:gd name="connsiteY6103" fmla="*/ 1251896 h 6072780"/>
                <a:gd name="connsiteX6104" fmla="*/ 3391846 w 12117871"/>
                <a:gd name="connsiteY6104" fmla="*/ 1263531 h 6072780"/>
                <a:gd name="connsiteX6105" fmla="*/ 3366673 w 12117871"/>
                <a:gd name="connsiteY6105" fmla="*/ 1271973 h 6072780"/>
                <a:gd name="connsiteX6106" fmla="*/ 3366673 w 12117871"/>
                <a:gd name="connsiteY6106" fmla="*/ 1241857 h 6072780"/>
                <a:gd name="connsiteX6107" fmla="*/ 3383708 w 12117871"/>
                <a:gd name="connsiteY6107" fmla="*/ 1235773 h 6072780"/>
                <a:gd name="connsiteX6108" fmla="*/ 3399907 w 12117871"/>
                <a:gd name="connsiteY6108" fmla="*/ 1228624 h 6072780"/>
                <a:gd name="connsiteX6109" fmla="*/ 3416030 w 12117871"/>
                <a:gd name="connsiteY6109" fmla="*/ 1219803 h 6072780"/>
                <a:gd name="connsiteX6110" fmla="*/ 3432837 w 12117871"/>
                <a:gd name="connsiteY6110" fmla="*/ 1208700 h 6072780"/>
                <a:gd name="connsiteX6111" fmla="*/ 3282864 w 12117871"/>
                <a:gd name="connsiteY6111" fmla="*/ 1208700 h 6072780"/>
                <a:gd name="connsiteX6112" fmla="*/ 3297770 w 12117871"/>
                <a:gd name="connsiteY6112" fmla="*/ 1208700 h 6072780"/>
                <a:gd name="connsiteX6113" fmla="*/ 3297770 w 12117871"/>
                <a:gd name="connsiteY6113" fmla="*/ 1431679 h 6072780"/>
                <a:gd name="connsiteX6114" fmla="*/ 3262482 w 12117871"/>
                <a:gd name="connsiteY6114" fmla="*/ 1431679 h 6072780"/>
                <a:gd name="connsiteX6115" fmla="*/ 3262482 w 12117871"/>
                <a:gd name="connsiteY6115" fmla="*/ 1251896 h 6072780"/>
                <a:gd name="connsiteX6116" fmla="*/ 3241873 w 12117871"/>
                <a:gd name="connsiteY6116" fmla="*/ 1263531 h 6072780"/>
                <a:gd name="connsiteX6117" fmla="*/ 3216700 w 12117871"/>
                <a:gd name="connsiteY6117" fmla="*/ 1271973 h 6072780"/>
                <a:gd name="connsiteX6118" fmla="*/ 3216700 w 12117871"/>
                <a:gd name="connsiteY6118" fmla="*/ 1241857 h 6072780"/>
                <a:gd name="connsiteX6119" fmla="*/ 3233735 w 12117871"/>
                <a:gd name="connsiteY6119" fmla="*/ 1235773 h 6072780"/>
                <a:gd name="connsiteX6120" fmla="*/ 3249934 w 12117871"/>
                <a:gd name="connsiteY6120" fmla="*/ 1228624 h 6072780"/>
                <a:gd name="connsiteX6121" fmla="*/ 3266057 w 12117871"/>
                <a:gd name="connsiteY6121" fmla="*/ 1219803 h 6072780"/>
                <a:gd name="connsiteX6122" fmla="*/ 3282864 w 12117871"/>
                <a:gd name="connsiteY6122" fmla="*/ 1208700 h 6072780"/>
                <a:gd name="connsiteX6123" fmla="*/ 3078927 w 12117871"/>
                <a:gd name="connsiteY6123" fmla="*/ 1208700 h 6072780"/>
                <a:gd name="connsiteX6124" fmla="*/ 3150094 w 12117871"/>
                <a:gd name="connsiteY6124" fmla="*/ 1319287 h 6072780"/>
                <a:gd name="connsiteX6125" fmla="*/ 3130008 w 12117871"/>
                <a:gd name="connsiteY6125" fmla="*/ 1402866 h 6072780"/>
                <a:gd name="connsiteX6126" fmla="*/ 3073811 w 12117871"/>
                <a:gd name="connsiteY6126" fmla="*/ 1431679 h 6072780"/>
                <a:gd name="connsiteX6127" fmla="*/ 3021226 w 12117871"/>
                <a:gd name="connsiteY6127" fmla="*/ 1404145 h 6072780"/>
                <a:gd name="connsiteX6128" fmla="*/ 3002343 w 12117871"/>
                <a:gd name="connsiteY6128" fmla="*/ 1324553 h 6072780"/>
                <a:gd name="connsiteX6129" fmla="*/ 3022053 w 12117871"/>
                <a:gd name="connsiteY6129" fmla="*/ 1238039 h 6072780"/>
                <a:gd name="connsiteX6130" fmla="*/ 3078927 w 12117871"/>
                <a:gd name="connsiteY6130" fmla="*/ 1208700 h 6072780"/>
                <a:gd name="connsiteX6131" fmla="*/ 2948681 w 12117871"/>
                <a:gd name="connsiteY6131" fmla="*/ 1208700 h 6072780"/>
                <a:gd name="connsiteX6132" fmla="*/ 2963587 w 12117871"/>
                <a:gd name="connsiteY6132" fmla="*/ 1208700 h 6072780"/>
                <a:gd name="connsiteX6133" fmla="*/ 2963587 w 12117871"/>
                <a:gd name="connsiteY6133" fmla="*/ 1431679 h 6072780"/>
                <a:gd name="connsiteX6134" fmla="*/ 2928299 w 12117871"/>
                <a:gd name="connsiteY6134" fmla="*/ 1431679 h 6072780"/>
                <a:gd name="connsiteX6135" fmla="*/ 2928299 w 12117871"/>
                <a:gd name="connsiteY6135" fmla="*/ 1251896 h 6072780"/>
                <a:gd name="connsiteX6136" fmla="*/ 2907690 w 12117871"/>
                <a:gd name="connsiteY6136" fmla="*/ 1263531 h 6072780"/>
                <a:gd name="connsiteX6137" fmla="*/ 2882517 w 12117871"/>
                <a:gd name="connsiteY6137" fmla="*/ 1271973 h 6072780"/>
                <a:gd name="connsiteX6138" fmla="*/ 2882517 w 12117871"/>
                <a:gd name="connsiteY6138" fmla="*/ 1241857 h 6072780"/>
                <a:gd name="connsiteX6139" fmla="*/ 2899552 w 12117871"/>
                <a:gd name="connsiteY6139" fmla="*/ 1235773 h 6072780"/>
                <a:gd name="connsiteX6140" fmla="*/ 2915751 w 12117871"/>
                <a:gd name="connsiteY6140" fmla="*/ 1228624 h 6072780"/>
                <a:gd name="connsiteX6141" fmla="*/ 2931874 w 12117871"/>
                <a:gd name="connsiteY6141" fmla="*/ 1219803 h 6072780"/>
                <a:gd name="connsiteX6142" fmla="*/ 2948681 w 12117871"/>
                <a:gd name="connsiteY6142" fmla="*/ 1208700 h 6072780"/>
                <a:gd name="connsiteX6143" fmla="*/ 2732124 w 12117871"/>
                <a:gd name="connsiteY6143" fmla="*/ 1208700 h 6072780"/>
                <a:gd name="connsiteX6144" fmla="*/ 2803291 w 12117871"/>
                <a:gd name="connsiteY6144" fmla="*/ 1319287 h 6072780"/>
                <a:gd name="connsiteX6145" fmla="*/ 2783205 w 12117871"/>
                <a:gd name="connsiteY6145" fmla="*/ 1402866 h 6072780"/>
                <a:gd name="connsiteX6146" fmla="*/ 2727008 w 12117871"/>
                <a:gd name="connsiteY6146" fmla="*/ 1431679 h 6072780"/>
                <a:gd name="connsiteX6147" fmla="*/ 2674423 w 12117871"/>
                <a:gd name="connsiteY6147" fmla="*/ 1404145 h 6072780"/>
                <a:gd name="connsiteX6148" fmla="*/ 2655540 w 12117871"/>
                <a:gd name="connsiteY6148" fmla="*/ 1324553 h 6072780"/>
                <a:gd name="connsiteX6149" fmla="*/ 2675250 w 12117871"/>
                <a:gd name="connsiteY6149" fmla="*/ 1238039 h 6072780"/>
                <a:gd name="connsiteX6150" fmla="*/ 2732124 w 12117871"/>
                <a:gd name="connsiteY6150" fmla="*/ 1208700 h 6072780"/>
                <a:gd name="connsiteX6151" fmla="*/ 2040759 w 12117871"/>
                <a:gd name="connsiteY6151" fmla="*/ 1208700 h 6072780"/>
                <a:gd name="connsiteX6152" fmla="*/ 2111926 w 12117871"/>
                <a:gd name="connsiteY6152" fmla="*/ 1319287 h 6072780"/>
                <a:gd name="connsiteX6153" fmla="*/ 2091840 w 12117871"/>
                <a:gd name="connsiteY6153" fmla="*/ 1402866 h 6072780"/>
                <a:gd name="connsiteX6154" fmla="*/ 2035643 w 12117871"/>
                <a:gd name="connsiteY6154" fmla="*/ 1431679 h 6072780"/>
                <a:gd name="connsiteX6155" fmla="*/ 1983058 w 12117871"/>
                <a:gd name="connsiteY6155" fmla="*/ 1404145 h 6072780"/>
                <a:gd name="connsiteX6156" fmla="*/ 1964175 w 12117871"/>
                <a:gd name="connsiteY6156" fmla="*/ 1324553 h 6072780"/>
                <a:gd name="connsiteX6157" fmla="*/ 1983885 w 12117871"/>
                <a:gd name="connsiteY6157" fmla="*/ 1238039 h 6072780"/>
                <a:gd name="connsiteX6158" fmla="*/ 2040759 w 12117871"/>
                <a:gd name="connsiteY6158" fmla="*/ 1208700 h 6072780"/>
                <a:gd name="connsiteX6159" fmla="*/ 1668398 w 12117871"/>
                <a:gd name="connsiteY6159" fmla="*/ 1208700 h 6072780"/>
                <a:gd name="connsiteX6160" fmla="*/ 1683304 w 12117871"/>
                <a:gd name="connsiteY6160" fmla="*/ 1208700 h 6072780"/>
                <a:gd name="connsiteX6161" fmla="*/ 1683304 w 12117871"/>
                <a:gd name="connsiteY6161" fmla="*/ 1431679 h 6072780"/>
                <a:gd name="connsiteX6162" fmla="*/ 1648016 w 12117871"/>
                <a:gd name="connsiteY6162" fmla="*/ 1431679 h 6072780"/>
                <a:gd name="connsiteX6163" fmla="*/ 1648016 w 12117871"/>
                <a:gd name="connsiteY6163" fmla="*/ 1251896 h 6072780"/>
                <a:gd name="connsiteX6164" fmla="*/ 1627407 w 12117871"/>
                <a:gd name="connsiteY6164" fmla="*/ 1263531 h 6072780"/>
                <a:gd name="connsiteX6165" fmla="*/ 1602234 w 12117871"/>
                <a:gd name="connsiteY6165" fmla="*/ 1271973 h 6072780"/>
                <a:gd name="connsiteX6166" fmla="*/ 1602234 w 12117871"/>
                <a:gd name="connsiteY6166" fmla="*/ 1241857 h 6072780"/>
                <a:gd name="connsiteX6167" fmla="*/ 1619269 w 12117871"/>
                <a:gd name="connsiteY6167" fmla="*/ 1235773 h 6072780"/>
                <a:gd name="connsiteX6168" fmla="*/ 1635468 w 12117871"/>
                <a:gd name="connsiteY6168" fmla="*/ 1228624 h 6072780"/>
                <a:gd name="connsiteX6169" fmla="*/ 1651591 w 12117871"/>
                <a:gd name="connsiteY6169" fmla="*/ 1219803 h 6072780"/>
                <a:gd name="connsiteX6170" fmla="*/ 1668398 w 12117871"/>
                <a:gd name="connsiteY6170" fmla="*/ 1208700 h 6072780"/>
                <a:gd name="connsiteX6171" fmla="*/ 1291732 w 12117871"/>
                <a:gd name="connsiteY6171" fmla="*/ 1208700 h 6072780"/>
                <a:gd name="connsiteX6172" fmla="*/ 1306638 w 12117871"/>
                <a:gd name="connsiteY6172" fmla="*/ 1208700 h 6072780"/>
                <a:gd name="connsiteX6173" fmla="*/ 1306638 w 12117871"/>
                <a:gd name="connsiteY6173" fmla="*/ 1431679 h 6072780"/>
                <a:gd name="connsiteX6174" fmla="*/ 1271350 w 12117871"/>
                <a:gd name="connsiteY6174" fmla="*/ 1431679 h 6072780"/>
                <a:gd name="connsiteX6175" fmla="*/ 1271350 w 12117871"/>
                <a:gd name="connsiteY6175" fmla="*/ 1251896 h 6072780"/>
                <a:gd name="connsiteX6176" fmla="*/ 1250741 w 12117871"/>
                <a:gd name="connsiteY6176" fmla="*/ 1263531 h 6072780"/>
                <a:gd name="connsiteX6177" fmla="*/ 1225568 w 12117871"/>
                <a:gd name="connsiteY6177" fmla="*/ 1271973 h 6072780"/>
                <a:gd name="connsiteX6178" fmla="*/ 1225568 w 12117871"/>
                <a:gd name="connsiteY6178" fmla="*/ 1241857 h 6072780"/>
                <a:gd name="connsiteX6179" fmla="*/ 1242603 w 12117871"/>
                <a:gd name="connsiteY6179" fmla="*/ 1235773 h 6072780"/>
                <a:gd name="connsiteX6180" fmla="*/ 1258802 w 12117871"/>
                <a:gd name="connsiteY6180" fmla="*/ 1228624 h 6072780"/>
                <a:gd name="connsiteX6181" fmla="*/ 1274925 w 12117871"/>
                <a:gd name="connsiteY6181" fmla="*/ 1219803 h 6072780"/>
                <a:gd name="connsiteX6182" fmla="*/ 1291732 w 12117871"/>
                <a:gd name="connsiteY6182" fmla="*/ 1208700 h 6072780"/>
                <a:gd name="connsiteX6183" fmla="*/ 991786 w 12117871"/>
                <a:gd name="connsiteY6183" fmla="*/ 1208700 h 6072780"/>
                <a:gd name="connsiteX6184" fmla="*/ 1006692 w 12117871"/>
                <a:gd name="connsiteY6184" fmla="*/ 1208700 h 6072780"/>
                <a:gd name="connsiteX6185" fmla="*/ 1006692 w 12117871"/>
                <a:gd name="connsiteY6185" fmla="*/ 1431679 h 6072780"/>
                <a:gd name="connsiteX6186" fmla="*/ 971404 w 12117871"/>
                <a:gd name="connsiteY6186" fmla="*/ 1431679 h 6072780"/>
                <a:gd name="connsiteX6187" fmla="*/ 971404 w 12117871"/>
                <a:gd name="connsiteY6187" fmla="*/ 1251896 h 6072780"/>
                <a:gd name="connsiteX6188" fmla="*/ 950795 w 12117871"/>
                <a:gd name="connsiteY6188" fmla="*/ 1263531 h 6072780"/>
                <a:gd name="connsiteX6189" fmla="*/ 925622 w 12117871"/>
                <a:gd name="connsiteY6189" fmla="*/ 1271973 h 6072780"/>
                <a:gd name="connsiteX6190" fmla="*/ 925622 w 12117871"/>
                <a:gd name="connsiteY6190" fmla="*/ 1241857 h 6072780"/>
                <a:gd name="connsiteX6191" fmla="*/ 942657 w 12117871"/>
                <a:gd name="connsiteY6191" fmla="*/ 1235773 h 6072780"/>
                <a:gd name="connsiteX6192" fmla="*/ 958856 w 12117871"/>
                <a:gd name="connsiteY6192" fmla="*/ 1228624 h 6072780"/>
                <a:gd name="connsiteX6193" fmla="*/ 974979 w 12117871"/>
                <a:gd name="connsiteY6193" fmla="*/ 1219803 h 6072780"/>
                <a:gd name="connsiteX6194" fmla="*/ 991786 w 12117871"/>
                <a:gd name="connsiteY6194" fmla="*/ 1208700 h 6072780"/>
                <a:gd name="connsiteX6195" fmla="*/ 785552 w 12117871"/>
                <a:gd name="connsiteY6195" fmla="*/ 1208700 h 6072780"/>
                <a:gd name="connsiteX6196" fmla="*/ 856719 w 12117871"/>
                <a:gd name="connsiteY6196" fmla="*/ 1319287 h 6072780"/>
                <a:gd name="connsiteX6197" fmla="*/ 836633 w 12117871"/>
                <a:gd name="connsiteY6197" fmla="*/ 1402866 h 6072780"/>
                <a:gd name="connsiteX6198" fmla="*/ 780436 w 12117871"/>
                <a:gd name="connsiteY6198" fmla="*/ 1431679 h 6072780"/>
                <a:gd name="connsiteX6199" fmla="*/ 727851 w 12117871"/>
                <a:gd name="connsiteY6199" fmla="*/ 1404145 h 6072780"/>
                <a:gd name="connsiteX6200" fmla="*/ 708968 w 12117871"/>
                <a:gd name="connsiteY6200" fmla="*/ 1324553 h 6072780"/>
                <a:gd name="connsiteX6201" fmla="*/ 728678 w 12117871"/>
                <a:gd name="connsiteY6201" fmla="*/ 1238039 h 6072780"/>
                <a:gd name="connsiteX6202" fmla="*/ 785552 w 12117871"/>
                <a:gd name="connsiteY6202" fmla="*/ 1208700 h 6072780"/>
                <a:gd name="connsiteX6203" fmla="*/ 564952 w 12117871"/>
                <a:gd name="connsiteY6203" fmla="*/ 1208700 h 6072780"/>
                <a:gd name="connsiteX6204" fmla="*/ 636119 w 12117871"/>
                <a:gd name="connsiteY6204" fmla="*/ 1319287 h 6072780"/>
                <a:gd name="connsiteX6205" fmla="*/ 616033 w 12117871"/>
                <a:gd name="connsiteY6205" fmla="*/ 1402866 h 6072780"/>
                <a:gd name="connsiteX6206" fmla="*/ 559836 w 12117871"/>
                <a:gd name="connsiteY6206" fmla="*/ 1431679 h 6072780"/>
                <a:gd name="connsiteX6207" fmla="*/ 507251 w 12117871"/>
                <a:gd name="connsiteY6207" fmla="*/ 1404145 h 6072780"/>
                <a:gd name="connsiteX6208" fmla="*/ 488368 w 12117871"/>
                <a:gd name="connsiteY6208" fmla="*/ 1324553 h 6072780"/>
                <a:gd name="connsiteX6209" fmla="*/ 508078 w 12117871"/>
                <a:gd name="connsiteY6209" fmla="*/ 1238039 h 6072780"/>
                <a:gd name="connsiteX6210" fmla="*/ 564952 w 12117871"/>
                <a:gd name="connsiteY6210" fmla="*/ 1208700 h 6072780"/>
                <a:gd name="connsiteX6211" fmla="*/ 397790 w 12117871"/>
                <a:gd name="connsiteY6211" fmla="*/ 1208700 h 6072780"/>
                <a:gd name="connsiteX6212" fmla="*/ 412696 w 12117871"/>
                <a:gd name="connsiteY6212" fmla="*/ 1208700 h 6072780"/>
                <a:gd name="connsiteX6213" fmla="*/ 412696 w 12117871"/>
                <a:gd name="connsiteY6213" fmla="*/ 1431679 h 6072780"/>
                <a:gd name="connsiteX6214" fmla="*/ 377408 w 12117871"/>
                <a:gd name="connsiteY6214" fmla="*/ 1431679 h 6072780"/>
                <a:gd name="connsiteX6215" fmla="*/ 377408 w 12117871"/>
                <a:gd name="connsiteY6215" fmla="*/ 1251896 h 6072780"/>
                <a:gd name="connsiteX6216" fmla="*/ 356799 w 12117871"/>
                <a:gd name="connsiteY6216" fmla="*/ 1263531 h 6072780"/>
                <a:gd name="connsiteX6217" fmla="*/ 331626 w 12117871"/>
                <a:gd name="connsiteY6217" fmla="*/ 1271973 h 6072780"/>
                <a:gd name="connsiteX6218" fmla="*/ 331626 w 12117871"/>
                <a:gd name="connsiteY6218" fmla="*/ 1241857 h 6072780"/>
                <a:gd name="connsiteX6219" fmla="*/ 348661 w 12117871"/>
                <a:gd name="connsiteY6219" fmla="*/ 1235773 h 6072780"/>
                <a:gd name="connsiteX6220" fmla="*/ 364860 w 12117871"/>
                <a:gd name="connsiteY6220" fmla="*/ 1228624 h 6072780"/>
                <a:gd name="connsiteX6221" fmla="*/ 380983 w 12117871"/>
                <a:gd name="connsiteY6221" fmla="*/ 1219803 h 6072780"/>
                <a:gd name="connsiteX6222" fmla="*/ 397790 w 12117871"/>
                <a:gd name="connsiteY6222" fmla="*/ 1208700 h 6072780"/>
                <a:gd name="connsiteX6223" fmla="*/ 97844 w 12117871"/>
                <a:gd name="connsiteY6223" fmla="*/ 1208700 h 6072780"/>
                <a:gd name="connsiteX6224" fmla="*/ 112750 w 12117871"/>
                <a:gd name="connsiteY6224" fmla="*/ 1208700 h 6072780"/>
                <a:gd name="connsiteX6225" fmla="*/ 112750 w 12117871"/>
                <a:gd name="connsiteY6225" fmla="*/ 1431679 h 6072780"/>
                <a:gd name="connsiteX6226" fmla="*/ 77462 w 12117871"/>
                <a:gd name="connsiteY6226" fmla="*/ 1431679 h 6072780"/>
                <a:gd name="connsiteX6227" fmla="*/ 77462 w 12117871"/>
                <a:gd name="connsiteY6227" fmla="*/ 1251896 h 6072780"/>
                <a:gd name="connsiteX6228" fmla="*/ 56853 w 12117871"/>
                <a:gd name="connsiteY6228" fmla="*/ 1263531 h 6072780"/>
                <a:gd name="connsiteX6229" fmla="*/ 31680 w 12117871"/>
                <a:gd name="connsiteY6229" fmla="*/ 1271973 h 6072780"/>
                <a:gd name="connsiteX6230" fmla="*/ 31680 w 12117871"/>
                <a:gd name="connsiteY6230" fmla="*/ 1241857 h 6072780"/>
                <a:gd name="connsiteX6231" fmla="*/ 48715 w 12117871"/>
                <a:gd name="connsiteY6231" fmla="*/ 1235773 h 6072780"/>
                <a:gd name="connsiteX6232" fmla="*/ 64914 w 12117871"/>
                <a:gd name="connsiteY6232" fmla="*/ 1228624 h 6072780"/>
                <a:gd name="connsiteX6233" fmla="*/ 81037 w 12117871"/>
                <a:gd name="connsiteY6233" fmla="*/ 1219803 h 6072780"/>
                <a:gd name="connsiteX6234" fmla="*/ 97844 w 12117871"/>
                <a:gd name="connsiteY6234" fmla="*/ 1208700 h 6072780"/>
                <a:gd name="connsiteX6235" fmla="*/ 11990061 w 12117871"/>
                <a:gd name="connsiteY6235" fmla="*/ 942895 h 6072780"/>
                <a:gd name="connsiteX6236" fmla="*/ 11950791 w 12117871"/>
                <a:gd name="connsiteY6236" fmla="*/ 1029409 h 6072780"/>
                <a:gd name="connsiteX6237" fmla="*/ 11989309 w 12117871"/>
                <a:gd name="connsiteY6237" fmla="*/ 1110356 h 6072780"/>
                <a:gd name="connsiteX6238" fmla="*/ 12027224 w 12117871"/>
                <a:gd name="connsiteY6238" fmla="*/ 1028055 h 6072780"/>
                <a:gd name="connsiteX6239" fmla="*/ 11990061 w 12117871"/>
                <a:gd name="connsiteY6239" fmla="*/ 942895 h 6072780"/>
                <a:gd name="connsiteX6240" fmla="*/ 11773551 w 12117871"/>
                <a:gd name="connsiteY6240" fmla="*/ 942895 h 6072780"/>
                <a:gd name="connsiteX6241" fmla="*/ 11734281 w 12117871"/>
                <a:gd name="connsiteY6241" fmla="*/ 1029409 h 6072780"/>
                <a:gd name="connsiteX6242" fmla="*/ 11772799 w 12117871"/>
                <a:gd name="connsiteY6242" fmla="*/ 1110356 h 6072780"/>
                <a:gd name="connsiteX6243" fmla="*/ 11810714 w 12117871"/>
                <a:gd name="connsiteY6243" fmla="*/ 1028055 h 6072780"/>
                <a:gd name="connsiteX6244" fmla="*/ 11773551 w 12117871"/>
                <a:gd name="connsiteY6244" fmla="*/ 942895 h 6072780"/>
                <a:gd name="connsiteX6245" fmla="*/ 6978763 w 12117871"/>
                <a:gd name="connsiteY6245" fmla="*/ 942895 h 6072780"/>
                <a:gd name="connsiteX6246" fmla="*/ 6939493 w 12117871"/>
                <a:gd name="connsiteY6246" fmla="*/ 1029409 h 6072780"/>
                <a:gd name="connsiteX6247" fmla="*/ 6978011 w 12117871"/>
                <a:gd name="connsiteY6247" fmla="*/ 1110356 h 6072780"/>
                <a:gd name="connsiteX6248" fmla="*/ 7015926 w 12117871"/>
                <a:gd name="connsiteY6248" fmla="*/ 1028055 h 6072780"/>
                <a:gd name="connsiteX6249" fmla="*/ 6978763 w 12117871"/>
                <a:gd name="connsiteY6249" fmla="*/ 942895 h 6072780"/>
                <a:gd name="connsiteX6250" fmla="*/ 6762253 w 12117871"/>
                <a:gd name="connsiteY6250" fmla="*/ 942895 h 6072780"/>
                <a:gd name="connsiteX6251" fmla="*/ 6722983 w 12117871"/>
                <a:gd name="connsiteY6251" fmla="*/ 1029409 h 6072780"/>
                <a:gd name="connsiteX6252" fmla="*/ 6761501 w 12117871"/>
                <a:gd name="connsiteY6252" fmla="*/ 1110356 h 6072780"/>
                <a:gd name="connsiteX6253" fmla="*/ 6799416 w 12117871"/>
                <a:gd name="connsiteY6253" fmla="*/ 1028055 h 6072780"/>
                <a:gd name="connsiteX6254" fmla="*/ 6762253 w 12117871"/>
                <a:gd name="connsiteY6254" fmla="*/ 942895 h 6072780"/>
                <a:gd name="connsiteX6255" fmla="*/ 6144476 w 12117871"/>
                <a:gd name="connsiteY6255" fmla="*/ 942895 h 6072780"/>
                <a:gd name="connsiteX6256" fmla="*/ 6105206 w 12117871"/>
                <a:gd name="connsiteY6256" fmla="*/ 1029409 h 6072780"/>
                <a:gd name="connsiteX6257" fmla="*/ 6143724 w 12117871"/>
                <a:gd name="connsiteY6257" fmla="*/ 1110356 h 6072780"/>
                <a:gd name="connsiteX6258" fmla="*/ 6181639 w 12117871"/>
                <a:gd name="connsiteY6258" fmla="*/ 1028055 h 6072780"/>
                <a:gd name="connsiteX6259" fmla="*/ 6144476 w 12117871"/>
                <a:gd name="connsiteY6259" fmla="*/ 942895 h 6072780"/>
                <a:gd name="connsiteX6260" fmla="*/ 5927965 w 12117871"/>
                <a:gd name="connsiteY6260" fmla="*/ 942895 h 6072780"/>
                <a:gd name="connsiteX6261" fmla="*/ 5888696 w 12117871"/>
                <a:gd name="connsiteY6261" fmla="*/ 1029409 h 6072780"/>
                <a:gd name="connsiteX6262" fmla="*/ 5927213 w 12117871"/>
                <a:gd name="connsiteY6262" fmla="*/ 1110356 h 6072780"/>
                <a:gd name="connsiteX6263" fmla="*/ 5965130 w 12117871"/>
                <a:gd name="connsiteY6263" fmla="*/ 1028055 h 6072780"/>
                <a:gd name="connsiteX6264" fmla="*/ 5927965 w 12117871"/>
                <a:gd name="connsiteY6264" fmla="*/ 942895 h 6072780"/>
                <a:gd name="connsiteX6265" fmla="*/ 5703858 w 12117871"/>
                <a:gd name="connsiteY6265" fmla="*/ 942895 h 6072780"/>
                <a:gd name="connsiteX6266" fmla="*/ 5664590 w 12117871"/>
                <a:gd name="connsiteY6266" fmla="*/ 1029409 h 6072780"/>
                <a:gd name="connsiteX6267" fmla="*/ 5703106 w 12117871"/>
                <a:gd name="connsiteY6267" fmla="*/ 1110356 h 6072780"/>
                <a:gd name="connsiteX6268" fmla="*/ 5741022 w 12117871"/>
                <a:gd name="connsiteY6268" fmla="*/ 1028055 h 6072780"/>
                <a:gd name="connsiteX6269" fmla="*/ 5703858 w 12117871"/>
                <a:gd name="connsiteY6269" fmla="*/ 942895 h 6072780"/>
                <a:gd name="connsiteX6270" fmla="*/ 925881 w 12117871"/>
                <a:gd name="connsiteY6270" fmla="*/ 942895 h 6072780"/>
                <a:gd name="connsiteX6271" fmla="*/ 886611 w 12117871"/>
                <a:gd name="connsiteY6271" fmla="*/ 1029409 h 6072780"/>
                <a:gd name="connsiteX6272" fmla="*/ 925129 w 12117871"/>
                <a:gd name="connsiteY6272" fmla="*/ 1110356 h 6072780"/>
                <a:gd name="connsiteX6273" fmla="*/ 963044 w 12117871"/>
                <a:gd name="connsiteY6273" fmla="*/ 1028055 h 6072780"/>
                <a:gd name="connsiteX6274" fmla="*/ 925881 w 12117871"/>
                <a:gd name="connsiteY6274" fmla="*/ 942895 h 6072780"/>
                <a:gd name="connsiteX6275" fmla="*/ 709604 w 12117871"/>
                <a:gd name="connsiteY6275" fmla="*/ 942895 h 6072780"/>
                <a:gd name="connsiteX6276" fmla="*/ 670336 w 12117871"/>
                <a:gd name="connsiteY6276" fmla="*/ 1029409 h 6072780"/>
                <a:gd name="connsiteX6277" fmla="*/ 708853 w 12117871"/>
                <a:gd name="connsiteY6277" fmla="*/ 1110356 h 6072780"/>
                <a:gd name="connsiteX6278" fmla="*/ 746769 w 12117871"/>
                <a:gd name="connsiteY6278" fmla="*/ 1028055 h 6072780"/>
                <a:gd name="connsiteX6279" fmla="*/ 709604 w 12117871"/>
                <a:gd name="connsiteY6279" fmla="*/ 942895 h 6072780"/>
                <a:gd name="connsiteX6280" fmla="*/ 87999 w 12117871"/>
                <a:gd name="connsiteY6280" fmla="*/ 942895 h 6072780"/>
                <a:gd name="connsiteX6281" fmla="*/ 48728 w 12117871"/>
                <a:gd name="connsiteY6281" fmla="*/ 1029409 h 6072780"/>
                <a:gd name="connsiteX6282" fmla="*/ 87245 w 12117871"/>
                <a:gd name="connsiteY6282" fmla="*/ 1110356 h 6072780"/>
                <a:gd name="connsiteX6283" fmla="*/ 125161 w 12117871"/>
                <a:gd name="connsiteY6283" fmla="*/ 1028055 h 6072780"/>
                <a:gd name="connsiteX6284" fmla="*/ 87999 w 12117871"/>
                <a:gd name="connsiteY6284" fmla="*/ 942895 h 6072780"/>
                <a:gd name="connsiteX6285" fmla="*/ 11991716 w 12117871"/>
                <a:gd name="connsiteY6285" fmla="*/ 915060 h 6072780"/>
                <a:gd name="connsiteX6286" fmla="*/ 12062883 w 12117871"/>
                <a:gd name="connsiteY6286" fmla="*/ 1025647 h 6072780"/>
                <a:gd name="connsiteX6287" fmla="*/ 12042797 w 12117871"/>
                <a:gd name="connsiteY6287" fmla="*/ 1109227 h 6072780"/>
                <a:gd name="connsiteX6288" fmla="*/ 11986600 w 12117871"/>
                <a:gd name="connsiteY6288" fmla="*/ 1138040 h 6072780"/>
                <a:gd name="connsiteX6289" fmla="*/ 11934015 w 12117871"/>
                <a:gd name="connsiteY6289" fmla="*/ 1110506 h 6072780"/>
                <a:gd name="connsiteX6290" fmla="*/ 11915132 w 12117871"/>
                <a:gd name="connsiteY6290" fmla="*/ 1030914 h 6072780"/>
                <a:gd name="connsiteX6291" fmla="*/ 11934842 w 12117871"/>
                <a:gd name="connsiteY6291" fmla="*/ 944399 h 6072780"/>
                <a:gd name="connsiteX6292" fmla="*/ 11991716 w 12117871"/>
                <a:gd name="connsiteY6292" fmla="*/ 915060 h 6072780"/>
                <a:gd name="connsiteX6293" fmla="*/ 11775206 w 12117871"/>
                <a:gd name="connsiteY6293" fmla="*/ 915060 h 6072780"/>
                <a:gd name="connsiteX6294" fmla="*/ 11846373 w 12117871"/>
                <a:gd name="connsiteY6294" fmla="*/ 1025647 h 6072780"/>
                <a:gd name="connsiteX6295" fmla="*/ 11826287 w 12117871"/>
                <a:gd name="connsiteY6295" fmla="*/ 1109227 h 6072780"/>
                <a:gd name="connsiteX6296" fmla="*/ 11770090 w 12117871"/>
                <a:gd name="connsiteY6296" fmla="*/ 1138040 h 6072780"/>
                <a:gd name="connsiteX6297" fmla="*/ 11717505 w 12117871"/>
                <a:gd name="connsiteY6297" fmla="*/ 1110506 h 6072780"/>
                <a:gd name="connsiteX6298" fmla="*/ 11698622 w 12117871"/>
                <a:gd name="connsiteY6298" fmla="*/ 1030914 h 6072780"/>
                <a:gd name="connsiteX6299" fmla="*/ 11718332 w 12117871"/>
                <a:gd name="connsiteY6299" fmla="*/ 944399 h 6072780"/>
                <a:gd name="connsiteX6300" fmla="*/ 11775206 w 12117871"/>
                <a:gd name="connsiteY6300" fmla="*/ 915060 h 6072780"/>
                <a:gd name="connsiteX6301" fmla="*/ 11623651 w 12117871"/>
                <a:gd name="connsiteY6301" fmla="*/ 915060 h 6072780"/>
                <a:gd name="connsiteX6302" fmla="*/ 11638557 w 12117871"/>
                <a:gd name="connsiteY6302" fmla="*/ 915060 h 6072780"/>
                <a:gd name="connsiteX6303" fmla="*/ 11638557 w 12117871"/>
                <a:gd name="connsiteY6303" fmla="*/ 1138040 h 6072780"/>
                <a:gd name="connsiteX6304" fmla="*/ 11603269 w 12117871"/>
                <a:gd name="connsiteY6304" fmla="*/ 1138040 h 6072780"/>
                <a:gd name="connsiteX6305" fmla="*/ 11603269 w 12117871"/>
                <a:gd name="connsiteY6305" fmla="*/ 958257 h 6072780"/>
                <a:gd name="connsiteX6306" fmla="*/ 11582660 w 12117871"/>
                <a:gd name="connsiteY6306" fmla="*/ 969892 h 6072780"/>
                <a:gd name="connsiteX6307" fmla="*/ 11557487 w 12117871"/>
                <a:gd name="connsiteY6307" fmla="*/ 978334 h 6072780"/>
                <a:gd name="connsiteX6308" fmla="*/ 11557487 w 12117871"/>
                <a:gd name="connsiteY6308" fmla="*/ 948218 h 6072780"/>
                <a:gd name="connsiteX6309" fmla="*/ 11574522 w 12117871"/>
                <a:gd name="connsiteY6309" fmla="*/ 942134 h 6072780"/>
                <a:gd name="connsiteX6310" fmla="*/ 11590721 w 12117871"/>
                <a:gd name="connsiteY6310" fmla="*/ 934985 h 6072780"/>
                <a:gd name="connsiteX6311" fmla="*/ 11606844 w 12117871"/>
                <a:gd name="connsiteY6311" fmla="*/ 926163 h 6072780"/>
                <a:gd name="connsiteX6312" fmla="*/ 11623651 w 12117871"/>
                <a:gd name="connsiteY6312" fmla="*/ 915060 h 6072780"/>
                <a:gd name="connsiteX6313" fmla="*/ 11320876 w 12117871"/>
                <a:gd name="connsiteY6313" fmla="*/ 915060 h 6072780"/>
                <a:gd name="connsiteX6314" fmla="*/ 11335782 w 12117871"/>
                <a:gd name="connsiteY6314" fmla="*/ 915060 h 6072780"/>
                <a:gd name="connsiteX6315" fmla="*/ 11335782 w 12117871"/>
                <a:gd name="connsiteY6315" fmla="*/ 1138040 h 6072780"/>
                <a:gd name="connsiteX6316" fmla="*/ 11300494 w 12117871"/>
                <a:gd name="connsiteY6316" fmla="*/ 1138040 h 6072780"/>
                <a:gd name="connsiteX6317" fmla="*/ 11300494 w 12117871"/>
                <a:gd name="connsiteY6317" fmla="*/ 958257 h 6072780"/>
                <a:gd name="connsiteX6318" fmla="*/ 11279885 w 12117871"/>
                <a:gd name="connsiteY6318" fmla="*/ 969892 h 6072780"/>
                <a:gd name="connsiteX6319" fmla="*/ 11254712 w 12117871"/>
                <a:gd name="connsiteY6319" fmla="*/ 978334 h 6072780"/>
                <a:gd name="connsiteX6320" fmla="*/ 11254712 w 12117871"/>
                <a:gd name="connsiteY6320" fmla="*/ 948218 h 6072780"/>
                <a:gd name="connsiteX6321" fmla="*/ 11271747 w 12117871"/>
                <a:gd name="connsiteY6321" fmla="*/ 942134 h 6072780"/>
                <a:gd name="connsiteX6322" fmla="*/ 11287946 w 12117871"/>
                <a:gd name="connsiteY6322" fmla="*/ 934985 h 6072780"/>
                <a:gd name="connsiteX6323" fmla="*/ 11304069 w 12117871"/>
                <a:gd name="connsiteY6323" fmla="*/ 926163 h 6072780"/>
                <a:gd name="connsiteX6324" fmla="*/ 11320876 w 12117871"/>
                <a:gd name="connsiteY6324" fmla="*/ 915060 h 6072780"/>
                <a:gd name="connsiteX6325" fmla="*/ 10943712 w 12117871"/>
                <a:gd name="connsiteY6325" fmla="*/ 915060 h 6072780"/>
                <a:gd name="connsiteX6326" fmla="*/ 10958618 w 12117871"/>
                <a:gd name="connsiteY6326" fmla="*/ 915060 h 6072780"/>
                <a:gd name="connsiteX6327" fmla="*/ 10958618 w 12117871"/>
                <a:gd name="connsiteY6327" fmla="*/ 1138040 h 6072780"/>
                <a:gd name="connsiteX6328" fmla="*/ 10923330 w 12117871"/>
                <a:gd name="connsiteY6328" fmla="*/ 1138040 h 6072780"/>
                <a:gd name="connsiteX6329" fmla="*/ 10923330 w 12117871"/>
                <a:gd name="connsiteY6329" fmla="*/ 958257 h 6072780"/>
                <a:gd name="connsiteX6330" fmla="*/ 10902721 w 12117871"/>
                <a:gd name="connsiteY6330" fmla="*/ 969892 h 6072780"/>
                <a:gd name="connsiteX6331" fmla="*/ 10877548 w 12117871"/>
                <a:gd name="connsiteY6331" fmla="*/ 978334 h 6072780"/>
                <a:gd name="connsiteX6332" fmla="*/ 10877548 w 12117871"/>
                <a:gd name="connsiteY6332" fmla="*/ 948218 h 6072780"/>
                <a:gd name="connsiteX6333" fmla="*/ 10894583 w 12117871"/>
                <a:gd name="connsiteY6333" fmla="*/ 942134 h 6072780"/>
                <a:gd name="connsiteX6334" fmla="*/ 10910782 w 12117871"/>
                <a:gd name="connsiteY6334" fmla="*/ 934985 h 6072780"/>
                <a:gd name="connsiteX6335" fmla="*/ 10926905 w 12117871"/>
                <a:gd name="connsiteY6335" fmla="*/ 926163 h 6072780"/>
                <a:gd name="connsiteX6336" fmla="*/ 10943712 w 12117871"/>
                <a:gd name="connsiteY6336" fmla="*/ 915060 h 6072780"/>
                <a:gd name="connsiteX6337" fmla="*/ 10794855 w 12117871"/>
                <a:gd name="connsiteY6337" fmla="*/ 915060 h 6072780"/>
                <a:gd name="connsiteX6338" fmla="*/ 10809761 w 12117871"/>
                <a:gd name="connsiteY6338" fmla="*/ 915060 h 6072780"/>
                <a:gd name="connsiteX6339" fmla="*/ 10809761 w 12117871"/>
                <a:gd name="connsiteY6339" fmla="*/ 1138040 h 6072780"/>
                <a:gd name="connsiteX6340" fmla="*/ 10774473 w 12117871"/>
                <a:gd name="connsiteY6340" fmla="*/ 1138040 h 6072780"/>
                <a:gd name="connsiteX6341" fmla="*/ 10774473 w 12117871"/>
                <a:gd name="connsiteY6341" fmla="*/ 958257 h 6072780"/>
                <a:gd name="connsiteX6342" fmla="*/ 10753864 w 12117871"/>
                <a:gd name="connsiteY6342" fmla="*/ 969892 h 6072780"/>
                <a:gd name="connsiteX6343" fmla="*/ 10728691 w 12117871"/>
                <a:gd name="connsiteY6343" fmla="*/ 978334 h 6072780"/>
                <a:gd name="connsiteX6344" fmla="*/ 10728691 w 12117871"/>
                <a:gd name="connsiteY6344" fmla="*/ 948218 h 6072780"/>
                <a:gd name="connsiteX6345" fmla="*/ 10745726 w 12117871"/>
                <a:gd name="connsiteY6345" fmla="*/ 942134 h 6072780"/>
                <a:gd name="connsiteX6346" fmla="*/ 10761925 w 12117871"/>
                <a:gd name="connsiteY6346" fmla="*/ 934985 h 6072780"/>
                <a:gd name="connsiteX6347" fmla="*/ 10778048 w 12117871"/>
                <a:gd name="connsiteY6347" fmla="*/ 926163 h 6072780"/>
                <a:gd name="connsiteX6348" fmla="*/ 10794855 w 12117871"/>
                <a:gd name="connsiteY6348" fmla="*/ 915060 h 6072780"/>
                <a:gd name="connsiteX6349" fmla="*/ 10640937 w 12117871"/>
                <a:gd name="connsiteY6349" fmla="*/ 915060 h 6072780"/>
                <a:gd name="connsiteX6350" fmla="*/ 10655843 w 12117871"/>
                <a:gd name="connsiteY6350" fmla="*/ 915060 h 6072780"/>
                <a:gd name="connsiteX6351" fmla="*/ 10655843 w 12117871"/>
                <a:gd name="connsiteY6351" fmla="*/ 1138040 h 6072780"/>
                <a:gd name="connsiteX6352" fmla="*/ 10620555 w 12117871"/>
                <a:gd name="connsiteY6352" fmla="*/ 1138040 h 6072780"/>
                <a:gd name="connsiteX6353" fmla="*/ 10620555 w 12117871"/>
                <a:gd name="connsiteY6353" fmla="*/ 958257 h 6072780"/>
                <a:gd name="connsiteX6354" fmla="*/ 10599946 w 12117871"/>
                <a:gd name="connsiteY6354" fmla="*/ 969892 h 6072780"/>
                <a:gd name="connsiteX6355" fmla="*/ 10574773 w 12117871"/>
                <a:gd name="connsiteY6355" fmla="*/ 978334 h 6072780"/>
                <a:gd name="connsiteX6356" fmla="*/ 10574773 w 12117871"/>
                <a:gd name="connsiteY6356" fmla="*/ 948218 h 6072780"/>
                <a:gd name="connsiteX6357" fmla="*/ 10591808 w 12117871"/>
                <a:gd name="connsiteY6357" fmla="*/ 942134 h 6072780"/>
                <a:gd name="connsiteX6358" fmla="*/ 10608007 w 12117871"/>
                <a:gd name="connsiteY6358" fmla="*/ 934985 h 6072780"/>
                <a:gd name="connsiteX6359" fmla="*/ 10624130 w 12117871"/>
                <a:gd name="connsiteY6359" fmla="*/ 926163 h 6072780"/>
                <a:gd name="connsiteX6360" fmla="*/ 10640937 w 12117871"/>
                <a:gd name="connsiteY6360" fmla="*/ 915060 h 6072780"/>
                <a:gd name="connsiteX6361" fmla="*/ 10492080 w 12117871"/>
                <a:gd name="connsiteY6361" fmla="*/ 915060 h 6072780"/>
                <a:gd name="connsiteX6362" fmla="*/ 10506986 w 12117871"/>
                <a:gd name="connsiteY6362" fmla="*/ 915060 h 6072780"/>
                <a:gd name="connsiteX6363" fmla="*/ 10506986 w 12117871"/>
                <a:gd name="connsiteY6363" fmla="*/ 1138040 h 6072780"/>
                <a:gd name="connsiteX6364" fmla="*/ 10471698 w 12117871"/>
                <a:gd name="connsiteY6364" fmla="*/ 1138040 h 6072780"/>
                <a:gd name="connsiteX6365" fmla="*/ 10471698 w 12117871"/>
                <a:gd name="connsiteY6365" fmla="*/ 958257 h 6072780"/>
                <a:gd name="connsiteX6366" fmla="*/ 10451089 w 12117871"/>
                <a:gd name="connsiteY6366" fmla="*/ 969892 h 6072780"/>
                <a:gd name="connsiteX6367" fmla="*/ 10425916 w 12117871"/>
                <a:gd name="connsiteY6367" fmla="*/ 978334 h 6072780"/>
                <a:gd name="connsiteX6368" fmla="*/ 10425916 w 12117871"/>
                <a:gd name="connsiteY6368" fmla="*/ 948218 h 6072780"/>
                <a:gd name="connsiteX6369" fmla="*/ 10442951 w 12117871"/>
                <a:gd name="connsiteY6369" fmla="*/ 942134 h 6072780"/>
                <a:gd name="connsiteX6370" fmla="*/ 10459150 w 12117871"/>
                <a:gd name="connsiteY6370" fmla="*/ 934985 h 6072780"/>
                <a:gd name="connsiteX6371" fmla="*/ 10475273 w 12117871"/>
                <a:gd name="connsiteY6371" fmla="*/ 926163 h 6072780"/>
                <a:gd name="connsiteX6372" fmla="*/ 10492080 w 12117871"/>
                <a:gd name="connsiteY6372" fmla="*/ 915060 h 6072780"/>
                <a:gd name="connsiteX6373" fmla="*/ 9770689 w 12117871"/>
                <a:gd name="connsiteY6373" fmla="*/ 915060 h 6072780"/>
                <a:gd name="connsiteX6374" fmla="*/ 9785595 w 12117871"/>
                <a:gd name="connsiteY6374" fmla="*/ 915060 h 6072780"/>
                <a:gd name="connsiteX6375" fmla="*/ 9785595 w 12117871"/>
                <a:gd name="connsiteY6375" fmla="*/ 1138040 h 6072780"/>
                <a:gd name="connsiteX6376" fmla="*/ 9750307 w 12117871"/>
                <a:gd name="connsiteY6376" fmla="*/ 1138040 h 6072780"/>
                <a:gd name="connsiteX6377" fmla="*/ 9750307 w 12117871"/>
                <a:gd name="connsiteY6377" fmla="*/ 958257 h 6072780"/>
                <a:gd name="connsiteX6378" fmla="*/ 9729698 w 12117871"/>
                <a:gd name="connsiteY6378" fmla="*/ 969892 h 6072780"/>
                <a:gd name="connsiteX6379" fmla="*/ 9704525 w 12117871"/>
                <a:gd name="connsiteY6379" fmla="*/ 978334 h 6072780"/>
                <a:gd name="connsiteX6380" fmla="*/ 9704525 w 12117871"/>
                <a:gd name="connsiteY6380" fmla="*/ 948218 h 6072780"/>
                <a:gd name="connsiteX6381" fmla="*/ 9721560 w 12117871"/>
                <a:gd name="connsiteY6381" fmla="*/ 942134 h 6072780"/>
                <a:gd name="connsiteX6382" fmla="*/ 9737759 w 12117871"/>
                <a:gd name="connsiteY6382" fmla="*/ 934985 h 6072780"/>
                <a:gd name="connsiteX6383" fmla="*/ 9753882 w 12117871"/>
                <a:gd name="connsiteY6383" fmla="*/ 926163 h 6072780"/>
                <a:gd name="connsiteX6384" fmla="*/ 9770689 w 12117871"/>
                <a:gd name="connsiteY6384" fmla="*/ 915060 h 6072780"/>
                <a:gd name="connsiteX6385" fmla="*/ 9621832 w 12117871"/>
                <a:gd name="connsiteY6385" fmla="*/ 915060 h 6072780"/>
                <a:gd name="connsiteX6386" fmla="*/ 9636738 w 12117871"/>
                <a:gd name="connsiteY6386" fmla="*/ 915060 h 6072780"/>
                <a:gd name="connsiteX6387" fmla="*/ 9636738 w 12117871"/>
                <a:gd name="connsiteY6387" fmla="*/ 1138040 h 6072780"/>
                <a:gd name="connsiteX6388" fmla="*/ 9601450 w 12117871"/>
                <a:gd name="connsiteY6388" fmla="*/ 1138040 h 6072780"/>
                <a:gd name="connsiteX6389" fmla="*/ 9601450 w 12117871"/>
                <a:gd name="connsiteY6389" fmla="*/ 958257 h 6072780"/>
                <a:gd name="connsiteX6390" fmla="*/ 9580841 w 12117871"/>
                <a:gd name="connsiteY6390" fmla="*/ 969892 h 6072780"/>
                <a:gd name="connsiteX6391" fmla="*/ 9555668 w 12117871"/>
                <a:gd name="connsiteY6391" fmla="*/ 978334 h 6072780"/>
                <a:gd name="connsiteX6392" fmla="*/ 9555668 w 12117871"/>
                <a:gd name="connsiteY6392" fmla="*/ 948218 h 6072780"/>
                <a:gd name="connsiteX6393" fmla="*/ 9572703 w 12117871"/>
                <a:gd name="connsiteY6393" fmla="*/ 942134 h 6072780"/>
                <a:gd name="connsiteX6394" fmla="*/ 9588902 w 12117871"/>
                <a:gd name="connsiteY6394" fmla="*/ 934985 h 6072780"/>
                <a:gd name="connsiteX6395" fmla="*/ 9605025 w 12117871"/>
                <a:gd name="connsiteY6395" fmla="*/ 926163 h 6072780"/>
                <a:gd name="connsiteX6396" fmla="*/ 9621832 w 12117871"/>
                <a:gd name="connsiteY6396" fmla="*/ 915060 h 6072780"/>
                <a:gd name="connsiteX6397" fmla="*/ 8818727 w 12117871"/>
                <a:gd name="connsiteY6397" fmla="*/ 915060 h 6072780"/>
                <a:gd name="connsiteX6398" fmla="*/ 8833633 w 12117871"/>
                <a:gd name="connsiteY6398" fmla="*/ 915060 h 6072780"/>
                <a:gd name="connsiteX6399" fmla="*/ 8833633 w 12117871"/>
                <a:gd name="connsiteY6399" fmla="*/ 1138040 h 6072780"/>
                <a:gd name="connsiteX6400" fmla="*/ 8798345 w 12117871"/>
                <a:gd name="connsiteY6400" fmla="*/ 1138040 h 6072780"/>
                <a:gd name="connsiteX6401" fmla="*/ 8798345 w 12117871"/>
                <a:gd name="connsiteY6401" fmla="*/ 958257 h 6072780"/>
                <a:gd name="connsiteX6402" fmla="*/ 8777736 w 12117871"/>
                <a:gd name="connsiteY6402" fmla="*/ 969892 h 6072780"/>
                <a:gd name="connsiteX6403" fmla="*/ 8752563 w 12117871"/>
                <a:gd name="connsiteY6403" fmla="*/ 978334 h 6072780"/>
                <a:gd name="connsiteX6404" fmla="*/ 8752563 w 12117871"/>
                <a:gd name="connsiteY6404" fmla="*/ 948218 h 6072780"/>
                <a:gd name="connsiteX6405" fmla="*/ 8769598 w 12117871"/>
                <a:gd name="connsiteY6405" fmla="*/ 942134 h 6072780"/>
                <a:gd name="connsiteX6406" fmla="*/ 8785797 w 12117871"/>
                <a:gd name="connsiteY6406" fmla="*/ 934985 h 6072780"/>
                <a:gd name="connsiteX6407" fmla="*/ 8801920 w 12117871"/>
                <a:gd name="connsiteY6407" fmla="*/ 926163 h 6072780"/>
                <a:gd name="connsiteX6408" fmla="*/ 8818727 w 12117871"/>
                <a:gd name="connsiteY6408" fmla="*/ 915060 h 6072780"/>
                <a:gd name="connsiteX6409" fmla="*/ 8440120 w 12117871"/>
                <a:gd name="connsiteY6409" fmla="*/ 915060 h 6072780"/>
                <a:gd name="connsiteX6410" fmla="*/ 8455026 w 12117871"/>
                <a:gd name="connsiteY6410" fmla="*/ 915060 h 6072780"/>
                <a:gd name="connsiteX6411" fmla="*/ 8455026 w 12117871"/>
                <a:gd name="connsiteY6411" fmla="*/ 1138040 h 6072780"/>
                <a:gd name="connsiteX6412" fmla="*/ 8419738 w 12117871"/>
                <a:gd name="connsiteY6412" fmla="*/ 1138040 h 6072780"/>
                <a:gd name="connsiteX6413" fmla="*/ 8419738 w 12117871"/>
                <a:gd name="connsiteY6413" fmla="*/ 958257 h 6072780"/>
                <a:gd name="connsiteX6414" fmla="*/ 8399129 w 12117871"/>
                <a:gd name="connsiteY6414" fmla="*/ 969892 h 6072780"/>
                <a:gd name="connsiteX6415" fmla="*/ 8373956 w 12117871"/>
                <a:gd name="connsiteY6415" fmla="*/ 978334 h 6072780"/>
                <a:gd name="connsiteX6416" fmla="*/ 8373956 w 12117871"/>
                <a:gd name="connsiteY6416" fmla="*/ 948218 h 6072780"/>
                <a:gd name="connsiteX6417" fmla="*/ 8390991 w 12117871"/>
                <a:gd name="connsiteY6417" fmla="*/ 942134 h 6072780"/>
                <a:gd name="connsiteX6418" fmla="*/ 8407190 w 12117871"/>
                <a:gd name="connsiteY6418" fmla="*/ 934985 h 6072780"/>
                <a:gd name="connsiteX6419" fmla="*/ 8423313 w 12117871"/>
                <a:gd name="connsiteY6419" fmla="*/ 926163 h 6072780"/>
                <a:gd name="connsiteX6420" fmla="*/ 8440120 w 12117871"/>
                <a:gd name="connsiteY6420" fmla="*/ 915060 h 6072780"/>
                <a:gd name="connsiteX6421" fmla="*/ 8291263 w 12117871"/>
                <a:gd name="connsiteY6421" fmla="*/ 915060 h 6072780"/>
                <a:gd name="connsiteX6422" fmla="*/ 8306169 w 12117871"/>
                <a:gd name="connsiteY6422" fmla="*/ 915060 h 6072780"/>
                <a:gd name="connsiteX6423" fmla="*/ 8306169 w 12117871"/>
                <a:gd name="connsiteY6423" fmla="*/ 1138040 h 6072780"/>
                <a:gd name="connsiteX6424" fmla="*/ 8270881 w 12117871"/>
                <a:gd name="connsiteY6424" fmla="*/ 1138040 h 6072780"/>
                <a:gd name="connsiteX6425" fmla="*/ 8270881 w 12117871"/>
                <a:gd name="connsiteY6425" fmla="*/ 958257 h 6072780"/>
                <a:gd name="connsiteX6426" fmla="*/ 8250272 w 12117871"/>
                <a:gd name="connsiteY6426" fmla="*/ 969892 h 6072780"/>
                <a:gd name="connsiteX6427" fmla="*/ 8225099 w 12117871"/>
                <a:gd name="connsiteY6427" fmla="*/ 978334 h 6072780"/>
                <a:gd name="connsiteX6428" fmla="*/ 8225099 w 12117871"/>
                <a:gd name="connsiteY6428" fmla="*/ 948218 h 6072780"/>
                <a:gd name="connsiteX6429" fmla="*/ 8242134 w 12117871"/>
                <a:gd name="connsiteY6429" fmla="*/ 942134 h 6072780"/>
                <a:gd name="connsiteX6430" fmla="*/ 8258333 w 12117871"/>
                <a:gd name="connsiteY6430" fmla="*/ 934985 h 6072780"/>
                <a:gd name="connsiteX6431" fmla="*/ 8274456 w 12117871"/>
                <a:gd name="connsiteY6431" fmla="*/ 926163 h 6072780"/>
                <a:gd name="connsiteX6432" fmla="*/ 8291263 w 12117871"/>
                <a:gd name="connsiteY6432" fmla="*/ 915060 h 6072780"/>
                <a:gd name="connsiteX6433" fmla="*/ 8137345 w 12117871"/>
                <a:gd name="connsiteY6433" fmla="*/ 915060 h 6072780"/>
                <a:gd name="connsiteX6434" fmla="*/ 8152251 w 12117871"/>
                <a:gd name="connsiteY6434" fmla="*/ 915060 h 6072780"/>
                <a:gd name="connsiteX6435" fmla="*/ 8152251 w 12117871"/>
                <a:gd name="connsiteY6435" fmla="*/ 1138040 h 6072780"/>
                <a:gd name="connsiteX6436" fmla="*/ 8116963 w 12117871"/>
                <a:gd name="connsiteY6436" fmla="*/ 1138040 h 6072780"/>
                <a:gd name="connsiteX6437" fmla="*/ 8116963 w 12117871"/>
                <a:gd name="connsiteY6437" fmla="*/ 958257 h 6072780"/>
                <a:gd name="connsiteX6438" fmla="*/ 8096354 w 12117871"/>
                <a:gd name="connsiteY6438" fmla="*/ 969892 h 6072780"/>
                <a:gd name="connsiteX6439" fmla="*/ 8071181 w 12117871"/>
                <a:gd name="connsiteY6439" fmla="*/ 978334 h 6072780"/>
                <a:gd name="connsiteX6440" fmla="*/ 8071181 w 12117871"/>
                <a:gd name="connsiteY6440" fmla="*/ 948218 h 6072780"/>
                <a:gd name="connsiteX6441" fmla="*/ 8088216 w 12117871"/>
                <a:gd name="connsiteY6441" fmla="*/ 942134 h 6072780"/>
                <a:gd name="connsiteX6442" fmla="*/ 8104415 w 12117871"/>
                <a:gd name="connsiteY6442" fmla="*/ 934985 h 6072780"/>
                <a:gd name="connsiteX6443" fmla="*/ 8120538 w 12117871"/>
                <a:gd name="connsiteY6443" fmla="*/ 926163 h 6072780"/>
                <a:gd name="connsiteX6444" fmla="*/ 8137345 w 12117871"/>
                <a:gd name="connsiteY6444" fmla="*/ 915060 h 6072780"/>
                <a:gd name="connsiteX6445" fmla="*/ 7988488 w 12117871"/>
                <a:gd name="connsiteY6445" fmla="*/ 915060 h 6072780"/>
                <a:gd name="connsiteX6446" fmla="*/ 8003394 w 12117871"/>
                <a:gd name="connsiteY6446" fmla="*/ 915060 h 6072780"/>
                <a:gd name="connsiteX6447" fmla="*/ 8003394 w 12117871"/>
                <a:gd name="connsiteY6447" fmla="*/ 1138040 h 6072780"/>
                <a:gd name="connsiteX6448" fmla="*/ 7968106 w 12117871"/>
                <a:gd name="connsiteY6448" fmla="*/ 1138040 h 6072780"/>
                <a:gd name="connsiteX6449" fmla="*/ 7968106 w 12117871"/>
                <a:gd name="connsiteY6449" fmla="*/ 958257 h 6072780"/>
                <a:gd name="connsiteX6450" fmla="*/ 7947497 w 12117871"/>
                <a:gd name="connsiteY6450" fmla="*/ 969892 h 6072780"/>
                <a:gd name="connsiteX6451" fmla="*/ 7922324 w 12117871"/>
                <a:gd name="connsiteY6451" fmla="*/ 978334 h 6072780"/>
                <a:gd name="connsiteX6452" fmla="*/ 7922324 w 12117871"/>
                <a:gd name="connsiteY6452" fmla="*/ 948218 h 6072780"/>
                <a:gd name="connsiteX6453" fmla="*/ 7939359 w 12117871"/>
                <a:gd name="connsiteY6453" fmla="*/ 942134 h 6072780"/>
                <a:gd name="connsiteX6454" fmla="*/ 7955558 w 12117871"/>
                <a:gd name="connsiteY6454" fmla="*/ 934985 h 6072780"/>
                <a:gd name="connsiteX6455" fmla="*/ 7971681 w 12117871"/>
                <a:gd name="connsiteY6455" fmla="*/ 926163 h 6072780"/>
                <a:gd name="connsiteX6456" fmla="*/ 7988488 w 12117871"/>
                <a:gd name="connsiteY6456" fmla="*/ 915060 h 6072780"/>
                <a:gd name="connsiteX6457" fmla="*/ 7839631 w 12117871"/>
                <a:gd name="connsiteY6457" fmla="*/ 915060 h 6072780"/>
                <a:gd name="connsiteX6458" fmla="*/ 7854537 w 12117871"/>
                <a:gd name="connsiteY6458" fmla="*/ 915060 h 6072780"/>
                <a:gd name="connsiteX6459" fmla="*/ 7854537 w 12117871"/>
                <a:gd name="connsiteY6459" fmla="*/ 1138040 h 6072780"/>
                <a:gd name="connsiteX6460" fmla="*/ 7819249 w 12117871"/>
                <a:gd name="connsiteY6460" fmla="*/ 1138040 h 6072780"/>
                <a:gd name="connsiteX6461" fmla="*/ 7819249 w 12117871"/>
                <a:gd name="connsiteY6461" fmla="*/ 958257 h 6072780"/>
                <a:gd name="connsiteX6462" fmla="*/ 7798640 w 12117871"/>
                <a:gd name="connsiteY6462" fmla="*/ 969892 h 6072780"/>
                <a:gd name="connsiteX6463" fmla="*/ 7773467 w 12117871"/>
                <a:gd name="connsiteY6463" fmla="*/ 978334 h 6072780"/>
                <a:gd name="connsiteX6464" fmla="*/ 7773467 w 12117871"/>
                <a:gd name="connsiteY6464" fmla="*/ 948218 h 6072780"/>
                <a:gd name="connsiteX6465" fmla="*/ 7790502 w 12117871"/>
                <a:gd name="connsiteY6465" fmla="*/ 942134 h 6072780"/>
                <a:gd name="connsiteX6466" fmla="*/ 7806701 w 12117871"/>
                <a:gd name="connsiteY6466" fmla="*/ 934985 h 6072780"/>
                <a:gd name="connsiteX6467" fmla="*/ 7822824 w 12117871"/>
                <a:gd name="connsiteY6467" fmla="*/ 926163 h 6072780"/>
                <a:gd name="connsiteX6468" fmla="*/ 7839631 w 12117871"/>
                <a:gd name="connsiteY6468" fmla="*/ 915060 h 6072780"/>
                <a:gd name="connsiteX6469" fmla="*/ 7487544 w 12117871"/>
                <a:gd name="connsiteY6469" fmla="*/ 915060 h 6072780"/>
                <a:gd name="connsiteX6470" fmla="*/ 7502450 w 12117871"/>
                <a:gd name="connsiteY6470" fmla="*/ 915060 h 6072780"/>
                <a:gd name="connsiteX6471" fmla="*/ 7502450 w 12117871"/>
                <a:gd name="connsiteY6471" fmla="*/ 1138040 h 6072780"/>
                <a:gd name="connsiteX6472" fmla="*/ 7467162 w 12117871"/>
                <a:gd name="connsiteY6472" fmla="*/ 1138040 h 6072780"/>
                <a:gd name="connsiteX6473" fmla="*/ 7467162 w 12117871"/>
                <a:gd name="connsiteY6473" fmla="*/ 958257 h 6072780"/>
                <a:gd name="connsiteX6474" fmla="*/ 7446553 w 12117871"/>
                <a:gd name="connsiteY6474" fmla="*/ 969892 h 6072780"/>
                <a:gd name="connsiteX6475" fmla="*/ 7421380 w 12117871"/>
                <a:gd name="connsiteY6475" fmla="*/ 978334 h 6072780"/>
                <a:gd name="connsiteX6476" fmla="*/ 7421380 w 12117871"/>
                <a:gd name="connsiteY6476" fmla="*/ 948218 h 6072780"/>
                <a:gd name="connsiteX6477" fmla="*/ 7438415 w 12117871"/>
                <a:gd name="connsiteY6477" fmla="*/ 942134 h 6072780"/>
                <a:gd name="connsiteX6478" fmla="*/ 7454614 w 12117871"/>
                <a:gd name="connsiteY6478" fmla="*/ 934985 h 6072780"/>
                <a:gd name="connsiteX6479" fmla="*/ 7470737 w 12117871"/>
                <a:gd name="connsiteY6479" fmla="*/ 926163 h 6072780"/>
                <a:gd name="connsiteX6480" fmla="*/ 7487544 w 12117871"/>
                <a:gd name="connsiteY6480" fmla="*/ 915060 h 6072780"/>
                <a:gd name="connsiteX6481" fmla="*/ 7189830 w 12117871"/>
                <a:gd name="connsiteY6481" fmla="*/ 915060 h 6072780"/>
                <a:gd name="connsiteX6482" fmla="*/ 7204736 w 12117871"/>
                <a:gd name="connsiteY6482" fmla="*/ 915060 h 6072780"/>
                <a:gd name="connsiteX6483" fmla="*/ 7204736 w 12117871"/>
                <a:gd name="connsiteY6483" fmla="*/ 1138040 h 6072780"/>
                <a:gd name="connsiteX6484" fmla="*/ 7169448 w 12117871"/>
                <a:gd name="connsiteY6484" fmla="*/ 1138040 h 6072780"/>
                <a:gd name="connsiteX6485" fmla="*/ 7169448 w 12117871"/>
                <a:gd name="connsiteY6485" fmla="*/ 958257 h 6072780"/>
                <a:gd name="connsiteX6486" fmla="*/ 7148839 w 12117871"/>
                <a:gd name="connsiteY6486" fmla="*/ 969892 h 6072780"/>
                <a:gd name="connsiteX6487" fmla="*/ 7123666 w 12117871"/>
                <a:gd name="connsiteY6487" fmla="*/ 978334 h 6072780"/>
                <a:gd name="connsiteX6488" fmla="*/ 7123666 w 12117871"/>
                <a:gd name="connsiteY6488" fmla="*/ 948218 h 6072780"/>
                <a:gd name="connsiteX6489" fmla="*/ 7140701 w 12117871"/>
                <a:gd name="connsiteY6489" fmla="*/ 942134 h 6072780"/>
                <a:gd name="connsiteX6490" fmla="*/ 7156900 w 12117871"/>
                <a:gd name="connsiteY6490" fmla="*/ 934985 h 6072780"/>
                <a:gd name="connsiteX6491" fmla="*/ 7173023 w 12117871"/>
                <a:gd name="connsiteY6491" fmla="*/ 926163 h 6072780"/>
                <a:gd name="connsiteX6492" fmla="*/ 7189830 w 12117871"/>
                <a:gd name="connsiteY6492" fmla="*/ 915060 h 6072780"/>
                <a:gd name="connsiteX6493" fmla="*/ 6980418 w 12117871"/>
                <a:gd name="connsiteY6493" fmla="*/ 915060 h 6072780"/>
                <a:gd name="connsiteX6494" fmla="*/ 7051585 w 12117871"/>
                <a:gd name="connsiteY6494" fmla="*/ 1025647 h 6072780"/>
                <a:gd name="connsiteX6495" fmla="*/ 7031499 w 12117871"/>
                <a:gd name="connsiteY6495" fmla="*/ 1109227 h 6072780"/>
                <a:gd name="connsiteX6496" fmla="*/ 6975302 w 12117871"/>
                <a:gd name="connsiteY6496" fmla="*/ 1138040 h 6072780"/>
                <a:gd name="connsiteX6497" fmla="*/ 6922717 w 12117871"/>
                <a:gd name="connsiteY6497" fmla="*/ 1110506 h 6072780"/>
                <a:gd name="connsiteX6498" fmla="*/ 6903834 w 12117871"/>
                <a:gd name="connsiteY6498" fmla="*/ 1030914 h 6072780"/>
                <a:gd name="connsiteX6499" fmla="*/ 6923544 w 12117871"/>
                <a:gd name="connsiteY6499" fmla="*/ 944399 h 6072780"/>
                <a:gd name="connsiteX6500" fmla="*/ 6980418 w 12117871"/>
                <a:gd name="connsiteY6500" fmla="*/ 915060 h 6072780"/>
                <a:gd name="connsiteX6501" fmla="*/ 6763908 w 12117871"/>
                <a:gd name="connsiteY6501" fmla="*/ 915060 h 6072780"/>
                <a:gd name="connsiteX6502" fmla="*/ 6835075 w 12117871"/>
                <a:gd name="connsiteY6502" fmla="*/ 1025647 h 6072780"/>
                <a:gd name="connsiteX6503" fmla="*/ 6814989 w 12117871"/>
                <a:gd name="connsiteY6503" fmla="*/ 1109227 h 6072780"/>
                <a:gd name="connsiteX6504" fmla="*/ 6758792 w 12117871"/>
                <a:gd name="connsiteY6504" fmla="*/ 1138040 h 6072780"/>
                <a:gd name="connsiteX6505" fmla="*/ 6706207 w 12117871"/>
                <a:gd name="connsiteY6505" fmla="*/ 1110506 h 6072780"/>
                <a:gd name="connsiteX6506" fmla="*/ 6687324 w 12117871"/>
                <a:gd name="connsiteY6506" fmla="*/ 1030914 h 6072780"/>
                <a:gd name="connsiteX6507" fmla="*/ 6707034 w 12117871"/>
                <a:gd name="connsiteY6507" fmla="*/ 944399 h 6072780"/>
                <a:gd name="connsiteX6508" fmla="*/ 6763908 w 12117871"/>
                <a:gd name="connsiteY6508" fmla="*/ 915060 h 6072780"/>
                <a:gd name="connsiteX6509" fmla="*/ 6617601 w 12117871"/>
                <a:gd name="connsiteY6509" fmla="*/ 915060 h 6072780"/>
                <a:gd name="connsiteX6510" fmla="*/ 6632507 w 12117871"/>
                <a:gd name="connsiteY6510" fmla="*/ 915060 h 6072780"/>
                <a:gd name="connsiteX6511" fmla="*/ 6632507 w 12117871"/>
                <a:gd name="connsiteY6511" fmla="*/ 1138040 h 6072780"/>
                <a:gd name="connsiteX6512" fmla="*/ 6597219 w 12117871"/>
                <a:gd name="connsiteY6512" fmla="*/ 1138040 h 6072780"/>
                <a:gd name="connsiteX6513" fmla="*/ 6597219 w 12117871"/>
                <a:gd name="connsiteY6513" fmla="*/ 958257 h 6072780"/>
                <a:gd name="connsiteX6514" fmla="*/ 6576610 w 12117871"/>
                <a:gd name="connsiteY6514" fmla="*/ 969892 h 6072780"/>
                <a:gd name="connsiteX6515" fmla="*/ 6551437 w 12117871"/>
                <a:gd name="connsiteY6515" fmla="*/ 978334 h 6072780"/>
                <a:gd name="connsiteX6516" fmla="*/ 6551437 w 12117871"/>
                <a:gd name="connsiteY6516" fmla="*/ 948218 h 6072780"/>
                <a:gd name="connsiteX6517" fmla="*/ 6568472 w 12117871"/>
                <a:gd name="connsiteY6517" fmla="*/ 942134 h 6072780"/>
                <a:gd name="connsiteX6518" fmla="*/ 6584671 w 12117871"/>
                <a:gd name="connsiteY6518" fmla="*/ 934985 h 6072780"/>
                <a:gd name="connsiteX6519" fmla="*/ 6600794 w 12117871"/>
                <a:gd name="connsiteY6519" fmla="*/ 926163 h 6072780"/>
                <a:gd name="connsiteX6520" fmla="*/ 6617601 w 12117871"/>
                <a:gd name="connsiteY6520" fmla="*/ 915060 h 6072780"/>
                <a:gd name="connsiteX6521" fmla="*/ 6319887 w 12117871"/>
                <a:gd name="connsiteY6521" fmla="*/ 915060 h 6072780"/>
                <a:gd name="connsiteX6522" fmla="*/ 6334793 w 12117871"/>
                <a:gd name="connsiteY6522" fmla="*/ 915060 h 6072780"/>
                <a:gd name="connsiteX6523" fmla="*/ 6334793 w 12117871"/>
                <a:gd name="connsiteY6523" fmla="*/ 1138040 h 6072780"/>
                <a:gd name="connsiteX6524" fmla="*/ 6299505 w 12117871"/>
                <a:gd name="connsiteY6524" fmla="*/ 1138040 h 6072780"/>
                <a:gd name="connsiteX6525" fmla="*/ 6299505 w 12117871"/>
                <a:gd name="connsiteY6525" fmla="*/ 958257 h 6072780"/>
                <a:gd name="connsiteX6526" fmla="*/ 6278896 w 12117871"/>
                <a:gd name="connsiteY6526" fmla="*/ 969892 h 6072780"/>
                <a:gd name="connsiteX6527" fmla="*/ 6253723 w 12117871"/>
                <a:gd name="connsiteY6527" fmla="*/ 978334 h 6072780"/>
                <a:gd name="connsiteX6528" fmla="*/ 6253723 w 12117871"/>
                <a:gd name="connsiteY6528" fmla="*/ 948218 h 6072780"/>
                <a:gd name="connsiteX6529" fmla="*/ 6270758 w 12117871"/>
                <a:gd name="connsiteY6529" fmla="*/ 942134 h 6072780"/>
                <a:gd name="connsiteX6530" fmla="*/ 6286957 w 12117871"/>
                <a:gd name="connsiteY6530" fmla="*/ 934985 h 6072780"/>
                <a:gd name="connsiteX6531" fmla="*/ 6303080 w 12117871"/>
                <a:gd name="connsiteY6531" fmla="*/ 926163 h 6072780"/>
                <a:gd name="connsiteX6532" fmla="*/ 6319887 w 12117871"/>
                <a:gd name="connsiteY6532" fmla="*/ 915060 h 6072780"/>
                <a:gd name="connsiteX6533" fmla="*/ 6146131 w 12117871"/>
                <a:gd name="connsiteY6533" fmla="*/ 915060 h 6072780"/>
                <a:gd name="connsiteX6534" fmla="*/ 6217298 w 12117871"/>
                <a:gd name="connsiteY6534" fmla="*/ 1025647 h 6072780"/>
                <a:gd name="connsiteX6535" fmla="*/ 6197212 w 12117871"/>
                <a:gd name="connsiteY6535" fmla="*/ 1109227 h 6072780"/>
                <a:gd name="connsiteX6536" fmla="*/ 6141015 w 12117871"/>
                <a:gd name="connsiteY6536" fmla="*/ 1138040 h 6072780"/>
                <a:gd name="connsiteX6537" fmla="*/ 6088430 w 12117871"/>
                <a:gd name="connsiteY6537" fmla="*/ 1110506 h 6072780"/>
                <a:gd name="connsiteX6538" fmla="*/ 6069547 w 12117871"/>
                <a:gd name="connsiteY6538" fmla="*/ 1030914 h 6072780"/>
                <a:gd name="connsiteX6539" fmla="*/ 6089257 w 12117871"/>
                <a:gd name="connsiteY6539" fmla="*/ 944399 h 6072780"/>
                <a:gd name="connsiteX6540" fmla="*/ 6146131 w 12117871"/>
                <a:gd name="connsiteY6540" fmla="*/ 915060 h 6072780"/>
                <a:gd name="connsiteX6541" fmla="*/ 5929621 w 12117871"/>
                <a:gd name="connsiteY6541" fmla="*/ 915060 h 6072780"/>
                <a:gd name="connsiteX6542" fmla="*/ 6000789 w 12117871"/>
                <a:gd name="connsiteY6542" fmla="*/ 1025647 h 6072780"/>
                <a:gd name="connsiteX6543" fmla="*/ 5980702 w 12117871"/>
                <a:gd name="connsiteY6543" fmla="*/ 1109227 h 6072780"/>
                <a:gd name="connsiteX6544" fmla="*/ 5924506 w 12117871"/>
                <a:gd name="connsiteY6544" fmla="*/ 1138040 h 6072780"/>
                <a:gd name="connsiteX6545" fmla="*/ 5871919 w 12117871"/>
                <a:gd name="connsiteY6545" fmla="*/ 1110506 h 6072780"/>
                <a:gd name="connsiteX6546" fmla="*/ 5853037 w 12117871"/>
                <a:gd name="connsiteY6546" fmla="*/ 1030914 h 6072780"/>
                <a:gd name="connsiteX6547" fmla="*/ 5872748 w 12117871"/>
                <a:gd name="connsiteY6547" fmla="*/ 944399 h 6072780"/>
                <a:gd name="connsiteX6548" fmla="*/ 5929621 w 12117871"/>
                <a:gd name="connsiteY6548" fmla="*/ 915060 h 6072780"/>
                <a:gd name="connsiteX6549" fmla="*/ 5705513 w 12117871"/>
                <a:gd name="connsiteY6549" fmla="*/ 915060 h 6072780"/>
                <a:gd name="connsiteX6550" fmla="*/ 5776681 w 12117871"/>
                <a:gd name="connsiteY6550" fmla="*/ 1025647 h 6072780"/>
                <a:gd name="connsiteX6551" fmla="*/ 5756596 w 12117871"/>
                <a:gd name="connsiteY6551" fmla="*/ 1109227 h 6072780"/>
                <a:gd name="connsiteX6552" fmla="*/ 5700399 w 12117871"/>
                <a:gd name="connsiteY6552" fmla="*/ 1138040 h 6072780"/>
                <a:gd name="connsiteX6553" fmla="*/ 5647813 w 12117871"/>
                <a:gd name="connsiteY6553" fmla="*/ 1110506 h 6072780"/>
                <a:gd name="connsiteX6554" fmla="*/ 5628930 w 12117871"/>
                <a:gd name="connsiteY6554" fmla="*/ 1030914 h 6072780"/>
                <a:gd name="connsiteX6555" fmla="*/ 5648641 w 12117871"/>
                <a:gd name="connsiteY6555" fmla="*/ 944399 h 6072780"/>
                <a:gd name="connsiteX6556" fmla="*/ 5705513 w 12117871"/>
                <a:gd name="connsiteY6556" fmla="*/ 915060 h 6072780"/>
                <a:gd name="connsiteX6557" fmla="*/ 5548234 w 12117871"/>
                <a:gd name="connsiteY6557" fmla="*/ 915060 h 6072780"/>
                <a:gd name="connsiteX6558" fmla="*/ 5563142 w 12117871"/>
                <a:gd name="connsiteY6558" fmla="*/ 915060 h 6072780"/>
                <a:gd name="connsiteX6559" fmla="*/ 5563142 w 12117871"/>
                <a:gd name="connsiteY6559" fmla="*/ 1138040 h 6072780"/>
                <a:gd name="connsiteX6560" fmla="*/ 5527853 w 12117871"/>
                <a:gd name="connsiteY6560" fmla="*/ 1138040 h 6072780"/>
                <a:gd name="connsiteX6561" fmla="*/ 5527853 w 12117871"/>
                <a:gd name="connsiteY6561" fmla="*/ 958257 h 6072780"/>
                <a:gd name="connsiteX6562" fmla="*/ 5507244 w 12117871"/>
                <a:gd name="connsiteY6562" fmla="*/ 969892 h 6072780"/>
                <a:gd name="connsiteX6563" fmla="*/ 5482071 w 12117871"/>
                <a:gd name="connsiteY6563" fmla="*/ 978334 h 6072780"/>
                <a:gd name="connsiteX6564" fmla="*/ 5482071 w 12117871"/>
                <a:gd name="connsiteY6564" fmla="*/ 948218 h 6072780"/>
                <a:gd name="connsiteX6565" fmla="*/ 5499105 w 12117871"/>
                <a:gd name="connsiteY6565" fmla="*/ 942134 h 6072780"/>
                <a:gd name="connsiteX6566" fmla="*/ 5515305 w 12117871"/>
                <a:gd name="connsiteY6566" fmla="*/ 934985 h 6072780"/>
                <a:gd name="connsiteX6567" fmla="*/ 5531426 w 12117871"/>
                <a:gd name="connsiteY6567" fmla="*/ 926163 h 6072780"/>
                <a:gd name="connsiteX6568" fmla="*/ 5548234 w 12117871"/>
                <a:gd name="connsiteY6568" fmla="*/ 915060 h 6072780"/>
                <a:gd name="connsiteX6569" fmla="*/ 5250520 w 12117871"/>
                <a:gd name="connsiteY6569" fmla="*/ 915060 h 6072780"/>
                <a:gd name="connsiteX6570" fmla="*/ 5265426 w 12117871"/>
                <a:gd name="connsiteY6570" fmla="*/ 915060 h 6072780"/>
                <a:gd name="connsiteX6571" fmla="*/ 5265426 w 12117871"/>
                <a:gd name="connsiteY6571" fmla="*/ 1138040 h 6072780"/>
                <a:gd name="connsiteX6572" fmla="*/ 5230139 w 12117871"/>
                <a:gd name="connsiteY6572" fmla="*/ 1138040 h 6072780"/>
                <a:gd name="connsiteX6573" fmla="*/ 5230139 w 12117871"/>
                <a:gd name="connsiteY6573" fmla="*/ 958257 h 6072780"/>
                <a:gd name="connsiteX6574" fmla="*/ 5209528 w 12117871"/>
                <a:gd name="connsiteY6574" fmla="*/ 969892 h 6072780"/>
                <a:gd name="connsiteX6575" fmla="*/ 5184357 w 12117871"/>
                <a:gd name="connsiteY6575" fmla="*/ 978334 h 6072780"/>
                <a:gd name="connsiteX6576" fmla="*/ 5184357 w 12117871"/>
                <a:gd name="connsiteY6576" fmla="*/ 948218 h 6072780"/>
                <a:gd name="connsiteX6577" fmla="*/ 5201391 w 12117871"/>
                <a:gd name="connsiteY6577" fmla="*/ 942134 h 6072780"/>
                <a:gd name="connsiteX6578" fmla="*/ 5217590 w 12117871"/>
                <a:gd name="connsiteY6578" fmla="*/ 934985 h 6072780"/>
                <a:gd name="connsiteX6579" fmla="*/ 5233712 w 12117871"/>
                <a:gd name="connsiteY6579" fmla="*/ 926163 h 6072780"/>
                <a:gd name="connsiteX6580" fmla="*/ 5250520 w 12117871"/>
                <a:gd name="connsiteY6580" fmla="*/ 915060 h 6072780"/>
                <a:gd name="connsiteX6581" fmla="*/ 4875775 w 12117871"/>
                <a:gd name="connsiteY6581" fmla="*/ 915060 h 6072780"/>
                <a:gd name="connsiteX6582" fmla="*/ 4890681 w 12117871"/>
                <a:gd name="connsiteY6582" fmla="*/ 915060 h 6072780"/>
                <a:gd name="connsiteX6583" fmla="*/ 4890681 w 12117871"/>
                <a:gd name="connsiteY6583" fmla="*/ 1138040 h 6072780"/>
                <a:gd name="connsiteX6584" fmla="*/ 4855393 w 12117871"/>
                <a:gd name="connsiteY6584" fmla="*/ 1138040 h 6072780"/>
                <a:gd name="connsiteX6585" fmla="*/ 4855393 w 12117871"/>
                <a:gd name="connsiteY6585" fmla="*/ 958257 h 6072780"/>
                <a:gd name="connsiteX6586" fmla="*/ 4834784 w 12117871"/>
                <a:gd name="connsiteY6586" fmla="*/ 969892 h 6072780"/>
                <a:gd name="connsiteX6587" fmla="*/ 4809611 w 12117871"/>
                <a:gd name="connsiteY6587" fmla="*/ 978334 h 6072780"/>
                <a:gd name="connsiteX6588" fmla="*/ 4809611 w 12117871"/>
                <a:gd name="connsiteY6588" fmla="*/ 948218 h 6072780"/>
                <a:gd name="connsiteX6589" fmla="*/ 4826646 w 12117871"/>
                <a:gd name="connsiteY6589" fmla="*/ 942134 h 6072780"/>
                <a:gd name="connsiteX6590" fmla="*/ 4842846 w 12117871"/>
                <a:gd name="connsiteY6590" fmla="*/ 934985 h 6072780"/>
                <a:gd name="connsiteX6591" fmla="*/ 4858968 w 12117871"/>
                <a:gd name="connsiteY6591" fmla="*/ 926163 h 6072780"/>
                <a:gd name="connsiteX6592" fmla="*/ 4875775 w 12117871"/>
                <a:gd name="connsiteY6592" fmla="*/ 915060 h 6072780"/>
                <a:gd name="connsiteX6593" fmla="*/ 4732167 w 12117871"/>
                <a:gd name="connsiteY6593" fmla="*/ 915060 h 6072780"/>
                <a:gd name="connsiteX6594" fmla="*/ 4747074 w 12117871"/>
                <a:gd name="connsiteY6594" fmla="*/ 915060 h 6072780"/>
                <a:gd name="connsiteX6595" fmla="*/ 4747074 w 12117871"/>
                <a:gd name="connsiteY6595" fmla="*/ 1138040 h 6072780"/>
                <a:gd name="connsiteX6596" fmla="*/ 4711785 w 12117871"/>
                <a:gd name="connsiteY6596" fmla="*/ 1138040 h 6072780"/>
                <a:gd name="connsiteX6597" fmla="*/ 4711785 w 12117871"/>
                <a:gd name="connsiteY6597" fmla="*/ 958257 h 6072780"/>
                <a:gd name="connsiteX6598" fmla="*/ 4691176 w 12117871"/>
                <a:gd name="connsiteY6598" fmla="*/ 969892 h 6072780"/>
                <a:gd name="connsiteX6599" fmla="*/ 4666003 w 12117871"/>
                <a:gd name="connsiteY6599" fmla="*/ 978334 h 6072780"/>
                <a:gd name="connsiteX6600" fmla="*/ 4666003 w 12117871"/>
                <a:gd name="connsiteY6600" fmla="*/ 948218 h 6072780"/>
                <a:gd name="connsiteX6601" fmla="*/ 4683038 w 12117871"/>
                <a:gd name="connsiteY6601" fmla="*/ 942134 h 6072780"/>
                <a:gd name="connsiteX6602" fmla="*/ 4699238 w 12117871"/>
                <a:gd name="connsiteY6602" fmla="*/ 934985 h 6072780"/>
                <a:gd name="connsiteX6603" fmla="*/ 4715360 w 12117871"/>
                <a:gd name="connsiteY6603" fmla="*/ 926163 h 6072780"/>
                <a:gd name="connsiteX6604" fmla="*/ 4732167 w 12117871"/>
                <a:gd name="connsiteY6604" fmla="*/ 915060 h 6072780"/>
                <a:gd name="connsiteX6605" fmla="*/ 4588559 w 12117871"/>
                <a:gd name="connsiteY6605" fmla="*/ 915060 h 6072780"/>
                <a:gd name="connsiteX6606" fmla="*/ 4603466 w 12117871"/>
                <a:gd name="connsiteY6606" fmla="*/ 915060 h 6072780"/>
                <a:gd name="connsiteX6607" fmla="*/ 4603466 w 12117871"/>
                <a:gd name="connsiteY6607" fmla="*/ 1138040 h 6072780"/>
                <a:gd name="connsiteX6608" fmla="*/ 4568177 w 12117871"/>
                <a:gd name="connsiteY6608" fmla="*/ 1138040 h 6072780"/>
                <a:gd name="connsiteX6609" fmla="*/ 4568177 w 12117871"/>
                <a:gd name="connsiteY6609" fmla="*/ 958257 h 6072780"/>
                <a:gd name="connsiteX6610" fmla="*/ 4547568 w 12117871"/>
                <a:gd name="connsiteY6610" fmla="*/ 969892 h 6072780"/>
                <a:gd name="connsiteX6611" fmla="*/ 4522395 w 12117871"/>
                <a:gd name="connsiteY6611" fmla="*/ 978334 h 6072780"/>
                <a:gd name="connsiteX6612" fmla="*/ 4522395 w 12117871"/>
                <a:gd name="connsiteY6612" fmla="*/ 948218 h 6072780"/>
                <a:gd name="connsiteX6613" fmla="*/ 4539430 w 12117871"/>
                <a:gd name="connsiteY6613" fmla="*/ 942134 h 6072780"/>
                <a:gd name="connsiteX6614" fmla="*/ 4555630 w 12117871"/>
                <a:gd name="connsiteY6614" fmla="*/ 934985 h 6072780"/>
                <a:gd name="connsiteX6615" fmla="*/ 4571752 w 12117871"/>
                <a:gd name="connsiteY6615" fmla="*/ 926163 h 6072780"/>
                <a:gd name="connsiteX6616" fmla="*/ 4588559 w 12117871"/>
                <a:gd name="connsiteY6616" fmla="*/ 915060 h 6072780"/>
                <a:gd name="connsiteX6617" fmla="*/ 4444951 w 12117871"/>
                <a:gd name="connsiteY6617" fmla="*/ 915060 h 6072780"/>
                <a:gd name="connsiteX6618" fmla="*/ 4459858 w 12117871"/>
                <a:gd name="connsiteY6618" fmla="*/ 915060 h 6072780"/>
                <a:gd name="connsiteX6619" fmla="*/ 4459858 w 12117871"/>
                <a:gd name="connsiteY6619" fmla="*/ 1138040 h 6072780"/>
                <a:gd name="connsiteX6620" fmla="*/ 4424569 w 12117871"/>
                <a:gd name="connsiteY6620" fmla="*/ 1138040 h 6072780"/>
                <a:gd name="connsiteX6621" fmla="*/ 4424569 w 12117871"/>
                <a:gd name="connsiteY6621" fmla="*/ 958257 h 6072780"/>
                <a:gd name="connsiteX6622" fmla="*/ 4403960 w 12117871"/>
                <a:gd name="connsiteY6622" fmla="*/ 969892 h 6072780"/>
                <a:gd name="connsiteX6623" fmla="*/ 4378788 w 12117871"/>
                <a:gd name="connsiteY6623" fmla="*/ 978334 h 6072780"/>
                <a:gd name="connsiteX6624" fmla="*/ 4378788 w 12117871"/>
                <a:gd name="connsiteY6624" fmla="*/ 948218 h 6072780"/>
                <a:gd name="connsiteX6625" fmla="*/ 4395823 w 12117871"/>
                <a:gd name="connsiteY6625" fmla="*/ 942134 h 6072780"/>
                <a:gd name="connsiteX6626" fmla="*/ 4412022 w 12117871"/>
                <a:gd name="connsiteY6626" fmla="*/ 934985 h 6072780"/>
                <a:gd name="connsiteX6627" fmla="*/ 4428144 w 12117871"/>
                <a:gd name="connsiteY6627" fmla="*/ 926163 h 6072780"/>
                <a:gd name="connsiteX6628" fmla="*/ 4444951 w 12117871"/>
                <a:gd name="connsiteY6628" fmla="*/ 915060 h 6072780"/>
                <a:gd name="connsiteX6629" fmla="*/ 3704782 w 12117871"/>
                <a:gd name="connsiteY6629" fmla="*/ 915060 h 6072780"/>
                <a:gd name="connsiteX6630" fmla="*/ 3719687 w 12117871"/>
                <a:gd name="connsiteY6630" fmla="*/ 915060 h 6072780"/>
                <a:gd name="connsiteX6631" fmla="*/ 3719687 w 12117871"/>
                <a:gd name="connsiteY6631" fmla="*/ 1138040 h 6072780"/>
                <a:gd name="connsiteX6632" fmla="*/ 3684398 w 12117871"/>
                <a:gd name="connsiteY6632" fmla="*/ 1138040 h 6072780"/>
                <a:gd name="connsiteX6633" fmla="*/ 3684398 w 12117871"/>
                <a:gd name="connsiteY6633" fmla="*/ 958257 h 6072780"/>
                <a:gd name="connsiteX6634" fmla="*/ 3663791 w 12117871"/>
                <a:gd name="connsiteY6634" fmla="*/ 969892 h 6072780"/>
                <a:gd name="connsiteX6635" fmla="*/ 3638618 w 12117871"/>
                <a:gd name="connsiteY6635" fmla="*/ 978334 h 6072780"/>
                <a:gd name="connsiteX6636" fmla="*/ 3638618 w 12117871"/>
                <a:gd name="connsiteY6636" fmla="*/ 948218 h 6072780"/>
                <a:gd name="connsiteX6637" fmla="*/ 3655653 w 12117871"/>
                <a:gd name="connsiteY6637" fmla="*/ 942134 h 6072780"/>
                <a:gd name="connsiteX6638" fmla="*/ 3671852 w 12117871"/>
                <a:gd name="connsiteY6638" fmla="*/ 934985 h 6072780"/>
                <a:gd name="connsiteX6639" fmla="*/ 3687974 w 12117871"/>
                <a:gd name="connsiteY6639" fmla="*/ 926163 h 6072780"/>
                <a:gd name="connsiteX6640" fmla="*/ 3704782 w 12117871"/>
                <a:gd name="connsiteY6640" fmla="*/ 915060 h 6072780"/>
                <a:gd name="connsiteX6641" fmla="*/ 3555925 w 12117871"/>
                <a:gd name="connsiteY6641" fmla="*/ 915060 h 6072780"/>
                <a:gd name="connsiteX6642" fmla="*/ 3570831 w 12117871"/>
                <a:gd name="connsiteY6642" fmla="*/ 915060 h 6072780"/>
                <a:gd name="connsiteX6643" fmla="*/ 3570831 w 12117871"/>
                <a:gd name="connsiteY6643" fmla="*/ 1138040 h 6072780"/>
                <a:gd name="connsiteX6644" fmla="*/ 3535543 w 12117871"/>
                <a:gd name="connsiteY6644" fmla="*/ 1138040 h 6072780"/>
                <a:gd name="connsiteX6645" fmla="*/ 3535543 w 12117871"/>
                <a:gd name="connsiteY6645" fmla="*/ 958257 h 6072780"/>
                <a:gd name="connsiteX6646" fmla="*/ 3514934 w 12117871"/>
                <a:gd name="connsiteY6646" fmla="*/ 969892 h 6072780"/>
                <a:gd name="connsiteX6647" fmla="*/ 3489761 w 12117871"/>
                <a:gd name="connsiteY6647" fmla="*/ 978334 h 6072780"/>
                <a:gd name="connsiteX6648" fmla="*/ 3489761 w 12117871"/>
                <a:gd name="connsiteY6648" fmla="*/ 948218 h 6072780"/>
                <a:gd name="connsiteX6649" fmla="*/ 3506796 w 12117871"/>
                <a:gd name="connsiteY6649" fmla="*/ 942134 h 6072780"/>
                <a:gd name="connsiteX6650" fmla="*/ 3522995 w 12117871"/>
                <a:gd name="connsiteY6650" fmla="*/ 934985 h 6072780"/>
                <a:gd name="connsiteX6651" fmla="*/ 3539117 w 12117871"/>
                <a:gd name="connsiteY6651" fmla="*/ 926163 h 6072780"/>
                <a:gd name="connsiteX6652" fmla="*/ 3555925 w 12117871"/>
                <a:gd name="connsiteY6652" fmla="*/ 915060 h 6072780"/>
                <a:gd name="connsiteX6653" fmla="*/ 2751256 w 12117871"/>
                <a:gd name="connsiteY6653" fmla="*/ 915060 h 6072780"/>
                <a:gd name="connsiteX6654" fmla="*/ 2766162 w 12117871"/>
                <a:gd name="connsiteY6654" fmla="*/ 915060 h 6072780"/>
                <a:gd name="connsiteX6655" fmla="*/ 2766162 w 12117871"/>
                <a:gd name="connsiteY6655" fmla="*/ 1138040 h 6072780"/>
                <a:gd name="connsiteX6656" fmla="*/ 2730875 w 12117871"/>
                <a:gd name="connsiteY6656" fmla="*/ 1138040 h 6072780"/>
                <a:gd name="connsiteX6657" fmla="*/ 2730875 w 12117871"/>
                <a:gd name="connsiteY6657" fmla="*/ 958257 h 6072780"/>
                <a:gd name="connsiteX6658" fmla="*/ 2710265 w 12117871"/>
                <a:gd name="connsiteY6658" fmla="*/ 969892 h 6072780"/>
                <a:gd name="connsiteX6659" fmla="*/ 2685092 w 12117871"/>
                <a:gd name="connsiteY6659" fmla="*/ 978334 h 6072780"/>
                <a:gd name="connsiteX6660" fmla="*/ 2685092 w 12117871"/>
                <a:gd name="connsiteY6660" fmla="*/ 948218 h 6072780"/>
                <a:gd name="connsiteX6661" fmla="*/ 2702128 w 12117871"/>
                <a:gd name="connsiteY6661" fmla="*/ 942134 h 6072780"/>
                <a:gd name="connsiteX6662" fmla="*/ 2718327 w 12117871"/>
                <a:gd name="connsiteY6662" fmla="*/ 934985 h 6072780"/>
                <a:gd name="connsiteX6663" fmla="*/ 2734449 w 12117871"/>
                <a:gd name="connsiteY6663" fmla="*/ 926163 h 6072780"/>
                <a:gd name="connsiteX6664" fmla="*/ 2751256 w 12117871"/>
                <a:gd name="connsiteY6664" fmla="*/ 915060 h 6072780"/>
                <a:gd name="connsiteX6665" fmla="*/ 2358497 w 12117871"/>
                <a:gd name="connsiteY6665" fmla="*/ 915060 h 6072780"/>
                <a:gd name="connsiteX6666" fmla="*/ 2373404 w 12117871"/>
                <a:gd name="connsiteY6666" fmla="*/ 915060 h 6072780"/>
                <a:gd name="connsiteX6667" fmla="*/ 2373404 w 12117871"/>
                <a:gd name="connsiteY6667" fmla="*/ 1138040 h 6072780"/>
                <a:gd name="connsiteX6668" fmla="*/ 2338116 w 12117871"/>
                <a:gd name="connsiteY6668" fmla="*/ 1138040 h 6072780"/>
                <a:gd name="connsiteX6669" fmla="*/ 2338116 w 12117871"/>
                <a:gd name="connsiteY6669" fmla="*/ 958257 h 6072780"/>
                <a:gd name="connsiteX6670" fmla="*/ 2317506 w 12117871"/>
                <a:gd name="connsiteY6670" fmla="*/ 969892 h 6072780"/>
                <a:gd name="connsiteX6671" fmla="*/ 2292334 w 12117871"/>
                <a:gd name="connsiteY6671" fmla="*/ 978334 h 6072780"/>
                <a:gd name="connsiteX6672" fmla="*/ 2292334 w 12117871"/>
                <a:gd name="connsiteY6672" fmla="*/ 948218 h 6072780"/>
                <a:gd name="connsiteX6673" fmla="*/ 2309369 w 12117871"/>
                <a:gd name="connsiteY6673" fmla="*/ 942134 h 6072780"/>
                <a:gd name="connsiteX6674" fmla="*/ 2325567 w 12117871"/>
                <a:gd name="connsiteY6674" fmla="*/ 934985 h 6072780"/>
                <a:gd name="connsiteX6675" fmla="*/ 2341689 w 12117871"/>
                <a:gd name="connsiteY6675" fmla="*/ 926163 h 6072780"/>
                <a:gd name="connsiteX6676" fmla="*/ 2358497 w 12117871"/>
                <a:gd name="connsiteY6676" fmla="*/ 915060 h 6072780"/>
                <a:gd name="connsiteX6677" fmla="*/ 2214890 w 12117871"/>
                <a:gd name="connsiteY6677" fmla="*/ 915060 h 6072780"/>
                <a:gd name="connsiteX6678" fmla="*/ 2229796 w 12117871"/>
                <a:gd name="connsiteY6678" fmla="*/ 915060 h 6072780"/>
                <a:gd name="connsiteX6679" fmla="*/ 2229796 w 12117871"/>
                <a:gd name="connsiteY6679" fmla="*/ 1138040 h 6072780"/>
                <a:gd name="connsiteX6680" fmla="*/ 2194508 w 12117871"/>
                <a:gd name="connsiteY6680" fmla="*/ 1138040 h 6072780"/>
                <a:gd name="connsiteX6681" fmla="*/ 2194508 w 12117871"/>
                <a:gd name="connsiteY6681" fmla="*/ 958257 h 6072780"/>
                <a:gd name="connsiteX6682" fmla="*/ 2173898 w 12117871"/>
                <a:gd name="connsiteY6682" fmla="*/ 969892 h 6072780"/>
                <a:gd name="connsiteX6683" fmla="*/ 2148726 w 12117871"/>
                <a:gd name="connsiteY6683" fmla="*/ 978334 h 6072780"/>
                <a:gd name="connsiteX6684" fmla="*/ 2148726 w 12117871"/>
                <a:gd name="connsiteY6684" fmla="*/ 948218 h 6072780"/>
                <a:gd name="connsiteX6685" fmla="*/ 2165760 w 12117871"/>
                <a:gd name="connsiteY6685" fmla="*/ 942134 h 6072780"/>
                <a:gd name="connsiteX6686" fmla="*/ 2181960 w 12117871"/>
                <a:gd name="connsiteY6686" fmla="*/ 934985 h 6072780"/>
                <a:gd name="connsiteX6687" fmla="*/ 2198082 w 12117871"/>
                <a:gd name="connsiteY6687" fmla="*/ 926163 h 6072780"/>
                <a:gd name="connsiteX6688" fmla="*/ 2214890 w 12117871"/>
                <a:gd name="connsiteY6688" fmla="*/ 915060 h 6072780"/>
                <a:gd name="connsiteX6689" fmla="*/ 2071281 w 12117871"/>
                <a:gd name="connsiteY6689" fmla="*/ 915060 h 6072780"/>
                <a:gd name="connsiteX6690" fmla="*/ 2086188 w 12117871"/>
                <a:gd name="connsiteY6690" fmla="*/ 915060 h 6072780"/>
                <a:gd name="connsiteX6691" fmla="*/ 2086188 w 12117871"/>
                <a:gd name="connsiteY6691" fmla="*/ 1138040 h 6072780"/>
                <a:gd name="connsiteX6692" fmla="*/ 2050900 w 12117871"/>
                <a:gd name="connsiteY6692" fmla="*/ 1138040 h 6072780"/>
                <a:gd name="connsiteX6693" fmla="*/ 2050900 w 12117871"/>
                <a:gd name="connsiteY6693" fmla="*/ 958257 h 6072780"/>
                <a:gd name="connsiteX6694" fmla="*/ 2030290 w 12117871"/>
                <a:gd name="connsiteY6694" fmla="*/ 969892 h 6072780"/>
                <a:gd name="connsiteX6695" fmla="*/ 2005118 w 12117871"/>
                <a:gd name="connsiteY6695" fmla="*/ 978334 h 6072780"/>
                <a:gd name="connsiteX6696" fmla="*/ 2005118 w 12117871"/>
                <a:gd name="connsiteY6696" fmla="*/ 948218 h 6072780"/>
                <a:gd name="connsiteX6697" fmla="*/ 2022153 w 12117871"/>
                <a:gd name="connsiteY6697" fmla="*/ 942134 h 6072780"/>
                <a:gd name="connsiteX6698" fmla="*/ 2038351 w 12117871"/>
                <a:gd name="connsiteY6698" fmla="*/ 934985 h 6072780"/>
                <a:gd name="connsiteX6699" fmla="*/ 2054473 w 12117871"/>
                <a:gd name="connsiteY6699" fmla="*/ 926163 h 6072780"/>
                <a:gd name="connsiteX6700" fmla="*/ 2071281 w 12117871"/>
                <a:gd name="connsiteY6700" fmla="*/ 915060 h 6072780"/>
                <a:gd name="connsiteX6701" fmla="*/ 1927674 w 12117871"/>
                <a:gd name="connsiteY6701" fmla="*/ 915060 h 6072780"/>
                <a:gd name="connsiteX6702" fmla="*/ 1942580 w 12117871"/>
                <a:gd name="connsiteY6702" fmla="*/ 915060 h 6072780"/>
                <a:gd name="connsiteX6703" fmla="*/ 1942580 w 12117871"/>
                <a:gd name="connsiteY6703" fmla="*/ 1138040 h 6072780"/>
                <a:gd name="connsiteX6704" fmla="*/ 1907293 w 12117871"/>
                <a:gd name="connsiteY6704" fmla="*/ 1138040 h 6072780"/>
                <a:gd name="connsiteX6705" fmla="*/ 1907293 w 12117871"/>
                <a:gd name="connsiteY6705" fmla="*/ 958257 h 6072780"/>
                <a:gd name="connsiteX6706" fmla="*/ 1886683 w 12117871"/>
                <a:gd name="connsiteY6706" fmla="*/ 969892 h 6072780"/>
                <a:gd name="connsiteX6707" fmla="*/ 1861510 w 12117871"/>
                <a:gd name="connsiteY6707" fmla="*/ 978334 h 6072780"/>
                <a:gd name="connsiteX6708" fmla="*/ 1861510 w 12117871"/>
                <a:gd name="connsiteY6708" fmla="*/ 948218 h 6072780"/>
                <a:gd name="connsiteX6709" fmla="*/ 1878546 w 12117871"/>
                <a:gd name="connsiteY6709" fmla="*/ 942134 h 6072780"/>
                <a:gd name="connsiteX6710" fmla="*/ 1894745 w 12117871"/>
                <a:gd name="connsiteY6710" fmla="*/ 934985 h 6072780"/>
                <a:gd name="connsiteX6711" fmla="*/ 1910867 w 12117871"/>
                <a:gd name="connsiteY6711" fmla="*/ 926163 h 6072780"/>
                <a:gd name="connsiteX6712" fmla="*/ 1927674 w 12117871"/>
                <a:gd name="connsiteY6712" fmla="*/ 915060 h 6072780"/>
                <a:gd name="connsiteX6713" fmla="*/ 1784066 w 12117871"/>
                <a:gd name="connsiteY6713" fmla="*/ 915060 h 6072780"/>
                <a:gd name="connsiteX6714" fmla="*/ 1798972 w 12117871"/>
                <a:gd name="connsiteY6714" fmla="*/ 915060 h 6072780"/>
                <a:gd name="connsiteX6715" fmla="*/ 1798972 w 12117871"/>
                <a:gd name="connsiteY6715" fmla="*/ 1138040 h 6072780"/>
                <a:gd name="connsiteX6716" fmla="*/ 1763685 w 12117871"/>
                <a:gd name="connsiteY6716" fmla="*/ 1138040 h 6072780"/>
                <a:gd name="connsiteX6717" fmla="*/ 1763685 w 12117871"/>
                <a:gd name="connsiteY6717" fmla="*/ 958257 h 6072780"/>
                <a:gd name="connsiteX6718" fmla="*/ 1743075 w 12117871"/>
                <a:gd name="connsiteY6718" fmla="*/ 969892 h 6072780"/>
                <a:gd name="connsiteX6719" fmla="*/ 1717902 w 12117871"/>
                <a:gd name="connsiteY6719" fmla="*/ 978334 h 6072780"/>
                <a:gd name="connsiteX6720" fmla="*/ 1717902 w 12117871"/>
                <a:gd name="connsiteY6720" fmla="*/ 948218 h 6072780"/>
                <a:gd name="connsiteX6721" fmla="*/ 1734938 w 12117871"/>
                <a:gd name="connsiteY6721" fmla="*/ 942134 h 6072780"/>
                <a:gd name="connsiteX6722" fmla="*/ 1751137 w 12117871"/>
                <a:gd name="connsiteY6722" fmla="*/ 934985 h 6072780"/>
                <a:gd name="connsiteX6723" fmla="*/ 1767259 w 12117871"/>
                <a:gd name="connsiteY6723" fmla="*/ 926163 h 6072780"/>
                <a:gd name="connsiteX6724" fmla="*/ 1784066 w 12117871"/>
                <a:gd name="connsiteY6724" fmla="*/ 915060 h 6072780"/>
                <a:gd name="connsiteX6725" fmla="*/ 1436368 w 12117871"/>
                <a:gd name="connsiteY6725" fmla="*/ 915060 h 6072780"/>
                <a:gd name="connsiteX6726" fmla="*/ 1451275 w 12117871"/>
                <a:gd name="connsiteY6726" fmla="*/ 915060 h 6072780"/>
                <a:gd name="connsiteX6727" fmla="*/ 1451275 w 12117871"/>
                <a:gd name="connsiteY6727" fmla="*/ 1138040 h 6072780"/>
                <a:gd name="connsiteX6728" fmla="*/ 1415987 w 12117871"/>
                <a:gd name="connsiteY6728" fmla="*/ 1138040 h 6072780"/>
                <a:gd name="connsiteX6729" fmla="*/ 1415987 w 12117871"/>
                <a:gd name="connsiteY6729" fmla="*/ 958257 h 6072780"/>
                <a:gd name="connsiteX6730" fmla="*/ 1395377 w 12117871"/>
                <a:gd name="connsiteY6730" fmla="*/ 969892 h 6072780"/>
                <a:gd name="connsiteX6731" fmla="*/ 1370205 w 12117871"/>
                <a:gd name="connsiteY6731" fmla="*/ 978334 h 6072780"/>
                <a:gd name="connsiteX6732" fmla="*/ 1370205 w 12117871"/>
                <a:gd name="connsiteY6732" fmla="*/ 948218 h 6072780"/>
                <a:gd name="connsiteX6733" fmla="*/ 1387240 w 12117871"/>
                <a:gd name="connsiteY6733" fmla="*/ 942134 h 6072780"/>
                <a:gd name="connsiteX6734" fmla="*/ 1403439 w 12117871"/>
                <a:gd name="connsiteY6734" fmla="*/ 934985 h 6072780"/>
                <a:gd name="connsiteX6735" fmla="*/ 1419561 w 12117871"/>
                <a:gd name="connsiteY6735" fmla="*/ 926163 h 6072780"/>
                <a:gd name="connsiteX6736" fmla="*/ 1436368 w 12117871"/>
                <a:gd name="connsiteY6736" fmla="*/ 915060 h 6072780"/>
                <a:gd name="connsiteX6737" fmla="*/ 1138655 w 12117871"/>
                <a:gd name="connsiteY6737" fmla="*/ 915060 h 6072780"/>
                <a:gd name="connsiteX6738" fmla="*/ 1153561 w 12117871"/>
                <a:gd name="connsiteY6738" fmla="*/ 915060 h 6072780"/>
                <a:gd name="connsiteX6739" fmla="*/ 1153561 w 12117871"/>
                <a:gd name="connsiteY6739" fmla="*/ 1138040 h 6072780"/>
                <a:gd name="connsiteX6740" fmla="*/ 1118273 w 12117871"/>
                <a:gd name="connsiteY6740" fmla="*/ 1138040 h 6072780"/>
                <a:gd name="connsiteX6741" fmla="*/ 1118273 w 12117871"/>
                <a:gd name="connsiteY6741" fmla="*/ 958257 h 6072780"/>
                <a:gd name="connsiteX6742" fmla="*/ 1097664 w 12117871"/>
                <a:gd name="connsiteY6742" fmla="*/ 969892 h 6072780"/>
                <a:gd name="connsiteX6743" fmla="*/ 1072491 w 12117871"/>
                <a:gd name="connsiteY6743" fmla="*/ 978334 h 6072780"/>
                <a:gd name="connsiteX6744" fmla="*/ 1072491 w 12117871"/>
                <a:gd name="connsiteY6744" fmla="*/ 948218 h 6072780"/>
                <a:gd name="connsiteX6745" fmla="*/ 1089526 w 12117871"/>
                <a:gd name="connsiteY6745" fmla="*/ 942134 h 6072780"/>
                <a:gd name="connsiteX6746" fmla="*/ 1105725 w 12117871"/>
                <a:gd name="connsiteY6746" fmla="*/ 934985 h 6072780"/>
                <a:gd name="connsiteX6747" fmla="*/ 1121848 w 12117871"/>
                <a:gd name="connsiteY6747" fmla="*/ 926163 h 6072780"/>
                <a:gd name="connsiteX6748" fmla="*/ 1138655 w 12117871"/>
                <a:gd name="connsiteY6748" fmla="*/ 915060 h 6072780"/>
                <a:gd name="connsiteX6749" fmla="*/ 927536 w 12117871"/>
                <a:gd name="connsiteY6749" fmla="*/ 915060 h 6072780"/>
                <a:gd name="connsiteX6750" fmla="*/ 998703 w 12117871"/>
                <a:gd name="connsiteY6750" fmla="*/ 1025647 h 6072780"/>
                <a:gd name="connsiteX6751" fmla="*/ 978617 w 12117871"/>
                <a:gd name="connsiteY6751" fmla="*/ 1109227 h 6072780"/>
                <a:gd name="connsiteX6752" fmla="*/ 922421 w 12117871"/>
                <a:gd name="connsiteY6752" fmla="*/ 1138040 h 6072780"/>
                <a:gd name="connsiteX6753" fmla="*/ 869834 w 12117871"/>
                <a:gd name="connsiteY6753" fmla="*/ 1110506 h 6072780"/>
                <a:gd name="connsiteX6754" fmla="*/ 850953 w 12117871"/>
                <a:gd name="connsiteY6754" fmla="*/ 1030914 h 6072780"/>
                <a:gd name="connsiteX6755" fmla="*/ 870663 w 12117871"/>
                <a:gd name="connsiteY6755" fmla="*/ 944399 h 6072780"/>
                <a:gd name="connsiteX6756" fmla="*/ 927536 w 12117871"/>
                <a:gd name="connsiteY6756" fmla="*/ 915060 h 6072780"/>
                <a:gd name="connsiteX6757" fmla="*/ 711260 w 12117871"/>
                <a:gd name="connsiteY6757" fmla="*/ 915060 h 6072780"/>
                <a:gd name="connsiteX6758" fmla="*/ 782427 w 12117871"/>
                <a:gd name="connsiteY6758" fmla="*/ 1025647 h 6072780"/>
                <a:gd name="connsiteX6759" fmla="*/ 762340 w 12117871"/>
                <a:gd name="connsiteY6759" fmla="*/ 1109227 h 6072780"/>
                <a:gd name="connsiteX6760" fmla="*/ 706145 w 12117871"/>
                <a:gd name="connsiteY6760" fmla="*/ 1138040 h 6072780"/>
                <a:gd name="connsiteX6761" fmla="*/ 653559 w 12117871"/>
                <a:gd name="connsiteY6761" fmla="*/ 1110506 h 6072780"/>
                <a:gd name="connsiteX6762" fmla="*/ 634677 w 12117871"/>
                <a:gd name="connsiteY6762" fmla="*/ 1030914 h 6072780"/>
                <a:gd name="connsiteX6763" fmla="*/ 654387 w 12117871"/>
                <a:gd name="connsiteY6763" fmla="*/ 944399 h 6072780"/>
                <a:gd name="connsiteX6764" fmla="*/ 711260 w 12117871"/>
                <a:gd name="connsiteY6764" fmla="*/ 915060 h 6072780"/>
                <a:gd name="connsiteX6765" fmla="*/ 563127 w 12117871"/>
                <a:gd name="connsiteY6765" fmla="*/ 915060 h 6072780"/>
                <a:gd name="connsiteX6766" fmla="*/ 578034 w 12117871"/>
                <a:gd name="connsiteY6766" fmla="*/ 915060 h 6072780"/>
                <a:gd name="connsiteX6767" fmla="*/ 578034 w 12117871"/>
                <a:gd name="connsiteY6767" fmla="*/ 1138040 h 6072780"/>
                <a:gd name="connsiteX6768" fmla="*/ 542746 w 12117871"/>
                <a:gd name="connsiteY6768" fmla="*/ 1138040 h 6072780"/>
                <a:gd name="connsiteX6769" fmla="*/ 542746 w 12117871"/>
                <a:gd name="connsiteY6769" fmla="*/ 958257 h 6072780"/>
                <a:gd name="connsiteX6770" fmla="*/ 522136 w 12117871"/>
                <a:gd name="connsiteY6770" fmla="*/ 969892 h 6072780"/>
                <a:gd name="connsiteX6771" fmla="*/ 496964 w 12117871"/>
                <a:gd name="connsiteY6771" fmla="*/ 978334 h 6072780"/>
                <a:gd name="connsiteX6772" fmla="*/ 496964 w 12117871"/>
                <a:gd name="connsiteY6772" fmla="*/ 948218 h 6072780"/>
                <a:gd name="connsiteX6773" fmla="*/ 513999 w 12117871"/>
                <a:gd name="connsiteY6773" fmla="*/ 942134 h 6072780"/>
                <a:gd name="connsiteX6774" fmla="*/ 530198 w 12117871"/>
                <a:gd name="connsiteY6774" fmla="*/ 934985 h 6072780"/>
                <a:gd name="connsiteX6775" fmla="*/ 546320 w 12117871"/>
                <a:gd name="connsiteY6775" fmla="*/ 926163 h 6072780"/>
                <a:gd name="connsiteX6776" fmla="*/ 563127 w 12117871"/>
                <a:gd name="connsiteY6776" fmla="*/ 915060 h 6072780"/>
                <a:gd name="connsiteX6777" fmla="*/ 265414 w 12117871"/>
                <a:gd name="connsiteY6777" fmla="*/ 915060 h 6072780"/>
                <a:gd name="connsiteX6778" fmla="*/ 280319 w 12117871"/>
                <a:gd name="connsiteY6778" fmla="*/ 915060 h 6072780"/>
                <a:gd name="connsiteX6779" fmla="*/ 280319 w 12117871"/>
                <a:gd name="connsiteY6779" fmla="*/ 1138040 h 6072780"/>
                <a:gd name="connsiteX6780" fmla="*/ 245032 w 12117871"/>
                <a:gd name="connsiteY6780" fmla="*/ 1138040 h 6072780"/>
                <a:gd name="connsiteX6781" fmla="*/ 245032 w 12117871"/>
                <a:gd name="connsiteY6781" fmla="*/ 958257 h 6072780"/>
                <a:gd name="connsiteX6782" fmla="*/ 224423 w 12117871"/>
                <a:gd name="connsiteY6782" fmla="*/ 969892 h 6072780"/>
                <a:gd name="connsiteX6783" fmla="*/ 199250 w 12117871"/>
                <a:gd name="connsiteY6783" fmla="*/ 978334 h 6072780"/>
                <a:gd name="connsiteX6784" fmla="*/ 199250 w 12117871"/>
                <a:gd name="connsiteY6784" fmla="*/ 948218 h 6072780"/>
                <a:gd name="connsiteX6785" fmla="*/ 216284 w 12117871"/>
                <a:gd name="connsiteY6785" fmla="*/ 942134 h 6072780"/>
                <a:gd name="connsiteX6786" fmla="*/ 232483 w 12117871"/>
                <a:gd name="connsiteY6786" fmla="*/ 934985 h 6072780"/>
                <a:gd name="connsiteX6787" fmla="*/ 248607 w 12117871"/>
                <a:gd name="connsiteY6787" fmla="*/ 926163 h 6072780"/>
                <a:gd name="connsiteX6788" fmla="*/ 265414 w 12117871"/>
                <a:gd name="connsiteY6788" fmla="*/ 915060 h 6072780"/>
                <a:gd name="connsiteX6789" fmla="*/ 89653 w 12117871"/>
                <a:gd name="connsiteY6789" fmla="*/ 915060 h 6072780"/>
                <a:gd name="connsiteX6790" fmla="*/ 160821 w 12117871"/>
                <a:gd name="connsiteY6790" fmla="*/ 1025647 h 6072780"/>
                <a:gd name="connsiteX6791" fmla="*/ 140735 w 12117871"/>
                <a:gd name="connsiteY6791" fmla="*/ 1109227 h 6072780"/>
                <a:gd name="connsiteX6792" fmla="*/ 84538 w 12117871"/>
                <a:gd name="connsiteY6792" fmla="*/ 1138040 h 6072780"/>
                <a:gd name="connsiteX6793" fmla="*/ 31953 w 12117871"/>
                <a:gd name="connsiteY6793" fmla="*/ 1110506 h 6072780"/>
                <a:gd name="connsiteX6794" fmla="*/ 13070 w 12117871"/>
                <a:gd name="connsiteY6794" fmla="*/ 1030914 h 6072780"/>
                <a:gd name="connsiteX6795" fmla="*/ 32780 w 12117871"/>
                <a:gd name="connsiteY6795" fmla="*/ 944399 h 6072780"/>
                <a:gd name="connsiteX6796" fmla="*/ 89653 w 12117871"/>
                <a:gd name="connsiteY6796" fmla="*/ 915060 h 6072780"/>
                <a:gd name="connsiteX6797" fmla="*/ 9143281 w 12117871"/>
                <a:gd name="connsiteY6797" fmla="*/ 660590 h 6072780"/>
                <a:gd name="connsiteX6798" fmla="*/ 9104011 w 12117871"/>
                <a:gd name="connsiteY6798" fmla="*/ 747104 h 6072780"/>
                <a:gd name="connsiteX6799" fmla="*/ 9142529 w 12117871"/>
                <a:gd name="connsiteY6799" fmla="*/ 828051 h 6072780"/>
                <a:gd name="connsiteX6800" fmla="*/ 9180444 w 12117871"/>
                <a:gd name="connsiteY6800" fmla="*/ 745750 h 6072780"/>
                <a:gd name="connsiteX6801" fmla="*/ 9143281 w 12117871"/>
                <a:gd name="connsiteY6801" fmla="*/ 660590 h 6072780"/>
                <a:gd name="connsiteX6802" fmla="*/ 8801524 w 12117871"/>
                <a:gd name="connsiteY6802" fmla="*/ 660590 h 6072780"/>
                <a:gd name="connsiteX6803" fmla="*/ 8762254 w 12117871"/>
                <a:gd name="connsiteY6803" fmla="*/ 747104 h 6072780"/>
                <a:gd name="connsiteX6804" fmla="*/ 8800772 w 12117871"/>
                <a:gd name="connsiteY6804" fmla="*/ 828051 h 6072780"/>
                <a:gd name="connsiteX6805" fmla="*/ 8838687 w 12117871"/>
                <a:gd name="connsiteY6805" fmla="*/ 745750 h 6072780"/>
                <a:gd name="connsiteX6806" fmla="*/ 8801524 w 12117871"/>
                <a:gd name="connsiteY6806" fmla="*/ 660590 h 6072780"/>
                <a:gd name="connsiteX6807" fmla="*/ 8100122 w 12117871"/>
                <a:gd name="connsiteY6807" fmla="*/ 660590 h 6072780"/>
                <a:gd name="connsiteX6808" fmla="*/ 8060852 w 12117871"/>
                <a:gd name="connsiteY6808" fmla="*/ 747104 h 6072780"/>
                <a:gd name="connsiteX6809" fmla="*/ 8099370 w 12117871"/>
                <a:gd name="connsiteY6809" fmla="*/ 828051 h 6072780"/>
                <a:gd name="connsiteX6810" fmla="*/ 8137285 w 12117871"/>
                <a:gd name="connsiteY6810" fmla="*/ 745750 h 6072780"/>
                <a:gd name="connsiteX6811" fmla="*/ 8100122 w 12117871"/>
                <a:gd name="connsiteY6811" fmla="*/ 660590 h 6072780"/>
                <a:gd name="connsiteX6812" fmla="*/ 6841633 w 12117871"/>
                <a:gd name="connsiteY6812" fmla="*/ 660590 h 6072780"/>
                <a:gd name="connsiteX6813" fmla="*/ 6802363 w 12117871"/>
                <a:gd name="connsiteY6813" fmla="*/ 747104 h 6072780"/>
                <a:gd name="connsiteX6814" fmla="*/ 6840881 w 12117871"/>
                <a:gd name="connsiteY6814" fmla="*/ 828051 h 6072780"/>
                <a:gd name="connsiteX6815" fmla="*/ 6878796 w 12117871"/>
                <a:gd name="connsiteY6815" fmla="*/ 745750 h 6072780"/>
                <a:gd name="connsiteX6816" fmla="*/ 6841633 w 12117871"/>
                <a:gd name="connsiteY6816" fmla="*/ 660590 h 6072780"/>
                <a:gd name="connsiteX6817" fmla="*/ 6628539 w 12117871"/>
                <a:gd name="connsiteY6817" fmla="*/ 660590 h 6072780"/>
                <a:gd name="connsiteX6818" fmla="*/ 6589269 w 12117871"/>
                <a:gd name="connsiteY6818" fmla="*/ 747104 h 6072780"/>
                <a:gd name="connsiteX6819" fmla="*/ 6627787 w 12117871"/>
                <a:gd name="connsiteY6819" fmla="*/ 828051 h 6072780"/>
                <a:gd name="connsiteX6820" fmla="*/ 6665702 w 12117871"/>
                <a:gd name="connsiteY6820" fmla="*/ 745750 h 6072780"/>
                <a:gd name="connsiteX6821" fmla="*/ 6628539 w 12117871"/>
                <a:gd name="connsiteY6821" fmla="*/ 660590 h 6072780"/>
                <a:gd name="connsiteX6822" fmla="*/ 3082864 w 12117871"/>
                <a:gd name="connsiteY6822" fmla="*/ 660590 h 6072780"/>
                <a:gd name="connsiteX6823" fmla="*/ 3043594 w 12117871"/>
                <a:gd name="connsiteY6823" fmla="*/ 747104 h 6072780"/>
                <a:gd name="connsiteX6824" fmla="*/ 3082111 w 12117871"/>
                <a:gd name="connsiteY6824" fmla="*/ 828051 h 6072780"/>
                <a:gd name="connsiteX6825" fmla="*/ 3120027 w 12117871"/>
                <a:gd name="connsiteY6825" fmla="*/ 745750 h 6072780"/>
                <a:gd name="connsiteX6826" fmla="*/ 3082864 w 12117871"/>
                <a:gd name="connsiteY6826" fmla="*/ 660590 h 6072780"/>
                <a:gd name="connsiteX6827" fmla="*/ 2736061 w 12117871"/>
                <a:gd name="connsiteY6827" fmla="*/ 660590 h 6072780"/>
                <a:gd name="connsiteX6828" fmla="*/ 2696791 w 12117871"/>
                <a:gd name="connsiteY6828" fmla="*/ 747104 h 6072780"/>
                <a:gd name="connsiteX6829" fmla="*/ 2735309 w 12117871"/>
                <a:gd name="connsiteY6829" fmla="*/ 828051 h 6072780"/>
                <a:gd name="connsiteX6830" fmla="*/ 2773224 w 12117871"/>
                <a:gd name="connsiteY6830" fmla="*/ 745750 h 6072780"/>
                <a:gd name="connsiteX6831" fmla="*/ 2736061 w 12117871"/>
                <a:gd name="connsiteY6831" fmla="*/ 660590 h 6072780"/>
                <a:gd name="connsiteX6832" fmla="*/ 2044696 w 12117871"/>
                <a:gd name="connsiteY6832" fmla="*/ 660590 h 6072780"/>
                <a:gd name="connsiteX6833" fmla="*/ 2005426 w 12117871"/>
                <a:gd name="connsiteY6833" fmla="*/ 747104 h 6072780"/>
                <a:gd name="connsiteX6834" fmla="*/ 2043944 w 12117871"/>
                <a:gd name="connsiteY6834" fmla="*/ 828051 h 6072780"/>
                <a:gd name="connsiteX6835" fmla="*/ 2081859 w 12117871"/>
                <a:gd name="connsiteY6835" fmla="*/ 745750 h 6072780"/>
                <a:gd name="connsiteX6836" fmla="*/ 2044696 w 12117871"/>
                <a:gd name="connsiteY6836" fmla="*/ 660590 h 6072780"/>
                <a:gd name="connsiteX6837" fmla="*/ 789489 w 12117871"/>
                <a:gd name="connsiteY6837" fmla="*/ 660590 h 6072780"/>
                <a:gd name="connsiteX6838" fmla="*/ 750218 w 12117871"/>
                <a:gd name="connsiteY6838" fmla="*/ 747104 h 6072780"/>
                <a:gd name="connsiteX6839" fmla="*/ 788737 w 12117871"/>
                <a:gd name="connsiteY6839" fmla="*/ 828051 h 6072780"/>
                <a:gd name="connsiteX6840" fmla="*/ 826652 w 12117871"/>
                <a:gd name="connsiteY6840" fmla="*/ 745750 h 6072780"/>
                <a:gd name="connsiteX6841" fmla="*/ 789489 w 12117871"/>
                <a:gd name="connsiteY6841" fmla="*/ 660590 h 6072780"/>
                <a:gd name="connsiteX6842" fmla="*/ 568889 w 12117871"/>
                <a:gd name="connsiteY6842" fmla="*/ 660590 h 6072780"/>
                <a:gd name="connsiteX6843" fmla="*/ 529618 w 12117871"/>
                <a:gd name="connsiteY6843" fmla="*/ 747104 h 6072780"/>
                <a:gd name="connsiteX6844" fmla="*/ 568137 w 12117871"/>
                <a:gd name="connsiteY6844" fmla="*/ 828051 h 6072780"/>
                <a:gd name="connsiteX6845" fmla="*/ 606052 w 12117871"/>
                <a:gd name="connsiteY6845" fmla="*/ 745750 h 6072780"/>
                <a:gd name="connsiteX6846" fmla="*/ 568889 w 12117871"/>
                <a:gd name="connsiteY6846" fmla="*/ 660590 h 6072780"/>
                <a:gd name="connsiteX6847" fmla="*/ 12047977 w 12117871"/>
                <a:gd name="connsiteY6847" fmla="*/ 632755 h 6072780"/>
                <a:gd name="connsiteX6848" fmla="*/ 12062883 w 12117871"/>
                <a:gd name="connsiteY6848" fmla="*/ 632755 h 6072780"/>
                <a:gd name="connsiteX6849" fmla="*/ 12062883 w 12117871"/>
                <a:gd name="connsiteY6849" fmla="*/ 855735 h 6072780"/>
                <a:gd name="connsiteX6850" fmla="*/ 12027595 w 12117871"/>
                <a:gd name="connsiteY6850" fmla="*/ 855735 h 6072780"/>
                <a:gd name="connsiteX6851" fmla="*/ 12027595 w 12117871"/>
                <a:gd name="connsiteY6851" fmla="*/ 675952 h 6072780"/>
                <a:gd name="connsiteX6852" fmla="*/ 12006986 w 12117871"/>
                <a:gd name="connsiteY6852" fmla="*/ 687587 h 6072780"/>
                <a:gd name="connsiteX6853" fmla="*/ 11981813 w 12117871"/>
                <a:gd name="connsiteY6853" fmla="*/ 696029 h 6072780"/>
                <a:gd name="connsiteX6854" fmla="*/ 11981813 w 12117871"/>
                <a:gd name="connsiteY6854" fmla="*/ 665913 h 6072780"/>
                <a:gd name="connsiteX6855" fmla="*/ 11998848 w 12117871"/>
                <a:gd name="connsiteY6855" fmla="*/ 659829 h 6072780"/>
                <a:gd name="connsiteX6856" fmla="*/ 12015047 w 12117871"/>
                <a:gd name="connsiteY6856" fmla="*/ 652680 h 6072780"/>
                <a:gd name="connsiteX6857" fmla="*/ 12031170 w 12117871"/>
                <a:gd name="connsiteY6857" fmla="*/ 643858 h 6072780"/>
                <a:gd name="connsiteX6858" fmla="*/ 12047977 w 12117871"/>
                <a:gd name="connsiteY6858" fmla="*/ 632755 h 6072780"/>
                <a:gd name="connsiteX6859" fmla="*/ 11675412 w 12117871"/>
                <a:gd name="connsiteY6859" fmla="*/ 632755 h 6072780"/>
                <a:gd name="connsiteX6860" fmla="*/ 11690318 w 12117871"/>
                <a:gd name="connsiteY6860" fmla="*/ 632755 h 6072780"/>
                <a:gd name="connsiteX6861" fmla="*/ 11690318 w 12117871"/>
                <a:gd name="connsiteY6861" fmla="*/ 855735 h 6072780"/>
                <a:gd name="connsiteX6862" fmla="*/ 11655030 w 12117871"/>
                <a:gd name="connsiteY6862" fmla="*/ 855735 h 6072780"/>
                <a:gd name="connsiteX6863" fmla="*/ 11655030 w 12117871"/>
                <a:gd name="connsiteY6863" fmla="*/ 675952 h 6072780"/>
                <a:gd name="connsiteX6864" fmla="*/ 11634421 w 12117871"/>
                <a:gd name="connsiteY6864" fmla="*/ 687587 h 6072780"/>
                <a:gd name="connsiteX6865" fmla="*/ 11609248 w 12117871"/>
                <a:gd name="connsiteY6865" fmla="*/ 696029 h 6072780"/>
                <a:gd name="connsiteX6866" fmla="*/ 11609248 w 12117871"/>
                <a:gd name="connsiteY6866" fmla="*/ 665913 h 6072780"/>
                <a:gd name="connsiteX6867" fmla="*/ 11626283 w 12117871"/>
                <a:gd name="connsiteY6867" fmla="*/ 659829 h 6072780"/>
                <a:gd name="connsiteX6868" fmla="*/ 11642482 w 12117871"/>
                <a:gd name="connsiteY6868" fmla="*/ 652680 h 6072780"/>
                <a:gd name="connsiteX6869" fmla="*/ 11658605 w 12117871"/>
                <a:gd name="connsiteY6869" fmla="*/ 643858 h 6072780"/>
                <a:gd name="connsiteX6870" fmla="*/ 11675412 w 12117871"/>
                <a:gd name="connsiteY6870" fmla="*/ 632755 h 6072780"/>
                <a:gd name="connsiteX6871" fmla="*/ 11525439 w 12117871"/>
                <a:gd name="connsiteY6871" fmla="*/ 632755 h 6072780"/>
                <a:gd name="connsiteX6872" fmla="*/ 11540345 w 12117871"/>
                <a:gd name="connsiteY6872" fmla="*/ 632755 h 6072780"/>
                <a:gd name="connsiteX6873" fmla="*/ 11540345 w 12117871"/>
                <a:gd name="connsiteY6873" fmla="*/ 855735 h 6072780"/>
                <a:gd name="connsiteX6874" fmla="*/ 11505057 w 12117871"/>
                <a:gd name="connsiteY6874" fmla="*/ 855735 h 6072780"/>
                <a:gd name="connsiteX6875" fmla="*/ 11505057 w 12117871"/>
                <a:gd name="connsiteY6875" fmla="*/ 675952 h 6072780"/>
                <a:gd name="connsiteX6876" fmla="*/ 11484448 w 12117871"/>
                <a:gd name="connsiteY6876" fmla="*/ 687587 h 6072780"/>
                <a:gd name="connsiteX6877" fmla="*/ 11459275 w 12117871"/>
                <a:gd name="connsiteY6877" fmla="*/ 696029 h 6072780"/>
                <a:gd name="connsiteX6878" fmla="*/ 11459275 w 12117871"/>
                <a:gd name="connsiteY6878" fmla="*/ 665913 h 6072780"/>
                <a:gd name="connsiteX6879" fmla="*/ 11476310 w 12117871"/>
                <a:gd name="connsiteY6879" fmla="*/ 659829 h 6072780"/>
                <a:gd name="connsiteX6880" fmla="*/ 11492509 w 12117871"/>
                <a:gd name="connsiteY6880" fmla="*/ 652680 h 6072780"/>
                <a:gd name="connsiteX6881" fmla="*/ 11508632 w 12117871"/>
                <a:gd name="connsiteY6881" fmla="*/ 643858 h 6072780"/>
                <a:gd name="connsiteX6882" fmla="*/ 11525439 w 12117871"/>
                <a:gd name="connsiteY6882" fmla="*/ 632755 h 6072780"/>
                <a:gd name="connsiteX6883" fmla="*/ 11375466 w 12117871"/>
                <a:gd name="connsiteY6883" fmla="*/ 632755 h 6072780"/>
                <a:gd name="connsiteX6884" fmla="*/ 11390372 w 12117871"/>
                <a:gd name="connsiteY6884" fmla="*/ 632755 h 6072780"/>
                <a:gd name="connsiteX6885" fmla="*/ 11390372 w 12117871"/>
                <a:gd name="connsiteY6885" fmla="*/ 855735 h 6072780"/>
                <a:gd name="connsiteX6886" fmla="*/ 11355084 w 12117871"/>
                <a:gd name="connsiteY6886" fmla="*/ 855735 h 6072780"/>
                <a:gd name="connsiteX6887" fmla="*/ 11355084 w 12117871"/>
                <a:gd name="connsiteY6887" fmla="*/ 675952 h 6072780"/>
                <a:gd name="connsiteX6888" fmla="*/ 11334475 w 12117871"/>
                <a:gd name="connsiteY6888" fmla="*/ 687587 h 6072780"/>
                <a:gd name="connsiteX6889" fmla="*/ 11309302 w 12117871"/>
                <a:gd name="connsiteY6889" fmla="*/ 696029 h 6072780"/>
                <a:gd name="connsiteX6890" fmla="*/ 11309302 w 12117871"/>
                <a:gd name="connsiteY6890" fmla="*/ 665913 h 6072780"/>
                <a:gd name="connsiteX6891" fmla="*/ 11326337 w 12117871"/>
                <a:gd name="connsiteY6891" fmla="*/ 659829 h 6072780"/>
                <a:gd name="connsiteX6892" fmla="*/ 11342536 w 12117871"/>
                <a:gd name="connsiteY6892" fmla="*/ 652680 h 6072780"/>
                <a:gd name="connsiteX6893" fmla="*/ 11358659 w 12117871"/>
                <a:gd name="connsiteY6893" fmla="*/ 643858 h 6072780"/>
                <a:gd name="connsiteX6894" fmla="*/ 11375466 w 12117871"/>
                <a:gd name="connsiteY6894" fmla="*/ 632755 h 6072780"/>
                <a:gd name="connsiteX6895" fmla="*/ 10632508 w 12117871"/>
                <a:gd name="connsiteY6895" fmla="*/ 632755 h 6072780"/>
                <a:gd name="connsiteX6896" fmla="*/ 10647414 w 12117871"/>
                <a:gd name="connsiteY6896" fmla="*/ 632755 h 6072780"/>
                <a:gd name="connsiteX6897" fmla="*/ 10647414 w 12117871"/>
                <a:gd name="connsiteY6897" fmla="*/ 855735 h 6072780"/>
                <a:gd name="connsiteX6898" fmla="*/ 10612126 w 12117871"/>
                <a:gd name="connsiteY6898" fmla="*/ 855735 h 6072780"/>
                <a:gd name="connsiteX6899" fmla="*/ 10612126 w 12117871"/>
                <a:gd name="connsiteY6899" fmla="*/ 675952 h 6072780"/>
                <a:gd name="connsiteX6900" fmla="*/ 10591517 w 12117871"/>
                <a:gd name="connsiteY6900" fmla="*/ 687587 h 6072780"/>
                <a:gd name="connsiteX6901" fmla="*/ 10566344 w 12117871"/>
                <a:gd name="connsiteY6901" fmla="*/ 696029 h 6072780"/>
                <a:gd name="connsiteX6902" fmla="*/ 10566344 w 12117871"/>
                <a:gd name="connsiteY6902" fmla="*/ 665913 h 6072780"/>
                <a:gd name="connsiteX6903" fmla="*/ 10583379 w 12117871"/>
                <a:gd name="connsiteY6903" fmla="*/ 659829 h 6072780"/>
                <a:gd name="connsiteX6904" fmla="*/ 10599578 w 12117871"/>
                <a:gd name="connsiteY6904" fmla="*/ 652680 h 6072780"/>
                <a:gd name="connsiteX6905" fmla="*/ 10615701 w 12117871"/>
                <a:gd name="connsiteY6905" fmla="*/ 643858 h 6072780"/>
                <a:gd name="connsiteX6906" fmla="*/ 10632508 w 12117871"/>
                <a:gd name="connsiteY6906" fmla="*/ 632755 h 6072780"/>
                <a:gd name="connsiteX6907" fmla="*/ 10481379 w 12117871"/>
                <a:gd name="connsiteY6907" fmla="*/ 632755 h 6072780"/>
                <a:gd name="connsiteX6908" fmla="*/ 10496285 w 12117871"/>
                <a:gd name="connsiteY6908" fmla="*/ 632755 h 6072780"/>
                <a:gd name="connsiteX6909" fmla="*/ 10496285 w 12117871"/>
                <a:gd name="connsiteY6909" fmla="*/ 855735 h 6072780"/>
                <a:gd name="connsiteX6910" fmla="*/ 10460997 w 12117871"/>
                <a:gd name="connsiteY6910" fmla="*/ 855735 h 6072780"/>
                <a:gd name="connsiteX6911" fmla="*/ 10460997 w 12117871"/>
                <a:gd name="connsiteY6911" fmla="*/ 675952 h 6072780"/>
                <a:gd name="connsiteX6912" fmla="*/ 10440388 w 12117871"/>
                <a:gd name="connsiteY6912" fmla="*/ 687587 h 6072780"/>
                <a:gd name="connsiteX6913" fmla="*/ 10415215 w 12117871"/>
                <a:gd name="connsiteY6913" fmla="*/ 696029 h 6072780"/>
                <a:gd name="connsiteX6914" fmla="*/ 10415215 w 12117871"/>
                <a:gd name="connsiteY6914" fmla="*/ 665913 h 6072780"/>
                <a:gd name="connsiteX6915" fmla="*/ 10432250 w 12117871"/>
                <a:gd name="connsiteY6915" fmla="*/ 659829 h 6072780"/>
                <a:gd name="connsiteX6916" fmla="*/ 10448449 w 12117871"/>
                <a:gd name="connsiteY6916" fmla="*/ 652680 h 6072780"/>
                <a:gd name="connsiteX6917" fmla="*/ 10464572 w 12117871"/>
                <a:gd name="connsiteY6917" fmla="*/ 643858 h 6072780"/>
                <a:gd name="connsiteX6918" fmla="*/ 10481379 w 12117871"/>
                <a:gd name="connsiteY6918" fmla="*/ 632755 h 6072780"/>
                <a:gd name="connsiteX6919" fmla="*/ 10181432 w 12117871"/>
                <a:gd name="connsiteY6919" fmla="*/ 632755 h 6072780"/>
                <a:gd name="connsiteX6920" fmla="*/ 10196338 w 12117871"/>
                <a:gd name="connsiteY6920" fmla="*/ 632755 h 6072780"/>
                <a:gd name="connsiteX6921" fmla="*/ 10196338 w 12117871"/>
                <a:gd name="connsiteY6921" fmla="*/ 855735 h 6072780"/>
                <a:gd name="connsiteX6922" fmla="*/ 10161050 w 12117871"/>
                <a:gd name="connsiteY6922" fmla="*/ 855735 h 6072780"/>
                <a:gd name="connsiteX6923" fmla="*/ 10161050 w 12117871"/>
                <a:gd name="connsiteY6923" fmla="*/ 675952 h 6072780"/>
                <a:gd name="connsiteX6924" fmla="*/ 10140441 w 12117871"/>
                <a:gd name="connsiteY6924" fmla="*/ 687587 h 6072780"/>
                <a:gd name="connsiteX6925" fmla="*/ 10115268 w 12117871"/>
                <a:gd name="connsiteY6925" fmla="*/ 696029 h 6072780"/>
                <a:gd name="connsiteX6926" fmla="*/ 10115268 w 12117871"/>
                <a:gd name="connsiteY6926" fmla="*/ 665913 h 6072780"/>
                <a:gd name="connsiteX6927" fmla="*/ 10132303 w 12117871"/>
                <a:gd name="connsiteY6927" fmla="*/ 659829 h 6072780"/>
                <a:gd name="connsiteX6928" fmla="*/ 10148502 w 12117871"/>
                <a:gd name="connsiteY6928" fmla="*/ 652680 h 6072780"/>
                <a:gd name="connsiteX6929" fmla="*/ 10164625 w 12117871"/>
                <a:gd name="connsiteY6929" fmla="*/ 643858 h 6072780"/>
                <a:gd name="connsiteX6930" fmla="*/ 10181432 w 12117871"/>
                <a:gd name="connsiteY6930" fmla="*/ 632755 h 6072780"/>
                <a:gd name="connsiteX6931" fmla="*/ 9796404 w 12117871"/>
                <a:gd name="connsiteY6931" fmla="*/ 632755 h 6072780"/>
                <a:gd name="connsiteX6932" fmla="*/ 9811310 w 12117871"/>
                <a:gd name="connsiteY6932" fmla="*/ 632755 h 6072780"/>
                <a:gd name="connsiteX6933" fmla="*/ 9811310 w 12117871"/>
                <a:gd name="connsiteY6933" fmla="*/ 855735 h 6072780"/>
                <a:gd name="connsiteX6934" fmla="*/ 9776022 w 12117871"/>
                <a:gd name="connsiteY6934" fmla="*/ 855735 h 6072780"/>
                <a:gd name="connsiteX6935" fmla="*/ 9776022 w 12117871"/>
                <a:gd name="connsiteY6935" fmla="*/ 675952 h 6072780"/>
                <a:gd name="connsiteX6936" fmla="*/ 9755413 w 12117871"/>
                <a:gd name="connsiteY6936" fmla="*/ 687587 h 6072780"/>
                <a:gd name="connsiteX6937" fmla="*/ 9730240 w 12117871"/>
                <a:gd name="connsiteY6937" fmla="*/ 696029 h 6072780"/>
                <a:gd name="connsiteX6938" fmla="*/ 9730240 w 12117871"/>
                <a:gd name="connsiteY6938" fmla="*/ 665913 h 6072780"/>
                <a:gd name="connsiteX6939" fmla="*/ 9747275 w 12117871"/>
                <a:gd name="connsiteY6939" fmla="*/ 659829 h 6072780"/>
                <a:gd name="connsiteX6940" fmla="*/ 9763474 w 12117871"/>
                <a:gd name="connsiteY6940" fmla="*/ 652680 h 6072780"/>
                <a:gd name="connsiteX6941" fmla="*/ 9779597 w 12117871"/>
                <a:gd name="connsiteY6941" fmla="*/ 643858 h 6072780"/>
                <a:gd name="connsiteX6942" fmla="*/ 9796404 w 12117871"/>
                <a:gd name="connsiteY6942" fmla="*/ 632755 h 6072780"/>
                <a:gd name="connsiteX6943" fmla="*/ 9645275 w 12117871"/>
                <a:gd name="connsiteY6943" fmla="*/ 632755 h 6072780"/>
                <a:gd name="connsiteX6944" fmla="*/ 9660181 w 12117871"/>
                <a:gd name="connsiteY6944" fmla="*/ 632755 h 6072780"/>
                <a:gd name="connsiteX6945" fmla="*/ 9660181 w 12117871"/>
                <a:gd name="connsiteY6945" fmla="*/ 855735 h 6072780"/>
                <a:gd name="connsiteX6946" fmla="*/ 9624893 w 12117871"/>
                <a:gd name="connsiteY6946" fmla="*/ 855735 h 6072780"/>
                <a:gd name="connsiteX6947" fmla="*/ 9624893 w 12117871"/>
                <a:gd name="connsiteY6947" fmla="*/ 675952 h 6072780"/>
                <a:gd name="connsiteX6948" fmla="*/ 9604284 w 12117871"/>
                <a:gd name="connsiteY6948" fmla="*/ 687587 h 6072780"/>
                <a:gd name="connsiteX6949" fmla="*/ 9579111 w 12117871"/>
                <a:gd name="connsiteY6949" fmla="*/ 696029 h 6072780"/>
                <a:gd name="connsiteX6950" fmla="*/ 9579111 w 12117871"/>
                <a:gd name="connsiteY6950" fmla="*/ 665913 h 6072780"/>
                <a:gd name="connsiteX6951" fmla="*/ 9596146 w 12117871"/>
                <a:gd name="connsiteY6951" fmla="*/ 659829 h 6072780"/>
                <a:gd name="connsiteX6952" fmla="*/ 9612345 w 12117871"/>
                <a:gd name="connsiteY6952" fmla="*/ 652680 h 6072780"/>
                <a:gd name="connsiteX6953" fmla="*/ 9628468 w 12117871"/>
                <a:gd name="connsiteY6953" fmla="*/ 643858 h 6072780"/>
                <a:gd name="connsiteX6954" fmla="*/ 9645275 w 12117871"/>
                <a:gd name="connsiteY6954" fmla="*/ 632755 h 6072780"/>
                <a:gd name="connsiteX6955" fmla="*/ 9495302 w 12117871"/>
                <a:gd name="connsiteY6955" fmla="*/ 632755 h 6072780"/>
                <a:gd name="connsiteX6956" fmla="*/ 9510208 w 12117871"/>
                <a:gd name="connsiteY6956" fmla="*/ 632755 h 6072780"/>
                <a:gd name="connsiteX6957" fmla="*/ 9510208 w 12117871"/>
                <a:gd name="connsiteY6957" fmla="*/ 855735 h 6072780"/>
                <a:gd name="connsiteX6958" fmla="*/ 9474920 w 12117871"/>
                <a:gd name="connsiteY6958" fmla="*/ 855735 h 6072780"/>
                <a:gd name="connsiteX6959" fmla="*/ 9474920 w 12117871"/>
                <a:gd name="connsiteY6959" fmla="*/ 675952 h 6072780"/>
                <a:gd name="connsiteX6960" fmla="*/ 9454311 w 12117871"/>
                <a:gd name="connsiteY6960" fmla="*/ 687587 h 6072780"/>
                <a:gd name="connsiteX6961" fmla="*/ 9429138 w 12117871"/>
                <a:gd name="connsiteY6961" fmla="*/ 696029 h 6072780"/>
                <a:gd name="connsiteX6962" fmla="*/ 9429138 w 12117871"/>
                <a:gd name="connsiteY6962" fmla="*/ 665913 h 6072780"/>
                <a:gd name="connsiteX6963" fmla="*/ 9446173 w 12117871"/>
                <a:gd name="connsiteY6963" fmla="*/ 659829 h 6072780"/>
                <a:gd name="connsiteX6964" fmla="*/ 9462372 w 12117871"/>
                <a:gd name="connsiteY6964" fmla="*/ 652680 h 6072780"/>
                <a:gd name="connsiteX6965" fmla="*/ 9478495 w 12117871"/>
                <a:gd name="connsiteY6965" fmla="*/ 643858 h 6072780"/>
                <a:gd name="connsiteX6966" fmla="*/ 9495302 w 12117871"/>
                <a:gd name="connsiteY6966" fmla="*/ 632755 h 6072780"/>
                <a:gd name="connsiteX6967" fmla="*/ 9345329 w 12117871"/>
                <a:gd name="connsiteY6967" fmla="*/ 632755 h 6072780"/>
                <a:gd name="connsiteX6968" fmla="*/ 9360235 w 12117871"/>
                <a:gd name="connsiteY6968" fmla="*/ 632755 h 6072780"/>
                <a:gd name="connsiteX6969" fmla="*/ 9360235 w 12117871"/>
                <a:gd name="connsiteY6969" fmla="*/ 855735 h 6072780"/>
                <a:gd name="connsiteX6970" fmla="*/ 9324947 w 12117871"/>
                <a:gd name="connsiteY6970" fmla="*/ 855735 h 6072780"/>
                <a:gd name="connsiteX6971" fmla="*/ 9324947 w 12117871"/>
                <a:gd name="connsiteY6971" fmla="*/ 675952 h 6072780"/>
                <a:gd name="connsiteX6972" fmla="*/ 9304338 w 12117871"/>
                <a:gd name="connsiteY6972" fmla="*/ 687587 h 6072780"/>
                <a:gd name="connsiteX6973" fmla="*/ 9279165 w 12117871"/>
                <a:gd name="connsiteY6973" fmla="*/ 696029 h 6072780"/>
                <a:gd name="connsiteX6974" fmla="*/ 9279165 w 12117871"/>
                <a:gd name="connsiteY6974" fmla="*/ 665913 h 6072780"/>
                <a:gd name="connsiteX6975" fmla="*/ 9296200 w 12117871"/>
                <a:gd name="connsiteY6975" fmla="*/ 659829 h 6072780"/>
                <a:gd name="connsiteX6976" fmla="*/ 9312399 w 12117871"/>
                <a:gd name="connsiteY6976" fmla="*/ 652680 h 6072780"/>
                <a:gd name="connsiteX6977" fmla="*/ 9328522 w 12117871"/>
                <a:gd name="connsiteY6977" fmla="*/ 643858 h 6072780"/>
                <a:gd name="connsiteX6978" fmla="*/ 9345329 w 12117871"/>
                <a:gd name="connsiteY6978" fmla="*/ 632755 h 6072780"/>
                <a:gd name="connsiteX6979" fmla="*/ 9144936 w 12117871"/>
                <a:gd name="connsiteY6979" fmla="*/ 632755 h 6072780"/>
                <a:gd name="connsiteX6980" fmla="*/ 9216103 w 12117871"/>
                <a:gd name="connsiteY6980" fmla="*/ 743343 h 6072780"/>
                <a:gd name="connsiteX6981" fmla="*/ 9196017 w 12117871"/>
                <a:gd name="connsiteY6981" fmla="*/ 826922 h 6072780"/>
                <a:gd name="connsiteX6982" fmla="*/ 9139820 w 12117871"/>
                <a:gd name="connsiteY6982" fmla="*/ 855735 h 6072780"/>
                <a:gd name="connsiteX6983" fmla="*/ 9087235 w 12117871"/>
                <a:gd name="connsiteY6983" fmla="*/ 828201 h 6072780"/>
                <a:gd name="connsiteX6984" fmla="*/ 9068352 w 12117871"/>
                <a:gd name="connsiteY6984" fmla="*/ 748609 h 6072780"/>
                <a:gd name="connsiteX6985" fmla="*/ 9088062 w 12117871"/>
                <a:gd name="connsiteY6985" fmla="*/ 662094 h 6072780"/>
                <a:gd name="connsiteX6986" fmla="*/ 9144936 w 12117871"/>
                <a:gd name="connsiteY6986" fmla="*/ 632755 h 6072780"/>
                <a:gd name="connsiteX6987" fmla="*/ 9013860 w 12117871"/>
                <a:gd name="connsiteY6987" fmla="*/ 632755 h 6072780"/>
                <a:gd name="connsiteX6988" fmla="*/ 9028766 w 12117871"/>
                <a:gd name="connsiteY6988" fmla="*/ 632755 h 6072780"/>
                <a:gd name="connsiteX6989" fmla="*/ 9028766 w 12117871"/>
                <a:gd name="connsiteY6989" fmla="*/ 855735 h 6072780"/>
                <a:gd name="connsiteX6990" fmla="*/ 8993478 w 12117871"/>
                <a:gd name="connsiteY6990" fmla="*/ 855735 h 6072780"/>
                <a:gd name="connsiteX6991" fmla="*/ 8993478 w 12117871"/>
                <a:gd name="connsiteY6991" fmla="*/ 675952 h 6072780"/>
                <a:gd name="connsiteX6992" fmla="*/ 8972869 w 12117871"/>
                <a:gd name="connsiteY6992" fmla="*/ 687587 h 6072780"/>
                <a:gd name="connsiteX6993" fmla="*/ 8947696 w 12117871"/>
                <a:gd name="connsiteY6993" fmla="*/ 696029 h 6072780"/>
                <a:gd name="connsiteX6994" fmla="*/ 8947696 w 12117871"/>
                <a:gd name="connsiteY6994" fmla="*/ 665913 h 6072780"/>
                <a:gd name="connsiteX6995" fmla="*/ 8964731 w 12117871"/>
                <a:gd name="connsiteY6995" fmla="*/ 659829 h 6072780"/>
                <a:gd name="connsiteX6996" fmla="*/ 8980930 w 12117871"/>
                <a:gd name="connsiteY6996" fmla="*/ 652680 h 6072780"/>
                <a:gd name="connsiteX6997" fmla="*/ 8997053 w 12117871"/>
                <a:gd name="connsiteY6997" fmla="*/ 643858 h 6072780"/>
                <a:gd name="connsiteX6998" fmla="*/ 9013860 w 12117871"/>
                <a:gd name="connsiteY6998" fmla="*/ 632755 h 6072780"/>
                <a:gd name="connsiteX6999" fmla="*/ 8803179 w 12117871"/>
                <a:gd name="connsiteY6999" fmla="*/ 632755 h 6072780"/>
                <a:gd name="connsiteX7000" fmla="*/ 8874346 w 12117871"/>
                <a:gd name="connsiteY7000" fmla="*/ 743343 h 6072780"/>
                <a:gd name="connsiteX7001" fmla="*/ 8854260 w 12117871"/>
                <a:gd name="connsiteY7001" fmla="*/ 826922 h 6072780"/>
                <a:gd name="connsiteX7002" fmla="*/ 8798063 w 12117871"/>
                <a:gd name="connsiteY7002" fmla="*/ 855735 h 6072780"/>
                <a:gd name="connsiteX7003" fmla="*/ 8745478 w 12117871"/>
                <a:gd name="connsiteY7003" fmla="*/ 828201 h 6072780"/>
                <a:gd name="connsiteX7004" fmla="*/ 8726595 w 12117871"/>
                <a:gd name="connsiteY7004" fmla="*/ 748609 h 6072780"/>
                <a:gd name="connsiteX7005" fmla="*/ 8746305 w 12117871"/>
                <a:gd name="connsiteY7005" fmla="*/ 662094 h 6072780"/>
                <a:gd name="connsiteX7006" fmla="*/ 8803179 w 12117871"/>
                <a:gd name="connsiteY7006" fmla="*/ 632755 h 6072780"/>
                <a:gd name="connsiteX7007" fmla="*/ 8101777 w 12117871"/>
                <a:gd name="connsiteY7007" fmla="*/ 632755 h 6072780"/>
                <a:gd name="connsiteX7008" fmla="*/ 8172944 w 12117871"/>
                <a:gd name="connsiteY7008" fmla="*/ 743343 h 6072780"/>
                <a:gd name="connsiteX7009" fmla="*/ 8152858 w 12117871"/>
                <a:gd name="connsiteY7009" fmla="*/ 826922 h 6072780"/>
                <a:gd name="connsiteX7010" fmla="*/ 8096661 w 12117871"/>
                <a:gd name="connsiteY7010" fmla="*/ 855735 h 6072780"/>
                <a:gd name="connsiteX7011" fmla="*/ 8044076 w 12117871"/>
                <a:gd name="connsiteY7011" fmla="*/ 828201 h 6072780"/>
                <a:gd name="connsiteX7012" fmla="*/ 8025193 w 12117871"/>
                <a:gd name="connsiteY7012" fmla="*/ 748609 h 6072780"/>
                <a:gd name="connsiteX7013" fmla="*/ 8044903 w 12117871"/>
                <a:gd name="connsiteY7013" fmla="*/ 662094 h 6072780"/>
                <a:gd name="connsiteX7014" fmla="*/ 8101777 w 12117871"/>
                <a:gd name="connsiteY7014" fmla="*/ 632755 h 6072780"/>
                <a:gd name="connsiteX7015" fmla="*/ 7722616 w 12117871"/>
                <a:gd name="connsiteY7015" fmla="*/ 632755 h 6072780"/>
                <a:gd name="connsiteX7016" fmla="*/ 7737522 w 12117871"/>
                <a:gd name="connsiteY7016" fmla="*/ 632755 h 6072780"/>
                <a:gd name="connsiteX7017" fmla="*/ 7737522 w 12117871"/>
                <a:gd name="connsiteY7017" fmla="*/ 855735 h 6072780"/>
                <a:gd name="connsiteX7018" fmla="*/ 7702234 w 12117871"/>
                <a:gd name="connsiteY7018" fmla="*/ 855735 h 6072780"/>
                <a:gd name="connsiteX7019" fmla="*/ 7702234 w 12117871"/>
                <a:gd name="connsiteY7019" fmla="*/ 675952 h 6072780"/>
                <a:gd name="connsiteX7020" fmla="*/ 7681625 w 12117871"/>
                <a:gd name="connsiteY7020" fmla="*/ 687587 h 6072780"/>
                <a:gd name="connsiteX7021" fmla="*/ 7656452 w 12117871"/>
                <a:gd name="connsiteY7021" fmla="*/ 696029 h 6072780"/>
                <a:gd name="connsiteX7022" fmla="*/ 7656452 w 12117871"/>
                <a:gd name="connsiteY7022" fmla="*/ 665913 h 6072780"/>
                <a:gd name="connsiteX7023" fmla="*/ 7673487 w 12117871"/>
                <a:gd name="connsiteY7023" fmla="*/ 659829 h 6072780"/>
                <a:gd name="connsiteX7024" fmla="*/ 7689686 w 12117871"/>
                <a:gd name="connsiteY7024" fmla="*/ 652680 h 6072780"/>
                <a:gd name="connsiteX7025" fmla="*/ 7705809 w 12117871"/>
                <a:gd name="connsiteY7025" fmla="*/ 643858 h 6072780"/>
                <a:gd name="connsiteX7026" fmla="*/ 7722616 w 12117871"/>
                <a:gd name="connsiteY7026" fmla="*/ 632755 h 6072780"/>
                <a:gd name="connsiteX7027" fmla="*/ 7360674 w 12117871"/>
                <a:gd name="connsiteY7027" fmla="*/ 632755 h 6072780"/>
                <a:gd name="connsiteX7028" fmla="*/ 7375580 w 12117871"/>
                <a:gd name="connsiteY7028" fmla="*/ 632755 h 6072780"/>
                <a:gd name="connsiteX7029" fmla="*/ 7375580 w 12117871"/>
                <a:gd name="connsiteY7029" fmla="*/ 855735 h 6072780"/>
                <a:gd name="connsiteX7030" fmla="*/ 7340292 w 12117871"/>
                <a:gd name="connsiteY7030" fmla="*/ 855735 h 6072780"/>
                <a:gd name="connsiteX7031" fmla="*/ 7340292 w 12117871"/>
                <a:gd name="connsiteY7031" fmla="*/ 675952 h 6072780"/>
                <a:gd name="connsiteX7032" fmla="*/ 7319683 w 12117871"/>
                <a:gd name="connsiteY7032" fmla="*/ 687587 h 6072780"/>
                <a:gd name="connsiteX7033" fmla="*/ 7294510 w 12117871"/>
                <a:gd name="connsiteY7033" fmla="*/ 696029 h 6072780"/>
                <a:gd name="connsiteX7034" fmla="*/ 7294510 w 12117871"/>
                <a:gd name="connsiteY7034" fmla="*/ 665913 h 6072780"/>
                <a:gd name="connsiteX7035" fmla="*/ 7311545 w 12117871"/>
                <a:gd name="connsiteY7035" fmla="*/ 659829 h 6072780"/>
                <a:gd name="connsiteX7036" fmla="*/ 7327744 w 12117871"/>
                <a:gd name="connsiteY7036" fmla="*/ 652680 h 6072780"/>
                <a:gd name="connsiteX7037" fmla="*/ 7343867 w 12117871"/>
                <a:gd name="connsiteY7037" fmla="*/ 643858 h 6072780"/>
                <a:gd name="connsiteX7038" fmla="*/ 7360674 w 12117871"/>
                <a:gd name="connsiteY7038" fmla="*/ 632755 h 6072780"/>
                <a:gd name="connsiteX7039" fmla="*/ 7060728 w 12117871"/>
                <a:gd name="connsiteY7039" fmla="*/ 632755 h 6072780"/>
                <a:gd name="connsiteX7040" fmla="*/ 7075634 w 12117871"/>
                <a:gd name="connsiteY7040" fmla="*/ 632755 h 6072780"/>
                <a:gd name="connsiteX7041" fmla="*/ 7075634 w 12117871"/>
                <a:gd name="connsiteY7041" fmla="*/ 855735 h 6072780"/>
                <a:gd name="connsiteX7042" fmla="*/ 7040346 w 12117871"/>
                <a:gd name="connsiteY7042" fmla="*/ 855735 h 6072780"/>
                <a:gd name="connsiteX7043" fmla="*/ 7040346 w 12117871"/>
                <a:gd name="connsiteY7043" fmla="*/ 675952 h 6072780"/>
                <a:gd name="connsiteX7044" fmla="*/ 7019737 w 12117871"/>
                <a:gd name="connsiteY7044" fmla="*/ 687587 h 6072780"/>
                <a:gd name="connsiteX7045" fmla="*/ 6994564 w 12117871"/>
                <a:gd name="connsiteY7045" fmla="*/ 696029 h 6072780"/>
                <a:gd name="connsiteX7046" fmla="*/ 6994564 w 12117871"/>
                <a:gd name="connsiteY7046" fmla="*/ 665913 h 6072780"/>
                <a:gd name="connsiteX7047" fmla="*/ 7011599 w 12117871"/>
                <a:gd name="connsiteY7047" fmla="*/ 659829 h 6072780"/>
                <a:gd name="connsiteX7048" fmla="*/ 7027798 w 12117871"/>
                <a:gd name="connsiteY7048" fmla="*/ 652680 h 6072780"/>
                <a:gd name="connsiteX7049" fmla="*/ 7043921 w 12117871"/>
                <a:gd name="connsiteY7049" fmla="*/ 643858 h 6072780"/>
                <a:gd name="connsiteX7050" fmla="*/ 7060728 w 12117871"/>
                <a:gd name="connsiteY7050" fmla="*/ 632755 h 6072780"/>
                <a:gd name="connsiteX7051" fmla="*/ 6843288 w 12117871"/>
                <a:gd name="connsiteY7051" fmla="*/ 632755 h 6072780"/>
                <a:gd name="connsiteX7052" fmla="*/ 6914455 w 12117871"/>
                <a:gd name="connsiteY7052" fmla="*/ 743343 h 6072780"/>
                <a:gd name="connsiteX7053" fmla="*/ 6894369 w 12117871"/>
                <a:gd name="connsiteY7053" fmla="*/ 826922 h 6072780"/>
                <a:gd name="connsiteX7054" fmla="*/ 6838172 w 12117871"/>
                <a:gd name="connsiteY7054" fmla="*/ 855735 h 6072780"/>
                <a:gd name="connsiteX7055" fmla="*/ 6785587 w 12117871"/>
                <a:gd name="connsiteY7055" fmla="*/ 828201 h 6072780"/>
                <a:gd name="connsiteX7056" fmla="*/ 6766704 w 12117871"/>
                <a:gd name="connsiteY7056" fmla="*/ 748609 h 6072780"/>
                <a:gd name="connsiteX7057" fmla="*/ 6786414 w 12117871"/>
                <a:gd name="connsiteY7057" fmla="*/ 662094 h 6072780"/>
                <a:gd name="connsiteX7058" fmla="*/ 6843288 w 12117871"/>
                <a:gd name="connsiteY7058" fmla="*/ 632755 h 6072780"/>
                <a:gd name="connsiteX7059" fmla="*/ 6630194 w 12117871"/>
                <a:gd name="connsiteY7059" fmla="*/ 632755 h 6072780"/>
                <a:gd name="connsiteX7060" fmla="*/ 6701361 w 12117871"/>
                <a:gd name="connsiteY7060" fmla="*/ 743343 h 6072780"/>
                <a:gd name="connsiteX7061" fmla="*/ 6681275 w 12117871"/>
                <a:gd name="connsiteY7061" fmla="*/ 826922 h 6072780"/>
                <a:gd name="connsiteX7062" fmla="*/ 6625078 w 12117871"/>
                <a:gd name="connsiteY7062" fmla="*/ 855735 h 6072780"/>
                <a:gd name="connsiteX7063" fmla="*/ 6572493 w 12117871"/>
                <a:gd name="connsiteY7063" fmla="*/ 828201 h 6072780"/>
                <a:gd name="connsiteX7064" fmla="*/ 6553610 w 12117871"/>
                <a:gd name="connsiteY7064" fmla="*/ 748609 h 6072780"/>
                <a:gd name="connsiteX7065" fmla="*/ 6573320 w 12117871"/>
                <a:gd name="connsiteY7065" fmla="*/ 662094 h 6072780"/>
                <a:gd name="connsiteX7066" fmla="*/ 6630194 w 12117871"/>
                <a:gd name="connsiteY7066" fmla="*/ 632755 h 6072780"/>
                <a:gd name="connsiteX7067" fmla="*/ 6468645 w 12117871"/>
                <a:gd name="connsiteY7067" fmla="*/ 632755 h 6072780"/>
                <a:gd name="connsiteX7068" fmla="*/ 6483551 w 12117871"/>
                <a:gd name="connsiteY7068" fmla="*/ 632755 h 6072780"/>
                <a:gd name="connsiteX7069" fmla="*/ 6483551 w 12117871"/>
                <a:gd name="connsiteY7069" fmla="*/ 855735 h 6072780"/>
                <a:gd name="connsiteX7070" fmla="*/ 6448263 w 12117871"/>
                <a:gd name="connsiteY7070" fmla="*/ 855735 h 6072780"/>
                <a:gd name="connsiteX7071" fmla="*/ 6448263 w 12117871"/>
                <a:gd name="connsiteY7071" fmla="*/ 675952 h 6072780"/>
                <a:gd name="connsiteX7072" fmla="*/ 6427654 w 12117871"/>
                <a:gd name="connsiteY7072" fmla="*/ 687587 h 6072780"/>
                <a:gd name="connsiteX7073" fmla="*/ 6402481 w 12117871"/>
                <a:gd name="connsiteY7073" fmla="*/ 696029 h 6072780"/>
                <a:gd name="connsiteX7074" fmla="*/ 6402481 w 12117871"/>
                <a:gd name="connsiteY7074" fmla="*/ 665913 h 6072780"/>
                <a:gd name="connsiteX7075" fmla="*/ 6419516 w 12117871"/>
                <a:gd name="connsiteY7075" fmla="*/ 659829 h 6072780"/>
                <a:gd name="connsiteX7076" fmla="*/ 6435715 w 12117871"/>
                <a:gd name="connsiteY7076" fmla="*/ 652680 h 6072780"/>
                <a:gd name="connsiteX7077" fmla="*/ 6451838 w 12117871"/>
                <a:gd name="connsiteY7077" fmla="*/ 643858 h 6072780"/>
                <a:gd name="connsiteX7078" fmla="*/ 6468645 w 12117871"/>
                <a:gd name="connsiteY7078" fmla="*/ 632755 h 6072780"/>
                <a:gd name="connsiteX7079" fmla="*/ 6168699 w 12117871"/>
                <a:gd name="connsiteY7079" fmla="*/ 632755 h 6072780"/>
                <a:gd name="connsiteX7080" fmla="*/ 6183605 w 12117871"/>
                <a:gd name="connsiteY7080" fmla="*/ 632755 h 6072780"/>
                <a:gd name="connsiteX7081" fmla="*/ 6183605 w 12117871"/>
                <a:gd name="connsiteY7081" fmla="*/ 855735 h 6072780"/>
                <a:gd name="connsiteX7082" fmla="*/ 6148317 w 12117871"/>
                <a:gd name="connsiteY7082" fmla="*/ 855735 h 6072780"/>
                <a:gd name="connsiteX7083" fmla="*/ 6148317 w 12117871"/>
                <a:gd name="connsiteY7083" fmla="*/ 675952 h 6072780"/>
                <a:gd name="connsiteX7084" fmla="*/ 6127708 w 12117871"/>
                <a:gd name="connsiteY7084" fmla="*/ 687587 h 6072780"/>
                <a:gd name="connsiteX7085" fmla="*/ 6102535 w 12117871"/>
                <a:gd name="connsiteY7085" fmla="*/ 696029 h 6072780"/>
                <a:gd name="connsiteX7086" fmla="*/ 6102535 w 12117871"/>
                <a:gd name="connsiteY7086" fmla="*/ 665913 h 6072780"/>
                <a:gd name="connsiteX7087" fmla="*/ 6119570 w 12117871"/>
                <a:gd name="connsiteY7087" fmla="*/ 659829 h 6072780"/>
                <a:gd name="connsiteX7088" fmla="*/ 6135769 w 12117871"/>
                <a:gd name="connsiteY7088" fmla="*/ 652680 h 6072780"/>
                <a:gd name="connsiteX7089" fmla="*/ 6151892 w 12117871"/>
                <a:gd name="connsiteY7089" fmla="*/ 643858 h 6072780"/>
                <a:gd name="connsiteX7090" fmla="*/ 6168699 w 12117871"/>
                <a:gd name="connsiteY7090" fmla="*/ 632755 h 6072780"/>
                <a:gd name="connsiteX7091" fmla="*/ 5985170 w 12117871"/>
                <a:gd name="connsiteY7091" fmla="*/ 632755 h 6072780"/>
                <a:gd name="connsiteX7092" fmla="*/ 6000077 w 12117871"/>
                <a:gd name="connsiteY7092" fmla="*/ 632755 h 6072780"/>
                <a:gd name="connsiteX7093" fmla="*/ 6000077 w 12117871"/>
                <a:gd name="connsiteY7093" fmla="*/ 855735 h 6072780"/>
                <a:gd name="connsiteX7094" fmla="*/ 5964788 w 12117871"/>
                <a:gd name="connsiteY7094" fmla="*/ 855735 h 6072780"/>
                <a:gd name="connsiteX7095" fmla="*/ 5964788 w 12117871"/>
                <a:gd name="connsiteY7095" fmla="*/ 675952 h 6072780"/>
                <a:gd name="connsiteX7096" fmla="*/ 5944180 w 12117871"/>
                <a:gd name="connsiteY7096" fmla="*/ 687587 h 6072780"/>
                <a:gd name="connsiteX7097" fmla="*/ 5919006 w 12117871"/>
                <a:gd name="connsiteY7097" fmla="*/ 696029 h 6072780"/>
                <a:gd name="connsiteX7098" fmla="*/ 5919006 w 12117871"/>
                <a:gd name="connsiteY7098" fmla="*/ 665913 h 6072780"/>
                <a:gd name="connsiteX7099" fmla="*/ 5936041 w 12117871"/>
                <a:gd name="connsiteY7099" fmla="*/ 659829 h 6072780"/>
                <a:gd name="connsiteX7100" fmla="*/ 5952241 w 12117871"/>
                <a:gd name="connsiteY7100" fmla="*/ 652680 h 6072780"/>
                <a:gd name="connsiteX7101" fmla="*/ 5968363 w 12117871"/>
                <a:gd name="connsiteY7101" fmla="*/ 643858 h 6072780"/>
                <a:gd name="connsiteX7102" fmla="*/ 5985170 w 12117871"/>
                <a:gd name="connsiteY7102" fmla="*/ 632755 h 6072780"/>
                <a:gd name="connsiteX7103" fmla="*/ 5617508 w 12117871"/>
                <a:gd name="connsiteY7103" fmla="*/ 632755 h 6072780"/>
                <a:gd name="connsiteX7104" fmla="*/ 5632415 w 12117871"/>
                <a:gd name="connsiteY7104" fmla="*/ 632755 h 6072780"/>
                <a:gd name="connsiteX7105" fmla="*/ 5632415 w 12117871"/>
                <a:gd name="connsiteY7105" fmla="*/ 855735 h 6072780"/>
                <a:gd name="connsiteX7106" fmla="*/ 5597126 w 12117871"/>
                <a:gd name="connsiteY7106" fmla="*/ 855735 h 6072780"/>
                <a:gd name="connsiteX7107" fmla="*/ 5597126 w 12117871"/>
                <a:gd name="connsiteY7107" fmla="*/ 675952 h 6072780"/>
                <a:gd name="connsiteX7108" fmla="*/ 5576518 w 12117871"/>
                <a:gd name="connsiteY7108" fmla="*/ 687587 h 6072780"/>
                <a:gd name="connsiteX7109" fmla="*/ 5551344 w 12117871"/>
                <a:gd name="connsiteY7109" fmla="*/ 696029 h 6072780"/>
                <a:gd name="connsiteX7110" fmla="*/ 5551344 w 12117871"/>
                <a:gd name="connsiteY7110" fmla="*/ 665913 h 6072780"/>
                <a:gd name="connsiteX7111" fmla="*/ 5568379 w 12117871"/>
                <a:gd name="connsiteY7111" fmla="*/ 659829 h 6072780"/>
                <a:gd name="connsiteX7112" fmla="*/ 5584578 w 12117871"/>
                <a:gd name="connsiteY7112" fmla="*/ 652680 h 6072780"/>
                <a:gd name="connsiteX7113" fmla="*/ 5600701 w 12117871"/>
                <a:gd name="connsiteY7113" fmla="*/ 643858 h 6072780"/>
                <a:gd name="connsiteX7114" fmla="*/ 5617508 w 12117871"/>
                <a:gd name="connsiteY7114" fmla="*/ 632755 h 6072780"/>
                <a:gd name="connsiteX7115" fmla="*/ 5467535 w 12117871"/>
                <a:gd name="connsiteY7115" fmla="*/ 632755 h 6072780"/>
                <a:gd name="connsiteX7116" fmla="*/ 5482441 w 12117871"/>
                <a:gd name="connsiteY7116" fmla="*/ 632755 h 6072780"/>
                <a:gd name="connsiteX7117" fmla="*/ 5482441 w 12117871"/>
                <a:gd name="connsiteY7117" fmla="*/ 855735 h 6072780"/>
                <a:gd name="connsiteX7118" fmla="*/ 5447153 w 12117871"/>
                <a:gd name="connsiteY7118" fmla="*/ 855735 h 6072780"/>
                <a:gd name="connsiteX7119" fmla="*/ 5447153 w 12117871"/>
                <a:gd name="connsiteY7119" fmla="*/ 675952 h 6072780"/>
                <a:gd name="connsiteX7120" fmla="*/ 5426545 w 12117871"/>
                <a:gd name="connsiteY7120" fmla="*/ 687587 h 6072780"/>
                <a:gd name="connsiteX7121" fmla="*/ 5401372 w 12117871"/>
                <a:gd name="connsiteY7121" fmla="*/ 696029 h 6072780"/>
                <a:gd name="connsiteX7122" fmla="*/ 5401372 w 12117871"/>
                <a:gd name="connsiteY7122" fmla="*/ 665913 h 6072780"/>
                <a:gd name="connsiteX7123" fmla="*/ 5418407 w 12117871"/>
                <a:gd name="connsiteY7123" fmla="*/ 659829 h 6072780"/>
                <a:gd name="connsiteX7124" fmla="*/ 5434605 w 12117871"/>
                <a:gd name="connsiteY7124" fmla="*/ 652680 h 6072780"/>
                <a:gd name="connsiteX7125" fmla="*/ 5450728 w 12117871"/>
                <a:gd name="connsiteY7125" fmla="*/ 643858 h 6072780"/>
                <a:gd name="connsiteX7126" fmla="*/ 5467535 w 12117871"/>
                <a:gd name="connsiteY7126" fmla="*/ 632755 h 6072780"/>
                <a:gd name="connsiteX7127" fmla="*/ 5317563 w 12117871"/>
                <a:gd name="connsiteY7127" fmla="*/ 632755 h 6072780"/>
                <a:gd name="connsiteX7128" fmla="*/ 5332469 w 12117871"/>
                <a:gd name="connsiteY7128" fmla="*/ 632755 h 6072780"/>
                <a:gd name="connsiteX7129" fmla="*/ 5332469 w 12117871"/>
                <a:gd name="connsiteY7129" fmla="*/ 855735 h 6072780"/>
                <a:gd name="connsiteX7130" fmla="*/ 5297180 w 12117871"/>
                <a:gd name="connsiteY7130" fmla="*/ 855735 h 6072780"/>
                <a:gd name="connsiteX7131" fmla="*/ 5297180 w 12117871"/>
                <a:gd name="connsiteY7131" fmla="*/ 675952 h 6072780"/>
                <a:gd name="connsiteX7132" fmla="*/ 5276571 w 12117871"/>
                <a:gd name="connsiteY7132" fmla="*/ 687587 h 6072780"/>
                <a:gd name="connsiteX7133" fmla="*/ 5251398 w 12117871"/>
                <a:gd name="connsiteY7133" fmla="*/ 696029 h 6072780"/>
                <a:gd name="connsiteX7134" fmla="*/ 5251398 w 12117871"/>
                <a:gd name="connsiteY7134" fmla="*/ 665913 h 6072780"/>
                <a:gd name="connsiteX7135" fmla="*/ 5268433 w 12117871"/>
                <a:gd name="connsiteY7135" fmla="*/ 659829 h 6072780"/>
                <a:gd name="connsiteX7136" fmla="*/ 5284632 w 12117871"/>
                <a:gd name="connsiteY7136" fmla="*/ 652680 h 6072780"/>
                <a:gd name="connsiteX7137" fmla="*/ 5300756 w 12117871"/>
                <a:gd name="connsiteY7137" fmla="*/ 643858 h 6072780"/>
                <a:gd name="connsiteX7138" fmla="*/ 5317563 w 12117871"/>
                <a:gd name="connsiteY7138" fmla="*/ 632755 h 6072780"/>
                <a:gd name="connsiteX7139" fmla="*/ 4568884 w 12117871"/>
                <a:gd name="connsiteY7139" fmla="*/ 632755 h 6072780"/>
                <a:gd name="connsiteX7140" fmla="*/ 4583790 w 12117871"/>
                <a:gd name="connsiteY7140" fmla="*/ 632755 h 6072780"/>
                <a:gd name="connsiteX7141" fmla="*/ 4583790 w 12117871"/>
                <a:gd name="connsiteY7141" fmla="*/ 855735 h 6072780"/>
                <a:gd name="connsiteX7142" fmla="*/ 4548503 w 12117871"/>
                <a:gd name="connsiteY7142" fmla="*/ 855735 h 6072780"/>
                <a:gd name="connsiteX7143" fmla="*/ 4548503 w 12117871"/>
                <a:gd name="connsiteY7143" fmla="*/ 675952 h 6072780"/>
                <a:gd name="connsiteX7144" fmla="*/ 4527893 w 12117871"/>
                <a:gd name="connsiteY7144" fmla="*/ 687587 h 6072780"/>
                <a:gd name="connsiteX7145" fmla="*/ 4502720 w 12117871"/>
                <a:gd name="connsiteY7145" fmla="*/ 696029 h 6072780"/>
                <a:gd name="connsiteX7146" fmla="*/ 4502720 w 12117871"/>
                <a:gd name="connsiteY7146" fmla="*/ 665913 h 6072780"/>
                <a:gd name="connsiteX7147" fmla="*/ 4519755 w 12117871"/>
                <a:gd name="connsiteY7147" fmla="*/ 659829 h 6072780"/>
                <a:gd name="connsiteX7148" fmla="*/ 4535955 w 12117871"/>
                <a:gd name="connsiteY7148" fmla="*/ 652680 h 6072780"/>
                <a:gd name="connsiteX7149" fmla="*/ 4552078 w 12117871"/>
                <a:gd name="connsiteY7149" fmla="*/ 643858 h 6072780"/>
                <a:gd name="connsiteX7150" fmla="*/ 4568884 w 12117871"/>
                <a:gd name="connsiteY7150" fmla="*/ 632755 h 6072780"/>
                <a:gd name="connsiteX7151" fmla="*/ 4418912 w 12117871"/>
                <a:gd name="connsiteY7151" fmla="*/ 632755 h 6072780"/>
                <a:gd name="connsiteX7152" fmla="*/ 4433817 w 12117871"/>
                <a:gd name="connsiteY7152" fmla="*/ 632755 h 6072780"/>
                <a:gd name="connsiteX7153" fmla="*/ 4433817 w 12117871"/>
                <a:gd name="connsiteY7153" fmla="*/ 855735 h 6072780"/>
                <a:gd name="connsiteX7154" fmla="*/ 4398529 w 12117871"/>
                <a:gd name="connsiteY7154" fmla="*/ 855735 h 6072780"/>
                <a:gd name="connsiteX7155" fmla="*/ 4398529 w 12117871"/>
                <a:gd name="connsiteY7155" fmla="*/ 675952 h 6072780"/>
                <a:gd name="connsiteX7156" fmla="*/ 4377920 w 12117871"/>
                <a:gd name="connsiteY7156" fmla="*/ 687587 h 6072780"/>
                <a:gd name="connsiteX7157" fmla="*/ 4352748 w 12117871"/>
                <a:gd name="connsiteY7157" fmla="*/ 696029 h 6072780"/>
                <a:gd name="connsiteX7158" fmla="*/ 4352748 w 12117871"/>
                <a:gd name="connsiteY7158" fmla="*/ 665913 h 6072780"/>
                <a:gd name="connsiteX7159" fmla="*/ 4369782 w 12117871"/>
                <a:gd name="connsiteY7159" fmla="*/ 659829 h 6072780"/>
                <a:gd name="connsiteX7160" fmla="*/ 4385981 w 12117871"/>
                <a:gd name="connsiteY7160" fmla="*/ 652680 h 6072780"/>
                <a:gd name="connsiteX7161" fmla="*/ 4402104 w 12117871"/>
                <a:gd name="connsiteY7161" fmla="*/ 643858 h 6072780"/>
                <a:gd name="connsiteX7162" fmla="*/ 4418912 w 12117871"/>
                <a:gd name="connsiteY7162" fmla="*/ 632755 h 6072780"/>
                <a:gd name="connsiteX7163" fmla="*/ 4118966 w 12117871"/>
                <a:gd name="connsiteY7163" fmla="*/ 632755 h 6072780"/>
                <a:gd name="connsiteX7164" fmla="*/ 4133872 w 12117871"/>
                <a:gd name="connsiteY7164" fmla="*/ 632755 h 6072780"/>
                <a:gd name="connsiteX7165" fmla="*/ 4133872 w 12117871"/>
                <a:gd name="connsiteY7165" fmla="*/ 855735 h 6072780"/>
                <a:gd name="connsiteX7166" fmla="*/ 4098584 w 12117871"/>
                <a:gd name="connsiteY7166" fmla="*/ 855735 h 6072780"/>
                <a:gd name="connsiteX7167" fmla="*/ 4098584 w 12117871"/>
                <a:gd name="connsiteY7167" fmla="*/ 675952 h 6072780"/>
                <a:gd name="connsiteX7168" fmla="*/ 4077975 w 12117871"/>
                <a:gd name="connsiteY7168" fmla="*/ 687587 h 6072780"/>
                <a:gd name="connsiteX7169" fmla="*/ 4052802 w 12117871"/>
                <a:gd name="connsiteY7169" fmla="*/ 696029 h 6072780"/>
                <a:gd name="connsiteX7170" fmla="*/ 4052802 w 12117871"/>
                <a:gd name="connsiteY7170" fmla="*/ 665913 h 6072780"/>
                <a:gd name="connsiteX7171" fmla="*/ 4069837 w 12117871"/>
                <a:gd name="connsiteY7171" fmla="*/ 659829 h 6072780"/>
                <a:gd name="connsiteX7172" fmla="*/ 4086036 w 12117871"/>
                <a:gd name="connsiteY7172" fmla="*/ 652680 h 6072780"/>
                <a:gd name="connsiteX7173" fmla="*/ 4102158 w 12117871"/>
                <a:gd name="connsiteY7173" fmla="*/ 643858 h 6072780"/>
                <a:gd name="connsiteX7174" fmla="*/ 4118966 w 12117871"/>
                <a:gd name="connsiteY7174" fmla="*/ 632755 h 6072780"/>
                <a:gd name="connsiteX7175" fmla="*/ 3738375 w 12117871"/>
                <a:gd name="connsiteY7175" fmla="*/ 632755 h 6072780"/>
                <a:gd name="connsiteX7176" fmla="*/ 3753281 w 12117871"/>
                <a:gd name="connsiteY7176" fmla="*/ 632755 h 6072780"/>
                <a:gd name="connsiteX7177" fmla="*/ 3753281 w 12117871"/>
                <a:gd name="connsiteY7177" fmla="*/ 855735 h 6072780"/>
                <a:gd name="connsiteX7178" fmla="*/ 3717993 w 12117871"/>
                <a:gd name="connsiteY7178" fmla="*/ 855735 h 6072780"/>
                <a:gd name="connsiteX7179" fmla="*/ 3717993 w 12117871"/>
                <a:gd name="connsiteY7179" fmla="*/ 675952 h 6072780"/>
                <a:gd name="connsiteX7180" fmla="*/ 3697384 w 12117871"/>
                <a:gd name="connsiteY7180" fmla="*/ 687587 h 6072780"/>
                <a:gd name="connsiteX7181" fmla="*/ 3672211 w 12117871"/>
                <a:gd name="connsiteY7181" fmla="*/ 696029 h 6072780"/>
                <a:gd name="connsiteX7182" fmla="*/ 3672211 w 12117871"/>
                <a:gd name="connsiteY7182" fmla="*/ 665913 h 6072780"/>
                <a:gd name="connsiteX7183" fmla="*/ 3689246 w 12117871"/>
                <a:gd name="connsiteY7183" fmla="*/ 659829 h 6072780"/>
                <a:gd name="connsiteX7184" fmla="*/ 3705445 w 12117871"/>
                <a:gd name="connsiteY7184" fmla="*/ 652680 h 6072780"/>
                <a:gd name="connsiteX7185" fmla="*/ 3721568 w 12117871"/>
                <a:gd name="connsiteY7185" fmla="*/ 643858 h 6072780"/>
                <a:gd name="connsiteX7186" fmla="*/ 3738375 w 12117871"/>
                <a:gd name="connsiteY7186" fmla="*/ 632755 h 6072780"/>
                <a:gd name="connsiteX7187" fmla="*/ 3588402 w 12117871"/>
                <a:gd name="connsiteY7187" fmla="*/ 632755 h 6072780"/>
                <a:gd name="connsiteX7188" fmla="*/ 3603308 w 12117871"/>
                <a:gd name="connsiteY7188" fmla="*/ 632755 h 6072780"/>
                <a:gd name="connsiteX7189" fmla="*/ 3603308 w 12117871"/>
                <a:gd name="connsiteY7189" fmla="*/ 855735 h 6072780"/>
                <a:gd name="connsiteX7190" fmla="*/ 3568020 w 12117871"/>
                <a:gd name="connsiteY7190" fmla="*/ 855735 h 6072780"/>
                <a:gd name="connsiteX7191" fmla="*/ 3568020 w 12117871"/>
                <a:gd name="connsiteY7191" fmla="*/ 675952 h 6072780"/>
                <a:gd name="connsiteX7192" fmla="*/ 3547411 w 12117871"/>
                <a:gd name="connsiteY7192" fmla="*/ 687587 h 6072780"/>
                <a:gd name="connsiteX7193" fmla="*/ 3522237 w 12117871"/>
                <a:gd name="connsiteY7193" fmla="*/ 696029 h 6072780"/>
                <a:gd name="connsiteX7194" fmla="*/ 3522237 w 12117871"/>
                <a:gd name="connsiteY7194" fmla="*/ 665913 h 6072780"/>
                <a:gd name="connsiteX7195" fmla="*/ 3539273 w 12117871"/>
                <a:gd name="connsiteY7195" fmla="*/ 659829 h 6072780"/>
                <a:gd name="connsiteX7196" fmla="*/ 3555472 w 12117871"/>
                <a:gd name="connsiteY7196" fmla="*/ 652680 h 6072780"/>
                <a:gd name="connsiteX7197" fmla="*/ 3571595 w 12117871"/>
                <a:gd name="connsiteY7197" fmla="*/ 643858 h 6072780"/>
                <a:gd name="connsiteX7198" fmla="*/ 3588402 w 12117871"/>
                <a:gd name="connsiteY7198" fmla="*/ 632755 h 6072780"/>
                <a:gd name="connsiteX7199" fmla="*/ 3438429 w 12117871"/>
                <a:gd name="connsiteY7199" fmla="*/ 632755 h 6072780"/>
                <a:gd name="connsiteX7200" fmla="*/ 3453335 w 12117871"/>
                <a:gd name="connsiteY7200" fmla="*/ 632755 h 6072780"/>
                <a:gd name="connsiteX7201" fmla="*/ 3453335 w 12117871"/>
                <a:gd name="connsiteY7201" fmla="*/ 855735 h 6072780"/>
                <a:gd name="connsiteX7202" fmla="*/ 3418047 w 12117871"/>
                <a:gd name="connsiteY7202" fmla="*/ 855735 h 6072780"/>
                <a:gd name="connsiteX7203" fmla="*/ 3418047 w 12117871"/>
                <a:gd name="connsiteY7203" fmla="*/ 675952 h 6072780"/>
                <a:gd name="connsiteX7204" fmla="*/ 3397438 w 12117871"/>
                <a:gd name="connsiteY7204" fmla="*/ 687587 h 6072780"/>
                <a:gd name="connsiteX7205" fmla="*/ 3372265 w 12117871"/>
                <a:gd name="connsiteY7205" fmla="*/ 696029 h 6072780"/>
                <a:gd name="connsiteX7206" fmla="*/ 3372265 w 12117871"/>
                <a:gd name="connsiteY7206" fmla="*/ 665913 h 6072780"/>
                <a:gd name="connsiteX7207" fmla="*/ 3389300 w 12117871"/>
                <a:gd name="connsiteY7207" fmla="*/ 659829 h 6072780"/>
                <a:gd name="connsiteX7208" fmla="*/ 3405499 w 12117871"/>
                <a:gd name="connsiteY7208" fmla="*/ 652680 h 6072780"/>
                <a:gd name="connsiteX7209" fmla="*/ 3421622 w 12117871"/>
                <a:gd name="connsiteY7209" fmla="*/ 643858 h 6072780"/>
                <a:gd name="connsiteX7210" fmla="*/ 3438429 w 12117871"/>
                <a:gd name="connsiteY7210" fmla="*/ 632755 h 6072780"/>
                <a:gd name="connsiteX7211" fmla="*/ 3288456 w 12117871"/>
                <a:gd name="connsiteY7211" fmla="*/ 632755 h 6072780"/>
                <a:gd name="connsiteX7212" fmla="*/ 3303362 w 12117871"/>
                <a:gd name="connsiteY7212" fmla="*/ 632755 h 6072780"/>
                <a:gd name="connsiteX7213" fmla="*/ 3303362 w 12117871"/>
                <a:gd name="connsiteY7213" fmla="*/ 855735 h 6072780"/>
                <a:gd name="connsiteX7214" fmla="*/ 3268074 w 12117871"/>
                <a:gd name="connsiteY7214" fmla="*/ 855735 h 6072780"/>
                <a:gd name="connsiteX7215" fmla="*/ 3268074 w 12117871"/>
                <a:gd name="connsiteY7215" fmla="*/ 675952 h 6072780"/>
                <a:gd name="connsiteX7216" fmla="*/ 3247464 w 12117871"/>
                <a:gd name="connsiteY7216" fmla="*/ 687587 h 6072780"/>
                <a:gd name="connsiteX7217" fmla="*/ 3222292 w 12117871"/>
                <a:gd name="connsiteY7217" fmla="*/ 696029 h 6072780"/>
                <a:gd name="connsiteX7218" fmla="*/ 3222292 w 12117871"/>
                <a:gd name="connsiteY7218" fmla="*/ 665913 h 6072780"/>
                <a:gd name="connsiteX7219" fmla="*/ 3239327 w 12117871"/>
                <a:gd name="connsiteY7219" fmla="*/ 659829 h 6072780"/>
                <a:gd name="connsiteX7220" fmla="*/ 3255526 w 12117871"/>
                <a:gd name="connsiteY7220" fmla="*/ 652680 h 6072780"/>
                <a:gd name="connsiteX7221" fmla="*/ 3271649 w 12117871"/>
                <a:gd name="connsiteY7221" fmla="*/ 643858 h 6072780"/>
                <a:gd name="connsiteX7222" fmla="*/ 3288456 w 12117871"/>
                <a:gd name="connsiteY7222" fmla="*/ 632755 h 6072780"/>
                <a:gd name="connsiteX7223" fmla="*/ 3084519 w 12117871"/>
                <a:gd name="connsiteY7223" fmla="*/ 632755 h 6072780"/>
                <a:gd name="connsiteX7224" fmla="*/ 3155686 w 12117871"/>
                <a:gd name="connsiteY7224" fmla="*/ 743343 h 6072780"/>
                <a:gd name="connsiteX7225" fmla="*/ 3135600 w 12117871"/>
                <a:gd name="connsiteY7225" fmla="*/ 826922 h 6072780"/>
                <a:gd name="connsiteX7226" fmla="*/ 3079403 w 12117871"/>
                <a:gd name="connsiteY7226" fmla="*/ 855735 h 6072780"/>
                <a:gd name="connsiteX7227" fmla="*/ 3026818 w 12117871"/>
                <a:gd name="connsiteY7227" fmla="*/ 828201 h 6072780"/>
                <a:gd name="connsiteX7228" fmla="*/ 3007935 w 12117871"/>
                <a:gd name="connsiteY7228" fmla="*/ 748609 h 6072780"/>
                <a:gd name="connsiteX7229" fmla="*/ 3027645 w 12117871"/>
                <a:gd name="connsiteY7229" fmla="*/ 662094 h 6072780"/>
                <a:gd name="connsiteX7230" fmla="*/ 3084519 w 12117871"/>
                <a:gd name="connsiteY7230" fmla="*/ 632755 h 6072780"/>
                <a:gd name="connsiteX7231" fmla="*/ 2954273 w 12117871"/>
                <a:gd name="connsiteY7231" fmla="*/ 632755 h 6072780"/>
                <a:gd name="connsiteX7232" fmla="*/ 2969178 w 12117871"/>
                <a:gd name="connsiteY7232" fmla="*/ 632755 h 6072780"/>
                <a:gd name="connsiteX7233" fmla="*/ 2969178 w 12117871"/>
                <a:gd name="connsiteY7233" fmla="*/ 855735 h 6072780"/>
                <a:gd name="connsiteX7234" fmla="*/ 2933891 w 12117871"/>
                <a:gd name="connsiteY7234" fmla="*/ 855735 h 6072780"/>
                <a:gd name="connsiteX7235" fmla="*/ 2933891 w 12117871"/>
                <a:gd name="connsiteY7235" fmla="*/ 675952 h 6072780"/>
                <a:gd name="connsiteX7236" fmla="*/ 2913282 w 12117871"/>
                <a:gd name="connsiteY7236" fmla="*/ 687587 h 6072780"/>
                <a:gd name="connsiteX7237" fmla="*/ 2888109 w 12117871"/>
                <a:gd name="connsiteY7237" fmla="*/ 696029 h 6072780"/>
                <a:gd name="connsiteX7238" fmla="*/ 2888109 w 12117871"/>
                <a:gd name="connsiteY7238" fmla="*/ 665913 h 6072780"/>
                <a:gd name="connsiteX7239" fmla="*/ 2905144 w 12117871"/>
                <a:gd name="connsiteY7239" fmla="*/ 659829 h 6072780"/>
                <a:gd name="connsiteX7240" fmla="*/ 2921343 w 12117871"/>
                <a:gd name="connsiteY7240" fmla="*/ 652680 h 6072780"/>
                <a:gd name="connsiteX7241" fmla="*/ 2937466 w 12117871"/>
                <a:gd name="connsiteY7241" fmla="*/ 643858 h 6072780"/>
                <a:gd name="connsiteX7242" fmla="*/ 2954273 w 12117871"/>
                <a:gd name="connsiteY7242" fmla="*/ 632755 h 6072780"/>
                <a:gd name="connsiteX7243" fmla="*/ 2737716 w 12117871"/>
                <a:gd name="connsiteY7243" fmla="*/ 632755 h 6072780"/>
                <a:gd name="connsiteX7244" fmla="*/ 2808883 w 12117871"/>
                <a:gd name="connsiteY7244" fmla="*/ 743343 h 6072780"/>
                <a:gd name="connsiteX7245" fmla="*/ 2788797 w 12117871"/>
                <a:gd name="connsiteY7245" fmla="*/ 826922 h 6072780"/>
                <a:gd name="connsiteX7246" fmla="*/ 2732600 w 12117871"/>
                <a:gd name="connsiteY7246" fmla="*/ 855735 h 6072780"/>
                <a:gd name="connsiteX7247" fmla="*/ 2680015 w 12117871"/>
                <a:gd name="connsiteY7247" fmla="*/ 828201 h 6072780"/>
                <a:gd name="connsiteX7248" fmla="*/ 2661132 w 12117871"/>
                <a:gd name="connsiteY7248" fmla="*/ 748609 h 6072780"/>
                <a:gd name="connsiteX7249" fmla="*/ 2680842 w 12117871"/>
                <a:gd name="connsiteY7249" fmla="*/ 662094 h 6072780"/>
                <a:gd name="connsiteX7250" fmla="*/ 2737716 w 12117871"/>
                <a:gd name="connsiteY7250" fmla="*/ 632755 h 6072780"/>
                <a:gd name="connsiteX7251" fmla="*/ 2046351 w 12117871"/>
                <a:gd name="connsiteY7251" fmla="*/ 632755 h 6072780"/>
                <a:gd name="connsiteX7252" fmla="*/ 2117517 w 12117871"/>
                <a:gd name="connsiteY7252" fmla="*/ 743343 h 6072780"/>
                <a:gd name="connsiteX7253" fmla="*/ 2097432 w 12117871"/>
                <a:gd name="connsiteY7253" fmla="*/ 826922 h 6072780"/>
                <a:gd name="connsiteX7254" fmla="*/ 2041234 w 12117871"/>
                <a:gd name="connsiteY7254" fmla="*/ 855735 h 6072780"/>
                <a:gd name="connsiteX7255" fmla="*/ 1988650 w 12117871"/>
                <a:gd name="connsiteY7255" fmla="*/ 828201 h 6072780"/>
                <a:gd name="connsiteX7256" fmla="*/ 1969766 w 12117871"/>
                <a:gd name="connsiteY7256" fmla="*/ 748609 h 6072780"/>
                <a:gd name="connsiteX7257" fmla="*/ 1989476 w 12117871"/>
                <a:gd name="connsiteY7257" fmla="*/ 662094 h 6072780"/>
                <a:gd name="connsiteX7258" fmla="*/ 2046351 w 12117871"/>
                <a:gd name="connsiteY7258" fmla="*/ 632755 h 6072780"/>
                <a:gd name="connsiteX7259" fmla="*/ 1673990 w 12117871"/>
                <a:gd name="connsiteY7259" fmla="*/ 632755 h 6072780"/>
                <a:gd name="connsiteX7260" fmla="*/ 1688896 w 12117871"/>
                <a:gd name="connsiteY7260" fmla="*/ 632755 h 6072780"/>
                <a:gd name="connsiteX7261" fmla="*/ 1688896 w 12117871"/>
                <a:gd name="connsiteY7261" fmla="*/ 855735 h 6072780"/>
                <a:gd name="connsiteX7262" fmla="*/ 1653607 w 12117871"/>
                <a:gd name="connsiteY7262" fmla="*/ 855735 h 6072780"/>
                <a:gd name="connsiteX7263" fmla="*/ 1653607 w 12117871"/>
                <a:gd name="connsiteY7263" fmla="*/ 675952 h 6072780"/>
                <a:gd name="connsiteX7264" fmla="*/ 1632999 w 12117871"/>
                <a:gd name="connsiteY7264" fmla="*/ 687587 h 6072780"/>
                <a:gd name="connsiteX7265" fmla="*/ 1607825 w 12117871"/>
                <a:gd name="connsiteY7265" fmla="*/ 696029 h 6072780"/>
                <a:gd name="connsiteX7266" fmla="*/ 1607825 w 12117871"/>
                <a:gd name="connsiteY7266" fmla="*/ 665913 h 6072780"/>
                <a:gd name="connsiteX7267" fmla="*/ 1624860 w 12117871"/>
                <a:gd name="connsiteY7267" fmla="*/ 659829 h 6072780"/>
                <a:gd name="connsiteX7268" fmla="*/ 1641059 w 12117871"/>
                <a:gd name="connsiteY7268" fmla="*/ 652680 h 6072780"/>
                <a:gd name="connsiteX7269" fmla="*/ 1657183 w 12117871"/>
                <a:gd name="connsiteY7269" fmla="*/ 643858 h 6072780"/>
                <a:gd name="connsiteX7270" fmla="*/ 1673990 w 12117871"/>
                <a:gd name="connsiteY7270" fmla="*/ 632755 h 6072780"/>
                <a:gd name="connsiteX7271" fmla="*/ 1297324 w 12117871"/>
                <a:gd name="connsiteY7271" fmla="*/ 632755 h 6072780"/>
                <a:gd name="connsiteX7272" fmla="*/ 1312230 w 12117871"/>
                <a:gd name="connsiteY7272" fmla="*/ 632755 h 6072780"/>
                <a:gd name="connsiteX7273" fmla="*/ 1312230 w 12117871"/>
                <a:gd name="connsiteY7273" fmla="*/ 855735 h 6072780"/>
                <a:gd name="connsiteX7274" fmla="*/ 1276941 w 12117871"/>
                <a:gd name="connsiteY7274" fmla="*/ 855735 h 6072780"/>
                <a:gd name="connsiteX7275" fmla="*/ 1276941 w 12117871"/>
                <a:gd name="connsiteY7275" fmla="*/ 675952 h 6072780"/>
                <a:gd name="connsiteX7276" fmla="*/ 1256333 w 12117871"/>
                <a:gd name="connsiteY7276" fmla="*/ 687587 h 6072780"/>
                <a:gd name="connsiteX7277" fmla="*/ 1231160 w 12117871"/>
                <a:gd name="connsiteY7277" fmla="*/ 696029 h 6072780"/>
                <a:gd name="connsiteX7278" fmla="*/ 1231160 w 12117871"/>
                <a:gd name="connsiteY7278" fmla="*/ 665913 h 6072780"/>
                <a:gd name="connsiteX7279" fmla="*/ 1248195 w 12117871"/>
                <a:gd name="connsiteY7279" fmla="*/ 659829 h 6072780"/>
                <a:gd name="connsiteX7280" fmla="*/ 1264393 w 12117871"/>
                <a:gd name="connsiteY7280" fmla="*/ 652680 h 6072780"/>
                <a:gd name="connsiteX7281" fmla="*/ 1280517 w 12117871"/>
                <a:gd name="connsiteY7281" fmla="*/ 643858 h 6072780"/>
                <a:gd name="connsiteX7282" fmla="*/ 1297324 w 12117871"/>
                <a:gd name="connsiteY7282" fmla="*/ 632755 h 6072780"/>
                <a:gd name="connsiteX7283" fmla="*/ 997378 w 12117871"/>
                <a:gd name="connsiteY7283" fmla="*/ 632755 h 6072780"/>
                <a:gd name="connsiteX7284" fmla="*/ 1012284 w 12117871"/>
                <a:gd name="connsiteY7284" fmla="*/ 632755 h 6072780"/>
                <a:gd name="connsiteX7285" fmla="*/ 1012284 w 12117871"/>
                <a:gd name="connsiteY7285" fmla="*/ 855735 h 6072780"/>
                <a:gd name="connsiteX7286" fmla="*/ 976996 w 12117871"/>
                <a:gd name="connsiteY7286" fmla="*/ 855735 h 6072780"/>
                <a:gd name="connsiteX7287" fmla="*/ 976996 w 12117871"/>
                <a:gd name="connsiteY7287" fmla="*/ 675952 h 6072780"/>
                <a:gd name="connsiteX7288" fmla="*/ 956386 w 12117871"/>
                <a:gd name="connsiteY7288" fmla="*/ 687587 h 6072780"/>
                <a:gd name="connsiteX7289" fmla="*/ 931214 w 12117871"/>
                <a:gd name="connsiteY7289" fmla="*/ 696029 h 6072780"/>
                <a:gd name="connsiteX7290" fmla="*/ 931214 w 12117871"/>
                <a:gd name="connsiteY7290" fmla="*/ 665913 h 6072780"/>
                <a:gd name="connsiteX7291" fmla="*/ 948249 w 12117871"/>
                <a:gd name="connsiteY7291" fmla="*/ 659829 h 6072780"/>
                <a:gd name="connsiteX7292" fmla="*/ 964447 w 12117871"/>
                <a:gd name="connsiteY7292" fmla="*/ 652680 h 6072780"/>
                <a:gd name="connsiteX7293" fmla="*/ 980570 w 12117871"/>
                <a:gd name="connsiteY7293" fmla="*/ 643858 h 6072780"/>
                <a:gd name="connsiteX7294" fmla="*/ 997378 w 12117871"/>
                <a:gd name="connsiteY7294" fmla="*/ 632755 h 6072780"/>
                <a:gd name="connsiteX7295" fmla="*/ 791144 w 12117871"/>
                <a:gd name="connsiteY7295" fmla="*/ 632755 h 6072780"/>
                <a:gd name="connsiteX7296" fmla="*/ 862311 w 12117871"/>
                <a:gd name="connsiteY7296" fmla="*/ 743343 h 6072780"/>
                <a:gd name="connsiteX7297" fmla="*/ 842224 w 12117871"/>
                <a:gd name="connsiteY7297" fmla="*/ 826922 h 6072780"/>
                <a:gd name="connsiteX7298" fmla="*/ 786027 w 12117871"/>
                <a:gd name="connsiteY7298" fmla="*/ 855735 h 6072780"/>
                <a:gd name="connsiteX7299" fmla="*/ 733443 w 12117871"/>
                <a:gd name="connsiteY7299" fmla="*/ 828201 h 6072780"/>
                <a:gd name="connsiteX7300" fmla="*/ 714559 w 12117871"/>
                <a:gd name="connsiteY7300" fmla="*/ 748609 h 6072780"/>
                <a:gd name="connsiteX7301" fmla="*/ 734269 w 12117871"/>
                <a:gd name="connsiteY7301" fmla="*/ 662094 h 6072780"/>
                <a:gd name="connsiteX7302" fmla="*/ 791144 w 12117871"/>
                <a:gd name="connsiteY7302" fmla="*/ 632755 h 6072780"/>
                <a:gd name="connsiteX7303" fmla="*/ 570544 w 12117871"/>
                <a:gd name="connsiteY7303" fmla="*/ 632755 h 6072780"/>
                <a:gd name="connsiteX7304" fmla="*/ 641710 w 12117871"/>
                <a:gd name="connsiteY7304" fmla="*/ 743343 h 6072780"/>
                <a:gd name="connsiteX7305" fmla="*/ 621624 w 12117871"/>
                <a:gd name="connsiteY7305" fmla="*/ 826922 h 6072780"/>
                <a:gd name="connsiteX7306" fmla="*/ 565428 w 12117871"/>
                <a:gd name="connsiteY7306" fmla="*/ 855735 h 6072780"/>
                <a:gd name="connsiteX7307" fmla="*/ 512842 w 12117871"/>
                <a:gd name="connsiteY7307" fmla="*/ 828201 h 6072780"/>
                <a:gd name="connsiteX7308" fmla="*/ 493960 w 12117871"/>
                <a:gd name="connsiteY7308" fmla="*/ 748609 h 6072780"/>
                <a:gd name="connsiteX7309" fmla="*/ 513670 w 12117871"/>
                <a:gd name="connsiteY7309" fmla="*/ 662094 h 6072780"/>
                <a:gd name="connsiteX7310" fmla="*/ 570544 w 12117871"/>
                <a:gd name="connsiteY7310" fmla="*/ 632755 h 6072780"/>
                <a:gd name="connsiteX7311" fmla="*/ 403382 w 12117871"/>
                <a:gd name="connsiteY7311" fmla="*/ 632755 h 6072780"/>
                <a:gd name="connsiteX7312" fmla="*/ 418288 w 12117871"/>
                <a:gd name="connsiteY7312" fmla="*/ 632755 h 6072780"/>
                <a:gd name="connsiteX7313" fmla="*/ 418288 w 12117871"/>
                <a:gd name="connsiteY7313" fmla="*/ 855735 h 6072780"/>
                <a:gd name="connsiteX7314" fmla="*/ 382999 w 12117871"/>
                <a:gd name="connsiteY7314" fmla="*/ 855735 h 6072780"/>
                <a:gd name="connsiteX7315" fmla="*/ 382999 w 12117871"/>
                <a:gd name="connsiteY7315" fmla="*/ 675952 h 6072780"/>
                <a:gd name="connsiteX7316" fmla="*/ 362391 w 12117871"/>
                <a:gd name="connsiteY7316" fmla="*/ 687587 h 6072780"/>
                <a:gd name="connsiteX7317" fmla="*/ 337217 w 12117871"/>
                <a:gd name="connsiteY7317" fmla="*/ 696029 h 6072780"/>
                <a:gd name="connsiteX7318" fmla="*/ 337217 w 12117871"/>
                <a:gd name="connsiteY7318" fmla="*/ 665913 h 6072780"/>
                <a:gd name="connsiteX7319" fmla="*/ 354252 w 12117871"/>
                <a:gd name="connsiteY7319" fmla="*/ 659829 h 6072780"/>
                <a:gd name="connsiteX7320" fmla="*/ 370452 w 12117871"/>
                <a:gd name="connsiteY7320" fmla="*/ 652680 h 6072780"/>
                <a:gd name="connsiteX7321" fmla="*/ 386575 w 12117871"/>
                <a:gd name="connsiteY7321" fmla="*/ 643858 h 6072780"/>
                <a:gd name="connsiteX7322" fmla="*/ 403382 w 12117871"/>
                <a:gd name="connsiteY7322" fmla="*/ 632755 h 6072780"/>
                <a:gd name="connsiteX7323" fmla="*/ 103435 w 12117871"/>
                <a:gd name="connsiteY7323" fmla="*/ 632755 h 6072780"/>
                <a:gd name="connsiteX7324" fmla="*/ 118342 w 12117871"/>
                <a:gd name="connsiteY7324" fmla="*/ 632755 h 6072780"/>
                <a:gd name="connsiteX7325" fmla="*/ 118342 w 12117871"/>
                <a:gd name="connsiteY7325" fmla="*/ 855735 h 6072780"/>
                <a:gd name="connsiteX7326" fmla="*/ 83054 w 12117871"/>
                <a:gd name="connsiteY7326" fmla="*/ 855735 h 6072780"/>
                <a:gd name="connsiteX7327" fmla="*/ 83054 w 12117871"/>
                <a:gd name="connsiteY7327" fmla="*/ 675952 h 6072780"/>
                <a:gd name="connsiteX7328" fmla="*/ 62445 w 12117871"/>
                <a:gd name="connsiteY7328" fmla="*/ 687587 h 6072780"/>
                <a:gd name="connsiteX7329" fmla="*/ 37272 w 12117871"/>
                <a:gd name="connsiteY7329" fmla="*/ 696029 h 6072780"/>
                <a:gd name="connsiteX7330" fmla="*/ 37272 w 12117871"/>
                <a:gd name="connsiteY7330" fmla="*/ 665913 h 6072780"/>
                <a:gd name="connsiteX7331" fmla="*/ 54307 w 12117871"/>
                <a:gd name="connsiteY7331" fmla="*/ 659829 h 6072780"/>
                <a:gd name="connsiteX7332" fmla="*/ 70506 w 12117871"/>
                <a:gd name="connsiteY7332" fmla="*/ 652680 h 6072780"/>
                <a:gd name="connsiteX7333" fmla="*/ 86629 w 12117871"/>
                <a:gd name="connsiteY7333" fmla="*/ 643858 h 6072780"/>
                <a:gd name="connsiteX7334" fmla="*/ 103435 w 12117871"/>
                <a:gd name="connsiteY7334" fmla="*/ 632755 h 6072780"/>
                <a:gd name="connsiteX7335" fmla="*/ 11997319 w 12117871"/>
                <a:gd name="connsiteY7335" fmla="*/ 356082 h 6072780"/>
                <a:gd name="connsiteX7336" fmla="*/ 11958049 w 12117871"/>
                <a:gd name="connsiteY7336" fmla="*/ 442596 h 6072780"/>
                <a:gd name="connsiteX7337" fmla="*/ 11996567 w 12117871"/>
                <a:gd name="connsiteY7337" fmla="*/ 523543 h 6072780"/>
                <a:gd name="connsiteX7338" fmla="*/ 12034482 w 12117871"/>
                <a:gd name="connsiteY7338" fmla="*/ 441242 h 6072780"/>
                <a:gd name="connsiteX7339" fmla="*/ 11997319 w 12117871"/>
                <a:gd name="connsiteY7339" fmla="*/ 356082 h 6072780"/>
                <a:gd name="connsiteX7340" fmla="*/ 11780809 w 12117871"/>
                <a:gd name="connsiteY7340" fmla="*/ 356082 h 6072780"/>
                <a:gd name="connsiteX7341" fmla="*/ 11741539 w 12117871"/>
                <a:gd name="connsiteY7341" fmla="*/ 442596 h 6072780"/>
                <a:gd name="connsiteX7342" fmla="*/ 11780057 w 12117871"/>
                <a:gd name="connsiteY7342" fmla="*/ 523543 h 6072780"/>
                <a:gd name="connsiteX7343" fmla="*/ 11817972 w 12117871"/>
                <a:gd name="connsiteY7343" fmla="*/ 441242 h 6072780"/>
                <a:gd name="connsiteX7344" fmla="*/ 11780809 w 12117871"/>
                <a:gd name="connsiteY7344" fmla="*/ 356082 h 6072780"/>
                <a:gd name="connsiteX7345" fmla="*/ 6986021 w 12117871"/>
                <a:gd name="connsiteY7345" fmla="*/ 356082 h 6072780"/>
                <a:gd name="connsiteX7346" fmla="*/ 6946751 w 12117871"/>
                <a:gd name="connsiteY7346" fmla="*/ 442596 h 6072780"/>
                <a:gd name="connsiteX7347" fmla="*/ 6985269 w 12117871"/>
                <a:gd name="connsiteY7347" fmla="*/ 523543 h 6072780"/>
                <a:gd name="connsiteX7348" fmla="*/ 7023184 w 12117871"/>
                <a:gd name="connsiteY7348" fmla="*/ 441242 h 6072780"/>
                <a:gd name="connsiteX7349" fmla="*/ 6986021 w 12117871"/>
                <a:gd name="connsiteY7349" fmla="*/ 356082 h 6072780"/>
                <a:gd name="connsiteX7350" fmla="*/ 6769511 w 12117871"/>
                <a:gd name="connsiteY7350" fmla="*/ 356082 h 6072780"/>
                <a:gd name="connsiteX7351" fmla="*/ 6730241 w 12117871"/>
                <a:gd name="connsiteY7351" fmla="*/ 442596 h 6072780"/>
                <a:gd name="connsiteX7352" fmla="*/ 6768759 w 12117871"/>
                <a:gd name="connsiteY7352" fmla="*/ 523543 h 6072780"/>
                <a:gd name="connsiteX7353" fmla="*/ 6806674 w 12117871"/>
                <a:gd name="connsiteY7353" fmla="*/ 441242 h 6072780"/>
                <a:gd name="connsiteX7354" fmla="*/ 6769511 w 12117871"/>
                <a:gd name="connsiteY7354" fmla="*/ 356082 h 6072780"/>
                <a:gd name="connsiteX7355" fmla="*/ 6151734 w 12117871"/>
                <a:gd name="connsiteY7355" fmla="*/ 356082 h 6072780"/>
                <a:gd name="connsiteX7356" fmla="*/ 6112464 w 12117871"/>
                <a:gd name="connsiteY7356" fmla="*/ 442596 h 6072780"/>
                <a:gd name="connsiteX7357" fmla="*/ 6150982 w 12117871"/>
                <a:gd name="connsiteY7357" fmla="*/ 523543 h 6072780"/>
                <a:gd name="connsiteX7358" fmla="*/ 6188897 w 12117871"/>
                <a:gd name="connsiteY7358" fmla="*/ 441242 h 6072780"/>
                <a:gd name="connsiteX7359" fmla="*/ 6151734 w 12117871"/>
                <a:gd name="connsiteY7359" fmla="*/ 356082 h 6072780"/>
                <a:gd name="connsiteX7360" fmla="*/ 5935223 w 12117871"/>
                <a:gd name="connsiteY7360" fmla="*/ 356082 h 6072780"/>
                <a:gd name="connsiteX7361" fmla="*/ 5895954 w 12117871"/>
                <a:gd name="connsiteY7361" fmla="*/ 442596 h 6072780"/>
                <a:gd name="connsiteX7362" fmla="*/ 5934472 w 12117871"/>
                <a:gd name="connsiteY7362" fmla="*/ 523543 h 6072780"/>
                <a:gd name="connsiteX7363" fmla="*/ 5972387 w 12117871"/>
                <a:gd name="connsiteY7363" fmla="*/ 441242 h 6072780"/>
                <a:gd name="connsiteX7364" fmla="*/ 5935223 w 12117871"/>
                <a:gd name="connsiteY7364" fmla="*/ 356082 h 6072780"/>
                <a:gd name="connsiteX7365" fmla="*/ 5711116 w 12117871"/>
                <a:gd name="connsiteY7365" fmla="*/ 356082 h 6072780"/>
                <a:gd name="connsiteX7366" fmla="*/ 5671847 w 12117871"/>
                <a:gd name="connsiteY7366" fmla="*/ 442596 h 6072780"/>
                <a:gd name="connsiteX7367" fmla="*/ 5710364 w 12117871"/>
                <a:gd name="connsiteY7367" fmla="*/ 523543 h 6072780"/>
                <a:gd name="connsiteX7368" fmla="*/ 5748280 w 12117871"/>
                <a:gd name="connsiteY7368" fmla="*/ 441242 h 6072780"/>
                <a:gd name="connsiteX7369" fmla="*/ 5711116 w 12117871"/>
                <a:gd name="connsiteY7369" fmla="*/ 356082 h 6072780"/>
                <a:gd name="connsiteX7370" fmla="*/ 933138 w 12117871"/>
                <a:gd name="connsiteY7370" fmla="*/ 356082 h 6072780"/>
                <a:gd name="connsiteX7371" fmla="*/ 893868 w 12117871"/>
                <a:gd name="connsiteY7371" fmla="*/ 442596 h 6072780"/>
                <a:gd name="connsiteX7372" fmla="*/ 932386 w 12117871"/>
                <a:gd name="connsiteY7372" fmla="*/ 523543 h 6072780"/>
                <a:gd name="connsiteX7373" fmla="*/ 970301 w 12117871"/>
                <a:gd name="connsiteY7373" fmla="*/ 441242 h 6072780"/>
                <a:gd name="connsiteX7374" fmla="*/ 933138 w 12117871"/>
                <a:gd name="connsiteY7374" fmla="*/ 356082 h 6072780"/>
                <a:gd name="connsiteX7375" fmla="*/ 716861 w 12117871"/>
                <a:gd name="connsiteY7375" fmla="*/ 356082 h 6072780"/>
                <a:gd name="connsiteX7376" fmla="*/ 677593 w 12117871"/>
                <a:gd name="connsiteY7376" fmla="*/ 442596 h 6072780"/>
                <a:gd name="connsiteX7377" fmla="*/ 716110 w 12117871"/>
                <a:gd name="connsiteY7377" fmla="*/ 523543 h 6072780"/>
                <a:gd name="connsiteX7378" fmla="*/ 754026 w 12117871"/>
                <a:gd name="connsiteY7378" fmla="*/ 441242 h 6072780"/>
                <a:gd name="connsiteX7379" fmla="*/ 716861 w 12117871"/>
                <a:gd name="connsiteY7379" fmla="*/ 356082 h 6072780"/>
                <a:gd name="connsiteX7380" fmla="*/ 95256 w 12117871"/>
                <a:gd name="connsiteY7380" fmla="*/ 356082 h 6072780"/>
                <a:gd name="connsiteX7381" fmla="*/ 55985 w 12117871"/>
                <a:gd name="connsiteY7381" fmla="*/ 442596 h 6072780"/>
                <a:gd name="connsiteX7382" fmla="*/ 94502 w 12117871"/>
                <a:gd name="connsiteY7382" fmla="*/ 523543 h 6072780"/>
                <a:gd name="connsiteX7383" fmla="*/ 132418 w 12117871"/>
                <a:gd name="connsiteY7383" fmla="*/ 441242 h 6072780"/>
                <a:gd name="connsiteX7384" fmla="*/ 95256 w 12117871"/>
                <a:gd name="connsiteY7384" fmla="*/ 356082 h 6072780"/>
                <a:gd name="connsiteX7385" fmla="*/ 11998974 w 12117871"/>
                <a:gd name="connsiteY7385" fmla="*/ 328247 h 6072780"/>
                <a:gd name="connsiteX7386" fmla="*/ 12070141 w 12117871"/>
                <a:gd name="connsiteY7386" fmla="*/ 438834 h 6072780"/>
                <a:gd name="connsiteX7387" fmla="*/ 12050055 w 12117871"/>
                <a:gd name="connsiteY7387" fmla="*/ 522414 h 6072780"/>
                <a:gd name="connsiteX7388" fmla="*/ 11993858 w 12117871"/>
                <a:gd name="connsiteY7388" fmla="*/ 551227 h 6072780"/>
                <a:gd name="connsiteX7389" fmla="*/ 11941273 w 12117871"/>
                <a:gd name="connsiteY7389" fmla="*/ 523693 h 6072780"/>
                <a:gd name="connsiteX7390" fmla="*/ 11922390 w 12117871"/>
                <a:gd name="connsiteY7390" fmla="*/ 444101 h 6072780"/>
                <a:gd name="connsiteX7391" fmla="*/ 11942100 w 12117871"/>
                <a:gd name="connsiteY7391" fmla="*/ 357586 h 6072780"/>
                <a:gd name="connsiteX7392" fmla="*/ 11998974 w 12117871"/>
                <a:gd name="connsiteY7392" fmla="*/ 328247 h 6072780"/>
                <a:gd name="connsiteX7393" fmla="*/ 11782464 w 12117871"/>
                <a:gd name="connsiteY7393" fmla="*/ 328247 h 6072780"/>
                <a:gd name="connsiteX7394" fmla="*/ 11853631 w 12117871"/>
                <a:gd name="connsiteY7394" fmla="*/ 438834 h 6072780"/>
                <a:gd name="connsiteX7395" fmla="*/ 11833545 w 12117871"/>
                <a:gd name="connsiteY7395" fmla="*/ 522414 h 6072780"/>
                <a:gd name="connsiteX7396" fmla="*/ 11777348 w 12117871"/>
                <a:gd name="connsiteY7396" fmla="*/ 551227 h 6072780"/>
                <a:gd name="connsiteX7397" fmla="*/ 11724763 w 12117871"/>
                <a:gd name="connsiteY7397" fmla="*/ 523693 h 6072780"/>
                <a:gd name="connsiteX7398" fmla="*/ 11705880 w 12117871"/>
                <a:gd name="connsiteY7398" fmla="*/ 444101 h 6072780"/>
                <a:gd name="connsiteX7399" fmla="*/ 11725590 w 12117871"/>
                <a:gd name="connsiteY7399" fmla="*/ 357586 h 6072780"/>
                <a:gd name="connsiteX7400" fmla="*/ 11782464 w 12117871"/>
                <a:gd name="connsiteY7400" fmla="*/ 328247 h 6072780"/>
                <a:gd name="connsiteX7401" fmla="*/ 11630909 w 12117871"/>
                <a:gd name="connsiteY7401" fmla="*/ 328247 h 6072780"/>
                <a:gd name="connsiteX7402" fmla="*/ 11645815 w 12117871"/>
                <a:gd name="connsiteY7402" fmla="*/ 328247 h 6072780"/>
                <a:gd name="connsiteX7403" fmla="*/ 11645815 w 12117871"/>
                <a:gd name="connsiteY7403" fmla="*/ 551227 h 6072780"/>
                <a:gd name="connsiteX7404" fmla="*/ 11610527 w 12117871"/>
                <a:gd name="connsiteY7404" fmla="*/ 551227 h 6072780"/>
                <a:gd name="connsiteX7405" fmla="*/ 11610527 w 12117871"/>
                <a:gd name="connsiteY7405" fmla="*/ 371444 h 6072780"/>
                <a:gd name="connsiteX7406" fmla="*/ 11589918 w 12117871"/>
                <a:gd name="connsiteY7406" fmla="*/ 383079 h 6072780"/>
                <a:gd name="connsiteX7407" fmla="*/ 11564745 w 12117871"/>
                <a:gd name="connsiteY7407" fmla="*/ 391521 h 6072780"/>
                <a:gd name="connsiteX7408" fmla="*/ 11564745 w 12117871"/>
                <a:gd name="connsiteY7408" fmla="*/ 361405 h 6072780"/>
                <a:gd name="connsiteX7409" fmla="*/ 11581780 w 12117871"/>
                <a:gd name="connsiteY7409" fmla="*/ 355321 h 6072780"/>
                <a:gd name="connsiteX7410" fmla="*/ 11597979 w 12117871"/>
                <a:gd name="connsiteY7410" fmla="*/ 348172 h 6072780"/>
                <a:gd name="connsiteX7411" fmla="*/ 11614102 w 12117871"/>
                <a:gd name="connsiteY7411" fmla="*/ 339350 h 6072780"/>
                <a:gd name="connsiteX7412" fmla="*/ 11630909 w 12117871"/>
                <a:gd name="connsiteY7412" fmla="*/ 328247 h 6072780"/>
                <a:gd name="connsiteX7413" fmla="*/ 11328134 w 12117871"/>
                <a:gd name="connsiteY7413" fmla="*/ 328247 h 6072780"/>
                <a:gd name="connsiteX7414" fmla="*/ 11343040 w 12117871"/>
                <a:gd name="connsiteY7414" fmla="*/ 328247 h 6072780"/>
                <a:gd name="connsiteX7415" fmla="*/ 11343040 w 12117871"/>
                <a:gd name="connsiteY7415" fmla="*/ 551227 h 6072780"/>
                <a:gd name="connsiteX7416" fmla="*/ 11307752 w 12117871"/>
                <a:gd name="connsiteY7416" fmla="*/ 551227 h 6072780"/>
                <a:gd name="connsiteX7417" fmla="*/ 11307752 w 12117871"/>
                <a:gd name="connsiteY7417" fmla="*/ 371444 h 6072780"/>
                <a:gd name="connsiteX7418" fmla="*/ 11287143 w 12117871"/>
                <a:gd name="connsiteY7418" fmla="*/ 383079 h 6072780"/>
                <a:gd name="connsiteX7419" fmla="*/ 11261970 w 12117871"/>
                <a:gd name="connsiteY7419" fmla="*/ 391521 h 6072780"/>
                <a:gd name="connsiteX7420" fmla="*/ 11261970 w 12117871"/>
                <a:gd name="connsiteY7420" fmla="*/ 361405 h 6072780"/>
                <a:gd name="connsiteX7421" fmla="*/ 11279005 w 12117871"/>
                <a:gd name="connsiteY7421" fmla="*/ 355321 h 6072780"/>
                <a:gd name="connsiteX7422" fmla="*/ 11295204 w 12117871"/>
                <a:gd name="connsiteY7422" fmla="*/ 348172 h 6072780"/>
                <a:gd name="connsiteX7423" fmla="*/ 11311327 w 12117871"/>
                <a:gd name="connsiteY7423" fmla="*/ 339350 h 6072780"/>
                <a:gd name="connsiteX7424" fmla="*/ 11328134 w 12117871"/>
                <a:gd name="connsiteY7424" fmla="*/ 328247 h 6072780"/>
                <a:gd name="connsiteX7425" fmla="*/ 10950970 w 12117871"/>
                <a:gd name="connsiteY7425" fmla="*/ 328247 h 6072780"/>
                <a:gd name="connsiteX7426" fmla="*/ 10965876 w 12117871"/>
                <a:gd name="connsiteY7426" fmla="*/ 328247 h 6072780"/>
                <a:gd name="connsiteX7427" fmla="*/ 10965876 w 12117871"/>
                <a:gd name="connsiteY7427" fmla="*/ 551227 h 6072780"/>
                <a:gd name="connsiteX7428" fmla="*/ 10930588 w 12117871"/>
                <a:gd name="connsiteY7428" fmla="*/ 551227 h 6072780"/>
                <a:gd name="connsiteX7429" fmla="*/ 10930588 w 12117871"/>
                <a:gd name="connsiteY7429" fmla="*/ 371444 h 6072780"/>
                <a:gd name="connsiteX7430" fmla="*/ 10909979 w 12117871"/>
                <a:gd name="connsiteY7430" fmla="*/ 383079 h 6072780"/>
                <a:gd name="connsiteX7431" fmla="*/ 10884806 w 12117871"/>
                <a:gd name="connsiteY7431" fmla="*/ 391521 h 6072780"/>
                <a:gd name="connsiteX7432" fmla="*/ 10884806 w 12117871"/>
                <a:gd name="connsiteY7432" fmla="*/ 361405 h 6072780"/>
                <a:gd name="connsiteX7433" fmla="*/ 10901841 w 12117871"/>
                <a:gd name="connsiteY7433" fmla="*/ 355321 h 6072780"/>
                <a:gd name="connsiteX7434" fmla="*/ 10918040 w 12117871"/>
                <a:gd name="connsiteY7434" fmla="*/ 348172 h 6072780"/>
                <a:gd name="connsiteX7435" fmla="*/ 10934163 w 12117871"/>
                <a:gd name="connsiteY7435" fmla="*/ 339350 h 6072780"/>
                <a:gd name="connsiteX7436" fmla="*/ 10950970 w 12117871"/>
                <a:gd name="connsiteY7436" fmla="*/ 328247 h 6072780"/>
                <a:gd name="connsiteX7437" fmla="*/ 10802113 w 12117871"/>
                <a:gd name="connsiteY7437" fmla="*/ 328247 h 6072780"/>
                <a:gd name="connsiteX7438" fmla="*/ 10817019 w 12117871"/>
                <a:gd name="connsiteY7438" fmla="*/ 328247 h 6072780"/>
                <a:gd name="connsiteX7439" fmla="*/ 10817019 w 12117871"/>
                <a:gd name="connsiteY7439" fmla="*/ 551227 h 6072780"/>
                <a:gd name="connsiteX7440" fmla="*/ 10781731 w 12117871"/>
                <a:gd name="connsiteY7440" fmla="*/ 551227 h 6072780"/>
                <a:gd name="connsiteX7441" fmla="*/ 10781731 w 12117871"/>
                <a:gd name="connsiteY7441" fmla="*/ 371444 h 6072780"/>
                <a:gd name="connsiteX7442" fmla="*/ 10761122 w 12117871"/>
                <a:gd name="connsiteY7442" fmla="*/ 383079 h 6072780"/>
                <a:gd name="connsiteX7443" fmla="*/ 10735949 w 12117871"/>
                <a:gd name="connsiteY7443" fmla="*/ 391521 h 6072780"/>
                <a:gd name="connsiteX7444" fmla="*/ 10735949 w 12117871"/>
                <a:gd name="connsiteY7444" fmla="*/ 361405 h 6072780"/>
                <a:gd name="connsiteX7445" fmla="*/ 10752984 w 12117871"/>
                <a:gd name="connsiteY7445" fmla="*/ 355321 h 6072780"/>
                <a:gd name="connsiteX7446" fmla="*/ 10769183 w 12117871"/>
                <a:gd name="connsiteY7446" fmla="*/ 348172 h 6072780"/>
                <a:gd name="connsiteX7447" fmla="*/ 10785306 w 12117871"/>
                <a:gd name="connsiteY7447" fmla="*/ 339350 h 6072780"/>
                <a:gd name="connsiteX7448" fmla="*/ 10802113 w 12117871"/>
                <a:gd name="connsiteY7448" fmla="*/ 328247 h 6072780"/>
                <a:gd name="connsiteX7449" fmla="*/ 10648195 w 12117871"/>
                <a:gd name="connsiteY7449" fmla="*/ 328247 h 6072780"/>
                <a:gd name="connsiteX7450" fmla="*/ 10663101 w 12117871"/>
                <a:gd name="connsiteY7450" fmla="*/ 328247 h 6072780"/>
                <a:gd name="connsiteX7451" fmla="*/ 10663101 w 12117871"/>
                <a:gd name="connsiteY7451" fmla="*/ 551227 h 6072780"/>
                <a:gd name="connsiteX7452" fmla="*/ 10627813 w 12117871"/>
                <a:gd name="connsiteY7452" fmla="*/ 551227 h 6072780"/>
                <a:gd name="connsiteX7453" fmla="*/ 10627813 w 12117871"/>
                <a:gd name="connsiteY7453" fmla="*/ 371444 h 6072780"/>
                <a:gd name="connsiteX7454" fmla="*/ 10607204 w 12117871"/>
                <a:gd name="connsiteY7454" fmla="*/ 383079 h 6072780"/>
                <a:gd name="connsiteX7455" fmla="*/ 10582031 w 12117871"/>
                <a:gd name="connsiteY7455" fmla="*/ 391521 h 6072780"/>
                <a:gd name="connsiteX7456" fmla="*/ 10582031 w 12117871"/>
                <a:gd name="connsiteY7456" fmla="*/ 361405 h 6072780"/>
                <a:gd name="connsiteX7457" fmla="*/ 10599066 w 12117871"/>
                <a:gd name="connsiteY7457" fmla="*/ 355321 h 6072780"/>
                <a:gd name="connsiteX7458" fmla="*/ 10615265 w 12117871"/>
                <a:gd name="connsiteY7458" fmla="*/ 348172 h 6072780"/>
                <a:gd name="connsiteX7459" fmla="*/ 10631388 w 12117871"/>
                <a:gd name="connsiteY7459" fmla="*/ 339350 h 6072780"/>
                <a:gd name="connsiteX7460" fmla="*/ 10648195 w 12117871"/>
                <a:gd name="connsiteY7460" fmla="*/ 328247 h 6072780"/>
                <a:gd name="connsiteX7461" fmla="*/ 10499338 w 12117871"/>
                <a:gd name="connsiteY7461" fmla="*/ 328247 h 6072780"/>
                <a:gd name="connsiteX7462" fmla="*/ 10514244 w 12117871"/>
                <a:gd name="connsiteY7462" fmla="*/ 328247 h 6072780"/>
                <a:gd name="connsiteX7463" fmla="*/ 10514244 w 12117871"/>
                <a:gd name="connsiteY7463" fmla="*/ 551227 h 6072780"/>
                <a:gd name="connsiteX7464" fmla="*/ 10478956 w 12117871"/>
                <a:gd name="connsiteY7464" fmla="*/ 551227 h 6072780"/>
                <a:gd name="connsiteX7465" fmla="*/ 10478956 w 12117871"/>
                <a:gd name="connsiteY7465" fmla="*/ 371444 h 6072780"/>
                <a:gd name="connsiteX7466" fmla="*/ 10458347 w 12117871"/>
                <a:gd name="connsiteY7466" fmla="*/ 383079 h 6072780"/>
                <a:gd name="connsiteX7467" fmla="*/ 10433174 w 12117871"/>
                <a:gd name="connsiteY7467" fmla="*/ 391521 h 6072780"/>
                <a:gd name="connsiteX7468" fmla="*/ 10433174 w 12117871"/>
                <a:gd name="connsiteY7468" fmla="*/ 361405 h 6072780"/>
                <a:gd name="connsiteX7469" fmla="*/ 10450209 w 12117871"/>
                <a:gd name="connsiteY7469" fmla="*/ 355321 h 6072780"/>
                <a:gd name="connsiteX7470" fmla="*/ 10466408 w 12117871"/>
                <a:gd name="connsiteY7470" fmla="*/ 348172 h 6072780"/>
                <a:gd name="connsiteX7471" fmla="*/ 10482531 w 12117871"/>
                <a:gd name="connsiteY7471" fmla="*/ 339350 h 6072780"/>
                <a:gd name="connsiteX7472" fmla="*/ 10499338 w 12117871"/>
                <a:gd name="connsiteY7472" fmla="*/ 328247 h 6072780"/>
                <a:gd name="connsiteX7473" fmla="*/ 9777947 w 12117871"/>
                <a:gd name="connsiteY7473" fmla="*/ 328247 h 6072780"/>
                <a:gd name="connsiteX7474" fmla="*/ 9792853 w 12117871"/>
                <a:gd name="connsiteY7474" fmla="*/ 328247 h 6072780"/>
                <a:gd name="connsiteX7475" fmla="*/ 9792853 w 12117871"/>
                <a:gd name="connsiteY7475" fmla="*/ 551227 h 6072780"/>
                <a:gd name="connsiteX7476" fmla="*/ 9757565 w 12117871"/>
                <a:gd name="connsiteY7476" fmla="*/ 551227 h 6072780"/>
                <a:gd name="connsiteX7477" fmla="*/ 9757565 w 12117871"/>
                <a:gd name="connsiteY7477" fmla="*/ 371444 h 6072780"/>
                <a:gd name="connsiteX7478" fmla="*/ 9736956 w 12117871"/>
                <a:gd name="connsiteY7478" fmla="*/ 383079 h 6072780"/>
                <a:gd name="connsiteX7479" fmla="*/ 9711783 w 12117871"/>
                <a:gd name="connsiteY7479" fmla="*/ 391521 h 6072780"/>
                <a:gd name="connsiteX7480" fmla="*/ 9711783 w 12117871"/>
                <a:gd name="connsiteY7480" fmla="*/ 361405 h 6072780"/>
                <a:gd name="connsiteX7481" fmla="*/ 9728818 w 12117871"/>
                <a:gd name="connsiteY7481" fmla="*/ 355321 h 6072780"/>
                <a:gd name="connsiteX7482" fmla="*/ 9745017 w 12117871"/>
                <a:gd name="connsiteY7482" fmla="*/ 348172 h 6072780"/>
                <a:gd name="connsiteX7483" fmla="*/ 9761140 w 12117871"/>
                <a:gd name="connsiteY7483" fmla="*/ 339350 h 6072780"/>
                <a:gd name="connsiteX7484" fmla="*/ 9777947 w 12117871"/>
                <a:gd name="connsiteY7484" fmla="*/ 328247 h 6072780"/>
                <a:gd name="connsiteX7485" fmla="*/ 9629090 w 12117871"/>
                <a:gd name="connsiteY7485" fmla="*/ 328247 h 6072780"/>
                <a:gd name="connsiteX7486" fmla="*/ 9643996 w 12117871"/>
                <a:gd name="connsiteY7486" fmla="*/ 328247 h 6072780"/>
                <a:gd name="connsiteX7487" fmla="*/ 9643996 w 12117871"/>
                <a:gd name="connsiteY7487" fmla="*/ 551227 h 6072780"/>
                <a:gd name="connsiteX7488" fmla="*/ 9608708 w 12117871"/>
                <a:gd name="connsiteY7488" fmla="*/ 551227 h 6072780"/>
                <a:gd name="connsiteX7489" fmla="*/ 9608708 w 12117871"/>
                <a:gd name="connsiteY7489" fmla="*/ 371444 h 6072780"/>
                <a:gd name="connsiteX7490" fmla="*/ 9588099 w 12117871"/>
                <a:gd name="connsiteY7490" fmla="*/ 383079 h 6072780"/>
                <a:gd name="connsiteX7491" fmla="*/ 9562926 w 12117871"/>
                <a:gd name="connsiteY7491" fmla="*/ 391521 h 6072780"/>
                <a:gd name="connsiteX7492" fmla="*/ 9562926 w 12117871"/>
                <a:gd name="connsiteY7492" fmla="*/ 361405 h 6072780"/>
                <a:gd name="connsiteX7493" fmla="*/ 9579961 w 12117871"/>
                <a:gd name="connsiteY7493" fmla="*/ 355321 h 6072780"/>
                <a:gd name="connsiteX7494" fmla="*/ 9596160 w 12117871"/>
                <a:gd name="connsiteY7494" fmla="*/ 348172 h 6072780"/>
                <a:gd name="connsiteX7495" fmla="*/ 9612283 w 12117871"/>
                <a:gd name="connsiteY7495" fmla="*/ 339350 h 6072780"/>
                <a:gd name="connsiteX7496" fmla="*/ 9629090 w 12117871"/>
                <a:gd name="connsiteY7496" fmla="*/ 328247 h 6072780"/>
                <a:gd name="connsiteX7497" fmla="*/ 8825985 w 12117871"/>
                <a:gd name="connsiteY7497" fmla="*/ 328247 h 6072780"/>
                <a:gd name="connsiteX7498" fmla="*/ 8840891 w 12117871"/>
                <a:gd name="connsiteY7498" fmla="*/ 328247 h 6072780"/>
                <a:gd name="connsiteX7499" fmla="*/ 8840891 w 12117871"/>
                <a:gd name="connsiteY7499" fmla="*/ 551227 h 6072780"/>
                <a:gd name="connsiteX7500" fmla="*/ 8805603 w 12117871"/>
                <a:gd name="connsiteY7500" fmla="*/ 551227 h 6072780"/>
                <a:gd name="connsiteX7501" fmla="*/ 8805603 w 12117871"/>
                <a:gd name="connsiteY7501" fmla="*/ 371444 h 6072780"/>
                <a:gd name="connsiteX7502" fmla="*/ 8784994 w 12117871"/>
                <a:gd name="connsiteY7502" fmla="*/ 383079 h 6072780"/>
                <a:gd name="connsiteX7503" fmla="*/ 8759821 w 12117871"/>
                <a:gd name="connsiteY7503" fmla="*/ 391521 h 6072780"/>
                <a:gd name="connsiteX7504" fmla="*/ 8759821 w 12117871"/>
                <a:gd name="connsiteY7504" fmla="*/ 361405 h 6072780"/>
                <a:gd name="connsiteX7505" fmla="*/ 8776856 w 12117871"/>
                <a:gd name="connsiteY7505" fmla="*/ 355321 h 6072780"/>
                <a:gd name="connsiteX7506" fmla="*/ 8793055 w 12117871"/>
                <a:gd name="connsiteY7506" fmla="*/ 348172 h 6072780"/>
                <a:gd name="connsiteX7507" fmla="*/ 8809178 w 12117871"/>
                <a:gd name="connsiteY7507" fmla="*/ 339350 h 6072780"/>
                <a:gd name="connsiteX7508" fmla="*/ 8825985 w 12117871"/>
                <a:gd name="connsiteY7508" fmla="*/ 328247 h 6072780"/>
                <a:gd name="connsiteX7509" fmla="*/ 8447378 w 12117871"/>
                <a:gd name="connsiteY7509" fmla="*/ 328247 h 6072780"/>
                <a:gd name="connsiteX7510" fmla="*/ 8462284 w 12117871"/>
                <a:gd name="connsiteY7510" fmla="*/ 328247 h 6072780"/>
                <a:gd name="connsiteX7511" fmla="*/ 8462284 w 12117871"/>
                <a:gd name="connsiteY7511" fmla="*/ 551227 h 6072780"/>
                <a:gd name="connsiteX7512" fmla="*/ 8426996 w 12117871"/>
                <a:gd name="connsiteY7512" fmla="*/ 551227 h 6072780"/>
                <a:gd name="connsiteX7513" fmla="*/ 8426996 w 12117871"/>
                <a:gd name="connsiteY7513" fmla="*/ 371444 h 6072780"/>
                <a:gd name="connsiteX7514" fmla="*/ 8406387 w 12117871"/>
                <a:gd name="connsiteY7514" fmla="*/ 383079 h 6072780"/>
                <a:gd name="connsiteX7515" fmla="*/ 8381214 w 12117871"/>
                <a:gd name="connsiteY7515" fmla="*/ 391521 h 6072780"/>
                <a:gd name="connsiteX7516" fmla="*/ 8381214 w 12117871"/>
                <a:gd name="connsiteY7516" fmla="*/ 361405 h 6072780"/>
                <a:gd name="connsiteX7517" fmla="*/ 8398249 w 12117871"/>
                <a:gd name="connsiteY7517" fmla="*/ 355321 h 6072780"/>
                <a:gd name="connsiteX7518" fmla="*/ 8414448 w 12117871"/>
                <a:gd name="connsiteY7518" fmla="*/ 348172 h 6072780"/>
                <a:gd name="connsiteX7519" fmla="*/ 8430571 w 12117871"/>
                <a:gd name="connsiteY7519" fmla="*/ 339350 h 6072780"/>
                <a:gd name="connsiteX7520" fmla="*/ 8447378 w 12117871"/>
                <a:gd name="connsiteY7520" fmla="*/ 328247 h 6072780"/>
                <a:gd name="connsiteX7521" fmla="*/ 8298521 w 12117871"/>
                <a:gd name="connsiteY7521" fmla="*/ 328247 h 6072780"/>
                <a:gd name="connsiteX7522" fmla="*/ 8313427 w 12117871"/>
                <a:gd name="connsiteY7522" fmla="*/ 328247 h 6072780"/>
                <a:gd name="connsiteX7523" fmla="*/ 8313427 w 12117871"/>
                <a:gd name="connsiteY7523" fmla="*/ 551227 h 6072780"/>
                <a:gd name="connsiteX7524" fmla="*/ 8278139 w 12117871"/>
                <a:gd name="connsiteY7524" fmla="*/ 551227 h 6072780"/>
                <a:gd name="connsiteX7525" fmla="*/ 8278139 w 12117871"/>
                <a:gd name="connsiteY7525" fmla="*/ 371444 h 6072780"/>
                <a:gd name="connsiteX7526" fmla="*/ 8257530 w 12117871"/>
                <a:gd name="connsiteY7526" fmla="*/ 383079 h 6072780"/>
                <a:gd name="connsiteX7527" fmla="*/ 8232357 w 12117871"/>
                <a:gd name="connsiteY7527" fmla="*/ 391521 h 6072780"/>
                <a:gd name="connsiteX7528" fmla="*/ 8232357 w 12117871"/>
                <a:gd name="connsiteY7528" fmla="*/ 361405 h 6072780"/>
                <a:gd name="connsiteX7529" fmla="*/ 8249392 w 12117871"/>
                <a:gd name="connsiteY7529" fmla="*/ 355321 h 6072780"/>
                <a:gd name="connsiteX7530" fmla="*/ 8265591 w 12117871"/>
                <a:gd name="connsiteY7530" fmla="*/ 348172 h 6072780"/>
                <a:gd name="connsiteX7531" fmla="*/ 8281714 w 12117871"/>
                <a:gd name="connsiteY7531" fmla="*/ 339350 h 6072780"/>
                <a:gd name="connsiteX7532" fmla="*/ 8298521 w 12117871"/>
                <a:gd name="connsiteY7532" fmla="*/ 328247 h 6072780"/>
                <a:gd name="connsiteX7533" fmla="*/ 8144603 w 12117871"/>
                <a:gd name="connsiteY7533" fmla="*/ 328247 h 6072780"/>
                <a:gd name="connsiteX7534" fmla="*/ 8159509 w 12117871"/>
                <a:gd name="connsiteY7534" fmla="*/ 328247 h 6072780"/>
                <a:gd name="connsiteX7535" fmla="*/ 8159509 w 12117871"/>
                <a:gd name="connsiteY7535" fmla="*/ 551227 h 6072780"/>
                <a:gd name="connsiteX7536" fmla="*/ 8124221 w 12117871"/>
                <a:gd name="connsiteY7536" fmla="*/ 551227 h 6072780"/>
                <a:gd name="connsiteX7537" fmla="*/ 8124221 w 12117871"/>
                <a:gd name="connsiteY7537" fmla="*/ 371444 h 6072780"/>
                <a:gd name="connsiteX7538" fmla="*/ 8103612 w 12117871"/>
                <a:gd name="connsiteY7538" fmla="*/ 383079 h 6072780"/>
                <a:gd name="connsiteX7539" fmla="*/ 8078439 w 12117871"/>
                <a:gd name="connsiteY7539" fmla="*/ 391521 h 6072780"/>
                <a:gd name="connsiteX7540" fmla="*/ 8078439 w 12117871"/>
                <a:gd name="connsiteY7540" fmla="*/ 361405 h 6072780"/>
                <a:gd name="connsiteX7541" fmla="*/ 8095474 w 12117871"/>
                <a:gd name="connsiteY7541" fmla="*/ 355321 h 6072780"/>
                <a:gd name="connsiteX7542" fmla="*/ 8111673 w 12117871"/>
                <a:gd name="connsiteY7542" fmla="*/ 348172 h 6072780"/>
                <a:gd name="connsiteX7543" fmla="*/ 8127796 w 12117871"/>
                <a:gd name="connsiteY7543" fmla="*/ 339350 h 6072780"/>
                <a:gd name="connsiteX7544" fmla="*/ 8144603 w 12117871"/>
                <a:gd name="connsiteY7544" fmla="*/ 328247 h 6072780"/>
                <a:gd name="connsiteX7545" fmla="*/ 7995746 w 12117871"/>
                <a:gd name="connsiteY7545" fmla="*/ 328247 h 6072780"/>
                <a:gd name="connsiteX7546" fmla="*/ 8010652 w 12117871"/>
                <a:gd name="connsiteY7546" fmla="*/ 328247 h 6072780"/>
                <a:gd name="connsiteX7547" fmla="*/ 8010652 w 12117871"/>
                <a:gd name="connsiteY7547" fmla="*/ 551227 h 6072780"/>
                <a:gd name="connsiteX7548" fmla="*/ 7975364 w 12117871"/>
                <a:gd name="connsiteY7548" fmla="*/ 551227 h 6072780"/>
                <a:gd name="connsiteX7549" fmla="*/ 7975364 w 12117871"/>
                <a:gd name="connsiteY7549" fmla="*/ 371444 h 6072780"/>
                <a:gd name="connsiteX7550" fmla="*/ 7954755 w 12117871"/>
                <a:gd name="connsiteY7550" fmla="*/ 383079 h 6072780"/>
                <a:gd name="connsiteX7551" fmla="*/ 7929582 w 12117871"/>
                <a:gd name="connsiteY7551" fmla="*/ 391521 h 6072780"/>
                <a:gd name="connsiteX7552" fmla="*/ 7929582 w 12117871"/>
                <a:gd name="connsiteY7552" fmla="*/ 361405 h 6072780"/>
                <a:gd name="connsiteX7553" fmla="*/ 7946617 w 12117871"/>
                <a:gd name="connsiteY7553" fmla="*/ 355321 h 6072780"/>
                <a:gd name="connsiteX7554" fmla="*/ 7962816 w 12117871"/>
                <a:gd name="connsiteY7554" fmla="*/ 348172 h 6072780"/>
                <a:gd name="connsiteX7555" fmla="*/ 7978939 w 12117871"/>
                <a:gd name="connsiteY7555" fmla="*/ 339350 h 6072780"/>
                <a:gd name="connsiteX7556" fmla="*/ 7995746 w 12117871"/>
                <a:gd name="connsiteY7556" fmla="*/ 328247 h 6072780"/>
                <a:gd name="connsiteX7557" fmla="*/ 7846889 w 12117871"/>
                <a:gd name="connsiteY7557" fmla="*/ 328247 h 6072780"/>
                <a:gd name="connsiteX7558" fmla="*/ 7861795 w 12117871"/>
                <a:gd name="connsiteY7558" fmla="*/ 328247 h 6072780"/>
                <a:gd name="connsiteX7559" fmla="*/ 7861795 w 12117871"/>
                <a:gd name="connsiteY7559" fmla="*/ 551227 h 6072780"/>
                <a:gd name="connsiteX7560" fmla="*/ 7826507 w 12117871"/>
                <a:gd name="connsiteY7560" fmla="*/ 551227 h 6072780"/>
                <a:gd name="connsiteX7561" fmla="*/ 7826507 w 12117871"/>
                <a:gd name="connsiteY7561" fmla="*/ 371444 h 6072780"/>
                <a:gd name="connsiteX7562" fmla="*/ 7805898 w 12117871"/>
                <a:gd name="connsiteY7562" fmla="*/ 383079 h 6072780"/>
                <a:gd name="connsiteX7563" fmla="*/ 7780725 w 12117871"/>
                <a:gd name="connsiteY7563" fmla="*/ 391521 h 6072780"/>
                <a:gd name="connsiteX7564" fmla="*/ 7780725 w 12117871"/>
                <a:gd name="connsiteY7564" fmla="*/ 361405 h 6072780"/>
                <a:gd name="connsiteX7565" fmla="*/ 7797760 w 12117871"/>
                <a:gd name="connsiteY7565" fmla="*/ 355321 h 6072780"/>
                <a:gd name="connsiteX7566" fmla="*/ 7813959 w 12117871"/>
                <a:gd name="connsiteY7566" fmla="*/ 348172 h 6072780"/>
                <a:gd name="connsiteX7567" fmla="*/ 7830082 w 12117871"/>
                <a:gd name="connsiteY7567" fmla="*/ 339350 h 6072780"/>
                <a:gd name="connsiteX7568" fmla="*/ 7846889 w 12117871"/>
                <a:gd name="connsiteY7568" fmla="*/ 328247 h 6072780"/>
                <a:gd name="connsiteX7569" fmla="*/ 7494802 w 12117871"/>
                <a:gd name="connsiteY7569" fmla="*/ 328247 h 6072780"/>
                <a:gd name="connsiteX7570" fmla="*/ 7509708 w 12117871"/>
                <a:gd name="connsiteY7570" fmla="*/ 328247 h 6072780"/>
                <a:gd name="connsiteX7571" fmla="*/ 7509708 w 12117871"/>
                <a:gd name="connsiteY7571" fmla="*/ 551227 h 6072780"/>
                <a:gd name="connsiteX7572" fmla="*/ 7474420 w 12117871"/>
                <a:gd name="connsiteY7572" fmla="*/ 551227 h 6072780"/>
                <a:gd name="connsiteX7573" fmla="*/ 7474420 w 12117871"/>
                <a:gd name="connsiteY7573" fmla="*/ 371444 h 6072780"/>
                <a:gd name="connsiteX7574" fmla="*/ 7453811 w 12117871"/>
                <a:gd name="connsiteY7574" fmla="*/ 383079 h 6072780"/>
                <a:gd name="connsiteX7575" fmla="*/ 7428638 w 12117871"/>
                <a:gd name="connsiteY7575" fmla="*/ 391521 h 6072780"/>
                <a:gd name="connsiteX7576" fmla="*/ 7428638 w 12117871"/>
                <a:gd name="connsiteY7576" fmla="*/ 361405 h 6072780"/>
                <a:gd name="connsiteX7577" fmla="*/ 7445673 w 12117871"/>
                <a:gd name="connsiteY7577" fmla="*/ 355321 h 6072780"/>
                <a:gd name="connsiteX7578" fmla="*/ 7461872 w 12117871"/>
                <a:gd name="connsiteY7578" fmla="*/ 348172 h 6072780"/>
                <a:gd name="connsiteX7579" fmla="*/ 7477995 w 12117871"/>
                <a:gd name="connsiteY7579" fmla="*/ 339350 h 6072780"/>
                <a:gd name="connsiteX7580" fmla="*/ 7494802 w 12117871"/>
                <a:gd name="connsiteY7580" fmla="*/ 328247 h 6072780"/>
                <a:gd name="connsiteX7581" fmla="*/ 7197088 w 12117871"/>
                <a:gd name="connsiteY7581" fmla="*/ 328247 h 6072780"/>
                <a:gd name="connsiteX7582" fmla="*/ 7211994 w 12117871"/>
                <a:gd name="connsiteY7582" fmla="*/ 328247 h 6072780"/>
                <a:gd name="connsiteX7583" fmla="*/ 7211994 w 12117871"/>
                <a:gd name="connsiteY7583" fmla="*/ 551227 h 6072780"/>
                <a:gd name="connsiteX7584" fmla="*/ 7176706 w 12117871"/>
                <a:gd name="connsiteY7584" fmla="*/ 551227 h 6072780"/>
                <a:gd name="connsiteX7585" fmla="*/ 7176706 w 12117871"/>
                <a:gd name="connsiteY7585" fmla="*/ 371444 h 6072780"/>
                <a:gd name="connsiteX7586" fmla="*/ 7156097 w 12117871"/>
                <a:gd name="connsiteY7586" fmla="*/ 383079 h 6072780"/>
                <a:gd name="connsiteX7587" fmla="*/ 7130924 w 12117871"/>
                <a:gd name="connsiteY7587" fmla="*/ 391521 h 6072780"/>
                <a:gd name="connsiteX7588" fmla="*/ 7130924 w 12117871"/>
                <a:gd name="connsiteY7588" fmla="*/ 361405 h 6072780"/>
                <a:gd name="connsiteX7589" fmla="*/ 7147959 w 12117871"/>
                <a:gd name="connsiteY7589" fmla="*/ 355321 h 6072780"/>
                <a:gd name="connsiteX7590" fmla="*/ 7164158 w 12117871"/>
                <a:gd name="connsiteY7590" fmla="*/ 348172 h 6072780"/>
                <a:gd name="connsiteX7591" fmla="*/ 7180281 w 12117871"/>
                <a:gd name="connsiteY7591" fmla="*/ 339350 h 6072780"/>
                <a:gd name="connsiteX7592" fmla="*/ 7197088 w 12117871"/>
                <a:gd name="connsiteY7592" fmla="*/ 328247 h 6072780"/>
                <a:gd name="connsiteX7593" fmla="*/ 6987676 w 12117871"/>
                <a:gd name="connsiteY7593" fmla="*/ 328247 h 6072780"/>
                <a:gd name="connsiteX7594" fmla="*/ 7058843 w 12117871"/>
                <a:gd name="connsiteY7594" fmla="*/ 438834 h 6072780"/>
                <a:gd name="connsiteX7595" fmla="*/ 7038757 w 12117871"/>
                <a:gd name="connsiteY7595" fmla="*/ 522414 h 6072780"/>
                <a:gd name="connsiteX7596" fmla="*/ 6982560 w 12117871"/>
                <a:gd name="connsiteY7596" fmla="*/ 551227 h 6072780"/>
                <a:gd name="connsiteX7597" fmla="*/ 6929975 w 12117871"/>
                <a:gd name="connsiteY7597" fmla="*/ 523693 h 6072780"/>
                <a:gd name="connsiteX7598" fmla="*/ 6911092 w 12117871"/>
                <a:gd name="connsiteY7598" fmla="*/ 444101 h 6072780"/>
                <a:gd name="connsiteX7599" fmla="*/ 6930802 w 12117871"/>
                <a:gd name="connsiteY7599" fmla="*/ 357586 h 6072780"/>
                <a:gd name="connsiteX7600" fmla="*/ 6987676 w 12117871"/>
                <a:gd name="connsiteY7600" fmla="*/ 328247 h 6072780"/>
                <a:gd name="connsiteX7601" fmla="*/ 6771166 w 12117871"/>
                <a:gd name="connsiteY7601" fmla="*/ 328247 h 6072780"/>
                <a:gd name="connsiteX7602" fmla="*/ 6842333 w 12117871"/>
                <a:gd name="connsiteY7602" fmla="*/ 438834 h 6072780"/>
                <a:gd name="connsiteX7603" fmla="*/ 6822247 w 12117871"/>
                <a:gd name="connsiteY7603" fmla="*/ 522414 h 6072780"/>
                <a:gd name="connsiteX7604" fmla="*/ 6766050 w 12117871"/>
                <a:gd name="connsiteY7604" fmla="*/ 551227 h 6072780"/>
                <a:gd name="connsiteX7605" fmla="*/ 6713465 w 12117871"/>
                <a:gd name="connsiteY7605" fmla="*/ 523693 h 6072780"/>
                <a:gd name="connsiteX7606" fmla="*/ 6694582 w 12117871"/>
                <a:gd name="connsiteY7606" fmla="*/ 444101 h 6072780"/>
                <a:gd name="connsiteX7607" fmla="*/ 6714292 w 12117871"/>
                <a:gd name="connsiteY7607" fmla="*/ 357586 h 6072780"/>
                <a:gd name="connsiteX7608" fmla="*/ 6771166 w 12117871"/>
                <a:gd name="connsiteY7608" fmla="*/ 328247 h 6072780"/>
                <a:gd name="connsiteX7609" fmla="*/ 6624859 w 12117871"/>
                <a:gd name="connsiteY7609" fmla="*/ 328247 h 6072780"/>
                <a:gd name="connsiteX7610" fmla="*/ 6639765 w 12117871"/>
                <a:gd name="connsiteY7610" fmla="*/ 328247 h 6072780"/>
                <a:gd name="connsiteX7611" fmla="*/ 6639765 w 12117871"/>
                <a:gd name="connsiteY7611" fmla="*/ 551227 h 6072780"/>
                <a:gd name="connsiteX7612" fmla="*/ 6604477 w 12117871"/>
                <a:gd name="connsiteY7612" fmla="*/ 551227 h 6072780"/>
                <a:gd name="connsiteX7613" fmla="*/ 6604477 w 12117871"/>
                <a:gd name="connsiteY7613" fmla="*/ 371444 h 6072780"/>
                <a:gd name="connsiteX7614" fmla="*/ 6583868 w 12117871"/>
                <a:gd name="connsiteY7614" fmla="*/ 383079 h 6072780"/>
                <a:gd name="connsiteX7615" fmla="*/ 6558695 w 12117871"/>
                <a:gd name="connsiteY7615" fmla="*/ 391521 h 6072780"/>
                <a:gd name="connsiteX7616" fmla="*/ 6558695 w 12117871"/>
                <a:gd name="connsiteY7616" fmla="*/ 361405 h 6072780"/>
                <a:gd name="connsiteX7617" fmla="*/ 6575730 w 12117871"/>
                <a:gd name="connsiteY7617" fmla="*/ 355321 h 6072780"/>
                <a:gd name="connsiteX7618" fmla="*/ 6591929 w 12117871"/>
                <a:gd name="connsiteY7618" fmla="*/ 348172 h 6072780"/>
                <a:gd name="connsiteX7619" fmla="*/ 6608052 w 12117871"/>
                <a:gd name="connsiteY7619" fmla="*/ 339350 h 6072780"/>
                <a:gd name="connsiteX7620" fmla="*/ 6624859 w 12117871"/>
                <a:gd name="connsiteY7620" fmla="*/ 328247 h 6072780"/>
                <a:gd name="connsiteX7621" fmla="*/ 6327145 w 12117871"/>
                <a:gd name="connsiteY7621" fmla="*/ 328247 h 6072780"/>
                <a:gd name="connsiteX7622" fmla="*/ 6342051 w 12117871"/>
                <a:gd name="connsiteY7622" fmla="*/ 328247 h 6072780"/>
                <a:gd name="connsiteX7623" fmla="*/ 6342051 w 12117871"/>
                <a:gd name="connsiteY7623" fmla="*/ 551227 h 6072780"/>
                <a:gd name="connsiteX7624" fmla="*/ 6306763 w 12117871"/>
                <a:gd name="connsiteY7624" fmla="*/ 551227 h 6072780"/>
                <a:gd name="connsiteX7625" fmla="*/ 6306763 w 12117871"/>
                <a:gd name="connsiteY7625" fmla="*/ 371444 h 6072780"/>
                <a:gd name="connsiteX7626" fmla="*/ 6286154 w 12117871"/>
                <a:gd name="connsiteY7626" fmla="*/ 383079 h 6072780"/>
                <a:gd name="connsiteX7627" fmla="*/ 6260981 w 12117871"/>
                <a:gd name="connsiteY7627" fmla="*/ 391521 h 6072780"/>
                <a:gd name="connsiteX7628" fmla="*/ 6260981 w 12117871"/>
                <a:gd name="connsiteY7628" fmla="*/ 361405 h 6072780"/>
                <a:gd name="connsiteX7629" fmla="*/ 6278016 w 12117871"/>
                <a:gd name="connsiteY7629" fmla="*/ 355321 h 6072780"/>
                <a:gd name="connsiteX7630" fmla="*/ 6294215 w 12117871"/>
                <a:gd name="connsiteY7630" fmla="*/ 348172 h 6072780"/>
                <a:gd name="connsiteX7631" fmla="*/ 6310338 w 12117871"/>
                <a:gd name="connsiteY7631" fmla="*/ 339350 h 6072780"/>
                <a:gd name="connsiteX7632" fmla="*/ 6327145 w 12117871"/>
                <a:gd name="connsiteY7632" fmla="*/ 328247 h 6072780"/>
                <a:gd name="connsiteX7633" fmla="*/ 6153389 w 12117871"/>
                <a:gd name="connsiteY7633" fmla="*/ 328247 h 6072780"/>
                <a:gd name="connsiteX7634" fmla="*/ 6224556 w 12117871"/>
                <a:gd name="connsiteY7634" fmla="*/ 438834 h 6072780"/>
                <a:gd name="connsiteX7635" fmla="*/ 6204470 w 12117871"/>
                <a:gd name="connsiteY7635" fmla="*/ 522414 h 6072780"/>
                <a:gd name="connsiteX7636" fmla="*/ 6148273 w 12117871"/>
                <a:gd name="connsiteY7636" fmla="*/ 551227 h 6072780"/>
                <a:gd name="connsiteX7637" fmla="*/ 6095688 w 12117871"/>
                <a:gd name="connsiteY7637" fmla="*/ 523693 h 6072780"/>
                <a:gd name="connsiteX7638" fmla="*/ 6076805 w 12117871"/>
                <a:gd name="connsiteY7638" fmla="*/ 444101 h 6072780"/>
                <a:gd name="connsiteX7639" fmla="*/ 6096515 w 12117871"/>
                <a:gd name="connsiteY7639" fmla="*/ 357586 h 6072780"/>
                <a:gd name="connsiteX7640" fmla="*/ 6153389 w 12117871"/>
                <a:gd name="connsiteY7640" fmla="*/ 328247 h 6072780"/>
                <a:gd name="connsiteX7641" fmla="*/ 5936879 w 12117871"/>
                <a:gd name="connsiteY7641" fmla="*/ 328247 h 6072780"/>
                <a:gd name="connsiteX7642" fmla="*/ 6008046 w 12117871"/>
                <a:gd name="connsiteY7642" fmla="*/ 438834 h 6072780"/>
                <a:gd name="connsiteX7643" fmla="*/ 5987960 w 12117871"/>
                <a:gd name="connsiteY7643" fmla="*/ 522414 h 6072780"/>
                <a:gd name="connsiteX7644" fmla="*/ 5931764 w 12117871"/>
                <a:gd name="connsiteY7644" fmla="*/ 551227 h 6072780"/>
                <a:gd name="connsiteX7645" fmla="*/ 5879177 w 12117871"/>
                <a:gd name="connsiteY7645" fmla="*/ 523693 h 6072780"/>
                <a:gd name="connsiteX7646" fmla="*/ 5860295 w 12117871"/>
                <a:gd name="connsiteY7646" fmla="*/ 444101 h 6072780"/>
                <a:gd name="connsiteX7647" fmla="*/ 5880005 w 12117871"/>
                <a:gd name="connsiteY7647" fmla="*/ 357586 h 6072780"/>
                <a:gd name="connsiteX7648" fmla="*/ 5936879 w 12117871"/>
                <a:gd name="connsiteY7648" fmla="*/ 328247 h 6072780"/>
                <a:gd name="connsiteX7649" fmla="*/ 5712771 w 12117871"/>
                <a:gd name="connsiteY7649" fmla="*/ 328247 h 6072780"/>
                <a:gd name="connsiteX7650" fmla="*/ 5783939 w 12117871"/>
                <a:gd name="connsiteY7650" fmla="*/ 438834 h 6072780"/>
                <a:gd name="connsiteX7651" fmla="*/ 5763853 w 12117871"/>
                <a:gd name="connsiteY7651" fmla="*/ 522414 h 6072780"/>
                <a:gd name="connsiteX7652" fmla="*/ 5707657 w 12117871"/>
                <a:gd name="connsiteY7652" fmla="*/ 551227 h 6072780"/>
                <a:gd name="connsiteX7653" fmla="*/ 5655071 w 12117871"/>
                <a:gd name="connsiteY7653" fmla="*/ 523693 h 6072780"/>
                <a:gd name="connsiteX7654" fmla="*/ 5636188 w 12117871"/>
                <a:gd name="connsiteY7654" fmla="*/ 444101 h 6072780"/>
                <a:gd name="connsiteX7655" fmla="*/ 5655899 w 12117871"/>
                <a:gd name="connsiteY7655" fmla="*/ 357586 h 6072780"/>
                <a:gd name="connsiteX7656" fmla="*/ 5712771 w 12117871"/>
                <a:gd name="connsiteY7656" fmla="*/ 328247 h 6072780"/>
                <a:gd name="connsiteX7657" fmla="*/ 5555491 w 12117871"/>
                <a:gd name="connsiteY7657" fmla="*/ 328247 h 6072780"/>
                <a:gd name="connsiteX7658" fmla="*/ 5570400 w 12117871"/>
                <a:gd name="connsiteY7658" fmla="*/ 328247 h 6072780"/>
                <a:gd name="connsiteX7659" fmla="*/ 5570400 w 12117871"/>
                <a:gd name="connsiteY7659" fmla="*/ 551227 h 6072780"/>
                <a:gd name="connsiteX7660" fmla="*/ 5535111 w 12117871"/>
                <a:gd name="connsiteY7660" fmla="*/ 551227 h 6072780"/>
                <a:gd name="connsiteX7661" fmla="*/ 5535111 w 12117871"/>
                <a:gd name="connsiteY7661" fmla="*/ 371444 h 6072780"/>
                <a:gd name="connsiteX7662" fmla="*/ 5514501 w 12117871"/>
                <a:gd name="connsiteY7662" fmla="*/ 383079 h 6072780"/>
                <a:gd name="connsiteX7663" fmla="*/ 5489329 w 12117871"/>
                <a:gd name="connsiteY7663" fmla="*/ 391521 h 6072780"/>
                <a:gd name="connsiteX7664" fmla="*/ 5489329 w 12117871"/>
                <a:gd name="connsiteY7664" fmla="*/ 361405 h 6072780"/>
                <a:gd name="connsiteX7665" fmla="*/ 5506363 w 12117871"/>
                <a:gd name="connsiteY7665" fmla="*/ 355321 h 6072780"/>
                <a:gd name="connsiteX7666" fmla="*/ 5522562 w 12117871"/>
                <a:gd name="connsiteY7666" fmla="*/ 348172 h 6072780"/>
                <a:gd name="connsiteX7667" fmla="*/ 5538684 w 12117871"/>
                <a:gd name="connsiteY7667" fmla="*/ 339350 h 6072780"/>
                <a:gd name="connsiteX7668" fmla="*/ 5555491 w 12117871"/>
                <a:gd name="connsiteY7668" fmla="*/ 328247 h 6072780"/>
                <a:gd name="connsiteX7669" fmla="*/ 5257777 w 12117871"/>
                <a:gd name="connsiteY7669" fmla="*/ 328247 h 6072780"/>
                <a:gd name="connsiteX7670" fmla="*/ 5272684 w 12117871"/>
                <a:gd name="connsiteY7670" fmla="*/ 328247 h 6072780"/>
                <a:gd name="connsiteX7671" fmla="*/ 5272684 w 12117871"/>
                <a:gd name="connsiteY7671" fmla="*/ 551227 h 6072780"/>
                <a:gd name="connsiteX7672" fmla="*/ 5237397 w 12117871"/>
                <a:gd name="connsiteY7672" fmla="*/ 551227 h 6072780"/>
                <a:gd name="connsiteX7673" fmla="*/ 5237397 w 12117871"/>
                <a:gd name="connsiteY7673" fmla="*/ 371444 h 6072780"/>
                <a:gd name="connsiteX7674" fmla="*/ 5216786 w 12117871"/>
                <a:gd name="connsiteY7674" fmla="*/ 383079 h 6072780"/>
                <a:gd name="connsiteX7675" fmla="*/ 5191614 w 12117871"/>
                <a:gd name="connsiteY7675" fmla="*/ 391521 h 6072780"/>
                <a:gd name="connsiteX7676" fmla="*/ 5191614 w 12117871"/>
                <a:gd name="connsiteY7676" fmla="*/ 361405 h 6072780"/>
                <a:gd name="connsiteX7677" fmla="*/ 5208650 w 12117871"/>
                <a:gd name="connsiteY7677" fmla="*/ 355321 h 6072780"/>
                <a:gd name="connsiteX7678" fmla="*/ 5224848 w 12117871"/>
                <a:gd name="connsiteY7678" fmla="*/ 348172 h 6072780"/>
                <a:gd name="connsiteX7679" fmla="*/ 5240970 w 12117871"/>
                <a:gd name="connsiteY7679" fmla="*/ 339350 h 6072780"/>
                <a:gd name="connsiteX7680" fmla="*/ 5257777 w 12117871"/>
                <a:gd name="connsiteY7680" fmla="*/ 328247 h 6072780"/>
                <a:gd name="connsiteX7681" fmla="*/ 4883032 w 12117871"/>
                <a:gd name="connsiteY7681" fmla="*/ 328247 h 6072780"/>
                <a:gd name="connsiteX7682" fmla="*/ 4897939 w 12117871"/>
                <a:gd name="connsiteY7682" fmla="*/ 328247 h 6072780"/>
                <a:gd name="connsiteX7683" fmla="*/ 4897939 w 12117871"/>
                <a:gd name="connsiteY7683" fmla="*/ 551227 h 6072780"/>
                <a:gd name="connsiteX7684" fmla="*/ 4862651 w 12117871"/>
                <a:gd name="connsiteY7684" fmla="*/ 551227 h 6072780"/>
                <a:gd name="connsiteX7685" fmla="*/ 4862651 w 12117871"/>
                <a:gd name="connsiteY7685" fmla="*/ 371444 h 6072780"/>
                <a:gd name="connsiteX7686" fmla="*/ 4842041 w 12117871"/>
                <a:gd name="connsiteY7686" fmla="*/ 383079 h 6072780"/>
                <a:gd name="connsiteX7687" fmla="*/ 4816869 w 12117871"/>
                <a:gd name="connsiteY7687" fmla="*/ 391521 h 6072780"/>
                <a:gd name="connsiteX7688" fmla="*/ 4816869 w 12117871"/>
                <a:gd name="connsiteY7688" fmla="*/ 361405 h 6072780"/>
                <a:gd name="connsiteX7689" fmla="*/ 4833904 w 12117871"/>
                <a:gd name="connsiteY7689" fmla="*/ 355321 h 6072780"/>
                <a:gd name="connsiteX7690" fmla="*/ 4850103 w 12117871"/>
                <a:gd name="connsiteY7690" fmla="*/ 348172 h 6072780"/>
                <a:gd name="connsiteX7691" fmla="*/ 4866225 w 12117871"/>
                <a:gd name="connsiteY7691" fmla="*/ 339350 h 6072780"/>
                <a:gd name="connsiteX7692" fmla="*/ 4883032 w 12117871"/>
                <a:gd name="connsiteY7692" fmla="*/ 328247 h 6072780"/>
                <a:gd name="connsiteX7693" fmla="*/ 4739424 w 12117871"/>
                <a:gd name="connsiteY7693" fmla="*/ 328247 h 6072780"/>
                <a:gd name="connsiteX7694" fmla="*/ 4754331 w 12117871"/>
                <a:gd name="connsiteY7694" fmla="*/ 328247 h 6072780"/>
                <a:gd name="connsiteX7695" fmla="*/ 4754331 w 12117871"/>
                <a:gd name="connsiteY7695" fmla="*/ 551227 h 6072780"/>
                <a:gd name="connsiteX7696" fmla="*/ 4719043 w 12117871"/>
                <a:gd name="connsiteY7696" fmla="*/ 551227 h 6072780"/>
                <a:gd name="connsiteX7697" fmla="*/ 4719043 w 12117871"/>
                <a:gd name="connsiteY7697" fmla="*/ 371444 h 6072780"/>
                <a:gd name="connsiteX7698" fmla="*/ 4698434 w 12117871"/>
                <a:gd name="connsiteY7698" fmla="*/ 383079 h 6072780"/>
                <a:gd name="connsiteX7699" fmla="*/ 4673261 w 12117871"/>
                <a:gd name="connsiteY7699" fmla="*/ 391521 h 6072780"/>
                <a:gd name="connsiteX7700" fmla="*/ 4673261 w 12117871"/>
                <a:gd name="connsiteY7700" fmla="*/ 361405 h 6072780"/>
                <a:gd name="connsiteX7701" fmla="*/ 4690296 w 12117871"/>
                <a:gd name="connsiteY7701" fmla="*/ 355321 h 6072780"/>
                <a:gd name="connsiteX7702" fmla="*/ 4706496 w 12117871"/>
                <a:gd name="connsiteY7702" fmla="*/ 348172 h 6072780"/>
                <a:gd name="connsiteX7703" fmla="*/ 4722617 w 12117871"/>
                <a:gd name="connsiteY7703" fmla="*/ 339350 h 6072780"/>
                <a:gd name="connsiteX7704" fmla="*/ 4739424 w 12117871"/>
                <a:gd name="connsiteY7704" fmla="*/ 328247 h 6072780"/>
                <a:gd name="connsiteX7705" fmla="*/ 4595816 w 12117871"/>
                <a:gd name="connsiteY7705" fmla="*/ 328247 h 6072780"/>
                <a:gd name="connsiteX7706" fmla="*/ 4610723 w 12117871"/>
                <a:gd name="connsiteY7706" fmla="*/ 328247 h 6072780"/>
                <a:gd name="connsiteX7707" fmla="*/ 4610723 w 12117871"/>
                <a:gd name="connsiteY7707" fmla="*/ 551227 h 6072780"/>
                <a:gd name="connsiteX7708" fmla="*/ 4575435 w 12117871"/>
                <a:gd name="connsiteY7708" fmla="*/ 551227 h 6072780"/>
                <a:gd name="connsiteX7709" fmla="*/ 4575435 w 12117871"/>
                <a:gd name="connsiteY7709" fmla="*/ 371444 h 6072780"/>
                <a:gd name="connsiteX7710" fmla="*/ 4554826 w 12117871"/>
                <a:gd name="connsiteY7710" fmla="*/ 383079 h 6072780"/>
                <a:gd name="connsiteX7711" fmla="*/ 4529653 w 12117871"/>
                <a:gd name="connsiteY7711" fmla="*/ 391521 h 6072780"/>
                <a:gd name="connsiteX7712" fmla="*/ 4529653 w 12117871"/>
                <a:gd name="connsiteY7712" fmla="*/ 361405 h 6072780"/>
                <a:gd name="connsiteX7713" fmla="*/ 4546689 w 12117871"/>
                <a:gd name="connsiteY7713" fmla="*/ 355321 h 6072780"/>
                <a:gd name="connsiteX7714" fmla="*/ 4562888 w 12117871"/>
                <a:gd name="connsiteY7714" fmla="*/ 348172 h 6072780"/>
                <a:gd name="connsiteX7715" fmla="*/ 4579010 w 12117871"/>
                <a:gd name="connsiteY7715" fmla="*/ 339350 h 6072780"/>
                <a:gd name="connsiteX7716" fmla="*/ 4595816 w 12117871"/>
                <a:gd name="connsiteY7716" fmla="*/ 328247 h 6072780"/>
                <a:gd name="connsiteX7717" fmla="*/ 4452209 w 12117871"/>
                <a:gd name="connsiteY7717" fmla="*/ 328247 h 6072780"/>
                <a:gd name="connsiteX7718" fmla="*/ 4467115 w 12117871"/>
                <a:gd name="connsiteY7718" fmla="*/ 328247 h 6072780"/>
                <a:gd name="connsiteX7719" fmla="*/ 4467115 w 12117871"/>
                <a:gd name="connsiteY7719" fmla="*/ 551227 h 6072780"/>
                <a:gd name="connsiteX7720" fmla="*/ 4431828 w 12117871"/>
                <a:gd name="connsiteY7720" fmla="*/ 551227 h 6072780"/>
                <a:gd name="connsiteX7721" fmla="*/ 4431828 w 12117871"/>
                <a:gd name="connsiteY7721" fmla="*/ 371444 h 6072780"/>
                <a:gd name="connsiteX7722" fmla="*/ 4411218 w 12117871"/>
                <a:gd name="connsiteY7722" fmla="*/ 383079 h 6072780"/>
                <a:gd name="connsiteX7723" fmla="*/ 4386045 w 12117871"/>
                <a:gd name="connsiteY7723" fmla="*/ 391521 h 6072780"/>
                <a:gd name="connsiteX7724" fmla="*/ 4386045 w 12117871"/>
                <a:gd name="connsiteY7724" fmla="*/ 361405 h 6072780"/>
                <a:gd name="connsiteX7725" fmla="*/ 4403080 w 12117871"/>
                <a:gd name="connsiteY7725" fmla="*/ 355321 h 6072780"/>
                <a:gd name="connsiteX7726" fmla="*/ 4419280 w 12117871"/>
                <a:gd name="connsiteY7726" fmla="*/ 348172 h 6072780"/>
                <a:gd name="connsiteX7727" fmla="*/ 4435402 w 12117871"/>
                <a:gd name="connsiteY7727" fmla="*/ 339350 h 6072780"/>
                <a:gd name="connsiteX7728" fmla="*/ 4452209 w 12117871"/>
                <a:gd name="connsiteY7728" fmla="*/ 328247 h 6072780"/>
                <a:gd name="connsiteX7729" fmla="*/ 3712039 w 12117871"/>
                <a:gd name="connsiteY7729" fmla="*/ 328247 h 6072780"/>
                <a:gd name="connsiteX7730" fmla="*/ 3726944 w 12117871"/>
                <a:gd name="connsiteY7730" fmla="*/ 328247 h 6072780"/>
                <a:gd name="connsiteX7731" fmla="*/ 3726944 w 12117871"/>
                <a:gd name="connsiteY7731" fmla="*/ 551227 h 6072780"/>
                <a:gd name="connsiteX7732" fmla="*/ 3691657 w 12117871"/>
                <a:gd name="connsiteY7732" fmla="*/ 551227 h 6072780"/>
                <a:gd name="connsiteX7733" fmla="*/ 3691657 w 12117871"/>
                <a:gd name="connsiteY7733" fmla="*/ 371444 h 6072780"/>
                <a:gd name="connsiteX7734" fmla="*/ 3671049 w 12117871"/>
                <a:gd name="connsiteY7734" fmla="*/ 383079 h 6072780"/>
                <a:gd name="connsiteX7735" fmla="*/ 3645875 w 12117871"/>
                <a:gd name="connsiteY7735" fmla="*/ 391521 h 6072780"/>
                <a:gd name="connsiteX7736" fmla="*/ 3645875 w 12117871"/>
                <a:gd name="connsiteY7736" fmla="*/ 361405 h 6072780"/>
                <a:gd name="connsiteX7737" fmla="*/ 3662911 w 12117871"/>
                <a:gd name="connsiteY7737" fmla="*/ 355321 h 6072780"/>
                <a:gd name="connsiteX7738" fmla="*/ 3679110 w 12117871"/>
                <a:gd name="connsiteY7738" fmla="*/ 348172 h 6072780"/>
                <a:gd name="connsiteX7739" fmla="*/ 3695232 w 12117871"/>
                <a:gd name="connsiteY7739" fmla="*/ 339350 h 6072780"/>
                <a:gd name="connsiteX7740" fmla="*/ 3712039 w 12117871"/>
                <a:gd name="connsiteY7740" fmla="*/ 328247 h 6072780"/>
                <a:gd name="connsiteX7741" fmla="*/ 3563183 w 12117871"/>
                <a:gd name="connsiteY7741" fmla="*/ 328247 h 6072780"/>
                <a:gd name="connsiteX7742" fmla="*/ 3578089 w 12117871"/>
                <a:gd name="connsiteY7742" fmla="*/ 328247 h 6072780"/>
                <a:gd name="connsiteX7743" fmla="*/ 3578089 w 12117871"/>
                <a:gd name="connsiteY7743" fmla="*/ 551227 h 6072780"/>
                <a:gd name="connsiteX7744" fmla="*/ 3542801 w 12117871"/>
                <a:gd name="connsiteY7744" fmla="*/ 551227 h 6072780"/>
                <a:gd name="connsiteX7745" fmla="*/ 3542801 w 12117871"/>
                <a:gd name="connsiteY7745" fmla="*/ 371444 h 6072780"/>
                <a:gd name="connsiteX7746" fmla="*/ 3522192 w 12117871"/>
                <a:gd name="connsiteY7746" fmla="*/ 383079 h 6072780"/>
                <a:gd name="connsiteX7747" fmla="*/ 3497018 w 12117871"/>
                <a:gd name="connsiteY7747" fmla="*/ 391521 h 6072780"/>
                <a:gd name="connsiteX7748" fmla="*/ 3497018 w 12117871"/>
                <a:gd name="connsiteY7748" fmla="*/ 361405 h 6072780"/>
                <a:gd name="connsiteX7749" fmla="*/ 3514053 w 12117871"/>
                <a:gd name="connsiteY7749" fmla="*/ 355321 h 6072780"/>
                <a:gd name="connsiteX7750" fmla="*/ 3530252 w 12117871"/>
                <a:gd name="connsiteY7750" fmla="*/ 348172 h 6072780"/>
                <a:gd name="connsiteX7751" fmla="*/ 3546374 w 12117871"/>
                <a:gd name="connsiteY7751" fmla="*/ 339350 h 6072780"/>
                <a:gd name="connsiteX7752" fmla="*/ 3563183 w 12117871"/>
                <a:gd name="connsiteY7752" fmla="*/ 328247 h 6072780"/>
                <a:gd name="connsiteX7753" fmla="*/ 2758514 w 12117871"/>
                <a:gd name="connsiteY7753" fmla="*/ 328247 h 6072780"/>
                <a:gd name="connsiteX7754" fmla="*/ 2773420 w 12117871"/>
                <a:gd name="connsiteY7754" fmla="*/ 328247 h 6072780"/>
                <a:gd name="connsiteX7755" fmla="*/ 2773420 w 12117871"/>
                <a:gd name="connsiteY7755" fmla="*/ 551227 h 6072780"/>
                <a:gd name="connsiteX7756" fmla="*/ 2738133 w 12117871"/>
                <a:gd name="connsiteY7756" fmla="*/ 551227 h 6072780"/>
                <a:gd name="connsiteX7757" fmla="*/ 2738133 w 12117871"/>
                <a:gd name="connsiteY7757" fmla="*/ 371444 h 6072780"/>
                <a:gd name="connsiteX7758" fmla="*/ 2717522 w 12117871"/>
                <a:gd name="connsiteY7758" fmla="*/ 383079 h 6072780"/>
                <a:gd name="connsiteX7759" fmla="*/ 2692349 w 12117871"/>
                <a:gd name="connsiteY7759" fmla="*/ 391521 h 6072780"/>
                <a:gd name="connsiteX7760" fmla="*/ 2692349 w 12117871"/>
                <a:gd name="connsiteY7760" fmla="*/ 361405 h 6072780"/>
                <a:gd name="connsiteX7761" fmla="*/ 2709386 w 12117871"/>
                <a:gd name="connsiteY7761" fmla="*/ 355321 h 6072780"/>
                <a:gd name="connsiteX7762" fmla="*/ 2725584 w 12117871"/>
                <a:gd name="connsiteY7762" fmla="*/ 348172 h 6072780"/>
                <a:gd name="connsiteX7763" fmla="*/ 2741707 w 12117871"/>
                <a:gd name="connsiteY7763" fmla="*/ 339350 h 6072780"/>
                <a:gd name="connsiteX7764" fmla="*/ 2758514 w 12117871"/>
                <a:gd name="connsiteY7764" fmla="*/ 328247 h 6072780"/>
                <a:gd name="connsiteX7765" fmla="*/ 2365755 w 12117871"/>
                <a:gd name="connsiteY7765" fmla="*/ 328247 h 6072780"/>
                <a:gd name="connsiteX7766" fmla="*/ 2380662 w 12117871"/>
                <a:gd name="connsiteY7766" fmla="*/ 328247 h 6072780"/>
                <a:gd name="connsiteX7767" fmla="*/ 2380662 w 12117871"/>
                <a:gd name="connsiteY7767" fmla="*/ 551227 h 6072780"/>
                <a:gd name="connsiteX7768" fmla="*/ 2345374 w 12117871"/>
                <a:gd name="connsiteY7768" fmla="*/ 551227 h 6072780"/>
                <a:gd name="connsiteX7769" fmla="*/ 2345374 w 12117871"/>
                <a:gd name="connsiteY7769" fmla="*/ 371444 h 6072780"/>
                <a:gd name="connsiteX7770" fmla="*/ 2324763 w 12117871"/>
                <a:gd name="connsiteY7770" fmla="*/ 383079 h 6072780"/>
                <a:gd name="connsiteX7771" fmla="*/ 2299591 w 12117871"/>
                <a:gd name="connsiteY7771" fmla="*/ 391521 h 6072780"/>
                <a:gd name="connsiteX7772" fmla="*/ 2299591 w 12117871"/>
                <a:gd name="connsiteY7772" fmla="*/ 361405 h 6072780"/>
                <a:gd name="connsiteX7773" fmla="*/ 2316626 w 12117871"/>
                <a:gd name="connsiteY7773" fmla="*/ 355321 h 6072780"/>
                <a:gd name="connsiteX7774" fmla="*/ 2332825 w 12117871"/>
                <a:gd name="connsiteY7774" fmla="*/ 348172 h 6072780"/>
                <a:gd name="connsiteX7775" fmla="*/ 2348947 w 12117871"/>
                <a:gd name="connsiteY7775" fmla="*/ 339350 h 6072780"/>
                <a:gd name="connsiteX7776" fmla="*/ 2365755 w 12117871"/>
                <a:gd name="connsiteY7776" fmla="*/ 328247 h 6072780"/>
                <a:gd name="connsiteX7777" fmla="*/ 2222148 w 12117871"/>
                <a:gd name="connsiteY7777" fmla="*/ 328247 h 6072780"/>
                <a:gd name="connsiteX7778" fmla="*/ 2237054 w 12117871"/>
                <a:gd name="connsiteY7778" fmla="*/ 328247 h 6072780"/>
                <a:gd name="connsiteX7779" fmla="*/ 2237054 w 12117871"/>
                <a:gd name="connsiteY7779" fmla="*/ 551227 h 6072780"/>
                <a:gd name="connsiteX7780" fmla="*/ 2201765 w 12117871"/>
                <a:gd name="connsiteY7780" fmla="*/ 551227 h 6072780"/>
                <a:gd name="connsiteX7781" fmla="*/ 2201765 w 12117871"/>
                <a:gd name="connsiteY7781" fmla="*/ 371444 h 6072780"/>
                <a:gd name="connsiteX7782" fmla="*/ 2181155 w 12117871"/>
                <a:gd name="connsiteY7782" fmla="*/ 383079 h 6072780"/>
                <a:gd name="connsiteX7783" fmla="*/ 2155983 w 12117871"/>
                <a:gd name="connsiteY7783" fmla="*/ 391521 h 6072780"/>
                <a:gd name="connsiteX7784" fmla="*/ 2155983 w 12117871"/>
                <a:gd name="connsiteY7784" fmla="*/ 361405 h 6072780"/>
                <a:gd name="connsiteX7785" fmla="*/ 2173018 w 12117871"/>
                <a:gd name="connsiteY7785" fmla="*/ 355321 h 6072780"/>
                <a:gd name="connsiteX7786" fmla="*/ 2189217 w 12117871"/>
                <a:gd name="connsiteY7786" fmla="*/ 348172 h 6072780"/>
                <a:gd name="connsiteX7787" fmla="*/ 2205340 w 12117871"/>
                <a:gd name="connsiteY7787" fmla="*/ 339350 h 6072780"/>
                <a:gd name="connsiteX7788" fmla="*/ 2222148 w 12117871"/>
                <a:gd name="connsiteY7788" fmla="*/ 328247 h 6072780"/>
                <a:gd name="connsiteX7789" fmla="*/ 2078538 w 12117871"/>
                <a:gd name="connsiteY7789" fmla="*/ 328247 h 6072780"/>
                <a:gd name="connsiteX7790" fmla="*/ 2093445 w 12117871"/>
                <a:gd name="connsiteY7790" fmla="*/ 328247 h 6072780"/>
                <a:gd name="connsiteX7791" fmla="*/ 2093445 w 12117871"/>
                <a:gd name="connsiteY7791" fmla="*/ 551227 h 6072780"/>
                <a:gd name="connsiteX7792" fmla="*/ 2058157 w 12117871"/>
                <a:gd name="connsiteY7792" fmla="*/ 551227 h 6072780"/>
                <a:gd name="connsiteX7793" fmla="*/ 2058157 w 12117871"/>
                <a:gd name="connsiteY7793" fmla="*/ 371444 h 6072780"/>
                <a:gd name="connsiteX7794" fmla="*/ 2037547 w 12117871"/>
                <a:gd name="connsiteY7794" fmla="*/ 383079 h 6072780"/>
                <a:gd name="connsiteX7795" fmla="*/ 2012375 w 12117871"/>
                <a:gd name="connsiteY7795" fmla="*/ 391521 h 6072780"/>
                <a:gd name="connsiteX7796" fmla="*/ 2012375 w 12117871"/>
                <a:gd name="connsiteY7796" fmla="*/ 361405 h 6072780"/>
                <a:gd name="connsiteX7797" fmla="*/ 2029410 w 12117871"/>
                <a:gd name="connsiteY7797" fmla="*/ 355321 h 6072780"/>
                <a:gd name="connsiteX7798" fmla="*/ 2045609 w 12117871"/>
                <a:gd name="connsiteY7798" fmla="*/ 348172 h 6072780"/>
                <a:gd name="connsiteX7799" fmla="*/ 2061730 w 12117871"/>
                <a:gd name="connsiteY7799" fmla="*/ 339350 h 6072780"/>
                <a:gd name="connsiteX7800" fmla="*/ 2078538 w 12117871"/>
                <a:gd name="connsiteY7800" fmla="*/ 328247 h 6072780"/>
                <a:gd name="connsiteX7801" fmla="*/ 1934932 w 12117871"/>
                <a:gd name="connsiteY7801" fmla="*/ 328247 h 6072780"/>
                <a:gd name="connsiteX7802" fmla="*/ 1949837 w 12117871"/>
                <a:gd name="connsiteY7802" fmla="*/ 328247 h 6072780"/>
                <a:gd name="connsiteX7803" fmla="*/ 1949837 w 12117871"/>
                <a:gd name="connsiteY7803" fmla="*/ 551227 h 6072780"/>
                <a:gd name="connsiteX7804" fmla="*/ 1914550 w 12117871"/>
                <a:gd name="connsiteY7804" fmla="*/ 551227 h 6072780"/>
                <a:gd name="connsiteX7805" fmla="*/ 1914550 w 12117871"/>
                <a:gd name="connsiteY7805" fmla="*/ 371444 h 6072780"/>
                <a:gd name="connsiteX7806" fmla="*/ 1893940 w 12117871"/>
                <a:gd name="connsiteY7806" fmla="*/ 383079 h 6072780"/>
                <a:gd name="connsiteX7807" fmla="*/ 1868767 w 12117871"/>
                <a:gd name="connsiteY7807" fmla="*/ 391521 h 6072780"/>
                <a:gd name="connsiteX7808" fmla="*/ 1868767 w 12117871"/>
                <a:gd name="connsiteY7808" fmla="*/ 361405 h 6072780"/>
                <a:gd name="connsiteX7809" fmla="*/ 1885803 w 12117871"/>
                <a:gd name="connsiteY7809" fmla="*/ 355321 h 6072780"/>
                <a:gd name="connsiteX7810" fmla="*/ 1902003 w 12117871"/>
                <a:gd name="connsiteY7810" fmla="*/ 348172 h 6072780"/>
                <a:gd name="connsiteX7811" fmla="*/ 1918124 w 12117871"/>
                <a:gd name="connsiteY7811" fmla="*/ 339350 h 6072780"/>
                <a:gd name="connsiteX7812" fmla="*/ 1934932 w 12117871"/>
                <a:gd name="connsiteY7812" fmla="*/ 328247 h 6072780"/>
                <a:gd name="connsiteX7813" fmla="*/ 1791323 w 12117871"/>
                <a:gd name="connsiteY7813" fmla="*/ 328247 h 6072780"/>
                <a:gd name="connsiteX7814" fmla="*/ 1806229 w 12117871"/>
                <a:gd name="connsiteY7814" fmla="*/ 328247 h 6072780"/>
                <a:gd name="connsiteX7815" fmla="*/ 1806229 w 12117871"/>
                <a:gd name="connsiteY7815" fmla="*/ 551227 h 6072780"/>
                <a:gd name="connsiteX7816" fmla="*/ 1770942 w 12117871"/>
                <a:gd name="connsiteY7816" fmla="*/ 551227 h 6072780"/>
                <a:gd name="connsiteX7817" fmla="*/ 1770942 w 12117871"/>
                <a:gd name="connsiteY7817" fmla="*/ 371444 h 6072780"/>
                <a:gd name="connsiteX7818" fmla="*/ 1750332 w 12117871"/>
                <a:gd name="connsiteY7818" fmla="*/ 383079 h 6072780"/>
                <a:gd name="connsiteX7819" fmla="*/ 1725159 w 12117871"/>
                <a:gd name="connsiteY7819" fmla="*/ 391521 h 6072780"/>
                <a:gd name="connsiteX7820" fmla="*/ 1725159 w 12117871"/>
                <a:gd name="connsiteY7820" fmla="*/ 361405 h 6072780"/>
                <a:gd name="connsiteX7821" fmla="*/ 1742195 w 12117871"/>
                <a:gd name="connsiteY7821" fmla="*/ 355321 h 6072780"/>
                <a:gd name="connsiteX7822" fmla="*/ 1758394 w 12117871"/>
                <a:gd name="connsiteY7822" fmla="*/ 348172 h 6072780"/>
                <a:gd name="connsiteX7823" fmla="*/ 1774516 w 12117871"/>
                <a:gd name="connsiteY7823" fmla="*/ 339350 h 6072780"/>
                <a:gd name="connsiteX7824" fmla="*/ 1791323 w 12117871"/>
                <a:gd name="connsiteY7824" fmla="*/ 328247 h 6072780"/>
                <a:gd name="connsiteX7825" fmla="*/ 1443625 w 12117871"/>
                <a:gd name="connsiteY7825" fmla="*/ 328247 h 6072780"/>
                <a:gd name="connsiteX7826" fmla="*/ 1458532 w 12117871"/>
                <a:gd name="connsiteY7826" fmla="*/ 328247 h 6072780"/>
                <a:gd name="connsiteX7827" fmla="*/ 1458532 w 12117871"/>
                <a:gd name="connsiteY7827" fmla="*/ 551227 h 6072780"/>
                <a:gd name="connsiteX7828" fmla="*/ 1423244 w 12117871"/>
                <a:gd name="connsiteY7828" fmla="*/ 551227 h 6072780"/>
                <a:gd name="connsiteX7829" fmla="*/ 1423244 w 12117871"/>
                <a:gd name="connsiteY7829" fmla="*/ 371444 h 6072780"/>
                <a:gd name="connsiteX7830" fmla="*/ 1402634 w 12117871"/>
                <a:gd name="connsiteY7830" fmla="*/ 383079 h 6072780"/>
                <a:gd name="connsiteX7831" fmla="*/ 1377462 w 12117871"/>
                <a:gd name="connsiteY7831" fmla="*/ 391521 h 6072780"/>
                <a:gd name="connsiteX7832" fmla="*/ 1377462 w 12117871"/>
                <a:gd name="connsiteY7832" fmla="*/ 361405 h 6072780"/>
                <a:gd name="connsiteX7833" fmla="*/ 1394497 w 12117871"/>
                <a:gd name="connsiteY7833" fmla="*/ 355321 h 6072780"/>
                <a:gd name="connsiteX7834" fmla="*/ 1410696 w 12117871"/>
                <a:gd name="connsiteY7834" fmla="*/ 348172 h 6072780"/>
                <a:gd name="connsiteX7835" fmla="*/ 1426818 w 12117871"/>
                <a:gd name="connsiteY7835" fmla="*/ 339350 h 6072780"/>
                <a:gd name="connsiteX7836" fmla="*/ 1443625 w 12117871"/>
                <a:gd name="connsiteY7836" fmla="*/ 328247 h 6072780"/>
                <a:gd name="connsiteX7837" fmla="*/ 1145912 w 12117871"/>
                <a:gd name="connsiteY7837" fmla="*/ 328247 h 6072780"/>
                <a:gd name="connsiteX7838" fmla="*/ 1160818 w 12117871"/>
                <a:gd name="connsiteY7838" fmla="*/ 328247 h 6072780"/>
                <a:gd name="connsiteX7839" fmla="*/ 1160818 w 12117871"/>
                <a:gd name="connsiteY7839" fmla="*/ 551227 h 6072780"/>
                <a:gd name="connsiteX7840" fmla="*/ 1125531 w 12117871"/>
                <a:gd name="connsiteY7840" fmla="*/ 551227 h 6072780"/>
                <a:gd name="connsiteX7841" fmla="*/ 1125531 w 12117871"/>
                <a:gd name="connsiteY7841" fmla="*/ 371444 h 6072780"/>
                <a:gd name="connsiteX7842" fmla="*/ 1104921 w 12117871"/>
                <a:gd name="connsiteY7842" fmla="*/ 383079 h 6072780"/>
                <a:gd name="connsiteX7843" fmla="*/ 1079749 w 12117871"/>
                <a:gd name="connsiteY7843" fmla="*/ 391521 h 6072780"/>
                <a:gd name="connsiteX7844" fmla="*/ 1079749 w 12117871"/>
                <a:gd name="connsiteY7844" fmla="*/ 361405 h 6072780"/>
                <a:gd name="connsiteX7845" fmla="*/ 1096784 w 12117871"/>
                <a:gd name="connsiteY7845" fmla="*/ 355321 h 6072780"/>
                <a:gd name="connsiteX7846" fmla="*/ 1112982 w 12117871"/>
                <a:gd name="connsiteY7846" fmla="*/ 348172 h 6072780"/>
                <a:gd name="connsiteX7847" fmla="*/ 1129105 w 12117871"/>
                <a:gd name="connsiteY7847" fmla="*/ 339350 h 6072780"/>
                <a:gd name="connsiteX7848" fmla="*/ 1145912 w 12117871"/>
                <a:gd name="connsiteY7848" fmla="*/ 328247 h 6072780"/>
                <a:gd name="connsiteX7849" fmla="*/ 934793 w 12117871"/>
                <a:gd name="connsiteY7849" fmla="*/ 328247 h 6072780"/>
                <a:gd name="connsiteX7850" fmla="*/ 1005960 w 12117871"/>
                <a:gd name="connsiteY7850" fmla="*/ 438834 h 6072780"/>
                <a:gd name="connsiteX7851" fmla="*/ 985874 w 12117871"/>
                <a:gd name="connsiteY7851" fmla="*/ 522414 h 6072780"/>
                <a:gd name="connsiteX7852" fmla="*/ 929678 w 12117871"/>
                <a:gd name="connsiteY7852" fmla="*/ 551227 h 6072780"/>
                <a:gd name="connsiteX7853" fmla="*/ 877091 w 12117871"/>
                <a:gd name="connsiteY7853" fmla="*/ 523693 h 6072780"/>
                <a:gd name="connsiteX7854" fmla="*/ 858210 w 12117871"/>
                <a:gd name="connsiteY7854" fmla="*/ 444101 h 6072780"/>
                <a:gd name="connsiteX7855" fmla="*/ 877920 w 12117871"/>
                <a:gd name="connsiteY7855" fmla="*/ 357586 h 6072780"/>
                <a:gd name="connsiteX7856" fmla="*/ 934793 w 12117871"/>
                <a:gd name="connsiteY7856" fmla="*/ 328247 h 6072780"/>
                <a:gd name="connsiteX7857" fmla="*/ 718517 w 12117871"/>
                <a:gd name="connsiteY7857" fmla="*/ 328247 h 6072780"/>
                <a:gd name="connsiteX7858" fmla="*/ 789684 w 12117871"/>
                <a:gd name="connsiteY7858" fmla="*/ 438834 h 6072780"/>
                <a:gd name="connsiteX7859" fmla="*/ 769597 w 12117871"/>
                <a:gd name="connsiteY7859" fmla="*/ 522414 h 6072780"/>
                <a:gd name="connsiteX7860" fmla="*/ 713402 w 12117871"/>
                <a:gd name="connsiteY7860" fmla="*/ 551227 h 6072780"/>
                <a:gd name="connsiteX7861" fmla="*/ 660816 w 12117871"/>
                <a:gd name="connsiteY7861" fmla="*/ 523693 h 6072780"/>
                <a:gd name="connsiteX7862" fmla="*/ 641934 w 12117871"/>
                <a:gd name="connsiteY7862" fmla="*/ 444101 h 6072780"/>
                <a:gd name="connsiteX7863" fmla="*/ 661644 w 12117871"/>
                <a:gd name="connsiteY7863" fmla="*/ 357586 h 6072780"/>
                <a:gd name="connsiteX7864" fmla="*/ 718517 w 12117871"/>
                <a:gd name="connsiteY7864" fmla="*/ 328247 h 6072780"/>
                <a:gd name="connsiteX7865" fmla="*/ 570384 w 12117871"/>
                <a:gd name="connsiteY7865" fmla="*/ 328247 h 6072780"/>
                <a:gd name="connsiteX7866" fmla="*/ 585291 w 12117871"/>
                <a:gd name="connsiteY7866" fmla="*/ 328247 h 6072780"/>
                <a:gd name="connsiteX7867" fmla="*/ 585291 w 12117871"/>
                <a:gd name="connsiteY7867" fmla="*/ 551227 h 6072780"/>
                <a:gd name="connsiteX7868" fmla="*/ 550003 w 12117871"/>
                <a:gd name="connsiteY7868" fmla="*/ 551227 h 6072780"/>
                <a:gd name="connsiteX7869" fmla="*/ 550003 w 12117871"/>
                <a:gd name="connsiteY7869" fmla="*/ 371444 h 6072780"/>
                <a:gd name="connsiteX7870" fmla="*/ 529393 w 12117871"/>
                <a:gd name="connsiteY7870" fmla="*/ 383079 h 6072780"/>
                <a:gd name="connsiteX7871" fmla="*/ 504221 w 12117871"/>
                <a:gd name="connsiteY7871" fmla="*/ 391521 h 6072780"/>
                <a:gd name="connsiteX7872" fmla="*/ 504221 w 12117871"/>
                <a:gd name="connsiteY7872" fmla="*/ 361405 h 6072780"/>
                <a:gd name="connsiteX7873" fmla="*/ 521256 w 12117871"/>
                <a:gd name="connsiteY7873" fmla="*/ 355321 h 6072780"/>
                <a:gd name="connsiteX7874" fmla="*/ 537455 w 12117871"/>
                <a:gd name="connsiteY7874" fmla="*/ 348172 h 6072780"/>
                <a:gd name="connsiteX7875" fmla="*/ 553578 w 12117871"/>
                <a:gd name="connsiteY7875" fmla="*/ 339350 h 6072780"/>
                <a:gd name="connsiteX7876" fmla="*/ 570384 w 12117871"/>
                <a:gd name="connsiteY7876" fmla="*/ 328247 h 6072780"/>
                <a:gd name="connsiteX7877" fmla="*/ 272671 w 12117871"/>
                <a:gd name="connsiteY7877" fmla="*/ 328247 h 6072780"/>
                <a:gd name="connsiteX7878" fmla="*/ 287576 w 12117871"/>
                <a:gd name="connsiteY7878" fmla="*/ 328247 h 6072780"/>
                <a:gd name="connsiteX7879" fmla="*/ 287576 w 12117871"/>
                <a:gd name="connsiteY7879" fmla="*/ 551227 h 6072780"/>
                <a:gd name="connsiteX7880" fmla="*/ 252289 w 12117871"/>
                <a:gd name="connsiteY7880" fmla="*/ 551227 h 6072780"/>
                <a:gd name="connsiteX7881" fmla="*/ 252289 w 12117871"/>
                <a:gd name="connsiteY7881" fmla="*/ 371444 h 6072780"/>
                <a:gd name="connsiteX7882" fmla="*/ 231681 w 12117871"/>
                <a:gd name="connsiteY7882" fmla="*/ 383079 h 6072780"/>
                <a:gd name="connsiteX7883" fmla="*/ 206507 w 12117871"/>
                <a:gd name="connsiteY7883" fmla="*/ 391521 h 6072780"/>
                <a:gd name="connsiteX7884" fmla="*/ 206507 w 12117871"/>
                <a:gd name="connsiteY7884" fmla="*/ 361405 h 6072780"/>
                <a:gd name="connsiteX7885" fmla="*/ 223541 w 12117871"/>
                <a:gd name="connsiteY7885" fmla="*/ 355321 h 6072780"/>
                <a:gd name="connsiteX7886" fmla="*/ 239740 w 12117871"/>
                <a:gd name="connsiteY7886" fmla="*/ 348172 h 6072780"/>
                <a:gd name="connsiteX7887" fmla="*/ 255864 w 12117871"/>
                <a:gd name="connsiteY7887" fmla="*/ 339350 h 6072780"/>
                <a:gd name="connsiteX7888" fmla="*/ 272671 w 12117871"/>
                <a:gd name="connsiteY7888" fmla="*/ 328247 h 6072780"/>
                <a:gd name="connsiteX7889" fmla="*/ 96910 w 12117871"/>
                <a:gd name="connsiteY7889" fmla="*/ 328247 h 6072780"/>
                <a:gd name="connsiteX7890" fmla="*/ 168078 w 12117871"/>
                <a:gd name="connsiteY7890" fmla="*/ 438834 h 6072780"/>
                <a:gd name="connsiteX7891" fmla="*/ 147992 w 12117871"/>
                <a:gd name="connsiteY7891" fmla="*/ 522414 h 6072780"/>
                <a:gd name="connsiteX7892" fmla="*/ 91795 w 12117871"/>
                <a:gd name="connsiteY7892" fmla="*/ 551227 h 6072780"/>
                <a:gd name="connsiteX7893" fmla="*/ 39210 w 12117871"/>
                <a:gd name="connsiteY7893" fmla="*/ 523693 h 6072780"/>
                <a:gd name="connsiteX7894" fmla="*/ 20327 w 12117871"/>
                <a:gd name="connsiteY7894" fmla="*/ 444101 h 6072780"/>
                <a:gd name="connsiteX7895" fmla="*/ 40037 w 12117871"/>
                <a:gd name="connsiteY7895" fmla="*/ 357586 h 6072780"/>
                <a:gd name="connsiteX7896" fmla="*/ 96910 w 12117871"/>
                <a:gd name="connsiteY7896" fmla="*/ 328247 h 6072780"/>
                <a:gd name="connsiteX7897" fmla="*/ 11909636 w 12117871"/>
                <a:gd name="connsiteY7897" fmla="*/ 27835 h 6072780"/>
                <a:gd name="connsiteX7898" fmla="*/ 11870366 w 12117871"/>
                <a:gd name="connsiteY7898" fmla="*/ 114349 h 6072780"/>
                <a:gd name="connsiteX7899" fmla="*/ 11908884 w 12117871"/>
                <a:gd name="connsiteY7899" fmla="*/ 195295 h 6072780"/>
                <a:gd name="connsiteX7900" fmla="*/ 11946799 w 12117871"/>
                <a:gd name="connsiteY7900" fmla="*/ 112995 h 6072780"/>
                <a:gd name="connsiteX7901" fmla="*/ 11909636 w 12117871"/>
                <a:gd name="connsiteY7901" fmla="*/ 27835 h 6072780"/>
                <a:gd name="connsiteX7902" fmla="*/ 11203074 w 12117871"/>
                <a:gd name="connsiteY7902" fmla="*/ 27835 h 6072780"/>
                <a:gd name="connsiteX7903" fmla="*/ 11163804 w 12117871"/>
                <a:gd name="connsiteY7903" fmla="*/ 114349 h 6072780"/>
                <a:gd name="connsiteX7904" fmla="*/ 11202322 w 12117871"/>
                <a:gd name="connsiteY7904" fmla="*/ 195295 h 6072780"/>
                <a:gd name="connsiteX7905" fmla="*/ 11240237 w 12117871"/>
                <a:gd name="connsiteY7905" fmla="*/ 112995 h 6072780"/>
                <a:gd name="connsiteX7906" fmla="*/ 11203074 w 12117871"/>
                <a:gd name="connsiteY7906" fmla="*/ 27835 h 6072780"/>
                <a:gd name="connsiteX7907" fmla="*/ 9955555 w 12117871"/>
                <a:gd name="connsiteY7907" fmla="*/ 27835 h 6072780"/>
                <a:gd name="connsiteX7908" fmla="*/ 9916285 w 12117871"/>
                <a:gd name="connsiteY7908" fmla="*/ 114349 h 6072780"/>
                <a:gd name="connsiteX7909" fmla="*/ 9954803 w 12117871"/>
                <a:gd name="connsiteY7909" fmla="*/ 195295 h 6072780"/>
                <a:gd name="connsiteX7910" fmla="*/ 9992718 w 12117871"/>
                <a:gd name="connsiteY7910" fmla="*/ 112995 h 6072780"/>
                <a:gd name="connsiteX7911" fmla="*/ 9955555 w 12117871"/>
                <a:gd name="connsiteY7911" fmla="*/ 27835 h 6072780"/>
                <a:gd name="connsiteX7912" fmla="*/ 9736111 w 12117871"/>
                <a:gd name="connsiteY7912" fmla="*/ 27835 h 6072780"/>
                <a:gd name="connsiteX7913" fmla="*/ 9696841 w 12117871"/>
                <a:gd name="connsiteY7913" fmla="*/ 114349 h 6072780"/>
                <a:gd name="connsiteX7914" fmla="*/ 9735359 w 12117871"/>
                <a:gd name="connsiteY7914" fmla="*/ 195295 h 6072780"/>
                <a:gd name="connsiteX7915" fmla="*/ 9773274 w 12117871"/>
                <a:gd name="connsiteY7915" fmla="*/ 112995 h 6072780"/>
                <a:gd name="connsiteX7916" fmla="*/ 9736111 w 12117871"/>
                <a:gd name="connsiteY7916" fmla="*/ 27835 h 6072780"/>
                <a:gd name="connsiteX7917" fmla="*/ 6381466 w 12117871"/>
                <a:gd name="connsiteY7917" fmla="*/ 27835 h 6072780"/>
                <a:gd name="connsiteX7918" fmla="*/ 6342196 w 12117871"/>
                <a:gd name="connsiteY7918" fmla="*/ 114349 h 6072780"/>
                <a:gd name="connsiteX7919" fmla="*/ 6380714 w 12117871"/>
                <a:gd name="connsiteY7919" fmla="*/ 195295 h 6072780"/>
                <a:gd name="connsiteX7920" fmla="*/ 6418629 w 12117871"/>
                <a:gd name="connsiteY7920" fmla="*/ 112995 h 6072780"/>
                <a:gd name="connsiteX7921" fmla="*/ 6381466 w 12117871"/>
                <a:gd name="connsiteY7921" fmla="*/ 27835 h 6072780"/>
                <a:gd name="connsiteX7922" fmla="*/ 5846380 w 12117871"/>
                <a:gd name="connsiteY7922" fmla="*/ 27835 h 6072780"/>
                <a:gd name="connsiteX7923" fmla="*/ 5807110 w 12117871"/>
                <a:gd name="connsiteY7923" fmla="*/ 114349 h 6072780"/>
                <a:gd name="connsiteX7924" fmla="*/ 5845628 w 12117871"/>
                <a:gd name="connsiteY7924" fmla="*/ 195295 h 6072780"/>
                <a:gd name="connsiteX7925" fmla="*/ 5883543 w 12117871"/>
                <a:gd name="connsiteY7925" fmla="*/ 112995 h 6072780"/>
                <a:gd name="connsiteX7926" fmla="*/ 5846380 w 12117871"/>
                <a:gd name="connsiteY7926" fmla="*/ 27835 h 6072780"/>
                <a:gd name="connsiteX7927" fmla="*/ 5148730 w 12117871"/>
                <a:gd name="connsiteY7927" fmla="*/ 27835 h 6072780"/>
                <a:gd name="connsiteX7928" fmla="*/ 5109460 w 12117871"/>
                <a:gd name="connsiteY7928" fmla="*/ 114349 h 6072780"/>
                <a:gd name="connsiteX7929" fmla="*/ 5147978 w 12117871"/>
                <a:gd name="connsiteY7929" fmla="*/ 195295 h 6072780"/>
                <a:gd name="connsiteX7930" fmla="*/ 5185893 w 12117871"/>
                <a:gd name="connsiteY7930" fmla="*/ 112995 h 6072780"/>
                <a:gd name="connsiteX7931" fmla="*/ 5148730 w 12117871"/>
                <a:gd name="connsiteY7931" fmla="*/ 27835 h 6072780"/>
                <a:gd name="connsiteX7932" fmla="*/ 3896993 w 12117871"/>
                <a:gd name="connsiteY7932" fmla="*/ 27835 h 6072780"/>
                <a:gd name="connsiteX7933" fmla="*/ 3857723 w 12117871"/>
                <a:gd name="connsiteY7933" fmla="*/ 114349 h 6072780"/>
                <a:gd name="connsiteX7934" fmla="*/ 3896240 w 12117871"/>
                <a:gd name="connsiteY7934" fmla="*/ 195295 h 6072780"/>
                <a:gd name="connsiteX7935" fmla="*/ 3934156 w 12117871"/>
                <a:gd name="connsiteY7935" fmla="*/ 112995 h 6072780"/>
                <a:gd name="connsiteX7936" fmla="*/ 3896993 w 12117871"/>
                <a:gd name="connsiteY7936" fmla="*/ 27835 h 6072780"/>
                <a:gd name="connsiteX7937" fmla="*/ 3672329 w 12117871"/>
                <a:gd name="connsiteY7937" fmla="*/ 27835 h 6072780"/>
                <a:gd name="connsiteX7938" fmla="*/ 3633059 w 12117871"/>
                <a:gd name="connsiteY7938" fmla="*/ 114349 h 6072780"/>
                <a:gd name="connsiteX7939" fmla="*/ 3671576 w 12117871"/>
                <a:gd name="connsiteY7939" fmla="*/ 195295 h 6072780"/>
                <a:gd name="connsiteX7940" fmla="*/ 3709492 w 12117871"/>
                <a:gd name="connsiteY7940" fmla="*/ 112995 h 6072780"/>
                <a:gd name="connsiteX7941" fmla="*/ 3672329 w 12117871"/>
                <a:gd name="connsiteY7941" fmla="*/ 27835 h 6072780"/>
                <a:gd name="connsiteX7942" fmla="*/ 310214 w 12117871"/>
                <a:gd name="connsiteY7942" fmla="*/ 27835 h 6072780"/>
                <a:gd name="connsiteX7943" fmla="*/ 270944 w 12117871"/>
                <a:gd name="connsiteY7943" fmla="*/ 114349 h 6072780"/>
                <a:gd name="connsiteX7944" fmla="*/ 309462 w 12117871"/>
                <a:gd name="connsiteY7944" fmla="*/ 195295 h 6072780"/>
                <a:gd name="connsiteX7945" fmla="*/ 347377 w 12117871"/>
                <a:gd name="connsiteY7945" fmla="*/ 112995 h 6072780"/>
                <a:gd name="connsiteX7946" fmla="*/ 310214 w 12117871"/>
                <a:gd name="connsiteY7946" fmla="*/ 27835 h 6072780"/>
                <a:gd name="connsiteX7947" fmla="*/ 12102965 w 12117871"/>
                <a:gd name="connsiteY7947" fmla="*/ 0 h 6072780"/>
                <a:gd name="connsiteX7948" fmla="*/ 12117871 w 12117871"/>
                <a:gd name="connsiteY7948" fmla="*/ 0 h 6072780"/>
                <a:gd name="connsiteX7949" fmla="*/ 12117871 w 12117871"/>
                <a:gd name="connsiteY7949" fmla="*/ 222980 h 6072780"/>
                <a:gd name="connsiteX7950" fmla="*/ 12082583 w 12117871"/>
                <a:gd name="connsiteY7950" fmla="*/ 222980 h 6072780"/>
                <a:gd name="connsiteX7951" fmla="*/ 12082583 w 12117871"/>
                <a:gd name="connsiteY7951" fmla="*/ 43196 h 6072780"/>
                <a:gd name="connsiteX7952" fmla="*/ 12061974 w 12117871"/>
                <a:gd name="connsiteY7952" fmla="*/ 54832 h 6072780"/>
                <a:gd name="connsiteX7953" fmla="*/ 12036801 w 12117871"/>
                <a:gd name="connsiteY7953" fmla="*/ 63274 h 6072780"/>
                <a:gd name="connsiteX7954" fmla="*/ 12036801 w 12117871"/>
                <a:gd name="connsiteY7954" fmla="*/ 33158 h 6072780"/>
                <a:gd name="connsiteX7955" fmla="*/ 12053836 w 12117871"/>
                <a:gd name="connsiteY7955" fmla="*/ 27074 h 6072780"/>
                <a:gd name="connsiteX7956" fmla="*/ 12070035 w 12117871"/>
                <a:gd name="connsiteY7956" fmla="*/ 19925 h 6072780"/>
                <a:gd name="connsiteX7957" fmla="*/ 12086158 w 12117871"/>
                <a:gd name="connsiteY7957" fmla="*/ 11103 h 6072780"/>
                <a:gd name="connsiteX7958" fmla="*/ 12102965 w 12117871"/>
                <a:gd name="connsiteY7958" fmla="*/ 0 h 6072780"/>
                <a:gd name="connsiteX7959" fmla="*/ 11911291 w 12117871"/>
                <a:gd name="connsiteY7959" fmla="*/ 0 h 6072780"/>
                <a:gd name="connsiteX7960" fmla="*/ 11982458 w 12117871"/>
                <a:gd name="connsiteY7960" fmla="*/ 110587 h 6072780"/>
                <a:gd name="connsiteX7961" fmla="*/ 11962372 w 12117871"/>
                <a:gd name="connsiteY7961" fmla="*/ 194167 h 6072780"/>
                <a:gd name="connsiteX7962" fmla="*/ 11906175 w 12117871"/>
                <a:gd name="connsiteY7962" fmla="*/ 222980 h 6072780"/>
                <a:gd name="connsiteX7963" fmla="*/ 11853590 w 12117871"/>
                <a:gd name="connsiteY7963" fmla="*/ 195446 h 6072780"/>
                <a:gd name="connsiteX7964" fmla="*/ 11834707 w 12117871"/>
                <a:gd name="connsiteY7964" fmla="*/ 115854 h 6072780"/>
                <a:gd name="connsiteX7965" fmla="*/ 11854417 w 12117871"/>
                <a:gd name="connsiteY7965" fmla="*/ 29339 h 6072780"/>
                <a:gd name="connsiteX7966" fmla="*/ 11911291 w 12117871"/>
                <a:gd name="connsiteY7966" fmla="*/ 0 h 6072780"/>
                <a:gd name="connsiteX7967" fmla="*/ 11204729 w 12117871"/>
                <a:gd name="connsiteY7967" fmla="*/ 0 h 6072780"/>
                <a:gd name="connsiteX7968" fmla="*/ 11275896 w 12117871"/>
                <a:gd name="connsiteY7968" fmla="*/ 110587 h 6072780"/>
                <a:gd name="connsiteX7969" fmla="*/ 11255810 w 12117871"/>
                <a:gd name="connsiteY7969" fmla="*/ 194167 h 6072780"/>
                <a:gd name="connsiteX7970" fmla="*/ 11199613 w 12117871"/>
                <a:gd name="connsiteY7970" fmla="*/ 222980 h 6072780"/>
                <a:gd name="connsiteX7971" fmla="*/ 11147028 w 12117871"/>
                <a:gd name="connsiteY7971" fmla="*/ 195446 h 6072780"/>
                <a:gd name="connsiteX7972" fmla="*/ 11128145 w 12117871"/>
                <a:gd name="connsiteY7972" fmla="*/ 115854 h 6072780"/>
                <a:gd name="connsiteX7973" fmla="*/ 11147855 w 12117871"/>
                <a:gd name="connsiteY7973" fmla="*/ 29339 h 6072780"/>
                <a:gd name="connsiteX7974" fmla="*/ 11204729 w 12117871"/>
                <a:gd name="connsiteY7974" fmla="*/ 0 h 6072780"/>
                <a:gd name="connsiteX7975" fmla="*/ 10831011 w 12117871"/>
                <a:gd name="connsiteY7975" fmla="*/ 0 h 6072780"/>
                <a:gd name="connsiteX7976" fmla="*/ 10845917 w 12117871"/>
                <a:gd name="connsiteY7976" fmla="*/ 0 h 6072780"/>
                <a:gd name="connsiteX7977" fmla="*/ 10845917 w 12117871"/>
                <a:gd name="connsiteY7977" fmla="*/ 222980 h 6072780"/>
                <a:gd name="connsiteX7978" fmla="*/ 10810629 w 12117871"/>
                <a:gd name="connsiteY7978" fmla="*/ 222980 h 6072780"/>
                <a:gd name="connsiteX7979" fmla="*/ 10810629 w 12117871"/>
                <a:gd name="connsiteY7979" fmla="*/ 43196 h 6072780"/>
                <a:gd name="connsiteX7980" fmla="*/ 10790020 w 12117871"/>
                <a:gd name="connsiteY7980" fmla="*/ 54832 h 6072780"/>
                <a:gd name="connsiteX7981" fmla="*/ 10764847 w 12117871"/>
                <a:gd name="connsiteY7981" fmla="*/ 63274 h 6072780"/>
                <a:gd name="connsiteX7982" fmla="*/ 10764847 w 12117871"/>
                <a:gd name="connsiteY7982" fmla="*/ 33158 h 6072780"/>
                <a:gd name="connsiteX7983" fmla="*/ 10781882 w 12117871"/>
                <a:gd name="connsiteY7983" fmla="*/ 27074 h 6072780"/>
                <a:gd name="connsiteX7984" fmla="*/ 10798081 w 12117871"/>
                <a:gd name="connsiteY7984" fmla="*/ 19925 h 6072780"/>
                <a:gd name="connsiteX7985" fmla="*/ 10814204 w 12117871"/>
                <a:gd name="connsiteY7985" fmla="*/ 11103 h 6072780"/>
                <a:gd name="connsiteX7986" fmla="*/ 10831011 w 12117871"/>
                <a:gd name="connsiteY7986" fmla="*/ 0 h 6072780"/>
                <a:gd name="connsiteX7987" fmla="*/ 10458803 w 12117871"/>
                <a:gd name="connsiteY7987" fmla="*/ 0 h 6072780"/>
                <a:gd name="connsiteX7988" fmla="*/ 10473709 w 12117871"/>
                <a:gd name="connsiteY7988" fmla="*/ 0 h 6072780"/>
                <a:gd name="connsiteX7989" fmla="*/ 10473709 w 12117871"/>
                <a:gd name="connsiteY7989" fmla="*/ 222980 h 6072780"/>
                <a:gd name="connsiteX7990" fmla="*/ 10438421 w 12117871"/>
                <a:gd name="connsiteY7990" fmla="*/ 222980 h 6072780"/>
                <a:gd name="connsiteX7991" fmla="*/ 10438421 w 12117871"/>
                <a:gd name="connsiteY7991" fmla="*/ 43196 h 6072780"/>
                <a:gd name="connsiteX7992" fmla="*/ 10417812 w 12117871"/>
                <a:gd name="connsiteY7992" fmla="*/ 54832 h 6072780"/>
                <a:gd name="connsiteX7993" fmla="*/ 10392639 w 12117871"/>
                <a:gd name="connsiteY7993" fmla="*/ 63274 h 6072780"/>
                <a:gd name="connsiteX7994" fmla="*/ 10392639 w 12117871"/>
                <a:gd name="connsiteY7994" fmla="*/ 33158 h 6072780"/>
                <a:gd name="connsiteX7995" fmla="*/ 10409674 w 12117871"/>
                <a:gd name="connsiteY7995" fmla="*/ 27074 h 6072780"/>
                <a:gd name="connsiteX7996" fmla="*/ 10425873 w 12117871"/>
                <a:gd name="connsiteY7996" fmla="*/ 19925 h 6072780"/>
                <a:gd name="connsiteX7997" fmla="*/ 10441996 w 12117871"/>
                <a:gd name="connsiteY7997" fmla="*/ 11103 h 6072780"/>
                <a:gd name="connsiteX7998" fmla="*/ 10458803 w 12117871"/>
                <a:gd name="connsiteY7998" fmla="*/ 0 h 6072780"/>
                <a:gd name="connsiteX7999" fmla="*/ 10171587 w 12117871"/>
                <a:gd name="connsiteY7999" fmla="*/ 0 h 6072780"/>
                <a:gd name="connsiteX8000" fmla="*/ 10186493 w 12117871"/>
                <a:gd name="connsiteY8000" fmla="*/ 0 h 6072780"/>
                <a:gd name="connsiteX8001" fmla="*/ 10186493 w 12117871"/>
                <a:gd name="connsiteY8001" fmla="*/ 222980 h 6072780"/>
                <a:gd name="connsiteX8002" fmla="*/ 10151205 w 12117871"/>
                <a:gd name="connsiteY8002" fmla="*/ 222980 h 6072780"/>
                <a:gd name="connsiteX8003" fmla="*/ 10151205 w 12117871"/>
                <a:gd name="connsiteY8003" fmla="*/ 43196 h 6072780"/>
                <a:gd name="connsiteX8004" fmla="*/ 10130596 w 12117871"/>
                <a:gd name="connsiteY8004" fmla="*/ 54832 h 6072780"/>
                <a:gd name="connsiteX8005" fmla="*/ 10105423 w 12117871"/>
                <a:gd name="connsiteY8005" fmla="*/ 63274 h 6072780"/>
                <a:gd name="connsiteX8006" fmla="*/ 10105423 w 12117871"/>
                <a:gd name="connsiteY8006" fmla="*/ 33158 h 6072780"/>
                <a:gd name="connsiteX8007" fmla="*/ 10122458 w 12117871"/>
                <a:gd name="connsiteY8007" fmla="*/ 27074 h 6072780"/>
                <a:gd name="connsiteX8008" fmla="*/ 10138657 w 12117871"/>
                <a:gd name="connsiteY8008" fmla="*/ 19925 h 6072780"/>
                <a:gd name="connsiteX8009" fmla="*/ 10154780 w 12117871"/>
                <a:gd name="connsiteY8009" fmla="*/ 11103 h 6072780"/>
                <a:gd name="connsiteX8010" fmla="*/ 10171587 w 12117871"/>
                <a:gd name="connsiteY8010" fmla="*/ 0 h 6072780"/>
                <a:gd name="connsiteX8011" fmla="*/ 9957210 w 12117871"/>
                <a:gd name="connsiteY8011" fmla="*/ 0 h 6072780"/>
                <a:gd name="connsiteX8012" fmla="*/ 10028377 w 12117871"/>
                <a:gd name="connsiteY8012" fmla="*/ 110587 h 6072780"/>
                <a:gd name="connsiteX8013" fmla="*/ 10008291 w 12117871"/>
                <a:gd name="connsiteY8013" fmla="*/ 194167 h 6072780"/>
                <a:gd name="connsiteX8014" fmla="*/ 9952094 w 12117871"/>
                <a:gd name="connsiteY8014" fmla="*/ 222980 h 6072780"/>
                <a:gd name="connsiteX8015" fmla="*/ 9899509 w 12117871"/>
                <a:gd name="connsiteY8015" fmla="*/ 195446 h 6072780"/>
                <a:gd name="connsiteX8016" fmla="*/ 9880626 w 12117871"/>
                <a:gd name="connsiteY8016" fmla="*/ 115854 h 6072780"/>
                <a:gd name="connsiteX8017" fmla="*/ 9900336 w 12117871"/>
                <a:gd name="connsiteY8017" fmla="*/ 29339 h 6072780"/>
                <a:gd name="connsiteX8018" fmla="*/ 9957210 w 12117871"/>
                <a:gd name="connsiteY8018" fmla="*/ 0 h 6072780"/>
                <a:gd name="connsiteX8019" fmla="*/ 9737766 w 12117871"/>
                <a:gd name="connsiteY8019" fmla="*/ 0 h 6072780"/>
                <a:gd name="connsiteX8020" fmla="*/ 9808933 w 12117871"/>
                <a:gd name="connsiteY8020" fmla="*/ 110587 h 6072780"/>
                <a:gd name="connsiteX8021" fmla="*/ 9788847 w 12117871"/>
                <a:gd name="connsiteY8021" fmla="*/ 194167 h 6072780"/>
                <a:gd name="connsiteX8022" fmla="*/ 9732650 w 12117871"/>
                <a:gd name="connsiteY8022" fmla="*/ 222980 h 6072780"/>
                <a:gd name="connsiteX8023" fmla="*/ 9680065 w 12117871"/>
                <a:gd name="connsiteY8023" fmla="*/ 195446 h 6072780"/>
                <a:gd name="connsiteX8024" fmla="*/ 9661182 w 12117871"/>
                <a:gd name="connsiteY8024" fmla="*/ 115854 h 6072780"/>
                <a:gd name="connsiteX8025" fmla="*/ 9680892 w 12117871"/>
                <a:gd name="connsiteY8025" fmla="*/ 29339 h 6072780"/>
                <a:gd name="connsiteX8026" fmla="*/ 9737766 w 12117871"/>
                <a:gd name="connsiteY8026" fmla="*/ 0 h 6072780"/>
                <a:gd name="connsiteX8027" fmla="*/ 9570779 w 12117871"/>
                <a:gd name="connsiteY8027" fmla="*/ 0 h 6072780"/>
                <a:gd name="connsiteX8028" fmla="*/ 9585685 w 12117871"/>
                <a:gd name="connsiteY8028" fmla="*/ 0 h 6072780"/>
                <a:gd name="connsiteX8029" fmla="*/ 9585685 w 12117871"/>
                <a:gd name="connsiteY8029" fmla="*/ 222980 h 6072780"/>
                <a:gd name="connsiteX8030" fmla="*/ 9550397 w 12117871"/>
                <a:gd name="connsiteY8030" fmla="*/ 222980 h 6072780"/>
                <a:gd name="connsiteX8031" fmla="*/ 9550397 w 12117871"/>
                <a:gd name="connsiteY8031" fmla="*/ 43196 h 6072780"/>
                <a:gd name="connsiteX8032" fmla="*/ 9529788 w 12117871"/>
                <a:gd name="connsiteY8032" fmla="*/ 54832 h 6072780"/>
                <a:gd name="connsiteX8033" fmla="*/ 9504615 w 12117871"/>
                <a:gd name="connsiteY8033" fmla="*/ 63274 h 6072780"/>
                <a:gd name="connsiteX8034" fmla="*/ 9504615 w 12117871"/>
                <a:gd name="connsiteY8034" fmla="*/ 33158 h 6072780"/>
                <a:gd name="connsiteX8035" fmla="*/ 9521650 w 12117871"/>
                <a:gd name="connsiteY8035" fmla="*/ 27074 h 6072780"/>
                <a:gd name="connsiteX8036" fmla="*/ 9537849 w 12117871"/>
                <a:gd name="connsiteY8036" fmla="*/ 19925 h 6072780"/>
                <a:gd name="connsiteX8037" fmla="*/ 9553972 w 12117871"/>
                <a:gd name="connsiteY8037" fmla="*/ 11103 h 6072780"/>
                <a:gd name="connsiteX8038" fmla="*/ 9570779 w 12117871"/>
                <a:gd name="connsiteY8038" fmla="*/ 0 h 6072780"/>
                <a:gd name="connsiteX8039" fmla="*/ 9283563 w 12117871"/>
                <a:gd name="connsiteY8039" fmla="*/ 0 h 6072780"/>
                <a:gd name="connsiteX8040" fmla="*/ 9298469 w 12117871"/>
                <a:gd name="connsiteY8040" fmla="*/ 0 h 6072780"/>
                <a:gd name="connsiteX8041" fmla="*/ 9298469 w 12117871"/>
                <a:gd name="connsiteY8041" fmla="*/ 222980 h 6072780"/>
                <a:gd name="connsiteX8042" fmla="*/ 9263181 w 12117871"/>
                <a:gd name="connsiteY8042" fmla="*/ 222980 h 6072780"/>
                <a:gd name="connsiteX8043" fmla="*/ 9263181 w 12117871"/>
                <a:gd name="connsiteY8043" fmla="*/ 43196 h 6072780"/>
                <a:gd name="connsiteX8044" fmla="*/ 9242572 w 12117871"/>
                <a:gd name="connsiteY8044" fmla="*/ 54832 h 6072780"/>
                <a:gd name="connsiteX8045" fmla="*/ 9217399 w 12117871"/>
                <a:gd name="connsiteY8045" fmla="*/ 63274 h 6072780"/>
                <a:gd name="connsiteX8046" fmla="*/ 9217399 w 12117871"/>
                <a:gd name="connsiteY8046" fmla="*/ 33158 h 6072780"/>
                <a:gd name="connsiteX8047" fmla="*/ 9234434 w 12117871"/>
                <a:gd name="connsiteY8047" fmla="*/ 27074 h 6072780"/>
                <a:gd name="connsiteX8048" fmla="*/ 9250633 w 12117871"/>
                <a:gd name="connsiteY8048" fmla="*/ 19925 h 6072780"/>
                <a:gd name="connsiteX8049" fmla="*/ 9266756 w 12117871"/>
                <a:gd name="connsiteY8049" fmla="*/ 11103 h 6072780"/>
                <a:gd name="connsiteX8050" fmla="*/ 9283563 w 12117871"/>
                <a:gd name="connsiteY8050" fmla="*/ 0 h 6072780"/>
                <a:gd name="connsiteX8051" fmla="*/ 8893772 w 12117871"/>
                <a:gd name="connsiteY8051" fmla="*/ 0 h 6072780"/>
                <a:gd name="connsiteX8052" fmla="*/ 8908678 w 12117871"/>
                <a:gd name="connsiteY8052" fmla="*/ 0 h 6072780"/>
                <a:gd name="connsiteX8053" fmla="*/ 8908678 w 12117871"/>
                <a:gd name="connsiteY8053" fmla="*/ 222980 h 6072780"/>
                <a:gd name="connsiteX8054" fmla="*/ 8873390 w 12117871"/>
                <a:gd name="connsiteY8054" fmla="*/ 222980 h 6072780"/>
                <a:gd name="connsiteX8055" fmla="*/ 8873390 w 12117871"/>
                <a:gd name="connsiteY8055" fmla="*/ 43196 h 6072780"/>
                <a:gd name="connsiteX8056" fmla="*/ 8852781 w 12117871"/>
                <a:gd name="connsiteY8056" fmla="*/ 54832 h 6072780"/>
                <a:gd name="connsiteX8057" fmla="*/ 8827608 w 12117871"/>
                <a:gd name="connsiteY8057" fmla="*/ 63274 h 6072780"/>
                <a:gd name="connsiteX8058" fmla="*/ 8827608 w 12117871"/>
                <a:gd name="connsiteY8058" fmla="*/ 33158 h 6072780"/>
                <a:gd name="connsiteX8059" fmla="*/ 8844643 w 12117871"/>
                <a:gd name="connsiteY8059" fmla="*/ 27074 h 6072780"/>
                <a:gd name="connsiteX8060" fmla="*/ 8860842 w 12117871"/>
                <a:gd name="connsiteY8060" fmla="*/ 19925 h 6072780"/>
                <a:gd name="connsiteX8061" fmla="*/ 8876965 w 12117871"/>
                <a:gd name="connsiteY8061" fmla="*/ 11103 h 6072780"/>
                <a:gd name="connsiteX8062" fmla="*/ 8893772 w 12117871"/>
                <a:gd name="connsiteY8062" fmla="*/ 0 h 6072780"/>
                <a:gd name="connsiteX8063" fmla="*/ 8750164 w 12117871"/>
                <a:gd name="connsiteY8063" fmla="*/ 0 h 6072780"/>
                <a:gd name="connsiteX8064" fmla="*/ 8765070 w 12117871"/>
                <a:gd name="connsiteY8064" fmla="*/ 0 h 6072780"/>
                <a:gd name="connsiteX8065" fmla="*/ 8765070 w 12117871"/>
                <a:gd name="connsiteY8065" fmla="*/ 222980 h 6072780"/>
                <a:gd name="connsiteX8066" fmla="*/ 8729782 w 12117871"/>
                <a:gd name="connsiteY8066" fmla="*/ 222980 h 6072780"/>
                <a:gd name="connsiteX8067" fmla="*/ 8729782 w 12117871"/>
                <a:gd name="connsiteY8067" fmla="*/ 43196 h 6072780"/>
                <a:gd name="connsiteX8068" fmla="*/ 8709173 w 12117871"/>
                <a:gd name="connsiteY8068" fmla="*/ 54832 h 6072780"/>
                <a:gd name="connsiteX8069" fmla="*/ 8684000 w 12117871"/>
                <a:gd name="connsiteY8069" fmla="*/ 63274 h 6072780"/>
                <a:gd name="connsiteX8070" fmla="*/ 8684000 w 12117871"/>
                <a:gd name="connsiteY8070" fmla="*/ 33158 h 6072780"/>
                <a:gd name="connsiteX8071" fmla="*/ 8701035 w 12117871"/>
                <a:gd name="connsiteY8071" fmla="*/ 27074 h 6072780"/>
                <a:gd name="connsiteX8072" fmla="*/ 8717234 w 12117871"/>
                <a:gd name="connsiteY8072" fmla="*/ 19925 h 6072780"/>
                <a:gd name="connsiteX8073" fmla="*/ 8733357 w 12117871"/>
                <a:gd name="connsiteY8073" fmla="*/ 11103 h 6072780"/>
                <a:gd name="connsiteX8074" fmla="*/ 8750164 w 12117871"/>
                <a:gd name="connsiteY8074" fmla="*/ 0 h 6072780"/>
                <a:gd name="connsiteX8075" fmla="*/ 8606556 w 12117871"/>
                <a:gd name="connsiteY8075" fmla="*/ 0 h 6072780"/>
                <a:gd name="connsiteX8076" fmla="*/ 8621462 w 12117871"/>
                <a:gd name="connsiteY8076" fmla="*/ 0 h 6072780"/>
                <a:gd name="connsiteX8077" fmla="*/ 8621462 w 12117871"/>
                <a:gd name="connsiteY8077" fmla="*/ 222980 h 6072780"/>
                <a:gd name="connsiteX8078" fmla="*/ 8586174 w 12117871"/>
                <a:gd name="connsiteY8078" fmla="*/ 222980 h 6072780"/>
                <a:gd name="connsiteX8079" fmla="*/ 8586174 w 12117871"/>
                <a:gd name="connsiteY8079" fmla="*/ 43196 h 6072780"/>
                <a:gd name="connsiteX8080" fmla="*/ 8565565 w 12117871"/>
                <a:gd name="connsiteY8080" fmla="*/ 54832 h 6072780"/>
                <a:gd name="connsiteX8081" fmla="*/ 8540392 w 12117871"/>
                <a:gd name="connsiteY8081" fmla="*/ 63274 h 6072780"/>
                <a:gd name="connsiteX8082" fmla="*/ 8540392 w 12117871"/>
                <a:gd name="connsiteY8082" fmla="*/ 33158 h 6072780"/>
                <a:gd name="connsiteX8083" fmla="*/ 8557427 w 12117871"/>
                <a:gd name="connsiteY8083" fmla="*/ 27074 h 6072780"/>
                <a:gd name="connsiteX8084" fmla="*/ 8573626 w 12117871"/>
                <a:gd name="connsiteY8084" fmla="*/ 19925 h 6072780"/>
                <a:gd name="connsiteX8085" fmla="*/ 8589749 w 12117871"/>
                <a:gd name="connsiteY8085" fmla="*/ 11103 h 6072780"/>
                <a:gd name="connsiteX8086" fmla="*/ 8606556 w 12117871"/>
                <a:gd name="connsiteY8086" fmla="*/ 0 h 6072780"/>
                <a:gd name="connsiteX8087" fmla="*/ 7844555 w 12117871"/>
                <a:gd name="connsiteY8087" fmla="*/ 0 h 6072780"/>
                <a:gd name="connsiteX8088" fmla="*/ 7859462 w 12117871"/>
                <a:gd name="connsiteY8088" fmla="*/ 0 h 6072780"/>
                <a:gd name="connsiteX8089" fmla="*/ 7859462 w 12117871"/>
                <a:gd name="connsiteY8089" fmla="*/ 222980 h 6072780"/>
                <a:gd name="connsiteX8090" fmla="*/ 7824174 w 12117871"/>
                <a:gd name="connsiteY8090" fmla="*/ 222980 h 6072780"/>
                <a:gd name="connsiteX8091" fmla="*/ 7824174 w 12117871"/>
                <a:gd name="connsiteY8091" fmla="*/ 43196 h 6072780"/>
                <a:gd name="connsiteX8092" fmla="*/ 7803564 w 12117871"/>
                <a:gd name="connsiteY8092" fmla="*/ 54832 h 6072780"/>
                <a:gd name="connsiteX8093" fmla="*/ 7778392 w 12117871"/>
                <a:gd name="connsiteY8093" fmla="*/ 63274 h 6072780"/>
                <a:gd name="connsiteX8094" fmla="*/ 7778392 w 12117871"/>
                <a:gd name="connsiteY8094" fmla="*/ 33158 h 6072780"/>
                <a:gd name="connsiteX8095" fmla="*/ 7795427 w 12117871"/>
                <a:gd name="connsiteY8095" fmla="*/ 27074 h 6072780"/>
                <a:gd name="connsiteX8096" fmla="*/ 7811626 w 12117871"/>
                <a:gd name="connsiteY8096" fmla="*/ 19925 h 6072780"/>
                <a:gd name="connsiteX8097" fmla="*/ 7827748 w 12117871"/>
                <a:gd name="connsiteY8097" fmla="*/ 11103 h 6072780"/>
                <a:gd name="connsiteX8098" fmla="*/ 7844555 w 12117871"/>
                <a:gd name="connsiteY8098" fmla="*/ 0 h 6072780"/>
                <a:gd name="connsiteX8099" fmla="*/ 7700947 w 12117871"/>
                <a:gd name="connsiteY8099" fmla="*/ 0 h 6072780"/>
                <a:gd name="connsiteX8100" fmla="*/ 7715854 w 12117871"/>
                <a:gd name="connsiteY8100" fmla="*/ 0 h 6072780"/>
                <a:gd name="connsiteX8101" fmla="*/ 7715854 w 12117871"/>
                <a:gd name="connsiteY8101" fmla="*/ 222980 h 6072780"/>
                <a:gd name="connsiteX8102" fmla="*/ 7680566 w 12117871"/>
                <a:gd name="connsiteY8102" fmla="*/ 222980 h 6072780"/>
                <a:gd name="connsiteX8103" fmla="*/ 7680566 w 12117871"/>
                <a:gd name="connsiteY8103" fmla="*/ 43196 h 6072780"/>
                <a:gd name="connsiteX8104" fmla="*/ 7659956 w 12117871"/>
                <a:gd name="connsiteY8104" fmla="*/ 54832 h 6072780"/>
                <a:gd name="connsiteX8105" fmla="*/ 7634784 w 12117871"/>
                <a:gd name="connsiteY8105" fmla="*/ 63274 h 6072780"/>
                <a:gd name="connsiteX8106" fmla="*/ 7634784 w 12117871"/>
                <a:gd name="connsiteY8106" fmla="*/ 33158 h 6072780"/>
                <a:gd name="connsiteX8107" fmla="*/ 7651819 w 12117871"/>
                <a:gd name="connsiteY8107" fmla="*/ 27074 h 6072780"/>
                <a:gd name="connsiteX8108" fmla="*/ 7668018 w 12117871"/>
                <a:gd name="connsiteY8108" fmla="*/ 19925 h 6072780"/>
                <a:gd name="connsiteX8109" fmla="*/ 7684140 w 12117871"/>
                <a:gd name="connsiteY8109" fmla="*/ 11103 h 6072780"/>
                <a:gd name="connsiteX8110" fmla="*/ 7700947 w 12117871"/>
                <a:gd name="connsiteY8110" fmla="*/ 0 h 6072780"/>
                <a:gd name="connsiteX8111" fmla="*/ 7413731 w 12117871"/>
                <a:gd name="connsiteY8111" fmla="*/ 0 h 6072780"/>
                <a:gd name="connsiteX8112" fmla="*/ 7428638 w 12117871"/>
                <a:gd name="connsiteY8112" fmla="*/ 0 h 6072780"/>
                <a:gd name="connsiteX8113" fmla="*/ 7428638 w 12117871"/>
                <a:gd name="connsiteY8113" fmla="*/ 222980 h 6072780"/>
                <a:gd name="connsiteX8114" fmla="*/ 7393350 w 12117871"/>
                <a:gd name="connsiteY8114" fmla="*/ 222980 h 6072780"/>
                <a:gd name="connsiteX8115" fmla="*/ 7393350 w 12117871"/>
                <a:gd name="connsiteY8115" fmla="*/ 43196 h 6072780"/>
                <a:gd name="connsiteX8116" fmla="*/ 7372740 w 12117871"/>
                <a:gd name="connsiteY8116" fmla="*/ 54832 h 6072780"/>
                <a:gd name="connsiteX8117" fmla="*/ 7347568 w 12117871"/>
                <a:gd name="connsiteY8117" fmla="*/ 63274 h 6072780"/>
                <a:gd name="connsiteX8118" fmla="*/ 7347568 w 12117871"/>
                <a:gd name="connsiteY8118" fmla="*/ 33158 h 6072780"/>
                <a:gd name="connsiteX8119" fmla="*/ 7364603 w 12117871"/>
                <a:gd name="connsiteY8119" fmla="*/ 27074 h 6072780"/>
                <a:gd name="connsiteX8120" fmla="*/ 7380802 w 12117871"/>
                <a:gd name="connsiteY8120" fmla="*/ 19925 h 6072780"/>
                <a:gd name="connsiteX8121" fmla="*/ 7396924 w 12117871"/>
                <a:gd name="connsiteY8121" fmla="*/ 11103 h 6072780"/>
                <a:gd name="connsiteX8122" fmla="*/ 7413731 w 12117871"/>
                <a:gd name="connsiteY8122" fmla="*/ 0 h 6072780"/>
                <a:gd name="connsiteX8123" fmla="*/ 7015147 w 12117871"/>
                <a:gd name="connsiteY8123" fmla="*/ 0 h 6072780"/>
                <a:gd name="connsiteX8124" fmla="*/ 7030053 w 12117871"/>
                <a:gd name="connsiteY8124" fmla="*/ 0 h 6072780"/>
                <a:gd name="connsiteX8125" fmla="*/ 7030053 w 12117871"/>
                <a:gd name="connsiteY8125" fmla="*/ 222980 h 6072780"/>
                <a:gd name="connsiteX8126" fmla="*/ 6994765 w 12117871"/>
                <a:gd name="connsiteY8126" fmla="*/ 222980 h 6072780"/>
                <a:gd name="connsiteX8127" fmla="*/ 6994765 w 12117871"/>
                <a:gd name="connsiteY8127" fmla="*/ 43196 h 6072780"/>
                <a:gd name="connsiteX8128" fmla="*/ 6974156 w 12117871"/>
                <a:gd name="connsiteY8128" fmla="*/ 54832 h 6072780"/>
                <a:gd name="connsiteX8129" fmla="*/ 6948983 w 12117871"/>
                <a:gd name="connsiteY8129" fmla="*/ 63274 h 6072780"/>
                <a:gd name="connsiteX8130" fmla="*/ 6948983 w 12117871"/>
                <a:gd name="connsiteY8130" fmla="*/ 33158 h 6072780"/>
                <a:gd name="connsiteX8131" fmla="*/ 6966018 w 12117871"/>
                <a:gd name="connsiteY8131" fmla="*/ 27074 h 6072780"/>
                <a:gd name="connsiteX8132" fmla="*/ 6982217 w 12117871"/>
                <a:gd name="connsiteY8132" fmla="*/ 19925 h 6072780"/>
                <a:gd name="connsiteX8133" fmla="*/ 6998340 w 12117871"/>
                <a:gd name="connsiteY8133" fmla="*/ 11103 h 6072780"/>
                <a:gd name="connsiteX8134" fmla="*/ 7015147 w 12117871"/>
                <a:gd name="connsiteY8134" fmla="*/ 0 h 6072780"/>
                <a:gd name="connsiteX8135" fmla="*/ 6871539 w 12117871"/>
                <a:gd name="connsiteY8135" fmla="*/ 0 h 6072780"/>
                <a:gd name="connsiteX8136" fmla="*/ 6886445 w 12117871"/>
                <a:gd name="connsiteY8136" fmla="*/ 0 h 6072780"/>
                <a:gd name="connsiteX8137" fmla="*/ 6886445 w 12117871"/>
                <a:gd name="connsiteY8137" fmla="*/ 222980 h 6072780"/>
                <a:gd name="connsiteX8138" fmla="*/ 6851157 w 12117871"/>
                <a:gd name="connsiteY8138" fmla="*/ 222980 h 6072780"/>
                <a:gd name="connsiteX8139" fmla="*/ 6851157 w 12117871"/>
                <a:gd name="connsiteY8139" fmla="*/ 43196 h 6072780"/>
                <a:gd name="connsiteX8140" fmla="*/ 6830548 w 12117871"/>
                <a:gd name="connsiteY8140" fmla="*/ 54832 h 6072780"/>
                <a:gd name="connsiteX8141" fmla="*/ 6805375 w 12117871"/>
                <a:gd name="connsiteY8141" fmla="*/ 63274 h 6072780"/>
                <a:gd name="connsiteX8142" fmla="*/ 6805375 w 12117871"/>
                <a:gd name="connsiteY8142" fmla="*/ 33158 h 6072780"/>
                <a:gd name="connsiteX8143" fmla="*/ 6822410 w 12117871"/>
                <a:gd name="connsiteY8143" fmla="*/ 27074 h 6072780"/>
                <a:gd name="connsiteX8144" fmla="*/ 6838609 w 12117871"/>
                <a:gd name="connsiteY8144" fmla="*/ 19925 h 6072780"/>
                <a:gd name="connsiteX8145" fmla="*/ 6854732 w 12117871"/>
                <a:gd name="connsiteY8145" fmla="*/ 11103 h 6072780"/>
                <a:gd name="connsiteX8146" fmla="*/ 6871539 w 12117871"/>
                <a:gd name="connsiteY8146" fmla="*/ 0 h 6072780"/>
                <a:gd name="connsiteX8147" fmla="*/ 6727931 w 12117871"/>
                <a:gd name="connsiteY8147" fmla="*/ 0 h 6072780"/>
                <a:gd name="connsiteX8148" fmla="*/ 6742837 w 12117871"/>
                <a:gd name="connsiteY8148" fmla="*/ 0 h 6072780"/>
                <a:gd name="connsiteX8149" fmla="*/ 6742837 w 12117871"/>
                <a:gd name="connsiteY8149" fmla="*/ 222980 h 6072780"/>
                <a:gd name="connsiteX8150" fmla="*/ 6707549 w 12117871"/>
                <a:gd name="connsiteY8150" fmla="*/ 222980 h 6072780"/>
                <a:gd name="connsiteX8151" fmla="*/ 6707549 w 12117871"/>
                <a:gd name="connsiteY8151" fmla="*/ 43196 h 6072780"/>
                <a:gd name="connsiteX8152" fmla="*/ 6686940 w 12117871"/>
                <a:gd name="connsiteY8152" fmla="*/ 54832 h 6072780"/>
                <a:gd name="connsiteX8153" fmla="*/ 6661767 w 12117871"/>
                <a:gd name="connsiteY8153" fmla="*/ 63274 h 6072780"/>
                <a:gd name="connsiteX8154" fmla="*/ 6661767 w 12117871"/>
                <a:gd name="connsiteY8154" fmla="*/ 33158 h 6072780"/>
                <a:gd name="connsiteX8155" fmla="*/ 6678802 w 12117871"/>
                <a:gd name="connsiteY8155" fmla="*/ 27074 h 6072780"/>
                <a:gd name="connsiteX8156" fmla="*/ 6695001 w 12117871"/>
                <a:gd name="connsiteY8156" fmla="*/ 19925 h 6072780"/>
                <a:gd name="connsiteX8157" fmla="*/ 6711124 w 12117871"/>
                <a:gd name="connsiteY8157" fmla="*/ 11103 h 6072780"/>
                <a:gd name="connsiteX8158" fmla="*/ 6727931 w 12117871"/>
                <a:gd name="connsiteY8158" fmla="*/ 0 h 6072780"/>
                <a:gd name="connsiteX8159" fmla="*/ 6584323 w 12117871"/>
                <a:gd name="connsiteY8159" fmla="*/ 0 h 6072780"/>
                <a:gd name="connsiteX8160" fmla="*/ 6599229 w 12117871"/>
                <a:gd name="connsiteY8160" fmla="*/ 0 h 6072780"/>
                <a:gd name="connsiteX8161" fmla="*/ 6599229 w 12117871"/>
                <a:gd name="connsiteY8161" fmla="*/ 222980 h 6072780"/>
                <a:gd name="connsiteX8162" fmla="*/ 6563941 w 12117871"/>
                <a:gd name="connsiteY8162" fmla="*/ 222980 h 6072780"/>
                <a:gd name="connsiteX8163" fmla="*/ 6563941 w 12117871"/>
                <a:gd name="connsiteY8163" fmla="*/ 43196 h 6072780"/>
                <a:gd name="connsiteX8164" fmla="*/ 6543332 w 12117871"/>
                <a:gd name="connsiteY8164" fmla="*/ 54832 h 6072780"/>
                <a:gd name="connsiteX8165" fmla="*/ 6518159 w 12117871"/>
                <a:gd name="connsiteY8165" fmla="*/ 63274 h 6072780"/>
                <a:gd name="connsiteX8166" fmla="*/ 6518159 w 12117871"/>
                <a:gd name="connsiteY8166" fmla="*/ 33158 h 6072780"/>
                <a:gd name="connsiteX8167" fmla="*/ 6535194 w 12117871"/>
                <a:gd name="connsiteY8167" fmla="*/ 27074 h 6072780"/>
                <a:gd name="connsiteX8168" fmla="*/ 6551393 w 12117871"/>
                <a:gd name="connsiteY8168" fmla="*/ 19925 h 6072780"/>
                <a:gd name="connsiteX8169" fmla="*/ 6567516 w 12117871"/>
                <a:gd name="connsiteY8169" fmla="*/ 11103 h 6072780"/>
                <a:gd name="connsiteX8170" fmla="*/ 6584323 w 12117871"/>
                <a:gd name="connsiteY8170" fmla="*/ 0 h 6072780"/>
                <a:gd name="connsiteX8171" fmla="*/ 6383121 w 12117871"/>
                <a:gd name="connsiteY8171" fmla="*/ 0 h 6072780"/>
                <a:gd name="connsiteX8172" fmla="*/ 6454288 w 12117871"/>
                <a:gd name="connsiteY8172" fmla="*/ 110587 h 6072780"/>
                <a:gd name="connsiteX8173" fmla="*/ 6434202 w 12117871"/>
                <a:gd name="connsiteY8173" fmla="*/ 194167 h 6072780"/>
                <a:gd name="connsiteX8174" fmla="*/ 6378005 w 12117871"/>
                <a:gd name="connsiteY8174" fmla="*/ 222980 h 6072780"/>
                <a:gd name="connsiteX8175" fmla="*/ 6325420 w 12117871"/>
                <a:gd name="connsiteY8175" fmla="*/ 195446 h 6072780"/>
                <a:gd name="connsiteX8176" fmla="*/ 6306537 w 12117871"/>
                <a:gd name="connsiteY8176" fmla="*/ 115854 h 6072780"/>
                <a:gd name="connsiteX8177" fmla="*/ 6326247 w 12117871"/>
                <a:gd name="connsiteY8177" fmla="*/ 29339 h 6072780"/>
                <a:gd name="connsiteX8178" fmla="*/ 6383121 w 12117871"/>
                <a:gd name="connsiteY8178" fmla="*/ 0 h 6072780"/>
                <a:gd name="connsiteX8179" fmla="*/ 6047993 w 12117871"/>
                <a:gd name="connsiteY8179" fmla="*/ 0 h 6072780"/>
                <a:gd name="connsiteX8180" fmla="*/ 6062899 w 12117871"/>
                <a:gd name="connsiteY8180" fmla="*/ 0 h 6072780"/>
                <a:gd name="connsiteX8181" fmla="*/ 6062899 w 12117871"/>
                <a:gd name="connsiteY8181" fmla="*/ 222980 h 6072780"/>
                <a:gd name="connsiteX8182" fmla="*/ 6027612 w 12117871"/>
                <a:gd name="connsiteY8182" fmla="*/ 222980 h 6072780"/>
                <a:gd name="connsiteX8183" fmla="*/ 6027612 w 12117871"/>
                <a:gd name="connsiteY8183" fmla="*/ 43196 h 6072780"/>
                <a:gd name="connsiteX8184" fmla="*/ 6007002 w 12117871"/>
                <a:gd name="connsiteY8184" fmla="*/ 54832 h 6072780"/>
                <a:gd name="connsiteX8185" fmla="*/ 5981830 w 12117871"/>
                <a:gd name="connsiteY8185" fmla="*/ 63274 h 6072780"/>
                <a:gd name="connsiteX8186" fmla="*/ 5981830 w 12117871"/>
                <a:gd name="connsiteY8186" fmla="*/ 33158 h 6072780"/>
                <a:gd name="connsiteX8187" fmla="*/ 5998864 w 12117871"/>
                <a:gd name="connsiteY8187" fmla="*/ 27074 h 6072780"/>
                <a:gd name="connsiteX8188" fmla="*/ 6015063 w 12117871"/>
                <a:gd name="connsiteY8188" fmla="*/ 19925 h 6072780"/>
                <a:gd name="connsiteX8189" fmla="*/ 6031186 w 12117871"/>
                <a:gd name="connsiteY8189" fmla="*/ 11103 h 6072780"/>
                <a:gd name="connsiteX8190" fmla="*/ 6047993 w 12117871"/>
                <a:gd name="connsiteY8190" fmla="*/ 0 h 6072780"/>
                <a:gd name="connsiteX8191" fmla="*/ 5848035 w 12117871"/>
                <a:gd name="connsiteY8191" fmla="*/ 0 h 6072780"/>
                <a:gd name="connsiteX8192" fmla="*/ 5919202 w 12117871"/>
                <a:gd name="connsiteY8192" fmla="*/ 110587 h 6072780"/>
                <a:gd name="connsiteX8193" fmla="*/ 5899116 w 12117871"/>
                <a:gd name="connsiteY8193" fmla="*/ 194167 h 6072780"/>
                <a:gd name="connsiteX8194" fmla="*/ 5842919 w 12117871"/>
                <a:gd name="connsiteY8194" fmla="*/ 222980 h 6072780"/>
                <a:gd name="connsiteX8195" fmla="*/ 5790334 w 12117871"/>
                <a:gd name="connsiteY8195" fmla="*/ 195446 h 6072780"/>
                <a:gd name="connsiteX8196" fmla="*/ 5771452 w 12117871"/>
                <a:gd name="connsiteY8196" fmla="*/ 115854 h 6072780"/>
                <a:gd name="connsiteX8197" fmla="*/ 5791162 w 12117871"/>
                <a:gd name="connsiteY8197" fmla="*/ 29339 h 6072780"/>
                <a:gd name="connsiteX8198" fmla="*/ 5848035 w 12117871"/>
                <a:gd name="connsiteY8198" fmla="*/ 0 h 6072780"/>
                <a:gd name="connsiteX8199" fmla="*/ 5150385 w 12117871"/>
                <a:gd name="connsiteY8199" fmla="*/ 0 h 6072780"/>
                <a:gd name="connsiteX8200" fmla="*/ 5221552 w 12117871"/>
                <a:gd name="connsiteY8200" fmla="*/ 110587 h 6072780"/>
                <a:gd name="connsiteX8201" fmla="*/ 5201466 w 12117871"/>
                <a:gd name="connsiteY8201" fmla="*/ 194167 h 6072780"/>
                <a:gd name="connsiteX8202" fmla="*/ 5145269 w 12117871"/>
                <a:gd name="connsiteY8202" fmla="*/ 222980 h 6072780"/>
                <a:gd name="connsiteX8203" fmla="*/ 5092684 w 12117871"/>
                <a:gd name="connsiteY8203" fmla="*/ 195446 h 6072780"/>
                <a:gd name="connsiteX8204" fmla="*/ 5073801 w 12117871"/>
                <a:gd name="connsiteY8204" fmla="*/ 115854 h 6072780"/>
                <a:gd name="connsiteX8205" fmla="*/ 5093512 w 12117871"/>
                <a:gd name="connsiteY8205" fmla="*/ 29339 h 6072780"/>
                <a:gd name="connsiteX8206" fmla="*/ 5150385 w 12117871"/>
                <a:gd name="connsiteY8206" fmla="*/ 0 h 6072780"/>
                <a:gd name="connsiteX8207" fmla="*/ 4776040 w 12117871"/>
                <a:gd name="connsiteY8207" fmla="*/ 0 h 6072780"/>
                <a:gd name="connsiteX8208" fmla="*/ 4790946 w 12117871"/>
                <a:gd name="connsiteY8208" fmla="*/ 0 h 6072780"/>
                <a:gd name="connsiteX8209" fmla="*/ 4790946 w 12117871"/>
                <a:gd name="connsiteY8209" fmla="*/ 222980 h 6072780"/>
                <a:gd name="connsiteX8210" fmla="*/ 4755658 w 12117871"/>
                <a:gd name="connsiteY8210" fmla="*/ 222980 h 6072780"/>
                <a:gd name="connsiteX8211" fmla="*/ 4755658 w 12117871"/>
                <a:gd name="connsiteY8211" fmla="*/ 43196 h 6072780"/>
                <a:gd name="connsiteX8212" fmla="*/ 4735049 w 12117871"/>
                <a:gd name="connsiteY8212" fmla="*/ 54832 h 6072780"/>
                <a:gd name="connsiteX8213" fmla="*/ 4709876 w 12117871"/>
                <a:gd name="connsiteY8213" fmla="*/ 63274 h 6072780"/>
                <a:gd name="connsiteX8214" fmla="*/ 4709876 w 12117871"/>
                <a:gd name="connsiteY8214" fmla="*/ 33158 h 6072780"/>
                <a:gd name="connsiteX8215" fmla="*/ 4726911 w 12117871"/>
                <a:gd name="connsiteY8215" fmla="*/ 27074 h 6072780"/>
                <a:gd name="connsiteX8216" fmla="*/ 4743110 w 12117871"/>
                <a:gd name="connsiteY8216" fmla="*/ 19925 h 6072780"/>
                <a:gd name="connsiteX8217" fmla="*/ 4759233 w 12117871"/>
                <a:gd name="connsiteY8217" fmla="*/ 11103 h 6072780"/>
                <a:gd name="connsiteX8218" fmla="*/ 4776040 w 12117871"/>
                <a:gd name="connsiteY8218" fmla="*/ 0 h 6072780"/>
                <a:gd name="connsiteX8219" fmla="*/ 4406756 w 12117871"/>
                <a:gd name="connsiteY8219" fmla="*/ 0 h 6072780"/>
                <a:gd name="connsiteX8220" fmla="*/ 4421663 w 12117871"/>
                <a:gd name="connsiteY8220" fmla="*/ 0 h 6072780"/>
                <a:gd name="connsiteX8221" fmla="*/ 4421663 w 12117871"/>
                <a:gd name="connsiteY8221" fmla="*/ 222980 h 6072780"/>
                <a:gd name="connsiteX8222" fmla="*/ 4386375 w 12117871"/>
                <a:gd name="connsiteY8222" fmla="*/ 222980 h 6072780"/>
                <a:gd name="connsiteX8223" fmla="*/ 4386375 w 12117871"/>
                <a:gd name="connsiteY8223" fmla="*/ 43196 h 6072780"/>
                <a:gd name="connsiteX8224" fmla="*/ 4365765 w 12117871"/>
                <a:gd name="connsiteY8224" fmla="*/ 54832 h 6072780"/>
                <a:gd name="connsiteX8225" fmla="*/ 4340593 w 12117871"/>
                <a:gd name="connsiteY8225" fmla="*/ 63274 h 6072780"/>
                <a:gd name="connsiteX8226" fmla="*/ 4340593 w 12117871"/>
                <a:gd name="connsiteY8226" fmla="*/ 33158 h 6072780"/>
                <a:gd name="connsiteX8227" fmla="*/ 4357628 w 12117871"/>
                <a:gd name="connsiteY8227" fmla="*/ 27074 h 6072780"/>
                <a:gd name="connsiteX8228" fmla="*/ 4373827 w 12117871"/>
                <a:gd name="connsiteY8228" fmla="*/ 19925 h 6072780"/>
                <a:gd name="connsiteX8229" fmla="*/ 4389949 w 12117871"/>
                <a:gd name="connsiteY8229" fmla="*/ 11103 h 6072780"/>
                <a:gd name="connsiteX8230" fmla="*/ 4406756 w 12117871"/>
                <a:gd name="connsiteY8230" fmla="*/ 0 h 6072780"/>
                <a:gd name="connsiteX8231" fmla="*/ 4106219 w 12117871"/>
                <a:gd name="connsiteY8231" fmla="*/ 0 h 6072780"/>
                <a:gd name="connsiteX8232" fmla="*/ 4121125 w 12117871"/>
                <a:gd name="connsiteY8232" fmla="*/ 0 h 6072780"/>
                <a:gd name="connsiteX8233" fmla="*/ 4121125 w 12117871"/>
                <a:gd name="connsiteY8233" fmla="*/ 222980 h 6072780"/>
                <a:gd name="connsiteX8234" fmla="*/ 4085837 w 12117871"/>
                <a:gd name="connsiteY8234" fmla="*/ 222980 h 6072780"/>
                <a:gd name="connsiteX8235" fmla="*/ 4085837 w 12117871"/>
                <a:gd name="connsiteY8235" fmla="*/ 43196 h 6072780"/>
                <a:gd name="connsiteX8236" fmla="*/ 4065228 w 12117871"/>
                <a:gd name="connsiteY8236" fmla="*/ 54832 h 6072780"/>
                <a:gd name="connsiteX8237" fmla="*/ 4040055 w 12117871"/>
                <a:gd name="connsiteY8237" fmla="*/ 63274 h 6072780"/>
                <a:gd name="connsiteX8238" fmla="*/ 4040055 w 12117871"/>
                <a:gd name="connsiteY8238" fmla="*/ 33158 h 6072780"/>
                <a:gd name="connsiteX8239" fmla="*/ 4057090 w 12117871"/>
                <a:gd name="connsiteY8239" fmla="*/ 27074 h 6072780"/>
                <a:gd name="connsiteX8240" fmla="*/ 4073289 w 12117871"/>
                <a:gd name="connsiteY8240" fmla="*/ 19925 h 6072780"/>
                <a:gd name="connsiteX8241" fmla="*/ 4089411 w 12117871"/>
                <a:gd name="connsiteY8241" fmla="*/ 11103 h 6072780"/>
                <a:gd name="connsiteX8242" fmla="*/ 4106219 w 12117871"/>
                <a:gd name="connsiteY8242" fmla="*/ 0 h 6072780"/>
                <a:gd name="connsiteX8243" fmla="*/ 3898647 w 12117871"/>
                <a:gd name="connsiteY8243" fmla="*/ 0 h 6072780"/>
                <a:gd name="connsiteX8244" fmla="*/ 3969815 w 12117871"/>
                <a:gd name="connsiteY8244" fmla="*/ 110587 h 6072780"/>
                <a:gd name="connsiteX8245" fmla="*/ 3949729 w 12117871"/>
                <a:gd name="connsiteY8245" fmla="*/ 194167 h 6072780"/>
                <a:gd name="connsiteX8246" fmla="*/ 3893532 w 12117871"/>
                <a:gd name="connsiteY8246" fmla="*/ 222980 h 6072780"/>
                <a:gd name="connsiteX8247" fmla="*/ 3840947 w 12117871"/>
                <a:gd name="connsiteY8247" fmla="*/ 195446 h 6072780"/>
                <a:gd name="connsiteX8248" fmla="*/ 3822064 w 12117871"/>
                <a:gd name="connsiteY8248" fmla="*/ 115854 h 6072780"/>
                <a:gd name="connsiteX8249" fmla="*/ 3841774 w 12117871"/>
                <a:gd name="connsiteY8249" fmla="*/ 29339 h 6072780"/>
                <a:gd name="connsiteX8250" fmla="*/ 3898647 w 12117871"/>
                <a:gd name="connsiteY8250" fmla="*/ 0 h 6072780"/>
                <a:gd name="connsiteX8251" fmla="*/ 3673983 w 12117871"/>
                <a:gd name="connsiteY8251" fmla="*/ 0 h 6072780"/>
                <a:gd name="connsiteX8252" fmla="*/ 3745151 w 12117871"/>
                <a:gd name="connsiteY8252" fmla="*/ 110587 h 6072780"/>
                <a:gd name="connsiteX8253" fmla="*/ 3725065 w 12117871"/>
                <a:gd name="connsiteY8253" fmla="*/ 194167 h 6072780"/>
                <a:gd name="connsiteX8254" fmla="*/ 3668868 w 12117871"/>
                <a:gd name="connsiteY8254" fmla="*/ 222980 h 6072780"/>
                <a:gd name="connsiteX8255" fmla="*/ 3616283 w 12117871"/>
                <a:gd name="connsiteY8255" fmla="*/ 195446 h 6072780"/>
                <a:gd name="connsiteX8256" fmla="*/ 3597400 w 12117871"/>
                <a:gd name="connsiteY8256" fmla="*/ 115854 h 6072780"/>
                <a:gd name="connsiteX8257" fmla="*/ 3617110 w 12117871"/>
                <a:gd name="connsiteY8257" fmla="*/ 29339 h 6072780"/>
                <a:gd name="connsiteX8258" fmla="*/ 3673983 w 12117871"/>
                <a:gd name="connsiteY8258" fmla="*/ 0 h 6072780"/>
                <a:gd name="connsiteX8259" fmla="*/ 3527532 w 12117871"/>
                <a:gd name="connsiteY8259" fmla="*/ 0 h 6072780"/>
                <a:gd name="connsiteX8260" fmla="*/ 3542438 w 12117871"/>
                <a:gd name="connsiteY8260" fmla="*/ 0 h 6072780"/>
                <a:gd name="connsiteX8261" fmla="*/ 3542438 w 12117871"/>
                <a:gd name="connsiteY8261" fmla="*/ 222980 h 6072780"/>
                <a:gd name="connsiteX8262" fmla="*/ 3507150 w 12117871"/>
                <a:gd name="connsiteY8262" fmla="*/ 222980 h 6072780"/>
                <a:gd name="connsiteX8263" fmla="*/ 3507150 w 12117871"/>
                <a:gd name="connsiteY8263" fmla="*/ 43196 h 6072780"/>
                <a:gd name="connsiteX8264" fmla="*/ 3486541 w 12117871"/>
                <a:gd name="connsiteY8264" fmla="*/ 54832 h 6072780"/>
                <a:gd name="connsiteX8265" fmla="*/ 3461368 w 12117871"/>
                <a:gd name="connsiteY8265" fmla="*/ 63274 h 6072780"/>
                <a:gd name="connsiteX8266" fmla="*/ 3461368 w 12117871"/>
                <a:gd name="connsiteY8266" fmla="*/ 33158 h 6072780"/>
                <a:gd name="connsiteX8267" fmla="*/ 3478403 w 12117871"/>
                <a:gd name="connsiteY8267" fmla="*/ 27074 h 6072780"/>
                <a:gd name="connsiteX8268" fmla="*/ 3494602 w 12117871"/>
                <a:gd name="connsiteY8268" fmla="*/ 19925 h 6072780"/>
                <a:gd name="connsiteX8269" fmla="*/ 3510724 w 12117871"/>
                <a:gd name="connsiteY8269" fmla="*/ 11103 h 6072780"/>
                <a:gd name="connsiteX8270" fmla="*/ 3527532 w 12117871"/>
                <a:gd name="connsiteY8270" fmla="*/ 0 h 6072780"/>
                <a:gd name="connsiteX8271" fmla="*/ 3222732 w 12117871"/>
                <a:gd name="connsiteY8271" fmla="*/ 0 h 6072780"/>
                <a:gd name="connsiteX8272" fmla="*/ 3237638 w 12117871"/>
                <a:gd name="connsiteY8272" fmla="*/ 0 h 6072780"/>
                <a:gd name="connsiteX8273" fmla="*/ 3237638 w 12117871"/>
                <a:gd name="connsiteY8273" fmla="*/ 222980 h 6072780"/>
                <a:gd name="connsiteX8274" fmla="*/ 3202350 w 12117871"/>
                <a:gd name="connsiteY8274" fmla="*/ 222980 h 6072780"/>
                <a:gd name="connsiteX8275" fmla="*/ 3202350 w 12117871"/>
                <a:gd name="connsiteY8275" fmla="*/ 43196 h 6072780"/>
                <a:gd name="connsiteX8276" fmla="*/ 3181741 w 12117871"/>
                <a:gd name="connsiteY8276" fmla="*/ 54832 h 6072780"/>
                <a:gd name="connsiteX8277" fmla="*/ 3156568 w 12117871"/>
                <a:gd name="connsiteY8277" fmla="*/ 63274 h 6072780"/>
                <a:gd name="connsiteX8278" fmla="*/ 3156568 w 12117871"/>
                <a:gd name="connsiteY8278" fmla="*/ 33158 h 6072780"/>
                <a:gd name="connsiteX8279" fmla="*/ 3173603 w 12117871"/>
                <a:gd name="connsiteY8279" fmla="*/ 27074 h 6072780"/>
                <a:gd name="connsiteX8280" fmla="*/ 3189802 w 12117871"/>
                <a:gd name="connsiteY8280" fmla="*/ 19925 h 6072780"/>
                <a:gd name="connsiteX8281" fmla="*/ 3205924 w 12117871"/>
                <a:gd name="connsiteY8281" fmla="*/ 11103 h 6072780"/>
                <a:gd name="connsiteX8282" fmla="*/ 3222732 w 12117871"/>
                <a:gd name="connsiteY8282" fmla="*/ 0 h 6072780"/>
                <a:gd name="connsiteX8283" fmla="*/ 2828037 w 12117871"/>
                <a:gd name="connsiteY8283" fmla="*/ 0 h 6072780"/>
                <a:gd name="connsiteX8284" fmla="*/ 2842943 w 12117871"/>
                <a:gd name="connsiteY8284" fmla="*/ 0 h 6072780"/>
                <a:gd name="connsiteX8285" fmla="*/ 2842943 w 12117871"/>
                <a:gd name="connsiteY8285" fmla="*/ 222980 h 6072780"/>
                <a:gd name="connsiteX8286" fmla="*/ 2807655 w 12117871"/>
                <a:gd name="connsiteY8286" fmla="*/ 222980 h 6072780"/>
                <a:gd name="connsiteX8287" fmla="*/ 2807655 w 12117871"/>
                <a:gd name="connsiteY8287" fmla="*/ 43196 h 6072780"/>
                <a:gd name="connsiteX8288" fmla="*/ 2787046 w 12117871"/>
                <a:gd name="connsiteY8288" fmla="*/ 54832 h 6072780"/>
                <a:gd name="connsiteX8289" fmla="*/ 2761873 w 12117871"/>
                <a:gd name="connsiteY8289" fmla="*/ 63274 h 6072780"/>
                <a:gd name="connsiteX8290" fmla="*/ 2761873 w 12117871"/>
                <a:gd name="connsiteY8290" fmla="*/ 33158 h 6072780"/>
                <a:gd name="connsiteX8291" fmla="*/ 2778908 w 12117871"/>
                <a:gd name="connsiteY8291" fmla="*/ 27074 h 6072780"/>
                <a:gd name="connsiteX8292" fmla="*/ 2795107 w 12117871"/>
                <a:gd name="connsiteY8292" fmla="*/ 19925 h 6072780"/>
                <a:gd name="connsiteX8293" fmla="*/ 2811229 w 12117871"/>
                <a:gd name="connsiteY8293" fmla="*/ 11103 h 6072780"/>
                <a:gd name="connsiteX8294" fmla="*/ 2828037 w 12117871"/>
                <a:gd name="connsiteY8294" fmla="*/ 0 h 6072780"/>
                <a:gd name="connsiteX8295" fmla="*/ 2677443 w 12117871"/>
                <a:gd name="connsiteY8295" fmla="*/ 0 h 6072780"/>
                <a:gd name="connsiteX8296" fmla="*/ 2692349 w 12117871"/>
                <a:gd name="connsiteY8296" fmla="*/ 0 h 6072780"/>
                <a:gd name="connsiteX8297" fmla="*/ 2692349 w 12117871"/>
                <a:gd name="connsiteY8297" fmla="*/ 222980 h 6072780"/>
                <a:gd name="connsiteX8298" fmla="*/ 2657061 w 12117871"/>
                <a:gd name="connsiteY8298" fmla="*/ 222980 h 6072780"/>
                <a:gd name="connsiteX8299" fmla="*/ 2657061 w 12117871"/>
                <a:gd name="connsiteY8299" fmla="*/ 43196 h 6072780"/>
                <a:gd name="connsiteX8300" fmla="*/ 2636452 w 12117871"/>
                <a:gd name="connsiteY8300" fmla="*/ 54832 h 6072780"/>
                <a:gd name="connsiteX8301" fmla="*/ 2611279 w 12117871"/>
                <a:gd name="connsiteY8301" fmla="*/ 63274 h 6072780"/>
                <a:gd name="connsiteX8302" fmla="*/ 2611279 w 12117871"/>
                <a:gd name="connsiteY8302" fmla="*/ 33158 h 6072780"/>
                <a:gd name="connsiteX8303" fmla="*/ 2628314 w 12117871"/>
                <a:gd name="connsiteY8303" fmla="*/ 27074 h 6072780"/>
                <a:gd name="connsiteX8304" fmla="*/ 2644513 w 12117871"/>
                <a:gd name="connsiteY8304" fmla="*/ 19925 h 6072780"/>
                <a:gd name="connsiteX8305" fmla="*/ 2660635 w 12117871"/>
                <a:gd name="connsiteY8305" fmla="*/ 11103 h 6072780"/>
                <a:gd name="connsiteX8306" fmla="*/ 2677443 w 12117871"/>
                <a:gd name="connsiteY8306" fmla="*/ 0 h 6072780"/>
                <a:gd name="connsiteX8307" fmla="*/ 2544118 w 12117871"/>
                <a:gd name="connsiteY8307" fmla="*/ 0 h 6072780"/>
                <a:gd name="connsiteX8308" fmla="*/ 2559024 w 12117871"/>
                <a:gd name="connsiteY8308" fmla="*/ 0 h 6072780"/>
                <a:gd name="connsiteX8309" fmla="*/ 2559024 w 12117871"/>
                <a:gd name="connsiteY8309" fmla="*/ 222980 h 6072780"/>
                <a:gd name="connsiteX8310" fmla="*/ 2523736 w 12117871"/>
                <a:gd name="connsiteY8310" fmla="*/ 222980 h 6072780"/>
                <a:gd name="connsiteX8311" fmla="*/ 2523736 w 12117871"/>
                <a:gd name="connsiteY8311" fmla="*/ 43196 h 6072780"/>
                <a:gd name="connsiteX8312" fmla="*/ 2503127 w 12117871"/>
                <a:gd name="connsiteY8312" fmla="*/ 54832 h 6072780"/>
                <a:gd name="connsiteX8313" fmla="*/ 2477954 w 12117871"/>
                <a:gd name="connsiteY8313" fmla="*/ 63274 h 6072780"/>
                <a:gd name="connsiteX8314" fmla="*/ 2477954 w 12117871"/>
                <a:gd name="connsiteY8314" fmla="*/ 33158 h 6072780"/>
                <a:gd name="connsiteX8315" fmla="*/ 2494989 w 12117871"/>
                <a:gd name="connsiteY8315" fmla="*/ 27074 h 6072780"/>
                <a:gd name="connsiteX8316" fmla="*/ 2511188 w 12117871"/>
                <a:gd name="connsiteY8316" fmla="*/ 19925 h 6072780"/>
                <a:gd name="connsiteX8317" fmla="*/ 2527310 w 12117871"/>
                <a:gd name="connsiteY8317" fmla="*/ 11103 h 6072780"/>
                <a:gd name="connsiteX8318" fmla="*/ 2544118 w 12117871"/>
                <a:gd name="connsiteY8318" fmla="*/ 0 h 6072780"/>
                <a:gd name="connsiteX8319" fmla="*/ 1790454 w 12117871"/>
                <a:gd name="connsiteY8319" fmla="*/ 0 h 6072780"/>
                <a:gd name="connsiteX8320" fmla="*/ 1805360 w 12117871"/>
                <a:gd name="connsiteY8320" fmla="*/ 0 h 6072780"/>
                <a:gd name="connsiteX8321" fmla="*/ 1805360 w 12117871"/>
                <a:gd name="connsiteY8321" fmla="*/ 222980 h 6072780"/>
                <a:gd name="connsiteX8322" fmla="*/ 1770072 w 12117871"/>
                <a:gd name="connsiteY8322" fmla="*/ 222980 h 6072780"/>
                <a:gd name="connsiteX8323" fmla="*/ 1770072 w 12117871"/>
                <a:gd name="connsiteY8323" fmla="*/ 43196 h 6072780"/>
                <a:gd name="connsiteX8324" fmla="*/ 1749463 w 12117871"/>
                <a:gd name="connsiteY8324" fmla="*/ 54832 h 6072780"/>
                <a:gd name="connsiteX8325" fmla="*/ 1724290 w 12117871"/>
                <a:gd name="connsiteY8325" fmla="*/ 63274 h 6072780"/>
                <a:gd name="connsiteX8326" fmla="*/ 1724290 w 12117871"/>
                <a:gd name="connsiteY8326" fmla="*/ 33158 h 6072780"/>
                <a:gd name="connsiteX8327" fmla="*/ 1741325 w 12117871"/>
                <a:gd name="connsiteY8327" fmla="*/ 27074 h 6072780"/>
                <a:gd name="connsiteX8328" fmla="*/ 1757524 w 12117871"/>
                <a:gd name="connsiteY8328" fmla="*/ 19925 h 6072780"/>
                <a:gd name="connsiteX8329" fmla="*/ 1773647 w 12117871"/>
                <a:gd name="connsiteY8329" fmla="*/ 11103 h 6072780"/>
                <a:gd name="connsiteX8330" fmla="*/ 1790454 w 12117871"/>
                <a:gd name="connsiteY8330" fmla="*/ 0 h 6072780"/>
                <a:gd name="connsiteX8331" fmla="*/ 1637062 w 12117871"/>
                <a:gd name="connsiteY8331" fmla="*/ 0 h 6072780"/>
                <a:gd name="connsiteX8332" fmla="*/ 1651968 w 12117871"/>
                <a:gd name="connsiteY8332" fmla="*/ 0 h 6072780"/>
                <a:gd name="connsiteX8333" fmla="*/ 1651968 w 12117871"/>
                <a:gd name="connsiteY8333" fmla="*/ 222980 h 6072780"/>
                <a:gd name="connsiteX8334" fmla="*/ 1616680 w 12117871"/>
                <a:gd name="connsiteY8334" fmla="*/ 222980 h 6072780"/>
                <a:gd name="connsiteX8335" fmla="*/ 1616680 w 12117871"/>
                <a:gd name="connsiteY8335" fmla="*/ 43196 h 6072780"/>
                <a:gd name="connsiteX8336" fmla="*/ 1596071 w 12117871"/>
                <a:gd name="connsiteY8336" fmla="*/ 54832 h 6072780"/>
                <a:gd name="connsiteX8337" fmla="*/ 1570898 w 12117871"/>
                <a:gd name="connsiteY8337" fmla="*/ 63274 h 6072780"/>
                <a:gd name="connsiteX8338" fmla="*/ 1570898 w 12117871"/>
                <a:gd name="connsiteY8338" fmla="*/ 33158 h 6072780"/>
                <a:gd name="connsiteX8339" fmla="*/ 1587933 w 12117871"/>
                <a:gd name="connsiteY8339" fmla="*/ 27074 h 6072780"/>
                <a:gd name="connsiteX8340" fmla="*/ 1604132 w 12117871"/>
                <a:gd name="connsiteY8340" fmla="*/ 19925 h 6072780"/>
                <a:gd name="connsiteX8341" fmla="*/ 1620255 w 12117871"/>
                <a:gd name="connsiteY8341" fmla="*/ 11103 h 6072780"/>
                <a:gd name="connsiteX8342" fmla="*/ 1637062 w 12117871"/>
                <a:gd name="connsiteY8342" fmla="*/ 0 h 6072780"/>
                <a:gd name="connsiteX8343" fmla="*/ 1342993 w 12117871"/>
                <a:gd name="connsiteY8343" fmla="*/ 0 h 6072780"/>
                <a:gd name="connsiteX8344" fmla="*/ 1357899 w 12117871"/>
                <a:gd name="connsiteY8344" fmla="*/ 0 h 6072780"/>
                <a:gd name="connsiteX8345" fmla="*/ 1357899 w 12117871"/>
                <a:gd name="connsiteY8345" fmla="*/ 222980 h 6072780"/>
                <a:gd name="connsiteX8346" fmla="*/ 1322611 w 12117871"/>
                <a:gd name="connsiteY8346" fmla="*/ 222980 h 6072780"/>
                <a:gd name="connsiteX8347" fmla="*/ 1322611 w 12117871"/>
                <a:gd name="connsiteY8347" fmla="*/ 43196 h 6072780"/>
                <a:gd name="connsiteX8348" fmla="*/ 1302002 w 12117871"/>
                <a:gd name="connsiteY8348" fmla="*/ 54832 h 6072780"/>
                <a:gd name="connsiteX8349" fmla="*/ 1276829 w 12117871"/>
                <a:gd name="connsiteY8349" fmla="*/ 63274 h 6072780"/>
                <a:gd name="connsiteX8350" fmla="*/ 1276829 w 12117871"/>
                <a:gd name="connsiteY8350" fmla="*/ 33158 h 6072780"/>
                <a:gd name="connsiteX8351" fmla="*/ 1293864 w 12117871"/>
                <a:gd name="connsiteY8351" fmla="*/ 27074 h 6072780"/>
                <a:gd name="connsiteX8352" fmla="*/ 1310063 w 12117871"/>
                <a:gd name="connsiteY8352" fmla="*/ 19925 h 6072780"/>
                <a:gd name="connsiteX8353" fmla="*/ 1326186 w 12117871"/>
                <a:gd name="connsiteY8353" fmla="*/ 11103 h 6072780"/>
                <a:gd name="connsiteX8354" fmla="*/ 1342993 w 12117871"/>
                <a:gd name="connsiteY8354" fmla="*/ 0 h 6072780"/>
                <a:gd name="connsiteX8355" fmla="*/ 967854 w 12117871"/>
                <a:gd name="connsiteY8355" fmla="*/ 0 h 6072780"/>
                <a:gd name="connsiteX8356" fmla="*/ 982760 w 12117871"/>
                <a:gd name="connsiteY8356" fmla="*/ 0 h 6072780"/>
                <a:gd name="connsiteX8357" fmla="*/ 982760 w 12117871"/>
                <a:gd name="connsiteY8357" fmla="*/ 222980 h 6072780"/>
                <a:gd name="connsiteX8358" fmla="*/ 947472 w 12117871"/>
                <a:gd name="connsiteY8358" fmla="*/ 222980 h 6072780"/>
                <a:gd name="connsiteX8359" fmla="*/ 947472 w 12117871"/>
                <a:gd name="connsiteY8359" fmla="*/ 43196 h 6072780"/>
                <a:gd name="connsiteX8360" fmla="*/ 926863 w 12117871"/>
                <a:gd name="connsiteY8360" fmla="*/ 54832 h 6072780"/>
                <a:gd name="connsiteX8361" fmla="*/ 901690 w 12117871"/>
                <a:gd name="connsiteY8361" fmla="*/ 63274 h 6072780"/>
                <a:gd name="connsiteX8362" fmla="*/ 901690 w 12117871"/>
                <a:gd name="connsiteY8362" fmla="*/ 33158 h 6072780"/>
                <a:gd name="connsiteX8363" fmla="*/ 918725 w 12117871"/>
                <a:gd name="connsiteY8363" fmla="*/ 27074 h 6072780"/>
                <a:gd name="connsiteX8364" fmla="*/ 934924 w 12117871"/>
                <a:gd name="connsiteY8364" fmla="*/ 19925 h 6072780"/>
                <a:gd name="connsiteX8365" fmla="*/ 951047 w 12117871"/>
                <a:gd name="connsiteY8365" fmla="*/ 11103 h 6072780"/>
                <a:gd name="connsiteX8366" fmla="*/ 967854 w 12117871"/>
                <a:gd name="connsiteY8366" fmla="*/ 0 h 6072780"/>
                <a:gd name="connsiteX8367" fmla="*/ 818997 w 12117871"/>
                <a:gd name="connsiteY8367" fmla="*/ 0 h 6072780"/>
                <a:gd name="connsiteX8368" fmla="*/ 833903 w 12117871"/>
                <a:gd name="connsiteY8368" fmla="*/ 0 h 6072780"/>
                <a:gd name="connsiteX8369" fmla="*/ 833903 w 12117871"/>
                <a:gd name="connsiteY8369" fmla="*/ 222980 h 6072780"/>
                <a:gd name="connsiteX8370" fmla="*/ 798615 w 12117871"/>
                <a:gd name="connsiteY8370" fmla="*/ 222980 h 6072780"/>
                <a:gd name="connsiteX8371" fmla="*/ 798615 w 12117871"/>
                <a:gd name="connsiteY8371" fmla="*/ 43196 h 6072780"/>
                <a:gd name="connsiteX8372" fmla="*/ 778006 w 12117871"/>
                <a:gd name="connsiteY8372" fmla="*/ 54832 h 6072780"/>
                <a:gd name="connsiteX8373" fmla="*/ 752833 w 12117871"/>
                <a:gd name="connsiteY8373" fmla="*/ 63274 h 6072780"/>
                <a:gd name="connsiteX8374" fmla="*/ 752833 w 12117871"/>
                <a:gd name="connsiteY8374" fmla="*/ 33158 h 6072780"/>
                <a:gd name="connsiteX8375" fmla="*/ 769868 w 12117871"/>
                <a:gd name="connsiteY8375" fmla="*/ 27074 h 6072780"/>
                <a:gd name="connsiteX8376" fmla="*/ 786067 w 12117871"/>
                <a:gd name="connsiteY8376" fmla="*/ 19925 h 6072780"/>
                <a:gd name="connsiteX8377" fmla="*/ 802190 w 12117871"/>
                <a:gd name="connsiteY8377" fmla="*/ 11103 h 6072780"/>
                <a:gd name="connsiteX8378" fmla="*/ 818997 w 12117871"/>
                <a:gd name="connsiteY8378" fmla="*/ 0 h 6072780"/>
                <a:gd name="connsiteX8379" fmla="*/ 670140 w 12117871"/>
                <a:gd name="connsiteY8379" fmla="*/ 0 h 6072780"/>
                <a:gd name="connsiteX8380" fmla="*/ 685046 w 12117871"/>
                <a:gd name="connsiteY8380" fmla="*/ 0 h 6072780"/>
                <a:gd name="connsiteX8381" fmla="*/ 685046 w 12117871"/>
                <a:gd name="connsiteY8381" fmla="*/ 222980 h 6072780"/>
                <a:gd name="connsiteX8382" fmla="*/ 649758 w 12117871"/>
                <a:gd name="connsiteY8382" fmla="*/ 222980 h 6072780"/>
                <a:gd name="connsiteX8383" fmla="*/ 649758 w 12117871"/>
                <a:gd name="connsiteY8383" fmla="*/ 43196 h 6072780"/>
                <a:gd name="connsiteX8384" fmla="*/ 629149 w 12117871"/>
                <a:gd name="connsiteY8384" fmla="*/ 54832 h 6072780"/>
                <a:gd name="connsiteX8385" fmla="*/ 603976 w 12117871"/>
                <a:gd name="connsiteY8385" fmla="*/ 63274 h 6072780"/>
                <a:gd name="connsiteX8386" fmla="*/ 603976 w 12117871"/>
                <a:gd name="connsiteY8386" fmla="*/ 33158 h 6072780"/>
                <a:gd name="connsiteX8387" fmla="*/ 621011 w 12117871"/>
                <a:gd name="connsiteY8387" fmla="*/ 27074 h 6072780"/>
                <a:gd name="connsiteX8388" fmla="*/ 637210 w 12117871"/>
                <a:gd name="connsiteY8388" fmla="*/ 19925 h 6072780"/>
                <a:gd name="connsiteX8389" fmla="*/ 653333 w 12117871"/>
                <a:gd name="connsiteY8389" fmla="*/ 11103 h 6072780"/>
                <a:gd name="connsiteX8390" fmla="*/ 670140 w 12117871"/>
                <a:gd name="connsiteY8390" fmla="*/ 0 h 6072780"/>
                <a:gd name="connsiteX8391" fmla="*/ 521283 w 12117871"/>
                <a:gd name="connsiteY8391" fmla="*/ 0 h 6072780"/>
                <a:gd name="connsiteX8392" fmla="*/ 536189 w 12117871"/>
                <a:gd name="connsiteY8392" fmla="*/ 0 h 6072780"/>
                <a:gd name="connsiteX8393" fmla="*/ 536189 w 12117871"/>
                <a:gd name="connsiteY8393" fmla="*/ 222980 h 6072780"/>
                <a:gd name="connsiteX8394" fmla="*/ 500901 w 12117871"/>
                <a:gd name="connsiteY8394" fmla="*/ 222980 h 6072780"/>
                <a:gd name="connsiteX8395" fmla="*/ 500901 w 12117871"/>
                <a:gd name="connsiteY8395" fmla="*/ 43196 h 6072780"/>
                <a:gd name="connsiteX8396" fmla="*/ 480292 w 12117871"/>
                <a:gd name="connsiteY8396" fmla="*/ 54832 h 6072780"/>
                <a:gd name="connsiteX8397" fmla="*/ 455119 w 12117871"/>
                <a:gd name="connsiteY8397" fmla="*/ 63274 h 6072780"/>
                <a:gd name="connsiteX8398" fmla="*/ 455119 w 12117871"/>
                <a:gd name="connsiteY8398" fmla="*/ 33158 h 6072780"/>
                <a:gd name="connsiteX8399" fmla="*/ 472154 w 12117871"/>
                <a:gd name="connsiteY8399" fmla="*/ 27074 h 6072780"/>
                <a:gd name="connsiteX8400" fmla="*/ 488353 w 12117871"/>
                <a:gd name="connsiteY8400" fmla="*/ 19925 h 6072780"/>
                <a:gd name="connsiteX8401" fmla="*/ 504476 w 12117871"/>
                <a:gd name="connsiteY8401" fmla="*/ 11103 h 6072780"/>
                <a:gd name="connsiteX8402" fmla="*/ 521283 w 12117871"/>
                <a:gd name="connsiteY8402" fmla="*/ 0 h 6072780"/>
                <a:gd name="connsiteX8403" fmla="*/ 311869 w 12117871"/>
                <a:gd name="connsiteY8403" fmla="*/ 0 h 6072780"/>
                <a:gd name="connsiteX8404" fmla="*/ 383036 w 12117871"/>
                <a:gd name="connsiteY8404" fmla="*/ 110587 h 6072780"/>
                <a:gd name="connsiteX8405" fmla="*/ 362950 w 12117871"/>
                <a:gd name="connsiteY8405" fmla="*/ 194167 h 6072780"/>
                <a:gd name="connsiteX8406" fmla="*/ 306753 w 12117871"/>
                <a:gd name="connsiteY8406" fmla="*/ 222980 h 6072780"/>
                <a:gd name="connsiteX8407" fmla="*/ 254168 w 12117871"/>
                <a:gd name="connsiteY8407" fmla="*/ 195446 h 6072780"/>
                <a:gd name="connsiteX8408" fmla="*/ 235285 w 12117871"/>
                <a:gd name="connsiteY8408" fmla="*/ 115854 h 6072780"/>
                <a:gd name="connsiteX8409" fmla="*/ 254995 w 12117871"/>
                <a:gd name="connsiteY8409" fmla="*/ 29339 h 6072780"/>
                <a:gd name="connsiteX8410" fmla="*/ 311869 w 12117871"/>
                <a:gd name="connsiteY8410" fmla="*/ 0 h 607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Lst>
              <a:rect l="l" t="t" r="r" b="b"/>
              <a:pathLst>
                <a:path w="12117871" h="6072780">
                  <a:moveTo>
                    <a:pt x="11876198" y="5869975"/>
                  </a:moveTo>
                  <a:cubicBezTo>
                    <a:pt x="11850018" y="5869975"/>
                    <a:pt x="11836928" y="5898813"/>
                    <a:pt x="11836928" y="5956489"/>
                  </a:cubicBezTo>
                  <a:cubicBezTo>
                    <a:pt x="11836928" y="6010453"/>
                    <a:pt x="11849767" y="6037436"/>
                    <a:pt x="11875446" y="6037436"/>
                  </a:cubicBezTo>
                  <a:cubicBezTo>
                    <a:pt x="11900722" y="6037436"/>
                    <a:pt x="11913361" y="6010002"/>
                    <a:pt x="11913361" y="5955135"/>
                  </a:cubicBezTo>
                  <a:cubicBezTo>
                    <a:pt x="11913361" y="5898362"/>
                    <a:pt x="11900973" y="5869975"/>
                    <a:pt x="11876198" y="5869975"/>
                  </a:cubicBezTo>
                  <a:close/>
                  <a:moveTo>
                    <a:pt x="6366335" y="5869975"/>
                  </a:moveTo>
                  <a:cubicBezTo>
                    <a:pt x="6340155" y="5869975"/>
                    <a:pt x="6327065" y="5898813"/>
                    <a:pt x="6327065" y="5956489"/>
                  </a:cubicBezTo>
                  <a:cubicBezTo>
                    <a:pt x="6327065" y="6010453"/>
                    <a:pt x="6339904" y="6037436"/>
                    <a:pt x="6365583" y="6037436"/>
                  </a:cubicBezTo>
                  <a:cubicBezTo>
                    <a:pt x="6390860" y="6037436"/>
                    <a:pt x="6403498" y="6010002"/>
                    <a:pt x="6403498" y="5955135"/>
                  </a:cubicBezTo>
                  <a:cubicBezTo>
                    <a:pt x="6403498" y="5898362"/>
                    <a:pt x="6391110" y="5869975"/>
                    <a:pt x="6366335" y="5869975"/>
                  </a:cubicBezTo>
                  <a:close/>
                  <a:moveTo>
                    <a:pt x="5088792" y="5869975"/>
                  </a:moveTo>
                  <a:cubicBezTo>
                    <a:pt x="5062613" y="5869975"/>
                    <a:pt x="5049522" y="5898813"/>
                    <a:pt x="5049522" y="5956489"/>
                  </a:cubicBezTo>
                  <a:cubicBezTo>
                    <a:pt x="5049522" y="6010453"/>
                    <a:pt x="5062362" y="6037436"/>
                    <a:pt x="5088041" y="6037436"/>
                  </a:cubicBezTo>
                  <a:cubicBezTo>
                    <a:pt x="5113318" y="6037436"/>
                    <a:pt x="5125957" y="6010002"/>
                    <a:pt x="5125957" y="5955135"/>
                  </a:cubicBezTo>
                  <a:cubicBezTo>
                    <a:pt x="5125957" y="5898362"/>
                    <a:pt x="5113567" y="5869975"/>
                    <a:pt x="5088792" y="5869975"/>
                  </a:cubicBezTo>
                  <a:close/>
                  <a:moveTo>
                    <a:pt x="12062430" y="5849800"/>
                  </a:moveTo>
                  <a:lnTo>
                    <a:pt x="12077336" y="5849800"/>
                  </a:lnTo>
                  <a:lnTo>
                    <a:pt x="12077336" y="6072780"/>
                  </a:lnTo>
                  <a:lnTo>
                    <a:pt x="12042048" y="6072780"/>
                  </a:lnTo>
                  <a:lnTo>
                    <a:pt x="12042048" y="5892997"/>
                  </a:lnTo>
                  <a:cubicBezTo>
                    <a:pt x="12035660" y="5897560"/>
                    <a:pt x="12028790" y="5901438"/>
                    <a:pt x="12021439" y="5904633"/>
                  </a:cubicBezTo>
                  <a:cubicBezTo>
                    <a:pt x="12014087" y="5907827"/>
                    <a:pt x="12005696" y="5910640"/>
                    <a:pt x="11996266" y="5913074"/>
                  </a:cubicBezTo>
                  <a:lnTo>
                    <a:pt x="11996266" y="5882958"/>
                  </a:lnTo>
                  <a:cubicBezTo>
                    <a:pt x="12002147" y="5881032"/>
                    <a:pt x="12007826" y="5879004"/>
                    <a:pt x="12013301" y="5876874"/>
                  </a:cubicBezTo>
                  <a:cubicBezTo>
                    <a:pt x="12018777" y="5874745"/>
                    <a:pt x="12024177" y="5872362"/>
                    <a:pt x="12029500" y="5869725"/>
                  </a:cubicBezTo>
                  <a:cubicBezTo>
                    <a:pt x="12034824" y="5867089"/>
                    <a:pt x="12040198" y="5864148"/>
                    <a:pt x="12045623" y="5860904"/>
                  </a:cubicBezTo>
                  <a:cubicBezTo>
                    <a:pt x="12051048" y="5857659"/>
                    <a:pt x="12056650" y="5853958"/>
                    <a:pt x="12062430" y="5849800"/>
                  </a:cubicBezTo>
                  <a:close/>
                  <a:moveTo>
                    <a:pt x="10143427" y="5849800"/>
                  </a:moveTo>
                  <a:lnTo>
                    <a:pt x="10158333" y="5849800"/>
                  </a:lnTo>
                  <a:lnTo>
                    <a:pt x="10158333" y="6072780"/>
                  </a:lnTo>
                  <a:lnTo>
                    <a:pt x="10123045" y="6072780"/>
                  </a:lnTo>
                  <a:lnTo>
                    <a:pt x="10123045" y="5892997"/>
                  </a:lnTo>
                  <a:cubicBezTo>
                    <a:pt x="10116657" y="5897560"/>
                    <a:pt x="10109787" y="5901438"/>
                    <a:pt x="10102436" y="5904633"/>
                  </a:cubicBezTo>
                  <a:cubicBezTo>
                    <a:pt x="10095084" y="5907827"/>
                    <a:pt x="10086693" y="5910640"/>
                    <a:pt x="10077263" y="5913074"/>
                  </a:cubicBezTo>
                  <a:lnTo>
                    <a:pt x="10077263" y="5882958"/>
                  </a:lnTo>
                  <a:cubicBezTo>
                    <a:pt x="10083144" y="5881032"/>
                    <a:pt x="10088823" y="5879004"/>
                    <a:pt x="10094298" y="5876874"/>
                  </a:cubicBezTo>
                  <a:cubicBezTo>
                    <a:pt x="10099774" y="5874745"/>
                    <a:pt x="10105174" y="5872362"/>
                    <a:pt x="10110497" y="5869725"/>
                  </a:cubicBezTo>
                  <a:cubicBezTo>
                    <a:pt x="10115821" y="5867089"/>
                    <a:pt x="10121195" y="5864148"/>
                    <a:pt x="10126620" y="5860904"/>
                  </a:cubicBezTo>
                  <a:cubicBezTo>
                    <a:pt x="10132045" y="5857659"/>
                    <a:pt x="10137647" y="5853958"/>
                    <a:pt x="10143427" y="5849800"/>
                  </a:cubicBezTo>
                  <a:close/>
                  <a:moveTo>
                    <a:pt x="9254256" y="5849800"/>
                  </a:moveTo>
                  <a:lnTo>
                    <a:pt x="9269162" y="5849800"/>
                  </a:lnTo>
                  <a:lnTo>
                    <a:pt x="9269162" y="6072780"/>
                  </a:lnTo>
                  <a:lnTo>
                    <a:pt x="9233874" y="6072780"/>
                  </a:lnTo>
                  <a:lnTo>
                    <a:pt x="9233874" y="5892997"/>
                  </a:lnTo>
                  <a:cubicBezTo>
                    <a:pt x="9227486" y="5897560"/>
                    <a:pt x="9220616" y="5901438"/>
                    <a:pt x="9213265" y="5904633"/>
                  </a:cubicBezTo>
                  <a:cubicBezTo>
                    <a:pt x="9205913" y="5907827"/>
                    <a:pt x="9197522" y="5910640"/>
                    <a:pt x="9188092" y="5913074"/>
                  </a:cubicBezTo>
                  <a:lnTo>
                    <a:pt x="9188092" y="5882958"/>
                  </a:lnTo>
                  <a:cubicBezTo>
                    <a:pt x="9193973" y="5881032"/>
                    <a:pt x="9199652" y="5879004"/>
                    <a:pt x="9205127" y="5876874"/>
                  </a:cubicBezTo>
                  <a:cubicBezTo>
                    <a:pt x="9210603" y="5874745"/>
                    <a:pt x="9216003" y="5872362"/>
                    <a:pt x="9221326" y="5869725"/>
                  </a:cubicBezTo>
                  <a:cubicBezTo>
                    <a:pt x="9226650" y="5867089"/>
                    <a:pt x="9232024" y="5864148"/>
                    <a:pt x="9237449" y="5860904"/>
                  </a:cubicBezTo>
                  <a:cubicBezTo>
                    <a:pt x="9242874" y="5857659"/>
                    <a:pt x="9248476" y="5853958"/>
                    <a:pt x="9254256" y="5849800"/>
                  </a:cubicBezTo>
                  <a:close/>
                  <a:moveTo>
                    <a:pt x="7015147" y="5849800"/>
                  </a:moveTo>
                  <a:lnTo>
                    <a:pt x="7030053" y="5849800"/>
                  </a:lnTo>
                  <a:lnTo>
                    <a:pt x="7030053" y="6072780"/>
                  </a:lnTo>
                  <a:lnTo>
                    <a:pt x="6994765" y="6072780"/>
                  </a:lnTo>
                  <a:lnTo>
                    <a:pt x="6994765" y="5892997"/>
                  </a:lnTo>
                  <a:cubicBezTo>
                    <a:pt x="6988377" y="5897560"/>
                    <a:pt x="6981508" y="5901438"/>
                    <a:pt x="6974156" y="5904633"/>
                  </a:cubicBezTo>
                  <a:cubicBezTo>
                    <a:pt x="6966804" y="5907827"/>
                    <a:pt x="6958414" y="5910640"/>
                    <a:pt x="6948983" y="5913074"/>
                  </a:cubicBezTo>
                  <a:lnTo>
                    <a:pt x="6948983" y="5882958"/>
                  </a:lnTo>
                  <a:cubicBezTo>
                    <a:pt x="6954864" y="5881032"/>
                    <a:pt x="6960543" y="5879004"/>
                    <a:pt x="6966018" y="5876874"/>
                  </a:cubicBezTo>
                  <a:cubicBezTo>
                    <a:pt x="6971494" y="5874745"/>
                    <a:pt x="6976894" y="5872362"/>
                    <a:pt x="6982217" y="5869725"/>
                  </a:cubicBezTo>
                  <a:cubicBezTo>
                    <a:pt x="6987541" y="5867089"/>
                    <a:pt x="6992915" y="5864148"/>
                    <a:pt x="6998340" y="5860904"/>
                  </a:cubicBezTo>
                  <a:cubicBezTo>
                    <a:pt x="7003765" y="5857659"/>
                    <a:pt x="7009367" y="5853958"/>
                    <a:pt x="7015147" y="5849800"/>
                  </a:cubicBezTo>
                  <a:close/>
                  <a:moveTo>
                    <a:pt x="4694968" y="5849800"/>
                  </a:moveTo>
                  <a:lnTo>
                    <a:pt x="4709876" y="5849800"/>
                  </a:lnTo>
                  <a:lnTo>
                    <a:pt x="4709876" y="6072780"/>
                  </a:lnTo>
                  <a:lnTo>
                    <a:pt x="4674589" y="6072780"/>
                  </a:lnTo>
                  <a:lnTo>
                    <a:pt x="4674589" y="5892997"/>
                  </a:lnTo>
                  <a:cubicBezTo>
                    <a:pt x="4668200" y="5897560"/>
                    <a:pt x="4661331" y="5901438"/>
                    <a:pt x="4653978" y="5904633"/>
                  </a:cubicBezTo>
                  <a:cubicBezTo>
                    <a:pt x="4646628" y="5907827"/>
                    <a:pt x="4638236" y="5910640"/>
                    <a:pt x="4628805" y="5913074"/>
                  </a:cubicBezTo>
                  <a:lnTo>
                    <a:pt x="4628805" y="5882958"/>
                  </a:lnTo>
                  <a:cubicBezTo>
                    <a:pt x="4634687" y="5881032"/>
                    <a:pt x="4640364" y="5879004"/>
                    <a:pt x="4645841" y="5876874"/>
                  </a:cubicBezTo>
                  <a:cubicBezTo>
                    <a:pt x="4651316" y="5874745"/>
                    <a:pt x="4656717" y="5872362"/>
                    <a:pt x="4662040" y="5869725"/>
                  </a:cubicBezTo>
                  <a:cubicBezTo>
                    <a:pt x="4667363" y="5867089"/>
                    <a:pt x="4672738" y="5864148"/>
                    <a:pt x="4678162" y="5860904"/>
                  </a:cubicBezTo>
                  <a:cubicBezTo>
                    <a:pt x="4683588" y="5857659"/>
                    <a:pt x="4689190" y="5853958"/>
                    <a:pt x="4694968" y="5849800"/>
                  </a:cubicBezTo>
                  <a:close/>
                  <a:moveTo>
                    <a:pt x="3158682" y="5849800"/>
                  </a:moveTo>
                  <a:lnTo>
                    <a:pt x="3173587" y="5849800"/>
                  </a:lnTo>
                  <a:lnTo>
                    <a:pt x="3173587" y="6072780"/>
                  </a:lnTo>
                  <a:lnTo>
                    <a:pt x="3138299" y="6072780"/>
                  </a:lnTo>
                  <a:lnTo>
                    <a:pt x="3138299" y="5892997"/>
                  </a:lnTo>
                  <a:cubicBezTo>
                    <a:pt x="3131912" y="5897560"/>
                    <a:pt x="3125042" y="5901438"/>
                    <a:pt x="3117690" y="5904633"/>
                  </a:cubicBezTo>
                  <a:cubicBezTo>
                    <a:pt x="3110339" y="5907827"/>
                    <a:pt x="3101948" y="5910640"/>
                    <a:pt x="3092517" y="5913074"/>
                  </a:cubicBezTo>
                  <a:lnTo>
                    <a:pt x="3092517" y="5882958"/>
                  </a:lnTo>
                  <a:cubicBezTo>
                    <a:pt x="3098398" y="5881032"/>
                    <a:pt x="3104077" y="5879004"/>
                    <a:pt x="3109553" y="5876874"/>
                  </a:cubicBezTo>
                  <a:cubicBezTo>
                    <a:pt x="3115028" y="5874745"/>
                    <a:pt x="3120428" y="5872362"/>
                    <a:pt x="3125751" y="5869725"/>
                  </a:cubicBezTo>
                  <a:cubicBezTo>
                    <a:pt x="3131075" y="5867089"/>
                    <a:pt x="3136449" y="5864148"/>
                    <a:pt x="3141875" y="5860904"/>
                  </a:cubicBezTo>
                  <a:cubicBezTo>
                    <a:pt x="3147300" y="5857659"/>
                    <a:pt x="3152901" y="5853958"/>
                    <a:pt x="3158682" y="5849800"/>
                  </a:cubicBezTo>
                  <a:close/>
                  <a:moveTo>
                    <a:pt x="2489154" y="5849800"/>
                  </a:moveTo>
                  <a:lnTo>
                    <a:pt x="2504060" y="5849800"/>
                  </a:lnTo>
                  <a:lnTo>
                    <a:pt x="2504060" y="6072780"/>
                  </a:lnTo>
                  <a:lnTo>
                    <a:pt x="2468772" y="6072780"/>
                  </a:lnTo>
                  <a:lnTo>
                    <a:pt x="2468772" y="5892997"/>
                  </a:lnTo>
                  <a:cubicBezTo>
                    <a:pt x="2462385" y="5897560"/>
                    <a:pt x="2455514" y="5901438"/>
                    <a:pt x="2448163" y="5904633"/>
                  </a:cubicBezTo>
                  <a:cubicBezTo>
                    <a:pt x="2440812" y="5907827"/>
                    <a:pt x="2432420" y="5910640"/>
                    <a:pt x="2422990" y="5913074"/>
                  </a:cubicBezTo>
                  <a:lnTo>
                    <a:pt x="2422990" y="5882958"/>
                  </a:lnTo>
                  <a:cubicBezTo>
                    <a:pt x="2428871" y="5881032"/>
                    <a:pt x="2434551" y="5879004"/>
                    <a:pt x="2440025" y="5876874"/>
                  </a:cubicBezTo>
                  <a:cubicBezTo>
                    <a:pt x="2445502" y="5874745"/>
                    <a:pt x="2450900" y="5872362"/>
                    <a:pt x="2456224" y="5869725"/>
                  </a:cubicBezTo>
                  <a:cubicBezTo>
                    <a:pt x="2461549" y="5867089"/>
                    <a:pt x="2466922" y="5864148"/>
                    <a:pt x="2472346" y="5860904"/>
                  </a:cubicBezTo>
                  <a:cubicBezTo>
                    <a:pt x="2477772" y="5857659"/>
                    <a:pt x="2483374" y="5853958"/>
                    <a:pt x="2489154" y="5849800"/>
                  </a:cubicBezTo>
                  <a:close/>
                  <a:moveTo>
                    <a:pt x="1599916" y="5849800"/>
                  </a:moveTo>
                  <a:lnTo>
                    <a:pt x="1614822" y="5849800"/>
                  </a:lnTo>
                  <a:lnTo>
                    <a:pt x="1614822" y="6072780"/>
                  </a:lnTo>
                  <a:lnTo>
                    <a:pt x="1579534" y="6072780"/>
                  </a:lnTo>
                  <a:lnTo>
                    <a:pt x="1579534" y="5892997"/>
                  </a:lnTo>
                  <a:cubicBezTo>
                    <a:pt x="1573146" y="5897560"/>
                    <a:pt x="1566276" y="5901438"/>
                    <a:pt x="1558925" y="5904633"/>
                  </a:cubicBezTo>
                  <a:cubicBezTo>
                    <a:pt x="1551573" y="5907827"/>
                    <a:pt x="1543182" y="5910640"/>
                    <a:pt x="1533752" y="5913074"/>
                  </a:cubicBezTo>
                  <a:lnTo>
                    <a:pt x="1533752" y="5882958"/>
                  </a:lnTo>
                  <a:cubicBezTo>
                    <a:pt x="1539633" y="5881032"/>
                    <a:pt x="1545312" y="5879004"/>
                    <a:pt x="1550787" y="5876874"/>
                  </a:cubicBezTo>
                  <a:cubicBezTo>
                    <a:pt x="1556263" y="5874745"/>
                    <a:pt x="1561663" y="5872362"/>
                    <a:pt x="1566986" y="5869725"/>
                  </a:cubicBezTo>
                  <a:cubicBezTo>
                    <a:pt x="1572310" y="5867089"/>
                    <a:pt x="1577684" y="5864148"/>
                    <a:pt x="1583109" y="5860904"/>
                  </a:cubicBezTo>
                  <a:cubicBezTo>
                    <a:pt x="1588534" y="5857659"/>
                    <a:pt x="1594136" y="5853958"/>
                    <a:pt x="1599916" y="5849800"/>
                  </a:cubicBezTo>
                  <a:close/>
                  <a:moveTo>
                    <a:pt x="480750" y="5849800"/>
                  </a:moveTo>
                  <a:lnTo>
                    <a:pt x="495656" y="5849800"/>
                  </a:lnTo>
                  <a:lnTo>
                    <a:pt x="495656" y="6072780"/>
                  </a:lnTo>
                  <a:lnTo>
                    <a:pt x="460368" y="6072780"/>
                  </a:lnTo>
                  <a:lnTo>
                    <a:pt x="460368" y="5892997"/>
                  </a:lnTo>
                  <a:cubicBezTo>
                    <a:pt x="453980" y="5897560"/>
                    <a:pt x="447110" y="5901438"/>
                    <a:pt x="439759" y="5904633"/>
                  </a:cubicBezTo>
                  <a:cubicBezTo>
                    <a:pt x="432407" y="5907827"/>
                    <a:pt x="424016" y="5910640"/>
                    <a:pt x="414586" y="5913074"/>
                  </a:cubicBezTo>
                  <a:lnTo>
                    <a:pt x="414586" y="5882958"/>
                  </a:lnTo>
                  <a:cubicBezTo>
                    <a:pt x="420467" y="5881032"/>
                    <a:pt x="426146" y="5879004"/>
                    <a:pt x="431621" y="5876874"/>
                  </a:cubicBezTo>
                  <a:cubicBezTo>
                    <a:pt x="437097" y="5874745"/>
                    <a:pt x="442497" y="5872362"/>
                    <a:pt x="447821" y="5869725"/>
                  </a:cubicBezTo>
                  <a:cubicBezTo>
                    <a:pt x="453144" y="5867089"/>
                    <a:pt x="458518" y="5864148"/>
                    <a:pt x="463943" y="5860904"/>
                  </a:cubicBezTo>
                  <a:cubicBezTo>
                    <a:pt x="469368" y="5857659"/>
                    <a:pt x="474970" y="5853958"/>
                    <a:pt x="480750" y="5849800"/>
                  </a:cubicBezTo>
                  <a:close/>
                  <a:moveTo>
                    <a:pt x="11877853" y="5842140"/>
                  </a:moveTo>
                  <a:cubicBezTo>
                    <a:pt x="11925297" y="5842140"/>
                    <a:pt x="11949020" y="5879003"/>
                    <a:pt x="11949020" y="5952728"/>
                  </a:cubicBezTo>
                  <a:cubicBezTo>
                    <a:pt x="11949020" y="5989239"/>
                    <a:pt x="11942324" y="6017099"/>
                    <a:pt x="11928934" y="6036307"/>
                  </a:cubicBezTo>
                  <a:cubicBezTo>
                    <a:pt x="11915543" y="6055516"/>
                    <a:pt x="11896811" y="6065120"/>
                    <a:pt x="11872737" y="6065120"/>
                  </a:cubicBezTo>
                  <a:cubicBezTo>
                    <a:pt x="11850269" y="6065120"/>
                    <a:pt x="11832740" y="6055942"/>
                    <a:pt x="11820152" y="6037586"/>
                  </a:cubicBezTo>
                  <a:cubicBezTo>
                    <a:pt x="11807563" y="6019230"/>
                    <a:pt x="11801269" y="5992699"/>
                    <a:pt x="11801269" y="5957994"/>
                  </a:cubicBezTo>
                  <a:cubicBezTo>
                    <a:pt x="11801269" y="5919877"/>
                    <a:pt x="11807839" y="5891040"/>
                    <a:pt x="11820979" y="5871480"/>
                  </a:cubicBezTo>
                  <a:cubicBezTo>
                    <a:pt x="11834120" y="5851920"/>
                    <a:pt x="11853077" y="5842140"/>
                    <a:pt x="11877853" y="5842140"/>
                  </a:cubicBezTo>
                  <a:close/>
                  <a:moveTo>
                    <a:pt x="6367990" y="5842140"/>
                  </a:moveTo>
                  <a:cubicBezTo>
                    <a:pt x="6415435" y="5842140"/>
                    <a:pt x="6439157" y="5879003"/>
                    <a:pt x="6439157" y="5952728"/>
                  </a:cubicBezTo>
                  <a:cubicBezTo>
                    <a:pt x="6439157" y="5989239"/>
                    <a:pt x="6432462" y="6017099"/>
                    <a:pt x="6419071" y="6036307"/>
                  </a:cubicBezTo>
                  <a:cubicBezTo>
                    <a:pt x="6405680" y="6055516"/>
                    <a:pt x="6386948" y="6065120"/>
                    <a:pt x="6362874" y="6065120"/>
                  </a:cubicBezTo>
                  <a:cubicBezTo>
                    <a:pt x="6340406" y="6065120"/>
                    <a:pt x="6322877" y="6055942"/>
                    <a:pt x="6310289" y="6037586"/>
                  </a:cubicBezTo>
                  <a:cubicBezTo>
                    <a:pt x="6297700" y="6019230"/>
                    <a:pt x="6291406" y="5992699"/>
                    <a:pt x="6291406" y="5957994"/>
                  </a:cubicBezTo>
                  <a:cubicBezTo>
                    <a:pt x="6291406" y="5919877"/>
                    <a:pt x="6297976" y="5891040"/>
                    <a:pt x="6311116" y="5871480"/>
                  </a:cubicBezTo>
                  <a:cubicBezTo>
                    <a:pt x="6324257" y="5851920"/>
                    <a:pt x="6343214" y="5842140"/>
                    <a:pt x="6367990" y="5842140"/>
                  </a:cubicBezTo>
                  <a:close/>
                  <a:moveTo>
                    <a:pt x="5090447" y="5842140"/>
                  </a:moveTo>
                  <a:cubicBezTo>
                    <a:pt x="5137892" y="5842140"/>
                    <a:pt x="5161614" y="5879003"/>
                    <a:pt x="5161614" y="5952728"/>
                  </a:cubicBezTo>
                  <a:cubicBezTo>
                    <a:pt x="5161614" y="5989239"/>
                    <a:pt x="5154919" y="6017099"/>
                    <a:pt x="5141528" y="6036307"/>
                  </a:cubicBezTo>
                  <a:cubicBezTo>
                    <a:pt x="5128136" y="6055516"/>
                    <a:pt x="5109405" y="6065120"/>
                    <a:pt x="5085331" y="6065120"/>
                  </a:cubicBezTo>
                  <a:cubicBezTo>
                    <a:pt x="5062862" y="6065120"/>
                    <a:pt x="5045334" y="6055942"/>
                    <a:pt x="5032746" y="6037586"/>
                  </a:cubicBezTo>
                  <a:cubicBezTo>
                    <a:pt x="5020157" y="6019230"/>
                    <a:pt x="5013863" y="5992699"/>
                    <a:pt x="5013863" y="5957994"/>
                  </a:cubicBezTo>
                  <a:cubicBezTo>
                    <a:pt x="5013863" y="5919877"/>
                    <a:pt x="5020435" y="5891040"/>
                    <a:pt x="5033573" y="5871480"/>
                  </a:cubicBezTo>
                  <a:cubicBezTo>
                    <a:pt x="5046714" y="5851920"/>
                    <a:pt x="5065671" y="5842140"/>
                    <a:pt x="5090447" y="5842140"/>
                  </a:cubicBezTo>
                  <a:close/>
                  <a:moveTo>
                    <a:pt x="11874294" y="5532345"/>
                  </a:moveTo>
                  <a:cubicBezTo>
                    <a:pt x="11848114" y="5532345"/>
                    <a:pt x="11835024" y="5561182"/>
                    <a:pt x="11835024" y="5618858"/>
                  </a:cubicBezTo>
                  <a:cubicBezTo>
                    <a:pt x="11835024" y="5672823"/>
                    <a:pt x="11847863" y="5699805"/>
                    <a:pt x="11873542" y="5699805"/>
                  </a:cubicBezTo>
                  <a:cubicBezTo>
                    <a:pt x="11898818" y="5699805"/>
                    <a:pt x="11911457" y="5672371"/>
                    <a:pt x="11911457" y="5617504"/>
                  </a:cubicBezTo>
                  <a:cubicBezTo>
                    <a:pt x="11911457" y="5560731"/>
                    <a:pt x="11899069" y="5532345"/>
                    <a:pt x="11874294" y="5532345"/>
                  </a:cubicBezTo>
                  <a:close/>
                  <a:moveTo>
                    <a:pt x="9936214" y="5532345"/>
                  </a:moveTo>
                  <a:cubicBezTo>
                    <a:pt x="9910034" y="5532345"/>
                    <a:pt x="9896944" y="5561183"/>
                    <a:pt x="9896944" y="5618859"/>
                  </a:cubicBezTo>
                  <a:cubicBezTo>
                    <a:pt x="9896944" y="5672823"/>
                    <a:pt x="9909783" y="5699806"/>
                    <a:pt x="9935462" y="5699806"/>
                  </a:cubicBezTo>
                  <a:cubicBezTo>
                    <a:pt x="9960738" y="5699806"/>
                    <a:pt x="9973377" y="5672372"/>
                    <a:pt x="9973377" y="5617505"/>
                  </a:cubicBezTo>
                  <a:cubicBezTo>
                    <a:pt x="9973377" y="5560732"/>
                    <a:pt x="9960989" y="5532345"/>
                    <a:pt x="9936214" y="5532345"/>
                  </a:cubicBezTo>
                  <a:close/>
                  <a:moveTo>
                    <a:pt x="6366335" y="5532345"/>
                  </a:moveTo>
                  <a:cubicBezTo>
                    <a:pt x="6340155" y="5532345"/>
                    <a:pt x="6327065" y="5561182"/>
                    <a:pt x="6327065" y="5618858"/>
                  </a:cubicBezTo>
                  <a:cubicBezTo>
                    <a:pt x="6327065" y="5672823"/>
                    <a:pt x="6339904" y="5699805"/>
                    <a:pt x="6365583" y="5699805"/>
                  </a:cubicBezTo>
                  <a:cubicBezTo>
                    <a:pt x="6390860" y="5699805"/>
                    <a:pt x="6403498" y="5672371"/>
                    <a:pt x="6403498" y="5617504"/>
                  </a:cubicBezTo>
                  <a:cubicBezTo>
                    <a:pt x="6403498" y="5560731"/>
                    <a:pt x="6391110" y="5532345"/>
                    <a:pt x="6366335" y="5532345"/>
                  </a:cubicBezTo>
                  <a:close/>
                  <a:moveTo>
                    <a:pt x="5088792" y="5532345"/>
                  </a:moveTo>
                  <a:cubicBezTo>
                    <a:pt x="5062613" y="5532345"/>
                    <a:pt x="5049522" y="5561182"/>
                    <a:pt x="5049522" y="5618858"/>
                  </a:cubicBezTo>
                  <a:cubicBezTo>
                    <a:pt x="5049522" y="5672823"/>
                    <a:pt x="5062362" y="5699805"/>
                    <a:pt x="5088041" y="5699805"/>
                  </a:cubicBezTo>
                  <a:cubicBezTo>
                    <a:pt x="5113318" y="5699805"/>
                    <a:pt x="5125957" y="5672371"/>
                    <a:pt x="5125957" y="5617504"/>
                  </a:cubicBezTo>
                  <a:cubicBezTo>
                    <a:pt x="5125957" y="5560731"/>
                    <a:pt x="5113567" y="5532345"/>
                    <a:pt x="5088792" y="5532345"/>
                  </a:cubicBezTo>
                  <a:close/>
                  <a:moveTo>
                    <a:pt x="11875949" y="5504510"/>
                  </a:moveTo>
                  <a:cubicBezTo>
                    <a:pt x="11923393" y="5504510"/>
                    <a:pt x="11947116" y="5541372"/>
                    <a:pt x="11947116" y="5615097"/>
                  </a:cubicBezTo>
                  <a:cubicBezTo>
                    <a:pt x="11947116" y="5651608"/>
                    <a:pt x="11940420" y="5679468"/>
                    <a:pt x="11927030" y="5698677"/>
                  </a:cubicBezTo>
                  <a:cubicBezTo>
                    <a:pt x="11913639" y="5717885"/>
                    <a:pt x="11894907" y="5727490"/>
                    <a:pt x="11870833" y="5727490"/>
                  </a:cubicBezTo>
                  <a:cubicBezTo>
                    <a:pt x="11848365" y="5727490"/>
                    <a:pt x="11830836" y="5718312"/>
                    <a:pt x="11818248" y="5699956"/>
                  </a:cubicBezTo>
                  <a:cubicBezTo>
                    <a:pt x="11805659" y="5681600"/>
                    <a:pt x="11799365" y="5655069"/>
                    <a:pt x="11799365" y="5620363"/>
                  </a:cubicBezTo>
                  <a:cubicBezTo>
                    <a:pt x="11799365" y="5582247"/>
                    <a:pt x="11805935" y="5553409"/>
                    <a:pt x="11819075" y="5533849"/>
                  </a:cubicBezTo>
                  <a:cubicBezTo>
                    <a:pt x="11832216" y="5514290"/>
                    <a:pt x="11851173" y="5504510"/>
                    <a:pt x="11875949" y="5504510"/>
                  </a:cubicBezTo>
                  <a:close/>
                  <a:moveTo>
                    <a:pt x="9937869" y="5504510"/>
                  </a:moveTo>
                  <a:cubicBezTo>
                    <a:pt x="9985313" y="5504510"/>
                    <a:pt x="10009036" y="5541373"/>
                    <a:pt x="10009036" y="5615098"/>
                  </a:cubicBezTo>
                  <a:cubicBezTo>
                    <a:pt x="10009036" y="5651609"/>
                    <a:pt x="10002340" y="5679469"/>
                    <a:pt x="9988950" y="5698677"/>
                  </a:cubicBezTo>
                  <a:cubicBezTo>
                    <a:pt x="9975559" y="5717886"/>
                    <a:pt x="9956827" y="5727490"/>
                    <a:pt x="9932753" y="5727490"/>
                  </a:cubicBezTo>
                  <a:cubicBezTo>
                    <a:pt x="9910285" y="5727490"/>
                    <a:pt x="9892756" y="5718312"/>
                    <a:pt x="9880168" y="5699956"/>
                  </a:cubicBezTo>
                  <a:cubicBezTo>
                    <a:pt x="9867579" y="5681600"/>
                    <a:pt x="9861285" y="5655069"/>
                    <a:pt x="9861285" y="5620364"/>
                  </a:cubicBezTo>
                  <a:cubicBezTo>
                    <a:pt x="9861285" y="5582247"/>
                    <a:pt x="9867855" y="5553410"/>
                    <a:pt x="9880995" y="5533850"/>
                  </a:cubicBezTo>
                  <a:cubicBezTo>
                    <a:pt x="9894136" y="5514290"/>
                    <a:pt x="9913093" y="5504510"/>
                    <a:pt x="9937869" y="5504510"/>
                  </a:cubicBezTo>
                  <a:close/>
                  <a:moveTo>
                    <a:pt x="6367990" y="5504510"/>
                  </a:moveTo>
                  <a:cubicBezTo>
                    <a:pt x="6415435" y="5504510"/>
                    <a:pt x="6439157" y="5541372"/>
                    <a:pt x="6439157" y="5615097"/>
                  </a:cubicBezTo>
                  <a:cubicBezTo>
                    <a:pt x="6439157" y="5651608"/>
                    <a:pt x="6432462" y="5679468"/>
                    <a:pt x="6419071" y="5698677"/>
                  </a:cubicBezTo>
                  <a:cubicBezTo>
                    <a:pt x="6405680" y="5717885"/>
                    <a:pt x="6386948" y="5727490"/>
                    <a:pt x="6362874" y="5727490"/>
                  </a:cubicBezTo>
                  <a:cubicBezTo>
                    <a:pt x="6340406" y="5727490"/>
                    <a:pt x="6322877" y="5718312"/>
                    <a:pt x="6310289" y="5699956"/>
                  </a:cubicBezTo>
                  <a:cubicBezTo>
                    <a:pt x="6297700" y="5681600"/>
                    <a:pt x="6291406" y="5655069"/>
                    <a:pt x="6291406" y="5620363"/>
                  </a:cubicBezTo>
                  <a:cubicBezTo>
                    <a:pt x="6291406" y="5582247"/>
                    <a:pt x="6297976" y="5553409"/>
                    <a:pt x="6311116" y="5533849"/>
                  </a:cubicBezTo>
                  <a:cubicBezTo>
                    <a:pt x="6324257" y="5514290"/>
                    <a:pt x="6343214" y="5504510"/>
                    <a:pt x="6367990" y="5504510"/>
                  </a:cubicBezTo>
                  <a:close/>
                  <a:moveTo>
                    <a:pt x="5090447" y="5504510"/>
                  </a:moveTo>
                  <a:cubicBezTo>
                    <a:pt x="5137892" y="5504510"/>
                    <a:pt x="5161614" y="5541372"/>
                    <a:pt x="5161614" y="5615097"/>
                  </a:cubicBezTo>
                  <a:cubicBezTo>
                    <a:pt x="5161614" y="5651608"/>
                    <a:pt x="5154919" y="5679468"/>
                    <a:pt x="5141528" y="5698677"/>
                  </a:cubicBezTo>
                  <a:cubicBezTo>
                    <a:pt x="5128136" y="5717885"/>
                    <a:pt x="5109405" y="5727490"/>
                    <a:pt x="5085331" y="5727490"/>
                  </a:cubicBezTo>
                  <a:cubicBezTo>
                    <a:pt x="5062862" y="5727490"/>
                    <a:pt x="5045334" y="5718312"/>
                    <a:pt x="5032746" y="5699956"/>
                  </a:cubicBezTo>
                  <a:cubicBezTo>
                    <a:pt x="5020157" y="5681600"/>
                    <a:pt x="5013863" y="5655069"/>
                    <a:pt x="5013863" y="5620363"/>
                  </a:cubicBezTo>
                  <a:cubicBezTo>
                    <a:pt x="5013863" y="5582247"/>
                    <a:pt x="5020435" y="5553409"/>
                    <a:pt x="5033573" y="5533849"/>
                  </a:cubicBezTo>
                  <a:cubicBezTo>
                    <a:pt x="5046714" y="5514290"/>
                    <a:pt x="5065671" y="5504510"/>
                    <a:pt x="5090447" y="5504510"/>
                  </a:cubicBezTo>
                  <a:close/>
                  <a:moveTo>
                    <a:pt x="12062430" y="5494669"/>
                  </a:moveTo>
                  <a:lnTo>
                    <a:pt x="12077336" y="5494669"/>
                  </a:lnTo>
                  <a:lnTo>
                    <a:pt x="12077336" y="5717649"/>
                  </a:lnTo>
                  <a:lnTo>
                    <a:pt x="12042048" y="5717649"/>
                  </a:lnTo>
                  <a:lnTo>
                    <a:pt x="12042048" y="5537865"/>
                  </a:lnTo>
                  <a:cubicBezTo>
                    <a:pt x="12035660" y="5542428"/>
                    <a:pt x="12028790" y="5546307"/>
                    <a:pt x="12021439" y="5549501"/>
                  </a:cubicBezTo>
                  <a:cubicBezTo>
                    <a:pt x="12014087" y="5552695"/>
                    <a:pt x="12005696" y="5555509"/>
                    <a:pt x="11996266" y="5557943"/>
                  </a:cubicBezTo>
                  <a:lnTo>
                    <a:pt x="11996266" y="5527827"/>
                  </a:lnTo>
                  <a:cubicBezTo>
                    <a:pt x="12002147" y="5525900"/>
                    <a:pt x="12007826" y="5523872"/>
                    <a:pt x="12013301" y="5521743"/>
                  </a:cubicBezTo>
                  <a:cubicBezTo>
                    <a:pt x="12018777" y="5519614"/>
                    <a:pt x="12024177" y="5517230"/>
                    <a:pt x="12029500" y="5514594"/>
                  </a:cubicBezTo>
                  <a:cubicBezTo>
                    <a:pt x="12034824" y="5511958"/>
                    <a:pt x="12040198" y="5509017"/>
                    <a:pt x="12045623" y="5505772"/>
                  </a:cubicBezTo>
                  <a:cubicBezTo>
                    <a:pt x="12051048" y="5502527"/>
                    <a:pt x="12056650" y="5498826"/>
                    <a:pt x="12062430" y="5494669"/>
                  </a:cubicBezTo>
                  <a:close/>
                  <a:moveTo>
                    <a:pt x="10143427" y="5494669"/>
                  </a:moveTo>
                  <a:lnTo>
                    <a:pt x="10158333" y="5494669"/>
                  </a:lnTo>
                  <a:lnTo>
                    <a:pt x="10158333" y="5717649"/>
                  </a:lnTo>
                  <a:lnTo>
                    <a:pt x="10123045" y="5717649"/>
                  </a:lnTo>
                  <a:lnTo>
                    <a:pt x="10123045" y="5537866"/>
                  </a:lnTo>
                  <a:cubicBezTo>
                    <a:pt x="10116657" y="5542429"/>
                    <a:pt x="10109787" y="5546307"/>
                    <a:pt x="10102436" y="5549502"/>
                  </a:cubicBezTo>
                  <a:cubicBezTo>
                    <a:pt x="10095084" y="5552696"/>
                    <a:pt x="10086693" y="5555509"/>
                    <a:pt x="10077263" y="5557943"/>
                  </a:cubicBezTo>
                  <a:lnTo>
                    <a:pt x="10077263" y="5527827"/>
                  </a:lnTo>
                  <a:cubicBezTo>
                    <a:pt x="10083144" y="5525901"/>
                    <a:pt x="10088823" y="5523873"/>
                    <a:pt x="10094298" y="5521743"/>
                  </a:cubicBezTo>
                  <a:cubicBezTo>
                    <a:pt x="10099774" y="5519614"/>
                    <a:pt x="10105174" y="5517231"/>
                    <a:pt x="10110497" y="5514594"/>
                  </a:cubicBezTo>
                  <a:cubicBezTo>
                    <a:pt x="10115821" y="5511958"/>
                    <a:pt x="10121195" y="5509017"/>
                    <a:pt x="10126620" y="5505773"/>
                  </a:cubicBezTo>
                  <a:cubicBezTo>
                    <a:pt x="10132045" y="5502528"/>
                    <a:pt x="10137647" y="5498827"/>
                    <a:pt x="10143427" y="5494669"/>
                  </a:cubicBezTo>
                  <a:close/>
                  <a:moveTo>
                    <a:pt x="9254256" y="5494669"/>
                  </a:moveTo>
                  <a:lnTo>
                    <a:pt x="9269162" y="5494669"/>
                  </a:lnTo>
                  <a:lnTo>
                    <a:pt x="9269162" y="5717649"/>
                  </a:lnTo>
                  <a:lnTo>
                    <a:pt x="9233874" y="5717649"/>
                  </a:lnTo>
                  <a:lnTo>
                    <a:pt x="9233874" y="5537865"/>
                  </a:lnTo>
                  <a:cubicBezTo>
                    <a:pt x="9227486" y="5542428"/>
                    <a:pt x="9220616" y="5546307"/>
                    <a:pt x="9213265" y="5549501"/>
                  </a:cubicBezTo>
                  <a:cubicBezTo>
                    <a:pt x="9205913" y="5552695"/>
                    <a:pt x="9197522" y="5555509"/>
                    <a:pt x="9188092" y="5557943"/>
                  </a:cubicBezTo>
                  <a:lnTo>
                    <a:pt x="9188092" y="5527827"/>
                  </a:lnTo>
                  <a:cubicBezTo>
                    <a:pt x="9193973" y="5525900"/>
                    <a:pt x="9199652" y="5523872"/>
                    <a:pt x="9205127" y="5521743"/>
                  </a:cubicBezTo>
                  <a:cubicBezTo>
                    <a:pt x="9210603" y="5519614"/>
                    <a:pt x="9216003" y="5517230"/>
                    <a:pt x="9221326" y="5514594"/>
                  </a:cubicBezTo>
                  <a:cubicBezTo>
                    <a:pt x="9226650" y="5511958"/>
                    <a:pt x="9232024" y="5509017"/>
                    <a:pt x="9237449" y="5505772"/>
                  </a:cubicBezTo>
                  <a:cubicBezTo>
                    <a:pt x="9242874" y="5502527"/>
                    <a:pt x="9248476" y="5498826"/>
                    <a:pt x="9254256" y="5494669"/>
                  </a:cubicBezTo>
                  <a:close/>
                  <a:moveTo>
                    <a:pt x="7851748" y="5494669"/>
                  </a:moveTo>
                  <a:lnTo>
                    <a:pt x="7866654" y="5494669"/>
                  </a:lnTo>
                  <a:lnTo>
                    <a:pt x="7866654" y="5717649"/>
                  </a:lnTo>
                  <a:lnTo>
                    <a:pt x="7831366" y="5717649"/>
                  </a:lnTo>
                  <a:lnTo>
                    <a:pt x="7831366" y="5537866"/>
                  </a:lnTo>
                  <a:cubicBezTo>
                    <a:pt x="7824978" y="5542429"/>
                    <a:pt x="7818109" y="5546307"/>
                    <a:pt x="7810757" y="5549502"/>
                  </a:cubicBezTo>
                  <a:cubicBezTo>
                    <a:pt x="7803405" y="5552696"/>
                    <a:pt x="7795015" y="5555509"/>
                    <a:pt x="7785584" y="5557943"/>
                  </a:cubicBezTo>
                  <a:lnTo>
                    <a:pt x="7785584" y="5527827"/>
                  </a:lnTo>
                  <a:cubicBezTo>
                    <a:pt x="7791465" y="5525901"/>
                    <a:pt x="7797144" y="5523873"/>
                    <a:pt x="7802619" y="5521743"/>
                  </a:cubicBezTo>
                  <a:cubicBezTo>
                    <a:pt x="7808095" y="5519614"/>
                    <a:pt x="7813495" y="5517231"/>
                    <a:pt x="7818818" y="5514594"/>
                  </a:cubicBezTo>
                  <a:cubicBezTo>
                    <a:pt x="7824142" y="5511958"/>
                    <a:pt x="7829516" y="5509017"/>
                    <a:pt x="7834941" y="5505773"/>
                  </a:cubicBezTo>
                  <a:cubicBezTo>
                    <a:pt x="7840366" y="5502528"/>
                    <a:pt x="7845968" y="5498827"/>
                    <a:pt x="7851748" y="5494669"/>
                  </a:cubicBezTo>
                  <a:close/>
                  <a:moveTo>
                    <a:pt x="7015147" y="5494669"/>
                  </a:moveTo>
                  <a:lnTo>
                    <a:pt x="7030053" y="5494669"/>
                  </a:lnTo>
                  <a:lnTo>
                    <a:pt x="7030053" y="5717649"/>
                  </a:lnTo>
                  <a:lnTo>
                    <a:pt x="6994765" y="5717649"/>
                  </a:lnTo>
                  <a:lnTo>
                    <a:pt x="6994765" y="5537865"/>
                  </a:lnTo>
                  <a:cubicBezTo>
                    <a:pt x="6988377" y="5542428"/>
                    <a:pt x="6981508" y="5546307"/>
                    <a:pt x="6974156" y="5549501"/>
                  </a:cubicBezTo>
                  <a:cubicBezTo>
                    <a:pt x="6966804" y="5552695"/>
                    <a:pt x="6958414" y="5555509"/>
                    <a:pt x="6948983" y="5557943"/>
                  </a:cubicBezTo>
                  <a:lnTo>
                    <a:pt x="6948983" y="5527827"/>
                  </a:lnTo>
                  <a:cubicBezTo>
                    <a:pt x="6954864" y="5525900"/>
                    <a:pt x="6960543" y="5523872"/>
                    <a:pt x="6966018" y="5521743"/>
                  </a:cubicBezTo>
                  <a:cubicBezTo>
                    <a:pt x="6971494" y="5519614"/>
                    <a:pt x="6976894" y="5517230"/>
                    <a:pt x="6982217" y="5514594"/>
                  </a:cubicBezTo>
                  <a:cubicBezTo>
                    <a:pt x="6987541" y="5511958"/>
                    <a:pt x="6992915" y="5509017"/>
                    <a:pt x="6998340" y="5505772"/>
                  </a:cubicBezTo>
                  <a:cubicBezTo>
                    <a:pt x="7003765" y="5502527"/>
                    <a:pt x="7009367" y="5498826"/>
                    <a:pt x="7015147" y="5494669"/>
                  </a:cubicBezTo>
                  <a:close/>
                  <a:moveTo>
                    <a:pt x="4694968" y="5494669"/>
                  </a:moveTo>
                  <a:lnTo>
                    <a:pt x="4709876" y="5494669"/>
                  </a:lnTo>
                  <a:lnTo>
                    <a:pt x="4709876" y="5717649"/>
                  </a:lnTo>
                  <a:lnTo>
                    <a:pt x="4674589" y="5717649"/>
                  </a:lnTo>
                  <a:lnTo>
                    <a:pt x="4674589" y="5537865"/>
                  </a:lnTo>
                  <a:cubicBezTo>
                    <a:pt x="4668200" y="5542428"/>
                    <a:pt x="4661331" y="5546307"/>
                    <a:pt x="4653978" y="5549501"/>
                  </a:cubicBezTo>
                  <a:cubicBezTo>
                    <a:pt x="4646628" y="5552695"/>
                    <a:pt x="4638236" y="5555509"/>
                    <a:pt x="4628805" y="5557943"/>
                  </a:cubicBezTo>
                  <a:lnTo>
                    <a:pt x="4628805" y="5527827"/>
                  </a:lnTo>
                  <a:cubicBezTo>
                    <a:pt x="4634687" y="5525900"/>
                    <a:pt x="4640364" y="5523872"/>
                    <a:pt x="4645841" y="5521743"/>
                  </a:cubicBezTo>
                  <a:cubicBezTo>
                    <a:pt x="4651316" y="5519614"/>
                    <a:pt x="4656717" y="5517230"/>
                    <a:pt x="4662040" y="5514594"/>
                  </a:cubicBezTo>
                  <a:cubicBezTo>
                    <a:pt x="4667363" y="5511958"/>
                    <a:pt x="4672738" y="5509017"/>
                    <a:pt x="4678162" y="5505772"/>
                  </a:cubicBezTo>
                  <a:cubicBezTo>
                    <a:pt x="4683588" y="5502527"/>
                    <a:pt x="4689190" y="5498826"/>
                    <a:pt x="4694968" y="5494669"/>
                  </a:cubicBezTo>
                  <a:close/>
                  <a:moveTo>
                    <a:pt x="3158682" y="5494669"/>
                  </a:moveTo>
                  <a:lnTo>
                    <a:pt x="3173587" y="5494669"/>
                  </a:lnTo>
                  <a:lnTo>
                    <a:pt x="3173587" y="5717649"/>
                  </a:lnTo>
                  <a:lnTo>
                    <a:pt x="3138299" y="5717649"/>
                  </a:lnTo>
                  <a:lnTo>
                    <a:pt x="3138299" y="5537866"/>
                  </a:lnTo>
                  <a:cubicBezTo>
                    <a:pt x="3131912" y="5542429"/>
                    <a:pt x="3125042" y="5546307"/>
                    <a:pt x="3117690" y="5549502"/>
                  </a:cubicBezTo>
                  <a:cubicBezTo>
                    <a:pt x="3110339" y="5552696"/>
                    <a:pt x="3101948" y="5555509"/>
                    <a:pt x="3092517" y="5557943"/>
                  </a:cubicBezTo>
                  <a:lnTo>
                    <a:pt x="3092517" y="5527827"/>
                  </a:lnTo>
                  <a:cubicBezTo>
                    <a:pt x="3098398" y="5525901"/>
                    <a:pt x="3104077" y="5523873"/>
                    <a:pt x="3109553" y="5521743"/>
                  </a:cubicBezTo>
                  <a:cubicBezTo>
                    <a:pt x="3115028" y="5519614"/>
                    <a:pt x="3120428" y="5517231"/>
                    <a:pt x="3125751" y="5514594"/>
                  </a:cubicBezTo>
                  <a:cubicBezTo>
                    <a:pt x="3131075" y="5511958"/>
                    <a:pt x="3136449" y="5509017"/>
                    <a:pt x="3141875" y="5505773"/>
                  </a:cubicBezTo>
                  <a:cubicBezTo>
                    <a:pt x="3147300" y="5502528"/>
                    <a:pt x="3152901" y="5498827"/>
                    <a:pt x="3158682" y="5494669"/>
                  </a:cubicBezTo>
                  <a:close/>
                  <a:moveTo>
                    <a:pt x="2489154" y="5494669"/>
                  </a:moveTo>
                  <a:lnTo>
                    <a:pt x="2504060" y="5494669"/>
                  </a:lnTo>
                  <a:lnTo>
                    <a:pt x="2504060" y="5717649"/>
                  </a:lnTo>
                  <a:lnTo>
                    <a:pt x="2468772" y="5717649"/>
                  </a:lnTo>
                  <a:lnTo>
                    <a:pt x="2468772" y="5537866"/>
                  </a:lnTo>
                  <a:cubicBezTo>
                    <a:pt x="2462385" y="5542429"/>
                    <a:pt x="2455514" y="5546307"/>
                    <a:pt x="2448163" y="5549502"/>
                  </a:cubicBezTo>
                  <a:cubicBezTo>
                    <a:pt x="2440812" y="5552696"/>
                    <a:pt x="2432420" y="5555509"/>
                    <a:pt x="2422990" y="5557943"/>
                  </a:cubicBezTo>
                  <a:lnTo>
                    <a:pt x="2422990" y="5527827"/>
                  </a:lnTo>
                  <a:cubicBezTo>
                    <a:pt x="2428871" y="5525901"/>
                    <a:pt x="2434551" y="5523873"/>
                    <a:pt x="2440025" y="5521743"/>
                  </a:cubicBezTo>
                  <a:cubicBezTo>
                    <a:pt x="2445502" y="5519614"/>
                    <a:pt x="2450900" y="5517231"/>
                    <a:pt x="2456224" y="5514594"/>
                  </a:cubicBezTo>
                  <a:cubicBezTo>
                    <a:pt x="2461549" y="5511958"/>
                    <a:pt x="2466922" y="5509017"/>
                    <a:pt x="2472346" y="5505773"/>
                  </a:cubicBezTo>
                  <a:cubicBezTo>
                    <a:pt x="2477772" y="5502528"/>
                    <a:pt x="2483374" y="5498827"/>
                    <a:pt x="2489154" y="5494669"/>
                  </a:cubicBezTo>
                  <a:close/>
                  <a:moveTo>
                    <a:pt x="1599916" y="5494669"/>
                  </a:moveTo>
                  <a:lnTo>
                    <a:pt x="1614822" y="5494669"/>
                  </a:lnTo>
                  <a:lnTo>
                    <a:pt x="1614822" y="5717649"/>
                  </a:lnTo>
                  <a:lnTo>
                    <a:pt x="1579534" y="5717649"/>
                  </a:lnTo>
                  <a:lnTo>
                    <a:pt x="1579534" y="5537866"/>
                  </a:lnTo>
                  <a:cubicBezTo>
                    <a:pt x="1573146" y="5542429"/>
                    <a:pt x="1566276" y="5546307"/>
                    <a:pt x="1558925" y="5549502"/>
                  </a:cubicBezTo>
                  <a:cubicBezTo>
                    <a:pt x="1551573" y="5552696"/>
                    <a:pt x="1543182" y="5555509"/>
                    <a:pt x="1533752" y="5557943"/>
                  </a:cubicBezTo>
                  <a:lnTo>
                    <a:pt x="1533752" y="5527827"/>
                  </a:lnTo>
                  <a:cubicBezTo>
                    <a:pt x="1539633" y="5525901"/>
                    <a:pt x="1545312" y="5523873"/>
                    <a:pt x="1550787" y="5521743"/>
                  </a:cubicBezTo>
                  <a:cubicBezTo>
                    <a:pt x="1556263" y="5519614"/>
                    <a:pt x="1561663" y="5517231"/>
                    <a:pt x="1566986" y="5514594"/>
                  </a:cubicBezTo>
                  <a:cubicBezTo>
                    <a:pt x="1572310" y="5511958"/>
                    <a:pt x="1577684" y="5509017"/>
                    <a:pt x="1583109" y="5505773"/>
                  </a:cubicBezTo>
                  <a:cubicBezTo>
                    <a:pt x="1588534" y="5502528"/>
                    <a:pt x="1594136" y="5498827"/>
                    <a:pt x="1599916" y="5494669"/>
                  </a:cubicBezTo>
                  <a:close/>
                  <a:moveTo>
                    <a:pt x="480750" y="5494669"/>
                  </a:moveTo>
                  <a:lnTo>
                    <a:pt x="495656" y="5494669"/>
                  </a:lnTo>
                  <a:lnTo>
                    <a:pt x="495656" y="5717649"/>
                  </a:lnTo>
                  <a:lnTo>
                    <a:pt x="460368" y="5717649"/>
                  </a:lnTo>
                  <a:lnTo>
                    <a:pt x="460368" y="5537866"/>
                  </a:lnTo>
                  <a:cubicBezTo>
                    <a:pt x="453980" y="5542429"/>
                    <a:pt x="447110" y="5546307"/>
                    <a:pt x="439759" y="5549502"/>
                  </a:cubicBezTo>
                  <a:cubicBezTo>
                    <a:pt x="432407" y="5552696"/>
                    <a:pt x="424016" y="5555509"/>
                    <a:pt x="414586" y="5557943"/>
                  </a:cubicBezTo>
                  <a:lnTo>
                    <a:pt x="414586" y="5527827"/>
                  </a:lnTo>
                  <a:cubicBezTo>
                    <a:pt x="420467" y="5525901"/>
                    <a:pt x="426146" y="5523873"/>
                    <a:pt x="431621" y="5521743"/>
                  </a:cubicBezTo>
                  <a:cubicBezTo>
                    <a:pt x="437097" y="5519614"/>
                    <a:pt x="442497" y="5517231"/>
                    <a:pt x="447821" y="5514594"/>
                  </a:cubicBezTo>
                  <a:cubicBezTo>
                    <a:pt x="453144" y="5511958"/>
                    <a:pt x="458518" y="5509017"/>
                    <a:pt x="463943" y="5505773"/>
                  </a:cubicBezTo>
                  <a:cubicBezTo>
                    <a:pt x="469368" y="5502528"/>
                    <a:pt x="474970" y="5498827"/>
                    <a:pt x="480750" y="5494669"/>
                  </a:cubicBezTo>
                  <a:close/>
                  <a:moveTo>
                    <a:pt x="476799" y="5197154"/>
                  </a:moveTo>
                  <a:cubicBezTo>
                    <a:pt x="450619" y="5197154"/>
                    <a:pt x="437529" y="5225992"/>
                    <a:pt x="437529" y="5283668"/>
                  </a:cubicBezTo>
                  <a:cubicBezTo>
                    <a:pt x="437529" y="5337632"/>
                    <a:pt x="450368" y="5364615"/>
                    <a:pt x="476046" y="5364615"/>
                  </a:cubicBezTo>
                  <a:cubicBezTo>
                    <a:pt x="501323" y="5364615"/>
                    <a:pt x="513962" y="5337181"/>
                    <a:pt x="513962" y="5282314"/>
                  </a:cubicBezTo>
                  <a:cubicBezTo>
                    <a:pt x="513962" y="5225541"/>
                    <a:pt x="501574" y="5197154"/>
                    <a:pt x="476799" y="5197154"/>
                  </a:cubicBezTo>
                  <a:close/>
                  <a:moveTo>
                    <a:pt x="11874294" y="5184874"/>
                  </a:moveTo>
                  <a:cubicBezTo>
                    <a:pt x="11848114" y="5184874"/>
                    <a:pt x="11835024" y="5213711"/>
                    <a:pt x="11835024" y="5271387"/>
                  </a:cubicBezTo>
                  <a:cubicBezTo>
                    <a:pt x="11835024" y="5325352"/>
                    <a:pt x="11847863" y="5352334"/>
                    <a:pt x="11873542" y="5352334"/>
                  </a:cubicBezTo>
                  <a:cubicBezTo>
                    <a:pt x="11898818" y="5352334"/>
                    <a:pt x="11911457" y="5324900"/>
                    <a:pt x="11911457" y="5270033"/>
                  </a:cubicBezTo>
                  <a:cubicBezTo>
                    <a:pt x="11911457" y="5213260"/>
                    <a:pt x="11899069" y="5184874"/>
                    <a:pt x="11874294" y="5184874"/>
                  </a:cubicBezTo>
                  <a:close/>
                  <a:moveTo>
                    <a:pt x="9936214" y="5184874"/>
                  </a:moveTo>
                  <a:cubicBezTo>
                    <a:pt x="9910034" y="5184874"/>
                    <a:pt x="9896944" y="5213712"/>
                    <a:pt x="9896944" y="5271388"/>
                  </a:cubicBezTo>
                  <a:cubicBezTo>
                    <a:pt x="9896944" y="5325352"/>
                    <a:pt x="9909783" y="5352335"/>
                    <a:pt x="9935462" y="5352335"/>
                  </a:cubicBezTo>
                  <a:cubicBezTo>
                    <a:pt x="9960738" y="5352335"/>
                    <a:pt x="9973377" y="5324901"/>
                    <a:pt x="9973377" y="5270034"/>
                  </a:cubicBezTo>
                  <a:cubicBezTo>
                    <a:pt x="9973377" y="5213261"/>
                    <a:pt x="9960989" y="5184874"/>
                    <a:pt x="9936214" y="5184874"/>
                  </a:cubicBezTo>
                  <a:close/>
                  <a:moveTo>
                    <a:pt x="6366335" y="5184874"/>
                  </a:moveTo>
                  <a:cubicBezTo>
                    <a:pt x="6340155" y="5184874"/>
                    <a:pt x="6327065" y="5213711"/>
                    <a:pt x="6327065" y="5271387"/>
                  </a:cubicBezTo>
                  <a:cubicBezTo>
                    <a:pt x="6327065" y="5325352"/>
                    <a:pt x="6339904" y="5352334"/>
                    <a:pt x="6365583" y="5352334"/>
                  </a:cubicBezTo>
                  <a:cubicBezTo>
                    <a:pt x="6390860" y="5352334"/>
                    <a:pt x="6403498" y="5324900"/>
                    <a:pt x="6403498" y="5270033"/>
                  </a:cubicBezTo>
                  <a:cubicBezTo>
                    <a:pt x="6403498" y="5213260"/>
                    <a:pt x="6391110" y="5184874"/>
                    <a:pt x="6366335" y="5184874"/>
                  </a:cubicBezTo>
                  <a:close/>
                  <a:moveTo>
                    <a:pt x="5088792" y="5184874"/>
                  </a:moveTo>
                  <a:cubicBezTo>
                    <a:pt x="5062613" y="5184874"/>
                    <a:pt x="5049522" y="5213711"/>
                    <a:pt x="5049522" y="5271387"/>
                  </a:cubicBezTo>
                  <a:cubicBezTo>
                    <a:pt x="5049522" y="5325352"/>
                    <a:pt x="5062362" y="5352334"/>
                    <a:pt x="5088041" y="5352334"/>
                  </a:cubicBezTo>
                  <a:cubicBezTo>
                    <a:pt x="5113318" y="5352334"/>
                    <a:pt x="5125957" y="5324900"/>
                    <a:pt x="5125957" y="5270033"/>
                  </a:cubicBezTo>
                  <a:cubicBezTo>
                    <a:pt x="5125957" y="5213260"/>
                    <a:pt x="5113567" y="5184874"/>
                    <a:pt x="5088792" y="5184874"/>
                  </a:cubicBezTo>
                  <a:close/>
                  <a:moveTo>
                    <a:pt x="478454" y="5169319"/>
                  </a:moveTo>
                  <a:cubicBezTo>
                    <a:pt x="525898" y="5169319"/>
                    <a:pt x="549621" y="5206182"/>
                    <a:pt x="549621" y="5279907"/>
                  </a:cubicBezTo>
                  <a:cubicBezTo>
                    <a:pt x="549621" y="5316418"/>
                    <a:pt x="542925" y="5344278"/>
                    <a:pt x="529535" y="5363486"/>
                  </a:cubicBezTo>
                  <a:cubicBezTo>
                    <a:pt x="516144" y="5382695"/>
                    <a:pt x="497412" y="5392299"/>
                    <a:pt x="473338" y="5392299"/>
                  </a:cubicBezTo>
                  <a:cubicBezTo>
                    <a:pt x="450870" y="5392299"/>
                    <a:pt x="433341" y="5383121"/>
                    <a:pt x="420753" y="5364765"/>
                  </a:cubicBezTo>
                  <a:cubicBezTo>
                    <a:pt x="408164" y="5346409"/>
                    <a:pt x="401870" y="5319878"/>
                    <a:pt x="401870" y="5285173"/>
                  </a:cubicBezTo>
                  <a:cubicBezTo>
                    <a:pt x="401870" y="5247056"/>
                    <a:pt x="408440" y="5218219"/>
                    <a:pt x="421580" y="5198659"/>
                  </a:cubicBezTo>
                  <a:cubicBezTo>
                    <a:pt x="434721" y="5179099"/>
                    <a:pt x="453678" y="5169319"/>
                    <a:pt x="478454" y="5169319"/>
                  </a:cubicBezTo>
                  <a:close/>
                  <a:moveTo>
                    <a:pt x="12062430" y="5157039"/>
                  </a:moveTo>
                  <a:lnTo>
                    <a:pt x="12077336" y="5157039"/>
                  </a:lnTo>
                  <a:lnTo>
                    <a:pt x="12077336" y="5380019"/>
                  </a:lnTo>
                  <a:lnTo>
                    <a:pt x="12042048" y="5380019"/>
                  </a:lnTo>
                  <a:lnTo>
                    <a:pt x="12042048" y="5200235"/>
                  </a:lnTo>
                  <a:cubicBezTo>
                    <a:pt x="12035660" y="5204798"/>
                    <a:pt x="12028790" y="5208677"/>
                    <a:pt x="12021439" y="5211871"/>
                  </a:cubicBezTo>
                  <a:cubicBezTo>
                    <a:pt x="12014087" y="5215065"/>
                    <a:pt x="12005696" y="5217879"/>
                    <a:pt x="11996266" y="5220313"/>
                  </a:cubicBezTo>
                  <a:lnTo>
                    <a:pt x="11996266" y="5190197"/>
                  </a:lnTo>
                  <a:cubicBezTo>
                    <a:pt x="12002147" y="5188270"/>
                    <a:pt x="12007826" y="5186242"/>
                    <a:pt x="12013301" y="5184113"/>
                  </a:cubicBezTo>
                  <a:cubicBezTo>
                    <a:pt x="12018777" y="5181984"/>
                    <a:pt x="12024177" y="5179600"/>
                    <a:pt x="12029500" y="5176964"/>
                  </a:cubicBezTo>
                  <a:cubicBezTo>
                    <a:pt x="12034824" y="5174328"/>
                    <a:pt x="12040198" y="5171387"/>
                    <a:pt x="12045623" y="5168142"/>
                  </a:cubicBezTo>
                  <a:cubicBezTo>
                    <a:pt x="12051048" y="5164897"/>
                    <a:pt x="12056650" y="5161196"/>
                    <a:pt x="12062430" y="5157039"/>
                  </a:cubicBezTo>
                  <a:close/>
                  <a:moveTo>
                    <a:pt x="11875949" y="5157039"/>
                  </a:moveTo>
                  <a:cubicBezTo>
                    <a:pt x="11923393" y="5157039"/>
                    <a:pt x="11947116" y="5193901"/>
                    <a:pt x="11947116" y="5267626"/>
                  </a:cubicBezTo>
                  <a:cubicBezTo>
                    <a:pt x="11947116" y="5304137"/>
                    <a:pt x="11940420" y="5331997"/>
                    <a:pt x="11927030" y="5351206"/>
                  </a:cubicBezTo>
                  <a:cubicBezTo>
                    <a:pt x="11913639" y="5370414"/>
                    <a:pt x="11894907" y="5380019"/>
                    <a:pt x="11870833" y="5380019"/>
                  </a:cubicBezTo>
                  <a:cubicBezTo>
                    <a:pt x="11848365" y="5380019"/>
                    <a:pt x="11830836" y="5370841"/>
                    <a:pt x="11818248" y="5352485"/>
                  </a:cubicBezTo>
                  <a:cubicBezTo>
                    <a:pt x="11805659" y="5334129"/>
                    <a:pt x="11799365" y="5307598"/>
                    <a:pt x="11799365" y="5272892"/>
                  </a:cubicBezTo>
                  <a:cubicBezTo>
                    <a:pt x="11799365" y="5234776"/>
                    <a:pt x="11805935" y="5205938"/>
                    <a:pt x="11819075" y="5186378"/>
                  </a:cubicBezTo>
                  <a:cubicBezTo>
                    <a:pt x="11832216" y="5166819"/>
                    <a:pt x="11851173" y="5157039"/>
                    <a:pt x="11875949" y="5157039"/>
                  </a:cubicBezTo>
                  <a:close/>
                  <a:moveTo>
                    <a:pt x="10143427" y="5157039"/>
                  </a:moveTo>
                  <a:lnTo>
                    <a:pt x="10158333" y="5157039"/>
                  </a:lnTo>
                  <a:lnTo>
                    <a:pt x="10158333" y="5380019"/>
                  </a:lnTo>
                  <a:lnTo>
                    <a:pt x="10123045" y="5380019"/>
                  </a:lnTo>
                  <a:lnTo>
                    <a:pt x="10123045" y="5200236"/>
                  </a:lnTo>
                  <a:cubicBezTo>
                    <a:pt x="10116657" y="5204799"/>
                    <a:pt x="10109787" y="5208677"/>
                    <a:pt x="10102436" y="5211872"/>
                  </a:cubicBezTo>
                  <a:cubicBezTo>
                    <a:pt x="10095084" y="5215066"/>
                    <a:pt x="10086693" y="5217879"/>
                    <a:pt x="10077263" y="5220313"/>
                  </a:cubicBezTo>
                  <a:lnTo>
                    <a:pt x="10077263" y="5190197"/>
                  </a:lnTo>
                  <a:cubicBezTo>
                    <a:pt x="10083144" y="5188271"/>
                    <a:pt x="10088823" y="5186243"/>
                    <a:pt x="10094298" y="5184113"/>
                  </a:cubicBezTo>
                  <a:cubicBezTo>
                    <a:pt x="10099774" y="5181984"/>
                    <a:pt x="10105174" y="5179601"/>
                    <a:pt x="10110497" y="5176964"/>
                  </a:cubicBezTo>
                  <a:cubicBezTo>
                    <a:pt x="10115821" y="5174328"/>
                    <a:pt x="10121195" y="5171387"/>
                    <a:pt x="10126620" y="5168143"/>
                  </a:cubicBezTo>
                  <a:cubicBezTo>
                    <a:pt x="10132045" y="5164898"/>
                    <a:pt x="10137647" y="5161197"/>
                    <a:pt x="10143427" y="5157039"/>
                  </a:cubicBezTo>
                  <a:close/>
                  <a:moveTo>
                    <a:pt x="9937869" y="5157039"/>
                  </a:moveTo>
                  <a:cubicBezTo>
                    <a:pt x="9985313" y="5157039"/>
                    <a:pt x="10009036" y="5193902"/>
                    <a:pt x="10009036" y="5267627"/>
                  </a:cubicBezTo>
                  <a:cubicBezTo>
                    <a:pt x="10009036" y="5304138"/>
                    <a:pt x="10002340" y="5331998"/>
                    <a:pt x="9988950" y="5351206"/>
                  </a:cubicBezTo>
                  <a:cubicBezTo>
                    <a:pt x="9975559" y="5370415"/>
                    <a:pt x="9956827" y="5380019"/>
                    <a:pt x="9932753" y="5380019"/>
                  </a:cubicBezTo>
                  <a:cubicBezTo>
                    <a:pt x="9910285" y="5380019"/>
                    <a:pt x="9892756" y="5370841"/>
                    <a:pt x="9880168" y="5352485"/>
                  </a:cubicBezTo>
                  <a:cubicBezTo>
                    <a:pt x="9867579" y="5334129"/>
                    <a:pt x="9861285" y="5307598"/>
                    <a:pt x="9861285" y="5272893"/>
                  </a:cubicBezTo>
                  <a:cubicBezTo>
                    <a:pt x="9861285" y="5234776"/>
                    <a:pt x="9867855" y="5205939"/>
                    <a:pt x="9880995" y="5186379"/>
                  </a:cubicBezTo>
                  <a:cubicBezTo>
                    <a:pt x="9894136" y="5166819"/>
                    <a:pt x="9913093" y="5157039"/>
                    <a:pt x="9937869" y="5157039"/>
                  </a:cubicBezTo>
                  <a:close/>
                  <a:moveTo>
                    <a:pt x="9254256" y="5157039"/>
                  </a:moveTo>
                  <a:lnTo>
                    <a:pt x="9269162" y="5157039"/>
                  </a:lnTo>
                  <a:lnTo>
                    <a:pt x="9269162" y="5380019"/>
                  </a:lnTo>
                  <a:lnTo>
                    <a:pt x="9233874" y="5380019"/>
                  </a:lnTo>
                  <a:lnTo>
                    <a:pt x="9233874" y="5200235"/>
                  </a:lnTo>
                  <a:cubicBezTo>
                    <a:pt x="9227486" y="5204798"/>
                    <a:pt x="9220616" y="5208677"/>
                    <a:pt x="9213265" y="5211871"/>
                  </a:cubicBezTo>
                  <a:cubicBezTo>
                    <a:pt x="9205913" y="5215065"/>
                    <a:pt x="9197522" y="5217879"/>
                    <a:pt x="9188092" y="5220313"/>
                  </a:cubicBezTo>
                  <a:lnTo>
                    <a:pt x="9188092" y="5190197"/>
                  </a:lnTo>
                  <a:cubicBezTo>
                    <a:pt x="9193973" y="5188270"/>
                    <a:pt x="9199652" y="5186242"/>
                    <a:pt x="9205127" y="5184113"/>
                  </a:cubicBezTo>
                  <a:cubicBezTo>
                    <a:pt x="9210603" y="5181984"/>
                    <a:pt x="9216003" y="5179600"/>
                    <a:pt x="9221326" y="5176964"/>
                  </a:cubicBezTo>
                  <a:cubicBezTo>
                    <a:pt x="9226650" y="5174328"/>
                    <a:pt x="9232024" y="5171387"/>
                    <a:pt x="9237449" y="5168142"/>
                  </a:cubicBezTo>
                  <a:cubicBezTo>
                    <a:pt x="9242874" y="5164897"/>
                    <a:pt x="9248476" y="5161196"/>
                    <a:pt x="9254256" y="5157039"/>
                  </a:cubicBezTo>
                  <a:close/>
                  <a:moveTo>
                    <a:pt x="7851748" y="5157039"/>
                  </a:moveTo>
                  <a:lnTo>
                    <a:pt x="7866654" y="5157039"/>
                  </a:lnTo>
                  <a:lnTo>
                    <a:pt x="7866654" y="5380019"/>
                  </a:lnTo>
                  <a:lnTo>
                    <a:pt x="7831366" y="5380019"/>
                  </a:lnTo>
                  <a:lnTo>
                    <a:pt x="7831366" y="5200236"/>
                  </a:lnTo>
                  <a:cubicBezTo>
                    <a:pt x="7824978" y="5204799"/>
                    <a:pt x="7818109" y="5208677"/>
                    <a:pt x="7810757" y="5211872"/>
                  </a:cubicBezTo>
                  <a:cubicBezTo>
                    <a:pt x="7803405" y="5215066"/>
                    <a:pt x="7795015" y="5217879"/>
                    <a:pt x="7785584" y="5220313"/>
                  </a:cubicBezTo>
                  <a:lnTo>
                    <a:pt x="7785584" y="5190197"/>
                  </a:lnTo>
                  <a:cubicBezTo>
                    <a:pt x="7791465" y="5188271"/>
                    <a:pt x="7797144" y="5186243"/>
                    <a:pt x="7802619" y="5184113"/>
                  </a:cubicBezTo>
                  <a:cubicBezTo>
                    <a:pt x="7808095" y="5181984"/>
                    <a:pt x="7813495" y="5179601"/>
                    <a:pt x="7818818" y="5176964"/>
                  </a:cubicBezTo>
                  <a:cubicBezTo>
                    <a:pt x="7824142" y="5174328"/>
                    <a:pt x="7829516" y="5171387"/>
                    <a:pt x="7834941" y="5168143"/>
                  </a:cubicBezTo>
                  <a:cubicBezTo>
                    <a:pt x="7840366" y="5164898"/>
                    <a:pt x="7845968" y="5161197"/>
                    <a:pt x="7851748" y="5157039"/>
                  </a:cubicBezTo>
                  <a:close/>
                  <a:moveTo>
                    <a:pt x="7015147" y="5157039"/>
                  </a:moveTo>
                  <a:lnTo>
                    <a:pt x="7030053" y="5157039"/>
                  </a:lnTo>
                  <a:lnTo>
                    <a:pt x="7030053" y="5380019"/>
                  </a:lnTo>
                  <a:lnTo>
                    <a:pt x="6994765" y="5380019"/>
                  </a:lnTo>
                  <a:lnTo>
                    <a:pt x="6994765" y="5200235"/>
                  </a:lnTo>
                  <a:cubicBezTo>
                    <a:pt x="6988377" y="5204798"/>
                    <a:pt x="6981508" y="5208677"/>
                    <a:pt x="6974156" y="5211871"/>
                  </a:cubicBezTo>
                  <a:cubicBezTo>
                    <a:pt x="6966804" y="5215065"/>
                    <a:pt x="6958414" y="5217879"/>
                    <a:pt x="6948983" y="5220313"/>
                  </a:cubicBezTo>
                  <a:lnTo>
                    <a:pt x="6948983" y="5190197"/>
                  </a:lnTo>
                  <a:cubicBezTo>
                    <a:pt x="6954864" y="5188270"/>
                    <a:pt x="6960543" y="5186242"/>
                    <a:pt x="6966018" y="5184113"/>
                  </a:cubicBezTo>
                  <a:cubicBezTo>
                    <a:pt x="6971494" y="5181984"/>
                    <a:pt x="6976894" y="5179600"/>
                    <a:pt x="6982217" y="5176964"/>
                  </a:cubicBezTo>
                  <a:cubicBezTo>
                    <a:pt x="6987541" y="5174328"/>
                    <a:pt x="6992915" y="5171387"/>
                    <a:pt x="6998340" y="5168142"/>
                  </a:cubicBezTo>
                  <a:cubicBezTo>
                    <a:pt x="7003765" y="5164897"/>
                    <a:pt x="7009367" y="5161196"/>
                    <a:pt x="7015147" y="5157039"/>
                  </a:cubicBezTo>
                  <a:close/>
                  <a:moveTo>
                    <a:pt x="6584323" y="5157039"/>
                  </a:moveTo>
                  <a:lnTo>
                    <a:pt x="6599229" y="5157039"/>
                  </a:lnTo>
                  <a:lnTo>
                    <a:pt x="6599229" y="5380019"/>
                  </a:lnTo>
                  <a:lnTo>
                    <a:pt x="6563941" y="5380019"/>
                  </a:lnTo>
                  <a:lnTo>
                    <a:pt x="6563941" y="5200235"/>
                  </a:lnTo>
                  <a:cubicBezTo>
                    <a:pt x="6557553" y="5204798"/>
                    <a:pt x="6550684" y="5208677"/>
                    <a:pt x="6543332" y="5211871"/>
                  </a:cubicBezTo>
                  <a:cubicBezTo>
                    <a:pt x="6535980" y="5215065"/>
                    <a:pt x="6527590" y="5217879"/>
                    <a:pt x="6518159" y="5220313"/>
                  </a:cubicBezTo>
                  <a:lnTo>
                    <a:pt x="6518159" y="5190197"/>
                  </a:lnTo>
                  <a:cubicBezTo>
                    <a:pt x="6524040" y="5188270"/>
                    <a:pt x="6529719" y="5186242"/>
                    <a:pt x="6535194" y="5184113"/>
                  </a:cubicBezTo>
                  <a:cubicBezTo>
                    <a:pt x="6540670" y="5181984"/>
                    <a:pt x="6546070" y="5179600"/>
                    <a:pt x="6551393" y="5176964"/>
                  </a:cubicBezTo>
                  <a:cubicBezTo>
                    <a:pt x="6556717" y="5174328"/>
                    <a:pt x="6562091" y="5171387"/>
                    <a:pt x="6567516" y="5168142"/>
                  </a:cubicBezTo>
                  <a:cubicBezTo>
                    <a:pt x="6572941" y="5164897"/>
                    <a:pt x="6578543" y="5161196"/>
                    <a:pt x="6584323" y="5157039"/>
                  </a:cubicBezTo>
                  <a:close/>
                  <a:moveTo>
                    <a:pt x="6367990" y="5157039"/>
                  </a:moveTo>
                  <a:cubicBezTo>
                    <a:pt x="6415435" y="5157039"/>
                    <a:pt x="6439157" y="5193901"/>
                    <a:pt x="6439157" y="5267626"/>
                  </a:cubicBezTo>
                  <a:cubicBezTo>
                    <a:pt x="6439157" y="5304137"/>
                    <a:pt x="6432462" y="5331997"/>
                    <a:pt x="6419071" y="5351206"/>
                  </a:cubicBezTo>
                  <a:cubicBezTo>
                    <a:pt x="6405680" y="5370414"/>
                    <a:pt x="6386948" y="5380019"/>
                    <a:pt x="6362874" y="5380019"/>
                  </a:cubicBezTo>
                  <a:cubicBezTo>
                    <a:pt x="6340406" y="5380019"/>
                    <a:pt x="6322877" y="5370841"/>
                    <a:pt x="6310289" y="5352485"/>
                  </a:cubicBezTo>
                  <a:cubicBezTo>
                    <a:pt x="6297700" y="5334129"/>
                    <a:pt x="6291406" y="5307598"/>
                    <a:pt x="6291406" y="5272892"/>
                  </a:cubicBezTo>
                  <a:cubicBezTo>
                    <a:pt x="6291406" y="5234776"/>
                    <a:pt x="6297976" y="5205938"/>
                    <a:pt x="6311116" y="5186378"/>
                  </a:cubicBezTo>
                  <a:cubicBezTo>
                    <a:pt x="6324257" y="5166819"/>
                    <a:pt x="6343214" y="5157039"/>
                    <a:pt x="6367990" y="5157039"/>
                  </a:cubicBezTo>
                  <a:close/>
                  <a:moveTo>
                    <a:pt x="5975659" y="5157039"/>
                  </a:moveTo>
                  <a:lnTo>
                    <a:pt x="5990568" y="5157039"/>
                  </a:lnTo>
                  <a:lnTo>
                    <a:pt x="5990568" y="5380019"/>
                  </a:lnTo>
                  <a:lnTo>
                    <a:pt x="5955278" y="5380019"/>
                  </a:lnTo>
                  <a:lnTo>
                    <a:pt x="5955278" y="5200235"/>
                  </a:lnTo>
                  <a:cubicBezTo>
                    <a:pt x="5948891" y="5204798"/>
                    <a:pt x="5942020" y="5208677"/>
                    <a:pt x="5934669" y="5211871"/>
                  </a:cubicBezTo>
                  <a:cubicBezTo>
                    <a:pt x="5927317" y="5215065"/>
                    <a:pt x="5918927" y="5217879"/>
                    <a:pt x="5909498" y="5220313"/>
                  </a:cubicBezTo>
                  <a:lnTo>
                    <a:pt x="5909498" y="5190197"/>
                  </a:lnTo>
                  <a:cubicBezTo>
                    <a:pt x="5915377" y="5188270"/>
                    <a:pt x="5921055" y="5186242"/>
                    <a:pt x="5926531" y="5184113"/>
                  </a:cubicBezTo>
                  <a:cubicBezTo>
                    <a:pt x="5932007" y="5181984"/>
                    <a:pt x="5937407" y="5179600"/>
                    <a:pt x="5942730" y="5176964"/>
                  </a:cubicBezTo>
                  <a:cubicBezTo>
                    <a:pt x="5948054" y="5174328"/>
                    <a:pt x="5953429" y="5171387"/>
                    <a:pt x="5958852" y="5168142"/>
                  </a:cubicBezTo>
                  <a:cubicBezTo>
                    <a:pt x="5964279" y="5164897"/>
                    <a:pt x="5969881" y="5161196"/>
                    <a:pt x="5975659" y="5157039"/>
                  </a:cubicBezTo>
                  <a:close/>
                  <a:moveTo>
                    <a:pt x="5090447" y="5157039"/>
                  </a:moveTo>
                  <a:cubicBezTo>
                    <a:pt x="5137892" y="5157039"/>
                    <a:pt x="5161614" y="5193901"/>
                    <a:pt x="5161614" y="5267626"/>
                  </a:cubicBezTo>
                  <a:cubicBezTo>
                    <a:pt x="5161614" y="5304137"/>
                    <a:pt x="5154919" y="5331997"/>
                    <a:pt x="5141528" y="5351206"/>
                  </a:cubicBezTo>
                  <a:cubicBezTo>
                    <a:pt x="5128136" y="5370414"/>
                    <a:pt x="5109405" y="5380019"/>
                    <a:pt x="5085331" y="5380019"/>
                  </a:cubicBezTo>
                  <a:cubicBezTo>
                    <a:pt x="5062862" y="5380019"/>
                    <a:pt x="5045334" y="5370841"/>
                    <a:pt x="5032746" y="5352485"/>
                  </a:cubicBezTo>
                  <a:cubicBezTo>
                    <a:pt x="5020157" y="5334129"/>
                    <a:pt x="5013863" y="5307598"/>
                    <a:pt x="5013863" y="5272892"/>
                  </a:cubicBezTo>
                  <a:cubicBezTo>
                    <a:pt x="5013863" y="5234776"/>
                    <a:pt x="5020435" y="5205938"/>
                    <a:pt x="5033573" y="5186378"/>
                  </a:cubicBezTo>
                  <a:cubicBezTo>
                    <a:pt x="5046714" y="5166819"/>
                    <a:pt x="5065671" y="5157039"/>
                    <a:pt x="5090447" y="5157039"/>
                  </a:cubicBezTo>
                  <a:close/>
                  <a:moveTo>
                    <a:pt x="4694968" y="5157039"/>
                  </a:moveTo>
                  <a:lnTo>
                    <a:pt x="4709876" y="5157039"/>
                  </a:lnTo>
                  <a:lnTo>
                    <a:pt x="4709876" y="5380019"/>
                  </a:lnTo>
                  <a:lnTo>
                    <a:pt x="4674589" y="5380019"/>
                  </a:lnTo>
                  <a:lnTo>
                    <a:pt x="4674589" y="5200235"/>
                  </a:lnTo>
                  <a:cubicBezTo>
                    <a:pt x="4668200" y="5204798"/>
                    <a:pt x="4661331" y="5208677"/>
                    <a:pt x="4653978" y="5211871"/>
                  </a:cubicBezTo>
                  <a:cubicBezTo>
                    <a:pt x="4646628" y="5215065"/>
                    <a:pt x="4638236" y="5217879"/>
                    <a:pt x="4628805" y="5220313"/>
                  </a:cubicBezTo>
                  <a:lnTo>
                    <a:pt x="4628805" y="5190197"/>
                  </a:lnTo>
                  <a:cubicBezTo>
                    <a:pt x="4634687" y="5188270"/>
                    <a:pt x="4640364" y="5186242"/>
                    <a:pt x="4645841" y="5184113"/>
                  </a:cubicBezTo>
                  <a:cubicBezTo>
                    <a:pt x="4651316" y="5181984"/>
                    <a:pt x="4656717" y="5179600"/>
                    <a:pt x="4662040" y="5176964"/>
                  </a:cubicBezTo>
                  <a:cubicBezTo>
                    <a:pt x="4667363" y="5174328"/>
                    <a:pt x="4672738" y="5171387"/>
                    <a:pt x="4678162" y="5168142"/>
                  </a:cubicBezTo>
                  <a:cubicBezTo>
                    <a:pt x="4683588" y="5164897"/>
                    <a:pt x="4689190" y="5161196"/>
                    <a:pt x="4694968" y="5157039"/>
                  </a:cubicBezTo>
                  <a:close/>
                  <a:moveTo>
                    <a:pt x="3158682" y="5157039"/>
                  </a:moveTo>
                  <a:lnTo>
                    <a:pt x="3173587" y="5157039"/>
                  </a:lnTo>
                  <a:lnTo>
                    <a:pt x="3173587" y="5380019"/>
                  </a:lnTo>
                  <a:lnTo>
                    <a:pt x="3138299" y="5380019"/>
                  </a:lnTo>
                  <a:lnTo>
                    <a:pt x="3138299" y="5200236"/>
                  </a:lnTo>
                  <a:cubicBezTo>
                    <a:pt x="3131912" y="5204799"/>
                    <a:pt x="3125042" y="5208677"/>
                    <a:pt x="3117690" y="5211872"/>
                  </a:cubicBezTo>
                  <a:cubicBezTo>
                    <a:pt x="3110339" y="5215066"/>
                    <a:pt x="3101948" y="5217879"/>
                    <a:pt x="3092517" y="5220313"/>
                  </a:cubicBezTo>
                  <a:lnTo>
                    <a:pt x="3092517" y="5190197"/>
                  </a:lnTo>
                  <a:cubicBezTo>
                    <a:pt x="3098398" y="5188271"/>
                    <a:pt x="3104077" y="5186243"/>
                    <a:pt x="3109553" y="5184113"/>
                  </a:cubicBezTo>
                  <a:cubicBezTo>
                    <a:pt x="3115028" y="5181984"/>
                    <a:pt x="3120428" y="5179601"/>
                    <a:pt x="3125751" y="5176964"/>
                  </a:cubicBezTo>
                  <a:cubicBezTo>
                    <a:pt x="3131075" y="5174328"/>
                    <a:pt x="3136449" y="5171387"/>
                    <a:pt x="3141875" y="5168143"/>
                  </a:cubicBezTo>
                  <a:cubicBezTo>
                    <a:pt x="3147300" y="5164898"/>
                    <a:pt x="3152901" y="5161197"/>
                    <a:pt x="3158682" y="5157039"/>
                  </a:cubicBezTo>
                  <a:close/>
                  <a:moveTo>
                    <a:pt x="2489154" y="5157039"/>
                  </a:moveTo>
                  <a:lnTo>
                    <a:pt x="2504060" y="5157039"/>
                  </a:lnTo>
                  <a:lnTo>
                    <a:pt x="2504060" y="5380019"/>
                  </a:lnTo>
                  <a:lnTo>
                    <a:pt x="2468772" y="5380019"/>
                  </a:lnTo>
                  <a:lnTo>
                    <a:pt x="2468772" y="5200236"/>
                  </a:lnTo>
                  <a:cubicBezTo>
                    <a:pt x="2462385" y="5204799"/>
                    <a:pt x="2455514" y="5208677"/>
                    <a:pt x="2448163" y="5211872"/>
                  </a:cubicBezTo>
                  <a:cubicBezTo>
                    <a:pt x="2440812" y="5215066"/>
                    <a:pt x="2432420" y="5217879"/>
                    <a:pt x="2422990" y="5220313"/>
                  </a:cubicBezTo>
                  <a:lnTo>
                    <a:pt x="2422990" y="5190197"/>
                  </a:lnTo>
                  <a:cubicBezTo>
                    <a:pt x="2428871" y="5188271"/>
                    <a:pt x="2434551" y="5186243"/>
                    <a:pt x="2440025" y="5184113"/>
                  </a:cubicBezTo>
                  <a:cubicBezTo>
                    <a:pt x="2445502" y="5181984"/>
                    <a:pt x="2450900" y="5179601"/>
                    <a:pt x="2456224" y="5176964"/>
                  </a:cubicBezTo>
                  <a:cubicBezTo>
                    <a:pt x="2461549" y="5174328"/>
                    <a:pt x="2466922" y="5171387"/>
                    <a:pt x="2472346" y="5168143"/>
                  </a:cubicBezTo>
                  <a:cubicBezTo>
                    <a:pt x="2477772" y="5164898"/>
                    <a:pt x="2483374" y="5161197"/>
                    <a:pt x="2489154" y="5157039"/>
                  </a:cubicBezTo>
                  <a:close/>
                  <a:moveTo>
                    <a:pt x="1599916" y="5157039"/>
                  </a:moveTo>
                  <a:lnTo>
                    <a:pt x="1614822" y="5157039"/>
                  </a:lnTo>
                  <a:lnTo>
                    <a:pt x="1614822" y="5380019"/>
                  </a:lnTo>
                  <a:lnTo>
                    <a:pt x="1579534" y="5380019"/>
                  </a:lnTo>
                  <a:lnTo>
                    <a:pt x="1579534" y="5200236"/>
                  </a:lnTo>
                  <a:cubicBezTo>
                    <a:pt x="1573146" y="5204799"/>
                    <a:pt x="1566276" y="5208677"/>
                    <a:pt x="1558925" y="5211872"/>
                  </a:cubicBezTo>
                  <a:cubicBezTo>
                    <a:pt x="1551573" y="5215066"/>
                    <a:pt x="1543182" y="5217879"/>
                    <a:pt x="1533752" y="5220313"/>
                  </a:cubicBezTo>
                  <a:lnTo>
                    <a:pt x="1533752" y="5190197"/>
                  </a:lnTo>
                  <a:cubicBezTo>
                    <a:pt x="1539633" y="5188271"/>
                    <a:pt x="1545312" y="5186243"/>
                    <a:pt x="1550787" y="5184113"/>
                  </a:cubicBezTo>
                  <a:cubicBezTo>
                    <a:pt x="1556263" y="5181984"/>
                    <a:pt x="1561663" y="5179601"/>
                    <a:pt x="1566986" y="5176964"/>
                  </a:cubicBezTo>
                  <a:cubicBezTo>
                    <a:pt x="1572310" y="5174328"/>
                    <a:pt x="1577684" y="5171387"/>
                    <a:pt x="1583109" y="5168143"/>
                  </a:cubicBezTo>
                  <a:cubicBezTo>
                    <a:pt x="1588534" y="5164898"/>
                    <a:pt x="1594136" y="5161197"/>
                    <a:pt x="1599916" y="5157039"/>
                  </a:cubicBezTo>
                  <a:close/>
                  <a:moveTo>
                    <a:pt x="11874294" y="4871804"/>
                  </a:moveTo>
                  <a:cubicBezTo>
                    <a:pt x="11848114" y="4871804"/>
                    <a:pt x="11835024" y="4900641"/>
                    <a:pt x="11835024" y="4958317"/>
                  </a:cubicBezTo>
                  <a:cubicBezTo>
                    <a:pt x="11835024" y="5012282"/>
                    <a:pt x="11847863" y="5039264"/>
                    <a:pt x="11873542" y="5039264"/>
                  </a:cubicBezTo>
                  <a:cubicBezTo>
                    <a:pt x="11898818" y="5039264"/>
                    <a:pt x="11911457" y="5011830"/>
                    <a:pt x="11911457" y="4956963"/>
                  </a:cubicBezTo>
                  <a:cubicBezTo>
                    <a:pt x="11911457" y="4900190"/>
                    <a:pt x="11899069" y="4871804"/>
                    <a:pt x="11874294" y="4871804"/>
                  </a:cubicBezTo>
                  <a:close/>
                  <a:moveTo>
                    <a:pt x="11189148" y="4871804"/>
                  </a:moveTo>
                  <a:cubicBezTo>
                    <a:pt x="11162968" y="4871804"/>
                    <a:pt x="11149878" y="4900642"/>
                    <a:pt x="11149878" y="4958318"/>
                  </a:cubicBezTo>
                  <a:cubicBezTo>
                    <a:pt x="11149878" y="5012282"/>
                    <a:pt x="11162717" y="5039265"/>
                    <a:pt x="11188396" y="5039265"/>
                  </a:cubicBezTo>
                  <a:cubicBezTo>
                    <a:pt x="11213672" y="5039265"/>
                    <a:pt x="11226311" y="5011831"/>
                    <a:pt x="11226311" y="4956964"/>
                  </a:cubicBezTo>
                  <a:cubicBezTo>
                    <a:pt x="11226311" y="4900191"/>
                    <a:pt x="11213923" y="4871804"/>
                    <a:pt x="11189148" y="4871804"/>
                  </a:cubicBezTo>
                  <a:close/>
                  <a:moveTo>
                    <a:pt x="9936214" y="4871804"/>
                  </a:moveTo>
                  <a:cubicBezTo>
                    <a:pt x="9910034" y="4871804"/>
                    <a:pt x="9896944" y="4900641"/>
                    <a:pt x="9896944" y="4958317"/>
                  </a:cubicBezTo>
                  <a:cubicBezTo>
                    <a:pt x="9896944" y="5012282"/>
                    <a:pt x="9909783" y="5039264"/>
                    <a:pt x="9935462" y="5039264"/>
                  </a:cubicBezTo>
                  <a:cubicBezTo>
                    <a:pt x="9960738" y="5039264"/>
                    <a:pt x="9973377" y="5011830"/>
                    <a:pt x="9973377" y="4956963"/>
                  </a:cubicBezTo>
                  <a:cubicBezTo>
                    <a:pt x="9973377" y="4900190"/>
                    <a:pt x="9960989" y="4871804"/>
                    <a:pt x="9936214" y="4871804"/>
                  </a:cubicBezTo>
                  <a:close/>
                  <a:moveTo>
                    <a:pt x="6366335" y="4871804"/>
                  </a:moveTo>
                  <a:cubicBezTo>
                    <a:pt x="6340155" y="4871804"/>
                    <a:pt x="6327065" y="4900641"/>
                    <a:pt x="6327065" y="4958317"/>
                  </a:cubicBezTo>
                  <a:cubicBezTo>
                    <a:pt x="6327065" y="5012282"/>
                    <a:pt x="6339904" y="5039264"/>
                    <a:pt x="6365583" y="5039264"/>
                  </a:cubicBezTo>
                  <a:cubicBezTo>
                    <a:pt x="6390860" y="5039264"/>
                    <a:pt x="6403498" y="5011830"/>
                    <a:pt x="6403498" y="4956963"/>
                  </a:cubicBezTo>
                  <a:cubicBezTo>
                    <a:pt x="6403498" y="4900190"/>
                    <a:pt x="6391110" y="4871804"/>
                    <a:pt x="6366335" y="4871804"/>
                  </a:cubicBezTo>
                  <a:close/>
                  <a:moveTo>
                    <a:pt x="5088792" y="4871804"/>
                  </a:moveTo>
                  <a:cubicBezTo>
                    <a:pt x="5062613" y="4871804"/>
                    <a:pt x="5049522" y="4900641"/>
                    <a:pt x="5049522" y="4958317"/>
                  </a:cubicBezTo>
                  <a:cubicBezTo>
                    <a:pt x="5049522" y="5012282"/>
                    <a:pt x="5062362" y="5039264"/>
                    <a:pt x="5088041" y="5039264"/>
                  </a:cubicBezTo>
                  <a:cubicBezTo>
                    <a:pt x="5113318" y="5039264"/>
                    <a:pt x="5125957" y="5011830"/>
                    <a:pt x="5125957" y="4956963"/>
                  </a:cubicBezTo>
                  <a:cubicBezTo>
                    <a:pt x="5125957" y="4900190"/>
                    <a:pt x="5113567" y="4871804"/>
                    <a:pt x="5088792" y="4871804"/>
                  </a:cubicBezTo>
                  <a:close/>
                  <a:moveTo>
                    <a:pt x="3614881" y="4871804"/>
                  </a:moveTo>
                  <a:cubicBezTo>
                    <a:pt x="3588702" y="4871804"/>
                    <a:pt x="3575611" y="4900642"/>
                    <a:pt x="3575611" y="4958318"/>
                  </a:cubicBezTo>
                  <a:cubicBezTo>
                    <a:pt x="3575611" y="5012282"/>
                    <a:pt x="3588451" y="5039265"/>
                    <a:pt x="3614130" y="5039265"/>
                  </a:cubicBezTo>
                  <a:cubicBezTo>
                    <a:pt x="3639407" y="5039265"/>
                    <a:pt x="3652044" y="5011831"/>
                    <a:pt x="3652044" y="4956964"/>
                  </a:cubicBezTo>
                  <a:cubicBezTo>
                    <a:pt x="3652044" y="4900191"/>
                    <a:pt x="3639656" y="4871804"/>
                    <a:pt x="3614881" y="4871804"/>
                  </a:cubicBezTo>
                  <a:close/>
                  <a:moveTo>
                    <a:pt x="12062430" y="4843969"/>
                  </a:moveTo>
                  <a:lnTo>
                    <a:pt x="12077336" y="4843969"/>
                  </a:lnTo>
                  <a:lnTo>
                    <a:pt x="12077336" y="5066949"/>
                  </a:lnTo>
                  <a:lnTo>
                    <a:pt x="12042048" y="5066949"/>
                  </a:lnTo>
                  <a:lnTo>
                    <a:pt x="12042048" y="4887165"/>
                  </a:lnTo>
                  <a:cubicBezTo>
                    <a:pt x="12035660" y="4891728"/>
                    <a:pt x="12028790" y="4895607"/>
                    <a:pt x="12021439" y="4898801"/>
                  </a:cubicBezTo>
                  <a:cubicBezTo>
                    <a:pt x="12014087" y="4901995"/>
                    <a:pt x="12005696" y="4904809"/>
                    <a:pt x="11996266" y="4907243"/>
                  </a:cubicBezTo>
                  <a:lnTo>
                    <a:pt x="11996266" y="4877127"/>
                  </a:lnTo>
                  <a:cubicBezTo>
                    <a:pt x="12002147" y="4875200"/>
                    <a:pt x="12007826" y="4873172"/>
                    <a:pt x="12013301" y="4871043"/>
                  </a:cubicBezTo>
                  <a:cubicBezTo>
                    <a:pt x="12018777" y="4868914"/>
                    <a:pt x="12024177" y="4866530"/>
                    <a:pt x="12029500" y="4863894"/>
                  </a:cubicBezTo>
                  <a:cubicBezTo>
                    <a:pt x="12034824" y="4861258"/>
                    <a:pt x="12040198" y="4858317"/>
                    <a:pt x="12045623" y="4855072"/>
                  </a:cubicBezTo>
                  <a:cubicBezTo>
                    <a:pt x="12051048" y="4851827"/>
                    <a:pt x="12056650" y="4848126"/>
                    <a:pt x="12062430" y="4843969"/>
                  </a:cubicBezTo>
                  <a:close/>
                  <a:moveTo>
                    <a:pt x="11875949" y="4843969"/>
                  </a:moveTo>
                  <a:cubicBezTo>
                    <a:pt x="11923393" y="4843969"/>
                    <a:pt x="11947116" y="4880831"/>
                    <a:pt x="11947116" y="4954556"/>
                  </a:cubicBezTo>
                  <a:cubicBezTo>
                    <a:pt x="11947116" y="4991067"/>
                    <a:pt x="11940420" y="5018927"/>
                    <a:pt x="11927030" y="5038136"/>
                  </a:cubicBezTo>
                  <a:cubicBezTo>
                    <a:pt x="11913639" y="5057344"/>
                    <a:pt x="11894907" y="5066949"/>
                    <a:pt x="11870833" y="5066949"/>
                  </a:cubicBezTo>
                  <a:cubicBezTo>
                    <a:pt x="11848365" y="5066949"/>
                    <a:pt x="11830836" y="5057771"/>
                    <a:pt x="11818248" y="5039415"/>
                  </a:cubicBezTo>
                  <a:cubicBezTo>
                    <a:pt x="11805659" y="5021059"/>
                    <a:pt x="11799365" y="4994528"/>
                    <a:pt x="11799365" y="4959822"/>
                  </a:cubicBezTo>
                  <a:cubicBezTo>
                    <a:pt x="11799365" y="4921706"/>
                    <a:pt x="11805935" y="4892868"/>
                    <a:pt x="11819075" y="4873308"/>
                  </a:cubicBezTo>
                  <a:cubicBezTo>
                    <a:pt x="11832216" y="4853749"/>
                    <a:pt x="11851173" y="4843969"/>
                    <a:pt x="11875949" y="4843969"/>
                  </a:cubicBezTo>
                  <a:close/>
                  <a:moveTo>
                    <a:pt x="11190803" y="4843969"/>
                  </a:moveTo>
                  <a:cubicBezTo>
                    <a:pt x="11238247" y="4843969"/>
                    <a:pt x="11261970" y="4880832"/>
                    <a:pt x="11261970" y="4954557"/>
                  </a:cubicBezTo>
                  <a:cubicBezTo>
                    <a:pt x="11261970" y="4991068"/>
                    <a:pt x="11255274" y="5018928"/>
                    <a:pt x="11241884" y="5038136"/>
                  </a:cubicBezTo>
                  <a:cubicBezTo>
                    <a:pt x="11228493" y="5057345"/>
                    <a:pt x="11209761" y="5066949"/>
                    <a:pt x="11185687" y="5066949"/>
                  </a:cubicBezTo>
                  <a:cubicBezTo>
                    <a:pt x="11163219" y="5066949"/>
                    <a:pt x="11145690" y="5057771"/>
                    <a:pt x="11133102" y="5039415"/>
                  </a:cubicBezTo>
                  <a:cubicBezTo>
                    <a:pt x="11120513" y="5021059"/>
                    <a:pt x="11114219" y="4994528"/>
                    <a:pt x="11114219" y="4959823"/>
                  </a:cubicBezTo>
                  <a:cubicBezTo>
                    <a:pt x="11114219" y="4921706"/>
                    <a:pt x="11120789" y="4892869"/>
                    <a:pt x="11133929" y="4873309"/>
                  </a:cubicBezTo>
                  <a:cubicBezTo>
                    <a:pt x="11147070" y="4853749"/>
                    <a:pt x="11166027" y="4843969"/>
                    <a:pt x="11190803" y="4843969"/>
                  </a:cubicBezTo>
                  <a:close/>
                  <a:moveTo>
                    <a:pt x="10143427" y="4843969"/>
                  </a:moveTo>
                  <a:lnTo>
                    <a:pt x="10158333" y="4843969"/>
                  </a:lnTo>
                  <a:lnTo>
                    <a:pt x="10158333" y="5066949"/>
                  </a:lnTo>
                  <a:lnTo>
                    <a:pt x="10123045" y="5066949"/>
                  </a:lnTo>
                  <a:lnTo>
                    <a:pt x="10123045" y="4887165"/>
                  </a:lnTo>
                  <a:cubicBezTo>
                    <a:pt x="10116657" y="4891728"/>
                    <a:pt x="10109787" y="4895607"/>
                    <a:pt x="10102436" y="4898801"/>
                  </a:cubicBezTo>
                  <a:cubicBezTo>
                    <a:pt x="10095084" y="4901995"/>
                    <a:pt x="10086693" y="4904809"/>
                    <a:pt x="10077263" y="4907243"/>
                  </a:cubicBezTo>
                  <a:lnTo>
                    <a:pt x="10077263" y="4877127"/>
                  </a:lnTo>
                  <a:cubicBezTo>
                    <a:pt x="10083144" y="4875200"/>
                    <a:pt x="10088823" y="4873172"/>
                    <a:pt x="10094298" y="4871043"/>
                  </a:cubicBezTo>
                  <a:cubicBezTo>
                    <a:pt x="10099774" y="4868914"/>
                    <a:pt x="10105174" y="4866530"/>
                    <a:pt x="10110497" y="4863894"/>
                  </a:cubicBezTo>
                  <a:cubicBezTo>
                    <a:pt x="10115821" y="4861258"/>
                    <a:pt x="10121195" y="4858317"/>
                    <a:pt x="10126620" y="4855072"/>
                  </a:cubicBezTo>
                  <a:cubicBezTo>
                    <a:pt x="10132045" y="4851827"/>
                    <a:pt x="10137647" y="4848126"/>
                    <a:pt x="10143427" y="4843969"/>
                  </a:cubicBezTo>
                  <a:close/>
                  <a:moveTo>
                    <a:pt x="9937869" y="4843969"/>
                  </a:moveTo>
                  <a:cubicBezTo>
                    <a:pt x="9985313" y="4843969"/>
                    <a:pt x="10009036" y="4880831"/>
                    <a:pt x="10009036" y="4954556"/>
                  </a:cubicBezTo>
                  <a:cubicBezTo>
                    <a:pt x="10009036" y="4991067"/>
                    <a:pt x="10002340" y="5018927"/>
                    <a:pt x="9988950" y="5038136"/>
                  </a:cubicBezTo>
                  <a:cubicBezTo>
                    <a:pt x="9975559" y="5057344"/>
                    <a:pt x="9956827" y="5066949"/>
                    <a:pt x="9932753" y="5066949"/>
                  </a:cubicBezTo>
                  <a:cubicBezTo>
                    <a:pt x="9910285" y="5066949"/>
                    <a:pt x="9892756" y="5057771"/>
                    <a:pt x="9880168" y="5039415"/>
                  </a:cubicBezTo>
                  <a:cubicBezTo>
                    <a:pt x="9867579" y="5021059"/>
                    <a:pt x="9861285" y="4994528"/>
                    <a:pt x="9861285" y="4959822"/>
                  </a:cubicBezTo>
                  <a:cubicBezTo>
                    <a:pt x="9861285" y="4921706"/>
                    <a:pt x="9867855" y="4892868"/>
                    <a:pt x="9880995" y="4873308"/>
                  </a:cubicBezTo>
                  <a:cubicBezTo>
                    <a:pt x="9894136" y="4853749"/>
                    <a:pt x="9913093" y="4843969"/>
                    <a:pt x="9937869" y="4843969"/>
                  </a:cubicBezTo>
                  <a:close/>
                  <a:moveTo>
                    <a:pt x="9557012" y="4843969"/>
                  </a:moveTo>
                  <a:lnTo>
                    <a:pt x="9571918" y="4843969"/>
                  </a:lnTo>
                  <a:lnTo>
                    <a:pt x="9571918" y="5066949"/>
                  </a:lnTo>
                  <a:lnTo>
                    <a:pt x="9536630" y="5066949"/>
                  </a:lnTo>
                  <a:lnTo>
                    <a:pt x="9536630" y="4887165"/>
                  </a:lnTo>
                  <a:cubicBezTo>
                    <a:pt x="9530242" y="4891728"/>
                    <a:pt x="9523372" y="4895607"/>
                    <a:pt x="9516021" y="4898801"/>
                  </a:cubicBezTo>
                  <a:cubicBezTo>
                    <a:pt x="9508669" y="4901995"/>
                    <a:pt x="9500278" y="4904809"/>
                    <a:pt x="9490848" y="4907243"/>
                  </a:cubicBezTo>
                  <a:lnTo>
                    <a:pt x="9490848" y="4877127"/>
                  </a:lnTo>
                  <a:cubicBezTo>
                    <a:pt x="9496729" y="4875200"/>
                    <a:pt x="9502408" y="4873172"/>
                    <a:pt x="9507883" y="4871043"/>
                  </a:cubicBezTo>
                  <a:cubicBezTo>
                    <a:pt x="9513359" y="4868914"/>
                    <a:pt x="9518759" y="4866530"/>
                    <a:pt x="9524082" y="4863894"/>
                  </a:cubicBezTo>
                  <a:cubicBezTo>
                    <a:pt x="9529406" y="4861258"/>
                    <a:pt x="9534780" y="4858317"/>
                    <a:pt x="9540205" y="4855072"/>
                  </a:cubicBezTo>
                  <a:cubicBezTo>
                    <a:pt x="9545630" y="4851827"/>
                    <a:pt x="9551232" y="4848126"/>
                    <a:pt x="9557012" y="4843969"/>
                  </a:cubicBezTo>
                  <a:close/>
                  <a:moveTo>
                    <a:pt x="9254256" y="4843969"/>
                  </a:moveTo>
                  <a:lnTo>
                    <a:pt x="9269162" y="4843969"/>
                  </a:lnTo>
                  <a:lnTo>
                    <a:pt x="9269162" y="5066949"/>
                  </a:lnTo>
                  <a:lnTo>
                    <a:pt x="9233874" y="5066949"/>
                  </a:lnTo>
                  <a:lnTo>
                    <a:pt x="9233874" y="4887165"/>
                  </a:lnTo>
                  <a:cubicBezTo>
                    <a:pt x="9227486" y="4891728"/>
                    <a:pt x="9220616" y="4895607"/>
                    <a:pt x="9213265" y="4898801"/>
                  </a:cubicBezTo>
                  <a:cubicBezTo>
                    <a:pt x="9205913" y="4901995"/>
                    <a:pt x="9197522" y="4904809"/>
                    <a:pt x="9188092" y="4907243"/>
                  </a:cubicBezTo>
                  <a:lnTo>
                    <a:pt x="9188092" y="4877127"/>
                  </a:lnTo>
                  <a:cubicBezTo>
                    <a:pt x="9193973" y="4875200"/>
                    <a:pt x="9199652" y="4873172"/>
                    <a:pt x="9205127" y="4871043"/>
                  </a:cubicBezTo>
                  <a:cubicBezTo>
                    <a:pt x="9210603" y="4868914"/>
                    <a:pt x="9216003" y="4866530"/>
                    <a:pt x="9221326" y="4863894"/>
                  </a:cubicBezTo>
                  <a:cubicBezTo>
                    <a:pt x="9226650" y="4861258"/>
                    <a:pt x="9232024" y="4858317"/>
                    <a:pt x="9237449" y="4855072"/>
                  </a:cubicBezTo>
                  <a:cubicBezTo>
                    <a:pt x="9242874" y="4851827"/>
                    <a:pt x="9248476" y="4848126"/>
                    <a:pt x="9254256" y="4843969"/>
                  </a:cubicBezTo>
                  <a:close/>
                  <a:moveTo>
                    <a:pt x="7851748" y="4843969"/>
                  </a:moveTo>
                  <a:lnTo>
                    <a:pt x="7866654" y="4843969"/>
                  </a:lnTo>
                  <a:lnTo>
                    <a:pt x="7866654" y="5066949"/>
                  </a:lnTo>
                  <a:lnTo>
                    <a:pt x="7831366" y="5066949"/>
                  </a:lnTo>
                  <a:lnTo>
                    <a:pt x="7831366" y="4887165"/>
                  </a:lnTo>
                  <a:cubicBezTo>
                    <a:pt x="7824978" y="4891728"/>
                    <a:pt x="7818109" y="4895607"/>
                    <a:pt x="7810757" y="4898801"/>
                  </a:cubicBezTo>
                  <a:cubicBezTo>
                    <a:pt x="7803405" y="4901995"/>
                    <a:pt x="7795015" y="4904809"/>
                    <a:pt x="7785584" y="4907243"/>
                  </a:cubicBezTo>
                  <a:lnTo>
                    <a:pt x="7785584" y="4877127"/>
                  </a:lnTo>
                  <a:cubicBezTo>
                    <a:pt x="7791465" y="4875200"/>
                    <a:pt x="7797144" y="4873172"/>
                    <a:pt x="7802619" y="4871043"/>
                  </a:cubicBezTo>
                  <a:cubicBezTo>
                    <a:pt x="7808095" y="4868914"/>
                    <a:pt x="7813495" y="4866530"/>
                    <a:pt x="7818818" y="4863894"/>
                  </a:cubicBezTo>
                  <a:cubicBezTo>
                    <a:pt x="7824142" y="4861258"/>
                    <a:pt x="7829516" y="4858317"/>
                    <a:pt x="7834941" y="4855072"/>
                  </a:cubicBezTo>
                  <a:cubicBezTo>
                    <a:pt x="7840366" y="4851827"/>
                    <a:pt x="7845968" y="4848126"/>
                    <a:pt x="7851748" y="4843969"/>
                  </a:cubicBezTo>
                  <a:close/>
                  <a:moveTo>
                    <a:pt x="7015147" y="4843969"/>
                  </a:moveTo>
                  <a:lnTo>
                    <a:pt x="7030053" y="4843969"/>
                  </a:lnTo>
                  <a:lnTo>
                    <a:pt x="7030053" y="5066949"/>
                  </a:lnTo>
                  <a:lnTo>
                    <a:pt x="6994765" y="5066949"/>
                  </a:lnTo>
                  <a:lnTo>
                    <a:pt x="6994765" y="4887165"/>
                  </a:lnTo>
                  <a:cubicBezTo>
                    <a:pt x="6988377" y="4891728"/>
                    <a:pt x="6981508" y="4895607"/>
                    <a:pt x="6974156" y="4898801"/>
                  </a:cubicBezTo>
                  <a:cubicBezTo>
                    <a:pt x="6966804" y="4901995"/>
                    <a:pt x="6958414" y="4904809"/>
                    <a:pt x="6948983" y="4907243"/>
                  </a:cubicBezTo>
                  <a:lnTo>
                    <a:pt x="6948983" y="4877127"/>
                  </a:lnTo>
                  <a:cubicBezTo>
                    <a:pt x="6954864" y="4875200"/>
                    <a:pt x="6960543" y="4873172"/>
                    <a:pt x="6966018" y="4871043"/>
                  </a:cubicBezTo>
                  <a:cubicBezTo>
                    <a:pt x="6971494" y="4868914"/>
                    <a:pt x="6976894" y="4866530"/>
                    <a:pt x="6982217" y="4863894"/>
                  </a:cubicBezTo>
                  <a:cubicBezTo>
                    <a:pt x="6987541" y="4861258"/>
                    <a:pt x="6992915" y="4858317"/>
                    <a:pt x="6998340" y="4855072"/>
                  </a:cubicBezTo>
                  <a:cubicBezTo>
                    <a:pt x="7003765" y="4851827"/>
                    <a:pt x="7009367" y="4848126"/>
                    <a:pt x="7015147" y="4843969"/>
                  </a:cubicBezTo>
                  <a:close/>
                  <a:moveTo>
                    <a:pt x="6584323" y="4843969"/>
                  </a:moveTo>
                  <a:lnTo>
                    <a:pt x="6599229" y="4843969"/>
                  </a:lnTo>
                  <a:lnTo>
                    <a:pt x="6599229" y="5066949"/>
                  </a:lnTo>
                  <a:lnTo>
                    <a:pt x="6563941" y="5066949"/>
                  </a:lnTo>
                  <a:lnTo>
                    <a:pt x="6563941" y="4887165"/>
                  </a:lnTo>
                  <a:cubicBezTo>
                    <a:pt x="6557553" y="4891728"/>
                    <a:pt x="6550684" y="4895607"/>
                    <a:pt x="6543332" y="4898801"/>
                  </a:cubicBezTo>
                  <a:cubicBezTo>
                    <a:pt x="6535980" y="4901995"/>
                    <a:pt x="6527590" y="4904809"/>
                    <a:pt x="6518159" y="4907243"/>
                  </a:cubicBezTo>
                  <a:lnTo>
                    <a:pt x="6518159" y="4877127"/>
                  </a:lnTo>
                  <a:cubicBezTo>
                    <a:pt x="6524040" y="4875200"/>
                    <a:pt x="6529719" y="4873172"/>
                    <a:pt x="6535194" y="4871043"/>
                  </a:cubicBezTo>
                  <a:cubicBezTo>
                    <a:pt x="6540670" y="4868914"/>
                    <a:pt x="6546070" y="4866530"/>
                    <a:pt x="6551393" y="4863894"/>
                  </a:cubicBezTo>
                  <a:cubicBezTo>
                    <a:pt x="6556717" y="4861258"/>
                    <a:pt x="6562091" y="4858317"/>
                    <a:pt x="6567516" y="4855072"/>
                  </a:cubicBezTo>
                  <a:cubicBezTo>
                    <a:pt x="6572941" y="4851827"/>
                    <a:pt x="6578543" y="4848126"/>
                    <a:pt x="6584323" y="4843969"/>
                  </a:cubicBezTo>
                  <a:close/>
                  <a:moveTo>
                    <a:pt x="6367990" y="4843969"/>
                  </a:moveTo>
                  <a:cubicBezTo>
                    <a:pt x="6415435" y="4843969"/>
                    <a:pt x="6439157" y="4880831"/>
                    <a:pt x="6439157" y="4954556"/>
                  </a:cubicBezTo>
                  <a:cubicBezTo>
                    <a:pt x="6439157" y="4991067"/>
                    <a:pt x="6432462" y="5018927"/>
                    <a:pt x="6419071" y="5038136"/>
                  </a:cubicBezTo>
                  <a:cubicBezTo>
                    <a:pt x="6405680" y="5057344"/>
                    <a:pt x="6386948" y="5066949"/>
                    <a:pt x="6362874" y="5066949"/>
                  </a:cubicBezTo>
                  <a:cubicBezTo>
                    <a:pt x="6340406" y="5066949"/>
                    <a:pt x="6322877" y="5057771"/>
                    <a:pt x="6310289" y="5039415"/>
                  </a:cubicBezTo>
                  <a:cubicBezTo>
                    <a:pt x="6297700" y="5021059"/>
                    <a:pt x="6291406" y="4994528"/>
                    <a:pt x="6291406" y="4959822"/>
                  </a:cubicBezTo>
                  <a:cubicBezTo>
                    <a:pt x="6291406" y="4921706"/>
                    <a:pt x="6297976" y="4892868"/>
                    <a:pt x="6311116" y="4873308"/>
                  </a:cubicBezTo>
                  <a:cubicBezTo>
                    <a:pt x="6324257" y="4853749"/>
                    <a:pt x="6343214" y="4843969"/>
                    <a:pt x="6367990" y="4843969"/>
                  </a:cubicBezTo>
                  <a:close/>
                  <a:moveTo>
                    <a:pt x="5975659" y="4843969"/>
                  </a:moveTo>
                  <a:lnTo>
                    <a:pt x="5990568" y="4843969"/>
                  </a:lnTo>
                  <a:lnTo>
                    <a:pt x="5990568" y="5066949"/>
                  </a:lnTo>
                  <a:lnTo>
                    <a:pt x="5955278" y="5066949"/>
                  </a:lnTo>
                  <a:lnTo>
                    <a:pt x="5955278" y="4887165"/>
                  </a:lnTo>
                  <a:cubicBezTo>
                    <a:pt x="5948891" y="4891728"/>
                    <a:pt x="5942020" y="4895607"/>
                    <a:pt x="5934669" y="4898801"/>
                  </a:cubicBezTo>
                  <a:cubicBezTo>
                    <a:pt x="5927317" y="4901995"/>
                    <a:pt x="5918927" y="4904809"/>
                    <a:pt x="5909498" y="4907243"/>
                  </a:cubicBezTo>
                  <a:lnTo>
                    <a:pt x="5909498" y="4877127"/>
                  </a:lnTo>
                  <a:cubicBezTo>
                    <a:pt x="5915377" y="4875200"/>
                    <a:pt x="5921055" y="4873172"/>
                    <a:pt x="5926531" y="4871043"/>
                  </a:cubicBezTo>
                  <a:cubicBezTo>
                    <a:pt x="5932007" y="4868914"/>
                    <a:pt x="5937407" y="4866530"/>
                    <a:pt x="5942730" y="4863894"/>
                  </a:cubicBezTo>
                  <a:cubicBezTo>
                    <a:pt x="5948054" y="4861258"/>
                    <a:pt x="5953429" y="4858317"/>
                    <a:pt x="5958852" y="4855072"/>
                  </a:cubicBezTo>
                  <a:cubicBezTo>
                    <a:pt x="5964279" y="4851827"/>
                    <a:pt x="5969881" y="4848126"/>
                    <a:pt x="5975659" y="4843969"/>
                  </a:cubicBezTo>
                  <a:close/>
                  <a:moveTo>
                    <a:pt x="5090447" y="4843969"/>
                  </a:moveTo>
                  <a:cubicBezTo>
                    <a:pt x="5137892" y="4843969"/>
                    <a:pt x="5161614" y="4880831"/>
                    <a:pt x="5161614" y="4954556"/>
                  </a:cubicBezTo>
                  <a:cubicBezTo>
                    <a:pt x="5161614" y="4991067"/>
                    <a:pt x="5154919" y="5018927"/>
                    <a:pt x="5141528" y="5038136"/>
                  </a:cubicBezTo>
                  <a:cubicBezTo>
                    <a:pt x="5128136" y="5057344"/>
                    <a:pt x="5109405" y="5066949"/>
                    <a:pt x="5085331" y="5066949"/>
                  </a:cubicBezTo>
                  <a:cubicBezTo>
                    <a:pt x="5062862" y="5066949"/>
                    <a:pt x="5045334" y="5057771"/>
                    <a:pt x="5032746" y="5039415"/>
                  </a:cubicBezTo>
                  <a:cubicBezTo>
                    <a:pt x="5020157" y="5021059"/>
                    <a:pt x="5013863" y="4994528"/>
                    <a:pt x="5013863" y="4959822"/>
                  </a:cubicBezTo>
                  <a:cubicBezTo>
                    <a:pt x="5013863" y="4921706"/>
                    <a:pt x="5020435" y="4892868"/>
                    <a:pt x="5033573" y="4873308"/>
                  </a:cubicBezTo>
                  <a:cubicBezTo>
                    <a:pt x="5046714" y="4853749"/>
                    <a:pt x="5065671" y="4843969"/>
                    <a:pt x="5090447" y="4843969"/>
                  </a:cubicBezTo>
                  <a:close/>
                  <a:moveTo>
                    <a:pt x="4694968" y="4843969"/>
                  </a:moveTo>
                  <a:lnTo>
                    <a:pt x="4709876" y="4843969"/>
                  </a:lnTo>
                  <a:lnTo>
                    <a:pt x="4709876" y="5066949"/>
                  </a:lnTo>
                  <a:lnTo>
                    <a:pt x="4674589" y="5066949"/>
                  </a:lnTo>
                  <a:lnTo>
                    <a:pt x="4674589" y="4887165"/>
                  </a:lnTo>
                  <a:cubicBezTo>
                    <a:pt x="4668200" y="4891728"/>
                    <a:pt x="4661331" y="4895607"/>
                    <a:pt x="4653978" y="4898801"/>
                  </a:cubicBezTo>
                  <a:cubicBezTo>
                    <a:pt x="4646628" y="4901995"/>
                    <a:pt x="4638236" y="4904809"/>
                    <a:pt x="4628805" y="4907243"/>
                  </a:cubicBezTo>
                  <a:lnTo>
                    <a:pt x="4628805" y="4877127"/>
                  </a:lnTo>
                  <a:cubicBezTo>
                    <a:pt x="4634687" y="4875200"/>
                    <a:pt x="4640364" y="4873172"/>
                    <a:pt x="4645841" y="4871043"/>
                  </a:cubicBezTo>
                  <a:cubicBezTo>
                    <a:pt x="4651316" y="4868914"/>
                    <a:pt x="4656717" y="4866530"/>
                    <a:pt x="4662040" y="4863894"/>
                  </a:cubicBezTo>
                  <a:cubicBezTo>
                    <a:pt x="4667363" y="4861258"/>
                    <a:pt x="4672738" y="4858317"/>
                    <a:pt x="4678162" y="4855072"/>
                  </a:cubicBezTo>
                  <a:cubicBezTo>
                    <a:pt x="4683588" y="4851827"/>
                    <a:pt x="4689190" y="4848126"/>
                    <a:pt x="4694968" y="4843969"/>
                  </a:cubicBezTo>
                  <a:close/>
                  <a:moveTo>
                    <a:pt x="4345906" y="4843969"/>
                  </a:moveTo>
                  <a:lnTo>
                    <a:pt x="4360813" y="4843969"/>
                  </a:lnTo>
                  <a:lnTo>
                    <a:pt x="4360813" y="5066949"/>
                  </a:lnTo>
                  <a:lnTo>
                    <a:pt x="4325525" y="5066949"/>
                  </a:lnTo>
                  <a:lnTo>
                    <a:pt x="4325525" y="4887165"/>
                  </a:lnTo>
                  <a:cubicBezTo>
                    <a:pt x="4319138" y="4891728"/>
                    <a:pt x="4312268" y="4895607"/>
                    <a:pt x="4304915" y="4898801"/>
                  </a:cubicBezTo>
                  <a:cubicBezTo>
                    <a:pt x="4297564" y="4901995"/>
                    <a:pt x="4289174" y="4904809"/>
                    <a:pt x="4279743" y="4907243"/>
                  </a:cubicBezTo>
                  <a:lnTo>
                    <a:pt x="4279743" y="4877127"/>
                  </a:lnTo>
                  <a:cubicBezTo>
                    <a:pt x="4285625" y="4875200"/>
                    <a:pt x="4291302" y="4873172"/>
                    <a:pt x="4296778" y="4871043"/>
                  </a:cubicBezTo>
                  <a:cubicBezTo>
                    <a:pt x="4302254" y="4868914"/>
                    <a:pt x="4307653" y="4866530"/>
                    <a:pt x="4312977" y="4863894"/>
                  </a:cubicBezTo>
                  <a:cubicBezTo>
                    <a:pt x="4318300" y="4861258"/>
                    <a:pt x="4323675" y="4858317"/>
                    <a:pt x="4329099" y="4855072"/>
                  </a:cubicBezTo>
                  <a:cubicBezTo>
                    <a:pt x="4334525" y="4851827"/>
                    <a:pt x="4340127" y="4848126"/>
                    <a:pt x="4345906" y="4843969"/>
                  </a:cubicBezTo>
                  <a:close/>
                  <a:moveTo>
                    <a:pt x="3616537" y="4843969"/>
                  </a:moveTo>
                  <a:cubicBezTo>
                    <a:pt x="3663981" y="4843969"/>
                    <a:pt x="3687703" y="4880832"/>
                    <a:pt x="3687703" y="4954557"/>
                  </a:cubicBezTo>
                  <a:cubicBezTo>
                    <a:pt x="3687703" y="4991068"/>
                    <a:pt x="3681008" y="5018928"/>
                    <a:pt x="3667617" y="5038136"/>
                  </a:cubicBezTo>
                  <a:cubicBezTo>
                    <a:pt x="3654226" y="5057345"/>
                    <a:pt x="3635494" y="5066949"/>
                    <a:pt x="3611420" y="5066949"/>
                  </a:cubicBezTo>
                  <a:cubicBezTo>
                    <a:pt x="3588952" y="5066949"/>
                    <a:pt x="3571422" y="5057771"/>
                    <a:pt x="3558835" y="5039415"/>
                  </a:cubicBezTo>
                  <a:cubicBezTo>
                    <a:pt x="3546246" y="5021059"/>
                    <a:pt x="3539952" y="4994528"/>
                    <a:pt x="3539952" y="4959823"/>
                  </a:cubicBezTo>
                  <a:cubicBezTo>
                    <a:pt x="3539952" y="4921706"/>
                    <a:pt x="3546522" y="4892869"/>
                    <a:pt x="3559662" y="4873309"/>
                  </a:cubicBezTo>
                  <a:cubicBezTo>
                    <a:pt x="3572804" y="4853749"/>
                    <a:pt x="3591760" y="4843969"/>
                    <a:pt x="3616537" y="4843969"/>
                  </a:cubicBezTo>
                  <a:close/>
                  <a:moveTo>
                    <a:pt x="3454863" y="4843969"/>
                  </a:moveTo>
                  <a:lnTo>
                    <a:pt x="3469768" y="4843969"/>
                  </a:lnTo>
                  <a:lnTo>
                    <a:pt x="3469768" y="5066949"/>
                  </a:lnTo>
                  <a:lnTo>
                    <a:pt x="3434481" y="5066949"/>
                  </a:lnTo>
                  <a:lnTo>
                    <a:pt x="3434481" y="4887166"/>
                  </a:lnTo>
                  <a:cubicBezTo>
                    <a:pt x="3428092" y="4891729"/>
                    <a:pt x="3421223" y="4895607"/>
                    <a:pt x="3413872" y="4898802"/>
                  </a:cubicBezTo>
                  <a:cubicBezTo>
                    <a:pt x="3406519" y="4901996"/>
                    <a:pt x="3398129" y="4904809"/>
                    <a:pt x="3388698" y="4907243"/>
                  </a:cubicBezTo>
                  <a:lnTo>
                    <a:pt x="3388698" y="4877127"/>
                  </a:lnTo>
                  <a:cubicBezTo>
                    <a:pt x="3394580" y="4875201"/>
                    <a:pt x="3400259" y="4873173"/>
                    <a:pt x="3405734" y="4871043"/>
                  </a:cubicBezTo>
                  <a:cubicBezTo>
                    <a:pt x="3411209" y="4868914"/>
                    <a:pt x="3416609" y="4866531"/>
                    <a:pt x="3421933" y="4863894"/>
                  </a:cubicBezTo>
                  <a:cubicBezTo>
                    <a:pt x="3427256" y="4861258"/>
                    <a:pt x="3432632" y="4858317"/>
                    <a:pt x="3438054" y="4855073"/>
                  </a:cubicBezTo>
                  <a:cubicBezTo>
                    <a:pt x="3443480" y="4851828"/>
                    <a:pt x="3449083" y="4848127"/>
                    <a:pt x="3454863" y="4843969"/>
                  </a:cubicBezTo>
                  <a:close/>
                  <a:moveTo>
                    <a:pt x="3158682" y="4843969"/>
                  </a:moveTo>
                  <a:lnTo>
                    <a:pt x="3173587" y="4843969"/>
                  </a:lnTo>
                  <a:lnTo>
                    <a:pt x="3173587" y="5066949"/>
                  </a:lnTo>
                  <a:lnTo>
                    <a:pt x="3138299" y="5066949"/>
                  </a:lnTo>
                  <a:lnTo>
                    <a:pt x="3138299" y="4887166"/>
                  </a:lnTo>
                  <a:cubicBezTo>
                    <a:pt x="3131912" y="4891729"/>
                    <a:pt x="3125042" y="4895607"/>
                    <a:pt x="3117690" y="4898802"/>
                  </a:cubicBezTo>
                  <a:cubicBezTo>
                    <a:pt x="3110339" y="4901996"/>
                    <a:pt x="3101948" y="4904809"/>
                    <a:pt x="3092517" y="4907243"/>
                  </a:cubicBezTo>
                  <a:lnTo>
                    <a:pt x="3092517" y="4877127"/>
                  </a:lnTo>
                  <a:cubicBezTo>
                    <a:pt x="3098398" y="4875201"/>
                    <a:pt x="3104077" y="4873173"/>
                    <a:pt x="3109553" y="4871043"/>
                  </a:cubicBezTo>
                  <a:cubicBezTo>
                    <a:pt x="3115028" y="4868914"/>
                    <a:pt x="3120428" y="4866531"/>
                    <a:pt x="3125751" y="4863894"/>
                  </a:cubicBezTo>
                  <a:cubicBezTo>
                    <a:pt x="3131075" y="4861258"/>
                    <a:pt x="3136449" y="4858317"/>
                    <a:pt x="3141875" y="4855073"/>
                  </a:cubicBezTo>
                  <a:cubicBezTo>
                    <a:pt x="3147300" y="4851828"/>
                    <a:pt x="3152901" y="4848127"/>
                    <a:pt x="3158682" y="4843969"/>
                  </a:cubicBezTo>
                  <a:close/>
                  <a:moveTo>
                    <a:pt x="2489154" y="4843969"/>
                  </a:moveTo>
                  <a:lnTo>
                    <a:pt x="2504060" y="4843969"/>
                  </a:lnTo>
                  <a:lnTo>
                    <a:pt x="2504060" y="5066949"/>
                  </a:lnTo>
                  <a:lnTo>
                    <a:pt x="2468772" y="5066949"/>
                  </a:lnTo>
                  <a:lnTo>
                    <a:pt x="2468772" y="4887166"/>
                  </a:lnTo>
                  <a:cubicBezTo>
                    <a:pt x="2462385" y="4891729"/>
                    <a:pt x="2455514" y="4895607"/>
                    <a:pt x="2448163" y="4898802"/>
                  </a:cubicBezTo>
                  <a:cubicBezTo>
                    <a:pt x="2440812" y="4901996"/>
                    <a:pt x="2432420" y="4904809"/>
                    <a:pt x="2422990" y="4907243"/>
                  </a:cubicBezTo>
                  <a:lnTo>
                    <a:pt x="2422990" y="4877127"/>
                  </a:lnTo>
                  <a:cubicBezTo>
                    <a:pt x="2428871" y="4875201"/>
                    <a:pt x="2434551" y="4873173"/>
                    <a:pt x="2440025" y="4871043"/>
                  </a:cubicBezTo>
                  <a:cubicBezTo>
                    <a:pt x="2445502" y="4868914"/>
                    <a:pt x="2450900" y="4866531"/>
                    <a:pt x="2456224" y="4863894"/>
                  </a:cubicBezTo>
                  <a:cubicBezTo>
                    <a:pt x="2461549" y="4861258"/>
                    <a:pt x="2466922" y="4858317"/>
                    <a:pt x="2472346" y="4855073"/>
                  </a:cubicBezTo>
                  <a:cubicBezTo>
                    <a:pt x="2477772" y="4851828"/>
                    <a:pt x="2483374" y="4848127"/>
                    <a:pt x="2489154" y="4843969"/>
                  </a:cubicBezTo>
                  <a:close/>
                  <a:moveTo>
                    <a:pt x="1599916" y="4843969"/>
                  </a:moveTo>
                  <a:lnTo>
                    <a:pt x="1614822" y="4843969"/>
                  </a:lnTo>
                  <a:lnTo>
                    <a:pt x="1614822" y="5066949"/>
                  </a:lnTo>
                  <a:lnTo>
                    <a:pt x="1579534" y="5066949"/>
                  </a:lnTo>
                  <a:lnTo>
                    <a:pt x="1579534" y="4887166"/>
                  </a:lnTo>
                  <a:cubicBezTo>
                    <a:pt x="1573146" y="4891729"/>
                    <a:pt x="1566276" y="4895607"/>
                    <a:pt x="1558925" y="4898802"/>
                  </a:cubicBezTo>
                  <a:cubicBezTo>
                    <a:pt x="1551573" y="4901996"/>
                    <a:pt x="1543182" y="4904809"/>
                    <a:pt x="1533752" y="4907243"/>
                  </a:cubicBezTo>
                  <a:lnTo>
                    <a:pt x="1533752" y="4877127"/>
                  </a:lnTo>
                  <a:cubicBezTo>
                    <a:pt x="1539633" y="4875201"/>
                    <a:pt x="1545312" y="4873173"/>
                    <a:pt x="1550787" y="4871043"/>
                  </a:cubicBezTo>
                  <a:cubicBezTo>
                    <a:pt x="1556263" y="4868914"/>
                    <a:pt x="1561663" y="4866531"/>
                    <a:pt x="1566986" y="4863894"/>
                  </a:cubicBezTo>
                  <a:cubicBezTo>
                    <a:pt x="1572310" y="4861258"/>
                    <a:pt x="1577684" y="4858317"/>
                    <a:pt x="1583109" y="4855073"/>
                  </a:cubicBezTo>
                  <a:cubicBezTo>
                    <a:pt x="1588534" y="4851828"/>
                    <a:pt x="1594136" y="4848127"/>
                    <a:pt x="1599916" y="4843969"/>
                  </a:cubicBezTo>
                  <a:close/>
                  <a:moveTo>
                    <a:pt x="1302202" y="4843969"/>
                  </a:moveTo>
                  <a:lnTo>
                    <a:pt x="1317108" y="4843969"/>
                  </a:lnTo>
                  <a:lnTo>
                    <a:pt x="1317108" y="5066949"/>
                  </a:lnTo>
                  <a:lnTo>
                    <a:pt x="1281820" y="5066949"/>
                  </a:lnTo>
                  <a:lnTo>
                    <a:pt x="1281820" y="4887166"/>
                  </a:lnTo>
                  <a:cubicBezTo>
                    <a:pt x="1275432" y="4891729"/>
                    <a:pt x="1268562" y="4895607"/>
                    <a:pt x="1261211" y="4898802"/>
                  </a:cubicBezTo>
                  <a:cubicBezTo>
                    <a:pt x="1253859" y="4901996"/>
                    <a:pt x="1245468" y="4904809"/>
                    <a:pt x="1236038" y="4907243"/>
                  </a:cubicBezTo>
                  <a:lnTo>
                    <a:pt x="1236038" y="4877127"/>
                  </a:lnTo>
                  <a:cubicBezTo>
                    <a:pt x="1241919" y="4875201"/>
                    <a:pt x="1247598" y="4873173"/>
                    <a:pt x="1253073" y="4871043"/>
                  </a:cubicBezTo>
                  <a:cubicBezTo>
                    <a:pt x="1258549" y="4868914"/>
                    <a:pt x="1263949" y="4866531"/>
                    <a:pt x="1269272" y="4863894"/>
                  </a:cubicBezTo>
                  <a:cubicBezTo>
                    <a:pt x="1274596" y="4861258"/>
                    <a:pt x="1279970" y="4858317"/>
                    <a:pt x="1285395" y="4855073"/>
                  </a:cubicBezTo>
                  <a:cubicBezTo>
                    <a:pt x="1290820" y="4851828"/>
                    <a:pt x="1296422" y="4848127"/>
                    <a:pt x="1302202" y="4843969"/>
                  </a:cubicBezTo>
                  <a:close/>
                  <a:moveTo>
                    <a:pt x="927321" y="4843969"/>
                  </a:moveTo>
                  <a:lnTo>
                    <a:pt x="942227" y="4843969"/>
                  </a:lnTo>
                  <a:lnTo>
                    <a:pt x="942227" y="5066949"/>
                  </a:lnTo>
                  <a:lnTo>
                    <a:pt x="906939" y="5066949"/>
                  </a:lnTo>
                  <a:lnTo>
                    <a:pt x="906939" y="4887166"/>
                  </a:lnTo>
                  <a:cubicBezTo>
                    <a:pt x="900551" y="4891729"/>
                    <a:pt x="893681" y="4895607"/>
                    <a:pt x="886330" y="4898802"/>
                  </a:cubicBezTo>
                  <a:cubicBezTo>
                    <a:pt x="878978" y="4901996"/>
                    <a:pt x="870587" y="4904809"/>
                    <a:pt x="861157" y="4907243"/>
                  </a:cubicBezTo>
                  <a:lnTo>
                    <a:pt x="861157" y="4877127"/>
                  </a:lnTo>
                  <a:cubicBezTo>
                    <a:pt x="867038" y="4875201"/>
                    <a:pt x="872717" y="4873173"/>
                    <a:pt x="878192" y="4871043"/>
                  </a:cubicBezTo>
                  <a:cubicBezTo>
                    <a:pt x="883668" y="4868914"/>
                    <a:pt x="889068" y="4866531"/>
                    <a:pt x="894391" y="4863894"/>
                  </a:cubicBezTo>
                  <a:cubicBezTo>
                    <a:pt x="899715" y="4861258"/>
                    <a:pt x="905089" y="4858317"/>
                    <a:pt x="910514" y="4855073"/>
                  </a:cubicBezTo>
                  <a:cubicBezTo>
                    <a:pt x="915939" y="4851828"/>
                    <a:pt x="921541" y="4848127"/>
                    <a:pt x="927321" y="4843969"/>
                  </a:cubicBezTo>
                  <a:close/>
                  <a:moveTo>
                    <a:pt x="778464" y="4843969"/>
                  </a:moveTo>
                  <a:lnTo>
                    <a:pt x="793370" y="4843969"/>
                  </a:lnTo>
                  <a:lnTo>
                    <a:pt x="793370" y="5066949"/>
                  </a:lnTo>
                  <a:lnTo>
                    <a:pt x="758082" y="5066949"/>
                  </a:lnTo>
                  <a:lnTo>
                    <a:pt x="758082" y="4887166"/>
                  </a:lnTo>
                  <a:cubicBezTo>
                    <a:pt x="751694" y="4891729"/>
                    <a:pt x="744824" y="4895607"/>
                    <a:pt x="737473" y="4898802"/>
                  </a:cubicBezTo>
                  <a:cubicBezTo>
                    <a:pt x="730121" y="4901996"/>
                    <a:pt x="721730" y="4904809"/>
                    <a:pt x="712300" y="4907243"/>
                  </a:cubicBezTo>
                  <a:lnTo>
                    <a:pt x="712300" y="4877127"/>
                  </a:lnTo>
                  <a:cubicBezTo>
                    <a:pt x="718181" y="4875201"/>
                    <a:pt x="723860" y="4873173"/>
                    <a:pt x="729335" y="4871043"/>
                  </a:cubicBezTo>
                  <a:cubicBezTo>
                    <a:pt x="734811" y="4868914"/>
                    <a:pt x="740211" y="4866531"/>
                    <a:pt x="745535" y="4863894"/>
                  </a:cubicBezTo>
                  <a:cubicBezTo>
                    <a:pt x="750858" y="4861258"/>
                    <a:pt x="756232" y="4858317"/>
                    <a:pt x="761657" y="4855073"/>
                  </a:cubicBezTo>
                  <a:cubicBezTo>
                    <a:pt x="767082" y="4851828"/>
                    <a:pt x="772684" y="4848127"/>
                    <a:pt x="778464" y="4843969"/>
                  </a:cubicBezTo>
                  <a:close/>
                  <a:moveTo>
                    <a:pt x="629607" y="4843969"/>
                  </a:moveTo>
                  <a:lnTo>
                    <a:pt x="644513" y="4843969"/>
                  </a:lnTo>
                  <a:lnTo>
                    <a:pt x="644513" y="5066949"/>
                  </a:lnTo>
                  <a:lnTo>
                    <a:pt x="609225" y="5066949"/>
                  </a:lnTo>
                  <a:lnTo>
                    <a:pt x="609225" y="4887166"/>
                  </a:lnTo>
                  <a:cubicBezTo>
                    <a:pt x="602837" y="4891729"/>
                    <a:pt x="595967" y="4895607"/>
                    <a:pt x="588616" y="4898802"/>
                  </a:cubicBezTo>
                  <a:cubicBezTo>
                    <a:pt x="581264" y="4901996"/>
                    <a:pt x="572873" y="4904809"/>
                    <a:pt x="563443" y="4907243"/>
                  </a:cubicBezTo>
                  <a:lnTo>
                    <a:pt x="563443" y="4877127"/>
                  </a:lnTo>
                  <a:cubicBezTo>
                    <a:pt x="569324" y="4875201"/>
                    <a:pt x="575003" y="4873173"/>
                    <a:pt x="580478" y="4871043"/>
                  </a:cubicBezTo>
                  <a:cubicBezTo>
                    <a:pt x="585954" y="4868914"/>
                    <a:pt x="591354" y="4866531"/>
                    <a:pt x="596677" y="4863894"/>
                  </a:cubicBezTo>
                  <a:cubicBezTo>
                    <a:pt x="602001" y="4861258"/>
                    <a:pt x="607375" y="4858317"/>
                    <a:pt x="612800" y="4855073"/>
                  </a:cubicBezTo>
                  <a:cubicBezTo>
                    <a:pt x="618225" y="4851828"/>
                    <a:pt x="623827" y="4848127"/>
                    <a:pt x="629607" y="4843969"/>
                  </a:cubicBezTo>
                  <a:close/>
                  <a:moveTo>
                    <a:pt x="480750" y="4843969"/>
                  </a:moveTo>
                  <a:lnTo>
                    <a:pt x="495656" y="4843969"/>
                  </a:lnTo>
                  <a:lnTo>
                    <a:pt x="495656" y="5066949"/>
                  </a:lnTo>
                  <a:lnTo>
                    <a:pt x="460368" y="5066949"/>
                  </a:lnTo>
                  <a:lnTo>
                    <a:pt x="460368" y="4887166"/>
                  </a:lnTo>
                  <a:cubicBezTo>
                    <a:pt x="453980" y="4891729"/>
                    <a:pt x="447110" y="4895607"/>
                    <a:pt x="439759" y="4898802"/>
                  </a:cubicBezTo>
                  <a:cubicBezTo>
                    <a:pt x="432407" y="4901996"/>
                    <a:pt x="424016" y="4904809"/>
                    <a:pt x="414586" y="4907243"/>
                  </a:cubicBezTo>
                  <a:lnTo>
                    <a:pt x="414586" y="4877127"/>
                  </a:lnTo>
                  <a:cubicBezTo>
                    <a:pt x="420467" y="4875201"/>
                    <a:pt x="426146" y="4873173"/>
                    <a:pt x="431621" y="4871043"/>
                  </a:cubicBezTo>
                  <a:cubicBezTo>
                    <a:pt x="437097" y="4868914"/>
                    <a:pt x="442497" y="4866531"/>
                    <a:pt x="447821" y="4863894"/>
                  </a:cubicBezTo>
                  <a:cubicBezTo>
                    <a:pt x="453144" y="4861258"/>
                    <a:pt x="458518" y="4858317"/>
                    <a:pt x="463943" y="4855073"/>
                  </a:cubicBezTo>
                  <a:cubicBezTo>
                    <a:pt x="469368" y="4851828"/>
                    <a:pt x="474970" y="4848127"/>
                    <a:pt x="480750" y="4843969"/>
                  </a:cubicBezTo>
                  <a:close/>
                  <a:moveTo>
                    <a:pt x="11874294" y="4534174"/>
                  </a:moveTo>
                  <a:cubicBezTo>
                    <a:pt x="11848114" y="4534174"/>
                    <a:pt x="11835024" y="4563011"/>
                    <a:pt x="11835024" y="4620687"/>
                  </a:cubicBezTo>
                  <a:cubicBezTo>
                    <a:pt x="11835024" y="4674652"/>
                    <a:pt x="11847863" y="4701634"/>
                    <a:pt x="11873542" y="4701634"/>
                  </a:cubicBezTo>
                  <a:cubicBezTo>
                    <a:pt x="11898818" y="4701634"/>
                    <a:pt x="11911457" y="4674200"/>
                    <a:pt x="11911457" y="4619333"/>
                  </a:cubicBezTo>
                  <a:cubicBezTo>
                    <a:pt x="11911457" y="4562560"/>
                    <a:pt x="11899069" y="4534174"/>
                    <a:pt x="11874294" y="4534174"/>
                  </a:cubicBezTo>
                  <a:close/>
                  <a:moveTo>
                    <a:pt x="11189148" y="4534174"/>
                  </a:moveTo>
                  <a:cubicBezTo>
                    <a:pt x="11162968" y="4534174"/>
                    <a:pt x="11149878" y="4563011"/>
                    <a:pt x="11149878" y="4620687"/>
                  </a:cubicBezTo>
                  <a:cubicBezTo>
                    <a:pt x="11149878" y="4674652"/>
                    <a:pt x="11162717" y="4701634"/>
                    <a:pt x="11188396" y="4701634"/>
                  </a:cubicBezTo>
                  <a:cubicBezTo>
                    <a:pt x="11213672" y="4701634"/>
                    <a:pt x="11226311" y="4674200"/>
                    <a:pt x="11226311" y="4619333"/>
                  </a:cubicBezTo>
                  <a:cubicBezTo>
                    <a:pt x="11226311" y="4562560"/>
                    <a:pt x="11213923" y="4534174"/>
                    <a:pt x="11189148" y="4534174"/>
                  </a:cubicBezTo>
                  <a:close/>
                  <a:moveTo>
                    <a:pt x="9936214" y="4534174"/>
                  </a:moveTo>
                  <a:cubicBezTo>
                    <a:pt x="9910034" y="4534174"/>
                    <a:pt x="9896944" y="4563011"/>
                    <a:pt x="9896944" y="4620687"/>
                  </a:cubicBezTo>
                  <a:cubicBezTo>
                    <a:pt x="9896944" y="4674652"/>
                    <a:pt x="9909783" y="4701634"/>
                    <a:pt x="9935462" y="4701634"/>
                  </a:cubicBezTo>
                  <a:cubicBezTo>
                    <a:pt x="9960738" y="4701634"/>
                    <a:pt x="9973377" y="4674200"/>
                    <a:pt x="9973377" y="4619333"/>
                  </a:cubicBezTo>
                  <a:cubicBezTo>
                    <a:pt x="9973377" y="4562560"/>
                    <a:pt x="9960989" y="4534174"/>
                    <a:pt x="9936214" y="4534174"/>
                  </a:cubicBezTo>
                  <a:close/>
                  <a:moveTo>
                    <a:pt x="9713703" y="4534174"/>
                  </a:moveTo>
                  <a:cubicBezTo>
                    <a:pt x="9687523" y="4534174"/>
                    <a:pt x="9674433" y="4563011"/>
                    <a:pt x="9674433" y="4620687"/>
                  </a:cubicBezTo>
                  <a:cubicBezTo>
                    <a:pt x="9674433" y="4674652"/>
                    <a:pt x="9687272" y="4701634"/>
                    <a:pt x="9712951" y="4701634"/>
                  </a:cubicBezTo>
                  <a:cubicBezTo>
                    <a:pt x="9738227" y="4701634"/>
                    <a:pt x="9750866" y="4674200"/>
                    <a:pt x="9750866" y="4619333"/>
                  </a:cubicBezTo>
                  <a:cubicBezTo>
                    <a:pt x="9750866" y="4562560"/>
                    <a:pt x="9738478" y="4534174"/>
                    <a:pt x="9713703" y="4534174"/>
                  </a:cubicBezTo>
                  <a:close/>
                  <a:moveTo>
                    <a:pt x="6372301" y="4534174"/>
                  </a:moveTo>
                  <a:cubicBezTo>
                    <a:pt x="6346121" y="4534174"/>
                    <a:pt x="6333031" y="4563011"/>
                    <a:pt x="6333031" y="4620687"/>
                  </a:cubicBezTo>
                  <a:cubicBezTo>
                    <a:pt x="6333031" y="4674652"/>
                    <a:pt x="6345870" y="4701634"/>
                    <a:pt x="6371549" y="4701634"/>
                  </a:cubicBezTo>
                  <a:cubicBezTo>
                    <a:pt x="6396826" y="4701634"/>
                    <a:pt x="6409464" y="4674200"/>
                    <a:pt x="6409464" y="4619333"/>
                  </a:cubicBezTo>
                  <a:cubicBezTo>
                    <a:pt x="6409464" y="4562560"/>
                    <a:pt x="6397076" y="4534174"/>
                    <a:pt x="6372301" y="4534174"/>
                  </a:cubicBezTo>
                  <a:close/>
                  <a:moveTo>
                    <a:pt x="5784617" y="4534174"/>
                  </a:moveTo>
                  <a:cubicBezTo>
                    <a:pt x="5758439" y="4534174"/>
                    <a:pt x="5745350" y="4563011"/>
                    <a:pt x="5745350" y="4620687"/>
                  </a:cubicBezTo>
                  <a:cubicBezTo>
                    <a:pt x="5745350" y="4674652"/>
                    <a:pt x="5758187" y="4701634"/>
                    <a:pt x="5783865" y="4701634"/>
                  </a:cubicBezTo>
                  <a:cubicBezTo>
                    <a:pt x="5809143" y="4701634"/>
                    <a:pt x="5821781" y="4674200"/>
                    <a:pt x="5821781" y="4619333"/>
                  </a:cubicBezTo>
                  <a:cubicBezTo>
                    <a:pt x="5821781" y="4562560"/>
                    <a:pt x="5809394" y="4534174"/>
                    <a:pt x="5784617" y="4534174"/>
                  </a:cubicBezTo>
                  <a:close/>
                  <a:moveTo>
                    <a:pt x="5091629" y="4534174"/>
                  </a:moveTo>
                  <a:cubicBezTo>
                    <a:pt x="5065449" y="4534174"/>
                    <a:pt x="5052358" y="4563011"/>
                    <a:pt x="5052358" y="4620687"/>
                  </a:cubicBezTo>
                  <a:cubicBezTo>
                    <a:pt x="5052358" y="4674652"/>
                    <a:pt x="5065200" y="4701634"/>
                    <a:pt x="5090877" y="4701634"/>
                  </a:cubicBezTo>
                  <a:cubicBezTo>
                    <a:pt x="5116154" y="4701634"/>
                    <a:pt x="5128792" y="4674200"/>
                    <a:pt x="5128792" y="4619333"/>
                  </a:cubicBezTo>
                  <a:cubicBezTo>
                    <a:pt x="5128792" y="4562560"/>
                    <a:pt x="5116404" y="4534174"/>
                    <a:pt x="5091629" y="4534174"/>
                  </a:cubicBezTo>
                  <a:close/>
                  <a:moveTo>
                    <a:pt x="3837392" y="4534174"/>
                  </a:moveTo>
                  <a:cubicBezTo>
                    <a:pt x="3811212" y="4534174"/>
                    <a:pt x="3798122" y="4563011"/>
                    <a:pt x="3798122" y="4620687"/>
                  </a:cubicBezTo>
                  <a:cubicBezTo>
                    <a:pt x="3798122" y="4674652"/>
                    <a:pt x="3810961" y="4701634"/>
                    <a:pt x="3836640" y="4701634"/>
                  </a:cubicBezTo>
                  <a:cubicBezTo>
                    <a:pt x="3861916" y="4701634"/>
                    <a:pt x="3874555" y="4674200"/>
                    <a:pt x="3874555" y="4619333"/>
                  </a:cubicBezTo>
                  <a:cubicBezTo>
                    <a:pt x="3874555" y="4562560"/>
                    <a:pt x="3862167" y="4534174"/>
                    <a:pt x="3837392" y="4534174"/>
                  </a:cubicBezTo>
                  <a:close/>
                  <a:moveTo>
                    <a:pt x="3614881" y="4534174"/>
                  </a:moveTo>
                  <a:cubicBezTo>
                    <a:pt x="3588702" y="4534174"/>
                    <a:pt x="3575611" y="4563011"/>
                    <a:pt x="3575611" y="4620687"/>
                  </a:cubicBezTo>
                  <a:cubicBezTo>
                    <a:pt x="3575611" y="4674652"/>
                    <a:pt x="3588451" y="4701634"/>
                    <a:pt x="3614130" y="4701634"/>
                  </a:cubicBezTo>
                  <a:cubicBezTo>
                    <a:pt x="3639407" y="4701634"/>
                    <a:pt x="3652044" y="4674200"/>
                    <a:pt x="3652044" y="4619333"/>
                  </a:cubicBezTo>
                  <a:cubicBezTo>
                    <a:pt x="3652044" y="4562560"/>
                    <a:pt x="3639656" y="4534174"/>
                    <a:pt x="3614881" y="4534174"/>
                  </a:cubicBezTo>
                  <a:close/>
                  <a:moveTo>
                    <a:pt x="954478" y="4534174"/>
                  </a:moveTo>
                  <a:cubicBezTo>
                    <a:pt x="928298" y="4534174"/>
                    <a:pt x="915208" y="4563012"/>
                    <a:pt x="915208" y="4620688"/>
                  </a:cubicBezTo>
                  <a:cubicBezTo>
                    <a:pt x="915208" y="4674652"/>
                    <a:pt x="928047" y="4701635"/>
                    <a:pt x="953726" y="4701635"/>
                  </a:cubicBezTo>
                  <a:cubicBezTo>
                    <a:pt x="979003" y="4701635"/>
                    <a:pt x="991641" y="4674201"/>
                    <a:pt x="991641" y="4619334"/>
                  </a:cubicBezTo>
                  <a:cubicBezTo>
                    <a:pt x="991641" y="4562561"/>
                    <a:pt x="979253" y="4534174"/>
                    <a:pt x="954478" y="4534174"/>
                  </a:cubicBezTo>
                  <a:close/>
                  <a:moveTo>
                    <a:pt x="778131" y="4534174"/>
                  </a:moveTo>
                  <a:cubicBezTo>
                    <a:pt x="751951" y="4534174"/>
                    <a:pt x="738861" y="4563012"/>
                    <a:pt x="738861" y="4620688"/>
                  </a:cubicBezTo>
                  <a:cubicBezTo>
                    <a:pt x="738861" y="4674652"/>
                    <a:pt x="751700" y="4701635"/>
                    <a:pt x="777378" y="4701635"/>
                  </a:cubicBezTo>
                  <a:cubicBezTo>
                    <a:pt x="802655" y="4701635"/>
                    <a:pt x="815294" y="4674201"/>
                    <a:pt x="815294" y="4619334"/>
                  </a:cubicBezTo>
                  <a:cubicBezTo>
                    <a:pt x="815294" y="4562561"/>
                    <a:pt x="802906" y="4534174"/>
                    <a:pt x="778131" y="4534174"/>
                  </a:cubicBezTo>
                  <a:close/>
                  <a:moveTo>
                    <a:pt x="141104" y="4534174"/>
                  </a:moveTo>
                  <a:cubicBezTo>
                    <a:pt x="114924" y="4534174"/>
                    <a:pt x="101834" y="4563012"/>
                    <a:pt x="101834" y="4620688"/>
                  </a:cubicBezTo>
                  <a:cubicBezTo>
                    <a:pt x="101834" y="4674652"/>
                    <a:pt x="114673" y="4701635"/>
                    <a:pt x="140352" y="4701635"/>
                  </a:cubicBezTo>
                  <a:cubicBezTo>
                    <a:pt x="165629" y="4701635"/>
                    <a:pt x="178267" y="4674201"/>
                    <a:pt x="178267" y="4619334"/>
                  </a:cubicBezTo>
                  <a:cubicBezTo>
                    <a:pt x="178267" y="4562561"/>
                    <a:pt x="165879" y="4534174"/>
                    <a:pt x="141104" y="4534174"/>
                  </a:cubicBezTo>
                  <a:close/>
                  <a:moveTo>
                    <a:pt x="12062430" y="4506339"/>
                  </a:moveTo>
                  <a:lnTo>
                    <a:pt x="12077336" y="4506339"/>
                  </a:lnTo>
                  <a:lnTo>
                    <a:pt x="12077336" y="4729319"/>
                  </a:lnTo>
                  <a:lnTo>
                    <a:pt x="12042048" y="4729319"/>
                  </a:lnTo>
                  <a:lnTo>
                    <a:pt x="12042048" y="4549535"/>
                  </a:lnTo>
                  <a:cubicBezTo>
                    <a:pt x="12035660" y="4554098"/>
                    <a:pt x="12028790" y="4557977"/>
                    <a:pt x="12021439" y="4561171"/>
                  </a:cubicBezTo>
                  <a:cubicBezTo>
                    <a:pt x="12014087" y="4564365"/>
                    <a:pt x="12005696" y="4567179"/>
                    <a:pt x="11996266" y="4569613"/>
                  </a:cubicBezTo>
                  <a:lnTo>
                    <a:pt x="11996266" y="4539497"/>
                  </a:lnTo>
                  <a:cubicBezTo>
                    <a:pt x="12002147" y="4537570"/>
                    <a:pt x="12007826" y="4535542"/>
                    <a:pt x="12013301" y="4533413"/>
                  </a:cubicBezTo>
                  <a:cubicBezTo>
                    <a:pt x="12018777" y="4531284"/>
                    <a:pt x="12024177" y="4528900"/>
                    <a:pt x="12029500" y="4526264"/>
                  </a:cubicBezTo>
                  <a:cubicBezTo>
                    <a:pt x="12034824" y="4523628"/>
                    <a:pt x="12040198" y="4520687"/>
                    <a:pt x="12045623" y="4517442"/>
                  </a:cubicBezTo>
                  <a:cubicBezTo>
                    <a:pt x="12051048" y="4514197"/>
                    <a:pt x="12056650" y="4510496"/>
                    <a:pt x="12062430" y="4506339"/>
                  </a:cubicBezTo>
                  <a:close/>
                  <a:moveTo>
                    <a:pt x="11875949" y="4506339"/>
                  </a:moveTo>
                  <a:cubicBezTo>
                    <a:pt x="11923393" y="4506339"/>
                    <a:pt x="11947116" y="4543201"/>
                    <a:pt x="11947116" y="4616926"/>
                  </a:cubicBezTo>
                  <a:cubicBezTo>
                    <a:pt x="11947116" y="4653437"/>
                    <a:pt x="11940420" y="4681297"/>
                    <a:pt x="11927030" y="4700506"/>
                  </a:cubicBezTo>
                  <a:cubicBezTo>
                    <a:pt x="11913639" y="4719714"/>
                    <a:pt x="11894907" y="4729319"/>
                    <a:pt x="11870833" y="4729319"/>
                  </a:cubicBezTo>
                  <a:cubicBezTo>
                    <a:pt x="11848365" y="4729319"/>
                    <a:pt x="11830836" y="4720141"/>
                    <a:pt x="11818248" y="4701785"/>
                  </a:cubicBezTo>
                  <a:cubicBezTo>
                    <a:pt x="11805659" y="4683429"/>
                    <a:pt x="11799365" y="4656898"/>
                    <a:pt x="11799365" y="4622192"/>
                  </a:cubicBezTo>
                  <a:cubicBezTo>
                    <a:pt x="11799365" y="4584076"/>
                    <a:pt x="11805935" y="4555238"/>
                    <a:pt x="11819075" y="4535678"/>
                  </a:cubicBezTo>
                  <a:cubicBezTo>
                    <a:pt x="11832216" y="4516119"/>
                    <a:pt x="11851173" y="4506339"/>
                    <a:pt x="11875949" y="4506339"/>
                  </a:cubicBezTo>
                  <a:close/>
                  <a:moveTo>
                    <a:pt x="11190803" y="4506339"/>
                  </a:moveTo>
                  <a:cubicBezTo>
                    <a:pt x="11238247" y="4506339"/>
                    <a:pt x="11261970" y="4543201"/>
                    <a:pt x="11261970" y="4616926"/>
                  </a:cubicBezTo>
                  <a:cubicBezTo>
                    <a:pt x="11261970" y="4653437"/>
                    <a:pt x="11255274" y="4681297"/>
                    <a:pt x="11241884" y="4700506"/>
                  </a:cubicBezTo>
                  <a:cubicBezTo>
                    <a:pt x="11228493" y="4719714"/>
                    <a:pt x="11209761" y="4729319"/>
                    <a:pt x="11185687" y="4729319"/>
                  </a:cubicBezTo>
                  <a:cubicBezTo>
                    <a:pt x="11163219" y="4729319"/>
                    <a:pt x="11145690" y="4720141"/>
                    <a:pt x="11133102" y="4701785"/>
                  </a:cubicBezTo>
                  <a:cubicBezTo>
                    <a:pt x="11120513" y="4683429"/>
                    <a:pt x="11114219" y="4656898"/>
                    <a:pt x="11114219" y="4622192"/>
                  </a:cubicBezTo>
                  <a:cubicBezTo>
                    <a:pt x="11114219" y="4584076"/>
                    <a:pt x="11120789" y="4555238"/>
                    <a:pt x="11133929" y="4535678"/>
                  </a:cubicBezTo>
                  <a:cubicBezTo>
                    <a:pt x="11147070" y="4516119"/>
                    <a:pt x="11166027" y="4506339"/>
                    <a:pt x="11190803" y="4506339"/>
                  </a:cubicBezTo>
                  <a:close/>
                  <a:moveTo>
                    <a:pt x="10143427" y="4506339"/>
                  </a:moveTo>
                  <a:lnTo>
                    <a:pt x="10158333" y="4506339"/>
                  </a:lnTo>
                  <a:lnTo>
                    <a:pt x="10158333" y="4729319"/>
                  </a:lnTo>
                  <a:lnTo>
                    <a:pt x="10123045" y="4729319"/>
                  </a:lnTo>
                  <a:lnTo>
                    <a:pt x="10123045" y="4549535"/>
                  </a:lnTo>
                  <a:cubicBezTo>
                    <a:pt x="10116657" y="4554098"/>
                    <a:pt x="10109787" y="4557977"/>
                    <a:pt x="10102436" y="4561171"/>
                  </a:cubicBezTo>
                  <a:cubicBezTo>
                    <a:pt x="10095084" y="4564365"/>
                    <a:pt x="10086693" y="4567179"/>
                    <a:pt x="10077263" y="4569613"/>
                  </a:cubicBezTo>
                  <a:lnTo>
                    <a:pt x="10077263" y="4539497"/>
                  </a:lnTo>
                  <a:cubicBezTo>
                    <a:pt x="10083144" y="4537570"/>
                    <a:pt x="10088823" y="4535542"/>
                    <a:pt x="10094298" y="4533413"/>
                  </a:cubicBezTo>
                  <a:cubicBezTo>
                    <a:pt x="10099774" y="4531284"/>
                    <a:pt x="10105174" y="4528900"/>
                    <a:pt x="10110497" y="4526264"/>
                  </a:cubicBezTo>
                  <a:cubicBezTo>
                    <a:pt x="10115821" y="4523628"/>
                    <a:pt x="10121195" y="4520687"/>
                    <a:pt x="10126620" y="4517442"/>
                  </a:cubicBezTo>
                  <a:cubicBezTo>
                    <a:pt x="10132045" y="4514197"/>
                    <a:pt x="10137647" y="4510496"/>
                    <a:pt x="10143427" y="4506339"/>
                  </a:cubicBezTo>
                  <a:close/>
                  <a:moveTo>
                    <a:pt x="9937869" y="4506339"/>
                  </a:moveTo>
                  <a:cubicBezTo>
                    <a:pt x="9985313" y="4506339"/>
                    <a:pt x="10009036" y="4543201"/>
                    <a:pt x="10009036" y="4616926"/>
                  </a:cubicBezTo>
                  <a:cubicBezTo>
                    <a:pt x="10009036" y="4653437"/>
                    <a:pt x="10002340" y="4681297"/>
                    <a:pt x="9988950" y="4700506"/>
                  </a:cubicBezTo>
                  <a:cubicBezTo>
                    <a:pt x="9975559" y="4719714"/>
                    <a:pt x="9956827" y="4729319"/>
                    <a:pt x="9932753" y="4729319"/>
                  </a:cubicBezTo>
                  <a:cubicBezTo>
                    <a:pt x="9910285" y="4729319"/>
                    <a:pt x="9892756" y="4720141"/>
                    <a:pt x="9880168" y="4701785"/>
                  </a:cubicBezTo>
                  <a:cubicBezTo>
                    <a:pt x="9867579" y="4683429"/>
                    <a:pt x="9861285" y="4656898"/>
                    <a:pt x="9861285" y="4622192"/>
                  </a:cubicBezTo>
                  <a:cubicBezTo>
                    <a:pt x="9861285" y="4584076"/>
                    <a:pt x="9867855" y="4555238"/>
                    <a:pt x="9880995" y="4535678"/>
                  </a:cubicBezTo>
                  <a:cubicBezTo>
                    <a:pt x="9894136" y="4516119"/>
                    <a:pt x="9913093" y="4506339"/>
                    <a:pt x="9937869" y="4506339"/>
                  </a:cubicBezTo>
                  <a:close/>
                  <a:moveTo>
                    <a:pt x="9715358" y="4506339"/>
                  </a:moveTo>
                  <a:cubicBezTo>
                    <a:pt x="9762802" y="4506339"/>
                    <a:pt x="9786525" y="4543201"/>
                    <a:pt x="9786525" y="4616926"/>
                  </a:cubicBezTo>
                  <a:cubicBezTo>
                    <a:pt x="9786525" y="4653437"/>
                    <a:pt x="9779829" y="4681297"/>
                    <a:pt x="9766439" y="4700506"/>
                  </a:cubicBezTo>
                  <a:cubicBezTo>
                    <a:pt x="9753048" y="4719714"/>
                    <a:pt x="9734316" y="4729319"/>
                    <a:pt x="9710242" y="4729319"/>
                  </a:cubicBezTo>
                  <a:cubicBezTo>
                    <a:pt x="9687774" y="4729319"/>
                    <a:pt x="9670245" y="4720141"/>
                    <a:pt x="9657657" y="4701785"/>
                  </a:cubicBezTo>
                  <a:cubicBezTo>
                    <a:pt x="9645068" y="4683429"/>
                    <a:pt x="9638774" y="4656898"/>
                    <a:pt x="9638774" y="4622192"/>
                  </a:cubicBezTo>
                  <a:cubicBezTo>
                    <a:pt x="9638774" y="4584076"/>
                    <a:pt x="9645344" y="4555238"/>
                    <a:pt x="9658484" y="4535678"/>
                  </a:cubicBezTo>
                  <a:cubicBezTo>
                    <a:pt x="9671625" y="4516119"/>
                    <a:pt x="9690582" y="4506339"/>
                    <a:pt x="9715358" y="4506339"/>
                  </a:cubicBezTo>
                  <a:close/>
                  <a:moveTo>
                    <a:pt x="9557012" y="4506339"/>
                  </a:moveTo>
                  <a:lnTo>
                    <a:pt x="9571918" y="4506339"/>
                  </a:lnTo>
                  <a:lnTo>
                    <a:pt x="9571918" y="4729319"/>
                  </a:lnTo>
                  <a:lnTo>
                    <a:pt x="9536630" y="4729319"/>
                  </a:lnTo>
                  <a:lnTo>
                    <a:pt x="9536630" y="4549535"/>
                  </a:lnTo>
                  <a:cubicBezTo>
                    <a:pt x="9530242" y="4554098"/>
                    <a:pt x="9523372" y="4557977"/>
                    <a:pt x="9516021" y="4561171"/>
                  </a:cubicBezTo>
                  <a:cubicBezTo>
                    <a:pt x="9508669" y="4564365"/>
                    <a:pt x="9500278" y="4567179"/>
                    <a:pt x="9490848" y="4569613"/>
                  </a:cubicBezTo>
                  <a:lnTo>
                    <a:pt x="9490848" y="4539497"/>
                  </a:lnTo>
                  <a:cubicBezTo>
                    <a:pt x="9496729" y="4537570"/>
                    <a:pt x="9502408" y="4535542"/>
                    <a:pt x="9507883" y="4533413"/>
                  </a:cubicBezTo>
                  <a:cubicBezTo>
                    <a:pt x="9513359" y="4531284"/>
                    <a:pt x="9518759" y="4528900"/>
                    <a:pt x="9524082" y="4526264"/>
                  </a:cubicBezTo>
                  <a:cubicBezTo>
                    <a:pt x="9529406" y="4523628"/>
                    <a:pt x="9534780" y="4520687"/>
                    <a:pt x="9540205" y="4517442"/>
                  </a:cubicBezTo>
                  <a:cubicBezTo>
                    <a:pt x="9545630" y="4514197"/>
                    <a:pt x="9551232" y="4510496"/>
                    <a:pt x="9557012" y="4506339"/>
                  </a:cubicBezTo>
                  <a:close/>
                  <a:moveTo>
                    <a:pt x="9254256" y="4506339"/>
                  </a:moveTo>
                  <a:lnTo>
                    <a:pt x="9269162" y="4506339"/>
                  </a:lnTo>
                  <a:lnTo>
                    <a:pt x="9269162" y="4729319"/>
                  </a:lnTo>
                  <a:lnTo>
                    <a:pt x="9233874" y="4729319"/>
                  </a:lnTo>
                  <a:lnTo>
                    <a:pt x="9233874" y="4549535"/>
                  </a:lnTo>
                  <a:cubicBezTo>
                    <a:pt x="9227486" y="4554098"/>
                    <a:pt x="9220616" y="4557977"/>
                    <a:pt x="9213265" y="4561171"/>
                  </a:cubicBezTo>
                  <a:cubicBezTo>
                    <a:pt x="9205913" y="4564365"/>
                    <a:pt x="9197522" y="4567179"/>
                    <a:pt x="9188092" y="4569613"/>
                  </a:cubicBezTo>
                  <a:lnTo>
                    <a:pt x="9188092" y="4539497"/>
                  </a:lnTo>
                  <a:cubicBezTo>
                    <a:pt x="9193973" y="4537570"/>
                    <a:pt x="9199652" y="4535542"/>
                    <a:pt x="9205127" y="4533413"/>
                  </a:cubicBezTo>
                  <a:cubicBezTo>
                    <a:pt x="9210603" y="4531284"/>
                    <a:pt x="9216003" y="4528900"/>
                    <a:pt x="9221326" y="4526264"/>
                  </a:cubicBezTo>
                  <a:cubicBezTo>
                    <a:pt x="9226650" y="4523628"/>
                    <a:pt x="9232024" y="4520687"/>
                    <a:pt x="9237449" y="4517442"/>
                  </a:cubicBezTo>
                  <a:cubicBezTo>
                    <a:pt x="9242874" y="4514197"/>
                    <a:pt x="9248476" y="4510496"/>
                    <a:pt x="9254256" y="4506339"/>
                  </a:cubicBezTo>
                  <a:close/>
                  <a:moveTo>
                    <a:pt x="7851748" y="4506339"/>
                  </a:moveTo>
                  <a:lnTo>
                    <a:pt x="7866654" y="4506339"/>
                  </a:lnTo>
                  <a:lnTo>
                    <a:pt x="7866654" y="4729319"/>
                  </a:lnTo>
                  <a:lnTo>
                    <a:pt x="7831366" y="4729319"/>
                  </a:lnTo>
                  <a:lnTo>
                    <a:pt x="7831366" y="4549535"/>
                  </a:lnTo>
                  <a:cubicBezTo>
                    <a:pt x="7824978" y="4554098"/>
                    <a:pt x="7818109" y="4557977"/>
                    <a:pt x="7810757" y="4561171"/>
                  </a:cubicBezTo>
                  <a:cubicBezTo>
                    <a:pt x="7803405" y="4564365"/>
                    <a:pt x="7795015" y="4567179"/>
                    <a:pt x="7785584" y="4569613"/>
                  </a:cubicBezTo>
                  <a:lnTo>
                    <a:pt x="7785584" y="4539497"/>
                  </a:lnTo>
                  <a:cubicBezTo>
                    <a:pt x="7791465" y="4537570"/>
                    <a:pt x="7797144" y="4535542"/>
                    <a:pt x="7802619" y="4533413"/>
                  </a:cubicBezTo>
                  <a:cubicBezTo>
                    <a:pt x="7808095" y="4531284"/>
                    <a:pt x="7813495" y="4528900"/>
                    <a:pt x="7818818" y="4526264"/>
                  </a:cubicBezTo>
                  <a:cubicBezTo>
                    <a:pt x="7824142" y="4523628"/>
                    <a:pt x="7829516" y="4520687"/>
                    <a:pt x="7834941" y="4517442"/>
                  </a:cubicBezTo>
                  <a:cubicBezTo>
                    <a:pt x="7840366" y="4514197"/>
                    <a:pt x="7845968" y="4510496"/>
                    <a:pt x="7851748" y="4506339"/>
                  </a:cubicBezTo>
                  <a:close/>
                  <a:moveTo>
                    <a:pt x="7413731" y="4506339"/>
                  </a:moveTo>
                  <a:lnTo>
                    <a:pt x="7428637" y="4506339"/>
                  </a:lnTo>
                  <a:lnTo>
                    <a:pt x="7428637" y="4729319"/>
                  </a:lnTo>
                  <a:lnTo>
                    <a:pt x="7393349" y="4729319"/>
                  </a:lnTo>
                  <a:lnTo>
                    <a:pt x="7393349" y="4549535"/>
                  </a:lnTo>
                  <a:cubicBezTo>
                    <a:pt x="7386961" y="4554098"/>
                    <a:pt x="7380092" y="4557977"/>
                    <a:pt x="7372740" y="4561171"/>
                  </a:cubicBezTo>
                  <a:cubicBezTo>
                    <a:pt x="7365388" y="4564365"/>
                    <a:pt x="7356998" y="4567179"/>
                    <a:pt x="7347567" y="4569613"/>
                  </a:cubicBezTo>
                  <a:lnTo>
                    <a:pt x="7347567" y="4539497"/>
                  </a:lnTo>
                  <a:cubicBezTo>
                    <a:pt x="7353448" y="4537570"/>
                    <a:pt x="7359127" y="4535542"/>
                    <a:pt x="7364602" y="4533413"/>
                  </a:cubicBezTo>
                  <a:cubicBezTo>
                    <a:pt x="7370078" y="4531284"/>
                    <a:pt x="7375478" y="4528900"/>
                    <a:pt x="7380801" y="4526264"/>
                  </a:cubicBezTo>
                  <a:cubicBezTo>
                    <a:pt x="7386125" y="4523628"/>
                    <a:pt x="7391499" y="4520687"/>
                    <a:pt x="7396924" y="4517442"/>
                  </a:cubicBezTo>
                  <a:cubicBezTo>
                    <a:pt x="7402349" y="4514197"/>
                    <a:pt x="7407951" y="4510496"/>
                    <a:pt x="7413731" y="4506339"/>
                  </a:cubicBezTo>
                  <a:close/>
                  <a:moveTo>
                    <a:pt x="7015147" y="4506339"/>
                  </a:moveTo>
                  <a:lnTo>
                    <a:pt x="7030053" y="4506339"/>
                  </a:lnTo>
                  <a:lnTo>
                    <a:pt x="7030053" y="4729319"/>
                  </a:lnTo>
                  <a:lnTo>
                    <a:pt x="6994765" y="4729319"/>
                  </a:lnTo>
                  <a:lnTo>
                    <a:pt x="6994765" y="4549535"/>
                  </a:lnTo>
                  <a:cubicBezTo>
                    <a:pt x="6988377" y="4554098"/>
                    <a:pt x="6981508" y="4557977"/>
                    <a:pt x="6974156" y="4561171"/>
                  </a:cubicBezTo>
                  <a:cubicBezTo>
                    <a:pt x="6966804" y="4564365"/>
                    <a:pt x="6958414" y="4567179"/>
                    <a:pt x="6948983" y="4569613"/>
                  </a:cubicBezTo>
                  <a:lnTo>
                    <a:pt x="6948983" y="4539497"/>
                  </a:lnTo>
                  <a:cubicBezTo>
                    <a:pt x="6954864" y="4537570"/>
                    <a:pt x="6960543" y="4535542"/>
                    <a:pt x="6966018" y="4533413"/>
                  </a:cubicBezTo>
                  <a:cubicBezTo>
                    <a:pt x="6971494" y="4531284"/>
                    <a:pt x="6976894" y="4528900"/>
                    <a:pt x="6982217" y="4526264"/>
                  </a:cubicBezTo>
                  <a:cubicBezTo>
                    <a:pt x="6987541" y="4523628"/>
                    <a:pt x="6992915" y="4520687"/>
                    <a:pt x="6998340" y="4517442"/>
                  </a:cubicBezTo>
                  <a:cubicBezTo>
                    <a:pt x="7003765" y="4514197"/>
                    <a:pt x="7009367" y="4510496"/>
                    <a:pt x="7015147" y="4506339"/>
                  </a:cubicBezTo>
                  <a:close/>
                  <a:moveTo>
                    <a:pt x="6727931" y="4506339"/>
                  </a:moveTo>
                  <a:lnTo>
                    <a:pt x="6742837" y="4506339"/>
                  </a:lnTo>
                  <a:lnTo>
                    <a:pt x="6742837" y="4729319"/>
                  </a:lnTo>
                  <a:lnTo>
                    <a:pt x="6707549" y="4729319"/>
                  </a:lnTo>
                  <a:lnTo>
                    <a:pt x="6707549" y="4549535"/>
                  </a:lnTo>
                  <a:cubicBezTo>
                    <a:pt x="6701161" y="4554098"/>
                    <a:pt x="6694292" y="4557977"/>
                    <a:pt x="6686940" y="4561171"/>
                  </a:cubicBezTo>
                  <a:cubicBezTo>
                    <a:pt x="6679588" y="4564365"/>
                    <a:pt x="6671198" y="4567179"/>
                    <a:pt x="6661767" y="4569613"/>
                  </a:cubicBezTo>
                  <a:lnTo>
                    <a:pt x="6661767" y="4539497"/>
                  </a:lnTo>
                  <a:cubicBezTo>
                    <a:pt x="6667648" y="4537570"/>
                    <a:pt x="6673327" y="4535542"/>
                    <a:pt x="6678802" y="4533413"/>
                  </a:cubicBezTo>
                  <a:cubicBezTo>
                    <a:pt x="6684278" y="4531284"/>
                    <a:pt x="6689678" y="4528900"/>
                    <a:pt x="6695001" y="4526264"/>
                  </a:cubicBezTo>
                  <a:cubicBezTo>
                    <a:pt x="6700325" y="4523628"/>
                    <a:pt x="6705699" y="4520687"/>
                    <a:pt x="6711124" y="4517442"/>
                  </a:cubicBezTo>
                  <a:cubicBezTo>
                    <a:pt x="6716549" y="4514197"/>
                    <a:pt x="6722151" y="4510496"/>
                    <a:pt x="6727931" y="4506339"/>
                  </a:cubicBezTo>
                  <a:close/>
                  <a:moveTo>
                    <a:pt x="6584323" y="4506339"/>
                  </a:moveTo>
                  <a:lnTo>
                    <a:pt x="6599229" y="4506339"/>
                  </a:lnTo>
                  <a:lnTo>
                    <a:pt x="6599229" y="4729319"/>
                  </a:lnTo>
                  <a:lnTo>
                    <a:pt x="6563941" y="4729319"/>
                  </a:lnTo>
                  <a:lnTo>
                    <a:pt x="6563941" y="4549535"/>
                  </a:lnTo>
                  <a:cubicBezTo>
                    <a:pt x="6557553" y="4554098"/>
                    <a:pt x="6550684" y="4557977"/>
                    <a:pt x="6543332" y="4561171"/>
                  </a:cubicBezTo>
                  <a:cubicBezTo>
                    <a:pt x="6535980" y="4564365"/>
                    <a:pt x="6527590" y="4567179"/>
                    <a:pt x="6518159" y="4569613"/>
                  </a:cubicBezTo>
                  <a:lnTo>
                    <a:pt x="6518159" y="4539497"/>
                  </a:lnTo>
                  <a:cubicBezTo>
                    <a:pt x="6524040" y="4537570"/>
                    <a:pt x="6529719" y="4535542"/>
                    <a:pt x="6535194" y="4533413"/>
                  </a:cubicBezTo>
                  <a:cubicBezTo>
                    <a:pt x="6540670" y="4531284"/>
                    <a:pt x="6546070" y="4528900"/>
                    <a:pt x="6551393" y="4526264"/>
                  </a:cubicBezTo>
                  <a:cubicBezTo>
                    <a:pt x="6556717" y="4523628"/>
                    <a:pt x="6562091" y="4520687"/>
                    <a:pt x="6567516" y="4517442"/>
                  </a:cubicBezTo>
                  <a:cubicBezTo>
                    <a:pt x="6572941" y="4514197"/>
                    <a:pt x="6578543" y="4510496"/>
                    <a:pt x="6584323" y="4506339"/>
                  </a:cubicBezTo>
                  <a:close/>
                  <a:moveTo>
                    <a:pt x="6373956" y="4506339"/>
                  </a:moveTo>
                  <a:cubicBezTo>
                    <a:pt x="6421401" y="4506339"/>
                    <a:pt x="6445123" y="4543201"/>
                    <a:pt x="6445123" y="4616926"/>
                  </a:cubicBezTo>
                  <a:cubicBezTo>
                    <a:pt x="6445123" y="4653437"/>
                    <a:pt x="6438428" y="4681297"/>
                    <a:pt x="6425037" y="4700506"/>
                  </a:cubicBezTo>
                  <a:cubicBezTo>
                    <a:pt x="6411646" y="4719714"/>
                    <a:pt x="6392914" y="4729319"/>
                    <a:pt x="6368840" y="4729319"/>
                  </a:cubicBezTo>
                  <a:cubicBezTo>
                    <a:pt x="6346372" y="4729319"/>
                    <a:pt x="6328843" y="4720141"/>
                    <a:pt x="6316255" y="4701785"/>
                  </a:cubicBezTo>
                  <a:cubicBezTo>
                    <a:pt x="6303666" y="4683429"/>
                    <a:pt x="6297372" y="4656898"/>
                    <a:pt x="6297372" y="4622192"/>
                  </a:cubicBezTo>
                  <a:cubicBezTo>
                    <a:pt x="6297372" y="4584076"/>
                    <a:pt x="6303942" y="4555238"/>
                    <a:pt x="6317082" y="4535678"/>
                  </a:cubicBezTo>
                  <a:cubicBezTo>
                    <a:pt x="6330223" y="4516119"/>
                    <a:pt x="6349180" y="4506339"/>
                    <a:pt x="6373956" y="4506339"/>
                  </a:cubicBezTo>
                  <a:close/>
                  <a:moveTo>
                    <a:pt x="5975659" y="4506339"/>
                  </a:moveTo>
                  <a:lnTo>
                    <a:pt x="5990568" y="4506339"/>
                  </a:lnTo>
                  <a:lnTo>
                    <a:pt x="5990568" y="4729319"/>
                  </a:lnTo>
                  <a:lnTo>
                    <a:pt x="5955278" y="4729319"/>
                  </a:lnTo>
                  <a:lnTo>
                    <a:pt x="5955278" y="4549535"/>
                  </a:lnTo>
                  <a:cubicBezTo>
                    <a:pt x="5948891" y="4554098"/>
                    <a:pt x="5942020" y="4557977"/>
                    <a:pt x="5934669" y="4561171"/>
                  </a:cubicBezTo>
                  <a:cubicBezTo>
                    <a:pt x="5927317" y="4564365"/>
                    <a:pt x="5918927" y="4567179"/>
                    <a:pt x="5909498" y="4569613"/>
                  </a:cubicBezTo>
                  <a:lnTo>
                    <a:pt x="5909498" y="4539497"/>
                  </a:lnTo>
                  <a:cubicBezTo>
                    <a:pt x="5915377" y="4537570"/>
                    <a:pt x="5921055" y="4535542"/>
                    <a:pt x="5926531" y="4533413"/>
                  </a:cubicBezTo>
                  <a:cubicBezTo>
                    <a:pt x="5932007" y="4531284"/>
                    <a:pt x="5937407" y="4528900"/>
                    <a:pt x="5942730" y="4526264"/>
                  </a:cubicBezTo>
                  <a:cubicBezTo>
                    <a:pt x="5948054" y="4523628"/>
                    <a:pt x="5953429" y="4520687"/>
                    <a:pt x="5958852" y="4517442"/>
                  </a:cubicBezTo>
                  <a:cubicBezTo>
                    <a:pt x="5964279" y="4514197"/>
                    <a:pt x="5969881" y="4510496"/>
                    <a:pt x="5975659" y="4506339"/>
                  </a:cubicBezTo>
                  <a:close/>
                  <a:moveTo>
                    <a:pt x="5786272" y="4506339"/>
                  </a:moveTo>
                  <a:cubicBezTo>
                    <a:pt x="5833719" y="4506339"/>
                    <a:pt x="5857440" y="4543201"/>
                    <a:pt x="5857440" y="4616926"/>
                  </a:cubicBezTo>
                  <a:cubicBezTo>
                    <a:pt x="5857440" y="4653437"/>
                    <a:pt x="5850744" y="4681297"/>
                    <a:pt x="5837355" y="4700506"/>
                  </a:cubicBezTo>
                  <a:cubicBezTo>
                    <a:pt x="5823963" y="4719714"/>
                    <a:pt x="5805230" y="4729319"/>
                    <a:pt x="5781158" y="4729319"/>
                  </a:cubicBezTo>
                  <a:cubicBezTo>
                    <a:pt x="5758689" y="4729319"/>
                    <a:pt x="5741161" y="4720141"/>
                    <a:pt x="5728572" y="4701785"/>
                  </a:cubicBezTo>
                  <a:cubicBezTo>
                    <a:pt x="5715984" y="4683429"/>
                    <a:pt x="5709690" y="4656898"/>
                    <a:pt x="5709690" y="4622192"/>
                  </a:cubicBezTo>
                  <a:cubicBezTo>
                    <a:pt x="5709690" y="4584076"/>
                    <a:pt x="5716259" y="4555238"/>
                    <a:pt x="5729400" y="4535678"/>
                  </a:cubicBezTo>
                  <a:cubicBezTo>
                    <a:pt x="5742540" y="4516119"/>
                    <a:pt x="5761498" y="4506339"/>
                    <a:pt x="5786272" y="4506339"/>
                  </a:cubicBezTo>
                  <a:close/>
                  <a:moveTo>
                    <a:pt x="5093284" y="4506339"/>
                  </a:moveTo>
                  <a:cubicBezTo>
                    <a:pt x="5140729" y="4506339"/>
                    <a:pt x="5164451" y="4543201"/>
                    <a:pt x="5164451" y="4616926"/>
                  </a:cubicBezTo>
                  <a:cubicBezTo>
                    <a:pt x="5164451" y="4653437"/>
                    <a:pt x="5157756" y="4681297"/>
                    <a:pt x="5144364" y="4700506"/>
                  </a:cubicBezTo>
                  <a:cubicBezTo>
                    <a:pt x="5130974" y="4719714"/>
                    <a:pt x="5112242" y="4729319"/>
                    <a:pt x="5088168" y="4729319"/>
                  </a:cubicBezTo>
                  <a:cubicBezTo>
                    <a:pt x="5065701" y="4729319"/>
                    <a:pt x="5048170" y="4720141"/>
                    <a:pt x="5035583" y="4701785"/>
                  </a:cubicBezTo>
                  <a:cubicBezTo>
                    <a:pt x="5022994" y="4683429"/>
                    <a:pt x="5016700" y="4656898"/>
                    <a:pt x="5016700" y="4622192"/>
                  </a:cubicBezTo>
                  <a:cubicBezTo>
                    <a:pt x="5016700" y="4584076"/>
                    <a:pt x="5023271" y="4555238"/>
                    <a:pt x="5036410" y="4535678"/>
                  </a:cubicBezTo>
                  <a:cubicBezTo>
                    <a:pt x="5049553" y="4516119"/>
                    <a:pt x="5068509" y="4506339"/>
                    <a:pt x="5093284" y="4506339"/>
                  </a:cubicBezTo>
                  <a:close/>
                  <a:moveTo>
                    <a:pt x="4694968" y="4506339"/>
                  </a:moveTo>
                  <a:lnTo>
                    <a:pt x="4709876" y="4506339"/>
                  </a:lnTo>
                  <a:lnTo>
                    <a:pt x="4709876" y="4729319"/>
                  </a:lnTo>
                  <a:lnTo>
                    <a:pt x="4674589" y="4729319"/>
                  </a:lnTo>
                  <a:lnTo>
                    <a:pt x="4674589" y="4549535"/>
                  </a:lnTo>
                  <a:cubicBezTo>
                    <a:pt x="4668200" y="4554098"/>
                    <a:pt x="4661331" y="4557977"/>
                    <a:pt x="4653978" y="4561171"/>
                  </a:cubicBezTo>
                  <a:cubicBezTo>
                    <a:pt x="4646628" y="4564365"/>
                    <a:pt x="4638236" y="4567179"/>
                    <a:pt x="4628805" y="4569613"/>
                  </a:cubicBezTo>
                  <a:lnTo>
                    <a:pt x="4628805" y="4539497"/>
                  </a:lnTo>
                  <a:cubicBezTo>
                    <a:pt x="4634687" y="4537570"/>
                    <a:pt x="4640364" y="4535542"/>
                    <a:pt x="4645841" y="4533413"/>
                  </a:cubicBezTo>
                  <a:cubicBezTo>
                    <a:pt x="4651316" y="4531284"/>
                    <a:pt x="4656717" y="4528900"/>
                    <a:pt x="4662040" y="4526264"/>
                  </a:cubicBezTo>
                  <a:cubicBezTo>
                    <a:pt x="4667363" y="4523628"/>
                    <a:pt x="4672738" y="4520687"/>
                    <a:pt x="4678162" y="4517442"/>
                  </a:cubicBezTo>
                  <a:cubicBezTo>
                    <a:pt x="4683588" y="4514197"/>
                    <a:pt x="4689190" y="4510496"/>
                    <a:pt x="4694968" y="4506339"/>
                  </a:cubicBezTo>
                  <a:close/>
                  <a:moveTo>
                    <a:pt x="4345906" y="4506339"/>
                  </a:moveTo>
                  <a:lnTo>
                    <a:pt x="4360813" y="4506339"/>
                  </a:lnTo>
                  <a:lnTo>
                    <a:pt x="4360813" y="4729319"/>
                  </a:lnTo>
                  <a:lnTo>
                    <a:pt x="4325525" y="4729319"/>
                  </a:lnTo>
                  <a:lnTo>
                    <a:pt x="4325525" y="4549535"/>
                  </a:lnTo>
                  <a:cubicBezTo>
                    <a:pt x="4319138" y="4554098"/>
                    <a:pt x="4312268" y="4557977"/>
                    <a:pt x="4304915" y="4561171"/>
                  </a:cubicBezTo>
                  <a:cubicBezTo>
                    <a:pt x="4297564" y="4564365"/>
                    <a:pt x="4289174" y="4567179"/>
                    <a:pt x="4279743" y="4569613"/>
                  </a:cubicBezTo>
                  <a:lnTo>
                    <a:pt x="4279743" y="4539497"/>
                  </a:lnTo>
                  <a:cubicBezTo>
                    <a:pt x="4285625" y="4537570"/>
                    <a:pt x="4291302" y="4535542"/>
                    <a:pt x="4296778" y="4533413"/>
                  </a:cubicBezTo>
                  <a:cubicBezTo>
                    <a:pt x="4302254" y="4531284"/>
                    <a:pt x="4307653" y="4528900"/>
                    <a:pt x="4312977" y="4526264"/>
                  </a:cubicBezTo>
                  <a:cubicBezTo>
                    <a:pt x="4318300" y="4523628"/>
                    <a:pt x="4323675" y="4520687"/>
                    <a:pt x="4329099" y="4517442"/>
                  </a:cubicBezTo>
                  <a:cubicBezTo>
                    <a:pt x="4334525" y="4514197"/>
                    <a:pt x="4340127" y="4510496"/>
                    <a:pt x="4345906" y="4506339"/>
                  </a:cubicBezTo>
                  <a:close/>
                  <a:moveTo>
                    <a:pt x="3839047" y="4506339"/>
                  </a:moveTo>
                  <a:cubicBezTo>
                    <a:pt x="3886491" y="4506339"/>
                    <a:pt x="3910214" y="4543201"/>
                    <a:pt x="3910214" y="4616926"/>
                  </a:cubicBezTo>
                  <a:cubicBezTo>
                    <a:pt x="3910214" y="4653437"/>
                    <a:pt x="3903519" y="4681297"/>
                    <a:pt x="3890128" y="4700506"/>
                  </a:cubicBezTo>
                  <a:cubicBezTo>
                    <a:pt x="3876737" y="4719714"/>
                    <a:pt x="3858005" y="4729319"/>
                    <a:pt x="3833931" y="4729319"/>
                  </a:cubicBezTo>
                  <a:cubicBezTo>
                    <a:pt x="3811463" y="4729319"/>
                    <a:pt x="3793934" y="4720141"/>
                    <a:pt x="3781346" y="4701785"/>
                  </a:cubicBezTo>
                  <a:cubicBezTo>
                    <a:pt x="3768757" y="4683429"/>
                    <a:pt x="3762464" y="4656898"/>
                    <a:pt x="3762464" y="4622192"/>
                  </a:cubicBezTo>
                  <a:cubicBezTo>
                    <a:pt x="3762464" y="4584076"/>
                    <a:pt x="3769034" y="4555238"/>
                    <a:pt x="3782173" y="4535678"/>
                  </a:cubicBezTo>
                  <a:cubicBezTo>
                    <a:pt x="3795313" y="4516119"/>
                    <a:pt x="3814271" y="4506339"/>
                    <a:pt x="3839047" y="4506339"/>
                  </a:cubicBezTo>
                  <a:close/>
                  <a:moveTo>
                    <a:pt x="3616537" y="4506339"/>
                  </a:moveTo>
                  <a:cubicBezTo>
                    <a:pt x="3663981" y="4506339"/>
                    <a:pt x="3687703" y="4543201"/>
                    <a:pt x="3687703" y="4616926"/>
                  </a:cubicBezTo>
                  <a:cubicBezTo>
                    <a:pt x="3687703" y="4653437"/>
                    <a:pt x="3681008" y="4681297"/>
                    <a:pt x="3667617" y="4700506"/>
                  </a:cubicBezTo>
                  <a:cubicBezTo>
                    <a:pt x="3654226" y="4719714"/>
                    <a:pt x="3635494" y="4729319"/>
                    <a:pt x="3611420" y="4729319"/>
                  </a:cubicBezTo>
                  <a:cubicBezTo>
                    <a:pt x="3588952" y="4729319"/>
                    <a:pt x="3571422" y="4720141"/>
                    <a:pt x="3558835" y="4701785"/>
                  </a:cubicBezTo>
                  <a:cubicBezTo>
                    <a:pt x="3546246" y="4683429"/>
                    <a:pt x="3539952" y="4656898"/>
                    <a:pt x="3539952" y="4622192"/>
                  </a:cubicBezTo>
                  <a:cubicBezTo>
                    <a:pt x="3539952" y="4584076"/>
                    <a:pt x="3546522" y="4555238"/>
                    <a:pt x="3559662" y="4535678"/>
                  </a:cubicBezTo>
                  <a:cubicBezTo>
                    <a:pt x="3572804" y="4516119"/>
                    <a:pt x="3591760" y="4506339"/>
                    <a:pt x="3616537" y="4506339"/>
                  </a:cubicBezTo>
                  <a:close/>
                  <a:moveTo>
                    <a:pt x="3454863" y="4506339"/>
                  </a:moveTo>
                  <a:lnTo>
                    <a:pt x="3469768" y="4506339"/>
                  </a:lnTo>
                  <a:lnTo>
                    <a:pt x="3469768" y="4729319"/>
                  </a:lnTo>
                  <a:lnTo>
                    <a:pt x="3434481" y="4729319"/>
                  </a:lnTo>
                  <a:lnTo>
                    <a:pt x="3434481" y="4549535"/>
                  </a:lnTo>
                  <a:cubicBezTo>
                    <a:pt x="3428092" y="4554098"/>
                    <a:pt x="3421223" y="4557977"/>
                    <a:pt x="3413872" y="4561171"/>
                  </a:cubicBezTo>
                  <a:cubicBezTo>
                    <a:pt x="3406519" y="4564365"/>
                    <a:pt x="3398129" y="4567179"/>
                    <a:pt x="3388698" y="4569613"/>
                  </a:cubicBezTo>
                  <a:lnTo>
                    <a:pt x="3388698" y="4539497"/>
                  </a:lnTo>
                  <a:cubicBezTo>
                    <a:pt x="3394580" y="4537570"/>
                    <a:pt x="3400259" y="4535542"/>
                    <a:pt x="3405734" y="4533413"/>
                  </a:cubicBezTo>
                  <a:cubicBezTo>
                    <a:pt x="3411209" y="4531284"/>
                    <a:pt x="3416609" y="4528900"/>
                    <a:pt x="3421933" y="4526264"/>
                  </a:cubicBezTo>
                  <a:cubicBezTo>
                    <a:pt x="3427256" y="4523628"/>
                    <a:pt x="3432632" y="4520687"/>
                    <a:pt x="3438054" y="4517442"/>
                  </a:cubicBezTo>
                  <a:cubicBezTo>
                    <a:pt x="3443480" y="4514197"/>
                    <a:pt x="3449083" y="4510496"/>
                    <a:pt x="3454863" y="4506339"/>
                  </a:cubicBezTo>
                  <a:close/>
                  <a:moveTo>
                    <a:pt x="3158682" y="4506339"/>
                  </a:moveTo>
                  <a:lnTo>
                    <a:pt x="3173587" y="4506339"/>
                  </a:lnTo>
                  <a:lnTo>
                    <a:pt x="3173587" y="4729319"/>
                  </a:lnTo>
                  <a:lnTo>
                    <a:pt x="3138299" y="4729319"/>
                  </a:lnTo>
                  <a:lnTo>
                    <a:pt x="3138299" y="4549536"/>
                  </a:lnTo>
                  <a:cubicBezTo>
                    <a:pt x="3131912" y="4554099"/>
                    <a:pt x="3125042" y="4557977"/>
                    <a:pt x="3117690" y="4561172"/>
                  </a:cubicBezTo>
                  <a:cubicBezTo>
                    <a:pt x="3110339" y="4564366"/>
                    <a:pt x="3101948" y="4567179"/>
                    <a:pt x="3092517" y="4569613"/>
                  </a:cubicBezTo>
                  <a:lnTo>
                    <a:pt x="3092517" y="4539497"/>
                  </a:lnTo>
                  <a:cubicBezTo>
                    <a:pt x="3098398" y="4537571"/>
                    <a:pt x="3104077" y="4535543"/>
                    <a:pt x="3109553" y="4533413"/>
                  </a:cubicBezTo>
                  <a:cubicBezTo>
                    <a:pt x="3115028" y="4531284"/>
                    <a:pt x="3120428" y="4528901"/>
                    <a:pt x="3125751" y="4526264"/>
                  </a:cubicBezTo>
                  <a:cubicBezTo>
                    <a:pt x="3131075" y="4523628"/>
                    <a:pt x="3136449" y="4520687"/>
                    <a:pt x="3141875" y="4517443"/>
                  </a:cubicBezTo>
                  <a:cubicBezTo>
                    <a:pt x="3147300" y="4514198"/>
                    <a:pt x="3152901" y="4510497"/>
                    <a:pt x="3158682" y="4506339"/>
                  </a:cubicBezTo>
                  <a:close/>
                  <a:moveTo>
                    <a:pt x="2489154" y="4506339"/>
                  </a:moveTo>
                  <a:lnTo>
                    <a:pt x="2504060" y="4506339"/>
                  </a:lnTo>
                  <a:lnTo>
                    <a:pt x="2504060" y="4729319"/>
                  </a:lnTo>
                  <a:lnTo>
                    <a:pt x="2468772" y="4729319"/>
                  </a:lnTo>
                  <a:lnTo>
                    <a:pt x="2468772" y="4549536"/>
                  </a:lnTo>
                  <a:cubicBezTo>
                    <a:pt x="2462385" y="4554099"/>
                    <a:pt x="2455514" y="4557977"/>
                    <a:pt x="2448163" y="4561172"/>
                  </a:cubicBezTo>
                  <a:cubicBezTo>
                    <a:pt x="2440812" y="4564366"/>
                    <a:pt x="2432420" y="4567179"/>
                    <a:pt x="2422990" y="4569613"/>
                  </a:cubicBezTo>
                  <a:lnTo>
                    <a:pt x="2422990" y="4539497"/>
                  </a:lnTo>
                  <a:cubicBezTo>
                    <a:pt x="2428871" y="4537571"/>
                    <a:pt x="2434551" y="4535543"/>
                    <a:pt x="2440025" y="4533413"/>
                  </a:cubicBezTo>
                  <a:cubicBezTo>
                    <a:pt x="2445502" y="4531284"/>
                    <a:pt x="2450900" y="4528901"/>
                    <a:pt x="2456224" y="4526264"/>
                  </a:cubicBezTo>
                  <a:cubicBezTo>
                    <a:pt x="2461549" y="4523628"/>
                    <a:pt x="2466922" y="4520687"/>
                    <a:pt x="2472346" y="4517443"/>
                  </a:cubicBezTo>
                  <a:cubicBezTo>
                    <a:pt x="2477772" y="4514198"/>
                    <a:pt x="2483374" y="4510497"/>
                    <a:pt x="2489154" y="4506339"/>
                  </a:cubicBezTo>
                  <a:close/>
                  <a:moveTo>
                    <a:pt x="1599916" y="4506339"/>
                  </a:moveTo>
                  <a:lnTo>
                    <a:pt x="1614822" y="4506339"/>
                  </a:lnTo>
                  <a:lnTo>
                    <a:pt x="1614822" y="4729319"/>
                  </a:lnTo>
                  <a:lnTo>
                    <a:pt x="1579534" y="4729319"/>
                  </a:lnTo>
                  <a:lnTo>
                    <a:pt x="1579534" y="4549536"/>
                  </a:lnTo>
                  <a:cubicBezTo>
                    <a:pt x="1573146" y="4554099"/>
                    <a:pt x="1566276" y="4557977"/>
                    <a:pt x="1558925" y="4561172"/>
                  </a:cubicBezTo>
                  <a:cubicBezTo>
                    <a:pt x="1551573" y="4564366"/>
                    <a:pt x="1543182" y="4567179"/>
                    <a:pt x="1533752" y="4569613"/>
                  </a:cubicBezTo>
                  <a:lnTo>
                    <a:pt x="1533752" y="4539497"/>
                  </a:lnTo>
                  <a:cubicBezTo>
                    <a:pt x="1539633" y="4537571"/>
                    <a:pt x="1545312" y="4535543"/>
                    <a:pt x="1550787" y="4533413"/>
                  </a:cubicBezTo>
                  <a:cubicBezTo>
                    <a:pt x="1556263" y="4531284"/>
                    <a:pt x="1561663" y="4528901"/>
                    <a:pt x="1566986" y="4526264"/>
                  </a:cubicBezTo>
                  <a:cubicBezTo>
                    <a:pt x="1572310" y="4523628"/>
                    <a:pt x="1577684" y="4520687"/>
                    <a:pt x="1583109" y="4517443"/>
                  </a:cubicBezTo>
                  <a:cubicBezTo>
                    <a:pt x="1588534" y="4514198"/>
                    <a:pt x="1594136" y="4510497"/>
                    <a:pt x="1599916" y="4506339"/>
                  </a:cubicBezTo>
                  <a:close/>
                  <a:moveTo>
                    <a:pt x="1302202" y="4506339"/>
                  </a:moveTo>
                  <a:lnTo>
                    <a:pt x="1317108" y="4506339"/>
                  </a:lnTo>
                  <a:lnTo>
                    <a:pt x="1317108" y="4729319"/>
                  </a:lnTo>
                  <a:lnTo>
                    <a:pt x="1281820" y="4729319"/>
                  </a:lnTo>
                  <a:lnTo>
                    <a:pt x="1281820" y="4549536"/>
                  </a:lnTo>
                  <a:cubicBezTo>
                    <a:pt x="1275432" y="4554099"/>
                    <a:pt x="1268562" y="4557977"/>
                    <a:pt x="1261211" y="4561172"/>
                  </a:cubicBezTo>
                  <a:cubicBezTo>
                    <a:pt x="1253859" y="4564366"/>
                    <a:pt x="1245468" y="4567179"/>
                    <a:pt x="1236038" y="4569613"/>
                  </a:cubicBezTo>
                  <a:lnTo>
                    <a:pt x="1236038" y="4539497"/>
                  </a:lnTo>
                  <a:cubicBezTo>
                    <a:pt x="1241919" y="4537571"/>
                    <a:pt x="1247598" y="4535543"/>
                    <a:pt x="1253073" y="4533413"/>
                  </a:cubicBezTo>
                  <a:cubicBezTo>
                    <a:pt x="1258549" y="4531284"/>
                    <a:pt x="1263949" y="4528901"/>
                    <a:pt x="1269272" y="4526264"/>
                  </a:cubicBezTo>
                  <a:cubicBezTo>
                    <a:pt x="1274596" y="4523628"/>
                    <a:pt x="1279970" y="4520687"/>
                    <a:pt x="1285395" y="4517443"/>
                  </a:cubicBezTo>
                  <a:cubicBezTo>
                    <a:pt x="1290820" y="4514198"/>
                    <a:pt x="1296422" y="4510497"/>
                    <a:pt x="1302202" y="4506339"/>
                  </a:cubicBezTo>
                  <a:close/>
                  <a:moveTo>
                    <a:pt x="956133" y="4506339"/>
                  </a:moveTo>
                  <a:cubicBezTo>
                    <a:pt x="1003577" y="4506339"/>
                    <a:pt x="1027300" y="4543202"/>
                    <a:pt x="1027300" y="4616927"/>
                  </a:cubicBezTo>
                  <a:cubicBezTo>
                    <a:pt x="1027300" y="4653438"/>
                    <a:pt x="1020604" y="4681298"/>
                    <a:pt x="1007214" y="4700506"/>
                  </a:cubicBezTo>
                  <a:cubicBezTo>
                    <a:pt x="993823" y="4719715"/>
                    <a:pt x="975091" y="4729319"/>
                    <a:pt x="951017" y="4729319"/>
                  </a:cubicBezTo>
                  <a:cubicBezTo>
                    <a:pt x="928549" y="4729319"/>
                    <a:pt x="911020" y="4720141"/>
                    <a:pt x="898432" y="4701785"/>
                  </a:cubicBezTo>
                  <a:cubicBezTo>
                    <a:pt x="885843" y="4683429"/>
                    <a:pt x="879549" y="4656898"/>
                    <a:pt x="879549" y="4622193"/>
                  </a:cubicBezTo>
                  <a:cubicBezTo>
                    <a:pt x="879549" y="4584076"/>
                    <a:pt x="886119" y="4555239"/>
                    <a:pt x="899259" y="4535679"/>
                  </a:cubicBezTo>
                  <a:cubicBezTo>
                    <a:pt x="912400" y="4516119"/>
                    <a:pt x="931357" y="4506339"/>
                    <a:pt x="956133" y="4506339"/>
                  </a:cubicBezTo>
                  <a:close/>
                  <a:moveTo>
                    <a:pt x="779786" y="4506339"/>
                  </a:moveTo>
                  <a:cubicBezTo>
                    <a:pt x="827230" y="4506339"/>
                    <a:pt x="850953" y="4543202"/>
                    <a:pt x="850953" y="4616927"/>
                  </a:cubicBezTo>
                  <a:cubicBezTo>
                    <a:pt x="850953" y="4653438"/>
                    <a:pt x="844257" y="4681298"/>
                    <a:pt x="830867" y="4700506"/>
                  </a:cubicBezTo>
                  <a:cubicBezTo>
                    <a:pt x="817476" y="4719715"/>
                    <a:pt x="798744" y="4729319"/>
                    <a:pt x="774670" y="4729319"/>
                  </a:cubicBezTo>
                  <a:cubicBezTo>
                    <a:pt x="752202" y="4729319"/>
                    <a:pt x="734673" y="4720141"/>
                    <a:pt x="722085" y="4701785"/>
                  </a:cubicBezTo>
                  <a:cubicBezTo>
                    <a:pt x="709496" y="4683429"/>
                    <a:pt x="703202" y="4656898"/>
                    <a:pt x="703202" y="4622193"/>
                  </a:cubicBezTo>
                  <a:cubicBezTo>
                    <a:pt x="703202" y="4584076"/>
                    <a:pt x="709772" y="4555239"/>
                    <a:pt x="722912" y="4535679"/>
                  </a:cubicBezTo>
                  <a:cubicBezTo>
                    <a:pt x="736053" y="4516119"/>
                    <a:pt x="755010" y="4506339"/>
                    <a:pt x="779786" y="4506339"/>
                  </a:cubicBezTo>
                  <a:close/>
                  <a:moveTo>
                    <a:pt x="629607" y="4506339"/>
                  </a:moveTo>
                  <a:lnTo>
                    <a:pt x="644513" y="4506339"/>
                  </a:lnTo>
                  <a:lnTo>
                    <a:pt x="644513" y="4729319"/>
                  </a:lnTo>
                  <a:lnTo>
                    <a:pt x="609225" y="4729319"/>
                  </a:lnTo>
                  <a:lnTo>
                    <a:pt x="609225" y="4549536"/>
                  </a:lnTo>
                  <a:cubicBezTo>
                    <a:pt x="602837" y="4554099"/>
                    <a:pt x="595967" y="4557977"/>
                    <a:pt x="588616" y="4561172"/>
                  </a:cubicBezTo>
                  <a:cubicBezTo>
                    <a:pt x="581264" y="4564366"/>
                    <a:pt x="572873" y="4567179"/>
                    <a:pt x="563443" y="4569613"/>
                  </a:cubicBezTo>
                  <a:lnTo>
                    <a:pt x="563443" y="4539497"/>
                  </a:lnTo>
                  <a:cubicBezTo>
                    <a:pt x="569324" y="4537571"/>
                    <a:pt x="575003" y="4535543"/>
                    <a:pt x="580478" y="4533413"/>
                  </a:cubicBezTo>
                  <a:cubicBezTo>
                    <a:pt x="585954" y="4531284"/>
                    <a:pt x="591354" y="4528901"/>
                    <a:pt x="596677" y="4526264"/>
                  </a:cubicBezTo>
                  <a:cubicBezTo>
                    <a:pt x="602001" y="4523628"/>
                    <a:pt x="607375" y="4520687"/>
                    <a:pt x="612800" y="4517443"/>
                  </a:cubicBezTo>
                  <a:cubicBezTo>
                    <a:pt x="618225" y="4514198"/>
                    <a:pt x="623827" y="4510497"/>
                    <a:pt x="629607" y="4506339"/>
                  </a:cubicBezTo>
                  <a:close/>
                  <a:moveTo>
                    <a:pt x="480750" y="4506339"/>
                  </a:moveTo>
                  <a:lnTo>
                    <a:pt x="495656" y="4506339"/>
                  </a:lnTo>
                  <a:lnTo>
                    <a:pt x="495656" y="4729319"/>
                  </a:lnTo>
                  <a:lnTo>
                    <a:pt x="460368" y="4729319"/>
                  </a:lnTo>
                  <a:lnTo>
                    <a:pt x="460368" y="4549536"/>
                  </a:lnTo>
                  <a:cubicBezTo>
                    <a:pt x="453980" y="4554099"/>
                    <a:pt x="447110" y="4557977"/>
                    <a:pt x="439759" y="4561172"/>
                  </a:cubicBezTo>
                  <a:cubicBezTo>
                    <a:pt x="432407" y="4564366"/>
                    <a:pt x="424016" y="4567179"/>
                    <a:pt x="414586" y="4569613"/>
                  </a:cubicBezTo>
                  <a:lnTo>
                    <a:pt x="414586" y="4539497"/>
                  </a:lnTo>
                  <a:cubicBezTo>
                    <a:pt x="420467" y="4537571"/>
                    <a:pt x="426146" y="4535543"/>
                    <a:pt x="431621" y="4533413"/>
                  </a:cubicBezTo>
                  <a:cubicBezTo>
                    <a:pt x="437097" y="4531284"/>
                    <a:pt x="442497" y="4528901"/>
                    <a:pt x="447821" y="4526264"/>
                  </a:cubicBezTo>
                  <a:cubicBezTo>
                    <a:pt x="453144" y="4523628"/>
                    <a:pt x="458518" y="4520687"/>
                    <a:pt x="463943" y="4517443"/>
                  </a:cubicBezTo>
                  <a:cubicBezTo>
                    <a:pt x="469368" y="4514198"/>
                    <a:pt x="474970" y="4510497"/>
                    <a:pt x="480750" y="4506339"/>
                  </a:cubicBezTo>
                  <a:close/>
                  <a:moveTo>
                    <a:pt x="142759" y="4506339"/>
                  </a:moveTo>
                  <a:cubicBezTo>
                    <a:pt x="190204" y="4506339"/>
                    <a:pt x="213926" y="4543202"/>
                    <a:pt x="213926" y="4616927"/>
                  </a:cubicBezTo>
                  <a:cubicBezTo>
                    <a:pt x="213926" y="4653438"/>
                    <a:pt x="207231" y="4681298"/>
                    <a:pt x="193840" y="4700506"/>
                  </a:cubicBezTo>
                  <a:cubicBezTo>
                    <a:pt x="180449" y="4719715"/>
                    <a:pt x="161717" y="4729319"/>
                    <a:pt x="137643" y="4729319"/>
                  </a:cubicBezTo>
                  <a:cubicBezTo>
                    <a:pt x="115175" y="4729319"/>
                    <a:pt x="97646" y="4720141"/>
                    <a:pt x="85058" y="4701785"/>
                  </a:cubicBezTo>
                  <a:cubicBezTo>
                    <a:pt x="72470" y="4683429"/>
                    <a:pt x="66175" y="4656898"/>
                    <a:pt x="66175" y="4622193"/>
                  </a:cubicBezTo>
                  <a:cubicBezTo>
                    <a:pt x="66175" y="4584076"/>
                    <a:pt x="72745" y="4555239"/>
                    <a:pt x="85885" y="4535679"/>
                  </a:cubicBezTo>
                  <a:cubicBezTo>
                    <a:pt x="99026" y="4516119"/>
                    <a:pt x="117983" y="4506339"/>
                    <a:pt x="142759" y="4506339"/>
                  </a:cubicBezTo>
                  <a:close/>
                  <a:moveTo>
                    <a:pt x="11874294" y="4186703"/>
                  </a:moveTo>
                  <a:cubicBezTo>
                    <a:pt x="11848114" y="4186703"/>
                    <a:pt x="11835024" y="4215540"/>
                    <a:pt x="11835024" y="4273216"/>
                  </a:cubicBezTo>
                  <a:cubicBezTo>
                    <a:pt x="11835024" y="4327181"/>
                    <a:pt x="11847863" y="4354163"/>
                    <a:pt x="11873542" y="4354163"/>
                  </a:cubicBezTo>
                  <a:cubicBezTo>
                    <a:pt x="11898818" y="4354163"/>
                    <a:pt x="11911457" y="4326729"/>
                    <a:pt x="11911457" y="4271862"/>
                  </a:cubicBezTo>
                  <a:cubicBezTo>
                    <a:pt x="11911457" y="4215089"/>
                    <a:pt x="11899069" y="4186703"/>
                    <a:pt x="11874294" y="4186703"/>
                  </a:cubicBezTo>
                  <a:close/>
                  <a:moveTo>
                    <a:pt x="11189148" y="4186703"/>
                  </a:moveTo>
                  <a:cubicBezTo>
                    <a:pt x="11162968" y="4186703"/>
                    <a:pt x="11149878" y="4215540"/>
                    <a:pt x="11149878" y="4273216"/>
                  </a:cubicBezTo>
                  <a:cubicBezTo>
                    <a:pt x="11149878" y="4327181"/>
                    <a:pt x="11162717" y="4354163"/>
                    <a:pt x="11188396" y="4354163"/>
                  </a:cubicBezTo>
                  <a:cubicBezTo>
                    <a:pt x="11213672" y="4354163"/>
                    <a:pt x="11226311" y="4326729"/>
                    <a:pt x="11226311" y="4271862"/>
                  </a:cubicBezTo>
                  <a:cubicBezTo>
                    <a:pt x="11226311" y="4215089"/>
                    <a:pt x="11213923" y="4186703"/>
                    <a:pt x="11189148" y="4186703"/>
                  </a:cubicBezTo>
                  <a:close/>
                  <a:moveTo>
                    <a:pt x="9936214" y="4186703"/>
                  </a:moveTo>
                  <a:cubicBezTo>
                    <a:pt x="9910034" y="4186703"/>
                    <a:pt x="9896944" y="4215540"/>
                    <a:pt x="9896944" y="4273216"/>
                  </a:cubicBezTo>
                  <a:cubicBezTo>
                    <a:pt x="9896944" y="4327181"/>
                    <a:pt x="9909783" y="4354163"/>
                    <a:pt x="9935462" y="4354163"/>
                  </a:cubicBezTo>
                  <a:cubicBezTo>
                    <a:pt x="9960738" y="4354163"/>
                    <a:pt x="9973377" y="4326729"/>
                    <a:pt x="9973377" y="4271862"/>
                  </a:cubicBezTo>
                  <a:cubicBezTo>
                    <a:pt x="9973377" y="4215089"/>
                    <a:pt x="9960989" y="4186703"/>
                    <a:pt x="9936214" y="4186703"/>
                  </a:cubicBezTo>
                  <a:close/>
                  <a:moveTo>
                    <a:pt x="9713703" y="4186703"/>
                  </a:moveTo>
                  <a:cubicBezTo>
                    <a:pt x="9687523" y="4186703"/>
                    <a:pt x="9674433" y="4215540"/>
                    <a:pt x="9674433" y="4273216"/>
                  </a:cubicBezTo>
                  <a:cubicBezTo>
                    <a:pt x="9674433" y="4327181"/>
                    <a:pt x="9687272" y="4354163"/>
                    <a:pt x="9712951" y="4354163"/>
                  </a:cubicBezTo>
                  <a:cubicBezTo>
                    <a:pt x="9738227" y="4354163"/>
                    <a:pt x="9750866" y="4326729"/>
                    <a:pt x="9750866" y="4271862"/>
                  </a:cubicBezTo>
                  <a:cubicBezTo>
                    <a:pt x="9750866" y="4215089"/>
                    <a:pt x="9738478" y="4186703"/>
                    <a:pt x="9713703" y="4186703"/>
                  </a:cubicBezTo>
                  <a:close/>
                  <a:moveTo>
                    <a:pt x="6372301" y="4186703"/>
                  </a:moveTo>
                  <a:cubicBezTo>
                    <a:pt x="6346121" y="4186703"/>
                    <a:pt x="6333031" y="4215540"/>
                    <a:pt x="6333031" y="4273216"/>
                  </a:cubicBezTo>
                  <a:cubicBezTo>
                    <a:pt x="6333031" y="4327181"/>
                    <a:pt x="6345870" y="4354163"/>
                    <a:pt x="6371549" y="4354163"/>
                  </a:cubicBezTo>
                  <a:cubicBezTo>
                    <a:pt x="6396826" y="4354163"/>
                    <a:pt x="6409464" y="4326729"/>
                    <a:pt x="6409464" y="4271862"/>
                  </a:cubicBezTo>
                  <a:cubicBezTo>
                    <a:pt x="6409464" y="4215089"/>
                    <a:pt x="6397076" y="4186703"/>
                    <a:pt x="6372301" y="4186703"/>
                  </a:cubicBezTo>
                  <a:close/>
                  <a:moveTo>
                    <a:pt x="5784617" y="4186703"/>
                  </a:moveTo>
                  <a:cubicBezTo>
                    <a:pt x="5758439" y="4186703"/>
                    <a:pt x="5745350" y="4215540"/>
                    <a:pt x="5745350" y="4273216"/>
                  </a:cubicBezTo>
                  <a:cubicBezTo>
                    <a:pt x="5745350" y="4327181"/>
                    <a:pt x="5758187" y="4354163"/>
                    <a:pt x="5783865" y="4354163"/>
                  </a:cubicBezTo>
                  <a:cubicBezTo>
                    <a:pt x="5809143" y="4354163"/>
                    <a:pt x="5821781" y="4326729"/>
                    <a:pt x="5821781" y="4271862"/>
                  </a:cubicBezTo>
                  <a:cubicBezTo>
                    <a:pt x="5821781" y="4215089"/>
                    <a:pt x="5809394" y="4186703"/>
                    <a:pt x="5784617" y="4186703"/>
                  </a:cubicBezTo>
                  <a:close/>
                  <a:moveTo>
                    <a:pt x="5091629" y="4186703"/>
                  </a:moveTo>
                  <a:cubicBezTo>
                    <a:pt x="5065449" y="4186703"/>
                    <a:pt x="5052358" y="4215540"/>
                    <a:pt x="5052358" y="4273216"/>
                  </a:cubicBezTo>
                  <a:cubicBezTo>
                    <a:pt x="5052358" y="4327181"/>
                    <a:pt x="5065200" y="4354163"/>
                    <a:pt x="5090877" y="4354163"/>
                  </a:cubicBezTo>
                  <a:cubicBezTo>
                    <a:pt x="5116154" y="4354163"/>
                    <a:pt x="5128792" y="4326729"/>
                    <a:pt x="5128792" y="4271862"/>
                  </a:cubicBezTo>
                  <a:cubicBezTo>
                    <a:pt x="5128792" y="4215089"/>
                    <a:pt x="5116404" y="4186703"/>
                    <a:pt x="5091629" y="4186703"/>
                  </a:cubicBezTo>
                  <a:close/>
                  <a:moveTo>
                    <a:pt x="3837392" y="4186703"/>
                  </a:moveTo>
                  <a:cubicBezTo>
                    <a:pt x="3811212" y="4186703"/>
                    <a:pt x="3798122" y="4215540"/>
                    <a:pt x="3798122" y="4273216"/>
                  </a:cubicBezTo>
                  <a:cubicBezTo>
                    <a:pt x="3798122" y="4327181"/>
                    <a:pt x="3810961" y="4354163"/>
                    <a:pt x="3836640" y="4354163"/>
                  </a:cubicBezTo>
                  <a:cubicBezTo>
                    <a:pt x="3861916" y="4354163"/>
                    <a:pt x="3874555" y="4326729"/>
                    <a:pt x="3874555" y="4271862"/>
                  </a:cubicBezTo>
                  <a:cubicBezTo>
                    <a:pt x="3874555" y="4215089"/>
                    <a:pt x="3862167" y="4186703"/>
                    <a:pt x="3837392" y="4186703"/>
                  </a:cubicBezTo>
                  <a:close/>
                  <a:moveTo>
                    <a:pt x="3614881" y="4186703"/>
                  </a:moveTo>
                  <a:cubicBezTo>
                    <a:pt x="3588702" y="4186703"/>
                    <a:pt x="3575611" y="4215540"/>
                    <a:pt x="3575611" y="4273216"/>
                  </a:cubicBezTo>
                  <a:cubicBezTo>
                    <a:pt x="3575611" y="4327181"/>
                    <a:pt x="3588451" y="4354163"/>
                    <a:pt x="3614130" y="4354163"/>
                  </a:cubicBezTo>
                  <a:cubicBezTo>
                    <a:pt x="3639407" y="4354163"/>
                    <a:pt x="3652044" y="4326729"/>
                    <a:pt x="3652044" y="4271862"/>
                  </a:cubicBezTo>
                  <a:cubicBezTo>
                    <a:pt x="3652044" y="4215089"/>
                    <a:pt x="3639656" y="4186703"/>
                    <a:pt x="3614881" y="4186703"/>
                  </a:cubicBezTo>
                  <a:close/>
                  <a:moveTo>
                    <a:pt x="10438235" y="4158869"/>
                  </a:moveTo>
                  <a:lnTo>
                    <a:pt x="10453141" y="4158869"/>
                  </a:lnTo>
                  <a:lnTo>
                    <a:pt x="10453141" y="4381849"/>
                  </a:lnTo>
                  <a:lnTo>
                    <a:pt x="10417853" y="4381849"/>
                  </a:lnTo>
                  <a:lnTo>
                    <a:pt x="10417853" y="4202066"/>
                  </a:lnTo>
                  <a:cubicBezTo>
                    <a:pt x="10411465" y="4206629"/>
                    <a:pt x="10404595" y="4210507"/>
                    <a:pt x="10397244" y="4213702"/>
                  </a:cubicBezTo>
                  <a:cubicBezTo>
                    <a:pt x="10389892" y="4216896"/>
                    <a:pt x="10381501" y="4219709"/>
                    <a:pt x="10372071" y="4222143"/>
                  </a:cubicBezTo>
                  <a:lnTo>
                    <a:pt x="10372071" y="4192027"/>
                  </a:lnTo>
                  <a:cubicBezTo>
                    <a:pt x="10377952" y="4190101"/>
                    <a:pt x="10383631" y="4188073"/>
                    <a:pt x="10389106" y="4185943"/>
                  </a:cubicBezTo>
                  <a:cubicBezTo>
                    <a:pt x="10394582" y="4183814"/>
                    <a:pt x="10399982" y="4181431"/>
                    <a:pt x="10405305" y="4178794"/>
                  </a:cubicBezTo>
                  <a:cubicBezTo>
                    <a:pt x="10410629" y="4176158"/>
                    <a:pt x="10416003" y="4173217"/>
                    <a:pt x="10421428" y="4169973"/>
                  </a:cubicBezTo>
                  <a:cubicBezTo>
                    <a:pt x="10426853" y="4166728"/>
                    <a:pt x="10432455" y="4163027"/>
                    <a:pt x="10438235" y="4158869"/>
                  </a:cubicBezTo>
                  <a:close/>
                  <a:moveTo>
                    <a:pt x="12062430" y="4158868"/>
                  </a:moveTo>
                  <a:lnTo>
                    <a:pt x="12077336" y="4158868"/>
                  </a:lnTo>
                  <a:lnTo>
                    <a:pt x="12077336" y="4381848"/>
                  </a:lnTo>
                  <a:lnTo>
                    <a:pt x="12042048" y="4381848"/>
                  </a:lnTo>
                  <a:lnTo>
                    <a:pt x="12042048" y="4202064"/>
                  </a:lnTo>
                  <a:cubicBezTo>
                    <a:pt x="12035660" y="4206627"/>
                    <a:pt x="12028790" y="4210506"/>
                    <a:pt x="12021439" y="4213700"/>
                  </a:cubicBezTo>
                  <a:cubicBezTo>
                    <a:pt x="12014087" y="4216894"/>
                    <a:pt x="12005696" y="4219708"/>
                    <a:pt x="11996266" y="4222142"/>
                  </a:cubicBezTo>
                  <a:lnTo>
                    <a:pt x="11996266" y="4192026"/>
                  </a:lnTo>
                  <a:cubicBezTo>
                    <a:pt x="12002147" y="4190099"/>
                    <a:pt x="12007826" y="4188071"/>
                    <a:pt x="12013301" y="4185942"/>
                  </a:cubicBezTo>
                  <a:cubicBezTo>
                    <a:pt x="12018777" y="4183813"/>
                    <a:pt x="12024177" y="4181429"/>
                    <a:pt x="12029500" y="4178793"/>
                  </a:cubicBezTo>
                  <a:cubicBezTo>
                    <a:pt x="12034824" y="4176157"/>
                    <a:pt x="12040198" y="4173216"/>
                    <a:pt x="12045623" y="4169971"/>
                  </a:cubicBezTo>
                  <a:cubicBezTo>
                    <a:pt x="12051048" y="4166726"/>
                    <a:pt x="12056650" y="4163025"/>
                    <a:pt x="12062430" y="4158868"/>
                  </a:cubicBezTo>
                  <a:close/>
                  <a:moveTo>
                    <a:pt x="11875949" y="4158868"/>
                  </a:moveTo>
                  <a:cubicBezTo>
                    <a:pt x="11923393" y="4158868"/>
                    <a:pt x="11947116" y="4195730"/>
                    <a:pt x="11947116" y="4269455"/>
                  </a:cubicBezTo>
                  <a:cubicBezTo>
                    <a:pt x="11947116" y="4305966"/>
                    <a:pt x="11940420" y="4333826"/>
                    <a:pt x="11927030" y="4353035"/>
                  </a:cubicBezTo>
                  <a:cubicBezTo>
                    <a:pt x="11913639" y="4372243"/>
                    <a:pt x="11894907" y="4381848"/>
                    <a:pt x="11870833" y="4381848"/>
                  </a:cubicBezTo>
                  <a:cubicBezTo>
                    <a:pt x="11848365" y="4381848"/>
                    <a:pt x="11830836" y="4372670"/>
                    <a:pt x="11818248" y="4354314"/>
                  </a:cubicBezTo>
                  <a:cubicBezTo>
                    <a:pt x="11805659" y="4335958"/>
                    <a:pt x="11799365" y="4309427"/>
                    <a:pt x="11799365" y="4274721"/>
                  </a:cubicBezTo>
                  <a:cubicBezTo>
                    <a:pt x="11799365" y="4236605"/>
                    <a:pt x="11805935" y="4207767"/>
                    <a:pt x="11819075" y="4188207"/>
                  </a:cubicBezTo>
                  <a:cubicBezTo>
                    <a:pt x="11832216" y="4168648"/>
                    <a:pt x="11851173" y="4158868"/>
                    <a:pt x="11875949" y="4158868"/>
                  </a:cubicBezTo>
                  <a:close/>
                  <a:moveTo>
                    <a:pt x="11190803" y="4158868"/>
                  </a:moveTo>
                  <a:cubicBezTo>
                    <a:pt x="11238247" y="4158868"/>
                    <a:pt x="11261970" y="4195730"/>
                    <a:pt x="11261970" y="4269455"/>
                  </a:cubicBezTo>
                  <a:cubicBezTo>
                    <a:pt x="11261970" y="4305966"/>
                    <a:pt x="11255274" y="4333826"/>
                    <a:pt x="11241884" y="4353035"/>
                  </a:cubicBezTo>
                  <a:cubicBezTo>
                    <a:pt x="11228493" y="4372243"/>
                    <a:pt x="11209761" y="4381848"/>
                    <a:pt x="11185687" y="4381848"/>
                  </a:cubicBezTo>
                  <a:cubicBezTo>
                    <a:pt x="11163219" y="4381848"/>
                    <a:pt x="11145690" y="4372670"/>
                    <a:pt x="11133102" y="4354314"/>
                  </a:cubicBezTo>
                  <a:cubicBezTo>
                    <a:pt x="11120513" y="4335958"/>
                    <a:pt x="11114219" y="4309427"/>
                    <a:pt x="11114219" y="4274721"/>
                  </a:cubicBezTo>
                  <a:cubicBezTo>
                    <a:pt x="11114219" y="4236605"/>
                    <a:pt x="11120789" y="4207767"/>
                    <a:pt x="11133929" y="4188207"/>
                  </a:cubicBezTo>
                  <a:cubicBezTo>
                    <a:pt x="11147070" y="4168648"/>
                    <a:pt x="11166027" y="4158868"/>
                    <a:pt x="11190803" y="4158868"/>
                  </a:cubicBezTo>
                  <a:close/>
                  <a:moveTo>
                    <a:pt x="10143427" y="4158868"/>
                  </a:moveTo>
                  <a:lnTo>
                    <a:pt x="10158333" y="4158868"/>
                  </a:lnTo>
                  <a:lnTo>
                    <a:pt x="10158333" y="4381848"/>
                  </a:lnTo>
                  <a:lnTo>
                    <a:pt x="10123045" y="4381848"/>
                  </a:lnTo>
                  <a:lnTo>
                    <a:pt x="10123045" y="4202064"/>
                  </a:lnTo>
                  <a:cubicBezTo>
                    <a:pt x="10116657" y="4206627"/>
                    <a:pt x="10109787" y="4210506"/>
                    <a:pt x="10102436" y="4213700"/>
                  </a:cubicBezTo>
                  <a:cubicBezTo>
                    <a:pt x="10095084" y="4216894"/>
                    <a:pt x="10086693" y="4219708"/>
                    <a:pt x="10077263" y="4222142"/>
                  </a:cubicBezTo>
                  <a:lnTo>
                    <a:pt x="10077263" y="4192026"/>
                  </a:lnTo>
                  <a:cubicBezTo>
                    <a:pt x="10083144" y="4190099"/>
                    <a:pt x="10088823" y="4188071"/>
                    <a:pt x="10094298" y="4185942"/>
                  </a:cubicBezTo>
                  <a:cubicBezTo>
                    <a:pt x="10099774" y="4183813"/>
                    <a:pt x="10105174" y="4181429"/>
                    <a:pt x="10110497" y="4178793"/>
                  </a:cubicBezTo>
                  <a:cubicBezTo>
                    <a:pt x="10115821" y="4176157"/>
                    <a:pt x="10121195" y="4173216"/>
                    <a:pt x="10126620" y="4169971"/>
                  </a:cubicBezTo>
                  <a:cubicBezTo>
                    <a:pt x="10132045" y="4166726"/>
                    <a:pt x="10137647" y="4163025"/>
                    <a:pt x="10143427" y="4158868"/>
                  </a:cubicBezTo>
                  <a:close/>
                  <a:moveTo>
                    <a:pt x="9937869" y="4158868"/>
                  </a:moveTo>
                  <a:cubicBezTo>
                    <a:pt x="9985313" y="4158868"/>
                    <a:pt x="10009036" y="4195730"/>
                    <a:pt x="10009036" y="4269455"/>
                  </a:cubicBezTo>
                  <a:cubicBezTo>
                    <a:pt x="10009036" y="4305966"/>
                    <a:pt x="10002340" y="4333826"/>
                    <a:pt x="9988950" y="4353035"/>
                  </a:cubicBezTo>
                  <a:cubicBezTo>
                    <a:pt x="9975559" y="4372243"/>
                    <a:pt x="9956827" y="4381848"/>
                    <a:pt x="9932753" y="4381848"/>
                  </a:cubicBezTo>
                  <a:cubicBezTo>
                    <a:pt x="9910285" y="4381848"/>
                    <a:pt x="9892756" y="4372670"/>
                    <a:pt x="9880168" y="4354314"/>
                  </a:cubicBezTo>
                  <a:cubicBezTo>
                    <a:pt x="9867579" y="4335958"/>
                    <a:pt x="9861285" y="4309427"/>
                    <a:pt x="9861285" y="4274721"/>
                  </a:cubicBezTo>
                  <a:cubicBezTo>
                    <a:pt x="9861285" y="4236605"/>
                    <a:pt x="9867855" y="4207767"/>
                    <a:pt x="9880995" y="4188207"/>
                  </a:cubicBezTo>
                  <a:cubicBezTo>
                    <a:pt x="9894136" y="4168648"/>
                    <a:pt x="9913093" y="4158868"/>
                    <a:pt x="9937869" y="4158868"/>
                  </a:cubicBezTo>
                  <a:close/>
                  <a:moveTo>
                    <a:pt x="9715358" y="4158868"/>
                  </a:moveTo>
                  <a:cubicBezTo>
                    <a:pt x="9762802" y="4158868"/>
                    <a:pt x="9786525" y="4195730"/>
                    <a:pt x="9786525" y="4269455"/>
                  </a:cubicBezTo>
                  <a:cubicBezTo>
                    <a:pt x="9786525" y="4305966"/>
                    <a:pt x="9779829" y="4333826"/>
                    <a:pt x="9766439" y="4353035"/>
                  </a:cubicBezTo>
                  <a:cubicBezTo>
                    <a:pt x="9753048" y="4372243"/>
                    <a:pt x="9734316" y="4381848"/>
                    <a:pt x="9710242" y="4381848"/>
                  </a:cubicBezTo>
                  <a:cubicBezTo>
                    <a:pt x="9687774" y="4381848"/>
                    <a:pt x="9670245" y="4372670"/>
                    <a:pt x="9657657" y="4354314"/>
                  </a:cubicBezTo>
                  <a:cubicBezTo>
                    <a:pt x="9645068" y="4335958"/>
                    <a:pt x="9638774" y="4309427"/>
                    <a:pt x="9638774" y="4274721"/>
                  </a:cubicBezTo>
                  <a:cubicBezTo>
                    <a:pt x="9638774" y="4236605"/>
                    <a:pt x="9645344" y="4207767"/>
                    <a:pt x="9658484" y="4188207"/>
                  </a:cubicBezTo>
                  <a:cubicBezTo>
                    <a:pt x="9671625" y="4168648"/>
                    <a:pt x="9690582" y="4158868"/>
                    <a:pt x="9715358" y="4158868"/>
                  </a:cubicBezTo>
                  <a:close/>
                  <a:moveTo>
                    <a:pt x="9557012" y="4158868"/>
                  </a:moveTo>
                  <a:lnTo>
                    <a:pt x="9571918" y="4158868"/>
                  </a:lnTo>
                  <a:lnTo>
                    <a:pt x="9571918" y="4381848"/>
                  </a:lnTo>
                  <a:lnTo>
                    <a:pt x="9536630" y="4381848"/>
                  </a:lnTo>
                  <a:lnTo>
                    <a:pt x="9536630" y="4202064"/>
                  </a:lnTo>
                  <a:cubicBezTo>
                    <a:pt x="9530242" y="4206627"/>
                    <a:pt x="9523372" y="4210506"/>
                    <a:pt x="9516021" y="4213700"/>
                  </a:cubicBezTo>
                  <a:cubicBezTo>
                    <a:pt x="9508669" y="4216894"/>
                    <a:pt x="9500278" y="4219708"/>
                    <a:pt x="9490848" y="4222142"/>
                  </a:cubicBezTo>
                  <a:lnTo>
                    <a:pt x="9490848" y="4192026"/>
                  </a:lnTo>
                  <a:cubicBezTo>
                    <a:pt x="9496729" y="4190099"/>
                    <a:pt x="9502408" y="4188071"/>
                    <a:pt x="9507883" y="4185942"/>
                  </a:cubicBezTo>
                  <a:cubicBezTo>
                    <a:pt x="9513359" y="4183813"/>
                    <a:pt x="9518759" y="4181429"/>
                    <a:pt x="9524082" y="4178793"/>
                  </a:cubicBezTo>
                  <a:cubicBezTo>
                    <a:pt x="9529406" y="4176157"/>
                    <a:pt x="9534780" y="4173216"/>
                    <a:pt x="9540205" y="4169971"/>
                  </a:cubicBezTo>
                  <a:cubicBezTo>
                    <a:pt x="9545630" y="4166726"/>
                    <a:pt x="9551232" y="4163025"/>
                    <a:pt x="9557012" y="4158868"/>
                  </a:cubicBezTo>
                  <a:close/>
                  <a:moveTo>
                    <a:pt x="9254256" y="4158868"/>
                  </a:moveTo>
                  <a:lnTo>
                    <a:pt x="9269162" y="4158868"/>
                  </a:lnTo>
                  <a:lnTo>
                    <a:pt x="9269162" y="4381848"/>
                  </a:lnTo>
                  <a:lnTo>
                    <a:pt x="9233874" y="4381848"/>
                  </a:lnTo>
                  <a:lnTo>
                    <a:pt x="9233874" y="4202064"/>
                  </a:lnTo>
                  <a:cubicBezTo>
                    <a:pt x="9227486" y="4206627"/>
                    <a:pt x="9220616" y="4210506"/>
                    <a:pt x="9213265" y="4213700"/>
                  </a:cubicBezTo>
                  <a:cubicBezTo>
                    <a:pt x="9205913" y="4216894"/>
                    <a:pt x="9197522" y="4219708"/>
                    <a:pt x="9188092" y="4222142"/>
                  </a:cubicBezTo>
                  <a:lnTo>
                    <a:pt x="9188092" y="4192026"/>
                  </a:lnTo>
                  <a:cubicBezTo>
                    <a:pt x="9193973" y="4190099"/>
                    <a:pt x="9199652" y="4188071"/>
                    <a:pt x="9205127" y="4185942"/>
                  </a:cubicBezTo>
                  <a:cubicBezTo>
                    <a:pt x="9210603" y="4183813"/>
                    <a:pt x="9216003" y="4181429"/>
                    <a:pt x="9221326" y="4178793"/>
                  </a:cubicBezTo>
                  <a:cubicBezTo>
                    <a:pt x="9226650" y="4176157"/>
                    <a:pt x="9232024" y="4173216"/>
                    <a:pt x="9237449" y="4169971"/>
                  </a:cubicBezTo>
                  <a:cubicBezTo>
                    <a:pt x="9242874" y="4166726"/>
                    <a:pt x="9248476" y="4163025"/>
                    <a:pt x="9254256" y="4158868"/>
                  </a:cubicBezTo>
                  <a:close/>
                  <a:moveTo>
                    <a:pt x="8744915" y="4158868"/>
                  </a:moveTo>
                  <a:lnTo>
                    <a:pt x="8759821" y="4158868"/>
                  </a:lnTo>
                  <a:lnTo>
                    <a:pt x="8759821" y="4381848"/>
                  </a:lnTo>
                  <a:lnTo>
                    <a:pt x="8724533" y="4381848"/>
                  </a:lnTo>
                  <a:lnTo>
                    <a:pt x="8724533" y="4202065"/>
                  </a:lnTo>
                  <a:cubicBezTo>
                    <a:pt x="8718145" y="4206628"/>
                    <a:pt x="8711275" y="4210506"/>
                    <a:pt x="8703924" y="4213701"/>
                  </a:cubicBezTo>
                  <a:cubicBezTo>
                    <a:pt x="8696572" y="4216895"/>
                    <a:pt x="8688181" y="4219708"/>
                    <a:pt x="8678751" y="4222142"/>
                  </a:cubicBezTo>
                  <a:lnTo>
                    <a:pt x="8678751" y="4192026"/>
                  </a:lnTo>
                  <a:cubicBezTo>
                    <a:pt x="8684632" y="4190100"/>
                    <a:pt x="8690311" y="4188072"/>
                    <a:pt x="8695786" y="4185942"/>
                  </a:cubicBezTo>
                  <a:cubicBezTo>
                    <a:pt x="8701262" y="4183813"/>
                    <a:pt x="8706662" y="4181430"/>
                    <a:pt x="8711985" y="4178793"/>
                  </a:cubicBezTo>
                  <a:cubicBezTo>
                    <a:pt x="8717309" y="4176157"/>
                    <a:pt x="8722683" y="4173216"/>
                    <a:pt x="8728108" y="4169972"/>
                  </a:cubicBezTo>
                  <a:cubicBezTo>
                    <a:pt x="8733533" y="4166727"/>
                    <a:pt x="8739135" y="4163026"/>
                    <a:pt x="8744915" y="4158868"/>
                  </a:cubicBezTo>
                  <a:close/>
                  <a:moveTo>
                    <a:pt x="7851748" y="4158868"/>
                  </a:moveTo>
                  <a:lnTo>
                    <a:pt x="7866654" y="4158868"/>
                  </a:lnTo>
                  <a:lnTo>
                    <a:pt x="7866654" y="4381848"/>
                  </a:lnTo>
                  <a:lnTo>
                    <a:pt x="7831366" y="4381848"/>
                  </a:lnTo>
                  <a:lnTo>
                    <a:pt x="7831366" y="4202064"/>
                  </a:lnTo>
                  <a:cubicBezTo>
                    <a:pt x="7824978" y="4206627"/>
                    <a:pt x="7818109" y="4210506"/>
                    <a:pt x="7810757" y="4213700"/>
                  </a:cubicBezTo>
                  <a:cubicBezTo>
                    <a:pt x="7803405" y="4216894"/>
                    <a:pt x="7795015" y="4219708"/>
                    <a:pt x="7785584" y="4222142"/>
                  </a:cubicBezTo>
                  <a:lnTo>
                    <a:pt x="7785584" y="4192026"/>
                  </a:lnTo>
                  <a:cubicBezTo>
                    <a:pt x="7791465" y="4190099"/>
                    <a:pt x="7797144" y="4188071"/>
                    <a:pt x="7802619" y="4185942"/>
                  </a:cubicBezTo>
                  <a:cubicBezTo>
                    <a:pt x="7808095" y="4183813"/>
                    <a:pt x="7813495" y="4181429"/>
                    <a:pt x="7818818" y="4178793"/>
                  </a:cubicBezTo>
                  <a:cubicBezTo>
                    <a:pt x="7824142" y="4176157"/>
                    <a:pt x="7829516" y="4173216"/>
                    <a:pt x="7834941" y="4169971"/>
                  </a:cubicBezTo>
                  <a:cubicBezTo>
                    <a:pt x="7840366" y="4166726"/>
                    <a:pt x="7845968" y="4163025"/>
                    <a:pt x="7851748" y="4158868"/>
                  </a:cubicBezTo>
                  <a:close/>
                  <a:moveTo>
                    <a:pt x="7413731" y="4158868"/>
                  </a:moveTo>
                  <a:lnTo>
                    <a:pt x="7428637" y="4158868"/>
                  </a:lnTo>
                  <a:lnTo>
                    <a:pt x="7428637" y="4381848"/>
                  </a:lnTo>
                  <a:lnTo>
                    <a:pt x="7393349" y="4381848"/>
                  </a:lnTo>
                  <a:lnTo>
                    <a:pt x="7393349" y="4202064"/>
                  </a:lnTo>
                  <a:cubicBezTo>
                    <a:pt x="7386961" y="4206627"/>
                    <a:pt x="7380092" y="4210506"/>
                    <a:pt x="7372740" y="4213700"/>
                  </a:cubicBezTo>
                  <a:cubicBezTo>
                    <a:pt x="7365388" y="4216894"/>
                    <a:pt x="7356998" y="4219708"/>
                    <a:pt x="7347567" y="4222142"/>
                  </a:cubicBezTo>
                  <a:lnTo>
                    <a:pt x="7347567" y="4192026"/>
                  </a:lnTo>
                  <a:cubicBezTo>
                    <a:pt x="7353448" y="4190099"/>
                    <a:pt x="7359127" y="4188071"/>
                    <a:pt x="7364602" y="4185942"/>
                  </a:cubicBezTo>
                  <a:cubicBezTo>
                    <a:pt x="7370078" y="4183813"/>
                    <a:pt x="7375478" y="4181429"/>
                    <a:pt x="7380801" y="4178793"/>
                  </a:cubicBezTo>
                  <a:cubicBezTo>
                    <a:pt x="7386125" y="4176157"/>
                    <a:pt x="7391499" y="4173216"/>
                    <a:pt x="7396924" y="4169971"/>
                  </a:cubicBezTo>
                  <a:cubicBezTo>
                    <a:pt x="7402349" y="4166726"/>
                    <a:pt x="7407951" y="4163025"/>
                    <a:pt x="7413731" y="4158868"/>
                  </a:cubicBezTo>
                  <a:close/>
                  <a:moveTo>
                    <a:pt x="7015147" y="4158868"/>
                  </a:moveTo>
                  <a:lnTo>
                    <a:pt x="7030053" y="4158868"/>
                  </a:lnTo>
                  <a:lnTo>
                    <a:pt x="7030053" y="4381848"/>
                  </a:lnTo>
                  <a:lnTo>
                    <a:pt x="6994765" y="4381848"/>
                  </a:lnTo>
                  <a:lnTo>
                    <a:pt x="6994765" y="4202064"/>
                  </a:lnTo>
                  <a:cubicBezTo>
                    <a:pt x="6988377" y="4206627"/>
                    <a:pt x="6981508" y="4210506"/>
                    <a:pt x="6974156" y="4213700"/>
                  </a:cubicBezTo>
                  <a:cubicBezTo>
                    <a:pt x="6966804" y="4216894"/>
                    <a:pt x="6958414" y="4219708"/>
                    <a:pt x="6948983" y="4222142"/>
                  </a:cubicBezTo>
                  <a:lnTo>
                    <a:pt x="6948983" y="4192026"/>
                  </a:lnTo>
                  <a:cubicBezTo>
                    <a:pt x="6954864" y="4190099"/>
                    <a:pt x="6960543" y="4188071"/>
                    <a:pt x="6966018" y="4185942"/>
                  </a:cubicBezTo>
                  <a:cubicBezTo>
                    <a:pt x="6971494" y="4183813"/>
                    <a:pt x="6976894" y="4181429"/>
                    <a:pt x="6982217" y="4178793"/>
                  </a:cubicBezTo>
                  <a:cubicBezTo>
                    <a:pt x="6987541" y="4176157"/>
                    <a:pt x="6992915" y="4173216"/>
                    <a:pt x="6998340" y="4169971"/>
                  </a:cubicBezTo>
                  <a:cubicBezTo>
                    <a:pt x="7003765" y="4166726"/>
                    <a:pt x="7009367" y="4163025"/>
                    <a:pt x="7015147" y="4158868"/>
                  </a:cubicBezTo>
                  <a:close/>
                  <a:moveTo>
                    <a:pt x="6727931" y="4158868"/>
                  </a:moveTo>
                  <a:lnTo>
                    <a:pt x="6742837" y="4158868"/>
                  </a:lnTo>
                  <a:lnTo>
                    <a:pt x="6742837" y="4381848"/>
                  </a:lnTo>
                  <a:lnTo>
                    <a:pt x="6707549" y="4381848"/>
                  </a:lnTo>
                  <a:lnTo>
                    <a:pt x="6707549" y="4202064"/>
                  </a:lnTo>
                  <a:cubicBezTo>
                    <a:pt x="6701161" y="4206627"/>
                    <a:pt x="6694292" y="4210506"/>
                    <a:pt x="6686940" y="4213700"/>
                  </a:cubicBezTo>
                  <a:cubicBezTo>
                    <a:pt x="6679588" y="4216894"/>
                    <a:pt x="6671198" y="4219708"/>
                    <a:pt x="6661767" y="4222142"/>
                  </a:cubicBezTo>
                  <a:lnTo>
                    <a:pt x="6661767" y="4192026"/>
                  </a:lnTo>
                  <a:cubicBezTo>
                    <a:pt x="6667648" y="4190099"/>
                    <a:pt x="6673327" y="4188071"/>
                    <a:pt x="6678802" y="4185942"/>
                  </a:cubicBezTo>
                  <a:cubicBezTo>
                    <a:pt x="6684278" y="4183813"/>
                    <a:pt x="6689678" y="4181429"/>
                    <a:pt x="6695001" y="4178793"/>
                  </a:cubicBezTo>
                  <a:cubicBezTo>
                    <a:pt x="6700325" y="4176157"/>
                    <a:pt x="6705699" y="4173216"/>
                    <a:pt x="6711124" y="4169971"/>
                  </a:cubicBezTo>
                  <a:cubicBezTo>
                    <a:pt x="6716549" y="4166726"/>
                    <a:pt x="6722151" y="4163025"/>
                    <a:pt x="6727931" y="4158868"/>
                  </a:cubicBezTo>
                  <a:close/>
                  <a:moveTo>
                    <a:pt x="6584323" y="4158868"/>
                  </a:moveTo>
                  <a:lnTo>
                    <a:pt x="6599229" y="4158868"/>
                  </a:lnTo>
                  <a:lnTo>
                    <a:pt x="6599229" y="4381848"/>
                  </a:lnTo>
                  <a:lnTo>
                    <a:pt x="6563941" y="4381848"/>
                  </a:lnTo>
                  <a:lnTo>
                    <a:pt x="6563941" y="4202064"/>
                  </a:lnTo>
                  <a:cubicBezTo>
                    <a:pt x="6557553" y="4206627"/>
                    <a:pt x="6550684" y="4210506"/>
                    <a:pt x="6543332" y="4213700"/>
                  </a:cubicBezTo>
                  <a:cubicBezTo>
                    <a:pt x="6535980" y="4216894"/>
                    <a:pt x="6527590" y="4219708"/>
                    <a:pt x="6518159" y="4222142"/>
                  </a:cubicBezTo>
                  <a:lnTo>
                    <a:pt x="6518159" y="4192026"/>
                  </a:lnTo>
                  <a:cubicBezTo>
                    <a:pt x="6524040" y="4190099"/>
                    <a:pt x="6529719" y="4188071"/>
                    <a:pt x="6535194" y="4185942"/>
                  </a:cubicBezTo>
                  <a:cubicBezTo>
                    <a:pt x="6540670" y="4183813"/>
                    <a:pt x="6546070" y="4181429"/>
                    <a:pt x="6551393" y="4178793"/>
                  </a:cubicBezTo>
                  <a:cubicBezTo>
                    <a:pt x="6556717" y="4176157"/>
                    <a:pt x="6562091" y="4173216"/>
                    <a:pt x="6567516" y="4169971"/>
                  </a:cubicBezTo>
                  <a:cubicBezTo>
                    <a:pt x="6572941" y="4166726"/>
                    <a:pt x="6578543" y="4163025"/>
                    <a:pt x="6584323" y="4158868"/>
                  </a:cubicBezTo>
                  <a:close/>
                  <a:moveTo>
                    <a:pt x="6373956" y="4158868"/>
                  </a:moveTo>
                  <a:cubicBezTo>
                    <a:pt x="6421401" y="4158868"/>
                    <a:pt x="6445123" y="4195730"/>
                    <a:pt x="6445123" y="4269455"/>
                  </a:cubicBezTo>
                  <a:cubicBezTo>
                    <a:pt x="6445123" y="4305966"/>
                    <a:pt x="6438428" y="4333826"/>
                    <a:pt x="6425037" y="4353035"/>
                  </a:cubicBezTo>
                  <a:cubicBezTo>
                    <a:pt x="6411646" y="4372243"/>
                    <a:pt x="6392914" y="4381848"/>
                    <a:pt x="6368840" y="4381848"/>
                  </a:cubicBezTo>
                  <a:cubicBezTo>
                    <a:pt x="6346372" y="4381848"/>
                    <a:pt x="6328843" y="4372670"/>
                    <a:pt x="6316255" y="4354314"/>
                  </a:cubicBezTo>
                  <a:cubicBezTo>
                    <a:pt x="6303666" y="4335958"/>
                    <a:pt x="6297372" y="4309427"/>
                    <a:pt x="6297372" y="4274721"/>
                  </a:cubicBezTo>
                  <a:cubicBezTo>
                    <a:pt x="6297372" y="4236605"/>
                    <a:pt x="6303942" y="4207767"/>
                    <a:pt x="6317082" y="4188207"/>
                  </a:cubicBezTo>
                  <a:cubicBezTo>
                    <a:pt x="6330223" y="4168648"/>
                    <a:pt x="6349180" y="4158868"/>
                    <a:pt x="6373956" y="4158868"/>
                  </a:cubicBezTo>
                  <a:close/>
                  <a:moveTo>
                    <a:pt x="5975659" y="4158868"/>
                  </a:moveTo>
                  <a:lnTo>
                    <a:pt x="5990568" y="4158868"/>
                  </a:lnTo>
                  <a:lnTo>
                    <a:pt x="5990568" y="4381848"/>
                  </a:lnTo>
                  <a:lnTo>
                    <a:pt x="5955278" y="4381848"/>
                  </a:lnTo>
                  <a:lnTo>
                    <a:pt x="5955278" y="4202064"/>
                  </a:lnTo>
                  <a:cubicBezTo>
                    <a:pt x="5948891" y="4206627"/>
                    <a:pt x="5942020" y="4210506"/>
                    <a:pt x="5934669" y="4213700"/>
                  </a:cubicBezTo>
                  <a:cubicBezTo>
                    <a:pt x="5927317" y="4216894"/>
                    <a:pt x="5918927" y="4219708"/>
                    <a:pt x="5909498" y="4222142"/>
                  </a:cubicBezTo>
                  <a:lnTo>
                    <a:pt x="5909498" y="4192026"/>
                  </a:lnTo>
                  <a:cubicBezTo>
                    <a:pt x="5915377" y="4190099"/>
                    <a:pt x="5921055" y="4188071"/>
                    <a:pt x="5926531" y="4185942"/>
                  </a:cubicBezTo>
                  <a:cubicBezTo>
                    <a:pt x="5932007" y="4183813"/>
                    <a:pt x="5937407" y="4181429"/>
                    <a:pt x="5942730" y="4178793"/>
                  </a:cubicBezTo>
                  <a:cubicBezTo>
                    <a:pt x="5948054" y="4176157"/>
                    <a:pt x="5953429" y="4173216"/>
                    <a:pt x="5958852" y="4169971"/>
                  </a:cubicBezTo>
                  <a:cubicBezTo>
                    <a:pt x="5964279" y="4166726"/>
                    <a:pt x="5969881" y="4163025"/>
                    <a:pt x="5975659" y="4158868"/>
                  </a:cubicBezTo>
                  <a:close/>
                  <a:moveTo>
                    <a:pt x="5786272" y="4158868"/>
                  </a:moveTo>
                  <a:cubicBezTo>
                    <a:pt x="5833719" y="4158868"/>
                    <a:pt x="5857440" y="4195730"/>
                    <a:pt x="5857440" y="4269455"/>
                  </a:cubicBezTo>
                  <a:cubicBezTo>
                    <a:pt x="5857440" y="4305966"/>
                    <a:pt x="5850744" y="4333826"/>
                    <a:pt x="5837355" y="4353035"/>
                  </a:cubicBezTo>
                  <a:cubicBezTo>
                    <a:pt x="5823963" y="4372243"/>
                    <a:pt x="5805230" y="4381848"/>
                    <a:pt x="5781158" y="4381848"/>
                  </a:cubicBezTo>
                  <a:cubicBezTo>
                    <a:pt x="5758689" y="4381848"/>
                    <a:pt x="5741161" y="4372670"/>
                    <a:pt x="5728572" y="4354314"/>
                  </a:cubicBezTo>
                  <a:cubicBezTo>
                    <a:pt x="5715984" y="4335958"/>
                    <a:pt x="5709690" y="4309427"/>
                    <a:pt x="5709690" y="4274721"/>
                  </a:cubicBezTo>
                  <a:cubicBezTo>
                    <a:pt x="5709690" y="4236605"/>
                    <a:pt x="5716259" y="4207767"/>
                    <a:pt x="5729400" y="4188207"/>
                  </a:cubicBezTo>
                  <a:cubicBezTo>
                    <a:pt x="5742540" y="4168648"/>
                    <a:pt x="5761498" y="4158868"/>
                    <a:pt x="5786272" y="4158868"/>
                  </a:cubicBezTo>
                  <a:close/>
                  <a:moveTo>
                    <a:pt x="5093284" y="4158868"/>
                  </a:moveTo>
                  <a:cubicBezTo>
                    <a:pt x="5140729" y="4158868"/>
                    <a:pt x="5164451" y="4195730"/>
                    <a:pt x="5164451" y="4269455"/>
                  </a:cubicBezTo>
                  <a:cubicBezTo>
                    <a:pt x="5164451" y="4305966"/>
                    <a:pt x="5157756" y="4333826"/>
                    <a:pt x="5144364" y="4353035"/>
                  </a:cubicBezTo>
                  <a:cubicBezTo>
                    <a:pt x="5130974" y="4372243"/>
                    <a:pt x="5112242" y="4381848"/>
                    <a:pt x="5088168" y="4381848"/>
                  </a:cubicBezTo>
                  <a:cubicBezTo>
                    <a:pt x="5065701" y="4381848"/>
                    <a:pt x="5048170" y="4372670"/>
                    <a:pt x="5035583" y="4354314"/>
                  </a:cubicBezTo>
                  <a:cubicBezTo>
                    <a:pt x="5022994" y="4335958"/>
                    <a:pt x="5016700" y="4309427"/>
                    <a:pt x="5016700" y="4274721"/>
                  </a:cubicBezTo>
                  <a:cubicBezTo>
                    <a:pt x="5016700" y="4236605"/>
                    <a:pt x="5023271" y="4207767"/>
                    <a:pt x="5036410" y="4188207"/>
                  </a:cubicBezTo>
                  <a:cubicBezTo>
                    <a:pt x="5049553" y="4168648"/>
                    <a:pt x="5068509" y="4158868"/>
                    <a:pt x="5093284" y="4158868"/>
                  </a:cubicBezTo>
                  <a:close/>
                  <a:moveTo>
                    <a:pt x="4694968" y="4158868"/>
                  </a:moveTo>
                  <a:lnTo>
                    <a:pt x="4709876" y="4158868"/>
                  </a:lnTo>
                  <a:lnTo>
                    <a:pt x="4709876" y="4381848"/>
                  </a:lnTo>
                  <a:lnTo>
                    <a:pt x="4674589" y="4381848"/>
                  </a:lnTo>
                  <a:lnTo>
                    <a:pt x="4674589" y="4202064"/>
                  </a:lnTo>
                  <a:cubicBezTo>
                    <a:pt x="4668200" y="4206627"/>
                    <a:pt x="4661331" y="4210506"/>
                    <a:pt x="4653978" y="4213700"/>
                  </a:cubicBezTo>
                  <a:cubicBezTo>
                    <a:pt x="4646628" y="4216894"/>
                    <a:pt x="4638236" y="4219708"/>
                    <a:pt x="4628805" y="4222142"/>
                  </a:cubicBezTo>
                  <a:lnTo>
                    <a:pt x="4628805" y="4192026"/>
                  </a:lnTo>
                  <a:cubicBezTo>
                    <a:pt x="4634687" y="4190099"/>
                    <a:pt x="4640364" y="4188071"/>
                    <a:pt x="4645841" y="4185942"/>
                  </a:cubicBezTo>
                  <a:cubicBezTo>
                    <a:pt x="4651316" y="4183813"/>
                    <a:pt x="4656717" y="4181429"/>
                    <a:pt x="4662040" y="4178793"/>
                  </a:cubicBezTo>
                  <a:cubicBezTo>
                    <a:pt x="4667363" y="4176157"/>
                    <a:pt x="4672738" y="4173216"/>
                    <a:pt x="4678162" y="4169971"/>
                  </a:cubicBezTo>
                  <a:cubicBezTo>
                    <a:pt x="4683588" y="4166726"/>
                    <a:pt x="4689190" y="4163025"/>
                    <a:pt x="4694968" y="4158868"/>
                  </a:cubicBezTo>
                  <a:close/>
                  <a:moveTo>
                    <a:pt x="4345906" y="4158868"/>
                  </a:moveTo>
                  <a:lnTo>
                    <a:pt x="4360813" y="4158868"/>
                  </a:lnTo>
                  <a:lnTo>
                    <a:pt x="4360813" y="4381848"/>
                  </a:lnTo>
                  <a:lnTo>
                    <a:pt x="4325525" y="4381848"/>
                  </a:lnTo>
                  <a:lnTo>
                    <a:pt x="4325525" y="4202064"/>
                  </a:lnTo>
                  <a:cubicBezTo>
                    <a:pt x="4319138" y="4206627"/>
                    <a:pt x="4312268" y="4210506"/>
                    <a:pt x="4304915" y="4213700"/>
                  </a:cubicBezTo>
                  <a:cubicBezTo>
                    <a:pt x="4297564" y="4216894"/>
                    <a:pt x="4289174" y="4219708"/>
                    <a:pt x="4279743" y="4222142"/>
                  </a:cubicBezTo>
                  <a:lnTo>
                    <a:pt x="4279743" y="4192026"/>
                  </a:lnTo>
                  <a:cubicBezTo>
                    <a:pt x="4285625" y="4190099"/>
                    <a:pt x="4291302" y="4188071"/>
                    <a:pt x="4296778" y="4185942"/>
                  </a:cubicBezTo>
                  <a:cubicBezTo>
                    <a:pt x="4302254" y="4183813"/>
                    <a:pt x="4307653" y="4181429"/>
                    <a:pt x="4312977" y="4178793"/>
                  </a:cubicBezTo>
                  <a:cubicBezTo>
                    <a:pt x="4318300" y="4176157"/>
                    <a:pt x="4323675" y="4173216"/>
                    <a:pt x="4329099" y="4169971"/>
                  </a:cubicBezTo>
                  <a:cubicBezTo>
                    <a:pt x="4334525" y="4166726"/>
                    <a:pt x="4340127" y="4163025"/>
                    <a:pt x="4345906" y="4158868"/>
                  </a:cubicBezTo>
                  <a:close/>
                  <a:moveTo>
                    <a:pt x="3839047" y="4158868"/>
                  </a:moveTo>
                  <a:cubicBezTo>
                    <a:pt x="3886491" y="4158868"/>
                    <a:pt x="3910214" y="4195730"/>
                    <a:pt x="3910214" y="4269455"/>
                  </a:cubicBezTo>
                  <a:cubicBezTo>
                    <a:pt x="3910214" y="4305966"/>
                    <a:pt x="3903519" y="4333826"/>
                    <a:pt x="3890128" y="4353035"/>
                  </a:cubicBezTo>
                  <a:cubicBezTo>
                    <a:pt x="3876737" y="4372243"/>
                    <a:pt x="3858005" y="4381848"/>
                    <a:pt x="3833931" y="4381848"/>
                  </a:cubicBezTo>
                  <a:cubicBezTo>
                    <a:pt x="3811463" y="4381848"/>
                    <a:pt x="3793934" y="4372670"/>
                    <a:pt x="3781346" y="4354314"/>
                  </a:cubicBezTo>
                  <a:cubicBezTo>
                    <a:pt x="3768757" y="4335958"/>
                    <a:pt x="3762464" y="4309427"/>
                    <a:pt x="3762464" y="4274721"/>
                  </a:cubicBezTo>
                  <a:cubicBezTo>
                    <a:pt x="3762464" y="4236605"/>
                    <a:pt x="3769034" y="4207767"/>
                    <a:pt x="3782173" y="4188207"/>
                  </a:cubicBezTo>
                  <a:cubicBezTo>
                    <a:pt x="3795313" y="4168648"/>
                    <a:pt x="3814271" y="4158868"/>
                    <a:pt x="3839047" y="4158868"/>
                  </a:cubicBezTo>
                  <a:close/>
                  <a:moveTo>
                    <a:pt x="3616537" y="4158868"/>
                  </a:moveTo>
                  <a:cubicBezTo>
                    <a:pt x="3663981" y="4158868"/>
                    <a:pt x="3687703" y="4195730"/>
                    <a:pt x="3687703" y="4269455"/>
                  </a:cubicBezTo>
                  <a:cubicBezTo>
                    <a:pt x="3687703" y="4305966"/>
                    <a:pt x="3681008" y="4333826"/>
                    <a:pt x="3667617" y="4353035"/>
                  </a:cubicBezTo>
                  <a:cubicBezTo>
                    <a:pt x="3654226" y="4372243"/>
                    <a:pt x="3635494" y="4381848"/>
                    <a:pt x="3611420" y="4381848"/>
                  </a:cubicBezTo>
                  <a:cubicBezTo>
                    <a:pt x="3588952" y="4381848"/>
                    <a:pt x="3571422" y="4372670"/>
                    <a:pt x="3558835" y="4354314"/>
                  </a:cubicBezTo>
                  <a:cubicBezTo>
                    <a:pt x="3546246" y="4335958"/>
                    <a:pt x="3539952" y="4309427"/>
                    <a:pt x="3539952" y="4274721"/>
                  </a:cubicBezTo>
                  <a:cubicBezTo>
                    <a:pt x="3539952" y="4236605"/>
                    <a:pt x="3546522" y="4207767"/>
                    <a:pt x="3559662" y="4188207"/>
                  </a:cubicBezTo>
                  <a:cubicBezTo>
                    <a:pt x="3572804" y="4168648"/>
                    <a:pt x="3591760" y="4158868"/>
                    <a:pt x="3616537" y="4158868"/>
                  </a:cubicBezTo>
                  <a:close/>
                  <a:moveTo>
                    <a:pt x="3454863" y="4158868"/>
                  </a:moveTo>
                  <a:lnTo>
                    <a:pt x="3469768" y="4158868"/>
                  </a:lnTo>
                  <a:lnTo>
                    <a:pt x="3469768" y="4381848"/>
                  </a:lnTo>
                  <a:lnTo>
                    <a:pt x="3434481" y="4381848"/>
                  </a:lnTo>
                  <a:lnTo>
                    <a:pt x="3434481" y="4202064"/>
                  </a:lnTo>
                  <a:cubicBezTo>
                    <a:pt x="3428092" y="4206627"/>
                    <a:pt x="3421223" y="4210506"/>
                    <a:pt x="3413872" y="4213700"/>
                  </a:cubicBezTo>
                  <a:cubicBezTo>
                    <a:pt x="3406519" y="4216894"/>
                    <a:pt x="3398129" y="4219708"/>
                    <a:pt x="3388698" y="4222142"/>
                  </a:cubicBezTo>
                  <a:lnTo>
                    <a:pt x="3388698" y="4192026"/>
                  </a:lnTo>
                  <a:cubicBezTo>
                    <a:pt x="3394580" y="4190099"/>
                    <a:pt x="3400259" y="4188071"/>
                    <a:pt x="3405734" y="4185942"/>
                  </a:cubicBezTo>
                  <a:cubicBezTo>
                    <a:pt x="3411209" y="4183813"/>
                    <a:pt x="3416609" y="4181429"/>
                    <a:pt x="3421933" y="4178793"/>
                  </a:cubicBezTo>
                  <a:cubicBezTo>
                    <a:pt x="3427256" y="4176157"/>
                    <a:pt x="3432632" y="4173216"/>
                    <a:pt x="3438054" y="4169971"/>
                  </a:cubicBezTo>
                  <a:cubicBezTo>
                    <a:pt x="3443480" y="4166726"/>
                    <a:pt x="3449083" y="4163025"/>
                    <a:pt x="3454863" y="4158868"/>
                  </a:cubicBezTo>
                  <a:close/>
                  <a:moveTo>
                    <a:pt x="3158682" y="4158868"/>
                  </a:moveTo>
                  <a:lnTo>
                    <a:pt x="3173587" y="4158868"/>
                  </a:lnTo>
                  <a:lnTo>
                    <a:pt x="3173587" y="4381848"/>
                  </a:lnTo>
                  <a:lnTo>
                    <a:pt x="3138299" y="4381848"/>
                  </a:lnTo>
                  <a:lnTo>
                    <a:pt x="3138299" y="4202065"/>
                  </a:lnTo>
                  <a:cubicBezTo>
                    <a:pt x="3131912" y="4206628"/>
                    <a:pt x="3125042" y="4210506"/>
                    <a:pt x="3117690" y="4213701"/>
                  </a:cubicBezTo>
                  <a:cubicBezTo>
                    <a:pt x="3110339" y="4216895"/>
                    <a:pt x="3101948" y="4219708"/>
                    <a:pt x="3092517" y="4222142"/>
                  </a:cubicBezTo>
                  <a:lnTo>
                    <a:pt x="3092517" y="4192026"/>
                  </a:lnTo>
                  <a:cubicBezTo>
                    <a:pt x="3098398" y="4190100"/>
                    <a:pt x="3104077" y="4188072"/>
                    <a:pt x="3109553" y="4185942"/>
                  </a:cubicBezTo>
                  <a:cubicBezTo>
                    <a:pt x="3115028" y="4183813"/>
                    <a:pt x="3120428" y="4181430"/>
                    <a:pt x="3125751" y="4178793"/>
                  </a:cubicBezTo>
                  <a:cubicBezTo>
                    <a:pt x="3131075" y="4176157"/>
                    <a:pt x="3136449" y="4173216"/>
                    <a:pt x="3141875" y="4169972"/>
                  </a:cubicBezTo>
                  <a:cubicBezTo>
                    <a:pt x="3147300" y="4166727"/>
                    <a:pt x="3152901" y="4163026"/>
                    <a:pt x="3158682" y="4158868"/>
                  </a:cubicBezTo>
                  <a:close/>
                  <a:moveTo>
                    <a:pt x="2783382" y="4158868"/>
                  </a:moveTo>
                  <a:lnTo>
                    <a:pt x="2798288" y="4158868"/>
                  </a:lnTo>
                  <a:lnTo>
                    <a:pt x="2798288" y="4381848"/>
                  </a:lnTo>
                  <a:lnTo>
                    <a:pt x="2763000" y="4381848"/>
                  </a:lnTo>
                  <a:lnTo>
                    <a:pt x="2763000" y="4202065"/>
                  </a:lnTo>
                  <a:cubicBezTo>
                    <a:pt x="2756612" y="4206628"/>
                    <a:pt x="2749742" y="4210506"/>
                    <a:pt x="2742391" y="4213701"/>
                  </a:cubicBezTo>
                  <a:cubicBezTo>
                    <a:pt x="2735039" y="4216895"/>
                    <a:pt x="2726649" y="4219708"/>
                    <a:pt x="2717219" y="4222142"/>
                  </a:cubicBezTo>
                  <a:lnTo>
                    <a:pt x="2717219" y="4192026"/>
                  </a:lnTo>
                  <a:cubicBezTo>
                    <a:pt x="2723100" y="4190100"/>
                    <a:pt x="2728778" y="4188072"/>
                    <a:pt x="2734253" y="4185942"/>
                  </a:cubicBezTo>
                  <a:cubicBezTo>
                    <a:pt x="2739729" y="4183813"/>
                    <a:pt x="2745129" y="4181430"/>
                    <a:pt x="2750453" y="4178793"/>
                  </a:cubicBezTo>
                  <a:cubicBezTo>
                    <a:pt x="2755776" y="4176157"/>
                    <a:pt x="2761151" y="4173216"/>
                    <a:pt x="2766576" y="4169972"/>
                  </a:cubicBezTo>
                  <a:cubicBezTo>
                    <a:pt x="2772000" y="4166727"/>
                    <a:pt x="2777603" y="4163026"/>
                    <a:pt x="2783382" y="4158868"/>
                  </a:cubicBezTo>
                  <a:close/>
                  <a:moveTo>
                    <a:pt x="2489154" y="4158868"/>
                  </a:moveTo>
                  <a:lnTo>
                    <a:pt x="2504060" y="4158868"/>
                  </a:lnTo>
                  <a:lnTo>
                    <a:pt x="2504060" y="4381848"/>
                  </a:lnTo>
                  <a:lnTo>
                    <a:pt x="2468772" y="4381848"/>
                  </a:lnTo>
                  <a:lnTo>
                    <a:pt x="2468772" y="4202065"/>
                  </a:lnTo>
                  <a:cubicBezTo>
                    <a:pt x="2462385" y="4206628"/>
                    <a:pt x="2455514" y="4210506"/>
                    <a:pt x="2448163" y="4213701"/>
                  </a:cubicBezTo>
                  <a:cubicBezTo>
                    <a:pt x="2440812" y="4216895"/>
                    <a:pt x="2432420" y="4219708"/>
                    <a:pt x="2422990" y="4222142"/>
                  </a:cubicBezTo>
                  <a:lnTo>
                    <a:pt x="2422990" y="4192026"/>
                  </a:lnTo>
                  <a:cubicBezTo>
                    <a:pt x="2428871" y="4190100"/>
                    <a:pt x="2434551" y="4188072"/>
                    <a:pt x="2440025" y="4185942"/>
                  </a:cubicBezTo>
                  <a:cubicBezTo>
                    <a:pt x="2445502" y="4183813"/>
                    <a:pt x="2450900" y="4181430"/>
                    <a:pt x="2456224" y="4178793"/>
                  </a:cubicBezTo>
                  <a:cubicBezTo>
                    <a:pt x="2461549" y="4176157"/>
                    <a:pt x="2466922" y="4173216"/>
                    <a:pt x="2472346" y="4169972"/>
                  </a:cubicBezTo>
                  <a:cubicBezTo>
                    <a:pt x="2477772" y="4166727"/>
                    <a:pt x="2483374" y="4163026"/>
                    <a:pt x="2489154" y="4158868"/>
                  </a:cubicBezTo>
                  <a:close/>
                  <a:moveTo>
                    <a:pt x="1599916" y="4158868"/>
                  </a:moveTo>
                  <a:lnTo>
                    <a:pt x="1614822" y="4158868"/>
                  </a:lnTo>
                  <a:lnTo>
                    <a:pt x="1614822" y="4381848"/>
                  </a:lnTo>
                  <a:lnTo>
                    <a:pt x="1579534" y="4381848"/>
                  </a:lnTo>
                  <a:lnTo>
                    <a:pt x="1579534" y="4202064"/>
                  </a:lnTo>
                  <a:cubicBezTo>
                    <a:pt x="1573146" y="4206627"/>
                    <a:pt x="1566276" y="4210506"/>
                    <a:pt x="1558925" y="4213700"/>
                  </a:cubicBezTo>
                  <a:cubicBezTo>
                    <a:pt x="1551573" y="4216894"/>
                    <a:pt x="1543182" y="4219708"/>
                    <a:pt x="1533752" y="4222142"/>
                  </a:cubicBezTo>
                  <a:lnTo>
                    <a:pt x="1533752" y="4192026"/>
                  </a:lnTo>
                  <a:cubicBezTo>
                    <a:pt x="1539633" y="4190099"/>
                    <a:pt x="1545312" y="4188071"/>
                    <a:pt x="1550787" y="4185942"/>
                  </a:cubicBezTo>
                  <a:cubicBezTo>
                    <a:pt x="1556263" y="4183813"/>
                    <a:pt x="1561663" y="4181429"/>
                    <a:pt x="1566986" y="4178793"/>
                  </a:cubicBezTo>
                  <a:cubicBezTo>
                    <a:pt x="1572310" y="4176157"/>
                    <a:pt x="1577684" y="4173216"/>
                    <a:pt x="1583109" y="4169971"/>
                  </a:cubicBezTo>
                  <a:cubicBezTo>
                    <a:pt x="1588534" y="4166726"/>
                    <a:pt x="1594136" y="4163025"/>
                    <a:pt x="1599916" y="4158868"/>
                  </a:cubicBezTo>
                  <a:close/>
                  <a:moveTo>
                    <a:pt x="1302202" y="4158868"/>
                  </a:moveTo>
                  <a:lnTo>
                    <a:pt x="1317108" y="4158868"/>
                  </a:lnTo>
                  <a:lnTo>
                    <a:pt x="1317108" y="4381848"/>
                  </a:lnTo>
                  <a:lnTo>
                    <a:pt x="1281820" y="4381848"/>
                  </a:lnTo>
                  <a:lnTo>
                    <a:pt x="1281820" y="4202064"/>
                  </a:lnTo>
                  <a:cubicBezTo>
                    <a:pt x="1275432" y="4206627"/>
                    <a:pt x="1268562" y="4210506"/>
                    <a:pt x="1261211" y="4213700"/>
                  </a:cubicBezTo>
                  <a:cubicBezTo>
                    <a:pt x="1253859" y="4216894"/>
                    <a:pt x="1245468" y="4219708"/>
                    <a:pt x="1236038" y="4222142"/>
                  </a:cubicBezTo>
                  <a:lnTo>
                    <a:pt x="1236038" y="4192026"/>
                  </a:lnTo>
                  <a:cubicBezTo>
                    <a:pt x="1241919" y="4190099"/>
                    <a:pt x="1247598" y="4188071"/>
                    <a:pt x="1253073" y="4185942"/>
                  </a:cubicBezTo>
                  <a:cubicBezTo>
                    <a:pt x="1258549" y="4183813"/>
                    <a:pt x="1263949" y="4181429"/>
                    <a:pt x="1269272" y="4178793"/>
                  </a:cubicBezTo>
                  <a:cubicBezTo>
                    <a:pt x="1274596" y="4176157"/>
                    <a:pt x="1279970" y="4173216"/>
                    <a:pt x="1285395" y="4169971"/>
                  </a:cubicBezTo>
                  <a:cubicBezTo>
                    <a:pt x="1290820" y="4166726"/>
                    <a:pt x="1296422" y="4163025"/>
                    <a:pt x="1302202" y="4158868"/>
                  </a:cubicBezTo>
                  <a:close/>
                  <a:moveTo>
                    <a:pt x="927321" y="4158868"/>
                  </a:moveTo>
                  <a:lnTo>
                    <a:pt x="942227" y="4158868"/>
                  </a:lnTo>
                  <a:lnTo>
                    <a:pt x="942227" y="4381848"/>
                  </a:lnTo>
                  <a:lnTo>
                    <a:pt x="906939" y="4381848"/>
                  </a:lnTo>
                  <a:lnTo>
                    <a:pt x="906939" y="4202064"/>
                  </a:lnTo>
                  <a:cubicBezTo>
                    <a:pt x="900551" y="4206627"/>
                    <a:pt x="893681" y="4210506"/>
                    <a:pt x="886330" y="4213700"/>
                  </a:cubicBezTo>
                  <a:cubicBezTo>
                    <a:pt x="878978" y="4216894"/>
                    <a:pt x="870587" y="4219708"/>
                    <a:pt x="861157" y="4222142"/>
                  </a:cubicBezTo>
                  <a:lnTo>
                    <a:pt x="861157" y="4192026"/>
                  </a:lnTo>
                  <a:cubicBezTo>
                    <a:pt x="867038" y="4190099"/>
                    <a:pt x="872717" y="4188071"/>
                    <a:pt x="878192" y="4185942"/>
                  </a:cubicBezTo>
                  <a:cubicBezTo>
                    <a:pt x="883668" y="4183813"/>
                    <a:pt x="889068" y="4181429"/>
                    <a:pt x="894391" y="4178793"/>
                  </a:cubicBezTo>
                  <a:cubicBezTo>
                    <a:pt x="899715" y="4176157"/>
                    <a:pt x="905089" y="4173216"/>
                    <a:pt x="910514" y="4169971"/>
                  </a:cubicBezTo>
                  <a:cubicBezTo>
                    <a:pt x="915939" y="4166726"/>
                    <a:pt x="921541" y="4163025"/>
                    <a:pt x="927321" y="4158868"/>
                  </a:cubicBezTo>
                  <a:close/>
                  <a:moveTo>
                    <a:pt x="778464" y="4158868"/>
                  </a:moveTo>
                  <a:lnTo>
                    <a:pt x="793370" y="4158868"/>
                  </a:lnTo>
                  <a:lnTo>
                    <a:pt x="793370" y="4381848"/>
                  </a:lnTo>
                  <a:lnTo>
                    <a:pt x="758082" y="4381848"/>
                  </a:lnTo>
                  <a:lnTo>
                    <a:pt x="758082" y="4202064"/>
                  </a:lnTo>
                  <a:cubicBezTo>
                    <a:pt x="751694" y="4206627"/>
                    <a:pt x="744824" y="4210506"/>
                    <a:pt x="737473" y="4213700"/>
                  </a:cubicBezTo>
                  <a:cubicBezTo>
                    <a:pt x="730121" y="4216894"/>
                    <a:pt x="721730" y="4219708"/>
                    <a:pt x="712300" y="4222142"/>
                  </a:cubicBezTo>
                  <a:lnTo>
                    <a:pt x="712300" y="4192026"/>
                  </a:lnTo>
                  <a:cubicBezTo>
                    <a:pt x="718181" y="4190099"/>
                    <a:pt x="723860" y="4188071"/>
                    <a:pt x="729335" y="4185942"/>
                  </a:cubicBezTo>
                  <a:cubicBezTo>
                    <a:pt x="734811" y="4183813"/>
                    <a:pt x="740211" y="4181429"/>
                    <a:pt x="745535" y="4178793"/>
                  </a:cubicBezTo>
                  <a:cubicBezTo>
                    <a:pt x="750858" y="4176157"/>
                    <a:pt x="756232" y="4173216"/>
                    <a:pt x="761657" y="4169971"/>
                  </a:cubicBezTo>
                  <a:cubicBezTo>
                    <a:pt x="767082" y="4166726"/>
                    <a:pt x="772684" y="4163025"/>
                    <a:pt x="778464" y="4158868"/>
                  </a:cubicBezTo>
                  <a:close/>
                  <a:moveTo>
                    <a:pt x="629607" y="4158868"/>
                  </a:moveTo>
                  <a:lnTo>
                    <a:pt x="644513" y="4158868"/>
                  </a:lnTo>
                  <a:lnTo>
                    <a:pt x="644513" y="4381848"/>
                  </a:lnTo>
                  <a:lnTo>
                    <a:pt x="609225" y="4381848"/>
                  </a:lnTo>
                  <a:lnTo>
                    <a:pt x="609225" y="4202064"/>
                  </a:lnTo>
                  <a:cubicBezTo>
                    <a:pt x="602837" y="4206627"/>
                    <a:pt x="595967" y="4210506"/>
                    <a:pt x="588616" y="4213700"/>
                  </a:cubicBezTo>
                  <a:cubicBezTo>
                    <a:pt x="581264" y="4216894"/>
                    <a:pt x="572873" y="4219708"/>
                    <a:pt x="563443" y="4222142"/>
                  </a:cubicBezTo>
                  <a:lnTo>
                    <a:pt x="563443" y="4192026"/>
                  </a:lnTo>
                  <a:cubicBezTo>
                    <a:pt x="569324" y="4190099"/>
                    <a:pt x="575003" y="4188071"/>
                    <a:pt x="580478" y="4185942"/>
                  </a:cubicBezTo>
                  <a:cubicBezTo>
                    <a:pt x="585954" y="4183813"/>
                    <a:pt x="591354" y="4181429"/>
                    <a:pt x="596677" y="4178793"/>
                  </a:cubicBezTo>
                  <a:cubicBezTo>
                    <a:pt x="602001" y="4176157"/>
                    <a:pt x="607375" y="4173216"/>
                    <a:pt x="612800" y="4169971"/>
                  </a:cubicBezTo>
                  <a:cubicBezTo>
                    <a:pt x="618225" y="4166726"/>
                    <a:pt x="623827" y="4163025"/>
                    <a:pt x="629607" y="4158868"/>
                  </a:cubicBezTo>
                  <a:close/>
                  <a:moveTo>
                    <a:pt x="480750" y="4158868"/>
                  </a:moveTo>
                  <a:lnTo>
                    <a:pt x="495656" y="4158868"/>
                  </a:lnTo>
                  <a:lnTo>
                    <a:pt x="495656" y="4381848"/>
                  </a:lnTo>
                  <a:lnTo>
                    <a:pt x="460368" y="4381848"/>
                  </a:lnTo>
                  <a:lnTo>
                    <a:pt x="460368" y="4202064"/>
                  </a:lnTo>
                  <a:cubicBezTo>
                    <a:pt x="453980" y="4206627"/>
                    <a:pt x="447110" y="4210506"/>
                    <a:pt x="439759" y="4213700"/>
                  </a:cubicBezTo>
                  <a:cubicBezTo>
                    <a:pt x="432407" y="4216894"/>
                    <a:pt x="424016" y="4219708"/>
                    <a:pt x="414586" y="4222142"/>
                  </a:cubicBezTo>
                  <a:lnTo>
                    <a:pt x="414586" y="4192026"/>
                  </a:lnTo>
                  <a:cubicBezTo>
                    <a:pt x="420467" y="4190099"/>
                    <a:pt x="426146" y="4188071"/>
                    <a:pt x="431621" y="4185942"/>
                  </a:cubicBezTo>
                  <a:cubicBezTo>
                    <a:pt x="437097" y="4183813"/>
                    <a:pt x="442497" y="4181429"/>
                    <a:pt x="447821" y="4178793"/>
                  </a:cubicBezTo>
                  <a:cubicBezTo>
                    <a:pt x="453144" y="4176157"/>
                    <a:pt x="458518" y="4173216"/>
                    <a:pt x="463943" y="4169971"/>
                  </a:cubicBezTo>
                  <a:cubicBezTo>
                    <a:pt x="469368" y="4166726"/>
                    <a:pt x="474970" y="4163025"/>
                    <a:pt x="480750" y="4158868"/>
                  </a:cubicBezTo>
                  <a:close/>
                  <a:moveTo>
                    <a:pt x="11874294" y="3839232"/>
                  </a:moveTo>
                  <a:cubicBezTo>
                    <a:pt x="11848114" y="3839232"/>
                    <a:pt x="11835024" y="3868070"/>
                    <a:pt x="11835024" y="3925746"/>
                  </a:cubicBezTo>
                  <a:cubicBezTo>
                    <a:pt x="11835024" y="3979710"/>
                    <a:pt x="11847863" y="4006692"/>
                    <a:pt x="11873542" y="4006692"/>
                  </a:cubicBezTo>
                  <a:cubicBezTo>
                    <a:pt x="11898818" y="4006692"/>
                    <a:pt x="11911457" y="3979259"/>
                    <a:pt x="11911457" y="3924391"/>
                  </a:cubicBezTo>
                  <a:cubicBezTo>
                    <a:pt x="11911457" y="3867618"/>
                    <a:pt x="11899069" y="3839232"/>
                    <a:pt x="11874294" y="3839232"/>
                  </a:cubicBezTo>
                  <a:close/>
                  <a:moveTo>
                    <a:pt x="11189148" y="3839232"/>
                  </a:moveTo>
                  <a:cubicBezTo>
                    <a:pt x="11162968" y="3839232"/>
                    <a:pt x="11149878" y="3868070"/>
                    <a:pt x="11149878" y="3925746"/>
                  </a:cubicBezTo>
                  <a:cubicBezTo>
                    <a:pt x="11149878" y="3979710"/>
                    <a:pt x="11162717" y="4006692"/>
                    <a:pt x="11188396" y="4006692"/>
                  </a:cubicBezTo>
                  <a:cubicBezTo>
                    <a:pt x="11213672" y="4006692"/>
                    <a:pt x="11226311" y="3979259"/>
                    <a:pt x="11226311" y="3924391"/>
                  </a:cubicBezTo>
                  <a:cubicBezTo>
                    <a:pt x="11226311" y="3867618"/>
                    <a:pt x="11213923" y="3839232"/>
                    <a:pt x="11189148" y="3839232"/>
                  </a:cubicBezTo>
                  <a:close/>
                  <a:moveTo>
                    <a:pt x="9936214" y="3839232"/>
                  </a:moveTo>
                  <a:cubicBezTo>
                    <a:pt x="9910034" y="3839232"/>
                    <a:pt x="9896944" y="3868070"/>
                    <a:pt x="9896944" y="3925746"/>
                  </a:cubicBezTo>
                  <a:cubicBezTo>
                    <a:pt x="9896944" y="3979710"/>
                    <a:pt x="9909783" y="4006692"/>
                    <a:pt x="9935462" y="4006692"/>
                  </a:cubicBezTo>
                  <a:cubicBezTo>
                    <a:pt x="9960738" y="4006692"/>
                    <a:pt x="9973377" y="3979259"/>
                    <a:pt x="9973377" y="3924391"/>
                  </a:cubicBezTo>
                  <a:cubicBezTo>
                    <a:pt x="9973377" y="3867618"/>
                    <a:pt x="9960989" y="3839232"/>
                    <a:pt x="9936214" y="3839232"/>
                  </a:cubicBezTo>
                  <a:close/>
                  <a:moveTo>
                    <a:pt x="9713703" y="3839232"/>
                  </a:moveTo>
                  <a:cubicBezTo>
                    <a:pt x="9687523" y="3839232"/>
                    <a:pt x="9674433" y="3868070"/>
                    <a:pt x="9674433" y="3925746"/>
                  </a:cubicBezTo>
                  <a:cubicBezTo>
                    <a:pt x="9674433" y="3979710"/>
                    <a:pt x="9687272" y="4006692"/>
                    <a:pt x="9712951" y="4006692"/>
                  </a:cubicBezTo>
                  <a:cubicBezTo>
                    <a:pt x="9738227" y="4006692"/>
                    <a:pt x="9750866" y="3979259"/>
                    <a:pt x="9750866" y="3924391"/>
                  </a:cubicBezTo>
                  <a:cubicBezTo>
                    <a:pt x="9750866" y="3867618"/>
                    <a:pt x="9738478" y="3839232"/>
                    <a:pt x="9713703" y="3839232"/>
                  </a:cubicBezTo>
                  <a:close/>
                  <a:moveTo>
                    <a:pt x="6372301" y="3839232"/>
                  </a:moveTo>
                  <a:cubicBezTo>
                    <a:pt x="6346121" y="3839232"/>
                    <a:pt x="6333031" y="3868070"/>
                    <a:pt x="6333031" y="3925746"/>
                  </a:cubicBezTo>
                  <a:cubicBezTo>
                    <a:pt x="6333031" y="3979710"/>
                    <a:pt x="6345870" y="4006692"/>
                    <a:pt x="6371549" y="4006692"/>
                  </a:cubicBezTo>
                  <a:cubicBezTo>
                    <a:pt x="6396826" y="4006692"/>
                    <a:pt x="6409464" y="3979259"/>
                    <a:pt x="6409464" y="3924391"/>
                  </a:cubicBezTo>
                  <a:cubicBezTo>
                    <a:pt x="6409464" y="3867618"/>
                    <a:pt x="6397076" y="3839232"/>
                    <a:pt x="6372301" y="3839232"/>
                  </a:cubicBezTo>
                  <a:close/>
                  <a:moveTo>
                    <a:pt x="5784617" y="3839232"/>
                  </a:moveTo>
                  <a:cubicBezTo>
                    <a:pt x="5758439" y="3839232"/>
                    <a:pt x="5745350" y="3868070"/>
                    <a:pt x="5745350" y="3925746"/>
                  </a:cubicBezTo>
                  <a:cubicBezTo>
                    <a:pt x="5745350" y="3979710"/>
                    <a:pt x="5758187" y="4006692"/>
                    <a:pt x="5783865" y="4006692"/>
                  </a:cubicBezTo>
                  <a:cubicBezTo>
                    <a:pt x="5809143" y="4006692"/>
                    <a:pt x="5821781" y="3979259"/>
                    <a:pt x="5821781" y="3924391"/>
                  </a:cubicBezTo>
                  <a:cubicBezTo>
                    <a:pt x="5821781" y="3867618"/>
                    <a:pt x="5809394" y="3839232"/>
                    <a:pt x="5784617" y="3839232"/>
                  </a:cubicBezTo>
                  <a:close/>
                  <a:moveTo>
                    <a:pt x="5091629" y="3839232"/>
                  </a:moveTo>
                  <a:cubicBezTo>
                    <a:pt x="5065449" y="3839232"/>
                    <a:pt x="5052358" y="3868070"/>
                    <a:pt x="5052358" y="3925746"/>
                  </a:cubicBezTo>
                  <a:cubicBezTo>
                    <a:pt x="5052358" y="3979710"/>
                    <a:pt x="5065200" y="4006692"/>
                    <a:pt x="5090877" y="4006692"/>
                  </a:cubicBezTo>
                  <a:cubicBezTo>
                    <a:pt x="5116154" y="4006692"/>
                    <a:pt x="5128792" y="3979259"/>
                    <a:pt x="5128792" y="3924391"/>
                  </a:cubicBezTo>
                  <a:cubicBezTo>
                    <a:pt x="5128792" y="3867618"/>
                    <a:pt x="5116404" y="3839232"/>
                    <a:pt x="5091629" y="3839232"/>
                  </a:cubicBezTo>
                  <a:close/>
                  <a:moveTo>
                    <a:pt x="3837392" y="3839232"/>
                  </a:moveTo>
                  <a:cubicBezTo>
                    <a:pt x="3811212" y="3839232"/>
                    <a:pt x="3798122" y="3868070"/>
                    <a:pt x="3798122" y="3925746"/>
                  </a:cubicBezTo>
                  <a:cubicBezTo>
                    <a:pt x="3798122" y="3979710"/>
                    <a:pt x="3810961" y="4006692"/>
                    <a:pt x="3836640" y="4006692"/>
                  </a:cubicBezTo>
                  <a:cubicBezTo>
                    <a:pt x="3861916" y="4006692"/>
                    <a:pt x="3874555" y="3979259"/>
                    <a:pt x="3874555" y="3924391"/>
                  </a:cubicBezTo>
                  <a:cubicBezTo>
                    <a:pt x="3874555" y="3867618"/>
                    <a:pt x="3862167" y="3839232"/>
                    <a:pt x="3837392" y="3839232"/>
                  </a:cubicBezTo>
                  <a:close/>
                  <a:moveTo>
                    <a:pt x="3614881" y="3839232"/>
                  </a:moveTo>
                  <a:cubicBezTo>
                    <a:pt x="3588702" y="3839232"/>
                    <a:pt x="3575611" y="3868070"/>
                    <a:pt x="3575611" y="3925746"/>
                  </a:cubicBezTo>
                  <a:cubicBezTo>
                    <a:pt x="3575611" y="3979710"/>
                    <a:pt x="3588451" y="4006692"/>
                    <a:pt x="3614130" y="4006692"/>
                  </a:cubicBezTo>
                  <a:cubicBezTo>
                    <a:pt x="3639407" y="4006692"/>
                    <a:pt x="3652044" y="3979259"/>
                    <a:pt x="3652044" y="3924391"/>
                  </a:cubicBezTo>
                  <a:cubicBezTo>
                    <a:pt x="3652044" y="3867618"/>
                    <a:pt x="3639656" y="3839232"/>
                    <a:pt x="3614881" y="3839232"/>
                  </a:cubicBezTo>
                  <a:close/>
                  <a:moveTo>
                    <a:pt x="10438235" y="3811398"/>
                  </a:moveTo>
                  <a:lnTo>
                    <a:pt x="10453141" y="3811398"/>
                  </a:lnTo>
                  <a:lnTo>
                    <a:pt x="10453141" y="4034378"/>
                  </a:lnTo>
                  <a:lnTo>
                    <a:pt x="10417853" y="4034378"/>
                  </a:lnTo>
                  <a:lnTo>
                    <a:pt x="10417853" y="3854594"/>
                  </a:lnTo>
                  <a:cubicBezTo>
                    <a:pt x="10411465" y="3859158"/>
                    <a:pt x="10404595" y="3863036"/>
                    <a:pt x="10397244" y="3866230"/>
                  </a:cubicBezTo>
                  <a:cubicBezTo>
                    <a:pt x="10389892" y="3869424"/>
                    <a:pt x="10381501" y="3872238"/>
                    <a:pt x="10372071" y="3874672"/>
                  </a:cubicBezTo>
                  <a:lnTo>
                    <a:pt x="10372071" y="3844556"/>
                  </a:lnTo>
                  <a:cubicBezTo>
                    <a:pt x="10377952" y="3842629"/>
                    <a:pt x="10383631" y="3840601"/>
                    <a:pt x="10389106" y="3838472"/>
                  </a:cubicBezTo>
                  <a:cubicBezTo>
                    <a:pt x="10394582" y="3836343"/>
                    <a:pt x="10399982" y="3833959"/>
                    <a:pt x="10405305" y="3831323"/>
                  </a:cubicBezTo>
                  <a:cubicBezTo>
                    <a:pt x="10410629" y="3828687"/>
                    <a:pt x="10416003" y="3825746"/>
                    <a:pt x="10421428" y="3822501"/>
                  </a:cubicBezTo>
                  <a:cubicBezTo>
                    <a:pt x="10426853" y="3819256"/>
                    <a:pt x="10432455" y="3815555"/>
                    <a:pt x="10438235" y="3811398"/>
                  </a:cubicBezTo>
                  <a:close/>
                  <a:moveTo>
                    <a:pt x="12062430" y="3811397"/>
                  </a:moveTo>
                  <a:lnTo>
                    <a:pt x="12077336" y="3811397"/>
                  </a:lnTo>
                  <a:lnTo>
                    <a:pt x="12077336" y="4034377"/>
                  </a:lnTo>
                  <a:lnTo>
                    <a:pt x="12042048" y="4034377"/>
                  </a:lnTo>
                  <a:lnTo>
                    <a:pt x="12042048" y="3854593"/>
                  </a:lnTo>
                  <a:cubicBezTo>
                    <a:pt x="12035660" y="3859157"/>
                    <a:pt x="12028790" y="3863035"/>
                    <a:pt x="12021439" y="3866229"/>
                  </a:cubicBezTo>
                  <a:cubicBezTo>
                    <a:pt x="12014087" y="3869423"/>
                    <a:pt x="12005696" y="3872237"/>
                    <a:pt x="11996266" y="3874671"/>
                  </a:cubicBezTo>
                  <a:lnTo>
                    <a:pt x="11996266" y="3844555"/>
                  </a:lnTo>
                  <a:cubicBezTo>
                    <a:pt x="12002147" y="3842628"/>
                    <a:pt x="12007826" y="3840600"/>
                    <a:pt x="12013301" y="3838471"/>
                  </a:cubicBezTo>
                  <a:cubicBezTo>
                    <a:pt x="12018777" y="3836342"/>
                    <a:pt x="12024177" y="3833958"/>
                    <a:pt x="12029500" y="3831322"/>
                  </a:cubicBezTo>
                  <a:cubicBezTo>
                    <a:pt x="12034824" y="3828686"/>
                    <a:pt x="12040198" y="3825745"/>
                    <a:pt x="12045623" y="3822500"/>
                  </a:cubicBezTo>
                  <a:cubicBezTo>
                    <a:pt x="12051048" y="3819255"/>
                    <a:pt x="12056650" y="3815554"/>
                    <a:pt x="12062430" y="3811397"/>
                  </a:cubicBezTo>
                  <a:close/>
                  <a:moveTo>
                    <a:pt x="11875949" y="3811397"/>
                  </a:moveTo>
                  <a:cubicBezTo>
                    <a:pt x="11923393" y="3811397"/>
                    <a:pt x="11947116" y="3848259"/>
                    <a:pt x="11947116" y="3921984"/>
                  </a:cubicBezTo>
                  <a:cubicBezTo>
                    <a:pt x="11947116" y="3958496"/>
                    <a:pt x="11940420" y="3986355"/>
                    <a:pt x="11927030" y="4005564"/>
                  </a:cubicBezTo>
                  <a:cubicBezTo>
                    <a:pt x="11913639" y="4024772"/>
                    <a:pt x="11894907" y="4034377"/>
                    <a:pt x="11870833" y="4034377"/>
                  </a:cubicBezTo>
                  <a:cubicBezTo>
                    <a:pt x="11848365" y="4034377"/>
                    <a:pt x="11830836" y="4025199"/>
                    <a:pt x="11818248" y="4006843"/>
                  </a:cubicBezTo>
                  <a:cubicBezTo>
                    <a:pt x="11805659" y="3988487"/>
                    <a:pt x="11799365" y="3961956"/>
                    <a:pt x="11799365" y="3927250"/>
                  </a:cubicBezTo>
                  <a:cubicBezTo>
                    <a:pt x="11799365" y="3889134"/>
                    <a:pt x="11805935" y="3860296"/>
                    <a:pt x="11819075" y="3840736"/>
                  </a:cubicBezTo>
                  <a:cubicBezTo>
                    <a:pt x="11832216" y="3821177"/>
                    <a:pt x="11851173" y="3811397"/>
                    <a:pt x="11875949" y="3811397"/>
                  </a:cubicBezTo>
                  <a:close/>
                  <a:moveTo>
                    <a:pt x="11190803" y="3811397"/>
                  </a:moveTo>
                  <a:cubicBezTo>
                    <a:pt x="11238247" y="3811397"/>
                    <a:pt x="11261970" y="3848259"/>
                    <a:pt x="11261970" y="3921984"/>
                  </a:cubicBezTo>
                  <a:cubicBezTo>
                    <a:pt x="11261970" y="3958496"/>
                    <a:pt x="11255274" y="3986355"/>
                    <a:pt x="11241884" y="4005564"/>
                  </a:cubicBezTo>
                  <a:cubicBezTo>
                    <a:pt x="11228493" y="4024772"/>
                    <a:pt x="11209761" y="4034377"/>
                    <a:pt x="11185687" y="4034377"/>
                  </a:cubicBezTo>
                  <a:cubicBezTo>
                    <a:pt x="11163219" y="4034377"/>
                    <a:pt x="11145690" y="4025199"/>
                    <a:pt x="11133102" y="4006843"/>
                  </a:cubicBezTo>
                  <a:cubicBezTo>
                    <a:pt x="11120513" y="3988487"/>
                    <a:pt x="11114219" y="3961956"/>
                    <a:pt x="11114219" y="3927250"/>
                  </a:cubicBezTo>
                  <a:cubicBezTo>
                    <a:pt x="11114219" y="3889134"/>
                    <a:pt x="11120789" y="3860296"/>
                    <a:pt x="11133929" y="3840736"/>
                  </a:cubicBezTo>
                  <a:cubicBezTo>
                    <a:pt x="11147070" y="3821177"/>
                    <a:pt x="11166027" y="3811397"/>
                    <a:pt x="11190803" y="3811397"/>
                  </a:cubicBezTo>
                  <a:close/>
                  <a:moveTo>
                    <a:pt x="10143427" y="3811397"/>
                  </a:moveTo>
                  <a:lnTo>
                    <a:pt x="10158333" y="3811397"/>
                  </a:lnTo>
                  <a:lnTo>
                    <a:pt x="10158333" y="4034377"/>
                  </a:lnTo>
                  <a:lnTo>
                    <a:pt x="10123045" y="4034377"/>
                  </a:lnTo>
                  <a:lnTo>
                    <a:pt x="10123045" y="3854593"/>
                  </a:lnTo>
                  <a:cubicBezTo>
                    <a:pt x="10116657" y="3859157"/>
                    <a:pt x="10109787" y="3863035"/>
                    <a:pt x="10102436" y="3866229"/>
                  </a:cubicBezTo>
                  <a:cubicBezTo>
                    <a:pt x="10095084" y="3869423"/>
                    <a:pt x="10086693" y="3872237"/>
                    <a:pt x="10077263" y="3874671"/>
                  </a:cubicBezTo>
                  <a:lnTo>
                    <a:pt x="10077263" y="3844555"/>
                  </a:lnTo>
                  <a:cubicBezTo>
                    <a:pt x="10083144" y="3842628"/>
                    <a:pt x="10088823" y="3840600"/>
                    <a:pt x="10094298" y="3838471"/>
                  </a:cubicBezTo>
                  <a:cubicBezTo>
                    <a:pt x="10099774" y="3836342"/>
                    <a:pt x="10105174" y="3833958"/>
                    <a:pt x="10110497" y="3831322"/>
                  </a:cubicBezTo>
                  <a:cubicBezTo>
                    <a:pt x="10115821" y="3828686"/>
                    <a:pt x="10121195" y="3825745"/>
                    <a:pt x="10126620" y="3822500"/>
                  </a:cubicBezTo>
                  <a:cubicBezTo>
                    <a:pt x="10132045" y="3819255"/>
                    <a:pt x="10137647" y="3815554"/>
                    <a:pt x="10143427" y="3811397"/>
                  </a:cubicBezTo>
                  <a:close/>
                  <a:moveTo>
                    <a:pt x="9937869" y="3811397"/>
                  </a:moveTo>
                  <a:cubicBezTo>
                    <a:pt x="9985313" y="3811397"/>
                    <a:pt x="10009036" y="3848259"/>
                    <a:pt x="10009036" y="3921984"/>
                  </a:cubicBezTo>
                  <a:cubicBezTo>
                    <a:pt x="10009036" y="3958496"/>
                    <a:pt x="10002340" y="3986355"/>
                    <a:pt x="9988950" y="4005564"/>
                  </a:cubicBezTo>
                  <a:cubicBezTo>
                    <a:pt x="9975559" y="4024772"/>
                    <a:pt x="9956827" y="4034377"/>
                    <a:pt x="9932753" y="4034377"/>
                  </a:cubicBezTo>
                  <a:cubicBezTo>
                    <a:pt x="9910285" y="4034377"/>
                    <a:pt x="9892756" y="4025199"/>
                    <a:pt x="9880168" y="4006843"/>
                  </a:cubicBezTo>
                  <a:cubicBezTo>
                    <a:pt x="9867579" y="3988487"/>
                    <a:pt x="9861285" y="3961956"/>
                    <a:pt x="9861285" y="3927250"/>
                  </a:cubicBezTo>
                  <a:cubicBezTo>
                    <a:pt x="9861285" y="3889134"/>
                    <a:pt x="9867855" y="3860296"/>
                    <a:pt x="9880995" y="3840736"/>
                  </a:cubicBezTo>
                  <a:cubicBezTo>
                    <a:pt x="9894136" y="3821177"/>
                    <a:pt x="9913093" y="3811397"/>
                    <a:pt x="9937869" y="3811397"/>
                  </a:cubicBezTo>
                  <a:close/>
                  <a:moveTo>
                    <a:pt x="9715358" y="3811397"/>
                  </a:moveTo>
                  <a:cubicBezTo>
                    <a:pt x="9762802" y="3811397"/>
                    <a:pt x="9786525" y="3848259"/>
                    <a:pt x="9786525" y="3921984"/>
                  </a:cubicBezTo>
                  <a:cubicBezTo>
                    <a:pt x="9786525" y="3958496"/>
                    <a:pt x="9779829" y="3986355"/>
                    <a:pt x="9766439" y="4005564"/>
                  </a:cubicBezTo>
                  <a:cubicBezTo>
                    <a:pt x="9753048" y="4024772"/>
                    <a:pt x="9734316" y="4034377"/>
                    <a:pt x="9710242" y="4034377"/>
                  </a:cubicBezTo>
                  <a:cubicBezTo>
                    <a:pt x="9687774" y="4034377"/>
                    <a:pt x="9670245" y="4025199"/>
                    <a:pt x="9657657" y="4006843"/>
                  </a:cubicBezTo>
                  <a:cubicBezTo>
                    <a:pt x="9645068" y="3988487"/>
                    <a:pt x="9638774" y="3961956"/>
                    <a:pt x="9638774" y="3927250"/>
                  </a:cubicBezTo>
                  <a:cubicBezTo>
                    <a:pt x="9638774" y="3889134"/>
                    <a:pt x="9645344" y="3860296"/>
                    <a:pt x="9658484" y="3840736"/>
                  </a:cubicBezTo>
                  <a:cubicBezTo>
                    <a:pt x="9671625" y="3821177"/>
                    <a:pt x="9690582" y="3811397"/>
                    <a:pt x="9715358" y="3811397"/>
                  </a:cubicBezTo>
                  <a:close/>
                  <a:moveTo>
                    <a:pt x="9557012" y="3811397"/>
                  </a:moveTo>
                  <a:lnTo>
                    <a:pt x="9571918" y="3811397"/>
                  </a:lnTo>
                  <a:lnTo>
                    <a:pt x="9571918" y="4034377"/>
                  </a:lnTo>
                  <a:lnTo>
                    <a:pt x="9536630" y="4034377"/>
                  </a:lnTo>
                  <a:lnTo>
                    <a:pt x="9536630" y="3854593"/>
                  </a:lnTo>
                  <a:cubicBezTo>
                    <a:pt x="9530242" y="3859157"/>
                    <a:pt x="9523372" y="3863035"/>
                    <a:pt x="9516021" y="3866229"/>
                  </a:cubicBezTo>
                  <a:cubicBezTo>
                    <a:pt x="9508669" y="3869423"/>
                    <a:pt x="9500278" y="3872237"/>
                    <a:pt x="9490848" y="3874671"/>
                  </a:cubicBezTo>
                  <a:lnTo>
                    <a:pt x="9490848" y="3844555"/>
                  </a:lnTo>
                  <a:cubicBezTo>
                    <a:pt x="9496729" y="3842628"/>
                    <a:pt x="9502408" y="3840600"/>
                    <a:pt x="9507883" y="3838471"/>
                  </a:cubicBezTo>
                  <a:cubicBezTo>
                    <a:pt x="9513359" y="3836342"/>
                    <a:pt x="9518759" y="3833958"/>
                    <a:pt x="9524082" y="3831322"/>
                  </a:cubicBezTo>
                  <a:cubicBezTo>
                    <a:pt x="9529406" y="3828686"/>
                    <a:pt x="9534780" y="3825745"/>
                    <a:pt x="9540205" y="3822500"/>
                  </a:cubicBezTo>
                  <a:cubicBezTo>
                    <a:pt x="9545630" y="3819255"/>
                    <a:pt x="9551232" y="3815554"/>
                    <a:pt x="9557012" y="3811397"/>
                  </a:cubicBezTo>
                  <a:close/>
                  <a:moveTo>
                    <a:pt x="9254256" y="3811397"/>
                  </a:moveTo>
                  <a:lnTo>
                    <a:pt x="9269162" y="3811397"/>
                  </a:lnTo>
                  <a:lnTo>
                    <a:pt x="9269162" y="4034377"/>
                  </a:lnTo>
                  <a:lnTo>
                    <a:pt x="9233874" y="4034377"/>
                  </a:lnTo>
                  <a:lnTo>
                    <a:pt x="9233874" y="3854593"/>
                  </a:lnTo>
                  <a:cubicBezTo>
                    <a:pt x="9227486" y="3859157"/>
                    <a:pt x="9220616" y="3863035"/>
                    <a:pt x="9213265" y="3866229"/>
                  </a:cubicBezTo>
                  <a:cubicBezTo>
                    <a:pt x="9205913" y="3869423"/>
                    <a:pt x="9197522" y="3872237"/>
                    <a:pt x="9188092" y="3874671"/>
                  </a:cubicBezTo>
                  <a:lnTo>
                    <a:pt x="9188092" y="3844555"/>
                  </a:lnTo>
                  <a:cubicBezTo>
                    <a:pt x="9193973" y="3842628"/>
                    <a:pt x="9199652" y="3840600"/>
                    <a:pt x="9205127" y="3838471"/>
                  </a:cubicBezTo>
                  <a:cubicBezTo>
                    <a:pt x="9210603" y="3836342"/>
                    <a:pt x="9216003" y="3833958"/>
                    <a:pt x="9221326" y="3831322"/>
                  </a:cubicBezTo>
                  <a:cubicBezTo>
                    <a:pt x="9226650" y="3828686"/>
                    <a:pt x="9232024" y="3825745"/>
                    <a:pt x="9237449" y="3822500"/>
                  </a:cubicBezTo>
                  <a:cubicBezTo>
                    <a:pt x="9242874" y="3819255"/>
                    <a:pt x="9248476" y="3815554"/>
                    <a:pt x="9254256" y="3811397"/>
                  </a:cubicBezTo>
                  <a:close/>
                  <a:moveTo>
                    <a:pt x="8744915" y="3811397"/>
                  </a:moveTo>
                  <a:lnTo>
                    <a:pt x="8759821" y="3811397"/>
                  </a:lnTo>
                  <a:lnTo>
                    <a:pt x="8759821" y="4034377"/>
                  </a:lnTo>
                  <a:lnTo>
                    <a:pt x="8724533" y="4034377"/>
                  </a:lnTo>
                  <a:lnTo>
                    <a:pt x="8724533" y="3854593"/>
                  </a:lnTo>
                  <a:cubicBezTo>
                    <a:pt x="8718145" y="3859157"/>
                    <a:pt x="8711275" y="3863035"/>
                    <a:pt x="8703924" y="3866229"/>
                  </a:cubicBezTo>
                  <a:cubicBezTo>
                    <a:pt x="8696572" y="3869423"/>
                    <a:pt x="8688181" y="3872237"/>
                    <a:pt x="8678751" y="3874671"/>
                  </a:cubicBezTo>
                  <a:lnTo>
                    <a:pt x="8678751" y="3844555"/>
                  </a:lnTo>
                  <a:cubicBezTo>
                    <a:pt x="8684632" y="3842628"/>
                    <a:pt x="8690311" y="3840600"/>
                    <a:pt x="8695786" y="3838471"/>
                  </a:cubicBezTo>
                  <a:cubicBezTo>
                    <a:pt x="8701262" y="3836342"/>
                    <a:pt x="8706662" y="3833958"/>
                    <a:pt x="8711985" y="3831322"/>
                  </a:cubicBezTo>
                  <a:cubicBezTo>
                    <a:pt x="8717309" y="3828686"/>
                    <a:pt x="8722683" y="3825745"/>
                    <a:pt x="8728108" y="3822500"/>
                  </a:cubicBezTo>
                  <a:cubicBezTo>
                    <a:pt x="8733533" y="3819255"/>
                    <a:pt x="8739135" y="3815554"/>
                    <a:pt x="8744915" y="3811397"/>
                  </a:cubicBezTo>
                  <a:close/>
                  <a:moveTo>
                    <a:pt x="7851748" y="3811397"/>
                  </a:moveTo>
                  <a:lnTo>
                    <a:pt x="7866654" y="3811397"/>
                  </a:lnTo>
                  <a:lnTo>
                    <a:pt x="7866654" y="4034377"/>
                  </a:lnTo>
                  <a:lnTo>
                    <a:pt x="7831366" y="4034377"/>
                  </a:lnTo>
                  <a:lnTo>
                    <a:pt x="7831366" y="3854593"/>
                  </a:lnTo>
                  <a:cubicBezTo>
                    <a:pt x="7824978" y="3859157"/>
                    <a:pt x="7818109" y="3863035"/>
                    <a:pt x="7810757" y="3866229"/>
                  </a:cubicBezTo>
                  <a:cubicBezTo>
                    <a:pt x="7803405" y="3869423"/>
                    <a:pt x="7795015" y="3872237"/>
                    <a:pt x="7785584" y="3874671"/>
                  </a:cubicBezTo>
                  <a:lnTo>
                    <a:pt x="7785584" y="3844555"/>
                  </a:lnTo>
                  <a:cubicBezTo>
                    <a:pt x="7791465" y="3842628"/>
                    <a:pt x="7797144" y="3840600"/>
                    <a:pt x="7802619" y="3838471"/>
                  </a:cubicBezTo>
                  <a:cubicBezTo>
                    <a:pt x="7808095" y="3836342"/>
                    <a:pt x="7813495" y="3833958"/>
                    <a:pt x="7818818" y="3831322"/>
                  </a:cubicBezTo>
                  <a:cubicBezTo>
                    <a:pt x="7824142" y="3828686"/>
                    <a:pt x="7829516" y="3825745"/>
                    <a:pt x="7834941" y="3822500"/>
                  </a:cubicBezTo>
                  <a:cubicBezTo>
                    <a:pt x="7840366" y="3819255"/>
                    <a:pt x="7845968" y="3815554"/>
                    <a:pt x="7851748" y="3811397"/>
                  </a:cubicBezTo>
                  <a:close/>
                  <a:moveTo>
                    <a:pt x="7413731" y="3811397"/>
                  </a:moveTo>
                  <a:lnTo>
                    <a:pt x="7428637" y="3811397"/>
                  </a:lnTo>
                  <a:lnTo>
                    <a:pt x="7428637" y="4034377"/>
                  </a:lnTo>
                  <a:lnTo>
                    <a:pt x="7393349" y="4034377"/>
                  </a:lnTo>
                  <a:lnTo>
                    <a:pt x="7393349" y="3854593"/>
                  </a:lnTo>
                  <a:cubicBezTo>
                    <a:pt x="7386961" y="3859157"/>
                    <a:pt x="7380092" y="3863035"/>
                    <a:pt x="7372740" y="3866229"/>
                  </a:cubicBezTo>
                  <a:cubicBezTo>
                    <a:pt x="7365388" y="3869423"/>
                    <a:pt x="7356998" y="3872237"/>
                    <a:pt x="7347567" y="3874671"/>
                  </a:cubicBezTo>
                  <a:lnTo>
                    <a:pt x="7347567" y="3844555"/>
                  </a:lnTo>
                  <a:cubicBezTo>
                    <a:pt x="7353448" y="3842628"/>
                    <a:pt x="7359127" y="3840600"/>
                    <a:pt x="7364602" y="3838471"/>
                  </a:cubicBezTo>
                  <a:cubicBezTo>
                    <a:pt x="7370078" y="3836342"/>
                    <a:pt x="7375478" y="3833958"/>
                    <a:pt x="7380801" y="3831322"/>
                  </a:cubicBezTo>
                  <a:cubicBezTo>
                    <a:pt x="7386125" y="3828686"/>
                    <a:pt x="7391499" y="3825745"/>
                    <a:pt x="7396924" y="3822500"/>
                  </a:cubicBezTo>
                  <a:cubicBezTo>
                    <a:pt x="7402349" y="3819255"/>
                    <a:pt x="7407951" y="3815554"/>
                    <a:pt x="7413731" y="3811397"/>
                  </a:cubicBezTo>
                  <a:close/>
                  <a:moveTo>
                    <a:pt x="7015147" y="3811397"/>
                  </a:moveTo>
                  <a:lnTo>
                    <a:pt x="7030053" y="3811397"/>
                  </a:lnTo>
                  <a:lnTo>
                    <a:pt x="7030053" y="4034377"/>
                  </a:lnTo>
                  <a:lnTo>
                    <a:pt x="6994765" y="4034377"/>
                  </a:lnTo>
                  <a:lnTo>
                    <a:pt x="6994765" y="3854593"/>
                  </a:lnTo>
                  <a:cubicBezTo>
                    <a:pt x="6988377" y="3859157"/>
                    <a:pt x="6981508" y="3863035"/>
                    <a:pt x="6974156" y="3866229"/>
                  </a:cubicBezTo>
                  <a:cubicBezTo>
                    <a:pt x="6966804" y="3869423"/>
                    <a:pt x="6958414" y="3872237"/>
                    <a:pt x="6948983" y="3874671"/>
                  </a:cubicBezTo>
                  <a:lnTo>
                    <a:pt x="6948983" y="3844555"/>
                  </a:lnTo>
                  <a:cubicBezTo>
                    <a:pt x="6954864" y="3842628"/>
                    <a:pt x="6960543" y="3840600"/>
                    <a:pt x="6966018" y="3838471"/>
                  </a:cubicBezTo>
                  <a:cubicBezTo>
                    <a:pt x="6971494" y="3836342"/>
                    <a:pt x="6976894" y="3833958"/>
                    <a:pt x="6982217" y="3831322"/>
                  </a:cubicBezTo>
                  <a:cubicBezTo>
                    <a:pt x="6987541" y="3828686"/>
                    <a:pt x="6992915" y="3825745"/>
                    <a:pt x="6998340" y="3822500"/>
                  </a:cubicBezTo>
                  <a:cubicBezTo>
                    <a:pt x="7003765" y="3819255"/>
                    <a:pt x="7009367" y="3815554"/>
                    <a:pt x="7015147" y="3811397"/>
                  </a:cubicBezTo>
                  <a:close/>
                  <a:moveTo>
                    <a:pt x="6727931" y="3811397"/>
                  </a:moveTo>
                  <a:lnTo>
                    <a:pt x="6742837" y="3811397"/>
                  </a:lnTo>
                  <a:lnTo>
                    <a:pt x="6742837" y="4034377"/>
                  </a:lnTo>
                  <a:lnTo>
                    <a:pt x="6707549" y="4034377"/>
                  </a:lnTo>
                  <a:lnTo>
                    <a:pt x="6707549" y="3854593"/>
                  </a:lnTo>
                  <a:cubicBezTo>
                    <a:pt x="6701161" y="3859157"/>
                    <a:pt x="6694292" y="3863035"/>
                    <a:pt x="6686940" y="3866229"/>
                  </a:cubicBezTo>
                  <a:cubicBezTo>
                    <a:pt x="6679588" y="3869423"/>
                    <a:pt x="6671198" y="3872237"/>
                    <a:pt x="6661767" y="3874671"/>
                  </a:cubicBezTo>
                  <a:lnTo>
                    <a:pt x="6661767" y="3844555"/>
                  </a:lnTo>
                  <a:cubicBezTo>
                    <a:pt x="6667648" y="3842628"/>
                    <a:pt x="6673327" y="3840600"/>
                    <a:pt x="6678802" y="3838471"/>
                  </a:cubicBezTo>
                  <a:cubicBezTo>
                    <a:pt x="6684278" y="3836342"/>
                    <a:pt x="6689678" y="3833958"/>
                    <a:pt x="6695001" y="3831322"/>
                  </a:cubicBezTo>
                  <a:cubicBezTo>
                    <a:pt x="6700325" y="3828686"/>
                    <a:pt x="6705699" y="3825745"/>
                    <a:pt x="6711124" y="3822500"/>
                  </a:cubicBezTo>
                  <a:cubicBezTo>
                    <a:pt x="6716549" y="3819255"/>
                    <a:pt x="6722151" y="3815554"/>
                    <a:pt x="6727931" y="3811397"/>
                  </a:cubicBezTo>
                  <a:close/>
                  <a:moveTo>
                    <a:pt x="6584323" y="3811397"/>
                  </a:moveTo>
                  <a:lnTo>
                    <a:pt x="6599229" y="3811397"/>
                  </a:lnTo>
                  <a:lnTo>
                    <a:pt x="6599229" y="4034377"/>
                  </a:lnTo>
                  <a:lnTo>
                    <a:pt x="6563941" y="4034377"/>
                  </a:lnTo>
                  <a:lnTo>
                    <a:pt x="6563941" y="3854593"/>
                  </a:lnTo>
                  <a:cubicBezTo>
                    <a:pt x="6557553" y="3859157"/>
                    <a:pt x="6550684" y="3863035"/>
                    <a:pt x="6543332" y="3866229"/>
                  </a:cubicBezTo>
                  <a:cubicBezTo>
                    <a:pt x="6535980" y="3869423"/>
                    <a:pt x="6527590" y="3872237"/>
                    <a:pt x="6518159" y="3874671"/>
                  </a:cubicBezTo>
                  <a:lnTo>
                    <a:pt x="6518159" y="3844555"/>
                  </a:lnTo>
                  <a:cubicBezTo>
                    <a:pt x="6524040" y="3842628"/>
                    <a:pt x="6529719" y="3840600"/>
                    <a:pt x="6535194" y="3838471"/>
                  </a:cubicBezTo>
                  <a:cubicBezTo>
                    <a:pt x="6540670" y="3836342"/>
                    <a:pt x="6546070" y="3833958"/>
                    <a:pt x="6551393" y="3831322"/>
                  </a:cubicBezTo>
                  <a:cubicBezTo>
                    <a:pt x="6556717" y="3828686"/>
                    <a:pt x="6562091" y="3825745"/>
                    <a:pt x="6567516" y="3822500"/>
                  </a:cubicBezTo>
                  <a:cubicBezTo>
                    <a:pt x="6572941" y="3819255"/>
                    <a:pt x="6578543" y="3815554"/>
                    <a:pt x="6584323" y="3811397"/>
                  </a:cubicBezTo>
                  <a:close/>
                  <a:moveTo>
                    <a:pt x="6373956" y="3811397"/>
                  </a:moveTo>
                  <a:cubicBezTo>
                    <a:pt x="6421401" y="3811397"/>
                    <a:pt x="6445123" y="3848259"/>
                    <a:pt x="6445123" y="3921984"/>
                  </a:cubicBezTo>
                  <a:cubicBezTo>
                    <a:pt x="6445123" y="3958496"/>
                    <a:pt x="6438428" y="3986355"/>
                    <a:pt x="6425037" y="4005564"/>
                  </a:cubicBezTo>
                  <a:cubicBezTo>
                    <a:pt x="6411646" y="4024772"/>
                    <a:pt x="6392914" y="4034377"/>
                    <a:pt x="6368840" y="4034377"/>
                  </a:cubicBezTo>
                  <a:cubicBezTo>
                    <a:pt x="6346372" y="4034377"/>
                    <a:pt x="6328843" y="4025199"/>
                    <a:pt x="6316255" y="4006843"/>
                  </a:cubicBezTo>
                  <a:cubicBezTo>
                    <a:pt x="6303666" y="3988487"/>
                    <a:pt x="6297372" y="3961956"/>
                    <a:pt x="6297372" y="3927250"/>
                  </a:cubicBezTo>
                  <a:cubicBezTo>
                    <a:pt x="6297372" y="3889134"/>
                    <a:pt x="6303942" y="3860296"/>
                    <a:pt x="6317082" y="3840736"/>
                  </a:cubicBezTo>
                  <a:cubicBezTo>
                    <a:pt x="6330223" y="3821177"/>
                    <a:pt x="6349180" y="3811397"/>
                    <a:pt x="6373956" y="3811397"/>
                  </a:cubicBezTo>
                  <a:close/>
                  <a:moveTo>
                    <a:pt x="5975659" y="3811397"/>
                  </a:moveTo>
                  <a:lnTo>
                    <a:pt x="5990568" y="3811397"/>
                  </a:lnTo>
                  <a:lnTo>
                    <a:pt x="5990568" y="4034377"/>
                  </a:lnTo>
                  <a:lnTo>
                    <a:pt x="5955278" y="4034377"/>
                  </a:lnTo>
                  <a:lnTo>
                    <a:pt x="5955278" y="3854593"/>
                  </a:lnTo>
                  <a:cubicBezTo>
                    <a:pt x="5948891" y="3859157"/>
                    <a:pt x="5942020" y="3863035"/>
                    <a:pt x="5934669" y="3866229"/>
                  </a:cubicBezTo>
                  <a:cubicBezTo>
                    <a:pt x="5927317" y="3869423"/>
                    <a:pt x="5918927" y="3872237"/>
                    <a:pt x="5909498" y="3874671"/>
                  </a:cubicBezTo>
                  <a:lnTo>
                    <a:pt x="5909498" y="3844555"/>
                  </a:lnTo>
                  <a:cubicBezTo>
                    <a:pt x="5915377" y="3842628"/>
                    <a:pt x="5921055" y="3840600"/>
                    <a:pt x="5926531" y="3838471"/>
                  </a:cubicBezTo>
                  <a:cubicBezTo>
                    <a:pt x="5932007" y="3836342"/>
                    <a:pt x="5937407" y="3833958"/>
                    <a:pt x="5942730" y="3831322"/>
                  </a:cubicBezTo>
                  <a:cubicBezTo>
                    <a:pt x="5948054" y="3828686"/>
                    <a:pt x="5953429" y="3825745"/>
                    <a:pt x="5958852" y="3822500"/>
                  </a:cubicBezTo>
                  <a:cubicBezTo>
                    <a:pt x="5964279" y="3819255"/>
                    <a:pt x="5969881" y="3815554"/>
                    <a:pt x="5975659" y="3811397"/>
                  </a:cubicBezTo>
                  <a:close/>
                  <a:moveTo>
                    <a:pt x="5786272" y="3811397"/>
                  </a:moveTo>
                  <a:cubicBezTo>
                    <a:pt x="5833719" y="3811397"/>
                    <a:pt x="5857440" y="3848259"/>
                    <a:pt x="5857440" y="3921984"/>
                  </a:cubicBezTo>
                  <a:cubicBezTo>
                    <a:pt x="5857440" y="3958496"/>
                    <a:pt x="5850744" y="3986355"/>
                    <a:pt x="5837355" y="4005564"/>
                  </a:cubicBezTo>
                  <a:cubicBezTo>
                    <a:pt x="5823963" y="4024772"/>
                    <a:pt x="5805230" y="4034377"/>
                    <a:pt x="5781158" y="4034377"/>
                  </a:cubicBezTo>
                  <a:cubicBezTo>
                    <a:pt x="5758689" y="4034377"/>
                    <a:pt x="5741161" y="4025199"/>
                    <a:pt x="5728572" y="4006843"/>
                  </a:cubicBezTo>
                  <a:cubicBezTo>
                    <a:pt x="5715984" y="3988487"/>
                    <a:pt x="5709690" y="3961956"/>
                    <a:pt x="5709690" y="3927250"/>
                  </a:cubicBezTo>
                  <a:cubicBezTo>
                    <a:pt x="5709690" y="3889134"/>
                    <a:pt x="5716259" y="3860296"/>
                    <a:pt x="5729400" y="3840736"/>
                  </a:cubicBezTo>
                  <a:cubicBezTo>
                    <a:pt x="5742540" y="3821177"/>
                    <a:pt x="5761498" y="3811397"/>
                    <a:pt x="5786272" y="3811397"/>
                  </a:cubicBezTo>
                  <a:close/>
                  <a:moveTo>
                    <a:pt x="5093284" y="3811397"/>
                  </a:moveTo>
                  <a:cubicBezTo>
                    <a:pt x="5140729" y="3811397"/>
                    <a:pt x="5164451" y="3848259"/>
                    <a:pt x="5164451" y="3921984"/>
                  </a:cubicBezTo>
                  <a:cubicBezTo>
                    <a:pt x="5164451" y="3958496"/>
                    <a:pt x="5157756" y="3986355"/>
                    <a:pt x="5144364" y="4005564"/>
                  </a:cubicBezTo>
                  <a:cubicBezTo>
                    <a:pt x="5130974" y="4024772"/>
                    <a:pt x="5112242" y="4034377"/>
                    <a:pt x="5088168" y="4034377"/>
                  </a:cubicBezTo>
                  <a:cubicBezTo>
                    <a:pt x="5065701" y="4034377"/>
                    <a:pt x="5048170" y="4025199"/>
                    <a:pt x="5035583" y="4006843"/>
                  </a:cubicBezTo>
                  <a:cubicBezTo>
                    <a:pt x="5022994" y="3988487"/>
                    <a:pt x="5016700" y="3961956"/>
                    <a:pt x="5016700" y="3927250"/>
                  </a:cubicBezTo>
                  <a:cubicBezTo>
                    <a:pt x="5016700" y="3889134"/>
                    <a:pt x="5023271" y="3860296"/>
                    <a:pt x="5036410" y="3840736"/>
                  </a:cubicBezTo>
                  <a:cubicBezTo>
                    <a:pt x="5049553" y="3821177"/>
                    <a:pt x="5068509" y="3811397"/>
                    <a:pt x="5093284" y="3811397"/>
                  </a:cubicBezTo>
                  <a:close/>
                  <a:moveTo>
                    <a:pt x="4694968" y="3811397"/>
                  </a:moveTo>
                  <a:lnTo>
                    <a:pt x="4709876" y="3811397"/>
                  </a:lnTo>
                  <a:lnTo>
                    <a:pt x="4709876" y="4034377"/>
                  </a:lnTo>
                  <a:lnTo>
                    <a:pt x="4674589" y="4034377"/>
                  </a:lnTo>
                  <a:lnTo>
                    <a:pt x="4674589" y="3854593"/>
                  </a:lnTo>
                  <a:cubicBezTo>
                    <a:pt x="4668200" y="3859157"/>
                    <a:pt x="4661331" y="3863035"/>
                    <a:pt x="4653978" y="3866229"/>
                  </a:cubicBezTo>
                  <a:cubicBezTo>
                    <a:pt x="4646628" y="3869423"/>
                    <a:pt x="4638236" y="3872237"/>
                    <a:pt x="4628805" y="3874671"/>
                  </a:cubicBezTo>
                  <a:lnTo>
                    <a:pt x="4628805" y="3844555"/>
                  </a:lnTo>
                  <a:cubicBezTo>
                    <a:pt x="4634687" y="3842628"/>
                    <a:pt x="4640364" y="3840600"/>
                    <a:pt x="4645841" y="3838471"/>
                  </a:cubicBezTo>
                  <a:cubicBezTo>
                    <a:pt x="4651316" y="3836342"/>
                    <a:pt x="4656717" y="3833958"/>
                    <a:pt x="4662040" y="3831322"/>
                  </a:cubicBezTo>
                  <a:cubicBezTo>
                    <a:pt x="4667363" y="3828686"/>
                    <a:pt x="4672738" y="3825745"/>
                    <a:pt x="4678162" y="3822500"/>
                  </a:cubicBezTo>
                  <a:cubicBezTo>
                    <a:pt x="4683588" y="3819255"/>
                    <a:pt x="4689190" y="3815554"/>
                    <a:pt x="4694968" y="3811397"/>
                  </a:cubicBezTo>
                  <a:close/>
                  <a:moveTo>
                    <a:pt x="4345906" y="3811397"/>
                  </a:moveTo>
                  <a:lnTo>
                    <a:pt x="4360813" y="3811397"/>
                  </a:lnTo>
                  <a:lnTo>
                    <a:pt x="4360813" y="4034377"/>
                  </a:lnTo>
                  <a:lnTo>
                    <a:pt x="4325525" y="4034377"/>
                  </a:lnTo>
                  <a:lnTo>
                    <a:pt x="4325525" y="3854593"/>
                  </a:lnTo>
                  <a:cubicBezTo>
                    <a:pt x="4319138" y="3859157"/>
                    <a:pt x="4312268" y="3863035"/>
                    <a:pt x="4304915" y="3866229"/>
                  </a:cubicBezTo>
                  <a:cubicBezTo>
                    <a:pt x="4297564" y="3869423"/>
                    <a:pt x="4289174" y="3872237"/>
                    <a:pt x="4279743" y="3874671"/>
                  </a:cubicBezTo>
                  <a:lnTo>
                    <a:pt x="4279743" y="3844555"/>
                  </a:lnTo>
                  <a:cubicBezTo>
                    <a:pt x="4285625" y="3842628"/>
                    <a:pt x="4291302" y="3840600"/>
                    <a:pt x="4296778" y="3838471"/>
                  </a:cubicBezTo>
                  <a:cubicBezTo>
                    <a:pt x="4302254" y="3836342"/>
                    <a:pt x="4307653" y="3833958"/>
                    <a:pt x="4312977" y="3831322"/>
                  </a:cubicBezTo>
                  <a:cubicBezTo>
                    <a:pt x="4318300" y="3828686"/>
                    <a:pt x="4323675" y="3825745"/>
                    <a:pt x="4329099" y="3822500"/>
                  </a:cubicBezTo>
                  <a:cubicBezTo>
                    <a:pt x="4334525" y="3819255"/>
                    <a:pt x="4340127" y="3815554"/>
                    <a:pt x="4345906" y="3811397"/>
                  </a:cubicBezTo>
                  <a:close/>
                  <a:moveTo>
                    <a:pt x="3839047" y="3811397"/>
                  </a:moveTo>
                  <a:cubicBezTo>
                    <a:pt x="3886491" y="3811397"/>
                    <a:pt x="3910214" y="3848259"/>
                    <a:pt x="3910214" y="3921984"/>
                  </a:cubicBezTo>
                  <a:cubicBezTo>
                    <a:pt x="3910214" y="3958496"/>
                    <a:pt x="3903519" y="3986355"/>
                    <a:pt x="3890128" y="4005564"/>
                  </a:cubicBezTo>
                  <a:cubicBezTo>
                    <a:pt x="3876737" y="4024772"/>
                    <a:pt x="3858005" y="4034377"/>
                    <a:pt x="3833931" y="4034377"/>
                  </a:cubicBezTo>
                  <a:cubicBezTo>
                    <a:pt x="3811463" y="4034377"/>
                    <a:pt x="3793934" y="4025199"/>
                    <a:pt x="3781346" y="4006843"/>
                  </a:cubicBezTo>
                  <a:cubicBezTo>
                    <a:pt x="3768757" y="3988487"/>
                    <a:pt x="3762464" y="3961956"/>
                    <a:pt x="3762464" y="3927250"/>
                  </a:cubicBezTo>
                  <a:cubicBezTo>
                    <a:pt x="3762464" y="3889134"/>
                    <a:pt x="3769034" y="3860296"/>
                    <a:pt x="3782173" y="3840736"/>
                  </a:cubicBezTo>
                  <a:cubicBezTo>
                    <a:pt x="3795313" y="3821177"/>
                    <a:pt x="3814271" y="3811397"/>
                    <a:pt x="3839047" y="3811397"/>
                  </a:cubicBezTo>
                  <a:close/>
                  <a:moveTo>
                    <a:pt x="3616537" y="3811397"/>
                  </a:moveTo>
                  <a:cubicBezTo>
                    <a:pt x="3663981" y="3811397"/>
                    <a:pt x="3687703" y="3848259"/>
                    <a:pt x="3687703" y="3921984"/>
                  </a:cubicBezTo>
                  <a:cubicBezTo>
                    <a:pt x="3687703" y="3958496"/>
                    <a:pt x="3681008" y="3986355"/>
                    <a:pt x="3667617" y="4005564"/>
                  </a:cubicBezTo>
                  <a:cubicBezTo>
                    <a:pt x="3654226" y="4024772"/>
                    <a:pt x="3635494" y="4034377"/>
                    <a:pt x="3611420" y="4034377"/>
                  </a:cubicBezTo>
                  <a:cubicBezTo>
                    <a:pt x="3588952" y="4034377"/>
                    <a:pt x="3571422" y="4025199"/>
                    <a:pt x="3558835" y="4006843"/>
                  </a:cubicBezTo>
                  <a:cubicBezTo>
                    <a:pt x="3546246" y="3988487"/>
                    <a:pt x="3539952" y="3961956"/>
                    <a:pt x="3539952" y="3927250"/>
                  </a:cubicBezTo>
                  <a:cubicBezTo>
                    <a:pt x="3539952" y="3889134"/>
                    <a:pt x="3546522" y="3860296"/>
                    <a:pt x="3559662" y="3840736"/>
                  </a:cubicBezTo>
                  <a:cubicBezTo>
                    <a:pt x="3572804" y="3821177"/>
                    <a:pt x="3591760" y="3811397"/>
                    <a:pt x="3616537" y="3811397"/>
                  </a:cubicBezTo>
                  <a:close/>
                  <a:moveTo>
                    <a:pt x="3454863" y="3811397"/>
                  </a:moveTo>
                  <a:lnTo>
                    <a:pt x="3469768" y="3811397"/>
                  </a:lnTo>
                  <a:lnTo>
                    <a:pt x="3469768" y="4034377"/>
                  </a:lnTo>
                  <a:lnTo>
                    <a:pt x="3434481" y="4034377"/>
                  </a:lnTo>
                  <a:lnTo>
                    <a:pt x="3434481" y="3854593"/>
                  </a:lnTo>
                  <a:cubicBezTo>
                    <a:pt x="3428092" y="3859157"/>
                    <a:pt x="3421223" y="3863035"/>
                    <a:pt x="3413872" y="3866229"/>
                  </a:cubicBezTo>
                  <a:cubicBezTo>
                    <a:pt x="3406519" y="3869423"/>
                    <a:pt x="3398129" y="3872237"/>
                    <a:pt x="3388698" y="3874671"/>
                  </a:cubicBezTo>
                  <a:lnTo>
                    <a:pt x="3388698" y="3844555"/>
                  </a:lnTo>
                  <a:cubicBezTo>
                    <a:pt x="3394580" y="3842628"/>
                    <a:pt x="3400259" y="3840600"/>
                    <a:pt x="3405734" y="3838471"/>
                  </a:cubicBezTo>
                  <a:cubicBezTo>
                    <a:pt x="3411209" y="3836342"/>
                    <a:pt x="3416609" y="3833958"/>
                    <a:pt x="3421933" y="3831322"/>
                  </a:cubicBezTo>
                  <a:cubicBezTo>
                    <a:pt x="3427256" y="3828686"/>
                    <a:pt x="3432632" y="3825745"/>
                    <a:pt x="3438054" y="3822500"/>
                  </a:cubicBezTo>
                  <a:cubicBezTo>
                    <a:pt x="3443480" y="3819255"/>
                    <a:pt x="3449083" y="3815554"/>
                    <a:pt x="3454863" y="3811397"/>
                  </a:cubicBezTo>
                  <a:close/>
                  <a:moveTo>
                    <a:pt x="3158682" y="3811397"/>
                  </a:moveTo>
                  <a:lnTo>
                    <a:pt x="3173587" y="3811397"/>
                  </a:lnTo>
                  <a:lnTo>
                    <a:pt x="3173587" y="4034377"/>
                  </a:lnTo>
                  <a:lnTo>
                    <a:pt x="3138299" y="4034377"/>
                  </a:lnTo>
                  <a:lnTo>
                    <a:pt x="3138299" y="3854593"/>
                  </a:lnTo>
                  <a:cubicBezTo>
                    <a:pt x="3131912" y="3859157"/>
                    <a:pt x="3125042" y="3863035"/>
                    <a:pt x="3117690" y="3866229"/>
                  </a:cubicBezTo>
                  <a:cubicBezTo>
                    <a:pt x="3110339" y="3869423"/>
                    <a:pt x="3101948" y="3872237"/>
                    <a:pt x="3092517" y="3874671"/>
                  </a:cubicBezTo>
                  <a:lnTo>
                    <a:pt x="3092517" y="3844555"/>
                  </a:lnTo>
                  <a:cubicBezTo>
                    <a:pt x="3098398" y="3842628"/>
                    <a:pt x="3104077" y="3840600"/>
                    <a:pt x="3109553" y="3838471"/>
                  </a:cubicBezTo>
                  <a:cubicBezTo>
                    <a:pt x="3115028" y="3836342"/>
                    <a:pt x="3120428" y="3833958"/>
                    <a:pt x="3125751" y="3831322"/>
                  </a:cubicBezTo>
                  <a:cubicBezTo>
                    <a:pt x="3131075" y="3828686"/>
                    <a:pt x="3136449" y="3825745"/>
                    <a:pt x="3141875" y="3822500"/>
                  </a:cubicBezTo>
                  <a:cubicBezTo>
                    <a:pt x="3147300" y="3819255"/>
                    <a:pt x="3152901" y="3815554"/>
                    <a:pt x="3158682" y="3811397"/>
                  </a:cubicBezTo>
                  <a:close/>
                  <a:moveTo>
                    <a:pt x="2783382" y="3811397"/>
                  </a:moveTo>
                  <a:lnTo>
                    <a:pt x="2798288" y="3811397"/>
                  </a:lnTo>
                  <a:lnTo>
                    <a:pt x="2798288" y="4034377"/>
                  </a:lnTo>
                  <a:lnTo>
                    <a:pt x="2763000" y="4034377"/>
                  </a:lnTo>
                  <a:lnTo>
                    <a:pt x="2763000" y="3854593"/>
                  </a:lnTo>
                  <a:cubicBezTo>
                    <a:pt x="2756612" y="3859157"/>
                    <a:pt x="2749742" y="3863035"/>
                    <a:pt x="2742391" y="3866229"/>
                  </a:cubicBezTo>
                  <a:cubicBezTo>
                    <a:pt x="2735039" y="3869423"/>
                    <a:pt x="2726649" y="3872237"/>
                    <a:pt x="2717219" y="3874671"/>
                  </a:cubicBezTo>
                  <a:lnTo>
                    <a:pt x="2717219" y="3844555"/>
                  </a:lnTo>
                  <a:cubicBezTo>
                    <a:pt x="2723100" y="3842628"/>
                    <a:pt x="2728778" y="3840600"/>
                    <a:pt x="2734253" y="3838471"/>
                  </a:cubicBezTo>
                  <a:cubicBezTo>
                    <a:pt x="2739729" y="3836342"/>
                    <a:pt x="2745129" y="3833958"/>
                    <a:pt x="2750453" y="3831322"/>
                  </a:cubicBezTo>
                  <a:cubicBezTo>
                    <a:pt x="2755776" y="3828686"/>
                    <a:pt x="2761151" y="3825745"/>
                    <a:pt x="2766576" y="3822500"/>
                  </a:cubicBezTo>
                  <a:cubicBezTo>
                    <a:pt x="2772000" y="3819255"/>
                    <a:pt x="2777603" y="3815554"/>
                    <a:pt x="2783382" y="3811397"/>
                  </a:cubicBezTo>
                  <a:close/>
                  <a:moveTo>
                    <a:pt x="2489154" y="3811397"/>
                  </a:moveTo>
                  <a:lnTo>
                    <a:pt x="2504060" y="3811397"/>
                  </a:lnTo>
                  <a:lnTo>
                    <a:pt x="2504060" y="4034377"/>
                  </a:lnTo>
                  <a:lnTo>
                    <a:pt x="2468772" y="4034377"/>
                  </a:lnTo>
                  <a:lnTo>
                    <a:pt x="2468772" y="3854593"/>
                  </a:lnTo>
                  <a:cubicBezTo>
                    <a:pt x="2462385" y="3859157"/>
                    <a:pt x="2455514" y="3863035"/>
                    <a:pt x="2448163" y="3866229"/>
                  </a:cubicBezTo>
                  <a:cubicBezTo>
                    <a:pt x="2440812" y="3869423"/>
                    <a:pt x="2432420" y="3872237"/>
                    <a:pt x="2422990" y="3874671"/>
                  </a:cubicBezTo>
                  <a:lnTo>
                    <a:pt x="2422990" y="3844555"/>
                  </a:lnTo>
                  <a:cubicBezTo>
                    <a:pt x="2428871" y="3842628"/>
                    <a:pt x="2434551" y="3840600"/>
                    <a:pt x="2440025" y="3838471"/>
                  </a:cubicBezTo>
                  <a:cubicBezTo>
                    <a:pt x="2445502" y="3836342"/>
                    <a:pt x="2450900" y="3833958"/>
                    <a:pt x="2456224" y="3831322"/>
                  </a:cubicBezTo>
                  <a:cubicBezTo>
                    <a:pt x="2461549" y="3828686"/>
                    <a:pt x="2466922" y="3825745"/>
                    <a:pt x="2472346" y="3822500"/>
                  </a:cubicBezTo>
                  <a:cubicBezTo>
                    <a:pt x="2477772" y="3819255"/>
                    <a:pt x="2483374" y="3815554"/>
                    <a:pt x="2489154" y="3811397"/>
                  </a:cubicBezTo>
                  <a:close/>
                  <a:moveTo>
                    <a:pt x="1599916" y="3811397"/>
                  </a:moveTo>
                  <a:lnTo>
                    <a:pt x="1614822" y="3811397"/>
                  </a:lnTo>
                  <a:lnTo>
                    <a:pt x="1614822" y="4034377"/>
                  </a:lnTo>
                  <a:lnTo>
                    <a:pt x="1579534" y="4034377"/>
                  </a:lnTo>
                  <a:lnTo>
                    <a:pt x="1579534" y="3854593"/>
                  </a:lnTo>
                  <a:cubicBezTo>
                    <a:pt x="1573146" y="3859157"/>
                    <a:pt x="1566276" y="3863035"/>
                    <a:pt x="1558925" y="3866229"/>
                  </a:cubicBezTo>
                  <a:cubicBezTo>
                    <a:pt x="1551573" y="3869423"/>
                    <a:pt x="1543182" y="3872237"/>
                    <a:pt x="1533752" y="3874671"/>
                  </a:cubicBezTo>
                  <a:lnTo>
                    <a:pt x="1533752" y="3844555"/>
                  </a:lnTo>
                  <a:cubicBezTo>
                    <a:pt x="1539633" y="3842628"/>
                    <a:pt x="1545312" y="3840600"/>
                    <a:pt x="1550787" y="3838471"/>
                  </a:cubicBezTo>
                  <a:cubicBezTo>
                    <a:pt x="1556263" y="3836342"/>
                    <a:pt x="1561663" y="3833958"/>
                    <a:pt x="1566986" y="3831322"/>
                  </a:cubicBezTo>
                  <a:cubicBezTo>
                    <a:pt x="1572310" y="3828686"/>
                    <a:pt x="1577684" y="3825745"/>
                    <a:pt x="1583109" y="3822500"/>
                  </a:cubicBezTo>
                  <a:cubicBezTo>
                    <a:pt x="1588534" y="3819255"/>
                    <a:pt x="1594136" y="3815554"/>
                    <a:pt x="1599916" y="3811397"/>
                  </a:cubicBezTo>
                  <a:close/>
                  <a:moveTo>
                    <a:pt x="1302202" y="3811397"/>
                  </a:moveTo>
                  <a:lnTo>
                    <a:pt x="1317108" y="3811397"/>
                  </a:lnTo>
                  <a:lnTo>
                    <a:pt x="1317108" y="4034377"/>
                  </a:lnTo>
                  <a:lnTo>
                    <a:pt x="1281820" y="4034377"/>
                  </a:lnTo>
                  <a:lnTo>
                    <a:pt x="1281820" y="3854593"/>
                  </a:lnTo>
                  <a:cubicBezTo>
                    <a:pt x="1275432" y="3859157"/>
                    <a:pt x="1268562" y="3863035"/>
                    <a:pt x="1261211" y="3866229"/>
                  </a:cubicBezTo>
                  <a:cubicBezTo>
                    <a:pt x="1253859" y="3869423"/>
                    <a:pt x="1245468" y="3872237"/>
                    <a:pt x="1236038" y="3874671"/>
                  </a:cubicBezTo>
                  <a:lnTo>
                    <a:pt x="1236038" y="3844555"/>
                  </a:lnTo>
                  <a:cubicBezTo>
                    <a:pt x="1241919" y="3842628"/>
                    <a:pt x="1247598" y="3840600"/>
                    <a:pt x="1253073" y="3838471"/>
                  </a:cubicBezTo>
                  <a:cubicBezTo>
                    <a:pt x="1258549" y="3836342"/>
                    <a:pt x="1263949" y="3833958"/>
                    <a:pt x="1269272" y="3831322"/>
                  </a:cubicBezTo>
                  <a:cubicBezTo>
                    <a:pt x="1274596" y="3828686"/>
                    <a:pt x="1279970" y="3825745"/>
                    <a:pt x="1285395" y="3822500"/>
                  </a:cubicBezTo>
                  <a:cubicBezTo>
                    <a:pt x="1290820" y="3819255"/>
                    <a:pt x="1296422" y="3815554"/>
                    <a:pt x="1302202" y="3811397"/>
                  </a:cubicBezTo>
                  <a:close/>
                  <a:moveTo>
                    <a:pt x="927321" y="3811397"/>
                  </a:moveTo>
                  <a:lnTo>
                    <a:pt x="942227" y="3811397"/>
                  </a:lnTo>
                  <a:lnTo>
                    <a:pt x="942227" y="4034377"/>
                  </a:lnTo>
                  <a:lnTo>
                    <a:pt x="906939" y="4034377"/>
                  </a:lnTo>
                  <a:lnTo>
                    <a:pt x="906939" y="3854593"/>
                  </a:lnTo>
                  <a:cubicBezTo>
                    <a:pt x="900551" y="3859157"/>
                    <a:pt x="893681" y="3863035"/>
                    <a:pt x="886330" y="3866229"/>
                  </a:cubicBezTo>
                  <a:cubicBezTo>
                    <a:pt x="878978" y="3869423"/>
                    <a:pt x="870587" y="3872237"/>
                    <a:pt x="861157" y="3874671"/>
                  </a:cubicBezTo>
                  <a:lnTo>
                    <a:pt x="861157" y="3844555"/>
                  </a:lnTo>
                  <a:cubicBezTo>
                    <a:pt x="867038" y="3842628"/>
                    <a:pt x="872717" y="3840600"/>
                    <a:pt x="878192" y="3838471"/>
                  </a:cubicBezTo>
                  <a:cubicBezTo>
                    <a:pt x="883668" y="3836342"/>
                    <a:pt x="889068" y="3833958"/>
                    <a:pt x="894391" y="3831322"/>
                  </a:cubicBezTo>
                  <a:cubicBezTo>
                    <a:pt x="899715" y="3828686"/>
                    <a:pt x="905089" y="3825745"/>
                    <a:pt x="910514" y="3822500"/>
                  </a:cubicBezTo>
                  <a:cubicBezTo>
                    <a:pt x="915939" y="3819255"/>
                    <a:pt x="921541" y="3815554"/>
                    <a:pt x="927321" y="3811397"/>
                  </a:cubicBezTo>
                  <a:close/>
                  <a:moveTo>
                    <a:pt x="778464" y="3811397"/>
                  </a:moveTo>
                  <a:lnTo>
                    <a:pt x="793370" y="3811397"/>
                  </a:lnTo>
                  <a:lnTo>
                    <a:pt x="793370" y="4034377"/>
                  </a:lnTo>
                  <a:lnTo>
                    <a:pt x="758082" y="4034377"/>
                  </a:lnTo>
                  <a:lnTo>
                    <a:pt x="758082" y="3854593"/>
                  </a:lnTo>
                  <a:cubicBezTo>
                    <a:pt x="751694" y="3859157"/>
                    <a:pt x="744824" y="3863035"/>
                    <a:pt x="737473" y="3866229"/>
                  </a:cubicBezTo>
                  <a:cubicBezTo>
                    <a:pt x="730121" y="3869423"/>
                    <a:pt x="721730" y="3872237"/>
                    <a:pt x="712300" y="3874671"/>
                  </a:cubicBezTo>
                  <a:lnTo>
                    <a:pt x="712300" y="3844555"/>
                  </a:lnTo>
                  <a:cubicBezTo>
                    <a:pt x="718181" y="3842628"/>
                    <a:pt x="723860" y="3840600"/>
                    <a:pt x="729335" y="3838471"/>
                  </a:cubicBezTo>
                  <a:cubicBezTo>
                    <a:pt x="734811" y="3836342"/>
                    <a:pt x="740211" y="3833958"/>
                    <a:pt x="745535" y="3831322"/>
                  </a:cubicBezTo>
                  <a:cubicBezTo>
                    <a:pt x="750858" y="3828686"/>
                    <a:pt x="756232" y="3825745"/>
                    <a:pt x="761657" y="3822500"/>
                  </a:cubicBezTo>
                  <a:cubicBezTo>
                    <a:pt x="767082" y="3819255"/>
                    <a:pt x="772684" y="3815554"/>
                    <a:pt x="778464" y="3811397"/>
                  </a:cubicBezTo>
                  <a:close/>
                  <a:moveTo>
                    <a:pt x="629607" y="3811397"/>
                  </a:moveTo>
                  <a:lnTo>
                    <a:pt x="644513" y="3811397"/>
                  </a:lnTo>
                  <a:lnTo>
                    <a:pt x="644513" y="4034377"/>
                  </a:lnTo>
                  <a:lnTo>
                    <a:pt x="609225" y="4034377"/>
                  </a:lnTo>
                  <a:lnTo>
                    <a:pt x="609225" y="3854593"/>
                  </a:lnTo>
                  <a:cubicBezTo>
                    <a:pt x="602837" y="3859157"/>
                    <a:pt x="595967" y="3863035"/>
                    <a:pt x="588616" y="3866229"/>
                  </a:cubicBezTo>
                  <a:cubicBezTo>
                    <a:pt x="581264" y="3869423"/>
                    <a:pt x="572873" y="3872237"/>
                    <a:pt x="563443" y="3874671"/>
                  </a:cubicBezTo>
                  <a:lnTo>
                    <a:pt x="563443" y="3844555"/>
                  </a:lnTo>
                  <a:cubicBezTo>
                    <a:pt x="569324" y="3842628"/>
                    <a:pt x="575003" y="3840600"/>
                    <a:pt x="580478" y="3838471"/>
                  </a:cubicBezTo>
                  <a:cubicBezTo>
                    <a:pt x="585954" y="3836342"/>
                    <a:pt x="591354" y="3833958"/>
                    <a:pt x="596677" y="3831322"/>
                  </a:cubicBezTo>
                  <a:cubicBezTo>
                    <a:pt x="602001" y="3828686"/>
                    <a:pt x="607375" y="3825745"/>
                    <a:pt x="612800" y="3822500"/>
                  </a:cubicBezTo>
                  <a:cubicBezTo>
                    <a:pt x="618225" y="3819255"/>
                    <a:pt x="623827" y="3815554"/>
                    <a:pt x="629607" y="3811397"/>
                  </a:cubicBezTo>
                  <a:close/>
                  <a:moveTo>
                    <a:pt x="480750" y="3811397"/>
                  </a:moveTo>
                  <a:lnTo>
                    <a:pt x="495656" y="3811397"/>
                  </a:lnTo>
                  <a:lnTo>
                    <a:pt x="495656" y="4034377"/>
                  </a:lnTo>
                  <a:lnTo>
                    <a:pt x="460368" y="4034377"/>
                  </a:lnTo>
                  <a:lnTo>
                    <a:pt x="460368" y="3854593"/>
                  </a:lnTo>
                  <a:cubicBezTo>
                    <a:pt x="453980" y="3859157"/>
                    <a:pt x="447110" y="3863035"/>
                    <a:pt x="439759" y="3866229"/>
                  </a:cubicBezTo>
                  <a:cubicBezTo>
                    <a:pt x="432407" y="3869423"/>
                    <a:pt x="424016" y="3872237"/>
                    <a:pt x="414586" y="3874671"/>
                  </a:cubicBezTo>
                  <a:lnTo>
                    <a:pt x="414586" y="3844555"/>
                  </a:lnTo>
                  <a:cubicBezTo>
                    <a:pt x="420467" y="3842628"/>
                    <a:pt x="426146" y="3840600"/>
                    <a:pt x="431621" y="3838471"/>
                  </a:cubicBezTo>
                  <a:cubicBezTo>
                    <a:pt x="437097" y="3836342"/>
                    <a:pt x="442497" y="3833958"/>
                    <a:pt x="447821" y="3831322"/>
                  </a:cubicBezTo>
                  <a:cubicBezTo>
                    <a:pt x="453144" y="3828686"/>
                    <a:pt x="458518" y="3825745"/>
                    <a:pt x="463943" y="3822500"/>
                  </a:cubicBezTo>
                  <a:cubicBezTo>
                    <a:pt x="469368" y="3819255"/>
                    <a:pt x="474970" y="3815554"/>
                    <a:pt x="480750" y="3811397"/>
                  </a:cubicBezTo>
                  <a:close/>
                  <a:moveTo>
                    <a:pt x="11874294" y="3510985"/>
                  </a:moveTo>
                  <a:cubicBezTo>
                    <a:pt x="11848114" y="3510985"/>
                    <a:pt x="11835024" y="3539823"/>
                    <a:pt x="11835024" y="3597499"/>
                  </a:cubicBezTo>
                  <a:cubicBezTo>
                    <a:pt x="11835024" y="3651463"/>
                    <a:pt x="11847863" y="3678445"/>
                    <a:pt x="11873542" y="3678445"/>
                  </a:cubicBezTo>
                  <a:cubicBezTo>
                    <a:pt x="11898818" y="3678445"/>
                    <a:pt x="11911457" y="3651012"/>
                    <a:pt x="11911457" y="3596144"/>
                  </a:cubicBezTo>
                  <a:cubicBezTo>
                    <a:pt x="11911457" y="3539371"/>
                    <a:pt x="11899069" y="3510985"/>
                    <a:pt x="11874294" y="3510985"/>
                  </a:cubicBezTo>
                  <a:close/>
                  <a:moveTo>
                    <a:pt x="11189148" y="3510985"/>
                  </a:moveTo>
                  <a:cubicBezTo>
                    <a:pt x="11162968" y="3510985"/>
                    <a:pt x="11149878" y="3539823"/>
                    <a:pt x="11149878" y="3597499"/>
                  </a:cubicBezTo>
                  <a:cubicBezTo>
                    <a:pt x="11149878" y="3651463"/>
                    <a:pt x="11162717" y="3678445"/>
                    <a:pt x="11188396" y="3678445"/>
                  </a:cubicBezTo>
                  <a:cubicBezTo>
                    <a:pt x="11213672" y="3678445"/>
                    <a:pt x="11226311" y="3651012"/>
                    <a:pt x="11226311" y="3596144"/>
                  </a:cubicBezTo>
                  <a:cubicBezTo>
                    <a:pt x="11226311" y="3539371"/>
                    <a:pt x="11213923" y="3510985"/>
                    <a:pt x="11189148" y="3510985"/>
                  </a:cubicBezTo>
                  <a:close/>
                  <a:moveTo>
                    <a:pt x="9936214" y="3510985"/>
                  </a:moveTo>
                  <a:cubicBezTo>
                    <a:pt x="9910034" y="3510985"/>
                    <a:pt x="9896944" y="3539823"/>
                    <a:pt x="9896944" y="3597499"/>
                  </a:cubicBezTo>
                  <a:cubicBezTo>
                    <a:pt x="9896944" y="3651463"/>
                    <a:pt x="9909783" y="3678445"/>
                    <a:pt x="9935462" y="3678445"/>
                  </a:cubicBezTo>
                  <a:cubicBezTo>
                    <a:pt x="9960738" y="3678445"/>
                    <a:pt x="9973377" y="3651012"/>
                    <a:pt x="9973377" y="3596144"/>
                  </a:cubicBezTo>
                  <a:cubicBezTo>
                    <a:pt x="9973377" y="3539371"/>
                    <a:pt x="9960989" y="3510985"/>
                    <a:pt x="9936214" y="3510985"/>
                  </a:cubicBezTo>
                  <a:close/>
                  <a:moveTo>
                    <a:pt x="9713703" y="3510985"/>
                  </a:moveTo>
                  <a:cubicBezTo>
                    <a:pt x="9687523" y="3510985"/>
                    <a:pt x="9674433" y="3539823"/>
                    <a:pt x="9674433" y="3597499"/>
                  </a:cubicBezTo>
                  <a:cubicBezTo>
                    <a:pt x="9674433" y="3651463"/>
                    <a:pt x="9687272" y="3678445"/>
                    <a:pt x="9712951" y="3678445"/>
                  </a:cubicBezTo>
                  <a:cubicBezTo>
                    <a:pt x="9738227" y="3678445"/>
                    <a:pt x="9750866" y="3651012"/>
                    <a:pt x="9750866" y="3596144"/>
                  </a:cubicBezTo>
                  <a:cubicBezTo>
                    <a:pt x="9750866" y="3539371"/>
                    <a:pt x="9738478" y="3510985"/>
                    <a:pt x="9713703" y="3510985"/>
                  </a:cubicBezTo>
                  <a:close/>
                  <a:moveTo>
                    <a:pt x="6372301" y="3510985"/>
                  </a:moveTo>
                  <a:cubicBezTo>
                    <a:pt x="6346121" y="3510985"/>
                    <a:pt x="6333031" y="3539823"/>
                    <a:pt x="6333031" y="3597499"/>
                  </a:cubicBezTo>
                  <a:cubicBezTo>
                    <a:pt x="6333031" y="3651463"/>
                    <a:pt x="6345870" y="3678445"/>
                    <a:pt x="6371549" y="3678445"/>
                  </a:cubicBezTo>
                  <a:cubicBezTo>
                    <a:pt x="6396826" y="3678445"/>
                    <a:pt x="6409464" y="3651012"/>
                    <a:pt x="6409464" y="3596144"/>
                  </a:cubicBezTo>
                  <a:cubicBezTo>
                    <a:pt x="6409464" y="3539371"/>
                    <a:pt x="6397076" y="3510985"/>
                    <a:pt x="6372301" y="3510985"/>
                  </a:cubicBezTo>
                  <a:close/>
                  <a:moveTo>
                    <a:pt x="5784617" y="3510985"/>
                  </a:moveTo>
                  <a:cubicBezTo>
                    <a:pt x="5758439" y="3510985"/>
                    <a:pt x="5745350" y="3539823"/>
                    <a:pt x="5745350" y="3597499"/>
                  </a:cubicBezTo>
                  <a:cubicBezTo>
                    <a:pt x="5745350" y="3651463"/>
                    <a:pt x="5758187" y="3678445"/>
                    <a:pt x="5783865" y="3678445"/>
                  </a:cubicBezTo>
                  <a:cubicBezTo>
                    <a:pt x="5809143" y="3678445"/>
                    <a:pt x="5821781" y="3651012"/>
                    <a:pt x="5821781" y="3596144"/>
                  </a:cubicBezTo>
                  <a:cubicBezTo>
                    <a:pt x="5821781" y="3539371"/>
                    <a:pt x="5809394" y="3510985"/>
                    <a:pt x="5784617" y="3510985"/>
                  </a:cubicBezTo>
                  <a:close/>
                  <a:moveTo>
                    <a:pt x="5091629" y="3510985"/>
                  </a:moveTo>
                  <a:cubicBezTo>
                    <a:pt x="5065449" y="3510985"/>
                    <a:pt x="5052358" y="3539823"/>
                    <a:pt x="5052358" y="3597499"/>
                  </a:cubicBezTo>
                  <a:cubicBezTo>
                    <a:pt x="5052358" y="3651463"/>
                    <a:pt x="5065200" y="3678445"/>
                    <a:pt x="5090877" y="3678445"/>
                  </a:cubicBezTo>
                  <a:cubicBezTo>
                    <a:pt x="5116154" y="3678445"/>
                    <a:pt x="5128792" y="3651012"/>
                    <a:pt x="5128792" y="3596144"/>
                  </a:cubicBezTo>
                  <a:cubicBezTo>
                    <a:pt x="5128792" y="3539371"/>
                    <a:pt x="5116404" y="3510985"/>
                    <a:pt x="5091629" y="3510985"/>
                  </a:cubicBezTo>
                  <a:close/>
                  <a:moveTo>
                    <a:pt x="3837392" y="3510985"/>
                  </a:moveTo>
                  <a:cubicBezTo>
                    <a:pt x="3811212" y="3510985"/>
                    <a:pt x="3798122" y="3539823"/>
                    <a:pt x="3798122" y="3597499"/>
                  </a:cubicBezTo>
                  <a:cubicBezTo>
                    <a:pt x="3798122" y="3651463"/>
                    <a:pt x="3810961" y="3678445"/>
                    <a:pt x="3836640" y="3678445"/>
                  </a:cubicBezTo>
                  <a:cubicBezTo>
                    <a:pt x="3861916" y="3678445"/>
                    <a:pt x="3874555" y="3651012"/>
                    <a:pt x="3874555" y="3596144"/>
                  </a:cubicBezTo>
                  <a:cubicBezTo>
                    <a:pt x="3874555" y="3539371"/>
                    <a:pt x="3862167" y="3510985"/>
                    <a:pt x="3837392" y="3510985"/>
                  </a:cubicBezTo>
                  <a:close/>
                  <a:moveTo>
                    <a:pt x="3614881" y="3510985"/>
                  </a:moveTo>
                  <a:cubicBezTo>
                    <a:pt x="3588702" y="3510985"/>
                    <a:pt x="3575611" y="3539823"/>
                    <a:pt x="3575611" y="3597499"/>
                  </a:cubicBezTo>
                  <a:cubicBezTo>
                    <a:pt x="3575611" y="3651463"/>
                    <a:pt x="3588451" y="3678445"/>
                    <a:pt x="3614130" y="3678445"/>
                  </a:cubicBezTo>
                  <a:cubicBezTo>
                    <a:pt x="3639407" y="3678445"/>
                    <a:pt x="3652044" y="3651012"/>
                    <a:pt x="3652044" y="3596144"/>
                  </a:cubicBezTo>
                  <a:cubicBezTo>
                    <a:pt x="3652044" y="3539371"/>
                    <a:pt x="3639656" y="3510985"/>
                    <a:pt x="3614881" y="3510985"/>
                  </a:cubicBezTo>
                  <a:close/>
                  <a:moveTo>
                    <a:pt x="10438235" y="3487024"/>
                  </a:moveTo>
                  <a:lnTo>
                    <a:pt x="10453141" y="3487024"/>
                  </a:lnTo>
                  <a:lnTo>
                    <a:pt x="10453141" y="3710004"/>
                  </a:lnTo>
                  <a:lnTo>
                    <a:pt x="10417853" y="3710004"/>
                  </a:lnTo>
                  <a:lnTo>
                    <a:pt x="10417853" y="3530220"/>
                  </a:lnTo>
                  <a:cubicBezTo>
                    <a:pt x="10411465" y="3534784"/>
                    <a:pt x="10404595" y="3538662"/>
                    <a:pt x="10397244" y="3541856"/>
                  </a:cubicBezTo>
                  <a:cubicBezTo>
                    <a:pt x="10389892" y="3545050"/>
                    <a:pt x="10381501" y="3547864"/>
                    <a:pt x="10372071" y="3550298"/>
                  </a:cubicBezTo>
                  <a:lnTo>
                    <a:pt x="10372071" y="3520182"/>
                  </a:lnTo>
                  <a:cubicBezTo>
                    <a:pt x="10377952" y="3518255"/>
                    <a:pt x="10383631" y="3516227"/>
                    <a:pt x="10389106" y="3514098"/>
                  </a:cubicBezTo>
                  <a:cubicBezTo>
                    <a:pt x="10394582" y="3511969"/>
                    <a:pt x="10399982" y="3509585"/>
                    <a:pt x="10405305" y="3506949"/>
                  </a:cubicBezTo>
                  <a:cubicBezTo>
                    <a:pt x="10410629" y="3504313"/>
                    <a:pt x="10416003" y="3501372"/>
                    <a:pt x="10421428" y="3498127"/>
                  </a:cubicBezTo>
                  <a:cubicBezTo>
                    <a:pt x="10426853" y="3494882"/>
                    <a:pt x="10432455" y="3491181"/>
                    <a:pt x="10438235" y="3487024"/>
                  </a:cubicBezTo>
                  <a:close/>
                  <a:moveTo>
                    <a:pt x="12062430" y="3487023"/>
                  </a:moveTo>
                  <a:lnTo>
                    <a:pt x="12077336" y="3487023"/>
                  </a:lnTo>
                  <a:lnTo>
                    <a:pt x="12077336" y="3710003"/>
                  </a:lnTo>
                  <a:lnTo>
                    <a:pt x="12042048" y="3710003"/>
                  </a:lnTo>
                  <a:lnTo>
                    <a:pt x="12042048" y="3530219"/>
                  </a:lnTo>
                  <a:cubicBezTo>
                    <a:pt x="12035660" y="3534783"/>
                    <a:pt x="12028790" y="3538661"/>
                    <a:pt x="12021439" y="3541855"/>
                  </a:cubicBezTo>
                  <a:cubicBezTo>
                    <a:pt x="12014087" y="3545049"/>
                    <a:pt x="12005696" y="3547863"/>
                    <a:pt x="11996266" y="3550297"/>
                  </a:cubicBezTo>
                  <a:lnTo>
                    <a:pt x="11996266" y="3520181"/>
                  </a:lnTo>
                  <a:cubicBezTo>
                    <a:pt x="12002147" y="3518254"/>
                    <a:pt x="12007826" y="3516226"/>
                    <a:pt x="12013301" y="3514097"/>
                  </a:cubicBezTo>
                  <a:cubicBezTo>
                    <a:pt x="12018777" y="3511968"/>
                    <a:pt x="12024177" y="3509584"/>
                    <a:pt x="12029500" y="3506948"/>
                  </a:cubicBezTo>
                  <a:cubicBezTo>
                    <a:pt x="12034824" y="3504312"/>
                    <a:pt x="12040198" y="3501371"/>
                    <a:pt x="12045623" y="3498126"/>
                  </a:cubicBezTo>
                  <a:cubicBezTo>
                    <a:pt x="12051048" y="3494881"/>
                    <a:pt x="12056650" y="3491180"/>
                    <a:pt x="12062430" y="3487023"/>
                  </a:cubicBezTo>
                  <a:close/>
                  <a:moveTo>
                    <a:pt x="10143427" y="3487023"/>
                  </a:moveTo>
                  <a:lnTo>
                    <a:pt x="10158333" y="3487023"/>
                  </a:lnTo>
                  <a:lnTo>
                    <a:pt x="10158333" y="3710003"/>
                  </a:lnTo>
                  <a:lnTo>
                    <a:pt x="10123045" y="3710003"/>
                  </a:lnTo>
                  <a:lnTo>
                    <a:pt x="10123045" y="3530219"/>
                  </a:lnTo>
                  <a:cubicBezTo>
                    <a:pt x="10116657" y="3534783"/>
                    <a:pt x="10109787" y="3538661"/>
                    <a:pt x="10102436" y="3541855"/>
                  </a:cubicBezTo>
                  <a:cubicBezTo>
                    <a:pt x="10095084" y="3545049"/>
                    <a:pt x="10086693" y="3547863"/>
                    <a:pt x="10077263" y="3550297"/>
                  </a:cubicBezTo>
                  <a:lnTo>
                    <a:pt x="10077263" y="3520181"/>
                  </a:lnTo>
                  <a:cubicBezTo>
                    <a:pt x="10083144" y="3518254"/>
                    <a:pt x="10088823" y="3516226"/>
                    <a:pt x="10094298" y="3514097"/>
                  </a:cubicBezTo>
                  <a:cubicBezTo>
                    <a:pt x="10099774" y="3511968"/>
                    <a:pt x="10105174" y="3509584"/>
                    <a:pt x="10110497" y="3506948"/>
                  </a:cubicBezTo>
                  <a:cubicBezTo>
                    <a:pt x="10115821" y="3504312"/>
                    <a:pt x="10121195" y="3501371"/>
                    <a:pt x="10126620" y="3498126"/>
                  </a:cubicBezTo>
                  <a:cubicBezTo>
                    <a:pt x="10132045" y="3494881"/>
                    <a:pt x="10137647" y="3491180"/>
                    <a:pt x="10143427" y="3487023"/>
                  </a:cubicBezTo>
                  <a:close/>
                  <a:moveTo>
                    <a:pt x="9557012" y="3487023"/>
                  </a:moveTo>
                  <a:lnTo>
                    <a:pt x="9571918" y="3487023"/>
                  </a:lnTo>
                  <a:lnTo>
                    <a:pt x="9571918" y="3710003"/>
                  </a:lnTo>
                  <a:lnTo>
                    <a:pt x="9536630" y="3710003"/>
                  </a:lnTo>
                  <a:lnTo>
                    <a:pt x="9536630" y="3530219"/>
                  </a:lnTo>
                  <a:cubicBezTo>
                    <a:pt x="9530242" y="3534783"/>
                    <a:pt x="9523372" y="3538661"/>
                    <a:pt x="9516021" y="3541855"/>
                  </a:cubicBezTo>
                  <a:cubicBezTo>
                    <a:pt x="9508669" y="3545049"/>
                    <a:pt x="9500278" y="3547863"/>
                    <a:pt x="9490848" y="3550297"/>
                  </a:cubicBezTo>
                  <a:lnTo>
                    <a:pt x="9490848" y="3520181"/>
                  </a:lnTo>
                  <a:cubicBezTo>
                    <a:pt x="9496729" y="3518254"/>
                    <a:pt x="9502408" y="3516226"/>
                    <a:pt x="9507883" y="3514097"/>
                  </a:cubicBezTo>
                  <a:cubicBezTo>
                    <a:pt x="9513359" y="3511968"/>
                    <a:pt x="9518759" y="3509584"/>
                    <a:pt x="9524082" y="3506948"/>
                  </a:cubicBezTo>
                  <a:cubicBezTo>
                    <a:pt x="9529406" y="3504312"/>
                    <a:pt x="9534780" y="3501371"/>
                    <a:pt x="9540205" y="3498126"/>
                  </a:cubicBezTo>
                  <a:cubicBezTo>
                    <a:pt x="9545630" y="3494881"/>
                    <a:pt x="9551232" y="3491180"/>
                    <a:pt x="9557012" y="3487023"/>
                  </a:cubicBezTo>
                  <a:close/>
                  <a:moveTo>
                    <a:pt x="9254256" y="3487023"/>
                  </a:moveTo>
                  <a:lnTo>
                    <a:pt x="9269162" y="3487023"/>
                  </a:lnTo>
                  <a:lnTo>
                    <a:pt x="9269162" y="3710003"/>
                  </a:lnTo>
                  <a:lnTo>
                    <a:pt x="9233874" y="3710003"/>
                  </a:lnTo>
                  <a:lnTo>
                    <a:pt x="9233874" y="3530219"/>
                  </a:lnTo>
                  <a:cubicBezTo>
                    <a:pt x="9227486" y="3534783"/>
                    <a:pt x="9220616" y="3538661"/>
                    <a:pt x="9213265" y="3541855"/>
                  </a:cubicBezTo>
                  <a:cubicBezTo>
                    <a:pt x="9205913" y="3545049"/>
                    <a:pt x="9197522" y="3547863"/>
                    <a:pt x="9188092" y="3550297"/>
                  </a:cubicBezTo>
                  <a:lnTo>
                    <a:pt x="9188092" y="3520181"/>
                  </a:lnTo>
                  <a:cubicBezTo>
                    <a:pt x="9193973" y="3518254"/>
                    <a:pt x="9199652" y="3516226"/>
                    <a:pt x="9205127" y="3514097"/>
                  </a:cubicBezTo>
                  <a:cubicBezTo>
                    <a:pt x="9210603" y="3511968"/>
                    <a:pt x="9216003" y="3509584"/>
                    <a:pt x="9221326" y="3506948"/>
                  </a:cubicBezTo>
                  <a:cubicBezTo>
                    <a:pt x="9226650" y="3504312"/>
                    <a:pt x="9232024" y="3501371"/>
                    <a:pt x="9237449" y="3498126"/>
                  </a:cubicBezTo>
                  <a:cubicBezTo>
                    <a:pt x="9242874" y="3494881"/>
                    <a:pt x="9248476" y="3491180"/>
                    <a:pt x="9254256" y="3487023"/>
                  </a:cubicBezTo>
                  <a:close/>
                  <a:moveTo>
                    <a:pt x="8744915" y="3487023"/>
                  </a:moveTo>
                  <a:lnTo>
                    <a:pt x="8759821" y="3487023"/>
                  </a:lnTo>
                  <a:lnTo>
                    <a:pt x="8759821" y="3710003"/>
                  </a:lnTo>
                  <a:lnTo>
                    <a:pt x="8724533" y="3710003"/>
                  </a:lnTo>
                  <a:lnTo>
                    <a:pt x="8724533" y="3530219"/>
                  </a:lnTo>
                  <a:cubicBezTo>
                    <a:pt x="8718145" y="3534783"/>
                    <a:pt x="8711275" y="3538661"/>
                    <a:pt x="8703924" y="3541855"/>
                  </a:cubicBezTo>
                  <a:cubicBezTo>
                    <a:pt x="8696572" y="3545049"/>
                    <a:pt x="8688181" y="3547863"/>
                    <a:pt x="8678751" y="3550297"/>
                  </a:cubicBezTo>
                  <a:lnTo>
                    <a:pt x="8678751" y="3520181"/>
                  </a:lnTo>
                  <a:cubicBezTo>
                    <a:pt x="8684632" y="3518254"/>
                    <a:pt x="8690311" y="3516226"/>
                    <a:pt x="8695786" y="3514097"/>
                  </a:cubicBezTo>
                  <a:cubicBezTo>
                    <a:pt x="8701262" y="3511968"/>
                    <a:pt x="8706662" y="3509584"/>
                    <a:pt x="8711985" y="3506948"/>
                  </a:cubicBezTo>
                  <a:cubicBezTo>
                    <a:pt x="8717309" y="3504312"/>
                    <a:pt x="8722683" y="3501371"/>
                    <a:pt x="8728108" y="3498126"/>
                  </a:cubicBezTo>
                  <a:cubicBezTo>
                    <a:pt x="8733533" y="3494881"/>
                    <a:pt x="8739135" y="3491180"/>
                    <a:pt x="8744915" y="3487023"/>
                  </a:cubicBezTo>
                  <a:close/>
                  <a:moveTo>
                    <a:pt x="7851748" y="3487023"/>
                  </a:moveTo>
                  <a:lnTo>
                    <a:pt x="7866654" y="3487023"/>
                  </a:lnTo>
                  <a:lnTo>
                    <a:pt x="7866654" y="3710003"/>
                  </a:lnTo>
                  <a:lnTo>
                    <a:pt x="7831366" y="3710003"/>
                  </a:lnTo>
                  <a:lnTo>
                    <a:pt x="7831366" y="3530219"/>
                  </a:lnTo>
                  <a:cubicBezTo>
                    <a:pt x="7824978" y="3534783"/>
                    <a:pt x="7818109" y="3538661"/>
                    <a:pt x="7810757" y="3541855"/>
                  </a:cubicBezTo>
                  <a:cubicBezTo>
                    <a:pt x="7803405" y="3545049"/>
                    <a:pt x="7795015" y="3547863"/>
                    <a:pt x="7785584" y="3550297"/>
                  </a:cubicBezTo>
                  <a:lnTo>
                    <a:pt x="7785584" y="3520181"/>
                  </a:lnTo>
                  <a:cubicBezTo>
                    <a:pt x="7791465" y="3518254"/>
                    <a:pt x="7797144" y="3516226"/>
                    <a:pt x="7802619" y="3514097"/>
                  </a:cubicBezTo>
                  <a:cubicBezTo>
                    <a:pt x="7808095" y="3511968"/>
                    <a:pt x="7813495" y="3509584"/>
                    <a:pt x="7818818" y="3506948"/>
                  </a:cubicBezTo>
                  <a:cubicBezTo>
                    <a:pt x="7824142" y="3504312"/>
                    <a:pt x="7829516" y="3501371"/>
                    <a:pt x="7834941" y="3498126"/>
                  </a:cubicBezTo>
                  <a:cubicBezTo>
                    <a:pt x="7840366" y="3494881"/>
                    <a:pt x="7845968" y="3491180"/>
                    <a:pt x="7851748" y="3487023"/>
                  </a:cubicBezTo>
                  <a:close/>
                  <a:moveTo>
                    <a:pt x="7413731" y="3487023"/>
                  </a:moveTo>
                  <a:lnTo>
                    <a:pt x="7428637" y="3487023"/>
                  </a:lnTo>
                  <a:lnTo>
                    <a:pt x="7428637" y="3710003"/>
                  </a:lnTo>
                  <a:lnTo>
                    <a:pt x="7393349" y="3710003"/>
                  </a:lnTo>
                  <a:lnTo>
                    <a:pt x="7393349" y="3530219"/>
                  </a:lnTo>
                  <a:cubicBezTo>
                    <a:pt x="7386961" y="3534783"/>
                    <a:pt x="7380092" y="3538661"/>
                    <a:pt x="7372740" y="3541855"/>
                  </a:cubicBezTo>
                  <a:cubicBezTo>
                    <a:pt x="7365388" y="3545049"/>
                    <a:pt x="7356998" y="3547863"/>
                    <a:pt x="7347567" y="3550297"/>
                  </a:cubicBezTo>
                  <a:lnTo>
                    <a:pt x="7347567" y="3520181"/>
                  </a:lnTo>
                  <a:cubicBezTo>
                    <a:pt x="7353448" y="3518254"/>
                    <a:pt x="7359127" y="3516226"/>
                    <a:pt x="7364602" y="3514097"/>
                  </a:cubicBezTo>
                  <a:cubicBezTo>
                    <a:pt x="7370078" y="3511968"/>
                    <a:pt x="7375478" y="3509584"/>
                    <a:pt x="7380801" y="3506948"/>
                  </a:cubicBezTo>
                  <a:cubicBezTo>
                    <a:pt x="7386125" y="3504312"/>
                    <a:pt x="7391499" y="3501371"/>
                    <a:pt x="7396924" y="3498126"/>
                  </a:cubicBezTo>
                  <a:cubicBezTo>
                    <a:pt x="7402349" y="3494881"/>
                    <a:pt x="7407951" y="3491180"/>
                    <a:pt x="7413731" y="3487023"/>
                  </a:cubicBezTo>
                  <a:close/>
                  <a:moveTo>
                    <a:pt x="7015147" y="3487023"/>
                  </a:moveTo>
                  <a:lnTo>
                    <a:pt x="7030053" y="3487023"/>
                  </a:lnTo>
                  <a:lnTo>
                    <a:pt x="7030053" y="3710003"/>
                  </a:lnTo>
                  <a:lnTo>
                    <a:pt x="6994765" y="3710003"/>
                  </a:lnTo>
                  <a:lnTo>
                    <a:pt x="6994765" y="3530219"/>
                  </a:lnTo>
                  <a:cubicBezTo>
                    <a:pt x="6988377" y="3534783"/>
                    <a:pt x="6981508" y="3538661"/>
                    <a:pt x="6974156" y="3541855"/>
                  </a:cubicBezTo>
                  <a:cubicBezTo>
                    <a:pt x="6966804" y="3545049"/>
                    <a:pt x="6958414" y="3547863"/>
                    <a:pt x="6948983" y="3550297"/>
                  </a:cubicBezTo>
                  <a:lnTo>
                    <a:pt x="6948983" y="3520181"/>
                  </a:lnTo>
                  <a:cubicBezTo>
                    <a:pt x="6954864" y="3518254"/>
                    <a:pt x="6960543" y="3516226"/>
                    <a:pt x="6966018" y="3514097"/>
                  </a:cubicBezTo>
                  <a:cubicBezTo>
                    <a:pt x="6971494" y="3511968"/>
                    <a:pt x="6976894" y="3509584"/>
                    <a:pt x="6982217" y="3506948"/>
                  </a:cubicBezTo>
                  <a:cubicBezTo>
                    <a:pt x="6987541" y="3504312"/>
                    <a:pt x="6992915" y="3501371"/>
                    <a:pt x="6998340" y="3498126"/>
                  </a:cubicBezTo>
                  <a:cubicBezTo>
                    <a:pt x="7003765" y="3494881"/>
                    <a:pt x="7009367" y="3491180"/>
                    <a:pt x="7015147" y="3487023"/>
                  </a:cubicBezTo>
                  <a:close/>
                  <a:moveTo>
                    <a:pt x="6727931" y="3487023"/>
                  </a:moveTo>
                  <a:lnTo>
                    <a:pt x="6742837" y="3487023"/>
                  </a:lnTo>
                  <a:lnTo>
                    <a:pt x="6742837" y="3710003"/>
                  </a:lnTo>
                  <a:lnTo>
                    <a:pt x="6707549" y="3710003"/>
                  </a:lnTo>
                  <a:lnTo>
                    <a:pt x="6707549" y="3530219"/>
                  </a:lnTo>
                  <a:cubicBezTo>
                    <a:pt x="6701161" y="3534783"/>
                    <a:pt x="6694292" y="3538661"/>
                    <a:pt x="6686940" y="3541855"/>
                  </a:cubicBezTo>
                  <a:cubicBezTo>
                    <a:pt x="6679588" y="3545049"/>
                    <a:pt x="6671198" y="3547863"/>
                    <a:pt x="6661767" y="3550297"/>
                  </a:cubicBezTo>
                  <a:lnTo>
                    <a:pt x="6661767" y="3520181"/>
                  </a:lnTo>
                  <a:cubicBezTo>
                    <a:pt x="6667648" y="3518254"/>
                    <a:pt x="6673327" y="3516226"/>
                    <a:pt x="6678802" y="3514097"/>
                  </a:cubicBezTo>
                  <a:cubicBezTo>
                    <a:pt x="6684278" y="3511968"/>
                    <a:pt x="6689678" y="3509584"/>
                    <a:pt x="6695001" y="3506948"/>
                  </a:cubicBezTo>
                  <a:cubicBezTo>
                    <a:pt x="6700325" y="3504312"/>
                    <a:pt x="6705699" y="3501371"/>
                    <a:pt x="6711124" y="3498126"/>
                  </a:cubicBezTo>
                  <a:cubicBezTo>
                    <a:pt x="6716549" y="3494881"/>
                    <a:pt x="6722151" y="3491180"/>
                    <a:pt x="6727931" y="3487023"/>
                  </a:cubicBezTo>
                  <a:close/>
                  <a:moveTo>
                    <a:pt x="6584323" y="3487023"/>
                  </a:moveTo>
                  <a:lnTo>
                    <a:pt x="6599229" y="3487023"/>
                  </a:lnTo>
                  <a:lnTo>
                    <a:pt x="6599229" y="3710003"/>
                  </a:lnTo>
                  <a:lnTo>
                    <a:pt x="6563941" y="3710003"/>
                  </a:lnTo>
                  <a:lnTo>
                    <a:pt x="6563941" y="3530219"/>
                  </a:lnTo>
                  <a:cubicBezTo>
                    <a:pt x="6557553" y="3534783"/>
                    <a:pt x="6550684" y="3538661"/>
                    <a:pt x="6543332" y="3541855"/>
                  </a:cubicBezTo>
                  <a:cubicBezTo>
                    <a:pt x="6535980" y="3545049"/>
                    <a:pt x="6527590" y="3547863"/>
                    <a:pt x="6518159" y="3550297"/>
                  </a:cubicBezTo>
                  <a:lnTo>
                    <a:pt x="6518159" y="3520181"/>
                  </a:lnTo>
                  <a:cubicBezTo>
                    <a:pt x="6524040" y="3518254"/>
                    <a:pt x="6529719" y="3516226"/>
                    <a:pt x="6535194" y="3514097"/>
                  </a:cubicBezTo>
                  <a:cubicBezTo>
                    <a:pt x="6540670" y="3511968"/>
                    <a:pt x="6546070" y="3509584"/>
                    <a:pt x="6551393" y="3506948"/>
                  </a:cubicBezTo>
                  <a:cubicBezTo>
                    <a:pt x="6556717" y="3504312"/>
                    <a:pt x="6562091" y="3501371"/>
                    <a:pt x="6567516" y="3498126"/>
                  </a:cubicBezTo>
                  <a:cubicBezTo>
                    <a:pt x="6572941" y="3494881"/>
                    <a:pt x="6578543" y="3491180"/>
                    <a:pt x="6584323" y="3487023"/>
                  </a:cubicBezTo>
                  <a:close/>
                  <a:moveTo>
                    <a:pt x="5975659" y="3487023"/>
                  </a:moveTo>
                  <a:lnTo>
                    <a:pt x="5990568" y="3487023"/>
                  </a:lnTo>
                  <a:lnTo>
                    <a:pt x="5990568" y="3710003"/>
                  </a:lnTo>
                  <a:lnTo>
                    <a:pt x="5955278" y="3710003"/>
                  </a:lnTo>
                  <a:lnTo>
                    <a:pt x="5955278" y="3530219"/>
                  </a:lnTo>
                  <a:cubicBezTo>
                    <a:pt x="5948891" y="3534783"/>
                    <a:pt x="5942020" y="3538661"/>
                    <a:pt x="5934669" y="3541855"/>
                  </a:cubicBezTo>
                  <a:cubicBezTo>
                    <a:pt x="5927317" y="3545049"/>
                    <a:pt x="5918927" y="3547863"/>
                    <a:pt x="5909498" y="3550297"/>
                  </a:cubicBezTo>
                  <a:lnTo>
                    <a:pt x="5909498" y="3520181"/>
                  </a:lnTo>
                  <a:cubicBezTo>
                    <a:pt x="5915377" y="3518254"/>
                    <a:pt x="5921055" y="3516226"/>
                    <a:pt x="5926531" y="3514097"/>
                  </a:cubicBezTo>
                  <a:cubicBezTo>
                    <a:pt x="5932007" y="3511968"/>
                    <a:pt x="5937407" y="3509584"/>
                    <a:pt x="5942730" y="3506948"/>
                  </a:cubicBezTo>
                  <a:cubicBezTo>
                    <a:pt x="5948054" y="3504312"/>
                    <a:pt x="5953429" y="3501371"/>
                    <a:pt x="5958852" y="3498126"/>
                  </a:cubicBezTo>
                  <a:cubicBezTo>
                    <a:pt x="5964279" y="3494881"/>
                    <a:pt x="5969881" y="3491180"/>
                    <a:pt x="5975659" y="3487023"/>
                  </a:cubicBezTo>
                  <a:close/>
                  <a:moveTo>
                    <a:pt x="4694968" y="3487023"/>
                  </a:moveTo>
                  <a:lnTo>
                    <a:pt x="4709876" y="3487023"/>
                  </a:lnTo>
                  <a:lnTo>
                    <a:pt x="4709876" y="3710003"/>
                  </a:lnTo>
                  <a:lnTo>
                    <a:pt x="4674589" y="3710003"/>
                  </a:lnTo>
                  <a:lnTo>
                    <a:pt x="4674589" y="3530219"/>
                  </a:lnTo>
                  <a:cubicBezTo>
                    <a:pt x="4668200" y="3534783"/>
                    <a:pt x="4661331" y="3538661"/>
                    <a:pt x="4653978" y="3541855"/>
                  </a:cubicBezTo>
                  <a:cubicBezTo>
                    <a:pt x="4646628" y="3545049"/>
                    <a:pt x="4638236" y="3547863"/>
                    <a:pt x="4628805" y="3550297"/>
                  </a:cubicBezTo>
                  <a:lnTo>
                    <a:pt x="4628805" y="3520181"/>
                  </a:lnTo>
                  <a:cubicBezTo>
                    <a:pt x="4634687" y="3518254"/>
                    <a:pt x="4640364" y="3516226"/>
                    <a:pt x="4645841" y="3514097"/>
                  </a:cubicBezTo>
                  <a:cubicBezTo>
                    <a:pt x="4651316" y="3511968"/>
                    <a:pt x="4656717" y="3509584"/>
                    <a:pt x="4662040" y="3506948"/>
                  </a:cubicBezTo>
                  <a:cubicBezTo>
                    <a:pt x="4667363" y="3504312"/>
                    <a:pt x="4672738" y="3501371"/>
                    <a:pt x="4678162" y="3498126"/>
                  </a:cubicBezTo>
                  <a:cubicBezTo>
                    <a:pt x="4683588" y="3494881"/>
                    <a:pt x="4689190" y="3491180"/>
                    <a:pt x="4694968" y="3487023"/>
                  </a:cubicBezTo>
                  <a:close/>
                  <a:moveTo>
                    <a:pt x="4345906" y="3487023"/>
                  </a:moveTo>
                  <a:lnTo>
                    <a:pt x="4360813" y="3487023"/>
                  </a:lnTo>
                  <a:lnTo>
                    <a:pt x="4360813" y="3710003"/>
                  </a:lnTo>
                  <a:lnTo>
                    <a:pt x="4325525" y="3710003"/>
                  </a:lnTo>
                  <a:lnTo>
                    <a:pt x="4325525" y="3530219"/>
                  </a:lnTo>
                  <a:cubicBezTo>
                    <a:pt x="4319138" y="3534783"/>
                    <a:pt x="4312268" y="3538661"/>
                    <a:pt x="4304915" y="3541855"/>
                  </a:cubicBezTo>
                  <a:cubicBezTo>
                    <a:pt x="4297564" y="3545049"/>
                    <a:pt x="4289174" y="3547863"/>
                    <a:pt x="4279743" y="3550297"/>
                  </a:cubicBezTo>
                  <a:lnTo>
                    <a:pt x="4279743" y="3520181"/>
                  </a:lnTo>
                  <a:cubicBezTo>
                    <a:pt x="4285625" y="3518254"/>
                    <a:pt x="4291302" y="3516226"/>
                    <a:pt x="4296778" y="3514097"/>
                  </a:cubicBezTo>
                  <a:cubicBezTo>
                    <a:pt x="4302254" y="3511968"/>
                    <a:pt x="4307653" y="3509584"/>
                    <a:pt x="4312977" y="3506948"/>
                  </a:cubicBezTo>
                  <a:cubicBezTo>
                    <a:pt x="4318300" y="3504312"/>
                    <a:pt x="4323675" y="3501371"/>
                    <a:pt x="4329099" y="3498126"/>
                  </a:cubicBezTo>
                  <a:cubicBezTo>
                    <a:pt x="4334525" y="3494881"/>
                    <a:pt x="4340127" y="3491180"/>
                    <a:pt x="4345906" y="3487023"/>
                  </a:cubicBezTo>
                  <a:close/>
                  <a:moveTo>
                    <a:pt x="3454863" y="3487023"/>
                  </a:moveTo>
                  <a:lnTo>
                    <a:pt x="3469768" y="3487023"/>
                  </a:lnTo>
                  <a:lnTo>
                    <a:pt x="3469768" y="3710003"/>
                  </a:lnTo>
                  <a:lnTo>
                    <a:pt x="3434481" y="3710003"/>
                  </a:lnTo>
                  <a:lnTo>
                    <a:pt x="3434481" y="3530219"/>
                  </a:lnTo>
                  <a:cubicBezTo>
                    <a:pt x="3428092" y="3534783"/>
                    <a:pt x="3421223" y="3538661"/>
                    <a:pt x="3413872" y="3541855"/>
                  </a:cubicBezTo>
                  <a:cubicBezTo>
                    <a:pt x="3406519" y="3545049"/>
                    <a:pt x="3398129" y="3547863"/>
                    <a:pt x="3388698" y="3550297"/>
                  </a:cubicBezTo>
                  <a:lnTo>
                    <a:pt x="3388698" y="3520181"/>
                  </a:lnTo>
                  <a:cubicBezTo>
                    <a:pt x="3394580" y="3518254"/>
                    <a:pt x="3400259" y="3516226"/>
                    <a:pt x="3405734" y="3514097"/>
                  </a:cubicBezTo>
                  <a:cubicBezTo>
                    <a:pt x="3411209" y="3511968"/>
                    <a:pt x="3416609" y="3509584"/>
                    <a:pt x="3421933" y="3506948"/>
                  </a:cubicBezTo>
                  <a:cubicBezTo>
                    <a:pt x="3427256" y="3504312"/>
                    <a:pt x="3432632" y="3501371"/>
                    <a:pt x="3438054" y="3498126"/>
                  </a:cubicBezTo>
                  <a:cubicBezTo>
                    <a:pt x="3443480" y="3494881"/>
                    <a:pt x="3449083" y="3491180"/>
                    <a:pt x="3454863" y="3487023"/>
                  </a:cubicBezTo>
                  <a:close/>
                  <a:moveTo>
                    <a:pt x="3158682" y="3487023"/>
                  </a:moveTo>
                  <a:lnTo>
                    <a:pt x="3173587" y="3487023"/>
                  </a:lnTo>
                  <a:lnTo>
                    <a:pt x="3173587" y="3710003"/>
                  </a:lnTo>
                  <a:lnTo>
                    <a:pt x="3138299" y="3710003"/>
                  </a:lnTo>
                  <a:lnTo>
                    <a:pt x="3138299" y="3530219"/>
                  </a:lnTo>
                  <a:cubicBezTo>
                    <a:pt x="3131912" y="3534783"/>
                    <a:pt x="3125042" y="3538661"/>
                    <a:pt x="3117690" y="3541855"/>
                  </a:cubicBezTo>
                  <a:cubicBezTo>
                    <a:pt x="3110339" y="3545049"/>
                    <a:pt x="3101948" y="3547863"/>
                    <a:pt x="3092517" y="3550297"/>
                  </a:cubicBezTo>
                  <a:lnTo>
                    <a:pt x="3092517" y="3520181"/>
                  </a:lnTo>
                  <a:cubicBezTo>
                    <a:pt x="3098398" y="3518254"/>
                    <a:pt x="3104077" y="3516226"/>
                    <a:pt x="3109553" y="3514097"/>
                  </a:cubicBezTo>
                  <a:cubicBezTo>
                    <a:pt x="3115028" y="3511968"/>
                    <a:pt x="3120428" y="3509584"/>
                    <a:pt x="3125751" y="3506948"/>
                  </a:cubicBezTo>
                  <a:cubicBezTo>
                    <a:pt x="3131075" y="3504312"/>
                    <a:pt x="3136449" y="3501371"/>
                    <a:pt x="3141875" y="3498126"/>
                  </a:cubicBezTo>
                  <a:cubicBezTo>
                    <a:pt x="3147300" y="3494881"/>
                    <a:pt x="3152901" y="3491180"/>
                    <a:pt x="3158682" y="3487023"/>
                  </a:cubicBezTo>
                  <a:close/>
                  <a:moveTo>
                    <a:pt x="2783382" y="3487023"/>
                  </a:moveTo>
                  <a:lnTo>
                    <a:pt x="2798288" y="3487023"/>
                  </a:lnTo>
                  <a:lnTo>
                    <a:pt x="2798288" y="3710003"/>
                  </a:lnTo>
                  <a:lnTo>
                    <a:pt x="2763000" y="3710003"/>
                  </a:lnTo>
                  <a:lnTo>
                    <a:pt x="2763000" y="3530219"/>
                  </a:lnTo>
                  <a:cubicBezTo>
                    <a:pt x="2756612" y="3534783"/>
                    <a:pt x="2749742" y="3538661"/>
                    <a:pt x="2742391" y="3541855"/>
                  </a:cubicBezTo>
                  <a:cubicBezTo>
                    <a:pt x="2735039" y="3545049"/>
                    <a:pt x="2726649" y="3547863"/>
                    <a:pt x="2717219" y="3550297"/>
                  </a:cubicBezTo>
                  <a:lnTo>
                    <a:pt x="2717219" y="3520181"/>
                  </a:lnTo>
                  <a:cubicBezTo>
                    <a:pt x="2723100" y="3518254"/>
                    <a:pt x="2728778" y="3516226"/>
                    <a:pt x="2734253" y="3514097"/>
                  </a:cubicBezTo>
                  <a:cubicBezTo>
                    <a:pt x="2739729" y="3511968"/>
                    <a:pt x="2745129" y="3509584"/>
                    <a:pt x="2750453" y="3506948"/>
                  </a:cubicBezTo>
                  <a:cubicBezTo>
                    <a:pt x="2755776" y="3504312"/>
                    <a:pt x="2761151" y="3501371"/>
                    <a:pt x="2766576" y="3498126"/>
                  </a:cubicBezTo>
                  <a:cubicBezTo>
                    <a:pt x="2772000" y="3494881"/>
                    <a:pt x="2777603" y="3491180"/>
                    <a:pt x="2783382" y="3487023"/>
                  </a:cubicBezTo>
                  <a:close/>
                  <a:moveTo>
                    <a:pt x="2489154" y="3487023"/>
                  </a:moveTo>
                  <a:lnTo>
                    <a:pt x="2504060" y="3487023"/>
                  </a:lnTo>
                  <a:lnTo>
                    <a:pt x="2504060" y="3710003"/>
                  </a:lnTo>
                  <a:lnTo>
                    <a:pt x="2468772" y="3710003"/>
                  </a:lnTo>
                  <a:lnTo>
                    <a:pt x="2468772" y="3530219"/>
                  </a:lnTo>
                  <a:cubicBezTo>
                    <a:pt x="2462385" y="3534783"/>
                    <a:pt x="2455514" y="3538661"/>
                    <a:pt x="2448163" y="3541855"/>
                  </a:cubicBezTo>
                  <a:cubicBezTo>
                    <a:pt x="2440812" y="3545049"/>
                    <a:pt x="2432420" y="3547863"/>
                    <a:pt x="2422990" y="3550297"/>
                  </a:cubicBezTo>
                  <a:lnTo>
                    <a:pt x="2422990" y="3520181"/>
                  </a:lnTo>
                  <a:cubicBezTo>
                    <a:pt x="2428871" y="3518254"/>
                    <a:pt x="2434551" y="3516226"/>
                    <a:pt x="2440025" y="3514097"/>
                  </a:cubicBezTo>
                  <a:cubicBezTo>
                    <a:pt x="2445502" y="3511968"/>
                    <a:pt x="2450900" y="3509584"/>
                    <a:pt x="2456224" y="3506948"/>
                  </a:cubicBezTo>
                  <a:cubicBezTo>
                    <a:pt x="2461549" y="3504312"/>
                    <a:pt x="2466922" y="3501371"/>
                    <a:pt x="2472346" y="3498126"/>
                  </a:cubicBezTo>
                  <a:cubicBezTo>
                    <a:pt x="2477772" y="3494881"/>
                    <a:pt x="2483374" y="3491180"/>
                    <a:pt x="2489154" y="3487023"/>
                  </a:cubicBezTo>
                  <a:close/>
                  <a:moveTo>
                    <a:pt x="1599916" y="3487023"/>
                  </a:moveTo>
                  <a:lnTo>
                    <a:pt x="1614822" y="3487023"/>
                  </a:lnTo>
                  <a:lnTo>
                    <a:pt x="1614822" y="3710003"/>
                  </a:lnTo>
                  <a:lnTo>
                    <a:pt x="1579534" y="3710003"/>
                  </a:lnTo>
                  <a:lnTo>
                    <a:pt x="1579534" y="3530219"/>
                  </a:lnTo>
                  <a:cubicBezTo>
                    <a:pt x="1573146" y="3534783"/>
                    <a:pt x="1566276" y="3538661"/>
                    <a:pt x="1558925" y="3541855"/>
                  </a:cubicBezTo>
                  <a:cubicBezTo>
                    <a:pt x="1551573" y="3545049"/>
                    <a:pt x="1543182" y="3547863"/>
                    <a:pt x="1533752" y="3550297"/>
                  </a:cubicBezTo>
                  <a:lnTo>
                    <a:pt x="1533752" y="3520181"/>
                  </a:lnTo>
                  <a:cubicBezTo>
                    <a:pt x="1539633" y="3518254"/>
                    <a:pt x="1545312" y="3516226"/>
                    <a:pt x="1550787" y="3514097"/>
                  </a:cubicBezTo>
                  <a:cubicBezTo>
                    <a:pt x="1556263" y="3511968"/>
                    <a:pt x="1561663" y="3509584"/>
                    <a:pt x="1566986" y="3506948"/>
                  </a:cubicBezTo>
                  <a:cubicBezTo>
                    <a:pt x="1572310" y="3504312"/>
                    <a:pt x="1577684" y="3501371"/>
                    <a:pt x="1583109" y="3498126"/>
                  </a:cubicBezTo>
                  <a:cubicBezTo>
                    <a:pt x="1588534" y="3494881"/>
                    <a:pt x="1594136" y="3491180"/>
                    <a:pt x="1599916" y="3487023"/>
                  </a:cubicBezTo>
                  <a:close/>
                  <a:moveTo>
                    <a:pt x="1302202" y="3487023"/>
                  </a:moveTo>
                  <a:lnTo>
                    <a:pt x="1317108" y="3487023"/>
                  </a:lnTo>
                  <a:lnTo>
                    <a:pt x="1317108" y="3710003"/>
                  </a:lnTo>
                  <a:lnTo>
                    <a:pt x="1281820" y="3710003"/>
                  </a:lnTo>
                  <a:lnTo>
                    <a:pt x="1281820" y="3530219"/>
                  </a:lnTo>
                  <a:cubicBezTo>
                    <a:pt x="1275432" y="3534783"/>
                    <a:pt x="1268562" y="3538661"/>
                    <a:pt x="1261211" y="3541855"/>
                  </a:cubicBezTo>
                  <a:cubicBezTo>
                    <a:pt x="1253859" y="3545049"/>
                    <a:pt x="1245468" y="3547863"/>
                    <a:pt x="1236038" y="3550297"/>
                  </a:cubicBezTo>
                  <a:lnTo>
                    <a:pt x="1236038" y="3520181"/>
                  </a:lnTo>
                  <a:cubicBezTo>
                    <a:pt x="1241919" y="3518254"/>
                    <a:pt x="1247598" y="3516226"/>
                    <a:pt x="1253073" y="3514097"/>
                  </a:cubicBezTo>
                  <a:cubicBezTo>
                    <a:pt x="1258549" y="3511968"/>
                    <a:pt x="1263949" y="3509584"/>
                    <a:pt x="1269272" y="3506948"/>
                  </a:cubicBezTo>
                  <a:cubicBezTo>
                    <a:pt x="1274596" y="3504312"/>
                    <a:pt x="1279970" y="3501371"/>
                    <a:pt x="1285395" y="3498126"/>
                  </a:cubicBezTo>
                  <a:cubicBezTo>
                    <a:pt x="1290820" y="3494881"/>
                    <a:pt x="1296422" y="3491180"/>
                    <a:pt x="1302202" y="3487023"/>
                  </a:cubicBezTo>
                  <a:close/>
                  <a:moveTo>
                    <a:pt x="927321" y="3487023"/>
                  </a:moveTo>
                  <a:lnTo>
                    <a:pt x="942227" y="3487023"/>
                  </a:lnTo>
                  <a:lnTo>
                    <a:pt x="942227" y="3710003"/>
                  </a:lnTo>
                  <a:lnTo>
                    <a:pt x="906939" y="3710003"/>
                  </a:lnTo>
                  <a:lnTo>
                    <a:pt x="906939" y="3530219"/>
                  </a:lnTo>
                  <a:cubicBezTo>
                    <a:pt x="900551" y="3534783"/>
                    <a:pt x="893681" y="3538661"/>
                    <a:pt x="886330" y="3541855"/>
                  </a:cubicBezTo>
                  <a:cubicBezTo>
                    <a:pt x="878978" y="3545049"/>
                    <a:pt x="870587" y="3547863"/>
                    <a:pt x="861157" y="3550297"/>
                  </a:cubicBezTo>
                  <a:lnTo>
                    <a:pt x="861157" y="3520181"/>
                  </a:lnTo>
                  <a:cubicBezTo>
                    <a:pt x="867038" y="3518254"/>
                    <a:pt x="872717" y="3516226"/>
                    <a:pt x="878192" y="3514097"/>
                  </a:cubicBezTo>
                  <a:cubicBezTo>
                    <a:pt x="883668" y="3511968"/>
                    <a:pt x="889068" y="3509584"/>
                    <a:pt x="894391" y="3506948"/>
                  </a:cubicBezTo>
                  <a:cubicBezTo>
                    <a:pt x="899715" y="3504312"/>
                    <a:pt x="905089" y="3501371"/>
                    <a:pt x="910514" y="3498126"/>
                  </a:cubicBezTo>
                  <a:cubicBezTo>
                    <a:pt x="915939" y="3494881"/>
                    <a:pt x="921541" y="3491180"/>
                    <a:pt x="927321" y="3487023"/>
                  </a:cubicBezTo>
                  <a:close/>
                  <a:moveTo>
                    <a:pt x="778464" y="3487023"/>
                  </a:moveTo>
                  <a:lnTo>
                    <a:pt x="793370" y="3487023"/>
                  </a:lnTo>
                  <a:lnTo>
                    <a:pt x="793370" y="3710003"/>
                  </a:lnTo>
                  <a:lnTo>
                    <a:pt x="758082" y="3710003"/>
                  </a:lnTo>
                  <a:lnTo>
                    <a:pt x="758082" y="3530219"/>
                  </a:lnTo>
                  <a:cubicBezTo>
                    <a:pt x="751694" y="3534783"/>
                    <a:pt x="744824" y="3538661"/>
                    <a:pt x="737473" y="3541855"/>
                  </a:cubicBezTo>
                  <a:cubicBezTo>
                    <a:pt x="730121" y="3545049"/>
                    <a:pt x="721730" y="3547863"/>
                    <a:pt x="712300" y="3550297"/>
                  </a:cubicBezTo>
                  <a:lnTo>
                    <a:pt x="712300" y="3520181"/>
                  </a:lnTo>
                  <a:cubicBezTo>
                    <a:pt x="718181" y="3518254"/>
                    <a:pt x="723860" y="3516226"/>
                    <a:pt x="729335" y="3514097"/>
                  </a:cubicBezTo>
                  <a:cubicBezTo>
                    <a:pt x="734811" y="3511968"/>
                    <a:pt x="740211" y="3509584"/>
                    <a:pt x="745535" y="3506948"/>
                  </a:cubicBezTo>
                  <a:cubicBezTo>
                    <a:pt x="750858" y="3504312"/>
                    <a:pt x="756232" y="3501371"/>
                    <a:pt x="761657" y="3498126"/>
                  </a:cubicBezTo>
                  <a:cubicBezTo>
                    <a:pt x="767082" y="3494881"/>
                    <a:pt x="772684" y="3491180"/>
                    <a:pt x="778464" y="3487023"/>
                  </a:cubicBezTo>
                  <a:close/>
                  <a:moveTo>
                    <a:pt x="629607" y="3487023"/>
                  </a:moveTo>
                  <a:lnTo>
                    <a:pt x="644513" y="3487023"/>
                  </a:lnTo>
                  <a:lnTo>
                    <a:pt x="644513" y="3710003"/>
                  </a:lnTo>
                  <a:lnTo>
                    <a:pt x="609225" y="3710003"/>
                  </a:lnTo>
                  <a:lnTo>
                    <a:pt x="609225" y="3530219"/>
                  </a:lnTo>
                  <a:cubicBezTo>
                    <a:pt x="602837" y="3534783"/>
                    <a:pt x="595967" y="3538661"/>
                    <a:pt x="588616" y="3541855"/>
                  </a:cubicBezTo>
                  <a:cubicBezTo>
                    <a:pt x="581264" y="3545049"/>
                    <a:pt x="572873" y="3547863"/>
                    <a:pt x="563443" y="3550297"/>
                  </a:cubicBezTo>
                  <a:lnTo>
                    <a:pt x="563443" y="3520181"/>
                  </a:lnTo>
                  <a:cubicBezTo>
                    <a:pt x="569324" y="3518254"/>
                    <a:pt x="575003" y="3516226"/>
                    <a:pt x="580478" y="3514097"/>
                  </a:cubicBezTo>
                  <a:cubicBezTo>
                    <a:pt x="585954" y="3511968"/>
                    <a:pt x="591354" y="3509584"/>
                    <a:pt x="596677" y="3506948"/>
                  </a:cubicBezTo>
                  <a:cubicBezTo>
                    <a:pt x="602001" y="3504312"/>
                    <a:pt x="607375" y="3501371"/>
                    <a:pt x="612800" y="3498126"/>
                  </a:cubicBezTo>
                  <a:cubicBezTo>
                    <a:pt x="618225" y="3494881"/>
                    <a:pt x="623827" y="3491180"/>
                    <a:pt x="629607" y="3487023"/>
                  </a:cubicBezTo>
                  <a:close/>
                  <a:moveTo>
                    <a:pt x="480750" y="3487023"/>
                  </a:moveTo>
                  <a:lnTo>
                    <a:pt x="495656" y="3487023"/>
                  </a:lnTo>
                  <a:lnTo>
                    <a:pt x="495656" y="3710003"/>
                  </a:lnTo>
                  <a:lnTo>
                    <a:pt x="460368" y="3710003"/>
                  </a:lnTo>
                  <a:lnTo>
                    <a:pt x="460368" y="3530219"/>
                  </a:lnTo>
                  <a:cubicBezTo>
                    <a:pt x="453980" y="3534783"/>
                    <a:pt x="447110" y="3538661"/>
                    <a:pt x="439759" y="3541855"/>
                  </a:cubicBezTo>
                  <a:cubicBezTo>
                    <a:pt x="432407" y="3545049"/>
                    <a:pt x="424016" y="3547863"/>
                    <a:pt x="414586" y="3550297"/>
                  </a:cubicBezTo>
                  <a:lnTo>
                    <a:pt x="414586" y="3520181"/>
                  </a:lnTo>
                  <a:cubicBezTo>
                    <a:pt x="420467" y="3518254"/>
                    <a:pt x="426146" y="3516226"/>
                    <a:pt x="431621" y="3514097"/>
                  </a:cubicBezTo>
                  <a:cubicBezTo>
                    <a:pt x="437097" y="3511968"/>
                    <a:pt x="442497" y="3509584"/>
                    <a:pt x="447821" y="3506948"/>
                  </a:cubicBezTo>
                  <a:cubicBezTo>
                    <a:pt x="453144" y="3504312"/>
                    <a:pt x="458518" y="3501371"/>
                    <a:pt x="463943" y="3498126"/>
                  </a:cubicBezTo>
                  <a:cubicBezTo>
                    <a:pt x="469368" y="3494881"/>
                    <a:pt x="474970" y="3491180"/>
                    <a:pt x="480750" y="3487023"/>
                  </a:cubicBezTo>
                  <a:close/>
                  <a:moveTo>
                    <a:pt x="11875949" y="3483150"/>
                  </a:moveTo>
                  <a:cubicBezTo>
                    <a:pt x="11923393" y="3483150"/>
                    <a:pt x="11947116" y="3520012"/>
                    <a:pt x="11947116" y="3593737"/>
                  </a:cubicBezTo>
                  <a:cubicBezTo>
                    <a:pt x="11947116" y="3630249"/>
                    <a:pt x="11940420" y="3658108"/>
                    <a:pt x="11927030" y="3677317"/>
                  </a:cubicBezTo>
                  <a:cubicBezTo>
                    <a:pt x="11913639" y="3696525"/>
                    <a:pt x="11894907" y="3706130"/>
                    <a:pt x="11870833" y="3706130"/>
                  </a:cubicBezTo>
                  <a:cubicBezTo>
                    <a:pt x="11848365" y="3706130"/>
                    <a:pt x="11830836" y="3696952"/>
                    <a:pt x="11818248" y="3678596"/>
                  </a:cubicBezTo>
                  <a:cubicBezTo>
                    <a:pt x="11805659" y="3660240"/>
                    <a:pt x="11799365" y="3633709"/>
                    <a:pt x="11799365" y="3599003"/>
                  </a:cubicBezTo>
                  <a:cubicBezTo>
                    <a:pt x="11799365" y="3560887"/>
                    <a:pt x="11805935" y="3532049"/>
                    <a:pt x="11819075" y="3512489"/>
                  </a:cubicBezTo>
                  <a:cubicBezTo>
                    <a:pt x="11832216" y="3492930"/>
                    <a:pt x="11851173" y="3483150"/>
                    <a:pt x="11875949" y="3483150"/>
                  </a:cubicBezTo>
                  <a:close/>
                  <a:moveTo>
                    <a:pt x="11190803" y="3483150"/>
                  </a:moveTo>
                  <a:cubicBezTo>
                    <a:pt x="11238247" y="3483150"/>
                    <a:pt x="11261970" y="3520012"/>
                    <a:pt x="11261970" y="3593737"/>
                  </a:cubicBezTo>
                  <a:cubicBezTo>
                    <a:pt x="11261970" y="3630249"/>
                    <a:pt x="11255274" y="3658108"/>
                    <a:pt x="11241884" y="3677317"/>
                  </a:cubicBezTo>
                  <a:cubicBezTo>
                    <a:pt x="11228493" y="3696525"/>
                    <a:pt x="11209761" y="3706130"/>
                    <a:pt x="11185687" y="3706130"/>
                  </a:cubicBezTo>
                  <a:cubicBezTo>
                    <a:pt x="11163219" y="3706130"/>
                    <a:pt x="11145690" y="3696952"/>
                    <a:pt x="11133102" y="3678596"/>
                  </a:cubicBezTo>
                  <a:cubicBezTo>
                    <a:pt x="11120513" y="3660240"/>
                    <a:pt x="11114219" y="3633709"/>
                    <a:pt x="11114219" y="3599003"/>
                  </a:cubicBezTo>
                  <a:cubicBezTo>
                    <a:pt x="11114219" y="3560887"/>
                    <a:pt x="11120789" y="3532049"/>
                    <a:pt x="11133929" y="3512489"/>
                  </a:cubicBezTo>
                  <a:cubicBezTo>
                    <a:pt x="11147070" y="3492930"/>
                    <a:pt x="11166027" y="3483150"/>
                    <a:pt x="11190803" y="3483150"/>
                  </a:cubicBezTo>
                  <a:close/>
                  <a:moveTo>
                    <a:pt x="9937869" y="3483150"/>
                  </a:moveTo>
                  <a:cubicBezTo>
                    <a:pt x="9985313" y="3483150"/>
                    <a:pt x="10009036" y="3520012"/>
                    <a:pt x="10009036" y="3593737"/>
                  </a:cubicBezTo>
                  <a:cubicBezTo>
                    <a:pt x="10009036" y="3630249"/>
                    <a:pt x="10002340" y="3658108"/>
                    <a:pt x="9988950" y="3677317"/>
                  </a:cubicBezTo>
                  <a:cubicBezTo>
                    <a:pt x="9975559" y="3696525"/>
                    <a:pt x="9956827" y="3706130"/>
                    <a:pt x="9932753" y="3706130"/>
                  </a:cubicBezTo>
                  <a:cubicBezTo>
                    <a:pt x="9910285" y="3706130"/>
                    <a:pt x="9892756" y="3696952"/>
                    <a:pt x="9880168" y="3678596"/>
                  </a:cubicBezTo>
                  <a:cubicBezTo>
                    <a:pt x="9867579" y="3660240"/>
                    <a:pt x="9861285" y="3633709"/>
                    <a:pt x="9861285" y="3599003"/>
                  </a:cubicBezTo>
                  <a:cubicBezTo>
                    <a:pt x="9861285" y="3560887"/>
                    <a:pt x="9867855" y="3532049"/>
                    <a:pt x="9880995" y="3512489"/>
                  </a:cubicBezTo>
                  <a:cubicBezTo>
                    <a:pt x="9894136" y="3492930"/>
                    <a:pt x="9913093" y="3483150"/>
                    <a:pt x="9937869" y="3483150"/>
                  </a:cubicBezTo>
                  <a:close/>
                  <a:moveTo>
                    <a:pt x="9715358" y="3483150"/>
                  </a:moveTo>
                  <a:cubicBezTo>
                    <a:pt x="9762802" y="3483150"/>
                    <a:pt x="9786525" y="3520012"/>
                    <a:pt x="9786525" y="3593737"/>
                  </a:cubicBezTo>
                  <a:cubicBezTo>
                    <a:pt x="9786525" y="3630249"/>
                    <a:pt x="9779829" y="3658108"/>
                    <a:pt x="9766439" y="3677317"/>
                  </a:cubicBezTo>
                  <a:cubicBezTo>
                    <a:pt x="9753048" y="3696525"/>
                    <a:pt x="9734316" y="3706130"/>
                    <a:pt x="9710242" y="3706130"/>
                  </a:cubicBezTo>
                  <a:cubicBezTo>
                    <a:pt x="9687774" y="3706130"/>
                    <a:pt x="9670245" y="3696952"/>
                    <a:pt x="9657657" y="3678596"/>
                  </a:cubicBezTo>
                  <a:cubicBezTo>
                    <a:pt x="9645068" y="3660240"/>
                    <a:pt x="9638774" y="3633709"/>
                    <a:pt x="9638774" y="3599003"/>
                  </a:cubicBezTo>
                  <a:cubicBezTo>
                    <a:pt x="9638774" y="3560887"/>
                    <a:pt x="9645344" y="3532049"/>
                    <a:pt x="9658484" y="3512489"/>
                  </a:cubicBezTo>
                  <a:cubicBezTo>
                    <a:pt x="9671625" y="3492930"/>
                    <a:pt x="9690582" y="3483150"/>
                    <a:pt x="9715358" y="3483150"/>
                  </a:cubicBezTo>
                  <a:close/>
                  <a:moveTo>
                    <a:pt x="6373956" y="3483150"/>
                  </a:moveTo>
                  <a:cubicBezTo>
                    <a:pt x="6421401" y="3483150"/>
                    <a:pt x="6445123" y="3520012"/>
                    <a:pt x="6445123" y="3593737"/>
                  </a:cubicBezTo>
                  <a:cubicBezTo>
                    <a:pt x="6445123" y="3630249"/>
                    <a:pt x="6438428" y="3658108"/>
                    <a:pt x="6425037" y="3677317"/>
                  </a:cubicBezTo>
                  <a:cubicBezTo>
                    <a:pt x="6411646" y="3696525"/>
                    <a:pt x="6392914" y="3706130"/>
                    <a:pt x="6368840" y="3706130"/>
                  </a:cubicBezTo>
                  <a:cubicBezTo>
                    <a:pt x="6346372" y="3706130"/>
                    <a:pt x="6328843" y="3696952"/>
                    <a:pt x="6316255" y="3678596"/>
                  </a:cubicBezTo>
                  <a:cubicBezTo>
                    <a:pt x="6303666" y="3660240"/>
                    <a:pt x="6297372" y="3633709"/>
                    <a:pt x="6297372" y="3599003"/>
                  </a:cubicBezTo>
                  <a:cubicBezTo>
                    <a:pt x="6297372" y="3560887"/>
                    <a:pt x="6303942" y="3532049"/>
                    <a:pt x="6317082" y="3512489"/>
                  </a:cubicBezTo>
                  <a:cubicBezTo>
                    <a:pt x="6330223" y="3492930"/>
                    <a:pt x="6349180" y="3483150"/>
                    <a:pt x="6373956" y="3483150"/>
                  </a:cubicBezTo>
                  <a:close/>
                  <a:moveTo>
                    <a:pt x="5786272" y="3483150"/>
                  </a:moveTo>
                  <a:cubicBezTo>
                    <a:pt x="5833719" y="3483150"/>
                    <a:pt x="5857440" y="3520012"/>
                    <a:pt x="5857440" y="3593737"/>
                  </a:cubicBezTo>
                  <a:cubicBezTo>
                    <a:pt x="5857440" y="3630249"/>
                    <a:pt x="5850744" y="3658108"/>
                    <a:pt x="5837355" y="3677317"/>
                  </a:cubicBezTo>
                  <a:cubicBezTo>
                    <a:pt x="5823963" y="3696525"/>
                    <a:pt x="5805230" y="3706130"/>
                    <a:pt x="5781158" y="3706130"/>
                  </a:cubicBezTo>
                  <a:cubicBezTo>
                    <a:pt x="5758689" y="3706130"/>
                    <a:pt x="5741161" y="3696952"/>
                    <a:pt x="5728572" y="3678596"/>
                  </a:cubicBezTo>
                  <a:cubicBezTo>
                    <a:pt x="5715984" y="3660240"/>
                    <a:pt x="5709690" y="3633709"/>
                    <a:pt x="5709690" y="3599003"/>
                  </a:cubicBezTo>
                  <a:cubicBezTo>
                    <a:pt x="5709690" y="3560887"/>
                    <a:pt x="5716259" y="3532049"/>
                    <a:pt x="5729400" y="3512489"/>
                  </a:cubicBezTo>
                  <a:cubicBezTo>
                    <a:pt x="5742540" y="3492930"/>
                    <a:pt x="5761498" y="3483150"/>
                    <a:pt x="5786272" y="3483150"/>
                  </a:cubicBezTo>
                  <a:close/>
                  <a:moveTo>
                    <a:pt x="5093284" y="3483150"/>
                  </a:moveTo>
                  <a:cubicBezTo>
                    <a:pt x="5140729" y="3483150"/>
                    <a:pt x="5164451" y="3520012"/>
                    <a:pt x="5164451" y="3593737"/>
                  </a:cubicBezTo>
                  <a:cubicBezTo>
                    <a:pt x="5164451" y="3630249"/>
                    <a:pt x="5157756" y="3658108"/>
                    <a:pt x="5144364" y="3677317"/>
                  </a:cubicBezTo>
                  <a:cubicBezTo>
                    <a:pt x="5130974" y="3696525"/>
                    <a:pt x="5112242" y="3706130"/>
                    <a:pt x="5088168" y="3706130"/>
                  </a:cubicBezTo>
                  <a:cubicBezTo>
                    <a:pt x="5065701" y="3706130"/>
                    <a:pt x="5048170" y="3696952"/>
                    <a:pt x="5035583" y="3678596"/>
                  </a:cubicBezTo>
                  <a:cubicBezTo>
                    <a:pt x="5022994" y="3660240"/>
                    <a:pt x="5016700" y="3633709"/>
                    <a:pt x="5016700" y="3599003"/>
                  </a:cubicBezTo>
                  <a:cubicBezTo>
                    <a:pt x="5016700" y="3560887"/>
                    <a:pt x="5023271" y="3532049"/>
                    <a:pt x="5036410" y="3512489"/>
                  </a:cubicBezTo>
                  <a:cubicBezTo>
                    <a:pt x="5049553" y="3492930"/>
                    <a:pt x="5068509" y="3483150"/>
                    <a:pt x="5093284" y="3483150"/>
                  </a:cubicBezTo>
                  <a:close/>
                  <a:moveTo>
                    <a:pt x="3839047" y="3483150"/>
                  </a:moveTo>
                  <a:cubicBezTo>
                    <a:pt x="3886491" y="3483150"/>
                    <a:pt x="3910214" y="3520012"/>
                    <a:pt x="3910214" y="3593737"/>
                  </a:cubicBezTo>
                  <a:cubicBezTo>
                    <a:pt x="3910214" y="3630249"/>
                    <a:pt x="3903519" y="3658108"/>
                    <a:pt x="3890128" y="3677317"/>
                  </a:cubicBezTo>
                  <a:cubicBezTo>
                    <a:pt x="3876737" y="3696525"/>
                    <a:pt x="3858005" y="3706130"/>
                    <a:pt x="3833931" y="3706130"/>
                  </a:cubicBezTo>
                  <a:cubicBezTo>
                    <a:pt x="3811463" y="3706130"/>
                    <a:pt x="3793934" y="3696952"/>
                    <a:pt x="3781346" y="3678596"/>
                  </a:cubicBezTo>
                  <a:cubicBezTo>
                    <a:pt x="3768757" y="3660240"/>
                    <a:pt x="3762464" y="3633709"/>
                    <a:pt x="3762464" y="3599003"/>
                  </a:cubicBezTo>
                  <a:cubicBezTo>
                    <a:pt x="3762464" y="3560887"/>
                    <a:pt x="3769034" y="3532049"/>
                    <a:pt x="3782173" y="3512489"/>
                  </a:cubicBezTo>
                  <a:cubicBezTo>
                    <a:pt x="3795313" y="3492930"/>
                    <a:pt x="3814271" y="3483150"/>
                    <a:pt x="3839047" y="3483150"/>
                  </a:cubicBezTo>
                  <a:close/>
                  <a:moveTo>
                    <a:pt x="3616537" y="3483150"/>
                  </a:moveTo>
                  <a:cubicBezTo>
                    <a:pt x="3663981" y="3483150"/>
                    <a:pt x="3687703" y="3520012"/>
                    <a:pt x="3687703" y="3593737"/>
                  </a:cubicBezTo>
                  <a:cubicBezTo>
                    <a:pt x="3687703" y="3630249"/>
                    <a:pt x="3681008" y="3658108"/>
                    <a:pt x="3667617" y="3677317"/>
                  </a:cubicBezTo>
                  <a:cubicBezTo>
                    <a:pt x="3654226" y="3696525"/>
                    <a:pt x="3635494" y="3706130"/>
                    <a:pt x="3611420" y="3706130"/>
                  </a:cubicBezTo>
                  <a:cubicBezTo>
                    <a:pt x="3588952" y="3706130"/>
                    <a:pt x="3571422" y="3696952"/>
                    <a:pt x="3558835" y="3678596"/>
                  </a:cubicBezTo>
                  <a:cubicBezTo>
                    <a:pt x="3546246" y="3660240"/>
                    <a:pt x="3539952" y="3633709"/>
                    <a:pt x="3539952" y="3599003"/>
                  </a:cubicBezTo>
                  <a:cubicBezTo>
                    <a:pt x="3539952" y="3560887"/>
                    <a:pt x="3546522" y="3532049"/>
                    <a:pt x="3559662" y="3512489"/>
                  </a:cubicBezTo>
                  <a:cubicBezTo>
                    <a:pt x="3572804" y="3492930"/>
                    <a:pt x="3591760" y="3483150"/>
                    <a:pt x="3616537" y="3483150"/>
                  </a:cubicBezTo>
                  <a:close/>
                  <a:moveTo>
                    <a:pt x="11868817" y="3137996"/>
                  </a:moveTo>
                  <a:cubicBezTo>
                    <a:pt x="11842637" y="3137996"/>
                    <a:pt x="11829547" y="3166834"/>
                    <a:pt x="11829547" y="3224510"/>
                  </a:cubicBezTo>
                  <a:cubicBezTo>
                    <a:pt x="11829547" y="3278474"/>
                    <a:pt x="11842386" y="3305457"/>
                    <a:pt x="11868065" y="3305457"/>
                  </a:cubicBezTo>
                  <a:cubicBezTo>
                    <a:pt x="11893341" y="3305457"/>
                    <a:pt x="11905980" y="3278023"/>
                    <a:pt x="11905980" y="3223156"/>
                  </a:cubicBezTo>
                  <a:cubicBezTo>
                    <a:pt x="11905980" y="3166382"/>
                    <a:pt x="11893592" y="3137996"/>
                    <a:pt x="11868817" y="3137996"/>
                  </a:cubicBezTo>
                  <a:close/>
                  <a:moveTo>
                    <a:pt x="11181652" y="3137996"/>
                  </a:moveTo>
                  <a:cubicBezTo>
                    <a:pt x="11155472" y="3137996"/>
                    <a:pt x="11142382" y="3166834"/>
                    <a:pt x="11142382" y="3224510"/>
                  </a:cubicBezTo>
                  <a:cubicBezTo>
                    <a:pt x="11142382" y="3278474"/>
                    <a:pt x="11155221" y="3305457"/>
                    <a:pt x="11180900" y="3305457"/>
                  </a:cubicBezTo>
                  <a:cubicBezTo>
                    <a:pt x="11206176" y="3305457"/>
                    <a:pt x="11218815" y="3278023"/>
                    <a:pt x="11218815" y="3223156"/>
                  </a:cubicBezTo>
                  <a:cubicBezTo>
                    <a:pt x="11218815" y="3166382"/>
                    <a:pt x="11206427" y="3137996"/>
                    <a:pt x="11181652" y="3137996"/>
                  </a:cubicBezTo>
                  <a:close/>
                  <a:moveTo>
                    <a:pt x="9924166" y="3137996"/>
                  </a:moveTo>
                  <a:cubicBezTo>
                    <a:pt x="9897986" y="3137996"/>
                    <a:pt x="9884896" y="3166834"/>
                    <a:pt x="9884896" y="3224510"/>
                  </a:cubicBezTo>
                  <a:cubicBezTo>
                    <a:pt x="9884896" y="3278474"/>
                    <a:pt x="9897735" y="3305457"/>
                    <a:pt x="9923414" y="3305457"/>
                  </a:cubicBezTo>
                  <a:cubicBezTo>
                    <a:pt x="9948690" y="3305457"/>
                    <a:pt x="9961329" y="3278023"/>
                    <a:pt x="9961329" y="3223156"/>
                  </a:cubicBezTo>
                  <a:cubicBezTo>
                    <a:pt x="9961329" y="3166382"/>
                    <a:pt x="9948941" y="3137996"/>
                    <a:pt x="9924166" y="3137996"/>
                  </a:cubicBezTo>
                  <a:close/>
                  <a:moveTo>
                    <a:pt x="9707272" y="3137996"/>
                  </a:moveTo>
                  <a:cubicBezTo>
                    <a:pt x="9681092" y="3137996"/>
                    <a:pt x="9668002" y="3166834"/>
                    <a:pt x="9668002" y="3224510"/>
                  </a:cubicBezTo>
                  <a:cubicBezTo>
                    <a:pt x="9668002" y="3278474"/>
                    <a:pt x="9680841" y="3305457"/>
                    <a:pt x="9706520" y="3305457"/>
                  </a:cubicBezTo>
                  <a:cubicBezTo>
                    <a:pt x="9731796" y="3305457"/>
                    <a:pt x="9744435" y="3278023"/>
                    <a:pt x="9744435" y="3223156"/>
                  </a:cubicBezTo>
                  <a:cubicBezTo>
                    <a:pt x="9744435" y="3166382"/>
                    <a:pt x="9732047" y="3137996"/>
                    <a:pt x="9707272" y="3137996"/>
                  </a:cubicBezTo>
                  <a:close/>
                  <a:moveTo>
                    <a:pt x="6330265" y="3137996"/>
                  </a:moveTo>
                  <a:cubicBezTo>
                    <a:pt x="6304085" y="3137996"/>
                    <a:pt x="6290995" y="3166834"/>
                    <a:pt x="6290995" y="3224510"/>
                  </a:cubicBezTo>
                  <a:cubicBezTo>
                    <a:pt x="6290995" y="3278474"/>
                    <a:pt x="6303834" y="3305457"/>
                    <a:pt x="6329513" y="3305457"/>
                  </a:cubicBezTo>
                  <a:cubicBezTo>
                    <a:pt x="6354790" y="3305457"/>
                    <a:pt x="6367428" y="3278023"/>
                    <a:pt x="6367428" y="3223156"/>
                  </a:cubicBezTo>
                  <a:cubicBezTo>
                    <a:pt x="6367428" y="3166382"/>
                    <a:pt x="6355040" y="3137996"/>
                    <a:pt x="6330265" y="3137996"/>
                  </a:cubicBezTo>
                  <a:close/>
                  <a:moveTo>
                    <a:pt x="6148770" y="3137996"/>
                  </a:moveTo>
                  <a:cubicBezTo>
                    <a:pt x="6122590" y="3137996"/>
                    <a:pt x="6109500" y="3166834"/>
                    <a:pt x="6109500" y="3224510"/>
                  </a:cubicBezTo>
                  <a:cubicBezTo>
                    <a:pt x="6109500" y="3278474"/>
                    <a:pt x="6122339" y="3305457"/>
                    <a:pt x="6148018" y="3305457"/>
                  </a:cubicBezTo>
                  <a:cubicBezTo>
                    <a:pt x="6173295" y="3305457"/>
                    <a:pt x="6185933" y="3278023"/>
                    <a:pt x="6185933" y="3223156"/>
                  </a:cubicBezTo>
                  <a:cubicBezTo>
                    <a:pt x="6185933" y="3166382"/>
                    <a:pt x="6173545" y="3137996"/>
                    <a:pt x="6148770" y="3137996"/>
                  </a:cubicBezTo>
                  <a:close/>
                  <a:moveTo>
                    <a:pt x="5817313" y="3137996"/>
                  </a:moveTo>
                  <a:cubicBezTo>
                    <a:pt x="5791132" y="3137996"/>
                    <a:pt x="5778043" y="3166834"/>
                    <a:pt x="5778043" y="3224510"/>
                  </a:cubicBezTo>
                  <a:cubicBezTo>
                    <a:pt x="5778043" y="3278474"/>
                    <a:pt x="5790882" y="3305457"/>
                    <a:pt x="5816561" y="3305457"/>
                  </a:cubicBezTo>
                  <a:cubicBezTo>
                    <a:pt x="5841837" y="3305457"/>
                    <a:pt x="5854477" y="3278023"/>
                    <a:pt x="5854477" y="3223156"/>
                  </a:cubicBezTo>
                  <a:cubicBezTo>
                    <a:pt x="5854477" y="3166382"/>
                    <a:pt x="5842087" y="3137996"/>
                    <a:pt x="5817313" y="3137996"/>
                  </a:cubicBezTo>
                  <a:close/>
                  <a:moveTo>
                    <a:pt x="5117746" y="3137996"/>
                  </a:moveTo>
                  <a:cubicBezTo>
                    <a:pt x="5091566" y="3137996"/>
                    <a:pt x="5078476" y="3166834"/>
                    <a:pt x="5078476" y="3224510"/>
                  </a:cubicBezTo>
                  <a:cubicBezTo>
                    <a:pt x="5078476" y="3278474"/>
                    <a:pt x="5091315" y="3305457"/>
                    <a:pt x="5116994" y="3305457"/>
                  </a:cubicBezTo>
                  <a:cubicBezTo>
                    <a:pt x="5142271" y="3305457"/>
                    <a:pt x="5154909" y="3278023"/>
                    <a:pt x="5154909" y="3223156"/>
                  </a:cubicBezTo>
                  <a:cubicBezTo>
                    <a:pt x="5154909" y="3166382"/>
                    <a:pt x="5142521" y="3137996"/>
                    <a:pt x="5117746" y="3137996"/>
                  </a:cubicBezTo>
                  <a:close/>
                  <a:moveTo>
                    <a:pt x="3857235" y="3137996"/>
                  </a:moveTo>
                  <a:cubicBezTo>
                    <a:pt x="3831054" y="3137996"/>
                    <a:pt x="3817965" y="3166834"/>
                    <a:pt x="3817965" y="3224510"/>
                  </a:cubicBezTo>
                  <a:cubicBezTo>
                    <a:pt x="3817965" y="3278474"/>
                    <a:pt x="3830804" y="3305457"/>
                    <a:pt x="3856483" y="3305457"/>
                  </a:cubicBezTo>
                  <a:cubicBezTo>
                    <a:pt x="3881760" y="3305457"/>
                    <a:pt x="3894397" y="3278023"/>
                    <a:pt x="3894397" y="3223156"/>
                  </a:cubicBezTo>
                  <a:cubicBezTo>
                    <a:pt x="3894397" y="3166382"/>
                    <a:pt x="3882010" y="3137996"/>
                    <a:pt x="3857235" y="3137996"/>
                  </a:cubicBezTo>
                  <a:close/>
                  <a:moveTo>
                    <a:pt x="3640341" y="3137996"/>
                  </a:moveTo>
                  <a:cubicBezTo>
                    <a:pt x="3614161" y="3137996"/>
                    <a:pt x="3601072" y="3166834"/>
                    <a:pt x="3601072" y="3224510"/>
                  </a:cubicBezTo>
                  <a:cubicBezTo>
                    <a:pt x="3601072" y="3278474"/>
                    <a:pt x="3613910" y="3305457"/>
                    <a:pt x="3639589" y="3305457"/>
                  </a:cubicBezTo>
                  <a:cubicBezTo>
                    <a:pt x="3664866" y="3305457"/>
                    <a:pt x="3677504" y="3278023"/>
                    <a:pt x="3677504" y="3223156"/>
                  </a:cubicBezTo>
                  <a:cubicBezTo>
                    <a:pt x="3677504" y="3166382"/>
                    <a:pt x="3665116" y="3137996"/>
                    <a:pt x="3640341" y="3137996"/>
                  </a:cubicBezTo>
                  <a:close/>
                  <a:moveTo>
                    <a:pt x="273451" y="3137996"/>
                  </a:moveTo>
                  <a:cubicBezTo>
                    <a:pt x="247271" y="3137996"/>
                    <a:pt x="234181" y="3166834"/>
                    <a:pt x="234181" y="3224510"/>
                  </a:cubicBezTo>
                  <a:cubicBezTo>
                    <a:pt x="234181" y="3278474"/>
                    <a:pt x="247020" y="3305457"/>
                    <a:pt x="272699" y="3305457"/>
                  </a:cubicBezTo>
                  <a:cubicBezTo>
                    <a:pt x="297976" y="3305457"/>
                    <a:pt x="310614" y="3278023"/>
                    <a:pt x="310614" y="3223156"/>
                  </a:cubicBezTo>
                  <a:cubicBezTo>
                    <a:pt x="310614" y="3166382"/>
                    <a:pt x="298226" y="3137996"/>
                    <a:pt x="273451" y="3137996"/>
                  </a:cubicBezTo>
                  <a:close/>
                  <a:moveTo>
                    <a:pt x="74929" y="3137996"/>
                  </a:moveTo>
                  <a:cubicBezTo>
                    <a:pt x="48749" y="3137996"/>
                    <a:pt x="35659" y="3166834"/>
                    <a:pt x="35659" y="3224510"/>
                  </a:cubicBezTo>
                  <a:cubicBezTo>
                    <a:pt x="35659" y="3278474"/>
                    <a:pt x="48498" y="3305457"/>
                    <a:pt x="74177" y="3305457"/>
                  </a:cubicBezTo>
                  <a:cubicBezTo>
                    <a:pt x="99454" y="3305457"/>
                    <a:pt x="112092" y="3278023"/>
                    <a:pt x="112092" y="3223156"/>
                  </a:cubicBezTo>
                  <a:cubicBezTo>
                    <a:pt x="112092" y="3166382"/>
                    <a:pt x="99704" y="3137996"/>
                    <a:pt x="74929" y="3137996"/>
                  </a:cubicBezTo>
                  <a:close/>
                  <a:moveTo>
                    <a:pt x="12088449" y="3110161"/>
                  </a:moveTo>
                  <a:lnTo>
                    <a:pt x="12103355" y="3110161"/>
                  </a:lnTo>
                  <a:lnTo>
                    <a:pt x="12103355" y="3333141"/>
                  </a:lnTo>
                  <a:lnTo>
                    <a:pt x="12068067" y="3333141"/>
                  </a:lnTo>
                  <a:lnTo>
                    <a:pt x="12068067" y="3153358"/>
                  </a:lnTo>
                  <a:cubicBezTo>
                    <a:pt x="12061679" y="3157921"/>
                    <a:pt x="12054809" y="3161799"/>
                    <a:pt x="12047458" y="3164993"/>
                  </a:cubicBezTo>
                  <a:cubicBezTo>
                    <a:pt x="12040106" y="3168188"/>
                    <a:pt x="12031715" y="3171001"/>
                    <a:pt x="12022285" y="3173435"/>
                  </a:cubicBezTo>
                  <a:lnTo>
                    <a:pt x="12022285" y="3143319"/>
                  </a:lnTo>
                  <a:cubicBezTo>
                    <a:pt x="12028166" y="3141393"/>
                    <a:pt x="12033845" y="3139365"/>
                    <a:pt x="12039320" y="3137235"/>
                  </a:cubicBezTo>
                  <a:cubicBezTo>
                    <a:pt x="12044796" y="3135106"/>
                    <a:pt x="12050196" y="3132723"/>
                    <a:pt x="12055519" y="3130086"/>
                  </a:cubicBezTo>
                  <a:cubicBezTo>
                    <a:pt x="12060843" y="3127450"/>
                    <a:pt x="12066217" y="3124509"/>
                    <a:pt x="12071642" y="3121265"/>
                  </a:cubicBezTo>
                  <a:cubicBezTo>
                    <a:pt x="12077067" y="3118020"/>
                    <a:pt x="12082669" y="3114319"/>
                    <a:pt x="12088449" y="3110161"/>
                  </a:cubicBezTo>
                  <a:close/>
                  <a:moveTo>
                    <a:pt x="11870472" y="3110161"/>
                  </a:moveTo>
                  <a:cubicBezTo>
                    <a:pt x="11917916" y="3110161"/>
                    <a:pt x="11941639" y="3147024"/>
                    <a:pt x="11941639" y="3220749"/>
                  </a:cubicBezTo>
                  <a:cubicBezTo>
                    <a:pt x="11941639" y="3257260"/>
                    <a:pt x="11934943" y="3285120"/>
                    <a:pt x="11921553" y="3304328"/>
                  </a:cubicBezTo>
                  <a:cubicBezTo>
                    <a:pt x="11908162" y="3323537"/>
                    <a:pt x="11889430" y="3333141"/>
                    <a:pt x="11865356" y="3333141"/>
                  </a:cubicBezTo>
                  <a:cubicBezTo>
                    <a:pt x="11842888" y="3333141"/>
                    <a:pt x="11825359" y="3323963"/>
                    <a:pt x="11812771" y="3305607"/>
                  </a:cubicBezTo>
                  <a:cubicBezTo>
                    <a:pt x="11800182" y="3287251"/>
                    <a:pt x="11793888" y="3260720"/>
                    <a:pt x="11793888" y="3226015"/>
                  </a:cubicBezTo>
                  <a:cubicBezTo>
                    <a:pt x="11793888" y="3187898"/>
                    <a:pt x="11800458" y="3159061"/>
                    <a:pt x="11813598" y="3139501"/>
                  </a:cubicBezTo>
                  <a:cubicBezTo>
                    <a:pt x="11826739" y="3119941"/>
                    <a:pt x="11845696" y="3110161"/>
                    <a:pt x="11870472" y="3110161"/>
                  </a:cubicBezTo>
                  <a:close/>
                  <a:moveTo>
                    <a:pt x="11183307" y="3110161"/>
                  </a:moveTo>
                  <a:cubicBezTo>
                    <a:pt x="11230751" y="3110161"/>
                    <a:pt x="11254474" y="3147024"/>
                    <a:pt x="11254474" y="3220749"/>
                  </a:cubicBezTo>
                  <a:cubicBezTo>
                    <a:pt x="11254474" y="3257260"/>
                    <a:pt x="11247778" y="3285120"/>
                    <a:pt x="11234388" y="3304328"/>
                  </a:cubicBezTo>
                  <a:cubicBezTo>
                    <a:pt x="11220997" y="3323537"/>
                    <a:pt x="11202265" y="3333141"/>
                    <a:pt x="11178191" y="3333141"/>
                  </a:cubicBezTo>
                  <a:cubicBezTo>
                    <a:pt x="11155723" y="3333141"/>
                    <a:pt x="11138194" y="3323963"/>
                    <a:pt x="11125606" y="3305607"/>
                  </a:cubicBezTo>
                  <a:cubicBezTo>
                    <a:pt x="11113017" y="3287251"/>
                    <a:pt x="11106723" y="3260720"/>
                    <a:pt x="11106723" y="3226015"/>
                  </a:cubicBezTo>
                  <a:cubicBezTo>
                    <a:pt x="11106723" y="3187898"/>
                    <a:pt x="11113293" y="3159061"/>
                    <a:pt x="11126433" y="3139501"/>
                  </a:cubicBezTo>
                  <a:cubicBezTo>
                    <a:pt x="11139574" y="3119941"/>
                    <a:pt x="11158531" y="3110161"/>
                    <a:pt x="11183307" y="3110161"/>
                  </a:cubicBezTo>
                  <a:close/>
                  <a:moveTo>
                    <a:pt x="10794576" y="3110161"/>
                  </a:moveTo>
                  <a:lnTo>
                    <a:pt x="10809482" y="3110161"/>
                  </a:lnTo>
                  <a:lnTo>
                    <a:pt x="10809482" y="3333141"/>
                  </a:lnTo>
                  <a:lnTo>
                    <a:pt x="10774194" y="3333141"/>
                  </a:lnTo>
                  <a:lnTo>
                    <a:pt x="10774194" y="3153358"/>
                  </a:lnTo>
                  <a:cubicBezTo>
                    <a:pt x="10767806" y="3157921"/>
                    <a:pt x="10760936" y="3161799"/>
                    <a:pt x="10753585" y="3164993"/>
                  </a:cubicBezTo>
                  <a:cubicBezTo>
                    <a:pt x="10746233" y="3168188"/>
                    <a:pt x="10737842" y="3171001"/>
                    <a:pt x="10728412" y="3173435"/>
                  </a:cubicBezTo>
                  <a:lnTo>
                    <a:pt x="10728412" y="3143319"/>
                  </a:lnTo>
                  <a:cubicBezTo>
                    <a:pt x="10734293" y="3141393"/>
                    <a:pt x="10739972" y="3139365"/>
                    <a:pt x="10745447" y="3137235"/>
                  </a:cubicBezTo>
                  <a:cubicBezTo>
                    <a:pt x="10750923" y="3135106"/>
                    <a:pt x="10756323" y="3132723"/>
                    <a:pt x="10761646" y="3130086"/>
                  </a:cubicBezTo>
                  <a:cubicBezTo>
                    <a:pt x="10766970" y="3127450"/>
                    <a:pt x="10772344" y="3124509"/>
                    <a:pt x="10777769" y="3121265"/>
                  </a:cubicBezTo>
                  <a:cubicBezTo>
                    <a:pt x="10783194" y="3118020"/>
                    <a:pt x="10788796" y="3114319"/>
                    <a:pt x="10794576" y="3110161"/>
                  </a:cubicBezTo>
                  <a:close/>
                  <a:moveTo>
                    <a:pt x="10431054" y="3110161"/>
                  </a:moveTo>
                  <a:lnTo>
                    <a:pt x="10445960" y="3110161"/>
                  </a:lnTo>
                  <a:lnTo>
                    <a:pt x="10445960" y="3333141"/>
                  </a:lnTo>
                  <a:lnTo>
                    <a:pt x="10410672" y="3333141"/>
                  </a:lnTo>
                  <a:lnTo>
                    <a:pt x="10410672" y="3153358"/>
                  </a:lnTo>
                  <a:cubicBezTo>
                    <a:pt x="10404284" y="3157921"/>
                    <a:pt x="10397414" y="3161799"/>
                    <a:pt x="10390063" y="3164993"/>
                  </a:cubicBezTo>
                  <a:cubicBezTo>
                    <a:pt x="10382711" y="3168188"/>
                    <a:pt x="10374320" y="3171001"/>
                    <a:pt x="10364890" y="3173435"/>
                  </a:cubicBezTo>
                  <a:lnTo>
                    <a:pt x="10364890" y="3143319"/>
                  </a:lnTo>
                  <a:cubicBezTo>
                    <a:pt x="10370771" y="3141393"/>
                    <a:pt x="10376450" y="3139365"/>
                    <a:pt x="10381925" y="3137235"/>
                  </a:cubicBezTo>
                  <a:cubicBezTo>
                    <a:pt x="10387401" y="3135106"/>
                    <a:pt x="10392801" y="3132723"/>
                    <a:pt x="10398124" y="3130086"/>
                  </a:cubicBezTo>
                  <a:cubicBezTo>
                    <a:pt x="10403448" y="3127450"/>
                    <a:pt x="10408822" y="3124509"/>
                    <a:pt x="10414247" y="3121265"/>
                  </a:cubicBezTo>
                  <a:cubicBezTo>
                    <a:pt x="10419672" y="3118020"/>
                    <a:pt x="10425274" y="3114319"/>
                    <a:pt x="10431054" y="3110161"/>
                  </a:cubicBezTo>
                  <a:close/>
                  <a:moveTo>
                    <a:pt x="10132191" y="3110161"/>
                  </a:moveTo>
                  <a:lnTo>
                    <a:pt x="10147097" y="3110161"/>
                  </a:lnTo>
                  <a:lnTo>
                    <a:pt x="10147097" y="3333141"/>
                  </a:lnTo>
                  <a:lnTo>
                    <a:pt x="10111809" y="3333141"/>
                  </a:lnTo>
                  <a:lnTo>
                    <a:pt x="10111809" y="3153358"/>
                  </a:lnTo>
                  <a:cubicBezTo>
                    <a:pt x="10105421" y="3157921"/>
                    <a:pt x="10098551" y="3161799"/>
                    <a:pt x="10091200" y="3164993"/>
                  </a:cubicBezTo>
                  <a:cubicBezTo>
                    <a:pt x="10083848" y="3168188"/>
                    <a:pt x="10075457" y="3171001"/>
                    <a:pt x="10066027" y="3173435"/>
                  </a:cubicBezTo>
                  <a:lnTo>
                    <a:pt x="10066027" y="3143319"/>
                  </a:lnTo>
                  <a:cubicBezTo>
                    <a:pt x="10071908" y="3141393"/>
                    <a:pt x="10077587" y="3139365"/>
                    <a:pt x="10083062" y="3137235"/>
                  </a:cubicBezTo>
                  <a:cubicBezTo>
                    <a:pt x="10088538" y="3135106"/>
                    <a:pt x="10093938" y="3132723"/>
                    <a:pt x="10099261" y="3130086"/>
                  </a:cubicBezTo>
                  <a:cubicBezTo>
                    <a:pt x="10104585" y="3127450"/>
                    <a:pt x="10109959" y="3124509"/>
                    <a:pt x="10115384" y="3121265"/>
                  </a:cubicBezTo>
                  <a:cubicBezTo>
                    <a:pt x="10120809" y="3118020"/>
                    <a:pt x="10126411" y="3114319"/>
                    <a:pt x="10132191" y="3110161"/>
                  </a:cubicBezTo>
                  <a:close/>
                  <a:moveTo>
                    <a:pt x="9925821" y="3110161"/>
                  </a:moveTo>
                  <a:cubicBezTo>
                    <a:pt x="9973265" y="3110161"/>
                    <a:pt x="9996988" y="3147024"/>
                    <a:pt x="9996988" y="3220749"/>
                  </a:cubicBezTo>
                  <a:cubicBezTo>
                    <a:pt x="9996988" y="3257260"/>
                    <a:pt x="9990292" y="3285120"/>
                    <a:pt x="9976902" y="3304328"/>
                  </a:cubicBezTo>
                  <a:cubicBezTo>
                    <a:pt x="9963511" y="3323537"/>
                    <a:pt x="9944779" y="3333141"/>
                    <a:pt x="9920705" y="3333141"/>
                  </a:cubicBezTo>
                  <a:cubicBezTo>
                    <a:pt x="9898237" y="3333141"/>
                    <a:pt x="9880708" y="3323963"/>
                    <a:pt x="9868120" y="3305607"/>
                  </a:cubicBezTo>
                  <a:cubicBezTo>
                    <a:pt x="9855531" y="3287251"/>
                    <a:pt x="9849237" y="3260720"/>
                    <a:pt x="9849237" y="3226015"/>
                  </a:cubicBezTo>
                  <a:cubicBezTo>
                    <a:pt x="9849237" y="3187898"/>
                    <a:pt x="9855807" y="3159061"/>
                    <a:pt x="9868947" y="3139501"/>
                  </a:cubicBezTo>
                  <a:cubicBezTo>
                    <a:pt x="9882088" y="3119941"/>
                    <a:pt x="9901045" y="3110161"/>
                    <a:pt x="9925821" y="3110161"/>
                  </a:cubicBezTo>
                  <a:close/>
                  <a:moveTo>
                    <a:pt x="9708927" y="3110161"/>
                  </a:moveTo>
                  <a:cubicBezTo>
                    <a:pt x="9756371" y="3110161"/>
                    <a:pt x="9780094" y="3147024"/>
                    <a:pt x="9780094" y="3220749"/>
                  </a:cubicBezTo>
                  <a:cubicBezTo>
                    <a:pt x="9780094" y="3257260"/>
                    <a:pt x="9773398" y="3285120"/>
                    <a:pt x="9760008" y="3304328"/>
                  </a:cubicBezTo>
                  <a:cubicBezTo>
                    <a:pt x="9746617" y="3323537"/>
                    <a:pt x="9727885" y="3333141"/>
                    <a:pt x="9703811" y="3333141"/>
                  </a:cubicBezTo>
                  <a:cubicBezTo>
                    <a:pt x="9681343" y="3333141"/>
                    <a:pt x="9663814" y="3323963"/>
                    <a:pt x="9651226" y="3305607"/>
                  </a:cubicBezTo>
                  <a:cubicBezTo>
                    <a:pt x="9638637" y="3287251"/>
                    <a:pt x="9632343" y="3260720"/>
                    <a:pt x="9632343" y="3226015"/>
                  </a:cubicBezTo>
                  <a:cubicBezTo>
                    <a:pt x="9632343" y="3187898"/>
                    <a:pt x="9638913" y="3159061"/>
                    <a:pt x="9652053" y="3139501"/>
                  </a:cubicBezTo>
                  <a:cubicBezTo>
                    <a:pt x="9665194" y="3119941"/>
                    <a:pt x="9684151" y="3110161"/>
                    <a:pt x="9708927" y="3110161"/>
                  </a:cubicBezTo>
                  <a:close/>
                  <a:moveTo>
                    <a:pt x="9539026" y="3110161"/>
                  </a:moveTo>
                  <a:lnTo>
                    <a:pt x="9553932" y="3110161"/>
                  </a:lnTo>
                  <a:lnTo>
                    <a:pt x="9553932" y="3333141"/>
                  </a:lnTo>
                  <a:lnTo>
                    <a:pt x="9518644" y="3333141"/>
                  </a:lnTo>
                  <a:lnTo>
                    <a:pt x="9518644" y="3153358"/>
                  </a:lnTo>
                  <a:cubicBezTo>
                    <a:pt x="9512256" y="3157921"/>
                    <a:pt x="9505386" y="3161799"/>
                    <a:pt x="9498035" y="3164993"/>
                  </a:cubicBezTo>
                  <a:cubicBezTo>
                    <a:pt x="9490683" y="3168188"/>
                    <a:pt x="9482292" y="3171001"/>
                    <a:pt x="9472862" y="3173435"/>
                  </a:cubicBezTo>
                  <a:lnTo>
                    <a:pt x="9472862" y="3143319"/>
                  </a:lnTo>
                  <a:cubicBezTo>
                    <a:pt x="9478743" y="3141393"/>
                    <a:pt x="9484422" y="3139365"/>
                    <a:pt x="9489897" y="3137235"/>
                  </a:cubicBezTo>
                  <a:cubicBezTo>
                    <a:pt x="9495373" y="3135106"/>
                    <a:pt x="9500773" y="3132723"/>
                    <a:pt x="9506096" y="3130086"/>
                  </a:cubicBezTo>
                  <a:cubicBezTo>
                    <a:pt x="9511420" y="3127450"/>
                    <a:pt x="9516794" y="3124509"/>
                    <a:pt x="9522219" y="3121265"/>
                  </a:cubicBezTo>
                  <a:cubicBezTo>
                    <a:pt x="9527644" y="3118020"/>
                    <a:pt x="9533246" y="3114319"/>
                    <a:pt x="9539026" y="3110161"/>
                  </a:cubicBezTo>
                  <a:close/>
                  <a:moveTo>
                    <a:pt x="9240163" y="3110161"/>
                  </a:moveTo>
                  <a:lnTo>
                    <a:pt x="9255069" y="3110161"/>
                  </a:lnTo>
                  <a:lnTo>
                    <a:pt x="9255069" y="3333141"/>
                  </a:lnTo>
                  <a:lnTo>
                    <a:pt x="9219781" y="3333141"/>
                  </a:lnTo>
                  <a:lnTo>
                    <a:pt x="9219781" y="3153358"/>
                  </a:lnTo>
                  <a:cubicBezTo>
                    <a:pt x="9213393" y="3157921"/>
                    <a:pt x="9206523" y="3161799"/>
                    <a:pt x="9199172" y="3164993"/>
                  </a:cubicBezTo>
                  <a:cubicBezTo>
                    <a:pt x="9191820" y="3168188"/>
                    <a:pt x="9183429" y="3171001"/>
                    <a:pt x="9173999" y="3173435"/>
                  </a:cubicBezTo>
                  <a:lnTo>
                    <a:pt x="9173999" y="3143319"/>
                  </a:lnTo>
                  <a:cubicBezTo>
                    <a:pt x="9179880" y="3141393"/>
                    <a:pt x="9185559" y="3139365"/>
                    <a:pt x="9191034" y="3137235"/>
                  </a:cubicBezTo>
                  <a:cubicBezTo>
                    <a:pt x="9196510" y="3135106"/>
                    <a:pt x="9201910" y="3132723"/>
                    <a:pt x="9207233" y="3130086"/>
                  </a:cubicBezTo>
                  <a:cubicBezTo>
                    <a:pt x="9212557" y="3127450"/>
                    <a:pt x="9217931" y="3124509"/>
                    <a:pt x="9223356" y="3121265"/>
                  </a:cubicBezTo>
                  <a:cubicBezTo>
                    <a:pt x="9228781" y="3118020"/>
                    <a:pt x="9234383" y="3114319"/>
                    <a:pt x="9240163" y="3110161"/>
                  </a:cubicBezTo>
                  <a:close/>
                  <a:moveTo>
                    <a:pt x="8864744" y="3110161"/>
                  </a:moveTo>
                  <a:lnTo>
                    <a:pt x="8879650" y="3110161"/>
                  </a:lnTo>
                  <a:lnTo>
                    <a:pt x="8879650" y="3333141"/>
                  </a:lnTo>
                  <a:lnTo>
                    <a:pt x="8844362" y="3333141"/>
                  </a:lnTo>
                  <a:lnTo>
                    <a:pt x="8844362" y="3153358"/>
                  </a:lnTo>
                  <a:cubicBezTo>
                    <a:pt x="8837974" y="3157921"/>
                    <a:pt x="8831104" y="3161799"/>
                    <a:pt x="8823753" y="3164993"/>
                  </a:cubicBezTo>
                  <a:cubicBezTo>
                    <a:pt x="8816401" y="3168188"/>
                    <a:pt x="8808010" y="3171001"/>
                    <a:pt x="8798580" y="3173435"/>
                  </a:cubicBezTo>
                  <a:lnTo>
                    <a:pt x="8798580" y="3143319"/>
                  </a:lnTo>
                  <a:cubicBezTo>
                    <a:pt x="8804461" y="3141393"/>
                    <a:pt x="8810140" y="3139365"/>
                    <a:pt x="8815615" y="3137235"/>
                  </a:cubicBezTo>
                  <a:cubicBezTo>
                    <a:pt x="8821091" y="3135106"/>
                    <a:pt x="8826491" y="3132723"/>
                    <a:pt x="8831814" y="3130086"/>
                  </a:cubicBezTo>
                  <a:cubicBezTo>
                    <a:pt x="8837138" y="3127450"/>
                    <a:pt x="8842512" y="3124509"/>
                    <a:pt x="8847937" y="3121265"/>
                  </a:cubicBezTo>
                  <a:cubicBezTo>
                    <a:pt x="8853362" y="3118020"/>
                    <a:pt x="8858964" y="3114319"/>
                    <a:pt x="8864744" y="3110161"/>
                  </a:cubicBezTo>
                  <a:close/>
                  <a:moveTo>
                    <a:pt x="8714738" y="3110161"/>
                  </a:moveTo>
                  <a:lnTo>
                    <a:pt x="8729644" y="3110161"/>
                  </a:lnTo>
                  <a:lnTo>
                    <a:pt x="8729644" y="3333141"/>
                  </a:lnTo>
                  <a:lnTo>
                    <a:pt x="8694356" y="3333141"/>
                  </a:lnTo>
                  <a:lnTo>
                    <a:pt x="8694356" y="3153358"/>
                  </a:lnTo>
                  <a:cubicBezTo>
                    <a:pt x="8687968" y="3157921"/>
                    <a:pt x="8681098" y="3161799"/>
                    <a:pt x="8673747" y="3164993"/>
                  </a:cubicBezTo>
                  <a:cubicBezTo>
                    <a:pt x="8666395" y="3168188"/>
                    <a:pt x="8658004" y="3171001"/>
                    <a:pt x="8648574" y="3173435"/>
                  </a:cubicBezTo>
                  <a:lnTo>
                    <a:pt x="8648574" y="3143319"/>
                  </a:lnTo>
                  <a:cubicBezTo>
                    <a:pt x="8654455" y="3141393"/>
                    <a:pt x="8660134" y="3139365"/>
                    <a:pt x="8665609" y="3137235"/>
                  </a:cubicBezTo>
                  <a:cubicBezTo>
                    <a:pt x="8671085" y="3135106"/>
                    <a:pt x="8676485" y="3132723"/>
                    <a:pt x="8681808" y="3130086"/>
                  </a:cubicBezTo>
                  <a:cubicBezTo>
                    <a:pt x="8687132" y="3127450"/>
                    <a:pt x="8692506" y="3124509"/>
                    <a:pt x="8697931" y="3121265"/>
                  </a:cubicBezTo>
                  <a:cubicBezTo>
                    <a:pt x="8703356" y="3118020"/>
                    <a:pt x="8708958" y="3114319"/>
                    <a:pt x="8714738" y="3110161"/>
                  </a:cubicBezTo>
                  <a:close/>
                  <a:moveTo>
                    <a:pt x="8565881" y="3110161"/>
                  </a:moveTo>
                  <a:lnTo>
                    <a:pt x="8580787" y="3110161"/>
                  </a:lnTo>
                  <a:lnTo>
                    <a:pt x="8580787" y="3333141"/>
                  </a:lnTo>
                  <a:lnTo>
                    <a:pt x="8545499" y="3333141"/>
                  </a:lnTo>
                  <a:lnTo>
                    <a:pt x="8545499" y="3153358"/>
                  </a:lnTo>
                  <a:cubicBezTo>
                    <a:pt x="8539111" y="3157921"/>
                    <a:pt x="8532241" y="3161799"/>
                    <a:pt x="8524890" y="3164993"/>
                  </a:cubicBezTo>
                  <a:cubicBezTo>
                    <a:pt x="8517538" y="3168188"/>
                    <a:pt x="8509147" y="3171001"/>
                    <a:pt x="8499717" y="3173435"/>
                  </a:cubicBezTo>
                  <a:lnTo>
                    <a:pt x="8499717" y="3143319"/>
                  </a:lnTo>
                  <a:cubicBezTo>
                    <a:pt x="8505598" y="3141393"/>
                    <a:pt x="8511277" y="3139365"/>
                    <a:pt x="8516752" y="3137235"/>
                  </a:cubicBezTo>
                  <a:cubicBezTo>
                    <a:pt x="8522228" y="3135106"/>
                    <a:pt x="8527628" y="3132723"/>
                    <a:pt x="8532951" y="3130086"/>
                  </a:cubicBezTo>
                  <a:cubicBezTo>
                    <a:pt x="8538275" y="3127450"/>
                    <a:pt x="8543649" y="3124509"/>
                    <a:pt x="8549074" y="3121265"/>
                  </a:cubicBezTo>
                  <a:cubicBezTo>
                    <a:pt x="8554499" y="3118020"/>
                    <a:pt x="8560101" y="3114319"/>
                    <a:pt x="8565881" y="3110161"/>
                  </a:cubicBezTo>
                  <a:close/>
                  <a:moveTo>
                    <a:pt x="7821713" y="3110161"/>
                  </a:moveTo>
                  <a:lnTo>
                    <a:pt x="7836619" y="3110161"/>
                  </a:lnTo>
                  <a:lnTo>
                    <a:pt x="7836619" y="3333141"/>
                  </a:lnTo>
                  <a:lnTo>
                    <a:pt x="7801331" y="3333141"/>
                  </a:lnTo>
                  <a:lnTo>
                    <a:pt x="7801331" y="3153358"/>
                  </a:lnTo>
                  <a:cubicBezTo>
                    <a:pt x="7794943" y="3157921"/>
                    <a:pt x="7788074" y="3161799"/>
                    <a:pt x="7780722" y="3164993"/>
                  </a:cubicBezTo>
                  <a:cubicBezTo>
                    <a:pt x="7773370" y="3168188"/>
                    <a:pt x="7764980" y="3171001"/>
                    <a:pt x="7755549" y="3173435"/>
                  </a:cubicBezTo>
                  <a:lnTo>
                    <a:pt x="7755549" y="3143319"/>
                  </a:lnTo>
                  <a:cubicBezTo>
                    <a:pt x="7761430" y="3141393"/>
                    <a:pt x="7767109" y="3139365"/>
                    <a:pt x="7772584" y="3137235"/>
                  </a:cubicBezTo>
                  <a:cubicBezTo>
                    <a:pt x="7778060" y="3135106"/>
                    <a:pt x="7783460" y="3132723"/>
                    <a:pt x="7788783" y="3130086"/>
                  </a:cubicBezTo>
                  <a:cubicBezTo>
                    <a:pt x="7794107" y="3127450"/>
                    <a:pt x="7799481" y="3124509"/>
                    <a:pt x="7804906" y="3121265"/>
                  </a:cubicBezTo>
                  <a:cubicBezTo>
                    <a:pt x="7810331" y="3118020"/>
                    <a:pt x="7815933" y="3114319"/>
                    <a:pt x="7821713" y="3110161"/>
                  </a:cubicBezTo>
                  <a:close/>
                  <a:moveTo>
                    <a:pt x="7671707" y="3110161"/>
                  </a:moveTo>
                  <a:lnTo>
                    <a:pt x="7686613" y="3110161"/>
                  </a:lnTo>
                  <a:lnTo>
                    <a:pt x="7686613" y="3333141"/>
                  </a:lnTo>
                  <a:lnTo>
                    <a:pt x="7651325" y="3333141"/>
                  </a:lnTo>
                  <a:lnTo>
                    <a:pt x="7651325" y="3153358"/>
                  </a:lnTo>
                  <a:cubicBezTo>
                    <a:pt x="7644937" y="3157921"/>
                    <a:pt x="7638068" y="3161799"/>
                    <a:pt x="7630716" y="3164993"/>
                  </a:cubicBezTo>
                  <a:cubicBezTo>
                    <a:pt x="7623364" y="3168188"/>
                    <a:pt x="7614974" y="3171001"/>
                    <a:pt x="7605543" y="3173435"/>
                  </a:cubicBezTo>
                  <a:lnTo>
                    <a:pt x="7605543" y="3143319"/>
                  </a:lnTo>
                  <a:cubicBezTo>
                    <a:pt x="7611424" y="3141393"/>
                    <a:pt x="7617103" y="3139365"/>
                    <a:pt x="7622578" y="3137235"/>
                  </a:cubicBezTo>
                  <a:cubicBezTo>
                    <a:pt x="7628054" y="3135106"/>
                    <a:pt x="7633454" y="3132723"/>
                    <a:pt x="7638777" y="3130086"/>
                  </a:cubicBezTo>
                  <a:cubicBezTo>
                    <a:pt x="7644101" y="3127450"/>
                    <a:pt x="7649475" y="3124509"/>
                    <a:pt x="7654900" y="3121265"/>
                  </a:cubicBezTo>
                  <a:cubicBezTo>
                    <a:pt x="7660325" y="3118020"/>
                    <a:pt x="7665927" y="3114319"/>
                    <a:pt x="7671707" y="3110161"/>
                  </a:cubicBezTo>
                  <a:close/>
                  <a:moveTo>
                    <a:pt x="7373993" y="3110161"/>
                  </a:moveTo>
                  <a:lnTo>
                    <a:pt x="7388899" y="3110161"/>
                  </a:lnTo>
                  <a:lnTo>
                    <a:pt x="7388899" y="3333141"/>
                  </a:lnTo>
                  <a:lnTo>
                    <a:pt x="7353611" y="3333141"/>
                  </a:lnTo>
                  <a:lnTo>
                    <a:pt x="7353611" y="3153358"/>
                  </a:lnTo>
                  <a:cubicBezTo>
                    <a:pt x="7347223" y="3157921"/>
                    <a:pt x="7340354" y="3161799"/>
                    <a:pt x="7333002" y="3164993"/>
                  </a:cubicBezTo>
                  <a:cubicBezTo>
                    <a:pt x="7325650" y="3168188"/>
                    <a:pt x="7317260" y="3171001"/>
                    <a:pt x="7307829" y="3173435"/>
                  </a:cubicBezTo>
                  <a:lnTo>
                    <a:pt x="7307829" y="3143319"/>
                  </a:lnTo>
                  <a:cubicBezTo>
                    <a:pt x="7313710" y="3141393"/>
                    <a:pt x="7319389" y="3139365"/>
                    <a:pt x="7324864" y="3137235"/>
                  </a:cubicBezTo>
                  <a:cubicBezTo>
                    <a:pt x="7330340" y="3135106"/>
                    <a:pt x="7335740" y="3132723"/>
                    <a:pt x="7341063" y="3130086"/>
                  </a:cubicBezTo>
                  <a:cubicBezTo>
                    <a:pt x="7346387" y="3127450"/>
                    <a:pt x="7351761" y="3124509"/>
                    <a:pt x="7357186" y="3121265"/>
                  </a:cubicBezTo>
                  <a:cubicBezTo>
                    <a:pt x="7362611" y="3118020"/>
                    <a:pt x="7368213" y="3114319"/>
                    <a:pt x="7373993" y="3110161"/>
                  </a:cubicBezTo>
                  <a:close/>
                  <a:moveTo>
                    <a:pt x="6993038" y="3110161"/>
                  </a:moveTo>
                  <a:lnTo>
                    <a:pt x="7007944" y="3110161"/>
                  </a:lnTo>
                  <a:lnTo>
                    <a:pt x="7007944" y="3333141"/>
                  </a:lnTo>
                  <a:lnTo>
                    <a:pt x="6972656" y="3333141"/>
                  </a:lnTo>
                  <a:lnTo>
                    <a:pt x="6972656" y="3153358"/>
                  </a:lnTo>
                  <a:cubicBezTo>
                    <a:pt x="6966268" y="3157921"/>
                    <a:pt x="6959399" y="3161799"/>
                    <a:pt x="6952047" y="3164993"/>
                  </a:cubicBezTo>
                  <a:cubicBezTo>
                    <a:pt x="6944695" y="3168188"/>
                    <a:pt x="6936305" y="3171001"/>
                    <a:pt x="6926874" y="3173435"/>
                  </a:cubicBezTo>
                  <a:lnTo>
                    <a:pt x="6926874" y="3143319"/>
                  </a:lnTo>
                  <a:cubicBezTo>
                    <a:pt x="6932755" y="3141393"/>
                    <a:pt x="6938434" y="3139365"/>
                    <a:pt x="6943909" y="3137235"/>
                  </a:cubicBezTo>
                  <a:cubicBezTo>
                    <a:pt x="6949385" y="3135106"/>
                    <a:pt x="6954785" y="3132723"/>
                    <a:pt x="6960108" y="3130086"/>
                  </a:cubicBezTo>
                  <a:cubicBezTo>
                    <a:pt x="6965432" y="3127450"/>
                    <a:pt x="6970806" y="3124509"/>
                    <a:pt x="6976231" y="3121265"/>
                  </a:cubicBezTo>
                  <a:cubicBezTo>
                    <a:pt x="6981656" y="3118020"/>
                    <a:pt x="6987258" y="3114319"/>
                    <a:pt x="6993038" y="3110161"/>
                  </a:cubicBezTo>
                  <a:close/>
                  <a:moveTo>
                    <a:pt x="6843032" y="3110161"/>
                  </a:moveTo>
                  <a:lnTo>
                    <a:pt x="6857938" y="3110161"/>
                  </a:lnTo>
                  <a:lnTo>
                    <a:pt x="6857938" y="3333141"/>
                  </a:lnTo>
                  <a:lnTo>
                    <a:pt x="6822650" y="3333141"/>
                  </a:lnTo>
                  <a:lnTo>
                    <a:pt x="6822650" y="3153358"/>
                  </a:lnTo>
                  <a:cubicBezTo>
                    <a:pt x="6816262" y="3157921"/>
                    <a:pt x="6809393" y="3161799"/>
                    <a:pt x="6802041" y="3164993"/>
                  </a:cubicBezTo>
                  <a:cubicBezTo>
                    <a:pt x="6794689" y="3168188"/>
                    <a:pt x="6786299" y="3171001"/>
                    <a:pt x="6776868" y="3173435"/>
                  </a:cubicBezTo>
                  <a:lnTo>
                    <a:pt x="6776868" y="3143319"/>
                  </a:lnTo>
                  <a:cubicBezTo>
                    <a:pt x="6782749" y="3141393"/>
                    <a:pt x="6788428" y="3139365"/>
                    <a:pt x="6793903" y="3137235"/>
                  </a:cubicBezTo>
                  <a:cubicBezTo>
                    <a:pt x="6799379" y="3135106"/>
                    <a:pt x="6804779" y="3132723"/>
                    <a:pt x="6810102" y="3130086"/>
                  </a:cubicBezTo>
                  <a:cubicBezTo>
                    <a:pt x="6815426" y="3127450"/>
                    <a:pt x="6820800" y="3124509"/>
                    <a:pt x="6826225" y="3121265"/>
                  </a:cubicBezTo>
                  <a:cubicBezTo>
                    <a:pt x="6831650" y="3118020"/>
                    <a:pt x="6837252" y="3114319"/>
                    <a:pt x="6843032" y="3110161"/>
                  </a:cubicBezTo>
                  <a:close/>
                  <a:moveTo>
                    <a:pt x="6694175" y="3110161"/>
                  </a:moveTo>
                  <a:lnTo>
                    <a:pt x="6709081" y="3110161"/>
                  </a:lnTo>
                  <a:lnTo>
                    <a:pt x="6709081" y="3333141"/>
                  </a:lnTo>
                  <a:lnTo>
                    <a:pt x="6673793" y="3333141"/>
                  </a:lnTo>
                  <a:lnTo>
                    <a:pt x="6673793" y="3153358"/>
                  </a:lnTo>
                  <a:cubicBezTo>
                    <a:pt x="6667405" y="3157921"/>
                    <a:pt x="6660536" y="3161799"/>
                    <a:pt x="6653184" y="3164993"/>
                  </a:cubicBezTo>
                  <a:cubicBezTo>
                    <a:pt x="6645832" y="3168188"/>
                    <a:pt x="6637442" y="3171001"/>
                    <a:pt x="6628011" y="3173435"/>
                  </a:cubicBezTo>
                  <a:lnTo>
                    <a:pt x="6628011" y="3143319"/>
                  </a:lnTo>
                  <a:cubicBezTo>
                    <a:pt x="6633892" y="3141393"/>
                    <a:pt x="6639571" y="3139365"/>
                    <a:pt x="6645046" y="3137235"/>
                  </a:cubicBezTo>
                  <a:cubicBezTo>
                    <a:pt x="6650522" y="3135106"/>
                    <a:pt x="6655922" y="3132723"/>
                    <a:pt x="6661245" y="3130086"/>
                  </a:cubicBezTo>
                  <a:cubicBezTo>
                    <a:pt x="6666569" y="3127450"/>
                    <a:pt x="6671943" y="3124509"/>
                    <a:pt x="6677368" y="3121265"/>
                  </a:cubicBezTo>
                  <a:cubicBezTo>
                    <a:pt x="6682793" y="3118020"/>
                    <a:pt x="6688395" y="3114319"/>
                    <a:pt x="6694175" y="3110161"/>
                  </a:cubicBezTo>
                  <a:close/>
                  <a:moveTo>
                    <a:pt x="6545318" y="3110161"/>
                  </a:moveTo>
                  <a:lnTo>
                    <a:pt x="6560224" y="3110161"/>
                  </a:lnTo>
                  <a:lnTo>
                    <a:pt x="6560224" y="3333141"/>
                  </a:lnTo>
                  <a:lnTo>
                    <a:pt x="6524936" y="3333141"/>
                  </a:lnTo>
                  <a:lnTo>
                    <a:pt x="6524936" y="3153358"/>
                  </a:lnTo>
                  <a:cubicBezTo>
                    <a:pt x="6518548" y="3157921"/>
                    <a:pt x="6511679" y="3161799"/>
                    <a:pt x="6504327" y="3164993"/>
                  </a:cubicBezTo>
                  <a:cubicBezTo>
                    <a:pt x="6496975" y="3168188"/>
                    <a:pt x="6488585" y="3171001"/>
                    <a:pt x="6479154" y="3173435"/>
                  </a:cubicBezTo>
                  <a:lnTo>
                    <a:pt x="6479154" y="3143319"/>
                  </a:lnTo>
                  <a:cubicBezTo>
                    <a:pt x="6485035" y="3141393"/>
                    <a:pt x="6490714" y="3139365"/>
                    <a:pt x="6496189" y="3137235"/>
                  </a:cubicBezTo>
                  <a:cubicBezTo>
                    <a:pt x="6501665" y="3135106"/>
                    <a:pt x="6507065" y="3132723"/>
                    <a:pt x="6512388" y="3130086"/>
                  </a:cubicBezTo>
                  <a:cubicBezTo>
                    <a:pt x="6517712" y="3127450"/>
                    <a:pt x="6523086" y="3124509"/>
                    <a:pt x="6528511" y="3121265"/>
                  </a:cubicBezTo>
                  <a:cubicBezTo>
                    <a:pt x="6533936" y="3118020"/>
                    <a:pt x="6539538" y="3114319"/>
                    <a:pt x="6545318" y="3110161"/>
                  </a:cubicBezTo>
                  <a:close/>
                  <a:moveTo>
                    <a:pt x="6331920" y="3110161"/>
                  </a:moveTo>
                  <a:cubicBezTo>
                    <a:pt x="6379365" y="3110161"/>
                    <a:pt x="6403087" y="3147024"/>
                    <a:pt x="6403087" y="3220749"/>
                  </a:cubicBezTo>
                  <a:cubicBezTo>
                    <a:pt x="6403087" y="3257260"/>
                    <a:pt x="6396392" y="3285120"/>
                    <a:pt x="6383001" y="3304328"/>
                  </a:cubicBezTo>
                  <a:cubicBezTo>
                    <a:pt x="6369610" y="3323537"/>
                    <a:pt x="6350878" y="3333141"/>
                    <a:pt x="6326804" y="3333141"/>
                  </a:cubicBezTo>
                  <a:cubicBezTo>
                    <a:pt x="6304336" y="3333141"/>
                    <a:pt x="6286807" y="3323963"/>
                    <a:pt x="6274219" y="3305607"/>
                  </a:cubicBezTo>
                  <a:cubicBezTo>
                    <a:pt x="6261630" y="3287251"/>
                    <a:pt x="6255336" y="3260720"/>
                    <a:pt x="6255336" y="3226015"/>
                  </a:cubicBezTo>
                  <a:cubicBezTo>
                    <a:pt x="6255336" y="3187898"/>
                    <a:pt x="6261906" y="3159061"/>
                    <a:pt x="6275046" y="3139501"/>
                  </a:cubicBezTo>
                  <a:cubicBezTo>
                    <a:pt x="6288187" y="3119941"/>
                    <a:pt x="6307144" y="3110161"/>
                    <a:pt x="6331920" y="3110161"/>
                  </a:cubicBezTo>
                  <a:close/>
                  <a:moveTo>
                    <a:pt x="6150425" y="3110161"/>
                  </a:moveTo>
                  <a:cubicBezTo>
                    <a:pt x="6197870" y="3110161"/>
                    <a:pt x="6221592" y="3147024"/>
                    <a:pt x="6221592" y="3220749"/>
                  </a:cubicBezTo>
                  <a:cubicBezTo>
                    <a:pt x="6221592" y="3257260"/>
                    <a:pt x="6214897" y="3285120"/>
                    <a:pt x="6201506" y="3304328"/>
                  </a:cubicBezTo>
                  <a:cubicBezTo>
                    <a:pt x="6188115" y="3323537"/>
                    <a:pt x="6169383" y="3333141"/>
                    <a:pt x="6145309" y="3333141"/>
                  </a:cubicBezTo>
                  <a:cubicBezTo>
                    <a:pt x="6122841" y="3333141"/>
                    <a:pt x="6105312" y="3323963"/>
                    <a:pt x="6092724" y="3305607"/>
                  </a:cubicBezTo>
                  <a:cubicBezTo>
                    <a:pt x="6080135" y="3287251"/>
                    <a:pt x="6073841" y="3260720"/>
                    <a:pt x="6073841" y="3226015"/>
                  </a:cubicBezTo>
                  <a:cubicBezTo>
                    <a:pt x="6073841" y="3187898"/>
                    <a:pt x="6080411" y="3159061"/>
                    <a:pt x="6093551" y="3139501"/>
                  </a:cubicBezTo>
                  <a:cubicBezTo>
                    <a:pt x="6106692" y="3119941"/>
                    <a:pt x="6125649" y="3110161"/>
                    <a:pt x="6150425" y="3110161"/>
                  </a:cubicBezTo>
                  <a:close/>
                  <a:moveTo>
                    <a:pt x="6019293" y="3110161"/>
                  </a:moveTo>
                  <a:lnTo>
                    <a:pt x="6034201" y="3110161"/>
                  </a:lnTo>
                  <a:lnTo>
                    <a:pt x="6034201" y="3333141"/>
                  </a:lnTo>
                  <a:lnTo>
                    <a:pt x="5998911" y="3333141"/>
                  </a:lnTo>
                  <a:lnTo>
                    <a:pt x="5998911" y="3153358"/>
                  </a:lnTo>
                  <a:cubicBezTo>
                    <a:pt x="5992523" y="3157921"/>
                    <a:pt x="5985656" y="3161799"/>
                    <a:pt x="5978302" y="3164993"/>
                  </a:cubicBezTo>
                  <a:cubicBezTo>
                    <a:pt x="5970951" y="3168188"/>
                    <a:pt x="5962560" y="3171001"/>
                    <a:pt x="5953129" y="3173435"/>
                  </a:cubicBezTo>
                  <a:lnTo>
                    <a:pt x="5953129" y="3143319"/>
                  </a:lnTo>
                  <a:cubicBezTo>
                    <a:pt x="5959010" y="3141393"/>
                    <a:pt x="5964689" y="3139365"/>
                    <a:pt x="5970164" y="3137235"/>
                  </a:cubicBezTo>
                  <a:cubicBezTo>
                    <a:pt x="5975640" y="3135106"/>
                    <a:pt x="5981042" y="3132723"/>
                    <a:pt x="5986363" y="3130086"/>
                  </a:cubicBezTo>
                  <a:cubicBezTo>
                    <a:pt x="5991687" y="3127450"/>
                    <a:pt x="5997061" y="3124509"/>
                    <a:pt x="6002488" y="3121265"/>
                  </a:cubicBezTo>
                  <a:cubicBezTo>
                    <a:pt x="6007911" y="3118020"/>
                    <a:pt x="6013513" y="3114319"/>
                    <a:pt x="6019293" y="3110161"/>
                  </a:cubicBezTo>
                  <a:close/>
                  <a:moveTo>
                    <a:pt x="5818968" y="3110161"/>
                  </a:moveTo>
                  <a:cubicBezTo>
                    <a:pt x="5866414" y="3110161"/>
                    <a:pt x="5890135" y="3147024"/>
                    <a:pt x="5890135" y="3220749"/>
                  </a:cubicBezTo>
                  <a:cubicBezTo>
                    <a:pt x="5890135" y="3257260"/>
                    <a:pt x="5883439" y="3285120"/>
                    <a:pt x="5870048" y="3304328"/>
                  </a:cubicBezTo>
                  <a:cubicBezTo>
                    <a:pt x="5856659" y="3323537"/>
                    <a:pt x="5837927" y="3333141"/>
                    <a:pt x="5813852" y="3333141"/>
                  </a:cubicBezTo>
                  <a:cubicBezTo>
                    <a:pt x="5791385" y="3333141"/>
                    <a:pt x="5773854" y="3323963"/>
                    <a:pt x="5761266" y="3305607"/>
                  </a:cubicBezTo>
                  <a:cubicBezTo>
                    <a:pt x="5748678" y="3287251"/>
                    <a:pt x="5742384" y="3260720"/>
                    <a:pt x="5742384" y="3226015"/>
                  </a:cubicBezTo>
                  <a:cubicBezTo>
                    <a:pt x="5742384" y="3187898"/>
                    <a:pt x="5748954" y="3159061"/>
                    <a:pt x="5762094" y="3139501"/>
                  </a:cubicBezTo>
                  <a:cubicBezTo>
                    <a:pt x="5775236" y="3119941"/>
                    <a:pt x="5794191" y="3110161"/>
                    <a:pt x="5818968" y="3110161"/>
                  </a:cubicBezTo>
                  <a:close/>
                  <a:moveTo>
                    <a:pt x="5119401" y="3110161"/>
                  </a:moveTo>
                  <a:cubicBezTo>
                    <a:pt x="5166847" y="3110161"/>
                    <a:pt x="5190567" y="3147024"/>
                    <a:pt x="5190567" y="3220749"/>
                  </a:cubicBezTo>
                  <a:cubicBezTo>
                    <a:pt x="5190567" y="3257260"/>
                    <a:pt x="5183872" y="3285120"/>
                    <a:pt x="5170483" y="3304328"/>
                  </a:cubicBezTo>
                  <a:cubicBezTo>
                    <a:pt x="5157092" y="3323537"/>
                    <a:pt x="5138359" y="3333141"/>
                    <a:pt x="5114285" y="3333141"/>
                  </a:cubicBezTo>
                  <a:cubicBezTo>
                    <a:pt x="5091817" y="3333141"/>
                    <a:pt x="5074288" y="3323963"/>
                    <a:pt x="5061701" y="3305607"/>
                  </a:cubicBezTo>
                  <a:cubicBezTo>
                    <a:pt x="5049111" y="3287251"/>
                    <a:pt x="5042817" y="3260720"/>
                    <a:pt x="5042817" y="3226015"/>
                  </a:cubicBezTo>
                  <a:cubicBezTo>
                    <a:pt x="5042817" y="3187898"/>
                    <a:pt x="5049388" y="3159061"/>
                    <a:pt x="5062526" y="3139501"/>
                  </a:cubicBezTo>
                  <a:cubicBezTo>
                    <a:pt x="5075669" y="3119941"/>
                    <a:pt x="5094626" y="3110161"/>
                    <a:pt x="5119401" y="3110161"/>
                  </a:cubicBezTo>
                  <a:close/>
                  <a:moveTo>
                    <a:pt x="4734951" y="3110161"/>
                  </a:moveTo>
                  <a:lnTo>
                    <a:pt x="4749856" y="3110161"/>
                  </a:lnTo>
                  <a:lnTo>
                    <a:pt x="4749856" y="3333141"/>
                  </a:lnTo>
                  <a:lnTo>
                    <a:pt x="4714569" y="3333141"/>
                  </a:lnTo>
                  <a:lnTo>
                    <a:pt x="4714569" y="3153358"/>
                  </a:lnTo>
                  <a:cubicBezTo>
                    <a:pt x="4708179" y="3157921"/>
                    <a:pt x="4701311" y="3161799"/>
                    <a:pt x="4693960" y="3164993"/>
                  </a:cubicBezTo>
                  <a:cubicBezTo>
                    <a:pt x="4686607" y="3168188"/>
                    <a:pt x="4678217" y="3171001"/>
                    <a:pt x="4668786" y="3173435"/>
                  </a:cubicBezTo>
                  <a:lnTo>
                    <a:pt x="4668786" y="3143319"/>
                  </a:lnTo>
                  <a:cubicBezTo>
                    <a:pt x="4674668" y="3141393"/>
                    <a:pt x="4680347" y="3139365"/>
                    <a:pt x="4685822" y="3137235"/>
                  </a:cubicBezTo>
                  <a:cubicBezTo>
                    <a:pt x="4691297" y="3135106"/>
                    <a:pt x="4696697" y="3132723"/>
                    <a:pt x="4702020" y="3130086"/>
                  </a:cubicBezTo>
                  <a:cubicBezTo>
                    <a:pt x="4707344" y="3127450"/>
                    <a:pt x="4712717" y="3124509"/>
                    <a:pt x="4718143" y="3121265"/>
                  </a:cubicBezTo>
                  <a:cubicBezTo>
                    <a:pt x="4723568" y="3118020"/>
                    <a:pt x="4729171" y="3114319"/>
                    <a:pt x="4734951" y="3110161"/>
                  </a:cubicBezTo>
                  <a:close/>
                  <a:moveTo>
                    <a:pt x="4377441" y="3110161"/>
                  </a:moveTo>
                  <a:lnTo>
                    <a:pt x="4392346" y="3110161"/>
                  </a:lnTo>
                  <a:lnTo>
                    <a:pt x="4392346" y="3333141"/>
                  </a:lnTo>
                  <a:lnTo>
                    <a:pt x="4357058" y="3333141"/>
                  </a:lnTo>
                  <a:lnTo>
                    <a:pt x="4357058" y="3153358"/>
                  </a:lnTo>
                  <a:cubicBezTo>
                    <a:pt x="4350669" y="3157921"/>
                    <a:pt x="4343801" y="3161799"/>
                    <a:pt x="4336449" y="3164993"/>
                  </a:cubicBezTo>
                  <a:cubicBezTo>
                    <a:pt x="4329098" y="3168188"/>
                    <a:pt x="4320707" y="3171001"/>
                    <a:pt x="4311276" y="3173435"/>
                  </a:cubicBezTo>
                  <a:lnTo>
                    <a:pt x="4311276" y="3143319"/>
                  </a:lnTo>
                  <a:cubicBezTo>
                    <a:pt x="4317157" y="3141393"/>
                    <a:pt x="4322836" y="3139365"/>
                    <a:pt x="4328311" y="3137235"/>
                  </a:cubicBezTo>
                  <a:cubicBezTo>
                    <a:pt x="4333786" y="3135106"/>
                    <a:pt x="4339187" y="3132723"/>
                    <a:pt x="4344510" y="3130086"/>
                  </a:cubicBezTo>
                  <a:cubicBezTo>
                    <a:pt x="4349833" y="3127450"/>
                    <a:pt x="4355209" y="3124509"/>
                    <a:pt x="4360634" y="3121265"/>
                  </a:cubicBezTo>
                  <a:cubicBezTo>
                    <a:pt x="4366057" y="3118020"/>
                    <a:pt x="4371660" y="3114319"/>
                    <a:pt x="4377441" y="3110161"/>
                  </a:cubicBezTo>
                  <a:close/>
                  <a:moveTo>
                    <a:pt x="4078579" y="3110161"/>
                  </a:moveTo>
                  <a:lnTo>
                    <a:pt x="4093484" y="3110161"/>
                  </a:lnTo>
                  <a:lnTo>
                    <a:pt x="4093484" y="3333141"/>
                  </a:lnTo>
                  <a:lnTo>
                    <a:pt x="4058197" y="3333141"/>
                  </a:lnTo>
                  <a:lnTo>
                    <a:pt x="4058197" y="3153358"/>
                  </a:lnTo>
                  <a:cubicBezTo>
                    <a:pt x="4051809" y="3157921"/>
                    <a:pt x="4044939" y="3161799"/>
                    <a:pt x="4037588" y="3164993"/>
                  </a:cubicBezTo>
                  <a:cubicBezTo>
                    <a:pt x="4030236" y="3168188"/>
                    <a:pt x="4021846" y="3171001"/>
                    <a:pt x="4012416" y="3173435"/>
                  </a:cubicBezTo>
                  <a:lnTo>
                    <a:pt x="4012416" y="3143319"/>
                  </a:lnTo>
                  <a:cubicBezTo>
                    <a:pt x="4018297" y="3141393"/>
                    <a:pt x="4023974" y="3139365"/>
                    <a:pt x="4029449" y="3137235"/>
                  </a:cubicBezTo>
                  <a:cubicBezTo>
                    <a:pt x="4034926" y="3135106"/>
                    <a:pt x="4040325" y="3132723"/>
                    <a:pt x="4045649" y="3130086"/>
                  </a:cubicBezTo>
                  <a:cubicBezTo>
                    <a:pt x="4050973" y="3127450"/>
                    <a:pt x="4056347" y="3124509"/>
                    <a:pt x="4061772" y="3121265"/>
                  </a:cubicBezTo>
                  <a:cubicBezTo>
                    <a:pt x="4067198" y="3118020"/>
                    <a:pt x="4072798" y="3114319"/>
                    <a:pt x="4078579" y="3110161"/>
                  </a:cubicBezTo>
                  <a:close/>
                  <a:moveTo>
                    <a:pt x="3858890" y="3110161"/>
                  </a:moveTo>
                  <a:cubicBezTo>
                    <a:pt x="3906334" y="3110161"/>
                    <a:pt x="3930057" y="3147024"/>
                    <a:pt x="3930057" y="3220749"/>
                  </a:cubicBezTo>
                  <a:cubicBezTo>
                    <a:pt x="3930057" y="3257260"/>
                    <a:pt x="3923362" y="3285120"/>
                    <a:pt x="3909971" y="3304328"/>
                  </a:cubicBezTo>
                  <a:cubicBezTo>
                    <a:pt x="3896580" y="3323537"/>
                    <a:pt x="3877848" y="3333141"/>
                    <a:pt x="3853774" y="3333141"/>
                  </a:cubicBezTo>
                  <a:cubicBezTo>
                    <a:pt x="3831305" y="3333141"/>
                    <a:pt x="3813777" y="3323963"/>
                    <a:pt x="3801189" y="3305607"/>
                  </a:cubicBezTo>
                  <a:cubicBezTo>
                    <a:pt x="3788600" y="3287251"/>
                    <a:pt x="3782306" y="3260720"/>
                    <a:pt x="3782306" y="3226015"/>
                  </a:cubicBezTo>
                  <a:cubicBezTo>
                    <a:pt x="3782306" y="3187898"/>
                    <a:pt x="3788876" y="3159061"/>
                    <a:pt x="3802016" y="3139501"/>
                  </a:cubicBezTo>
                  <a:cubicBezTo>
                    <a:pt x="3815157" y="3119941"/>
                    <a:pt x="3834114" y="3110161"/>
                    <a:pt x="3858890" y="3110161"/>
                  </a:cubicBezTo>
                  <a:close/>
                  <a:moveTo>
                    <a:pt x="3641996" y="3110161"/>
                  </a:moveTo>
                  <a:cubicBezTo>
                    <a:pt x="3689440" y="3110161"/>
                    <a:pt x="3713163" y="3147024"/>
                    <a:pt x="3713163" y="3220749"/>
                  </a:cubicBezTo>
                  <a:cubicBezTo>
                    <a:pt x="3713163" y="3257260"/>
                    <a:pt x="3706468" y="3285120"/>
                    <a:pt x="3693077" y="3304328"/>
                  </a:cubicBezTo>
                  <a:cubicBezTo>
                    <a:pt x="3679686" y="3323537"/>
                    <a:pt x="3660954" y="3333141"/>
                    <a:pt x="3636881" y="3333141"/>
                  </a:cubicBezTo>
                  <a:cubicBezTo>
                    <a:pt x="3614412" y="3333141"/>
                    <a:pt x="3596884" y="3323963"/>
                    <a:pt x="3584295" y="3305607"/>
                  </a:cubicBezTo>
                  <a:cubicBezTo>
                    <a:pt x="3571707" y="3287251"/>
                    <a:pt x="3565413" y="3260720"/>
                    <a:pt x="3565413" y="3226015"/>
                  </a:cubicBezTo>
                  <a:cubicBezTo>
                    <a:pt x="3565413" y="3187898"/>
                    <a:pt x="3571983" y="3159061"/>
                    <a:pt x="3585122" y="3139501"/>
                  </a:cubicBezTo>
                  <a:cubicBezTo>
                    <a:pt x="3598263" y="3119941"/>
                    <a:pt x="3617220" y="3110161"/>
                    <a:pt x="3641996" y="3110161"/>
                  </a:cubicBezTo>
                  <a:close/>
                  <a:moveTo>
                    <a:pt x="3482114" y="3110161"/>
                  </a:moveTo>
                  <a:lnTo>
                    <a:pt x="3497021" y="3110161"/>
                  </a:lnTo>
                  <a:lnTo>
                    <a:pt x="3497021" y="3333141"/>
                  </a:lnTo>
                  <a:lnTo>
                    <a:pt x="3461732" y="3333141"/>
                  </a:lnTo>
                  <a:lnTo>
                    <a:pt x="3461732" y="3153358"/>
                  </a:lnTo>
                  <a:cubicBezTo>
                    <a:pt x="3455344" y="3157921"/>
                    <a:pt x="3448474" y="3161799"/>
                    <a:pt x="3441123" y="3164993"/>
                  </a:cubicBezTo>
                  <a:cubicBezTo>
                    <a:pt x="3433771" y="3168188"/>
                    <a:pt x="3425381" y="3171001"/>
                    <a:pt x="3415951" y="3173435"/>
                  </a:cubicBezTo>
                  <a:lnTo>
                    <a:pt x="3415951" y="3143319"/>
                  </a:lnTo>
                  <a:cubicBezTo>
                    <a:pt x="3421832" y="3141393"/>
                    <a:pt x="3427510" y="3139365"/>
                    <a:pt x="3432986" y="3137235"/>
                  </a:cubicBezTo>
                  <a:cubicBezTo>
                    <a:pt x="3438461" y="3135106"/>
                    <a:pt x="3443862" y="3132723"/>
                    <a:pt x="3449184" y="3130086"/>
                  </a:cubicBezTo>
                  <a:cubicBezTo>
                    <a:pt x="3454508" y="3127450"/>
                    <a:pt x="3459882" y="3124509"/>
                    <a:pt x="3465307" y="3121265"/>
                  </a:cubicBezTo>
                  <a:cubicBezTo>
                    <a:pt x="3470733" y="3118020"/>
                    <a:pt x="3476334" y="3114319"/>
                    <a:pt x="3482114" y="3110161"/>
                  </a:cubicBezTo>
                  <a:close/>
                  <a:moveTo>
                    <a:pt x="3183252" y="3110161"/>
                  </a:moveTo>
                  <a:lnTo>
                    <a:pt x="3198157" y="3110161"/>
                  </a:lnTo>
                  <a:lnTo>
                    <a:pt x="3198157" y="3333141"/>
                  </a:lnTo>
                  <a:lnTo>
                    <a:pt x="3162870" y="3333141"/>
                  </a:lnTo>
                  <a:lnTo>
                    <a:pt x="3162870" y="3153358"/>
                  </a:lnTo>
                  <a:cubicBezTo>
                    <a:pt x="3156482" y="3157921"/>
                    <a:pt x="3149612" y="3161799"/>
                    <a:pt x="3142260" y="3164993"/>
                  </a:cubicBezTo>
                  <a:cubicBezTo>
                    <a:pt x="3134908" y="3168188"/>
                    <a:pt x="3126518" y="3171001"/>
                    <a:pt x="3117087" y="3173435"/>
                  </a:cubicBezTo>
                  <a:lnTo>
                    <a:pt x="3117087" y="3143319"/>
                  </a:lnTo>
                  <a:cubicBezTo>
                    <a:pt x="3122968" y="3141393"/>
                    <a:pt x="3128648" y="3139365"/>
                    <a:pt x="3134122" y="3137235"/>
                  </a:cubicBezTo>
                  <a:cubicBezTo>
                    <a:pt x="3139598" y="3135106"/>
                    <a:pt x="3144998" y="3132723"/>
                    <a:pt x="3150322" y="3130086"/>
                  </a:cubicBezTo>
                  <a:cubicBezTo>
                    <a:pt x="3155645" y="3127450"/>
                    <a:pt x="3161019" y="3124509"/>
                    <a:pt x="3166445" y="3121265"/>
                  </a:cubicBezTo>
                  <a:cubicBezTo>
                    <a:pt x="3171869" y="3118020"/>
                    <a:pt x="3177471" y="3114319"/>
                    <a:pt x="3183252" y="3110161"/>
                  </a:cubicBezTo>
                  <a:close/>
                  <a:moveTo>
                    <a:pt x="2804036" y="3110161"/>
                  </a:moveTo>
                  <a:lnTo>
                    <a:pt x="2818942" y="3110161"/>
                  </a:lnTo>
                  <a:lnTo>
                    <a:pt x="2818942" y="3333141"/>
                  </a:lnTo>
                  <a:lnTo>
                    <a:pt x="2783655" y="3333141"/>
                  </a:lnTo>
                  <a:lnTo>
                    <a:pt x="2783655" y="3153358"/>
                  </a:lnTo>
                  <a:cubicBezTo>
                    <a:pt x="2777266" y="3157921"/>
                    <a:pt x="2770396" y="3161799"/>
                    <a:pt x="2763045" y="3164993"/>
                  </a:cubicBezTo>
                  <a:cubicBezTo>
                    <a:pt x="2755694" y="3168188"/>
                    <a:pt x="2747303" y="3171001"/>
                    <a:pt x="2737872" y="3173435"/>
                  </a:cubicBezTo>
                  <a:lnTo>
                    <a:pt x="2737872" y="3143319"/>
                  </a:lnTo>
                  <a:cubicBezTo>
                    <a:pt x="2743753" y="3141393"/>
                    <a:pt x="2749432" y="3139365"/>
                    <a:pt x="2754907" y="3137235"/>
                  </a:cubicBezTo>
                  <a:cubicBezTo>
                    <a:pt x="2760383" y="3135106"/>
                    <a:pt x="2765783" y="3132723"/>
                    <a:pt x="2771106" y="3130086"/>
                  </a:cubicBezTo>
                  <a:cubicBezTo>
                    <a:pt x="2776430" y="3127450"/>
                    <a:pt x="2781804" y="3124509"/>
                    <a:pt x="2787229" y="3121265"/>
                  </a:cubicBezTo>
                  <a:cubicBezTo>
                    <a:pt x="2792654" y="3118020"/>
                    <a:pt x="2798256" y="3114319"/>
                    <a:pt x="2804036" y="3110161"/>
                  </a:cubicBezTo>
                  <a:close/>
                  <a:moveTo>
                    <a:pt x="2654030" y="3110161"/>
                  </a:moveTo>
                  <a:lnTo>
                    <a:pt x="2668936" y="3110161"/>
                  </a:lnTo>
                  <a:lnTo>
                    <a:pt x="2668936" y="3333141"/>
                  </a:lnTo>
                  <a:lnTo>
                    <a:pt x="2633648" y="3333141"/>
                  </a:lnTo>
                  <a:lnTo>
                    <a:pt x="2633648" y="3153358"/>
                  </a:lnTo>
                  <a:cubicBezTo>
                    <a:pt x="2627260" y="3157921"/>
                    <a:pt x="2620390" y="3161799"/>
                    <a:pt x="2613039" y="3164993"/>
                  </a:cubicBezTo>
                  <a:cubicBezTo>
                    <a:pt x="2605687" y="3168188"/>
                    <a:pt x="2597297" y="3171001"/>
                    <a:pt x="2587866" y="3173435"/>
                  </a:cubicBezTo>
                  <a:lnTo>
                    <a:pt x="2587866" y="3143319"/>
                  </a:lnTo>
                  <a:cubicBezTo>
                    <a:pt x="2593747" y="3141393"/>
                    <a:pt x="2599426" y="3139365"/>
                    <a:pt x="2604901" y="3137235"/>
                  </a:cubicBezTo>
                  <a:cubicBezTo>
                    <a:pt x="2610377" y="3135106"/>
                    <a:pt x="2615777" y="3132723"/>
                    <a:pt x="2621100" y="3130086"/>
                  </a:cubicBezTo>
                  <a:cubicBezTo>
                    <a:pt x="2626424" y="3127450"/>
                    <a:pt x="2631798" y="3124509"/>
                    <a:pt x="2637223" y="3121265"/>
                  </a:cubicBezTo>
                  <a:cubicBezTo>
                    <a:pt x="2642648" y="3118020"/>
                    <a:pt x="2648250" y="3114319"/>
                    <a:pt x="2654030" y="3110161"/>
                  </a:cubicBezTo>
                  <a:close/>
                  <a:moveTo>
                    <a:pt x="2505173" y="3110161"/>
                  </a:moveTo>
                  <a:lnTo>
                    <a:pt x="2520079" y="3110161"/>
                  </a:lnTo>
                  <a:lnTo>
                    <a:pt x="2520079" y="3333141"/>
                  </a:lnTo>
                  <a:lnTo>
                    <a:pt x="2484791" y="3333141"/>
                  </a:lnTo>
                  <a:lnTo>
                    <a:pt x="2484791" y="3153358"/>
                  </a:lnTo>
                  <a:cubicBezTo>
                    <a:pt x="2478403" y="3157921"/>
                    <a:pt x="2471533" y="3161799"/>
                    <a:pt x="2464183" y="3164993"/>
                  </a:cubicBezTo>
                  <a:cubicBezTo>
                    <a:pt x="2456830" y="3168188"/>
                    <a:pt x="2448440" y="3171001"/>
                    <a:pt x="2439009" y="3173435"/>
                  </a:cubicBezTo>
                  <a:lnTo>
                    <a:pt x="2439009" y="3143319"/>
                  </a:lnTo>
                  <a:cubicBezTo>
                    <a:pt x="2444890" y="3141393"/>
                    <a:pt x="2450569" y="3139365"/>
                    <a:pt x="2456044" y="3137235"/>
                  </a:cubicBezTo>
                  <a:cubicBezTo>
                    <a:pt x="2461520" y="3135106"/>
                    <a:pt x="2466920" y="3132723"/>
                    <a:pt x="2472243" y="3130086"/>
                  </a:cubicBezTo>
                  <a:cubicBezTo>
                    <a:pt x="2477567" y="3127450"/>
                    <a:pt x="2482941" y="3124509"/>
                    <a:pt x="2488366" y="3121265"/>
                  </a:cubicBezTo>
                  <a:cubicBezTo>
                    <a:pt x="2493791" y="3118020"/>
                    <a:pt x="2499393" y="3114319"/>
                    <a:pt x="2505173" y="3110161"/>
                  </a:cubicBezTo>
                  <a:close/>
                  <a:moveTo>
                    <a:pt x="1749921" y="3110161"/>
                  </a:moveTo>
                  <a:lnTo>
                    <a:pt x="1764827" y="3110161"/>
                  </a:lnTo>
                  <a:lnTo>
                    <a:pt x="1764827" y="3333141"/>
                  </a:lnTo>
                  <a:lnTo>
                    <a:pt x="1729539" y="3333141"/>
                  </a:lnTo>
                  <a:lnTo>
                    <a:pt x="1729539" y="3153358"/>
                  </a:lnTo>
                  <a:cubicBezTo>
                    <a:pt x="1723151" y="3157921"/>
                    <a:pt x="1716281" y="3161799"/>
                    <a:pt x="1708930" y="3164993"/>
                  </a:cubicBezTo>
                  <a:cubicBezTo>
                    <a:pt x="1701578" y="3168188"/>
                    <a:pt x="1693187" y="3171001"/>
                    <a:pt x="1683757" y="3173435"/>
                  </a:cubicBezTo>
                  <a:lnTo>
                    <a:pt x="1683757" y="3143319"/>
                  </a:lnTo>
                  <a:cubicBezTo>
                    <a:pt x="1689638" y="3141393"/>
                    <a:pt x="1695317" y="3139365"/>
                    <a:pt x="1700792" y="3137235"/>
                  </a:cubicBezTo>
                  <a:cubicBezTo>
                    <a:pt x="1706268" y="3135106"/>
                    <a:pt x="1711668" y="3132723"/>
                    <a:pt x="1716991" y="3130086"/>
                  </a:cubicBezTo>
                  <a:cubicBezTo>
                    <a:pt x="1722315" y="3127450"/>
                    <a:pt x="1727689" y="3124509"/>
                    <a:pt x="1733114" y="3121265"/>
                  </a:cubicBezTo>
                  <a:cubicBezTo>
                    <a:pt x="1738539" y="3118020"/>
                    <a:pt x="1744141" y="3114319"/>
                    <a:pt x="1749921" y="3110161"/>
                  </a:cubicBezTo>
                  <a:close/>
                  <a:moveTo>
                    <a:pt x="1599915" y="3110161"/>
                  </a:moveTo>
                  <a:lnTo>
                    <a:pt x="1614821" y="3110161"/>
                  </a:lnTo>
                  <a:lnTo>
                    <a:pt x="1614821" y="3333141"/>
                  </a:lnTo>
                  <a:lnTo>
                    <a:pt x="1579533" y="3333141"/>
                  </a:lnTo>
                  <a:lnTo>
                    <a:pt x="1579533" y="3153358"/>
                  </a:lnTo>
                  <a:cubicBezTo>
                    <a:pt x="1573145" y="3157921"/>
                    <a:pt x="1566275" y="3161799"/>
                    <a:pt x="1558924" y="3164993"/>
                  </a:cubicBezTo>
                  <a:cubicBezTo>
                    <a:pt x="1551572" y="3168188"/>
                    <a:pt x="1543181" y="3171001"/>
                    <a:pt x="1533751" y="3173435"/>
                  </a:cubicBezTo>
                  <a:lnTo>
                    <a:pt x="1533751" y="3143319"/>
                  </a:lnTo>
                  <a:cubicBezTo>
                    <a:pt x="1539632" y="3141393"/>
                    <a:pt x="1545311" y="3139365"/>
                    <a:pt x="1550786" y="3137235"/>
                  </a:cubicBezTo>
                  <a:cubicBezTo>
                    <a:pt x="1556262" y="3135106"/>
                    <a:pt x="1561662" y="3132723"/>
                    <a:pt x="1566985" y="3130086"/>
                  </a:cubicBezTo>
                  <a:cubicBezTo>
                    <a:pt x="1572309" y="3127450"/>
                    <a:pt x="1577683" y="3124509"/>
                    <a:pt x="1583108" y="3121265"/>
                  </a:cubicBezTo>
                  <a:cubicBezTo>
                    <a:pt x="1588533" y="3118020"/>
                    <a:pt x="1594135" y="3114319"/>
                    <a:pt x="1599915" y="3110161"/>
                  </a:cubicBezTo>
                  <a:close/>
                  <a:moveTo>
                    <a:pt x="1302201" y="3110161"/>
                  </a:moveTo>
                  <a:lnTo>
                    <a:pt x="1317107" y="3110161"/>
                  </a:lnTo>
                  <a:lnTo>
                    <a:pt x="1317107" y="3333141"/>
                  </a:lnTo>
                  <a:lnTo>
                    <a:pt x="1281819" y="3333141"/>
                  </a:lnTo>
                  <a:lnTo>
                    <a:pt x="1281819" y="3153358"/>
                  </a:lnTo>
                  <a:cubicBezTo>
                    <a:pt x="1275431" y="3157921"/>
                    <a:pt x="1268561" y="3161799"/>
                    <a:pt x="1261210" y="3164993"/>
                  </a:cubicBezTo>
                  <a:cubicBezTo>
                    <a:pt x="1253858" y="3168188"/>
                    <a:pt x="1245467" y="3171001"/>
                    <a:pt x="1236037" y="3173435"/>
                  </a:cubicBezTo>
                  <a:lnTo>
                    <a:pt x="1236037" y="3143319"/>
                  </a:lnTo>
                  <a:cubicBezTo>
                    <a:pt x="1241918" y="3141393"/>
                    <a:pt x="1247597" y="3139365"/>
                    <a:pt x="1253072" y="3137235"/>
                  </a:cubicBezTo>
                  <a:cubicBezTo>
                    <a:pt x="1258548" y="3135106"/>
                    <a:pt x="1263948" y="3132723"/>
                    <a:pt x="1269271" y="3130086"/>
                  </a:cubicBezTo>
                  <a:cubicBezTo>
                    <a:pt x="1274595" y="3127450"/>
                    <a:pt x="1279969" y="3124509"/>
                    <a:pt x="1285394" y="3121265"/>
                  </a:cubicBezTo>
                  <a:cubicBezTo>
                    <a:pt x="1290819" y="3118020"/>
                    <a:pt x="1296421" y="3114319"/>
                    <a:pt x="1302201" y="3110161"/>
                  </a:cubicBezTo>
                  <a:close/>
                  <a:moveTo>
                    <a:pt x="927321" y="3110161"/>
                  </a:moveTo>
                  <a:lnTo>
                    <a:pt x="942227" y="3110161"/>
                  </a:lnTo>
                  <a:lnTo>
                    <a:pt x="942227" y="3333141"/>
                  </a:lnTo>
                  <a:lnTo>
                    <a:pt x="906939" y="3333141"/>
                  </a:lnTo>
                  <a:lnTo>
                    <a:pt x="906939" y="3153358"/>
                  </a:lnTo>
                  <a:cubicBezTo>
                    <a:pt x="900551" y="3157921"/>
                    <a:pt x="893681" y="3161799"/>
                    <a:pt x="886330" y="3164993"/>
                  </a:cubicBezTo>
                  <a:cubicBezTo>
                    <a:pt x="878978" y="3168188"/>
                    <a:pt x="870587" y="3171001"/>
                    <a:pt x="861157" y="3173435"/>
                  </a:cubicBezTo>
                  <a:lnTo>
                    <a:pt x="861157" y="3143319"/>
                  </a:lnTo>
                  <a:cubicBezTo>
                    <a:pt x="867038" y="3141393"/>
                    <a:pt x="872717" y="3139365"/>
                    <a:pt x="878192" y="3137235"/>
                  </a:cubicBezTo>
                  <a:cubicBezTo>
                    <a:pt x="883668" y="3135106"/>
                    <a:pt x="889068" y="3132723"/>
                    <a:pt x="894391" y="3130086"/>
                  </a:cubicBezTo>
                  <a:cubicBezTo>
                    <a:pt x="899715" y="3127450"/>
                    <a:pt x="905089" y="3124509"/>
                    <a:pt x="910514" y="3121265"/>
                  </a:cubicBezTo>
                  <a:cubicBezTo>
                    <a:pt x="915939" y="3118020"/>
                    <a:pt x="921541" y="3114319"/>
                    <a:pt x="927321" y="3110161"/>
                  </a:cubicBezTo>
                  <a:close/>
                  <a:moveTo>
                    <a:pt x="778464" y="3110161"/>
                  </a:moveTo>
                  <a:lnTo>
                    <a:pt x="793370" y="3110161"/>
                  </a:lnTo>
                  <a:lnTo>
                    <a:pt x="793370" y="3333141"/>
                  </a:lnTo>
                  <a:lnTo>
                    <a:pt x="758082" y="3333141"/>
                  </a:lnTo>
                  <a:lnTo>
                    <a:pt x="758082" y="3153358"/>
                  </a:lnTo>
                  <a:cubicBezTo>
                    <a:pt x="751694" y="3157921"/>
                    <a:pt x="744824" y="3161799"/>
                    <a:pt x="737473" y="3164993"/>
                  </a:cubicBezTo>
                  <a:cubicBezTo>
                    <a:pt x="730121" y="3168188"/>
                    <a:pt x="721731" y="3171001"/>
                    <a:pt x="712300" y="3173435"/>
                  </a:cubicBezTo>
                  <a:lnTo>
                    <a:pt x="712300" y="3143319"/>
                  </a:lnTo>
                  <a:cubicBezTo>
                    <a:pt x="718181" y="3141393"/>
                    <a:pt x="723860" y="3139365"/>
                    <a:pt x="729335" y="3137235"/>
                  </a:cubicBezTo>
                  <a:cubicBezTo>
                    <a:pt x="734811" y="3135106"/>
                    <a:pt x="740211" y="3132723"/>
                    <a:pt x="745534" y="3130086"/>
                  </a:cubicBezTo>
                  <a:cubicBezTo>
                    <a:pt x="750858" y="3127450"/>
                    <a:pt x="756232" y="3124509"/>
                    <a:pt x="761657" y="3121265"/>
                  </a:cubicBezTo>
                  <a:cubicBezTo>
                    <a:pt x="767082" y="3118020"/>
                    <a:pt x="772684" y="3114319"/>
                    <a:pt x="778464" y="3110161"/>
                  </a:cubicBezTo>
                  <a:close/>
                  <a:moveTo>
                    <a:pt x="629607" y="3110161"/>
                  </a:moveTo>
                  <a:lnTo>
                    <a:pt x="644513" y="3110161"/>
                  </a:lnTo>
                  <a:lnTo>
                    <a:pt x="644513" y="3333141"/>
                  </a:lnTo>
                  <a:lnTo>
                    <a:pt x="609225" y="3333141"/>
                  </a:lnTo>
                  <a:lnTo>
                    <a:pt x="609225" y="3153358"/>
                  </a:lnTo>
                  <a:cubicBezTo>
                    <a:pt x="602837" y="3157921"/>
                    <a:pt x="595967" y="3161799"/>
                    <a:pt x="588616" y="3164993"/>
                  </a:cubicBezTo>
                  <a:cubicBezTo>
                    <a:pt x="581264" y="3168188"/>
                    <a:pt x="572873" y="3171001"/>
                    <a:pt x="563443" y="3173435"/>
                  </a:cubicBezTo>
                  <a:lnTo>
                    <a:pt x="563443" y="3143319"/>
                  </a:lnTo>
                  <a:cubicBezTo>
                    <a:pt x="569324" y="3141393"/>
                    <a:pt x="575003" y="3139365"/>
                    <a:pt x="580478" y="3137235"/>
                  </a:cubicBezTo>
                  <a:cubicBezTo>
                    <a:pt x="585954" y="3135106"/>
                    <a:pt x="591354" y="3132723"/>
                    <a:pt x="596677" y="3130086"/>
                  </a:cubicBezTo>
                  <a:cubicBezTo>
                    <a:pt x="602001" y="3127450"/>
                    <a:pt x="607375" y="3124509"/>
                    <a:pt x="612800" y="3121265"/>
                  </a:cubicBezTo>
                  <a:cubicBezTo>
                    <a:pt x="618225" y="3118020"/>
                    <a:pt x="623827" y="3114319"/>
                    <a:pt x="629607" y="3110161"/>
                  </a:cubicBezTo>
                  <a:close/>
                  <a:moveTo>
                    <a:pt x="480750" y="3110161"/>
                  </a:moveTo>
                  <a:lnTo>
                    <a:pt x="495656" y="3110161"/>
                  </a:lnTo>
                  <a:lnTo>
                    <a:pt x="495656" y="3333141"/>
                  </a:lnTo>
                  <a:lnTo>
                    <a:pt x="460368" y="3333141"/>
                  </a:lnTo>
                  <a:lnTo>
                    <a:pt x="460368" y="3153358"/>
                  </a:lnTo>
                  <a:cubicBezTo>
                    <a:pt x="453980" y="3157921"/>
                    <a:pt x="447111" y="3161799"/>
                    <a:pt x="439759" y="3164993"/>
                  </a:cubicBezTo>
                  <a:cubicBezTo>
                    <a:pt x="432407" y="3168188"/>
                    <a:pt x="424017" y="3171001"/>
                    <a:pt x="414586" y="3173435"/>
                  </a:cubicBezTo>
                  <a:lnTo>
                    <a:pt x="414586" y="3143319"/>
                  </a:lnTo>
                  <a:cubicBezTo>
                    <a:pt x="420467" y="3141393"/>
                    <a:pt x="426146" y="3139365"/>
                    <a:pt x="431621" y="3137235"/>
                  </a:cubicBezTo>
                  <a:cubicBezTo>
                    <a:pt x="437097" y="3135106"/>
                    <a:pt x="442497" y="3132723"/>
                    <a:pt x="447820" y="3130086"/>
                  </a:cubicBezTo>
                  <a:cubicBezTo>
                    <a:pt x="453144" y="3127450"/>
                    <a:pt x="458518" y="3124509"/>
                    <a:pt x="463943" y="3121265"/>
                  </a:cubicBezTo>
                  <a:cubicBezTo>
                    <a:pt x="469368" y="3118020"/>
                    <a:pt x="474970" y="3114319"/>
                    <a:pt x="480750" y="3110161"/>
                  </a:cubicBezTo>
                  <a:close/>
                  <a:moveTo>
                    <a:pt x="275106" y="3110161"/>
                  </a:moveTo>
                  <a:cubicBezTo>
                    <a:pt x="322550" y="3110161"/>
                    <a:pt x="346273" y="3147024"/>
                    <a:pt x="346273" y="3220749"/>
                  </a:cubicBezTo>
                  <a:cubicBezTo>
                    <a:pt x="346273" y="3257260"/>
                    <a:pt x="339578" y="3285120"/>
                    <a:pt x="326187" y="3304328"/>
                  </a:cubicBezTo>
                  <a:cubicBezTo>
                    <a:pt x="312796" y="3323537"/>
                    <a:pt x="294064" y="3333141"/>
                    <a:pt x="269990" y="3333141"/>
                  </a:cubicBezTo>
                  <a:cubicBezTo>
                    <a:pt x="247522" y="3333141"/>
                    <a:pt x="229993" y="3323963"/>
                    <a:pt x="217405" y="3305607"/>
                  </a:cubicBezTo>
                  <a:cubicBezTo>
                    <a:pt x="204816" y="3287251"/>
                    <a:pt x="198522" y="3260720"/>
                    <a:pt x="198522" y="3226015"/>
                  </a:cubicBezTo>
                  <a:cubicBezTo>
                    <a:pt x="198522" y="3187898"/>
                    <a:pt x="205092" y="3159061"/>
                    <a:pt x="218232" y="3139501"/>
                  </a:cubicBezTo>
                  <a:cubicBezTo>
                    <a:pt x="231373" y="3119941"/>
                    <a:pt x="250330" y="3110161"/>
                    <a:pt x="275106" y="3110161"/>
                  </a:cubicBezTo>
                  <a:close/>
                  <a:moveTo>
                    <a:pt x="76584" y="3110161"/>
                  </a:moveTo>
                  <a:cubicBezTo>
                    <a:pt x="124029" y="3110161"/>
                    <a:pt x="147751" y="3147024"/>
                    <a:pt x="147751" y="3220749"/>
                  </a:cubicBezTo>
                  <a:cubicBezTo>
                    <a:pt x="147751" y="3257260"/>
                    <a:pt x="141056" y="3285120"/>
                    <a:pt x="127665" y="3304328"/>
                  </a:cubicBezTo>
                  <a:cubicBezTo>
                    <a:pt x="114274" y="3323537"/>
                    <a:pt x="95542" y="3333141"/>
                    <a:pt x="71468" y="3333141"/>
                  </a:cubicBezTo>
                  <a:cubicBezTo>
                    <a:pt x="49000" y="3333141"/>
                    <a:pt x="31471" y="3323963"/>
                    <a:pt x="18883" y="3305607"/>
                  </a:cubicBezTo>
                  <a:cubicBezTo>
                    <a:pt x="6294" y="3287251"/>
                    <a:pt x="0" y="3260720"/>
                    <a:pt x="0" y="3226015"/>
                  </a:cubicBezTo>
                  <a:cubicBezTo>
                    <a:pt x="0" y="3187898"/>
                    <a:pt x="6570" y="3159061"/>
                    <a:pt x="19710" y="3139501"/>
                  </a:cubicBezTo>
                  <a:cubicBezTo>
                    <a:pt x="32851" y="3119941"/>
                    <a:pt x="51808" y="3110161"/>
                    <a:pt x="76584" y="3110161"/>
                  </a:cubicBezTo>
                  <a:close/>
                  <a:moveTo>
                    <a:pt x="10090194" y="2836964"/>
                  </a:moveTo>
                  <a:cubicBezTo>
                    <a:pt x="10064014" y="2836964"/>
                    <a:pt x="10050924" y="2865802"/>
                    <a:pt x="10050924" y="2923478"/>
                  </a:cubicBezTo>
                  <a:cubicBezTo>
                    <a:pt x="10050924" y="2977442"/>
                    <a:pt x="10063763" y="3004425"/>
                    <a:pt x="10089442" y="3004425"/>
                  </a:cubicBezTo>
                  <a:cubicBezTo>
                    <a:pt x="10114718" y="3004425"/>
                    <a:pt x="10127357" y="2976991"/>
                    <a:pt x="10127357" y="2922124"/>
                  </a:cubicBezTo>
                  <a:cubicBezTo>
                    <a:pt x="10127357" y="2865350"/>
                    <a:pt x="10114969" y="2836964"/>
                    <a:pt x="10090194" y="2836964"/>
                  </a:cubicBezTo>
                  <a:close/>
                  <a:moveTo>
                    <a:pt x="9869271" y="2836964"/>
                  </a:moveTo>
                  <a:cubicBezTo>
                    <a:pt x="9843091" y="2836964"/>
                    <a:pt x="9830001" y="2865802"/>
                    <a:pt x="9830001" y="2923478"/>
                  </a:cubicBezTo>
                  <a:cubicBezTo>
                    <a:pt x="9830001" y="2977442"/>
                    <a:pt x="9842840" y="3004425"/>
                    <a:pt x="9868519" y="3004425"/>
                  </a:cubicBezTo>
                  <a:cubicBezTo>
                    <a:pt x="9893795" y="3004425"/>
                    <a:pt x="9906434" y="2976991"/>
                    <a:pt x="9906434" y="2922124"/>
                  </a:cubicBezTo>
                  <a:cubicBezTo>
                    <a:pt x="9906434" y="2865350"/>
                    <a:pt x="9894046" y="2836964"/>
                    <a:pt x="9869271" y="2836964"/>
                  </a:cubicBezTo>
                  <a:close/>
                  <a:moveTo>
                    <a:pt x="9207610" y="2836964"/>
                  </a:moveTo>
                  <a:cubicBezTo>
                    <a:pt x="9181430" y="2836964"/>
                    <a:pt x="9168340" y="2865802"/>
                    <a:pt x="9168340" y="2923478"/>
                  </a:cubicBezTo>
                  <a:cubicBezTo>
                    <a:pt x="9168340" y="2977442"/>
                    <a:pt x="9181179" y="3004425"/>
                    <a:pt x="9206858" y="3004425"/>
                  </a:cubicBezTo>
                  <a:cubicBezTo>
                    <a:pt x="9232134" y="3004425"/>
                    <a:pt x="9244773" y="2976991"/>
                    <a:pt x="9244773" y="2922124"/>
                  </a:cubicBezTo>
                  <a:cubicBezTo>
                    <a:pt x="9244773" y="2865350"/>
                    <a:pt x="9232385" y="2836964"/>
                    <a:pt x="9207610" y="2836964"/>
                  </a:cubicBezTo>
                  <a:close/>
                  <a:moveTo>
                    <a:pt x="8986687" y="2836964"/>
                  </a:moveTo>
                  <a:cubicBezTo>
                    <a:pt x="8960507" y="2836964"/>
                    <a:pt x="8947417" y="2865802"/>
                    <a:pt x="8947417" y="2923478"/>
                  </a:cubicBezTo>
                  <a:cubicBezTo>
                    <a:pt x="8947417" y="2977442"/>
                    <a:pt x="8960256" y="3004425"/>
                    <a:pt x="8985935" y="3004425"/>
                  </a:cubicBezTo>
                  <a:cubicBezTo>
                    <a:pt x="9011211" y="3004425"/>
                    <a:pt x="9023850" y="2976991"/>
                    <a:pt x="9023850" y="2922124"/>
                  </a:cubicBezTo>
                  <a:cubicBezTo>
                    <a:pt x="9023850" y="2865350"/>
                    <a:pt x="9011462" y="2836964"/>
                    <a:pt x="8986687" y="2836964"/>
                  </a:cubicBezTo>
                  <a:close/>
                  <a:moveTo>
                    <a:pt x="6137225" y="2836964"/>
                  </a:moveTo>
                  <a:cubicBezTo>
                    <a:pt x="6111045" y="2836964"/>
                    <a:pt x="6097955" y="2865802"/>
                    <a:pt x="6097955" y="2923478"/>
                  </a:cubicBezTo>
                  <a:cubicBezTo>
                    <a:pt x="6097955" y="2977442"/>
                    <a:pt x="6110794" y="3004425"/>
                    <a:pt x="6136473" y="3004425"/>
                  </a:cubicBezTo>
                  <a:cubicBezTo>
                    <a:pt x="6161750" y="3004425"/>
                    <a:pt x="6174388" y="2976991"/>
                    <a:pt x="6174388" y="2922124"/>
                  </a:cubicBezTo>
                  <a:cubicBezTo>
                    <a:pt x="6174388" y="2865350"/>
                    <a:pt x="6162000" y="2836964"/>
                    <a:pt x="6137225" y="2836964"/>
                  </a:cubicBezTo>
                  <a:close/>
                  <a:moveTo>
                    <a:pt x="4034143" y="2836964"/>
                  </a:moveTo>
                  <a:cubicBezTo>
                    <a:pt x="4007963" y="2836964"/>
                    <a:pt x="3994873" y="2865802"/>
                    <a:pt x="3994873" y="2923478"/>
                  </a:cubicBezTo>
                  <a:cubicBezTo>
                    <a:pt x="3994873" y="2977442"/>
                    <a:pt x="4007712" y="3004425"/>
                    <a:pt x="4033391" y="3004425"/>
                  </a:cubicBezTo>
                  <a:cubicBezTo>
                    <a:pt x="4058668" y="3004425"/>
                    <a:pt x="4071306" y="2976991"/>
                    <a:pt x="4071306" y="2922124"/>
                  </a:cubicBezTo>
                  <a:cubicBezTo>
                    <a:pt x="4071306" y="2865350"/>
                    <a:pt x="4058917" y="2836964"/>
                    <a:pt x="4034143" y="2836964"/>
                  </a:cubicBezTo>
                  <a:close/>
                  <a:moveTo>
                    <a:pt x="3813220" y="2836964"/>
                  </a:moveTo>
                  <a:cubicBezTo>
                    <a:pt x="3787040" y="2836964"/>
                    <a:pt x="3773950" y="2865802"/>
                    <a:pt x="3773950" y="2923478"/>
                  </a:cubicBezTo>
                  <a:cubicBezTo>
                    <a:pt x="3773950" y="2977442"/>
                    <a:pt x="3786789" y="3004425"/>
                    <a:pt x="3812467" y="3004425"/>
                  </a:cubicBezTo>
                  <a:cubicBezTo>
                    <a:pt x="3837744" y="3004425"/>
                    <a:pt x="3850383" y="2976991"/>
                    <a:pt x="3850383" y="2922124"/>
                  </a:cubicBezTo>
                  <a:cubicBezTo>
                    <a:pt x="3850383" y="2865350"/>
                    <a:pt x="3837995" y="2836964"/>
                    <a:pt x="3813220" y="2836964"/>
                  </a:cubicBezTo>
                  <a:close/>
                  <a:moveTo>
                    <a:pt x="3151560" y="2836964"/>
                  </a:moveTo>
                  <a:cubicBezTo>
                    <a:pt x="3125380" y="2836964"/>
                    <a:pt x="3112290" y="2865802"/>
                    <a:pt x="3112290" y="2923478"/>
                  </a:cubicBezTo>
                  <a:cubicBezTo>
                    <a:pt x="3112290" y="2977442"/>
                    <a:pt x="3125129" y="3004425"/>
                    <a:pt x="3150807" y="3004425"/>
                  </a:cubicBezTo>
                  <a:cubicBezTo>
                    <a:pt x="3176084" y="3004425"/>
                    <a:pt x="3188723" y="2976991"/>
                    <a:pt x="3188723" y="2922124"/>
                  </a:cubicBezTo>
                  <a:cubicBezTo>
                    <a:pt x="3188723" y="2865350"/>
                    <a:pt x="3176335" y="2836964"/>
                    <a:pt x="3151560" y="2836964"/>
                  </a:cubicBezTo>
                  <a:close/>
                  <a:moveTo>
                    <a:pt x="2930637" y="2836964"/>
                  </a:moveTo>
                  <a:cubicBezTo>
                    <a:pt x="2904457" y="2836964"/>
                    <a:pt x="2891367" y="2865802"/>
                    <a:pt x="2891367" y="2923478"/>
                  </a:cubicBezTo>
                  <a:cubicBezTo>
                    <a:pt x="2891367" y="2977442"/>
                    <a:pt x="2904206" y="3004425"/>
                    <a:pt x="2929884" y="3004425"/>
                  </a:cubicBezTo>
                  <a:cubicBezTo>
                    <a:pt x="2955161" y="3004425"/>
                    <a:pt x="2967800" y="2976991"/>
                    <a:pt x="2967800" y="2922124"/>
                  </a:cubicBezTo>
                  <a:cubicBezTo>
                    <a:pt x="2967800" y="2865350"/>
                    <a:pt x="2955412" y="2836964"/>
                    <a:pt x="2930637" y="2836964"/>
                  </a:cubicBezTo>
                  <a:close/>
                  <a:moveTo>
                    <a:pt x="78039" y="2834954"/>
                  </a:moveTo>
                  <a:cubicBezTo>
                    <a:pt x="51859" y="2834954"/>
                    <a:pt x="38769" y="2863792"/>
                    <a:pt x="38769" y="2921468"/>
                  </a:cubicBezTo>
                  <a:cubicBezTo>
                    <a:pt x="38769" y="2975432"/>
                    <a:pt x="51608" y="3002415"/>
                    <a:pt x="77287" y="3002415"/>
                  </a:cubicBezTo>
                  <a:cubicBezTo>
                    <a:pt x="102564" y="3002415"/>
                    <a:pt x="115202" y="2974981"/>
                    <a:pt x="115202" y="2920114"/>
                  </a:cubicBezTo>
                  <a:cubicBezTo>
                    <a:pt x="115202" y="2863340"/>
                    <a:pt x="102814" y="2834954"/>
                    <a:pt x="78039" y="2834954"/>
                  </a:cubicBezTo>
                  <a:close/>
                  <a:moveTo>
                    <a:pt x="11918627" y="2809130"/>
                  </a:moveTo>
                  <a:lnTo>
                    <a:pt x="11933533" y="2809130"/>
                  </a:lnTo>
                  <a:lnTo>
                    <a:pt x="11933533" y="3032110"/>
                  </a:lnTo>
                  <a:lnTo>
                    <a:pt x="11898245" y="3032110"/>
                  </a:lnTo>
                  <a:lnTo>
                    <a:pt x="11898245" y="2852327"/>
                  </a:lnTo>
                  <a:cubicBezTo>
                    <a:pt x="11891857" y="2856890"/>
                    <a:pt x="11884987" y="2860768"/>
                    <a:pt x="11877636" y="2863962"/>
                  </a:cubicBezTo>
                  <a:cubicBezTo>
                    <a:pt x="11870284" y="2867157"/>
                    <a:pt x="11861893" y="2869970"/>
                    <a:pt x="11852463" y="2872404"/>
                  </a:cubicBezTo>
                  <a:lnTo>
                    <a:pt x="11852463" y="2842288"/>
                  </a:lnTo>
                  <a:cubicBezTo>
                    <a:pt x="11858344" y="2840362"/>
                    <a:pt x="11864023" y="2838334"/>
                    <a:pt x="11869498" y="2836204"/>
                  </a:cubicBezTo>
                  <a:cubicBezTo>
                    <a:pt x="11874974" y="2834075"/>
                    <a:pt x="11880374" y="2831692"/>
                    <a:pt x="11885697" y="2829055"/>
                  </a:cubicBezTo>
                  <a:cubicBezTo>
                    <a:pt x="11891021" y="2826419"/>
                    <a:pt x="11896395" y="2823478"/>
                    <a:pt x="11901820" y="2820234"/>
                  </a:cubicBezTo>
                  <a:cubicBezTo>
                    <a:pt x="11907245" y="2816989"/>
                    <a:pt x="11912847" y="2813288"/>
                    <a:pt x="11918627" y="2809130"/>
                  </a:cubicBezTo>
                  <a:close/>
                  <a:moveTo>
                    <a:pt x="11535759" y="2809130"/>
                  </a:moveTo>
                  <a:lnTo>
                    <a:pt x="11550665" y="2809130"/>
                  </a:lnTo>
                  <a:lnTo>
                    <a:pt x="11550665" y="3032110"/>
                  </a:lnTo>
                  <a:lnTo>
                    <a:pt x="11515377" y="3032110"/>
                  </a:lnTo>
                  <a:lnTo>
                    <a:pt x="11515377" y="2852327"/>
                  </a:lnTo>
                  <a:cubicBezTo>
                    <a:pt x="11508989" y="2856890"/>
                    <a:pt x="11502119" y="2860768"/>
                    <a:pt x="11494768" y="2863962"/>
                  </a:cubicBezTo>
                  <a:cubicBezTo>
                    <a:pt x="11487416" y="2867157"/>
                    <a:pt x="11479025" y="2869970"/>
                    <a:pt x="11469595" y="2872404"/>
                  </a:cubicBezTo>
                  <a:lnTo>
                    <a:pt x="11469595" y="2842288"/>
                  </a:lnTo>
                  <a:cubicBezTo>
                    <a:pt x="11475476" y="2840362"/>
                    <a:pt x="11481155" y="2838334"/>
                    <a:pt x="11486630" y="2836204"/>
                  </a:cubicBezTo>
                  <a:cubicBezTo>
                    <a:pt x="11492106" y="2834075"/>
                    <a:pt x="11497506" y="2831692"/>
                    <a:pt x="11502829" y="2829055"/>
                  </a:cubicBezTo>
                  <a:cubicBezTo>
                    <a:pt x="11508153" y="2826419"/>
                    <a:pt x="11513527" y="2823478"/>
                    <a:pt x="11518952" y="2820234"/>
                  </a:cubicBezTo>
                  <a:cubicBezTo>
                    <a:pt x="11524377" y="2816989"/>
                    <a:pt x="11529979" y="2813288"/>
                    <a:pt x="11535759" y="2809130"/>
                  </a:cubicBezTo>
                  <a:close/>
                  <a:moveTo>
                    <a:pt x="11391633" y="2809130"/>
                  </a:moveTo>
                  <a:lnTo>
                    <a:pt x="11406539" y="2809130"/>
                  </a:lnTo>
                  <a:lnTo>
                    <a:pt x="11406539" y="3032110"/>
                  </a:lnTo>
                  <a:lnTo>
                    <a:pt x="11371251" y="3032110"/>
                  </a:lnTo>
                  <a:lnTo>
                    <a:pt x="11371251" y="2852327"/>
                  </a:lnTo>
                  <a:cubicBezTo>
                    <a:pt x="11364863" y="2856890"/>
                    <a:pt x="11357993" y="2860768"/>
                    <a:pt x="11350642" y="2863962"/>
                  </a:cubicBezTo>
                  <a:cubicBezTo>
                    <a:pt x="11343290" y="2867157"/>
                    <a:pt x="11334899" y="2869970"/>
                    <a:pt x="11325469" y="2872404"/>
                  </a:cubicBezTo>
                  <a:lnTo>
                    <a:pt x="11325469" y="2842288"/>
                  </a:lnTo>
                  <a:cubicBezTo>
                    <a:pt x="11331350" y="2840362"/>
                    <a:pt x="11337029" y="2838334"/>
                    <a:pt x="11342504" y="2836204"/>
                  </a:cubicBezTo>
                  <a:cubicBezTo>
                    <a:pt x="11347980" y="2834075"/>
                    <a:pt x="11353380" y="2831692"/>
                    <a:pt x="11358703" y="2829055"/>
                  </a:cubicBezTo>
                  <a:cubicBezTo>
                    <a:pt x="11364027" y="2826419"/>
                    <a:pt x="11369401" y="2823478"/>
                    <a:pt x="11374826" y="2820234"/>
                  </a:cubicBezTo>
                  <a:cubicBezTo>
                    <a:pt x="11380251" y="2816989"/>
                    <a:pt x="11385853" y="2813288"/>
                    <a:pt x="11391633" y="2809130"/>
                  </a:cubicBezTo>
                  <a:close/>
                  <a:moveTo>
                    <a:pt x="11247508" y="2809130"/>
                  </a:moveTo>
                  <a:lnTo>
                    <a:pt x="11262414" y="2809130"/>
                  </a:lnTo>
                  <a:lnTo>
                    <a:pt x="11262414" y="3032110"/>
                  </a:lnTo>
                  <a:lnTo>
                    <a:pt x="11227126" y="3032110"/>
                  </a:lnTo>
                  <a:lnTo>
                    <a:pt x="11227126" y="2852327"/>
                  </a:lnTo>
                  <a:cubicBezTo>
                    <a:pt x="11220738" y="2856890"/>
                    <a:pt x="11213868" y="2860768"/>
                    <a:pt x="11206517" y="2863962"/>
                  </a:cubicBezTo>
                  <a:cubicBezTo>
                    <a:pt x="11199165" y="2867157"/>
                    <a:pt x="11190774" y="2869970"/>
                    <a:pt x="11181344" y="2872404"/>
                  </a:cubicBezTo>
                  <a:lnTo>
                    <a:pt x="11181344" y="2842288"/>
                  </a:lnTo>
                  <a:cubicBezTo>
                    <a:pt x="11187225" y="2840362"/>
                    <a:pt x="11192904" y="2838334"/>
                    <a:pt x="11198379" y="2836204"/>
                  </a:cubicBezTo>
                  <a:cubicBezTo>
                    <a:pt x="11203855" y="2834075"/>
                    <a:pt x="11209255" y="2831692"/>
                    <a:pt x="11214578" y="2829055"/>
                  </a:cubicBezTo>
                  <a:cubicBezTo>
                    <a:pt x="11219902" y="2826419"/>
                    <a:pt x="11225276" y="2823478"/>
                    <a:pt x="11230701" y="2820234"/>
                  </a:cubicBezTo>
                  <a:cubicBezTo>
                    <a:pt x="11236126" y="2816989"/>
                    <a:pt x="11241728" y="2813288"/>
                    <a:pt x="11247508" y="2809130"/>
                  </a:cubicBezTo>
                  <a:close/>
                  <a:moveTo>
                    <a:pt x="11103383" y="2809130"/>
                  </a:moveTo>
                  <a:lnTo>
                    <a:pt x="11118289" y="2809130"/>
                  </a:lnTo>
                  <a:lnTo>
                    <a:pt x="11118289" y="3032110"/>
                  </a:lnTo>
                  <a:lnTo>
                    <a:pt x="11083001" y="3032110"/>
                  </a:lnTo>
                  <a:lnTo>
                    <a:pt x="11083001" y="2852327"/>
                  </a:lnTo>
                  <a:cubicBezTo>
                    <a:pt x="11076613" y="2856890"/>
                    <a:pt x="11069743" y="2860768"/>
                    <a:pt x="11062392" y="2863962"/>
                  </a:cubicBezTo>
                  <a:cubicBezTo>
                    <a:pt x="11055040" y="2867157"/>
                    <a:pt x="11046649" y="2869970"/>
                    <a:pt x="11037219" y="2872404"/>
                  </a:cubicBezTo>
                  <a:lnTo>
                    <a:pt x="11037219" y="2842288"/>
                  </a:lnTo>
                  <a:cubicBezTo>
                    <a:pt x="11043100" y="2840362"/>
                    <a:pt x="11048779" y="2838334"/>
                    <a:pt x="11054254" y="2836204"/>
                  </a:cubicBezTo>
                  <a:cubicBezTo>
                    <a:pt x="11059730" y="2834075"/>
                    <a:pt x="11065130" y="2831692"/>
                    <a:pt x="11070453" y="2829055"/>
                  </a:cubicBezTo>
                  <a:cubicBezTo>
                    <a:pt x="11075777" y="2826419"/>
                    <a:pt x="11081151" y="2823478"/>
                    <a:pt x="11086576" y="2820234"/>
                  </a:cubicBezTo>
                  <a:cubicBezTo>
                    <a:pt x="11092001" y="2816989"/>
                    <a:pt x="11097603" y="2813288"/>
                    <a:pt x="11103383" y="2809130"/>
                  </a:cubicBezTo>
                  <a:close/>
                  <a:moveTo>
                    <a:pt x="10959258" y="2809130"/>
                  </a:moveTo>
                  <a:lnTo>
                    <a:pt x="10974164" y="2809130"/>
                  </a:lnTo>
                  <a:lnTo>
                    <a:pt x="10974164" y="3032110"/>
                  </a:lnTo>
                  <a:lnTo>
                    <a:pt x="10938876" y="3032110"/>
                  </a:lnTo>
                  <a:lnTo>
                    <a:pt x="10938876" y="2852327"/>
                  </a:lnTo>
                  <a:cubicBezTo>
                    <a:pt x="10932488" y="2856890"/>
                    <a:pt x="10925618" y="2860768"/>
                    <a:pt x="10918267" y="2863962"/>
                  </a:cubicBezTo>
                  <a:cubicBezTo>
                    <a:pt x="10910915" y="2867157"/>
                    <a:pt x="10902524" y="2869970"/>
                    <a:pt x="10893094" y="2872404"/>
                  </a:cubicBezTo>
                  <a:lnTo>
                    <a:pt x="10893094" y="2842288"/>
                  </a:lnTo>
                  <a:cubicBezTo>
                    <a:pt x="10898975" y="2840362"/>
                    <a:pt x="10904654" y="2838334"/>
                    <a:pt x="10910129" y="2836204"/>
                  </a:cubicBezTo>
                  <a:cubicBezTo>
                    <a:pt x="10915605" y="2834075"/>
                    <a:pt x="10921005" y="2831692"/>
                    <a:pt x="10926328" y="2829055"/>
                  </a:cubicBezTo>
                  <a:cubicBezTo>
                    <a:pt x="10931652" y="2826419"/>
                    <a:pt x="10937026" y="2823478"/>
                    <a:pt x="10942451" y="2820234"/>
                  </a:cubicBezTo>
                  <a:cubicBezTo>
                    <a:pt x="10947876" y="2816989"/>
                    <a:pt x="10953478" y="2813288"/>
                    <a:pt x="10959258" y="2809130"/>
                  </a:cubicBezTo>
                  <a:close/>
                  <a:moveTo>
                    <a:pt x="10571025" y="2809130"/>
                  </a:moveTo>
                  <a:lnTo>
                    <a:pt x="10585931" y="2809130"/>
                  </a:lnTo>
                  <a:lnTo>
                    <a:pt x="10585931" y="3032110"/>
                  </a:lnTo>
                  <a:lnTo>
                    <a:pt x="10550643" y="3032110"/>
                  </a:lnTo>
                  <a:lnTo>
                    <a:pt x="10550643" y="2852327"/>
                  </a:lnTo>
                  <a:cubicBezTo>
                    <a:pt x="10544255" y="2856890"/>
                    <a:pt x="10537385" y="2860768"/>
                    <a:pt x="10530034" y="2863962"/>
                  </a:cubicBezTo>
                  <a:cubicBezTo>
                    <a:pt x="10522682" y="2867157"/>
                    <a:pt x="10514291" y="2869970"/>
                    <a:pt x="10504861" y="2872404"/>
                  </a:cubicBezTo>
                  <a:lnTo>
                    <a:pt x="10504861" y="2842288"/>
                  </a:lnTo>
                  <a:cubicBezTo>
                    <a:pt x="10510742" y="2840362"/>
                    <a:pt x="10516421" y="2838334"/>
                    <a:pt x="10521896" y="2836204"/>
                  </a:cubicBezTo>
                  <a:cubicBezTo>
                    <a:pt x="10527372" y="2834075"/>
                    <a:pt x="10532772" y="2831692"/>
                    <a:pt x="10538095" y="2829055"/>
                  </a:cubicBezTo>
                  <a:cubicBezTo>
                    <a:pt x="10543419" y="2826419"/>
                    <a:pt x="10548793" y="2823478"/>
                    <a:pt x="10554218" y="2820234"/>
                  </a:cubicBezTo>
                  <a:cubicBezTo>
                    <a:pt x="10559643" y="2816989"/>
                    <a:pt x="10565245" y="2813288"/>
                    <a:pt x="10571025" y="2809130"/>
                  </a:cubicBezTo>
                  <a:close/>
                  <a:moveTo>
                    <a:pt x="10304917" y="2809130"/>
                  </a:moveTo>
                  <a:lnTo>
                    <a:pt x="10319823" y="2809130"/>
                  </a:lnTo>
                  <a:lnTo>
                    <a:pt x="10319823" y="3032110"/>
                  </a:lnTo>
                  <a:lnTo>
                    <a:pt x="10284535" y="3032110"/>
                  </a:lnTo>
                  <a:lnTo>
                    <a:pt x="10284535" y="2852327"/>
                  </a:lnTo>
                  <a:cubicBezTo>
                    <a:pt x="10278147" y="2856890"/>
                    <a:pt x="10271277" y="2860768"/>
                    <a:pt x="10263926" y="2863962"/>
                  </a:cubicBezTo>
                  <a:cubicBezTo>
                    <a:pt x="10256574" y="2867157"/>
                    <a:pt x="10248183" y="2869970"/>
                    <a:pt x="10238753" y="2872404"/>
                  </a:cubicBezTo>
                  <a:lnTo>
                    <a:pt x="10238753" y="2842288"/>
                  </a:lnTo>
                  <a:cubicBezTo>
                    <a:pt x="10244634" y="2840362"/>
                    <a:pt x="10250313" y="2838334"/>
                    <a:pt x="10255788" y="2836204"/>
                  </a:cubicBezTo>
                  <a:cubicBezTo>
                    <a:pt x="10261264" y="2834075"/>
                    <a:pt x="10266664" y="2831692"/>
                    <a:pt x="10271987" y="2829055"/>
                  </a:cubicBezTo>
                  <a:cubicBezTo>
                    <a:pt x="10277311" y="2826419"/>
                    <a:pt x="10282685" y="2823478"/>
                    <a:pt x="10288110" y="2820234"/>
                  </a:cubicBezTo>
                  <a:cubicBezTo>
                    <a:pt x="10293535" y="2816989"/>
                    <a:pt x="10299137" y="2813288"/>
                    <a:pt x="10304917" y="2809130"/>
                  </a:cubicBezTo>
                  <a:close/>
                  <a:moveTo>
                    <a:pt x="9693318" y="2809130"/>
                  </a:moveTo>
                  <a:lnTo>
                    <a:pt x="9708224" y="2809130"/>
                  </a:lnTo>
                  <a:lnTo>
                    <a:pt x="9708224" y="3032110"/>
                  </a:lnTo>
                  <a:lnTo>
                    <a:pt x="9672936" y="3032110"/>
                  </a:lnTo>
                  <a:lnTo>
                    <a:pt x="9672936" y="2852327"/>
                  </a:lnTo>
                  <a:cubicBezTo>
                    <a:pt x="9666548" y="2856890"/>
                    <a:pt x="9659678" y="2860768"/>
                    <a:pt x="9652327" y="2863962"/>
                  </a:cubicBezTo>
                  <a:cubicBezTo>
                    <a:pt x="9644975" y="2867157"/>
                    <a:pt x="9636584" y="2869970"/>
                    <a:pt x="9627154" y="2872404"/>
                  </a:cubicBezTo>
                  <a:lnTo>
                    <a:pt x="9627154" y="2842288"/>
                  </a:lnTo>
                  <a:cubicBezTo>
                    <a:pt x="9633035" y="2840362"/>
                    <a:pt x="9638714" y="2838334"/>
                    <a:pt x="9644189" y="2836204"/>
                  </a:cubicBezTo>
                  <a:cubicBezTo>
                    <a:pt x="9649665" y="2834075"/>
                    <a:pt x="9655065" y="2831692"/>
                    <a:pt x="9660388" y="2829055"/>
                  </a:cubicBezTo>
                  <a:cubicBezTo>
                    <a:pt x="9665712" y="2826419"/>
                    <a:pt x="9671086" y="2823478"/>
                    <a:pt x="9676511" y="2820234"/>
                  </a:cubicBezTo>
                  <a:cubicBezTo>
                    <a:pt x="9681936" y="2816989"/>
                    <a:pt x="9687538" y="2813288"/>
                    <a:pt x="9693318" y="2809130"/>
                  </a:cubicBezTo>
                  <a:close/>
                  <a:moveTo>
                    <a:pt x="9427209" y="2809130"/>
                  </a:moveTo>
                  <a:lnTo>
                    <a:pt x="9442115" y="2809130"/>
                  </a:lnTo>
                  <a:lnTo>
                    <a:pt x="9442115" y="3032110"/>
                  </a:lnTo>
                  <a:lnTo>
                    <a:pt x="9406827" y="3032110"/>
                  </a:lnTo>
                  <a:lnTo>
                    <a:pt x="9406827" y="2852327"/>
                  </a:lnTo>
                  <a:cubicBezTo>
                    <a:pt x="9400439" y="2856890"/>
                    <a:pt x="9393569" y="2860768"/>
                    <a:pt x="9386218" y="2863962"/>
                  </a:cubicBezTo>
                  <a:cubicBezTo>
                    <a:pt x="9378866" y="2867157"/>
                    <a:pt x="9370475" y="2869970"/>
                    <a:pt x="9361045" y="2872404"/>
                  </a:cubicBezTo>
                  <a:lnTo>
                    <a:pt x="9361045" y="2842288"/>
                  </a:lnTo>
                  <a:cubicBezTo>
                    <a:pt x="9366926" y="2840362"/>
                    <a:pt x="9372605" y="2838334"/>
                    <a:pt x="9378080" y="2836204"/>
                  </a:cubicBezTo>
                  <a:cubicBezTo>
                    <a:pt x="9383556" y="2834075"/>
                    <a:pt x="9388956" y="2831692"/>
                    <a:pt x="9394279" y="2829055"/>
                  </a:cubicBezTo>
                  <a:cubicBezTo>
                    <a:pt x="9399603" y="2826419"/>
                    <a:pt x="9404977" y="2823478"/>
                    <a:pt x="9410402" y="2820234"/>
                  </a:cubicBezTo>
                  <a:cubicBezTo>
                    <a:pt x="9415827" y="2816989"/>
                    <a:pt x="9421429" y="2813288"/>
                    <a:pt x="9427209" y="2809130"/>
                  </a:cubicBezTo>
                  <a:close/>
                  <a:moveTo>
                    <a:pt x="8820862" y="2809130"/>
                  </a:moveTo>
                  <a:lnTo>
                    <a:pt x="8835768" y="2809130"/>
                  </a:lnTo>
                  <a:lnTo>
                    <a:pt x="8835768" y="3032110"/>
                  </a:lnTo>
                  <a:lnTo>
                    <a:pt x="8800480" y="3032110"/>
                  </a:lnTo>
                  <a:lnTo>
                    <a:pt x="8800480" y="2852327"/>
                  </a:lnTo>
                  <a:cubicBezTo>
                    <a:pt x="8794092" y="2856890"/>
                    <a:pt x="8787222" y="2860768"/>
                    <a:pt x="8779871" y="2863962"/>
                  </a:cubicBezTo>
                  <a:cubicBezTo>
                    <a:pt x="8772519" y="2867157"/>
                    <a:pt x="8764128" y="2869970"/>
                    <a:pt x="8754698" y="2872404"/>
                  </a:cubicBezTo>
                  <a:lnTo>
                    <a:pt x="8754698" y="2842288"/>
                  </a:lnTo>
                  <a:cubicBezTo>
                    <a:pt x="8760579" y="2840362"/>
                    <a:pt x="8766258" y="2838334"/>
                    <a:pt x="8771733" y="2836204"/>
                  </a:cubicBezTo>
                  <a:cubicBezTo>
                    <a:pt x="8777209" y="2834075"/>
                    <a:pt x="8782609" y="2831692"/>
                    <a:pt x="8787932" y="2829055"/>
                  </a:cubicBezTo>
                  <a:cubicBezTo>
                    <a:pt x="8793256" y="2826419"/>
                    <a:pt x="8798630" y="2823478"/>
                    <a:pt x="8804055" y="2820234"/>
                  </a:cubicBezTo>
                  <a:cubicBezTo>
                    <a:pt x="8809480" y="2816989"/>
                    <a:pt x="8815082" y="2813288"/>
                    <a:pt x="8820862" y="2809130"/>
                  </a:cubicBezTo>
                  <a:close/>
                  <a:moveTo>
                    <a:pt x="8554754" y="2809130"/>
                  </a:moveTo>
                  <a:lnTo>
                    <a:pt x="8569660" y="2809130"/>
                  </a:lnTo>
                  <a:lnTo>
                    <a:pt x="8569660" y="3032110"/>
                  </a:lnTo>
                  <a:lnTo>
                    <a:pt x="8534372" y="3032110"/>
                  </a:lnTo>
                  <a:lnTo>
                    <a:pt x="8534372" y="2852327"/>
                  </a:lnTo>
                  <a:cubicBezTo>
                    <a:pt x="8527984" y="2856890"/>
                    <a:pt x="8521114" y="2860768"/>
                    <a:pt x="8513763" y="2863962"/>
                  </a:cubicBezTo>
                  <a:cubicBezTo>
                    <a:pt x="8506411" y="2867157"/>
                    <a:pt x="8498020" y="2869970"/>
                    <a:pt x="8488590" y="2872404"/>
                  </a:cubicBezTo>
                  <a:lnTo>
                    <a:pt x="8488590" y="2842288"/>
                  </a:lnTo>
                  <a:cubicBezTo>
                    <a:pt x="8494471" y="2840362"/>
                    <a:pt x="8500150" y="2838334"/>
                    <a:pt x="8505625" y="2836204"/>
                  </a:cubicBezTo>
                  <a:cubicBezTo>
                    <a:pt x="8511101" y="2834075"/>
                    <a:pt x="8516501" y="2831692"/>
                    <a:pt x="8521824" y="2829055"/>
                  </a:cubicBezTo>
                  <a:cubicBezTo>
                    <a:pt x="8527148" y="2826419"/>
                    <a:pt x="8532522" y="2823478"/>
                    <a:pt x="8537947" y="2820234"/>
                  </a:cubicBezTo>
                  <a:cubicBezTo>
                    <a:pt x="8543372" y="2816989"/>
                    <a:pt x="8548974" y="2813288"/>
                    <a:pt x="8554754" y="2809130"/>
                  </a:cubicBezTo>
                  <a:close/>
                  <a:moveTo>
                    <a:pt x="8142986" y="2809130"/>
                  </a:moveTo>
                  <a:lnTo>
                    <a:pt x="8157893" y="2809130"/>
                  </a:lnTo>
                  <a:lnTo>
                    <a:pt x="8157893" y="3032110"/>
                  </a:lnTo>
                  <a:lnTo>
                    <a:pt x="8122605" y="3032110"/>
                  </a:lnTo>
                  <a:lnTo>
                    <a:pt x="8122605" y="2852327"/>
                  </a:lnTo>
                  <a:cubicBezTo>
                    <a:pt x="8116217" y="2856890"/>
                    <a:pt x="8109347" y="2860768"/>
                    <a:pt x="8101995" y="2863962"/>
                  </a:cubicBezTo>
                  <a:cubicBezTo>
                    <a:pt x="8094644" y="2867157"/>
                    <a:pt x="8086253" y="2869970"/>
                    <a:pt x="8076823" y="2872404"/>
                  </a:cubicBezTo>
                  <a:lnTo>
                    <a:pt x="8076823" y="2842288"/>
                  </a:lnTo>
                  <a:cubicBezTo>
                    <a:pt x="8082704" y="2840362"/>
                    <a:pt x="8088382" y="2838334"/>
                    <a:pt x="8093858" y="2836204"/>
                  </a:cubicBezTo>
                  <a:cubicBezTo>
                    <a:pt x="8099334" y="2834075"/>
                    <a:pt x="8104733" y="2831692"/>
                    <a:pt x="8110057" y="2829055"/>
                  </a:cubicBezTo>
                  <a:cubicBezTo>
                    <a:pt x="8115380" y="2826419"/>
                    <a:pt x="8120755" y="2823478"/>
                    <a:pt x="8126179" y="2820234"/>
                  </a:cubicBezTo>
                  <a:cubicBezTo>
                    <a:pt x="8131605" y="2816989"/>
                    <a:pt x="8137207" y="2813288"/>
                    <a:pt x="8142986" y="2809130"/>
                  </a:cubicBezTo>
                  <a:close/>
                  <a:moveTo>
                    <a:pt x="8009932" y="2809130"/>
                  </a:moveTo>
                  <a:lnTo>
                    <a:pt x="8024839" y="2809130"/>
                  </a:lnTo>
                  <a:lnTo>
                    <a:pt x="8024839" y="3032110"/>
                  </a:lnTo>
                  <a:lnTo>
                    <a:pt x="7989551" y="3032110"/>
                  </a:lnTo>
                  <a:lnTo>
                    <a:pt x="7989551" y="2852327"/>
                  </a:lnTo>
                  <a:cubicBezTo>
                    <a:pt x="7983163" y="2856890"/>
                    <a:pt x="7976293" y="2860768"/>
                    <a:pt x="7968941" y="2863962"/>
                  </a:cubicBezTo>
                  <a:cubicBezTo>
                    <a:pt x="7961590" y="2867157"/>
                    <a:pt x="7953199" y="2869970"/>
                    <a:pt x="7943769" y="2872404"/>
                  </a:cubicBezTo>
                  <a:lnTo>
                    <a:pt x="7943769" y="2842288"/>
                  </a:lnTo>
                  <a:cubicBezTo>
                    <a:pt x="7949650" y="2840362"/>
                    <a:pt x="7955328" y="2838334"/>
                    <a:pt x="7960804" y="2836204"/>
                  </a:cubicBezTo>
                  <a:cubicBezTo>
                    <a:pt x="7966280" y="2834075"/>
                    <a:pt x="7971679" y="2831692"/>
                    <a:pt x="7977003" y="2829055"/>
                  </a:cubicBezTo>
                  <a:cubicBezTo>
                    <a:pt x="7982326" y="2826419"/>
                    <a:pt x="7987701" y="2823478"/>
                    <a:pt x="7993125" y="2820234"/>
                  </a:cubicBezTo>
                  <a:cubicBezTo>
                    <a:pt x="7998551" y="2816989"/>
                    <a:pt x="8004153" y="2813288"/>
                    <a:pt x="8009932" y="2809130"/>
                  </a:cubicBezTo>
                  <a:close/>
                  <a:moveTo>
                    <a:pt x="7876878" y="2809130"/>
                  </a:moveTo>
                  <a:lnTo>
                    <a:pt x="7891785" y="2809130"/>
                  </a:lnTo>
                  <a:lnTo>
                    <a:pt x="7891785" y="3032110"/>
                  </a:lnTo>
                  <a:lnTo>
                    <a:pt x="7856497" y="3032110"/>
                  </a:lnTo>
                  <a:lnTo>
                    <a:pt x="7856497" y="2852327"/>
                  </a:lnTo>
                  <a:cubicBezTo>
                    <a:pt x="7850109" y="2856890"/>
                    <a:pt x="7843239" y="2860768"/>
                    <a:pt x="7835887" y="2863962"/>
                  </a:cubicBezTo>
                  <a:cubicBezTo>
                    <a:pt x="7828536" y="2867157"/>
                    <a:pt x="7820145" y="2869970"/>
                    <a:pt x="7810715" y="2872404"/>
                  </a:cubicBezTo>
                  <a:lnTo>
                    <a:pt x="7810715" y="2842288"/>
                  </a:lnTo>
                  <a:cubicBezTo>
                    <a:pt x="7816596" y="2840362"/>
                    <a:pt x="7822274" y="2838334"/>
                    <a:pt x="7827750" y="2836204"/>
                  </a:cubicBezTo>
                  <a:cubicBezTo>
                    <a:pt x="7833226" y="2834075"/>
                    <a:pt x="7838625" y="2831692"/>
                    <a:pt x="7843949" y="2829055"/>
                  </a:cubicBezTo>
                  <a:cubicBezTo>
                    <a:pt x="7849272" y="2826419"/>
                    <a:pt x="7854647" y="2823478"/>
                    <a:pt x="7860071" y="2820234"/>
                  </a:cubicBezTo>
                  <a:cubicBezTo>
                    <a:pt x="7865497" y="2816989"/>
                    <a:pt x="7871099" y="2813288"/>
                    <a:pt x="7876878" y="2809130"/>
                  </a:cubicBezTo>
                  <a:close/>
                  <a:moveTo>
                    <a:pt x="7734266" y="2809130"/>
                  </a:moveTo>
                  <a:lnTo>
                    <a:pt x="7749173" y="2809130"/>
                  </a:lnTo>
                  <a:lnTo>
                    <a:pt x="7749173" y="3032110"/>
                  </a:lnTo>
                  <a:lnTo>
                    <a:pt x="7713885" y="3032110"/>
                  </a:lnTo>
                  <a:lnTo>
                    <a:pt x="7713885" y="2852327"/>
                  </a:lnTo>
                  <a:cubicBezTo>
                    <a:pt x="7707497" y="2856890"/>
                    <a:pt x="7700627" y="2860768"/>
                    <a:pt x="7693275" y="2863962"/>
                  </a:cubicBezTo>
                  <a:cubicBezTo>
                    <a:pt x="7685924" y="2867157"/>
                    <a:pt x="7677533" y="2869970"/>
                    <a:pt x="7668103" y="2872404"/>
                  </a:cubicBezTo>
                  <a:lnTo>
                    <a:pt x="7668103" y="2842288"/>
                  </a:lnTo>
                  <a:cubicBezTo>
                    <a:pt x="7673984" y="2840362"/>
                    <a:pt x="7679662" y="2838334"/>
                    <a:pt x="7685138" y="2836204"/>
                  </a:cubicBezTo>
                  <a:cubicBezTo>
                    <a:pt x="7690614" y="2834075"/>
                    <a:pt x="7696013" y="2831692"/>
                    <a:pt x="7701337" y="2829055"/>
                  </a:cubicBezTo>
                  <a:cubicBezTo>
                    <a:pt x="7706660" y="2826419"/>
                    <a:pt x="7712035" y="2823478"/>
                    <a:pt x="7717459" y="2820234"/>
                  </a:cubicBezTo>
                  <a:cubicBezTo>
                    <a:pt x="7722885" y="2816989"/>
                    <a:pt x="7728487" y="2813288"/>
                    <a:pt x="7734266" y="2809130"/>
                  </a:cubicBezTo>
                  <a:close/>
                  <a:moveTo>
                    <a:pt x="6986928" y="2809130"/>
                  </a:moveTo>
                  <a:lnTo>
                    <a:pt x="7001834" y="2809130"/>
                  </a:lnTo>
                  <a:lnTo>
                    <a:pt x="7001834" y="3032110"/>
                  </a:lnTo>
                  <a:lnTo>
                    <a:pt x="6966546" y="3032110"/>
                  </a:lnTo>
                  <a:lnTo>
                    <a:pt x="6966546" y="2852327"/>
                  </a:lnTo>
                  <a:cubicBezTo>
                    <a:pt x="6960158" y="2856890"/>
                    <a:pt x="6953289" y="2860768"/>
                    <a:pt x="6945937" y="2863962"/>
                  </a:cubicBezTo>
                  <a:cubicBezTo>
                    <a:pt x="6938585" y="2867157"/>
                    <a:pt x="6930195" y="2869970"/>
                    <a:pt x="6920764" y="2872404"/>
                  </a:cubicBezTo>
                  <a:lnTo>
                    <a:pt x="6920764" y="2842288"/>
                  </a:lnTo>
                  <a:cubicBezTo>
                    <a:pt x="6926645" y="2840362"/>
                    <a:pt x="6932324" y="2838334"/>
                    <a:pt x="6937799" y="2836204"/>
                  </a:cubicBezTo>
                  <a:cubicBezTo>
                    <a:pt x="6943275" y="2834075"/>
                    <a:pt x="6948675" y="2831692"/>
                    <a:pt x="6953998" y="2829055"/>
                  </a:cubicBezTo>
                  <a:cubicBezTo>
                    <a:pt x="6959322" y="2826419"/>
                    <a:pt x="6964696" y="2823478"/>
                    <a:pt x="6970121" y="2820234"/>
                  </a:cubicBezTo>
                  <a:cubicBezTo>
                    <a:pt x="6975546" y="2816989"/>
                    <a:pt x="6981148" y="2813288"/>
                    <a:pt x="6986928" y="2809130"/>
                  </a:cubicBezTo>
                  <a:close/>
                  <a:moveTo>
                    <a:pt x="6842802" y="2809130"/>
                  </a:moveTo>
                  <a:lnTo>
                    <a:pt x="6857708" y="2809130"/>
                  </a:lnTo>
                  <a:lnTo>
                    <a:pt x="6857708" y="3032110"/>
                  </a:lnTo>
                  <a:lnTo>
                    <a:pt x="6822420" y="3032110"/>
                  </a:lnTo>
                  <a:lnTo>
                    <a:pt x="6822420" y="2852327"/>
                  </a:lnTo>
                  <a:cubicBezTo>
                    <a:pt x="6816032" y="2856890"/>
                    <a:pt x="6809163" y="2860768"/>
                    <a:pt x="6801811" y="2863962"/>
                  </a:cubicBezTo>
                  <a:cubicBezTo>
                    <a:pt x="6794459" y="2867157"/>
                    <a:pt x="6786069" y="2869970"/>
                    <a:pt x="6776638" y="2872404"/>
                  </a:cubicBezTo>
                  <a:lnTo>
                    <a:pt x="6776638" y="2842288"/>
                  </a:lnTo>
                  <a:cubicBezTo>
                    <a:pt x="6782519" y="2840362"/>
                    <a:pt x="6788198" y="2838334"/>
                    <a:pt x="6793673" y="2836204"/>
                  </a:cubicBezTo>
                  <a:cubicBezTo>
                    <a:pt x="6799149" y="2834075"/>
                    <a:pt x="6804549" y="2831692"/>
                    <a:pt x="6809872" y="2829055"/>
                  </a:cubicBezTo>
                  <a:cubicBezTo>
                    <a:pt x="6815196" y="2826419"/>
                    <a:pt x="6820570" y="2823478"/>
                    <a:pt x="6825995" y="2820234"/>
                  </a:cubicBezTo>
                  <a:cubicBezTo>
                    <a:pt x="6831420" y="2816989"/>
                    <a:pt x="6837022" y="2813288"/>
                    <a:pt x="6842802" y="2809130"/>
                  </a:cubicBezTo>
                  <a:close/>
                  <a:moveTo>
                    <a:pt x="5862574" y="2809130"/>
                  </a:moveTo>
                  <a:lnTo>
                    <a:pt x="5877481" y="2809130"/>
                  </a:lnTo>
                  <a:lnTo>
                    <a:pt x="5877481" y="3032110"/>
                  </a:lnTo>
                  <a:lnTo>
                    <a:pt x="5842193" y="3032110"/>
                  </a:lnTo>
                  <a:lnTo>
                    <a:pt x="5842193" y="2852327"/>
                  </a:lnTo>
                  <a:cubicBezTo>
                    <a:pt x="5835804" y="2856890"/>
                    <a:pt x="5828935" y="2860768"/>
                    <a:pt x="5821582" y="2863962"/>
                  </a:cubicBezTo>
                  <a:cubicBezTo>
                    <a:pt x="5814233" y="2867157"/>
                    <a:pt x="5805841" y="2869970"/>
                    <a:pt x="5796410" y="2872404"/>
                  </a:cubicBezTo>
                  <a:lnTo>
                    <a:pt x="5796410" y="2842288"/>
                  </a:lnTo>
                  <a:cubicBezTo>
                    <a:pt x="5802292" y="2840362"/>
                    <a:pt x="5807970" y="2838334"/>
                    <a:pt x="5813446" y="2836204"/>
                  </a:cubicBezTo>
                  <a:cubicBezTo>
                    <a:pt x="5818922" y="2834075"/>
                    <a:pt x="5824321" y="2831692"/>
                    <a:pt x="5829644" y="2829055"/>
                  </a:cubicBezTo>
                  <a:cubicBezTo>
                    <a:pt x="5834968" y="2826419"/>
                    <a:pt x="5840342" y="2823478"/>
                    <a:pt x="5845767" y="2820234"/>
                  </a:cubicBezTo>
                  <a:cubicBezTo>
                    <a:pt x="5851192" y="2816989"/>
                    <a:pt x="5856795" y="2813288"/>
                    <a:pt x="5862574" y="2809130"/>
                  </a:cubicBezTo>
                  <a:close/>
                  <a:moveTo>
                    <a:pt x="5479705" y="2809130"/>
                  </a:moveTo>
                  <a:lnTo>
                    <a:pt x="5494614" y="2809130"/>
                  </a:lnTo>
                  <a:lnTo>
                    <a:pt x="5494614" y="3032110"/>
                  </a:lnTo>
                  <a:lnTo>
                    <a:pt x="5459325" y="3032110"/>
                  </a:lnTo>
                  <a:lnTo>
                    <a:pt x="5459325" y="2852327"/>
                  </a:lnTo>
                  <a:cubicBezTo>
                    <a:pt x="5452937" y="2856890"/>
                    <a:pt x="5446067" y="2860768"/>
                    <a:pt x="5438715" y="2863962"/>
                  </a:cubicBezTo>
                  <a:cubicBezTo>
                    <a:pt x="5431364" y="2867157"/>
                    <a:pt x="5422973" y="2869970"/>
                    <a:pt x="5413543" y="2872404"/>
                  </a:cubicBezTo>
                  <a:lnTo>
                    <a:pt x="5413543" y="2842288"/>
                  </a:lnTo>
                  <a:cubicBezTo>
                    <a:pt x="5419424" y="2840362"/>
                    <a:pt x="5425102" y="2838334"/>
                    <a:pt x="5430578" y="2836204"/>
                  </a:cubicBezTo>
                  <a:cubicBezTo>
                    <a:pt x="5436054" y="2834075"/>
                    <a:pt x="5441453" y="2831692"/>
                    <a:pt x="5446777" y="2829055"/>
                  </a:cubicBezTo>
                  <a:cubicBezTo>
                    <a:pt x="5452100" y="2826419"/>
                    <a:pt x="5457475" y="2823478"/>
                    <a:pt x="5462899" y="2820234"/>
                  </a:cubicBezTo>
                  <a:cubicBezTo>
                    <a:pt x="5468325" y="2816989"/>
                    <a:pt x="5473927" y="2813288"/>
                    <a:pt x="5479705" y="2809130"/>
                  </a:cubicBezTo>
                  <a:close/>
                  <a:moveTo>
                    <a:pt x="5335580" y="2809130"/>
                  </a:moveTo>
                  <a:lnTo>
                    <a:pt x="5350487" y="2809130"/>
                  </a:lnTo>
                  <a:lnTo>
                    <a:pt x="5350487" y="3032110"/>
                  </a:lnTo>
                  <a:lnTo>
                    <a:pt x="5315200" y="3032110"/>
                  </a:lnTo>
                  <a:lnTo>
                    <a:pt x="5315200" y="2852327"/>
                  </a:lnTo>
                  <a:cubicBezTo>
                    <a:pt x="5308811" y="2856890"/>
                    <a:pt x="5301941" y="2860768"/>
                    <a:pt x="5294589" y="2863962"/>
                  </a:cubicBezTo>
                  <a:cubicBezTo>
                    <a:pt x="5287238" y="2867157"/>
                    <a:pt x="5278847" y="2869970"/>
                    <a:pt x="5269417" y="2872404"/>
                  </a:cubicBezTo>
                  <a:lnTo>
                    <a:pt x="5269417" y="2842288"/>
                  </a:lnTo>
                  <a:cubicBezTo>
                    <a:pt x="5275298" y="2840362"/>
                    <a:pt x="5280977" y="2838334"/>
                    <a:pt x="5286452" y="2836204"/>
                  </a:cubicBezTo>
                  <a:cubicBezTo>
                    <a:pt x="5291928" y="2834075"/>
                    <a:pt x="5297327" y="2831692"/>
                    <a:pt x="5302652" y="2829055"/>
                  </a:cubicBezTo>
                  <a:cubicBezTo>
                    <a:pt x="5307974" y="2826419"/>
                    <a:pt x="5313349" y="2823478"/>
                    <a:pt x="5318773" y="2820234"/>
                  </a:cubicBezTo>
                  <a:cubicBezTo>
                    <a:pt x="5324198" y="2816989"/>
                    <a:pt x="5329801" y="2813288"/>
                    <a:pt x="5335580" y="2809130"/>
                  </a:cubicBezTo>
                  <a:close/>
                  <a:moveTo>
                    <a:pt x="5191455" y="2809130"/>
                  </a:moveTo>
                  <a:lnTo>
                    <a:pt x="5206362" y="2809130"/>
                  </a:lnTo>
                  <a:lnTo>
                    <a:pt x="5206362" y="3032110"/>
                  </a:lnTo>
                  <a:lnTo>
                    <a:pt x="5171074" y="3032110"/>
                  </a:lnTo>
                  <a:lnTo>
                    <a:pt x="5171074" y="2852327"/>
                  </a:lnTo>
                  <a:cubicBezTo>
                    <a:pt x="5164686" y="2856890"/>
                    <a:pt x="5157816" y="2860768"/>
                    <a:pt x="5150464" y="2863962"/>
                  </a:cubicBezTo>
                  <a:cubicBezTo>
                    <a:pt x="5143114" y="2867157"/>
                    <a:pt x="5134722" y="2869970"/>
                    <a:pt x="5125292" y="2872404"/>
                  </a:cubicBezTo>
                  <a:lnTo>
                    <a:pt x="5125292" y="2842288"/>
                  </a:lnTo>
                  <a:cubicBezTo>
                    <a:pt x="5131172" y="2840362"/>
                    <a:pt x="5136851" y="2838334"/>
                    <a:pt x="5142326" y="2836204"/>
                  </a:cubicBezTo>
                  <a:cubicBezTo>
                    <a:pt x="5147803" y="2834075"/>
                    <a:pt x="5153202" y="2831692"/>
                    <a:pt x="5158526" y="2829055"/>
                  </a:cubicBezTo>
                  <a:cubicBezTo>
                    <a:pt x="5163849" y="2826419"/>
                    <a:pt x="5169223" y="2823478"/>
                    <a:pt x="5174648" y="2820234"/>
                  </a:cubicBezTo>
                  <a:cubicBezTo>
                    <a:pt x="5180074" y="2816989"/>
                    <a:pt x="5185676" y="2813288"/>
                    <a:pt x="5191455" y="2809130"/>
                  </a:cubicBezTo>
                  <a:close/>
                  <a:moveTo>
                    <a:pt x="5047330" y="2809130"/>
                  </a:moveTo>
                  <a:lnTo>
                    <a:pt x="5062237" y="2809130"/>
                  </a:lnTo>
                  <a:lnTo>
                    <a:pt x="5062237" y="3032110"/>
                  </a:lnTo>
                  <a:lnTo>
                    <a:pt x="5026949" y="3032110"/>
                  </a:lnTo>
                  <a:lnTo>
                    <a:pt x="5026949" y="2852327"/>
                  </a:lnTo>
                  <a:cubicBezTo>
                    <a:pt x="5020561" y="2856890"/>
                    <a:pt x="5013691" y="2860768"/>
                    <a:pt x="5006339" y="2863962"/>
                  </a:cubicBezTo>
                  <a:cubicBezTo>
                    <a:pt x="4998988" y="2867157"/>
                    <a:pt x="4990597" y="2869970"/>
                    <a:pt x="4981168" y="2872404"/>
                  </a:cubicBezTo>
                  <a:lnTo>
                    <a:pt x="4981168" y="2842288"/>
                  </a:lnTo>
                  <a:cubicBezTo>
                    <a:pt x="4987047" y="2840362"/>
                    <a:pt x="4992726" y="2838334"/>
                    <a:pt x="4998201" y="2836204"/>
                  </a:cubicBezTo>
                  <a:cubicBezTo>
                    <a:pt x="5003678" y="2834075"/>
                    <a:pt x="5009078" y="2831692"/>
                    <a:pt x="5014401" y="2829055"/>
                  </a:cubicBezTo>
                  <a:cubicBezTo>
                    <a:pt x="5019724" y="2826419"/>
                    <a:pt x="5025099" y="2823478"/>
                    <a:pt x="5030524" y="2820234"/>
                  </a:cubicBezTo>
                  <a:cubicBezTo>
                    <a:pt x="5035950" y="2816989"/>
                    <a:pt x="5041550" y="2813288"/>
                    <a:pt x="5047330" y="2809130"/>
                  </a:cubicBezTo>
                  <a:close/>
                  <a:moveTo>
                    <a:pt x="4903206" y="2809130"/>
                  </a:moveTo>
                  <a:lnTo>
                    <a:pt x="4918113" y="2809130"/>
                  </a:lnTo>
                  <a:lnTo>
                    <a:pt x="4918113" y="3032110"/>
                  </a:lnTo>
                  <a:lnTo>
                    <a:pt x="4882824" y="3032110"/>
                  </a:lnTo>
                  <a:lnTo>
                    <a:pt x="4882824" y="2852327"/>
                  </a:lnTo>
                  <a:cubicBezTo>
                    <a:pt x="4876437" y="2856890"/>
                    <a:pt x="4869567" y="2860768"/>
                    <a:pt x="4862214" y="2863962"/>
                  </a:cubicBezTo>
                  <a:cubicBezTo>
                    <a:pt x="4854863" y="2867157"/>
                    <a:pt x="4846471" y="2869970"/>
                    <a:pt x="4837041" y="2872404"/>
                  </a:cubicBezTo>
                  <a:lnTo>
                    <a:pt x="4837041" y="2842288"/>
                  </a:lnTo>
                  <a:cubicBezTo>
                    <a:pt x="4842923" y="2840362"/>
                    <a:pt x="4848601" y="2838334"/>
                    <a:pt x="4854077" y="2836204"/>
                  </a:cubicBezTo>
                  <a:cubicBezTo>
                    <a:pt x="4859552" y="2834075"/>
                    <a:pt x="4864952" y="2831692"/>
                    <a:pt x="4870276" y="2829055"/>
                  </a:cubicBezTo>
                  <a:cubicBezTo>
                    <a:pt x="4875598" y="2826419"/>
                    <a:pt x="4880975" y="2823478"/>
                    <a:pt x="4886398" y="2820234"/>
                  </a:cubicBezTo>
                  <a:cubicBezTo>
                    <a:pt x="4891825" y="2816989"/>
                    <a:pt x="4897426" y="2813288"/>
                    <a:pt x="4903206" y="2809130"/>
                  </a:cubicBezTo>
                  <a:close/>
                  <a:moveTo>
                    <a:pt x="4514973" y="2809130"/>
                  </a:moveTo>
                  <a:lnTo>
                    <a:pt x="4529879" y="2809130"/>
                  </a:lnTo>
                  <a:lnTo>
                    <a:pt x="4529879" y="3032110"/>
                  </a:lnTo>
                  <a:lnTo>
                    <a:pt x="4494591" y="3032110"/>
                  </a:lnTo>
                  <a:lnTo>
                    <a:pt x="4494591" y="2852327"/>
                  </a:lnTo>
                  <a:cubicBezTo>
                    <a:pt x="4488203" y="2856890"/>
                    <a:pt x="4481333" y="2860768"/>
                    <a:pt x="4473982" y="2863962"/>
                  </a:cubicBezTo>
                  <a:cubicBezTo>
                    <a:pt x="4466630" y="2867157"/>
                    <a:pt x="4458240" y="2869970"/>
                    <a:pt x="4448809" y="2872404"/>
                  </a:cubicBezTo>
                  <a:lnTo>
                    <a:pt x="4448809" y="2842288"/>
                  </a:lnTo>
                  <a:cubicBezTo>
                    <a:pt x="4454690" y="2840362"/>
                    <a:pt x="4460369" y="2838334"/>
                    <a:pt x="4465844" y="2836204"/>
                  </a:cubicBezTo>
                  <a:cubicBezTo>
                    <a:pt x="4471320" y="2834075"/>
                    <a:pt x="4476719" y="2831692"/>
                    <a:pt x="4482043" y="2829055"/>
                  </a:cubicBezTo>
                  <a:cubicBezTo>
                    <a:pt x="4487367" y="2826419"/>
                    <a:pt x="4492741" y="2823478"/>
                    <a:pt x="4498166" y="2820234"/>
                  </a:cubicBezTo>
                  <a:cubicBezTo>
                    <a:pt x="4503591" y="2816989"/>
                    <a:pt x="4509192" y="2813288"/>
                    <a:pt x="4514973" y="2809130"/>
                  </a:cubicBezTo>
                  <a:close/>
                  <a:moveTo>
                    <a:pt x="4248864" y="2809130"/>
                  </a:moveTo>
                  <a:lnTo>
                    <a:pt x="4263771" y="2809130"/>
                  </a:lnTo>
                  <a:lnTo>
                    <a:pt x="4263771" y="3032110"/>
                  </a:lnTo>
                  <a:lnTo>
                    <a:pt x="4228483" y="3032110"/>
                  </a:lnTo>
                  <a:lnTo>
                    <a:pt x="4228483" y="2852327"/>
                  </a:lnTo>
                  <a:cubicBezTo>
                    <a:pt x="4222095" y="2856890"/>
                    <a:pt x="4215226" y="2860768"/>
                    <a:pt x="4207874" y="2863962"/>
                  </a:cubicBezTo>
                  <a:cubicBezTo>
                    <a:pt x="4200521" y="2867157"/>
                    <a:pt x="4192131" y="2869970"/>
                    <a:pt x="4182701" y="2872404"/>
                  </a:cubicBezTo>
                  <a:lnTo>
                    <a:pt x="4182701" y="2842288"/>
                  </a:lnTo>
                  <a:cubicBezTo>
                    <a:pt x="4188582" y="2840362"/>
                    <a:pt x="4194260" y="2838334"/>
                    <a:pt x="4199736" y="2836204"/>
                  </a:cubicBezTo>
                  <a:cubicBezTo>
                    <a:pt x="4205212" y="2834075"/>
                    <a:pt x="4210612" y="2831692"/>
                    <a:pt x="4215934" y="2829055"/>
                  </a:cubicBezTo>
                  <a:cubicBezTo>
                    <a:pt x="4221259" y="2826419"/>
                    <a:pt x="4226632" y="2823478"/>
                    <a:pt x="4232057" y="2820234"/>
                  </a:cubicBezTo>
                  <a:cubicBezTo>
                    <a:pt x="4237483" y="2816989"/>
                    <a:pt x="4243085" y="2813288"/>
                    <a:pt x="4248864" y="2809130"/>
                  </a:cubicBezTo>
                  <a:close/>
                  <a:moveTo>
                    <a:pt x="3637267" y="2809130"/>
                  </a:moveTo>
                  <a:lnTo>
                    <a:pt x="3652173" y="2809130"/>
                  </a:lnTo>
                  <a:lnTo>
                    <a:pt x="3652173" y="3032110"/>
                  </a:lnTo>
                  <a:lnTo>
                    <a:pt x="3616885" y="3032110"/>
                  </a:lnTo>
                  <a:lnTo>
                    <a:pt x="3616885" y="2852327"/>
                  </a:lnTo>
                  <a:cubicBezTo>
                    <a:pt x="3610497" y="2856890"/>
                    <a:pt x="3603627" y="2860768"/>
                    <a:pt x="3596276" y="2863962"/>
                  </a:cubicBezTo>
                  <a:cubicBezTo>
                    <a:pt x="3588924" y="2867157"/>
                    <a:pt x="3580532" y="2869970"/>
                    <a:pt x="3571102" y="2872404"/>
                  </a:cubicBezTo>
                  <a:lnTo>
                    <a:pt x="3571102" y="2842288"/>
                  </a:lnTo>
                  <a:cubicBezTo>
                    <a:pt x="3576983" y="2840362"/>
                    <a:pt x="3582663" y="2838334"/>
                    <a:pt x="3588139" y="2836204"/>
                  </a:cubicBezTo>
                  <a:cubicBezTo>
                    <a:pt x="3593613" y="2834075"/>
                    <a:pt x="3599013" y="2831692"/>
                    <a:pt x="3604337" y="2829055"/>
                  </a:cubicBezTo>
                  <a:cubicBezTo>
                    <a:pt x="3609661" y="2826419"/>
                    <a:pt x="3615035" y="2823478"/>
                    <a:pt x="3620459" y="2820234"/>
                  </a:cubicBezTo>
                  <a:cubicBezTo>
                    <a:pt x="3625884" y="2816989"/>
                    <a:pt x="3631486" y="2813288"/>
                    <a:pt x="3637267" y="2809130"/>
                  </a:cubicBezTo>
                  <a:close/>
                  <a:moveTo>
                    <a:pt x="3371159" y="2809130"/>
                  </a:moveTo>
                  <a:lnTo>
                    <a:pt x="3386065" y="2809130"/>
                  </a:lnTo>
                  <a:lnTo>
                    <a:pt x="3386065" y="3032110"/>
                  </a:lnTo>
                  <a:lnTo>
                    <a:pt x="3350777" y="3032110"/>
                  </a:lnTo>
                  <a:lnTo>
                    <a:pt x="3350777" y="2852327"/>
                  </a:lnTo>
                  <a:cubicBezTo>
                    <a:pt x="3344390" y="2856890"/>
                    <a:pt x="3337519" y="2860768"/>
                    <a:pt x="3330168" y="2863962"/>
                  </a:cubicBezTo>
                  <a:cubicBezTo>
                    <a:pt x="3322816" y="2867157"/>
                    <a:pt x="3314425" y="2869970"/>
                    <a:pt x="3304995" y="2872404"/>
                  </a:cubicBezTo>
                  <a:lnTo>
                    <a:pt x="3304995" y="2842288"/>
                  </a:lnTo>
                  <a:cubicBezTo>
                    <a:pt x="3310876" y="2840362"/>
                    <a:pt x="3316555" y="2838334"/>
                    <a:pt x="3322030" y="2836204"/>
                  </a:cubicBezTo>
                  <a:cubicBezTo>
                    <a:pt x="3327507" y="2834075"/>
                    <a:pt x="3332905" y="2831692"/>
                    <a:pt x="3338229" y="2829055"/>
                  </a:cubicBezTo>
                  <a:cubicBezTo>
                    <a:pt x="3343554" y="2826419"/>
                    <a:pt x="3348927" y="2823478"/>
                    <a:pt x="3354351" y="2820234"/>
                  </a:cubicBezTo>
                  <a:cubicBezTo>
                    <a:pt x="3359778" y="2816989"/>
                    <a:pt x="3365379" y="2813288"/>
                    <a:pt x="3371159" y="2809130"/>
                  </a:cubicBezTo>
                  <a:close/>
                  <a:moveTo>
                    <a:pt x="2764812" y="2809130"/>
                  </a:moveTo>
                  <a:lnTo>
                    <a:pt x="2779718" y="2809130"/>
                  </a:lnTo>
                  <a:lnTo>
                    <a:pt x="2779718" y="3032110"/>
                  </a:lnTo>
                  <a:lnTo>
                    <a:pt x="2744430" y="3032110"/>
                  </a:lnTo>
                  <a:lnTo>
                    <a:pt x="2744430" y="2852327"/>
                  </a:lnTo>
                  <a:cubicBezTo>
                    <a:pt x="2738042" y="2856890"/>
                    <a:pt x="2731172" y="2860768"/>
                    <a:pt x="2723821" y="2863962"/>
                  </a:cubicBezTo>
                  <a:cubicBezTo>
                    <a:pt x="2716469" y="2867157"/>
                    <a:pt x="2708078" y="2869970"/>
                    <a:pt x="2698648" y="2872404"/>
                  </a:cubicBezTo>
                  <a:lnTo>
                    <a:pt x="2698648" y="2842288"/>
                  </a:lnTo>
                  <a:cubicBezTo>
                    <a:pt x="2704529" y="2840362"/>
                    <a:pt x="2710208" y="2838334"/>
                    <a:pt x="2715683" y="2836204"/>
                  </a:cubicBezTo>
                  <a:cubicBezTo>
                    <a:pt x="2721159" y="2834075"/>
                    <a:pt x="2726558" y="2831692"/>
                    <a:pt x="2731882" y="2829055"/>
                  </a:cubicBezTo>
                  <a:cubicBezTo>
                    <a:pt x="2737206" y="2826419"/>
                    <a:pt x="2742580" y="2823478"/>
                    <a:pt x="2748004" y="2820234"/>
                  </a:cubicBezTo>
                  <a:cubicBezTo>
                    <a:pt x="2753430" y="2816989"/>
                    <a:pt x="2759032" y="2813288"/>
                    <a:pt x="2764812" y="2809130"/>
                  </a:cubicBezTo>
                  <a:close/>
                  <a:moveTo>
                    <a:pt x="2498704" y="2809130"/>
                  </a:moveTo>
                  <a:lnTo>
                    <a:pt x="2513610" y="2809130"/>
                  </a:lnTo>
                  <a:lnTo>
                    <a:pt x="2513610" y="3032110"/>
                  </a:lnTo>
                  <a:lnTo>
                    <a:pt x="2478322" y="3032110"/>
                  </a:lnTo>
                  <a:lnTo>
                    <a:pt x="2478322" y="2852327"/>
                  </a:lnTo>
                  <a:cubicBezTo>
                    <a:pt x="2471934" y="2856890"/>
                    <a:pt x="2465064" y="2860768"/>
                    <a:pt x="2457713" y="2863962"/>
                  </a:cubicBezTo>
                  <a:cubicBezTo>
                    <a:pt x="2450361" y="2867157"/>
                    <a:pt x="2441970" y="2869970"/>
                    <a:pt x="2432540" y="2872404"/>
                  </a:cubicBezTo>
                  <a:lnTo>
                    <a:pt x="2432540" y="2842288"/>
                  </a:lnTo>
                  <a:cubicBezTo>
                    <a:pt x="2438421" y="2840362"/>
                    <a:pt x="2444100" y="2838334"/>
                    <a:pt x="2449575" y="2836204"/>
                  </a:cubicBezTo>
                  <a:cubicBezTo>
                    <a:pt x="2455051" y="2834075"/>
                    <a:pt x="2460450" y="2831692"/>
                    <a:pt x="2465774" y="2829055"/>
                  </a:cubicBezTo>
                  <a:cubicBezTo>
                    <a:pt x="2471098" y="2826419"/>
                    <a:pt x="2476472" y="2823478"/>
                    <a:pt x="2481896" y="2820234"/>
                  </a:cubicBezTo>
                  <a:cubicBezTo>
                    <a:pt x="2487322" y="2816989"/>
                    <a:pt x="2492924" y="2813288"/>
                    <a:pt x="2498704" y="2809130"/>
                  </a:cubicBezTo>
                  <a:close/>
                  <a:moveTo>
                    <a:pt x="2086937" y="2809130"/>
                  </a:moveTo>
                  <a:lnTo>
                    <a:pt x="2101843" y="2809130"/>
                  </a:lnTo>
                  <a:lnTo>
                    <a:pt x="2101843" y="3032110"/>
                  </a:lnTo>
                  <a:lnTo>
                    <a:pt x="2066555" y="3032110"/>
                  </a:lnTo>
                  <a:lnTo>
                    <a:pt x="2066555" y="2852327"/>
                  </a:lnTo>
                  <a:cubicBezTo>
                    <a:pt x="2060167" y="2856890"/>
                    <a:pt x="2053297" y="2860768"/>
                    <a:pt x="2045946" y="2863962"/>
                  </a:cubicBezTo>
                  <a:cubicBezTo>
                    <a:pt x="2038594" y="2867157"/>
                    <a:pt x="2030203" y="2869970"/>
                    <a:pt x="2020773" y="2872404"/>
                  </a:cubicBezTo>
                  <a:lnTo>
                    <a:pt x="2020773" y="2842288"/>
                  </a:lnTo>
                  <a:cubicBezTo>
                    <a:pt x="2026654" y="2840362"/>
                    <a:pt x="2032333" y="2838334"/>
                    <a:pt x="2037808" y="2836204"/>
                  </a:cubicBezTo>
                  <a:cubicBezTo>
                    <a:pt x="2043284" y="2834075"/>
                    <a:pt x="2048684" y="2831692"/>
                    <a:pt x="2054007" y="2829055"/>
                  </a:cubicBezTo>
                  <a:cubicBezTo>
                    <a:pt x="2059331" y="2826419"/>
                    <a:pt x="2064705" y="2823478"/>
                    <a:pt x="2070129" y="2820234"/>
                  </a:cubicBezTo>
                  <a:cubicBezTo>
                    <a:pt x="2075555" y="2816989"/>
                    <a:pt x="2081157" y="2813288"/>
                    <a:pt x="2086937" y="2809130"/>
                  </a:cubicBezTo>
                  <a:close/>
                  <a:moveTo>
                    <a:pt x="1953883" y="2809130"/>
                  </a:moveTo>
                  <a:lnTo>
                    <a:pt x="1968789" y="2809130"/>
                  </a:lnTo>
                  <a:lnTo>
                    <a:pt x="1968789" y="3032110"/>
                  </a:lnTo>
                  <a:lnTo>
                    <a:pt x="1933501" y="3032110"/>
                  </a:lnTo>
                  <a:lnTo>
                    <a:pt x="1933501" y="2852327"/>
                  </a:lnTo>
                  <a:cubicBezTo>
                    <a:pt x="1927113" y="2856890"/>
                    <a:pt x="1920243" y="2860768"/>
                    <a:pt x="1912892" y="2863962"/>
                  </a:cubicBezTo>
                  <a:cubicBezTo>
                    <a:pt x="1905540" y="2867157"/>
                    <a:pt x="1897149" y="2869970"/>
                    <a:pt x="1887719" y="2872404"/>
                  </a:cubicBezTo>
                  <a:lnTo>
                    <a:pt x="1887719" y="2842288"/>
                  </a:lnTo>
                  <a:cubicBezTo>
                    <a:pt x="1893600" y="2840362"/>
                    <a:pt x="1899279" y="2838334"/>
                    <a:pt x="1904754" y="2836204"/>
                  </a:cubicBezTo>
                  <a:cubicBezTo>
                    <a:pt x="1910230" y="2834075"/>
                    <a:pt x="1915630" y="2831692"/>
                    <a:pt x="1920953" y="2829055"/>
                  </a:cubicBezTo>
                  <a:cubicBezTo>
                    <a:pt x="1926277" y="2826419"/>
                    <a:pt x="1931651" y="2823478"/>
                    <a:pt x="1937075" y="2820234"/>
                  </a:cubicBezTo>
                  <a:cubicBezTo>
                    <a:pt x="1942501" y="2816989"/>
                    <a:pt x="1948103" y="2813288"/>
                    <a:pt x="1953883" y="2809130"/>
                  </a:cubicBezTo>
                  <a:close/>
                  <a:moveTo>
                    <a:pt x="1820829" y="2809130"/>
                  </a:moveTo>
                  <a:lnTo>
                    <a:pt x="1835735" y="2809130"/>
                  </a:lnTo>
                  <a:lnTo>
                    <a:pt x="1835735" y="3032110"/>
                  </a:lnTo>
                  <a:lnTo>
                    <a:pt x="1800447" y="3032110"/>
                  </a:lnTo>
                  <a:lnTo>
                    <a:pt x="1800447" y="2852327"/>
                  </a:lnTo>
                  <a:cubicBezTo>
                    <a:pt x="1794059" y="2856890"/>
                    <a:pt x="1787189" y="2860768"/>
                    <a:pt x="1779838" y="2863962"/>
                  </a:cubicBezTo>
                  <a:cubicBezTo>
                    <a:pt x="1772486" y="2867157"/>
                    <a:pt x="1764095" y="2869970"/>
                    <a:pt x="1754665" y="2872404"/>
                  </a:cubicBezTo>
                  <a:lnTo>
                    <a:pt x="1754665" y="2842288"/>
                  </a:lnTo>
                  <a:cubicBezTo>
                    <a:pt x="1760546" y="2840362"/>
                    <a:pt x="1766225" y="2838334"/>
                    <a:pt x="1771700" y="2836204"/>
                  </a:cubicBezTo>
                  <a:cubicBezTo>
                    <a:pt x="1777176" y="2834075"/>
                    <a:pt x="1782576" y="2831692"/>
                    <a:pt x="1787899" y="2829055"/>
                  </a:cubicBezTo>
                  <a:cubicBezTo>
                    <a:pt x="1793223" y="2826419"/>
                    <a:pt x="1798597" y="2823478"/>
                    <a:pt x="1804022" y="2820234"/>
                  </a:cubicBezTo>
                  <a:cubicBezTo>
                    <a:pt x="1809447" y="2816989"/>
                    <a:pt x="1815049" y="2813288"/>
                    <a:pt x="1820829" y="2809130"/>
                  </a:cubicBezTo>
                  <a:close/>
                  <a:moveTo>
                    <a:pt x="1678217" y="2809130"/>
                  </a:moveTo>
                  <a:lnTo>
                    <a:pt x="1693123" y="2809130"/>
                  </a:lnTo>
                  <a:lnTo>
                    <a:pt x="1693123" y="3032110"/>
                  </a:lnTo>
                  <a:lnTo>
                    <a:pt x="1657835" y="3032110"/>
                  </a:lnTo>
                  <a:lnTo>
                    <a:pt x="1657835" y="2852327"/>
                  </a:lnTo>
                  <a:cubicBezTo>
                    <a:pt x="1651447" y="2856890"/>
                    <a:pt x="1644577" y="2860768"/>
                    <a:pt x="1637226" y="2863962"/>
                  </a:cubicBezTo>
                  <a:cubicBezTo>
                    <a:pt x="1629874" y="2867157"/>
                    <a:pt x="1621483" y="2869970"/>
                    <a:pt x="1612053" y="2872404"/>
                  </a:cubicBezTo>
                  <a:lnTo>
                    <a:pt x="1612053" y="2842288"/>
                  </a:lnTo>
                  <a:cubicBezTo>
                    <a:pt x="1617934" y="2840362"/>
                    <a:pt x="1623613" y="2838334"/>
                    <a:pt x="1629088" y="2836204"/>
                  </a:cubicBezTo>
                  <a:cubicBezTo>
                    <a:pt x="1634564" y="2834075"/>
                    <a:pt x="1639964" y="2831692"/>
                    <a:pt x="1645287" y="2829055"/>
                  </a:cubicBezTo>
                  <a:cubicBezTo>
                    <a:pt x="1650611" y="2826419"/>
                    <a:pt x="1655985" y="2823478"/>
                    <a:pt x="1661410" y="2820234"/>
                  </a:cubicBezTo>
                  <a:cubicBezTo>
                    <a:pt x="1666835" y="2816989"/>
                    <a:pt x="1672437" y="2813288"/>
                    <a:pt x="1678217" y="2809130"/>
                  </a:cubicBezTo>
                  <a:close/>
                  <a:moveTo>
                    <a:pt x="922825" y="2809130"/>
                  </a:moveTo>
                  <a:lnTo>
                    <a:pt x="937731" y="2809130"/>
                  </a:lnTo>
                  <a:lnTo>
                    <a:pt x="937731" y="3032110"/>
                  </a:lnTo>
                  <a:lnTo>
                    <a:pt x="902443" y="3032110"/>
                  </a:lnTo>
                  <a:lnTo>
                    <a:pt x="902443" y="2852327"/>
                  </a:lnTo>
                  <a:cubicBezTo>
                    <a:pt x="896055" y="2856890"/>
                    <a:pt x="889185" y="2860768"/>
                    <a:pt x="881834" y="2863962"/>
                  </a:cubicBezTo>
                  <a:cubicBezTo>
                    <a:pt x="874482" y="2867157"/>
                    <a:pt x="866091" y="2869970"/>
                    <a:pt x="856661" y="2872404"/>
                  </a:cubicBezTo>
                  <a:lnTo>
                    <a:pt x="856661" y="2842288"/>
                  </a:lnTo>
                  <a:cubicBezTo>
                    <a:pt x="862542" y="2840362"/>
                    <a:pt x="868221" y="2838334"/>
                    <a:pt x="873696" y="2836204"/>
                  </a:cubicBezTo>
                  <a:cubicBezTo>
                    <a:pt x="879172" y="2834075"/>
                    <a:pt x="884572" y="2831692"/>
                    <a:pt x="889895" y="2829055"/>
                  </a:cubicBezTo>
                  <a:cubicBezTo>
                    <a:pt x="895219" y="2826419"/>
                    <a:pt x="900593" y="2823478"/>
                    <a:pt x="906018" y="2820234"/>
                  </a:cubicBezTo>
                  <a:cubicBezTo>
                    <a:pt x="911443" y="2816989"/>
                    <a:pt x="917045" y="2813288"/>
                    <a:pt x="922825" y="2809130"/>
                  </a:cubicBezTo>
                  <a:close/>
                  <a:moveTo>
                    <a:pt x="789771" y="2809130"/>
                  </a:moveTo>
                  <a:lnTo>
                    <a:pt x="804677" y="2809130"/>
                  </a:lnTo>
                  <a:lnTo>
                    <a:pt x="804677" y="3032110"/>
                  </a:lnTo>
                  <a:lnTo>
                    <a:pt x="769389" y="3032110"/>
                  </a:lnTo>
                  <a:lnTo>
                    <a:pt x="769389" y="2852327"/>
                  </a:lnTo>
                  <a:cubicBezTo>
                    <a:pt x="763001" y="2856890"/>
                    <a:pt x="756131" y="2860768"/>
                    <a:pt x="748780" y="2863962"/>
                  </a:cubicBezTo>
                  <a:cubicBezTo>
                    <a:pt x="741428" y="2867157"/>
                    <a:pt x="733037" y="2869970"/>
                    <a:pt x="723607" y="2872404"/>
                  </a:cubicBezTo>
                  <a:lnTo>
                    <a:pt x="723607" y="2842288"/>
                  </a:lnTo>
                  <a:cubicBezTo>
                    <a:pt x="729488" y="2840362"/>
                    <a:pt x="735167" y="2838334"/>
                    <a:pt x="740642" y="2836204"/>
                  </a:cubicBezTo>
                  <a:cubicBezTo>
                    <a:pt x="746118" y="2834075"/>
                    <a:pt x="751518" y="2831692"/>
                    <a:pt x="756841" y="2829055"/>
                  </a:cubicBezTo>
                  <a:cubicBezTo>
                    <a:pt x="762165" y="2826419"/>
                    <a:pt x="767539" y="2823478"/>
                    <a:pt x="772964" y="2820234"/>
                  </a:cubicBezTo>
                  <a:cubicBezTo>
                    <a:pt x="778389" y="2816989"/>
                    <a:pt x="783991" y="2813288"/>
                    <a:pt x="789771" y="2809130"/>
                  </a:cubicBezTo>
                  <a:close/>
                  <a:moveTo>
                    <a:pt x="10091849" y="2809129"/>
                  </a:moveTo>
                  <a:cubicBezTo>
                    <a:pt x="10139293" y="2809129"/>
                    <a:pt x="10163016" y="2845992"/>
                    <a:pt x="10163016" y="2919717"/>
                  </a:cubicBezTo>
                  <a:cubicBezTo>
                    <a:pt x="10163016" y="2956228"/>
                    <a:pt x="10156320" y="2984088"/>
                    <a:pt x="10142930" y="3003296"/>
                  </a:cubicBezTo>
                  <a:cubicBezTo>
                    <a:pt x="10129539" y="3022505"/>
                    <a:pt x="10110807" y="3032109"/>
                    <a:pt x="10086733" y="3032109"/>
                  </a:cubicBezTo>
                  <a:cubicBezTo>
                    <a:pt x="10064265" y="3032109"/>
                    <a:pt x="10046736" y="3022931"/>
                    <a:pt x="10034148" y="3004575"/>
                  </a:cubicBezTo>
                  <a:cubicBezTo>
                    <a:pt x="10021559" y="2986219"/>
                    <a:pt x="10015265" y="2959688"/>
                    <a:pt x="10015265" y="2924983"/>
                  </a:cubicBezTo>
                  <a:cubicBezTo>
                    <a:pt x="10015265" y="2886866"/>
                    <a:pt x="10021835" y="2858029"/>
                    <a:pt x="10034975" y="2838469"/>
                  </a:cubicBezTo>
                  <a:cubicBezTo>
                    <a:pt x="10048116" y="2818909"/>
                    <a:pt x="10067073" y="2809129"/>
                    <a:pt x="10091849" y="2809129"/>
                  </a:cubicBezTo>
                  <a:close/>
                  <a:moveTo>
                    <a:pt x="9870926" y="2809129"/>
                  </a:moveTo>
                  <a:cubicBezTo>
                    <a:pt x="9918370" y="2809129"/>
                    <a:pt x="9942093" y="2845992"/>
                    <a:pt x="9942093" y="2919717"/>
                  </a:cubicBezTo>
                  <a:cubicBezTo>
                    <a:pt x="9942093" y="2956228"/>
                    <a:pt x="9935397" y="2984088"/>
                    <a:pt x="9922007" y="3003296"/>
                  </a:cubicBezTo>
                  <a:cubicBezTo>
                    <a:pt x="9908616" y="3022505"/>
                    <a:pt x="9889884" y="3032109"/>
                    <a:pt x="9865810" y="3032109"/>
                  </a:cubicBezTo>
                  <a:cubicBezTo>
                    <a:pt x="9843342" y="3032109"/>
                    <a:pt x="9825813" y="3022931"/>
                    <a:pt x="9813225" y="3004575"/>
                  </a:cubicBezTo>
                  <a:cubicBezTo>
                    <a:pt x="9800636" y="2986219"/>
                    <a:pt x="9794342" y="2959688"/>
                    <a:pt x="9794342" y="2924983"/>
                  </a:cubicBezTo>
                  <a:cubicBezTo>
                    <a:pt x="9794342" y="2886866"/>
                    <a:pt x="9800912" y="2858029"/>
                    <a:pt x="9814052" y="2838469"/>
                  </a:cubicBezTo>
                  <a:cubicBezTo>
                    <a:pt x="9827193" y="2818909"/>
                    <a:pt x="9846150" y="2809129"/>
                    <a:pt x="9870926" y="2809129"/>
                  </a:cubicBezTo>
                  <a:close/>
                  <a:moveTo>
                    <a:pt x="9209265" y="2809129"/>
                  </a:moveTo>
                  <a:cubicBezTo>
                    <a:pt x="9256709" y="2809129"/>
                    <a:pt x="9280432" y="2845992"/>
                    <a:pt x="9280432" y="2919717"/>
                  </a:cubicBezTo>
                  <a:cubicBezTo>
                    <a:pt x="9280432" y="2956228"/>
                    <a:pt x="9273736" y="2984088"/>
                    <a:pt x="9260346" y="3003296"/>
                  </a:cubicBezTo>
                  <a:cubicBezTo>
                    <a:pt x="9246955" y="3022505"/>
                    <a:pt x="9228223" y="3032109"/>
                    <a:pt x="9204149" y="3032109"/>
                  </a:cubicBezTo>
                  <a:cubicBezTo>
                    <a:pt x="9181681" y="3032109"/>
                    <a:pt x="9164152" y="3022931"/>
                    <a:pt x="9151564" y="3004575"/>
                  </a:cubicBezTo>
                  <a:cubicBezTo>
                    <a:pt x="9138975" y="2986219"/>
                    <a:pt x="9132681" y="2959688"/>
                    <a:pt x="9132681" y="2924983"/>
                  </a:cubicBezTo>
                  <a:cubicBezTo>
                    <a:pt x="9132681" y="2886866"/>
                    <a:pt x="9139251" y="2858029"/>
                    <a:pt x="9152391" y="2838469"/>
                  </a:cubicBezTo>
                  <a:cubicBezTo>
                    <a:pt x="9165532" y="2818909"/>
                    <a:pt x="9184489" y="2809129"/>
                    <a:pt x="9209265" y="2809129"/>
                  </a:cubicBezTo>
                  <a:close/>
                  <a:moveTo>
                    <a:pt x="8988342" y="2809129"/>
                  </a:moveTo>
                  <a:cubicBezTo>
                    <a:pt x="9035786" y="2809129"/>
                    <a:pt x="9059509" y="2845992"/>
                    <a:pt x="9059509" y="2919717"/>
                  </a:cubicBezTo>
                  <a:cubicBezTo>
                    <a:pt x="9059509" y="2956228"/>
                    <a:pt x="9052813" y="2984088"/>
                    <a:pt x="9039423" y="3003296"/>
                  </a:cubicBezTo>
                  <a:cubicBezTo>
                    <a:pt x="9026032" y="3022505"/>
                    <a:pt x="9007300" y="3032109"/>
                    <a:pt x="8983226" y="3032109"/>
                  </a:cubicBezTo>
                  <a:cubicBezTo>
                    <a:pt x="8960758" y="3032109"/>
                    <a:pt x="8943229" y="3022931"/>
                    <a:pt x="8930641" y="3004575"/>
                  </a:cubicBezTo>
                  <a:cubicBezTo>
                    <a:pt x="8918052" y="2986219"/>
                    <a:pt x="8911758" y="2959688"/>
                    <a:pt x="8911758" y="2924983"/>
                  </a:cubicBezTo>
                  <a:cubicBezTo>
                    <a:pt x="8911758" y="2886866"/>
                    <a:pt x="8918328" y="2858029"/>
                    <a:pt x="8931468" y="2838469"/>
                  </a:cubicBezTo>
                  <a:cubicBezTo>
                    <a:pt x="8944609" y="2818909"/>
                    <a:pt x="8963566" y="2809129"/>
                    <a:pt x="8988342" y="2809129"/>
                  </a:cubicBezTo>
                  <a:close/>
                  <a:moveTo>
                    <a:pt x="6138880" y="2809129"/>
                  </a:moveTo>
                  <a:cubicBezTo>
                    <a:pt x="6186325" y="2809129"/>
                    <a:pt x="6210047" y="2845992"/>
                    <a:pt x="6210047" y="2919717"/>
                  </a:cubicBezTo>
                  <a:cubicBezTo>
                    <a:pt x="6210047" y="2956228"/>
                    <a:pt x="6203352" y="2984088"/>
                    <a:pt x="6189961" y="3003296"/>
                  </a:cubicBezTo>
                  <a:cubicBezTo>
                    <a:pt x="6176570" y="3022505"/>
                    <a:pt x="6157838" y="3032109"/>
                    <a:pt x="6133764" y="3032109"/>
                  </a:cubicBezTo>
                  <a:cubicBezTo>
                    <a:pt x="6111296" y="3032109"/>
                    <a:pt x="6093767" y="3022931"/>
                    <a:pt x="6081179" y="3004575"/>
                  </a:cubicBezTo>
                  <a:cubicBezTo>
                    <a:pt x="6068590" y="2986219"/>
                    <a:pt x="6062296" y="2959688"/>
                    <a:pt x="6062296" y="2924983"/>
                  </a:cubicBezTo>
                  <a:cubicBezTo>
                    <a:pt x="6062296" y="2886866"/>
                    <a:pt x="6068866" y="2858029"/>
                    <a:pt x="6082006" y="2838469"/>
                  </a:cubicBezTo>
                  <a:cubicBezTo>
                    <a:pt x="6095147" y="2818909"/>
                    <a:pt x="6114104" y="2809129"/>
                    <a:pt x="6138880" y="2809129"/>
                  </a:cubicBezTo>
                  <a:close/>
                  <a:moveTo>
                    <a:pt x="4035798" y="2809129"/>
                  </a:moveTo>
                  <a:cubicBezTo>
                    <a:pt x="4083242" y="2809129"/>
                    <a:pt x="4106965" y="2845992"/>
                    <a:pt x="4106965" y="2919717"/>
                  </a:cubicBezTo>
                  <a:cubicBezTo>
                    <a:pt x="4106965" y="2956228"/>
                    <a:pt x="4100270" y="2984088"/>
                    <a:pt x="4086879" y="3003296"/>
                  </a:cubicBezTo>
                  <a:cubicBezTo>
                    <a:pt x="4073488" y="3022505"/>
                    <a:pt x="4054756" y="3032109"/>
                    <a:pt x="4030682" y="3032109"/>
                  </a:cubicBezTo>
                  <a:cubicBezTo>
                    <a:pt x="4008214" y="3032109"/>
                    <a:pt x="3990685" y="3022931"/>
                    <a:pt x="3978097" y="3004575"/>
                  </a:cubicBezTo>
                  <a:cubicBezTo>
                    <a:pt x="3965508" y="2986219"/>
                    <a:pt x="3959214" y="2959688"/>
                    <a:pt x="3959214" y="2924983"/>
                  </a:cubicBezTo>
                  <a:cubicBezTo>
                    <a:pt x="3959214" y="2886866"/>
                    <a:pt x="3965784" y="2858029"/>
                    <a:pt x="3978924" y="2838469"/>
                  </a:cubicBezTo>
                  <a:cubicBezTo>
                    <a:pt x="3992065" y="2818909"/>
                    <a:pt x="4011022" y="2809129"/>
                    <a:pt x="4035798" y="2809129"/>
                  </a:cubicBezTo>
                  <a:close/>
                  <a:moveTo>
                    <a:pt x="3814874" y="2809129"/>
                  </a:moveTo>
                  <a:cubicBezTo>
                    <a:pt x="3862319" y="2809129"/>
                    <a:pt x="3886042" y="2845992"/>
                    <a:pt x="3886042" y="2919717"/>
                  </a:cubicBezTo>
                  <a:cubicBezTo>
                    <a:pt x="3886042" y="2956228"/>
                    <a:pt x="3879345" y="2984088"/>
                    <a:pt x="3865956" y="3003296"/>
                  </a:cubicBezTo>
                  <a:cubicBezTo>
                    <a:pt x="3852564" y="3022505"/>
                    <a:pt x="3833832" y="3032109"/>
                    <a:pt x="3809759" y="3032109"/>
                  </a:cubicBezTo>
                  <a:cubicBezTo>
                    <a:pt x="3787289" y="3032109"/>
                    <a:pt x="3769762" y="3022931"/>
                    <a:pt x="3757174" y="3004575"/>
                  </a:cubicBezTo>
                  <a:cubicBezTo>
                    <a:pt x="3744585" y="2986219"/>
                    <a:pt x="3738291" y="2959688"/>
                    <a:pt x="3738291" y="2924983"/>
                  </a:cubicBezTo>
                  <a:cubicBezTo>
                    <a:pt x="3738291" y="2886866"/>
                    <a:pt x="3744861" y="2858029"/>
                    <a:pt x="3758001" y="2838469"/>
                  </a:cubicBezTo>
                  <a:cubicBezTo>
                    <a:pt x="3771141" y="2818909"/>
                    <a:pt x="3790098" y="2809129"/>
                    <a:pt x="3814874" y="2809129"/>
                  </a:cubicBezTo>
                  <a:close/>
                  <a:moveTo>
                    <a:pt x="3153215" y="2809129"/>
                  </a:moveTo>
                  <a:cubicBezTo>
                    <a:pt x="3200659" y="2809129"/>
                    <a:pt x="3224382" y="2845992"/>
                    <a:pt x="3224382" y="2919717"/>
                  </a:cubicBezTo>
                  <a:cubicBezTo>
                    <a:pt x="3224382" y="2956228"/>
                    <a:pt x="3217686" y="2984088"/>
                    <a:pt x="3204296" y="3003296"/>
                  </a:cubicBezTo>
                  <a:cubicBezTo>
                    <a:pt x="3190905" y="3022505"/>
                    <a:pt x="3172172" y="3032109"/>
                    <a:pt x="3148099" y="3032109"/>
                  </a:cubicBezTo>
                  <a:cubicBezTo>
                    <a:pt x="3125630" y="3032109"/>
                    <a:pt x="3108102" y="3022931"/>
                    <a:pt x="3095514" y="3004575"/>
                  </a:cubicBezTo>
                  <a:cubicBezTo>
                    <a:pt x="3082925" y="2986219"/>
                    <a:pt x="3076631" y="2959688"/>
                    <a:pt x="3076631" y="2924983"/>
                  </a:cubicBezTo>
                  <a:cubicBezTo>
                    <a:pt x="3076631" y="2886866"/>
                    <a:pt x="3083201" y="2858029"/>
                    <a:pt x="3096341" y="2838469"/>
                  </a:cubicBezTo>
                  <a:cubicBezTo>
                    <a:pt x="3109481" y="2818909"/>
                    <a:pt x="3128439" y="2809129"/>
                    <a:pt x="3153215" y="2809129"/>
                  </a:cubicBezTo>
                  <a:close/>
                  <a:moveTo>
                    <a:pt x="2932291" y="2809129"/>
                  </a:moveTo>
                  <a:cubicBezTo>
                    <a:pt x="2979736" y="2809129"/>
                    <a:pt x="3003459" y="2845992"/>
                    <a:pt x="3003459" y="2919717"/>
                  </a:cubicBezTo>
                  <a:cubicBezTo>
                    <a:pt x="3003459" y="2956228"/>
                    <a:pt x="2996763" y="2984088"/>
                    <a:pt x="2983373" y="3003296"/>
                  </a:cubicBezTo>
                  <a:cubicBezTo>
                    <a:pt x="2969982" y="3022505"/>
                    <a:pt x="2951249" y="3032109"/>
                    <a:pt x="2927176" y="3032109"/>
                  </a:cubicBezTo>
                  <a:cubicBezTo>
                    <a:pt x="2904707" y="3032109"/>
                    <a:pt x="2887179" y="3022931"/>
                    <a:pt x="2874591" y="3004575"/>
                  </a:cubicBezTo>
                  <a:cubicBezTo>
                    <a:pt x="2862002" y="2986219"/>
                    <a:pt x="2855708" y="2959688"/>
                    <a:pt x="2855708" y="2924983"/>
                  </a:cubicBezTo>
                  <a:cubicBezTo>
                    <a:pt x="2855708" y="2886866"/>
                    <a:pt x="2862278" y="2858029"/>
                    <a:pt x="2875418" y="2838469"/>
                  </a:cubicBezTo>
                  <a:cubicBezTo>
                    <a:pt x="2888558" y="2818909"/>
                    <a:pt x="2907515" y="2809129"/>
                    <a:pt x="2932291" y="2809129"/>
                  </a:cubicBezTo>
                  <a:close/>
                  <a:moveTo>
                    <a:pt x="79694" y="2807119"/>
                  </a:moveTo>
                  <a:cubicBezTo>
                    <a:pt x="127138" y="2807119"/>
                    <a:pt x="150861" y="2843982"/>
                    <a:pt x="150861" y="2917707"/>
                  </a:cubicBezTo>
                  <a:cubicBezTo>
                    <a:pt x="150861" y="2954218"/>
                    <a:pt x="144165" y="2982078"/>
                    <a:pt x="130775" y="3001286"/>
                  </a:cubicBezTo>
                  <a:cubicBezTo>
                    <a:pt x="117384" y="3020495"/>
                    <a:pt x="98652" y="3030099"/>
                    <a:pt x="74578" y="3030099"/>
                  </a:cubicBezTo>
                  <a:cubicBezTo>
                    <a:pt x="52110" y="3030099"/>
                    <a:pt x="34581" y="3020921"/>
                    <a:pt x="21993" y="3002565"/>
                  </a:cubicBezTo>
                  <a:cubicBezTo>
                    <a:pt x="9404" y="2984209"/>
                    <a:pt x="3110" y="2957678"/>
                    <a:pt x="3110" y="2922973"/>
                  </a:cubicBezTo>
                  <a:cubicBezTo>
                    <a:pt x="3110" y="2884856"/>
                    <a:pt x="9680" y="2856019"/>
                    <a:pt x="22820" y="2836459"/>
                  </a:cubicBezTo>
                  <a:cubicBezTo>
                    <a:pt x="35961" y="2816899"/>
                    <a:pt x="54918" y="2807119"/>
                    <a:pt x="79694" y="2807119"/>
                  </a:cubicBezTo>
                  <a:close/>
                  <a:moveTo>
                    <a:pt x="9131180" y="2508571"/>
                  </a:moveTo>
                  <a:cubicBezTo>
                    <a:pt x="9105000" y="2508571"/>
                    <a:pt x="9091910" y="2537409"/>
                    <a:pt x="9091910" y="2595085"/>
                  </a:cubicBezTo>
                  <a:cubicBezTo>
                    <a:pt x="9091910" y="2649049"/>
                    <a:pt x="9104749" y="2676032"/>
                    <a:pt x="9130428" y="2676032"/>
                  </a:cubicBezTo>
                  <a:cubicBezTo>
                    <a:pt x="9155704" y="2676032"/>
                    <a:pt x="9168343" y="2648598"/>
                    <a:pt x="9168343" y="2593731"/>
                  </a:cubicBezTo>
                  <a:cubicBezTo>
                    <a:pt x="9168343" y="2536957"/>
                    <a:pt x="9155955" y="2508571"/>
                    <a:pt x="9131180" y="2508571"/>
                  </a:cubicBezTo>
                  <a:close/>
                  <a:moveTo>
                    <a:pt x="8789423" y="2508571"/>
                  </a:moveTo>
                  <a:cubicBezTo>
                    <a:pt x="8763243" y="2508571"/>
                    <a:pt x="8750153" y="2537409"/>
                    <a:pt x="8750153" y="2595085"/>
                  </a:cubicBezTo>
                  <a:cubicBezTo>
                    <a:pt x="8750153" y="2649049"/>
                    <a:pt x="8762992" y="2676032"/>
                    <a:pt x="8788671" y="2676032"/>
                  </a:cubicBezTo>
                  <a:cubicBezTo>
                    <a:pt x="8813947" y="2676032"/>
                    <a:pt x="8826586" y="2648598"/>
                    <a:pt x="8826586" y="2593731"/>
                  </a:cubicBezTo>
                  <a:cubicBezTo>
                    <a:pt x="8826586" y="2536957"/>
                    <a:pt x="8814198" y="2508571"/>
                    <a:pt x="8789423" y="2508571"/>
                  </a:cubicBezTo>
                  <a:close/>
                  <a:moveTo>
                    <a:pt x="8088021" y="2508571"/>
                  </a:moveTo>
                  <a:cubicBezTo>
                    <a:pt x="8061841" y="2508571"/>
                    <a:pt x="8048751" y="2537409"/>
                    <a:pt x="8048751" y="2595085"/>
                  </a:cubicBezTo>
                  <a:cubicBezTo>
                    <a:pt x="8048751" y="2649049"/>
                    <a:pt x="8061590" y="2676032"/>
                    <a:pt x="8087269" y="2676032"/>
                  </a:cubicBezTo>
                  <a:cubicBezTo>
                    <a:pt x="8112546" y="2676032"/>
                    <a:pt x="8125184" y="2648598"/>
                    <a:pt x="8125184" y="2593731"/>
                  </a:cubicBezTo>
                  <a:cubicBezTo>
                    <a:pt x="8125184" y="2536957"/>
                    <a:pt x="8112796" y="2508571"/>
                    <a:pt x="8088021" y="2508571"/>
                  </a:cubicBezTo>
                  <a:close/>
                  <a:moveTo>
                    <a:pt x="6829532" y="2508571"/>
                  </a:moveTo>
                  <a:cubicBezTo>
                    <a:pt x="6803352" y="2508571"/>
                    <a:pt x="6790262" y="2537409"/>
                    <a:pt x="6790262" y="2595085"/>
                  </a:cubicBezTo>
                  <a:cubicBezTo>
                    <a:pt x="6790262" y="2649049"/>
                    <a:pt x="6803101" y="2676032"/>
                    <a:pt x="6828780" y="2676032"/>
                  </a:cubicBezTo>
                  <a:cubicBezTo>
                    <a:pt x="6854057" y="2676032"/>
                    <a:pt x="6866695" y="2648598"/>
                    <a:pt x="6866695" y="2593731"/>
                  </a:cubicBezTo>
                  <a:cubicBezTo>
                    <a:pt x="6866695" y="2536957"/>
                    <a:pt x="6854307" y="2508571"/>
                    <a:pt x="6829532" y="2508571"/>
                  </a:cubicBezTo>
                  <a:close/>
                  <a:moveTo>
                    <a:pt x="6616438" y="2508571"/>
                  </a:moveTo>
                  <a:cubicBezTo>
                    <a:pt x="6590258" y="2508571"/>
                    <a:pt x="6577168" y="2537409"/>
                    <a:pt x="6577168" y="2595085"/>
                  </a:cubicBezTo>
                  <a:cubicBezTo>
                    <a:pt x="6577168" y="2649049"/>
                    <a:pt x="6590007" y="2676032"/>
                    <a:pt x="6615686" y="2676032"/>
                  </a:cubicBezTo>
                  <a:cubicBezTo>
                    <a:pt x="6640963" y="2676032"/>
                    <a:pt x="6653601" y="2648598"/>
                    <a:pt x="6653601" y="2593731"/>
                  </a:cubicBezTo>
                  <a:cubicBezTo>
                    <a:pt x="6653601" y="2536957"/>
                    <a:pt x="6641213" y="2508571"/>
                    <a:pt x="6616438" y="2508571"/>
                  </a:cubicBezTo>
                  <a:close/>
                  <a:moveTo>
                    <a:pt x="3070764" y="2508571"/>
                  </a:moveTo>
                  <a:cubicBezTo>
                    <a:pt x="3044584" y="2508571"/>
                    <a:pt x="3031494" y="2537409"/>
                    <a:pt x="3031494" y="2595085"/>
                  </a:cubicBezTo>
                  <a:cubicBezTo>
                    <a:pt x="3031494" y="2649049"/>
                    <a:pt x="3044333" y="2676032"/>
                    <a:pt x="3070012" y="2676032"/>
                  </a:cubicBezTo>
                  <a:cubicBezTo>
                    <a:pt x="3095289" y="2676032"/>
                    <a:pt x="3107927" y="2648598"/>
                    <a:pt x="3107927" y="2593731"/>
                  </a:cubicBezTo>
                  <a:cubicBezTo>
                    <a:pt x="3107927" y="2536957"/>
                    <a:pt x="3095539" y="2508571"/>
                    <a:pt x="3070764" y="2508571"/>
                  </a:cubicBezTo>
                  <a:close/>
                  <a:moveTo>
                    <a:pt x="2723961" y="2508571"/>
                  </a:moveTo>
                  <a:cubicBezTo>
                    <a:pt x="2697781" y="2508571"/>
                    <a:pt x="2684691" y="2537409"/>
                    <a:pt x="2684691" y="2595085"/>
                  </a:cubicBezTo>
                  <a:cubicBezTo>
                    <a:pt x="2684691" y="2649049"/>
                    <a:pt x="2697530" y="2676032"/>
                    <a:pt x="2723209" y="2676032"/>
                  </a:cubicBezTo>
                  <a:cubicBezTo>
                    <a:pt x="2748486" y="2676032"/>
                    <a:pt x="2761124" y="2648598"/>
                    <a:pt x="2761124" y="2593731"/>
                  </a:cubicBezTo>
                  <a:cubicBezTo>
                    <a:pt x="2761124" y="2536957"/>
                    <a:pt x="2748736" y="2508571"/>
                    <a:pt x="2723961" y="2508571"/>
                  </a:cubicBezTo>
                  <a:close/>
                  <a:moveTo>
                    <a:pt x="2032595" y="2508571"/>
                  </a:moveTo>
                  <a:cubicBezTo>
                    <a:pt x="2006416" y="2508571"/>
                    <a:pt x="1993326" y="2537409"/>
                    <a:pt x="1993326" y="2595085"/>
                  </a:cubicBezTo>
                  <a:cubicBezTo>
                    <a:pt x="1993326" y="2649049"/>
                    <a:pt x="2006165" y="2676032"/>
                    <a:pt x="2031843" y="2676032"/>
                  </a:cubicBezTo>
                  <a:cubicBezTo>
                    <a:pt x="2057120" y="2676032"/>
                    <a:pt x="2069759" y="2648598"/>
                    <a:pt x="2069759" y="2593731"/>
                  </a:cubicBezTo>
                  <a:cubicBezTo>
                    <a:pt x="2069759" y="2536957"/>
                    <a:pt x="2057371" y="2508571"/>
                    <a:pt x="2032595" y="2508571"/>
                  </a:cubicBezTo>
                  <a:close/>
                  <a:moveTo>
                    <a:pt x="777389" y="2508571"/>
                  </a:moveTo>
                  <a:cubicBezTo>
                    <a:pt x="751209" y="2508571"/>
                    <a:pt x="738119" y="2537409"/>
                    <a:pt x="738119" y="2595085"/>
                  </a:cubicBezTo>
                  <a:cubicBezTo>
                    <a:pt x="738119" y="2649049"/>
                    <a:pt x="750958" y="2676032"/>
                    <a:pt x="776637" y="2676032"/>
                  </a:cubicBezTo>
                  <a:cubicBezTo>
                    <a:pt x="801914" y="2676032"/>
                    <a:pt x="814552" y="2648598"/>
                    <a:pt x="814552" y="2593731"/>
                  </a:cubicBezTo>
                  <a:cubicBezTo>
                    <a:pt x="814552" y="2536957"/>
                    <a:pt x="802164" y="2508571"/>
                    <a:pt x="777389" y="2508571"/>
                  </a:cubicBezTo>
                  <a:close/>
                  <a:moveTo>
                    <a:pt x="556789" y="2508571"/>
                  </a:moveTo>
                  <a:cubicBezTo>
                    <a:pt x="530609" y="2508571"/>
                    <a:pt x="517519" y="2537409"/>
                    <a:pt x="517519" y="2595085"/>
                  </a:cubicBezTo>
                  <a:cubicBezTo>
                    <a:pt x="517519" y="2649049"/>
                    <a:pt x="530358" y="2676032"/>
                    <a:pt x="556037" y="2676032"/>
                  </a:cubicBezTo>
                  <a:cubicBezTo>
                    <a:pt x="581314" y="2676032"/>
                    <a:pt x="593952" y="2648598"/>
                    <a:pt x="593952" y="2593731"/>
                  </a:cubicBezTo>
                  <a:cubicBezTo>
                    <a:pt x="593952" y="2536957"/>
                    <a:pt x="581564" y="2508571"/>
                    <a:pt x="556789" y="2508571"/>
                  </a:cubicBezTo>
                  <a:close/>
                  <a:moveTo>
                    <a:pt x="12035876" y="2480736"/>
                  </a:moveTo>
                  <a:lnTo>
                    <a:pt x="12050782" y="2480736"/>
                  </a:lnTo>
                  <a:lnTo>
                    <a:pt x="12050782" y="2703716"/>
                  </a:lnTo>
                  <a:lnTo>
                    <a:pt x="12015494" y="2703716"/>
                  </a:lnTo>
                  <a:lnTo>
                    <a:pt x="12015494" y="2523933"/>
                  </a:lnTo>
                  <a:cubicBezTo>
                    <a:pt x="12009106" y="2528496"/>
                    <a:pt x="12002236" y="2532374"/>
                    <a:pt x="11994885" y="2535568"/>
                  </a:cubicBezTo>
                  <a:cubicBezTo>
                    <a:pt x="11987533" y="2538763"/>
                    <a:pt x="11979142" y="2541576"/>
                    <a:pt x="11969712" y="2544010"/>
                  </a:cubicBezTo>
                  <a:lnTo>
                    <a:pt x="11969712" y="2513894"/>
                  </a:lnTo>
                  <a:cubicBezTo>
                    <a:pt x="11975593" y="2511968"/>
                    <a:pt x="11981272" y="2509939"/>
                    <a:pt x="11986747" y="2507810"/>
                  </a:cubicBezTo>
                  <a:cubicBezTo>
                    <a:pt x="11992223" y="2505681"/>
                    <a:pt x="11997623" y="2503298"/>
                    <a:pt x="12002946" y="2500661"/>
                  </a:cubicBezTo>
                  <a:cubicBezTo>
                    <a:pt x="12008270" y="2498025"/>
                    <a:pt x="12013644" y="2495084"/>
                    <a:pt x="12019069" y="2491839"/>
                  </a:cubicBezTo>
                  <a:cubicBezTo>
                    <a:pt x="12024494" y="2488595"/>
                    <a:pt x="12030096" y="2484893"/>
                    <a:pt x="12035876" y="2480736"/>
                  </a:cubicBezTo>
                  <a:close/>
                  <a:moveTo>
                    <a:pt x="11663311" y="2480736"/>
                  </a:moveTo>
                  <a:lnTo>
                    <a:pt x="11678217" y="2480736"/>
                  </a:lnTo>
                  <a:lnTo>
                    <a:pt x="11678217" y="2703716"/>
                  </a:lnTo>
                  <a:lnTo>
                    <a:pt x="11642929" y="2703716"/>
                  </a:lnTo>
                  <a:lnTo>
                    <a:pt x="11642929" y="2523933"/>
                  </a:lnTo>
                  <a:cubicBezTo>
                    <a:pt x="11636541" y="2528496"/>
                    <a:pt x="11629671" y="2532374"/>
                    <a:pt x="11622320" y="2535568"/>
                  </a:cubicBezTo>
                  <a:cubicBezTo>
                    <a:pt x="11614968" y="2538763"/>
                    <a:pt x="11606577" y="2541576"/>
                    <a:pt x="11597147" y="2544010"/>
                  </a:cubicBezTo>
                  <a:lnTo>
                    <a:pt x="11597147" y="2513894"/>
                  </a:lnTo>
                  <a:cubicBezTo>
                    <a:pt x="11603028" y="2511968"/>
                    <a:pt x="11608707" y="2509939"/>
                    <a:pt x="11614182" y="2507810"/>
                  </a:cubicBezTo>
                  <a:cubicBezTo>
                    <a:pt x="11619658" y="2505681"/>
                    <a:pt x="11625058" y="2503298"/>
                    <a:pt x="11630381" y="2500661"/>
                  </a:cubicBezTo>
                  <a:cubicBezTo>
                    <a:pt x="11635705" y="2498025"/>
                    <a:pt x="11641079" y="2495084"/>
                    <a:pt x="11646504" y="2491839"/>
                  </a:cubicBezTo>
                  <a:cubicBezTo>
                    <a:pt x="11651929" y="2488595"/>
                    <a:pt x="11657531" y="2484893"/>
                    <a:pt x="11663311" y="2480736"/>
                  </a:cubicBezTo>
                  <a:close/>
                  <a:moveTo>
                    <a:pt x="11513338" y="2480736"/>
                  </a:moveTo>
                  <a:lnTo>
                    <a:pt x="11528244" y="2480736"/>
                  </a:lnTo>
                  <a:lnTo>
                    <a:pt x="11528244" y="2703716"/>
                  </a:lnTo>
                  <a:lnTo>
                    <a:pt x="11492956" y="2703716"/>
                  </a:lnTo>
                  <a:lnTo>
                    <a:pt x="11492956" y="2523933"/>
                  </a:lnTo>
                  <a:cubicBezTo>
                    <a:pt x="11486568" y="2528496"/>
                    <a:pt x="11479698" y="2532374"/>
                    <a:pt x="11472347" y="2535568"/>
                  </a:cubicBezTo>
                  <a:cubicBezTo>
                    <a:pt x="11464995" y="2538763"/>
                    <a:pt x="11456604" y="2541576"/>
                    <a:pt x="11447174" y="2544010"/>
                  </a:cubicBezTo>
                  <a:lnTo>
                    <a:pt x="11447174" y="2513894"/>
                  </a:lnTo>
                  <a:cubicBezTo>
                    <a:pt x="11453055" y="2511968"/>
                    <a:pt x="11458734" y="2509939"/>
                    <a:pt x="11464209" y="2507810"/>
                  </a:cubicBezTo>
                  <a:cubicBezTo>
                    <a:pt x="11469685" y="2505681"/>
                    <a:pt x="11475085" y="2503298"/>
                    <a:pt x="11480408" y="2500661"/>
                  </a:cubicBezTo>
                  <a:cubicBezTo>
                    <a:pt x="11485732" y="2498025"/>
                    <a:pt x="11491106" y="2495084"/>
                    <a:pt x="11496531" y="2491839"/>
                  </a:cubicBezTo>
                  <a:cubicBezTo>
                    <a:pt x="11501956" y="2488595"/>
                    <a:pt x="11507558" y="2484893"/>
                    <a:pt x="11513338" y="2480736"/>
                  </a:cubicBezTo>
                  <a:close/>
                  <a:moveTo>
                    <a:pt x="11363365" y="2480736"/>
                  </a:moveTo>
                  <a:lnTo>
                    <a:pt x="11378271" y="2480736"/>
                  </a:lnTo>
                  <a:lnTo>
                    <a:pt x="11378271" y="2703716"/>
                  </a:lnTo>
                  <a:lnTo>
                    <a:pt x="11342983" y="2703716"/>
                  </a:lnTo>
                  <a:lnTo>
                    <a:pt x="11342983" y="2523933"/>
                  </a:lnTo>
                  <a:cubicBezTo>
                    <a:pt x="11336595" y="2528496"/>
                    <a:pt x="11329725" y="2532374"/>
                    <a:pt x="11322374" y="2535568"/>
                  </a:cubicBezTo>
                  <a:cubicBezTo>
                    <a:pt x="11315022" y="2538763"/>
                    <a:pt x="11306631" y="2541576"/>
                    <a:pt x="11297201" y="2544010"/>
                  </a:cubicBezTo>
                  <a:lnTo>
                    <a:pt x="11297201" y="2513894"/>
                  </a:lnTo>
                  <a:cubicBezTo>
                    <a:pt x="11303082" y="2511968"/>
                    <a:pt x="11308761" y="2509939"/>
                    <a:pt x="11314236" y="2507810"/>
                  </a:cubicBezTo>
                  <a:cubicBezTo>
                    <a:pt x="11319712" y="2505681"/>
                    <a:pt x="11325112" y="2503298"/>
                    <a:pt x="11330435" y="2500661"/>
                  </a:cubicBezTo>
                  <a:cubicBezTo>
                    <a:pt x="11335759" y="2498025"/>
                    <a:pt x="11341133" y="2495084"/>
                    <a:pt x="11346558" y="2491839"/>
                  </a:cubicBezTo>
                  <a:cubicBezTo>
                    <a:pt x="11351983" y="2488595"/>
                    <a:pt x="11357585" y="2484893"/>
                    <a:pt x="11363365" y="2480736"/>
                  </a:cubicBezTo>
                  <a:close/>
                  <a:moveTo>
                    <a:pt x="10620407" y="2480736"/>
                  </a:moveTo>
                  <a:lnTo>
                    <a:pt x="10635313" y="2480736"/>
                  </a:lnTo>
                  <a:lnTo>
                    <a:pt x="10635313" y="2703716"/>
                  </a:lnTo>
                  <a:lnTo>
                    <a:pt x="10600025" y="2703716"/>
                  </a:lnTo>
                  <a:lnTo>
                    <a:pt x="10600025" y="2523933"/>
                  </a:lnTo>
                  <a:cubicBezTo>
                    <a:pt x="10593637" y="2528496"/>
                    <a:pt x="10586767" y="2532374"/>
                    <a:pt x="10579416" y="2535568"/>
                  </a:cubicBezTo>
                  <a:cubicBezTo>
                    <a:pt x="10572064" y="2538763"/>
                    <a:pt x="10563673" y="2541576"/>
                    <a:pt x="10554243" y="2544010"/>
                  </a:cubicBezTo>
                  <a:lnTo>
                    <a:pt x="10554243" y="2513894"/>
                  </a:lnTo>
                  <a:cubicBezTo>
                    <a:pt x="10560124" y="2511968"/>
                    <a:pt x="10565803" y="2509939"/>
                    <a:pt x="10571278" y="2507810"/>
                  </a:cubicBezTo>
                  <a:cubicBezTo>
                    <a:pt x="10576754" y="2505681"/>
                    <a:pt x="10582154" y="2503298"/>
                    <a:pt x="10587477" y="2500661"/>
                  </a:cubicBezTo>
                  <a:cubicBezTo>
                    <a:pt x="10592801" y="2498025"/>
                    <a:pt x="10598175" y="2495084"/>
                    <a:pt x="10603600" y="2491839"/>
                  </a:cubicBezTo>
                  <a:cubicBezTo>
                    <a:pt x="10609025" y="2488595"/>
                    <a:pt x="10614627" y="2484893"/>
                    <a:pt x="10620407" y="2480736"/>
                  </a:cubicBezTo>
                  <a:close/>
                  <a:moveTo>
                    <a:pt x="10469278" y="2480736"/>
                  </a:moveTo>
                  <a:lnTo>
                    <a:pt x="10484184" y="2480736"/>
                  </a:lnTo>
                  <a:lnTo>
                    <a:pt x="10484184" y="2703716"/>
                  </a:lnTo>
                  <a:lnTo>
                    <a:pt x="10448896" y="2703716"/>
                  </a:lnTo>
                  <a:lnTo>
                    <a:pt x="10448896" y="2523933"/>
                  </a:lnTo>
                  <a:cubicBezTo>
                    <a:pt x="10442508" y="2528496"/>
                    <a:pt x="10435638" y="2532374"/>
                    <a:pt x="10428287" y="2535568"/>
                  </a:cubicBezTo>
                  <a:cubicBezTo>
                    <a:pt x="10420935" y="2538763"/>
                    <a:pt x="10412544" y="2541576"/>
                    <a:pt x="10403114" y="2544010"/>
                  </a:cubicBezTo>
                  <a:lnTo>
                    <a:pt x="10403114" y="2513894"/>
                  </a:lnTo>
                  <a:cubicBezTo>
                    <a:pt x="10408995" y="2511968"/>
                    <a:pt x="10414674" y="2509939"/>
                    <a:pt x="10420149" y="2507810"/>
                  </a:cubicBezTo>
                  <a:cubicBezTo>
                    <a:pt x="10425625" y="2505681"/>
                    <a:pt x="10431025" y="2503298"/>
                    <a:pt x="10436348" y="2500661"/>
                  </a:cubicBezTo>
                  <a:cubicBezTo>
                    <a:pt x="10441672" y="2498025"/>
                    <a:pt x="10447046" y="2495084"/>
                    <a:pt x="10452471" y="2491839"/>
                  </a:cubicBezTo>
                  <a:cubicBezTo>
                    <a:pt x="10457896" y="2488595"/>
                    <a:pt x="10463498" y="2484893"/>
                    <a:pt x="10469278" y="2480736"/>
                  </a:cubicBezTo>
                  <a:close/>
                  <a:moveTo>
                    <a:pt x="10169331" y="2480736"/>
                  </a:moveTo>
                  <a:lnTo>
                    <a:pt x="10184237" y="2480736"/>
                  </a:lnTo>
                  <a:lnTo>
                    <a:pt x="10184237" y="2703716"/>
                  </a:lnTo>
                  <a:lnTo>
                    <a:pt x="10148949" y="2703716"/>
                  </a:lnTo>
                  <a:lnTo>
                    <a:pt x="10148949" y="2523933"/>
                  </a:lnTo>
                  <a:cubicBezTo>
                    <a:pt x="10142561" y="2528496"/>
                    <a:pt x="10135691" y="2532374"/>
                    <a:pt x="10128340" y="2535568"/>
                  </a:cubicBezTo>
                  <a:cubicBezTo>
                    <a:pt x="10120988" y="2538763"/>
                    <a:pt x="10112597" y="2541576"/>
                    <a:pt x="10103167" y="2544010"/>
                  </a:cubicBezTo>
                  <a:lnTo>
                    <a:pt x="10103167" y="2513894"/>
                  </a:lnTo>
                  <a:cubicBezTo>
                    <a:pt x="10109048" y="2511968"/>
                    <a:pt x="10114727" y="2509939"/>
                    <a:pt x="10120202" y="2507810"/>
                  </a:cubicBezTo>
                  <a:cubicBezTo>
                    <a:pt x="10125678" y="2505681"/>
                    <a:pt x="10131078" y="2503298"/>
                    <a:pt x="10136401" y="2500661"/>
                  </a:cubicBezTo>
                  <a:cubicBezTo>
                    <a:pt x="10141725" y="2498025"/>
                    <a:pt x="10147099" y="2495084"/>
                    <a:pt x="10152524" y="2491839"/>
                  </a:cubicBezTo>
                  <a:cubicBezTo>
                    <a:pt x="10157949" y="2488595"/>
                    <a:pt x="10163551" y="2484893"/>
                    <a:pt x="10169331" y="2480736"/>
                  </a:cubicBezTo>
                  <a:close/>
                  <a:moveTo>
                    <a:pt x="9784303" y="2480736"/>
                  </a:moveTo>
                  <a:lnTo>
                    <a:pt x="9799209" y="2480736"/>
                  </a:lnTo>
                  <a:lnTo>
                    <a:pt x="9799209" y="2703716"/>
                  </a:lnTo>
                  <a:lnTo>
                    <a:pt x="9763921" y="2703716"/>
                  </a:lnTo>
                  <a:lnTo>
                    <a:pt x="9763921" y="2523933"/>
                  </a:lnTo>
                  <a:cubicBezTo>
                    <a:pt x="9757533" y="2528496"/>
                    <a:pt x="9750663" y="2532374"/>
                    <a:pt x="9743312" y="2535568"/>
                  </a:cubicBezTo>
                  <a:cubicBezTo>
                    <a:pt x="9735960" y="2538763"/>
                    <a:pt x="9727569" y="2541576"/>
                    <a:pt x="9718139" y="2544010"/>
                  </a:cubicBezTo>
                  <a:lnTo>
                    <a:pt x="9718139" y="2513894"/>
                  </a:lnTo>
                  <a:cubicBezTo>
                    <a:pt x="9724020" y="2511968"/>
                    <a:pt x="9729699" y="2509939"/>
                    <a:pt x="9735174" y="2507810"/>
                  </a:cubicBezTo>
                  <a:cubicBezTo>
                    <a:pt x="9740650" y="2505681"/>
                    <a:pt x="9746050" y="2503298"/>
                    <a:pt x="9751373" y="2500661"/>
                  </a:cubicBezTo>
                  <a:cubicBezTo>
                    <a:pt x="9756697" y="2498025"/>
                    <a:pt x="9762071" y="2495084"/>
                    <a:pt x="9767496" y="2491839"/>
                  </a:cubicBezTo>
                  <a:cubicBezTo>
                    <a:pt x="9772921" y="2488595"/>
                    <a:pt x="9778523" y="2484893"/>
                    <a:pt x="9784303" y="2480736"/>
                  </a:cubicBezTo>
                  <a:close/>
                  <a:moveTo>
                    <a:pt x="9633174" y="2480736"/>
                  </a:moveTo>
                  <a:lnTo>
                    <a:pt x="9648080" y="2480736"/>
                  </a:lnTo>
                  <a:lnTo>
                    <a:pt x="9648080" y="2703716"/>
                  </a:lnTo>
                  <a:lnTo>
                    <a:pt x="9612792" y="2703716"/>
                  </a:lnTo>
                  <a:lnTo>
                    <a:pt x="9612792" y="2523933"/>
                  </a:lnTo>
                  <a:cubicBezTo>
                    <a:pt x="9606404" y="2528496"/>
                    <a:pt x="9599534" y="2532374"/>
                    <a:pt x="9592183" y="2535568"/>
                  </a:cubicBezTo>
                  <a:cubicBezTo>
                    <a:pt x="9584831" y="2538763"/>
                    <a:pt x="9576440" y="2541576"/>
                    <a:pt x="9567010" y="2544010"/>
                  </a:cubicBezTo>
                  <a:lnTo>
                    <a:pt x="9567010" y="2513894"/>
                  </a:lnTo>
                  <a:cubicBezTo>
                    <a:pt x="9572891" y="2511968"/>
                    <a:pt x="9578570" y="2509939"/>
                    <a:pt x="9584045" y="2507810"/>
                  </a:cubicBezTo>
                  <a:cubicBezTo>
                    <a:pt x="9589521" y="2505681"/>
                    <a:pt x="9594921" y="2503298"/>
                    <a:pt x="9600244" y="2500661"/>
                  </a:cubicBezTo>
                  <a:cubicBezTo>
                    <a:pt x="9605568" y="2498025"/>
                    <a:pt x="9610942" y="2495084"/>
                    <a:pt x="9616367" y="2491839"/>
                  </a:cubicBezTo>
                  <a:cubicBezTo>
                    <a:pt x="9621792" y="2488595"/>
                    <a:pt x="9627394" y="2484893"/>
                    <a:pt x="9633174" y="2480736"/>
                  </a:cubicBezTo>
                  <a:close/>
                  <a:moveTo>
                    <a:pt x="9483201" y="2480736"/>
                  </a:moveTo>
                  <a:lnTo>
                    <a:pt x="9498107" y="2480736"/>
                  </a:lnTo>
                  <a:lnTo>
                    <a:pt x="9498107" y="2703716"/>
                  </a:lnTo>
                  <a:lnTo>
                    <a:pt x="9462819" y="2703716"/>
                  </a:lnTo>
                  <a:lnTo>
                    <a:pt x="9462819" y="2523933"/>
                  </a:lnTo>
                  <a:cubicBezTo>
                    <a:pt x="9456431" y="2528496"/>
                    <a:pt x="9449561" y="2532374"/>
                    <a:pt x="9442210" y="2535568"/>
                  </a:cubicBezTo>
                  <a:cubicBezTo>
                    <a:pt x="9434858" y="2538763"/>
                    <a:pt x="9426467" y="2541576"/>
                    <a:pt x="9417037" y="2544010"/>
                  </a:cubicBezTo>
                  <a:lnTo>
                    <a:pt x="9417037" y="2513894"/>
                  </a:lnTo>
                  <a:cubicBezTo>
                    <a:pt x="9422918" y="2511968"/>
                    <a:pt x="9428597" y="2509939"/>
                    <a:pt x="9434072" y="2507810"/>
                  </a:cubicBezTo>
                  <a:cubicBezTo>
                    <a:pt x="9439548" y="2505681"/>
                    <a:pt x="9444948" y="2503298"/>
                    <a:pt x="9450271" y="2500661"/>
                  </a:cubicBezTo>
                  <a:cubicBezTo>
                    <a:pt x="9455595" y="2498025"/>
                    <a:pt x="9460969" y="2495084"/>
                    <a:pt x="9466394" y="2491839"/>
                  </a:cubicBezTo>
                  <a:cubicBezTo>
                    <a:pt x="9471819" y="2488595"/>
                    <a:pt x="9477421" y="2484893"/>
                    <a:pt x="9483201" y="2480736"/>
                  </a:cubicBezTo>
                  <a:close/>
                  <a:moveTo>
                    <a:pt x="9333228" y="2480736"/>
                  </a:moveTo>
                  <a:lnTo>
                    <a:pt x="9348134" y="2480736"/>
                  </a:lnTo>
                  <a:lnTo>
                    <a:pt x="9348134" y="2703716"/>
                  </a:lnTo>
                  <a:lnTo>
                    <a:pt x="9312846" y="2703716"/>
                  </a:lnTo>
                  <a:lnTo>
                    <a:pt x="9312846" y="2523933"/>
                  </a:lnTo>
                  <a:cubicBezTo>
                    <a:pt x="9306458" y="2528496"/>
                    <a:pt x="9299588" y="2532374"/>
                    <a:pt x="9292237" y="2535568"/>
                  </a:cubicBezTo>
                  <a:cubicBezTo>
                    <a:pt x="9284885" y="2538763"/>
                    <a:pt x="9276494" y="2541576"/>
                    <a:pt x="9267064" y="2544010"/>
                  </a:cubicBezTo>
                  <a:lnTo>
                    <a:pt x="9267064" y="2513894"/>
                  </a:lnTo>
                  <a:cubicBezTo>
                    <a:pt x="9272945" y="2511968"/>
                    <a:pt x="9278624" y="2509939"/>
                    <a:pt x="9284099" y="2507810"/>
                  </a:cubicBezTo>
                  <a:cubicBezTo>
                    <a:pt x="9289575" y="2505681"/>
                    <a:pt x="9294975" y="2503298"/>
                    <a:pt x="9300298" y="2500661"/>
                  </a:cubicBezTo>
                  <a:cubicBezTo>
                    <a:pt x="9305622" y="2498025"/>
                    <a:pt x="9310996" y="2495084"/>
                    <a:pt x="9316421" y="2491839"/>
                  </a:cubicBezTo>
                  <a:cubicBezTo>
                    <a:pt x="9321846" y="2488595"/>
                    <a:pt x="9327448" y="2484893"/>
                    <a:pt x="9333228" y="2480736"/>
                  </a:cubicBezTo>
                  <a:close/>
                  <a:moveTo>
                    <a:pt x="9132835" y="2480736"/>
                  </a:moveTo>
                  <a:cubicBezTo>
                    <a:pt x="9180279" y="2480736"/>
                    <a:pt x="9204002" y="2517599"/>
                    <a:pt x="9204002" y="2591324"/>
                  </a:cubicBezTo>
                  <a:cubicBezTo>
                    <a:pt x="9204002" y="2627835"/>
                    <a:pt x="9197306" y="2655695"/>
                    <a:pt x="9183916" y="2674903"/>
                  </a:cubicBezTo>
                  <a:cubicBezTo>
                    <a:pt x="9170525" y="2694111"/>
                    <a:pt x="9151793" y="2703716"/>
                    <a:pt x="9127719" y="2703716"/>
                  </a:cubicBezTo>
                  <a:cubicBezTo>
                    <a:pt x="9105251" y="2703716"/>
                    <a:pt x="9087722" y="2694538"/>
                    <a:pt x="9075134" y="2676182"/>
                  </a:cubicBezTo>
                  <a:cubicBezTo>
                    <a:pt x="9062545" y="2657826"/>
                    <a:pt x="9056251" y="2631295"/>
                    <a:pt x="9056251" y="2596590"/>
                  </a:cubicBezTo>
                  <a:cubicBezTo>
                    <a:pt x="9056251" y="2558473"/>
                    <a:pt x="9062821" y="2529635"/>
                    <a:pt x="9075961" y="2510075"/>
                  </a:cubicBezTo>
                  <a:cubicBezTo>
                    <a:pt x="9089102" y="2490516"/>
                    <a:pt x="9108059" y="2480736"/>
                    <a:pt x="9132835" y="2480736"/>
                  </a:cubicBezTo>
                  <a:close/>
                  <a:moveTo>
                    <a:pt x="9001759" y="2480736"/>
                  </a:moveTo>
                  <a:lnTo>
                    <a:pt x="9016665" y="2480736"/>
                  </a:lnTo>
                  <a:lnTo>
                    <a:pt x="9016665" y="2703716"/>
                  </a:lnTo>
                  <a:lnTo>
                    <a:pt x="8981377" y="2703716"/>
                  </a:lnTo>
                  <a:lnTo>
                    <a:pt x="8981377" y="2523933"/>
                  </a:lnTo>
                  <a:cubicBezTo>
                    <a:pt x="8974989" y="2528496"/>
                    <a:pt x="8968119" y="2532374"/>
                    <a:pt x="8960768" y="2535568"/>
                  </a:cubicBezTo>
                  <a:cubicBezTo>
                    <a:pt x="8953416" y="2538763"/>
                    <a:pt x="8945025" y="2541576"/>
                    <a:pt x="8935595" y="2544010"/>
                  </a:cubicBezTo>
                  <a:lnTo>
                    <a:pt x="8935595" y="2513894"/>
                  </a:lnTo>
                  <a:cubicBezTo>
                    <a:pt x="8941476" y="2511968"/>
                    <a:pt x="8947155" y="2509939"/>
                    <a:pt x="8952630" y="2507810"/>
                  </a:cubicBezTo>
                  <a:cubicBezTo>
                    <a:pt x="8958106" y="2505681"/>
                    <a:pt x="8963506" y="2503298"/>
                    <a:pt x="8968829" y="2500661"/>
                  </a:cubicBezTo>
                  <a:cubicBezTo>
                    <a:pt x="8974153" y="2498025"/>
                    <a:pt x="8979527" y="2495084"/>
                    <a:pt x="8984952" y="2491839"/>
                  </a:cubicBezTo>
                  <a:cubicBezTo>
                    <a:pt x="8990377" y="2488595"/>
                    <a:pt x="8995979" y="2484893"/>
                    <a:pt x="9001759" y="2480736"/>
                  </a:cubicBezTo>
                  <a:close/>
                  <a:moveTo>
                    <a:pt x="8791078" y="2480736"/>
                  </a:moveTo>
                  <a:cubicBezTo>
                    <a:pt x="8838522" y="2480736"/>
                    <a:pt x="8862245" y="2517599"/>
                    <a:pt x="8862245" y="2591324"/>
                  </a:cubicBezTo>
                  <a:cubicBezTo>
                    <a:pt x="8862245" y="2627835"/>
                    <a:pt x="8855549" y="2655695"/>
                    <a:pt x="8842159" y="2674903"/>
                  </a:cubicBezTo>
                  <a:cubicBezTo>
                    <a:pt x="8828768" y="2694111"/>
                    <a:pt x="8810036" y="2703716"/>
                    <a:pt x="8785962" y="2703716"/>
                  </a:cubicBezTo>
                  <a:cubicBezTo>
                    <a:pt x="8763494" y="2703716"/>
                    <a:pt x="8745965" y="2694538"/>
                    <a:pt x="8733377" y="2676182"/>
                  </a:cubicBezTo>
                  <a:cubicBezTo>
                    <a:pt x="8720788" y="2657826"/>
                    <a:pt x="8714494" y="2631295"/>
                    <a:pt x="8714494" y="2596590"/>
                  </a:cubicBezTo>
                  <a:cubicBezTo>
                    <a:pt x="8714494" y="2558473"/>
                    <a:pt x="8721064" y="2529635"/>
                    <a:pt x="8734204" y="2510075"/>
                  </a:cubicBezTo>
                  <a:cubicBezTo>
                    <a:pt x="8747345" y="2490516"/>
                    <a:pt x="8766302" y="2480736"/>
                    <a:pt x="8791078" y="2480736"/>
                  </a:cubicBezTo>
                  <a:close/>
                  <a:moveTo>
                    <a:pt x="8089676" y="2480736"/>
                  </a:moveTo>
                  <a:cubicBezTo>
                    <a:pt x="8137121" y="2480736"/>
                    <a:pt x="8160843" y="2517599"/>
                    <a:pt x="8160843" y="2591324"/>
                  </a:cubicBezTo>
                  <a:cubicBezTo>
                    <a:pt x="8160843" y="2627835"/>
                    <a:pt x="8154148" y="2655695"/>
                    <a:pt x="8140757" y="2674903"/>
                  </a:cubicBezTo>
                  <a:cubicBezTo>
                    <a:pt x="8127366" y="2694111"/>
                    <a:pt x="8108634" y="2703716"/>
                    <a:pt x="8084560" y="2703716"/>
                  </a:cubicBezTo>
                  <a:cubicBezTo>
                    <a:pt x="8062092" y="2703716"/>
                    <a:pt x="8044563" y="2694538"/>
                    <a:pt x="8031975" y="2676182"/>
                  </a:cubicBezTo>
                  <a:cubicBezTo>
                    <a:pt x="8019386" y="2657826"/>
                    <a:pt x="8013092" y="2631295"/>
                    <a:pt x="8013092" y="2596590"/>
                  </a:cubicBezTo>
                  <a:cubicBezTo>
                    <a:pt x="8013092" y="2558473"/>
                    <a:pt x="8019662" y="2529635"/>
                    <a:pt x="8032802" y="2510075"/>
                  </a:cubicBezTo>
                  <a:cubicBezTo>
                    <a:pt x="8045943" y="2490516"/>
                    <a:pt x="8064900" y="2480736"/>
                    <a:pt x="8089676" y="2480736"/>
                  </a:cubicBezTo>
                  <a:close/>
                  <a:moveTo>
                    <a:pt x="7710515" y="2480736"/>
                  </a:moveTo>
                  <a:lnTo>
                    <a:pt x="7725421" y="2480736"/>
                  </a:lnTo>
                  <a:lnTo>
                    <a:pt x="7725421" y="2703716"/>
                  </a:lnTo>
                  <a:lnTo>
                    <a:pt x="7690133" y="2703716"/>
                  </a:lnTo>
                  <a:lnTo>
                    <a:pt x="7690133" y="2523933"/>
                  </a:lnTo>
                  <a:cubicBezTo>
                    <a:pt x="7683745" y="2528496"/>
                    <a:pt x="7676876" y="2532374"/>
                    <a:pt x="7669524" y="2535568"/>
                  </a:cubicBezTo>
                  <a:cubicBezTo>
                    <a:pt x="7662172" y="2538763"/>
                    <a:pt x="7653782" y="2541576"/>
                    <a:pt x="7644351" y="2544010"/>
                  </a:cubicBezTo>
                  <a:lnTo>
                    <a:pt x="7644351" y="2513894"/>
                  </a:lnTo>
                  <a:cubicBezTo>
                    <a:pt x="7650232" y="2511968"/>
                    <a:pt x="7655911" y="2509939"/>
                    <a:pt x="7661386" y="2507810"/>
                  </a:cubicBezTo>
                  <a:cubicBezTo>
                    <a:pt x="7666862" y="2505681"/>
                    <a:pt x="7672262" y="2503298"/>
                    <a:pt x="7677585" y="2500661"/>
                  </a:cubicBezTo>
                  <a:cubicBezTo>
                    <a:pt x="7682909" y="2498025"/>
                    <a:pt x="7688283" y="2495084"/>
                    <a:pt x="7693708" y="2491839"/>
                  </a:cubicBezTo>
                  <a:cubicBezTo>
                    <a:pt x="7699133" y="2488595"/>
                    <a:pt x="7704735" y="2484893"/>
                    <a:pt x="7710515" y="2480736"/>
                  </a:cubicBezTo>
                  <a:close/>
                  <a:moveTo>
                    <a:pt x="7348573" y="2480736"/>
                  </a:moveTo>
                  <a:lnTo>
                    <a:pt x="7363479" y="2480736"/>
                  </a:lnTo>
                  <a:lnTo>
                    <a:pt x="7363479" y="2703716"/>
                  </a:lnTo>
                  <a:lnTo>
                    <a:pt x="7328191" y="2703716"/>
                  </a:lnTo>
                  <a:lnTo>
                    <a:pt x="7328191" y="2523933"/>
                  </a:lnTo>
                  <a:cubicBezTo>
                    <a:pt x="7321803" y="2528496"/>
                    <a:pt x="7314934" y="2532374"/>
                    <a:pt x="7307582" y="2535568"/>
                  </a:cubicBezTo>
                  <a:cubicBezTo>
                    <a:pt x="7300230" y="2538763"/>
                    <a:pt x="7291840" y="2541576"/>
                    <a:pt x="7282409" y="2544010"/>
                  </a:cubicBezTo>
                  <a:lnTo>
                    <a:pt x="7282409" y="2513894"/>
                  </a:lnTo>
                  <a:cubicBezTo>
                    <a:pt x="7288290" y="2511968"/>
                    <a:pt x="7293969" y="2509939"/>
                    <a:pt x="7299444" y="2507810"/>
                  </a:cubicBezTo>
                  <a:cubicBezTo>
                    <a:pt x="7304920" y="2505681"/>
                    <a:pt x="7310320" y="2503298"/>
                    <a:pt x="7315643" y="2500661"/>
                  </a:cubicBezTo>
                  <a:cubicBezTo>
                    <a:pt x="7320967" y="2498025"/>
                    <a:pt x="7326341" y="2495084"/>
                    <a:pt x="7331766" y="2491839"/>
                  </a:cubicBezTo>
                  <a:cubicBezTo>
                    <a:pt x="7337191" y="2488595"/>
                    <a:pt x="7342793" y="2484893"/>
                    <a:pt x="7348573" y="2480736"/>
                  </a:cubicBezTo>
                  <a:close/>
                  <a:moveTo>
                    <a:pt x="7048627" y="2480736"/>
                  </a:moveTo>
                  <a:lnTo>
                    <a:pt x="7063533" y="2480736"/>
                  </a:lnTo>
                  <a:lnTo>
                    <a:pt x="7063533" y="2703716"/>
                  </a:lnTo>
                  <a:lnTo>
                    <a:pt x="7028245" y="2703716"/>
                  </a:lnTo>
                  <a:lnTo>
                    <a:pt x="7028245" y="2523933"/>
                  </a:lnTo>
                  <a:cubicBezTo>
                    <a:pt x="7021857" y="2528496"/>
                    <a:pt x="7014988" y="2532374"/>
                    <a:pt x="7007636" y="2535568"/>
                  </a:cubicBezTo>
                  <a:cubicBezTo>
                    <a:pt x="7000284" y="2538763"/>
                    <a:pt x="6991894" y="2541576"/>
                    <a:pt x="6982463" y="2544010"/>
                  </a:cubicBezTo>
                  <a:lnTo>
                    <a:pt x="6982463" y="2513894"/>
                  </a:lnTo>
                  <a:cubicBezTo>
                    <a:pt x="6988344" y="2511968"/>
                    <a:pt x="6994023" y="2509939"/>
                    <a:pt x="6999498" y="2507810"/>
                  </a:cubicBezTo>
                  <a:cubicBezTo>
                    <a:pt x="7004974" y="2505681"/>
                    <a:pt x="7010374" y="2503298"/>
                    <a:pt x="7015697" y="2500661"/>
                  </a:cubicBezTo>
                  <a:cubicBezTo>
                    <a:pt x="7021021" y="2498025"/>
                    <a:pt x="7026395" y="2495084"/>
                    <a:pt x="7031820" y="2491839"/>
                  </a:cubicBezTo>
                  <a:cubicBezTo>
                    <a:pt x="7037245" y="2488595"/>
                    <a:pt x="7042847" y="2484893"/>
                    <a:pt x="7048627" y="2480736"/>
                  </a:cubicBezTo>
                  <a:close/>
                  <a:moveTo>
                    <a:pt x="6831187" y="2480736"/>
                  </a:moveTo>
                  <a:cubicBezTo>
                    <a:pt x="6878632" y="2480736"/>
                    <a:pt x="6902354" y="2517599"/>
                    <a:pt x="6902354" y="2591324"/>
                  </a:cubicBezTo>
                  <a:cubicBezTo>
                    <a:pt x="6902354" y="2627835"/>
                    <a:pt x="6895659" y="2655695"/>
                    <a:pt x="6882268" y="2674903"/>
                  </a:cubicBezTo>
                  <a:cubicBezTo>
                    <a:pt x="6868877" y="2694111"/>
                    <a:pt x="6850145" y="2703716"/>
                    <a:pt x="6826071" y="2703716"/>
                  </a:cubicBezTo>
                  <a:cubicBezTo>
                    <a:pt x="6803603" y="2703716"/>
                    <a:pt x="6786074" y="2694538"/>
                    <a:pt x="6773486" y="2676182"/>
                  </a:cubicBezTo>
                  <a:cubicBezTo>
                    <a:pt x="6760897" y="2657826"/>
                    <a:pt x="6754603" y="2631295"/>
                    <a:pt x="6754603" y="2596590"/>
                  </a:cubicBezTo>
                  <a:cubicBezTo>
                    <a:pt x="6754603" y="2558473"/>
                    <a:pt x="6761173" y="2529635"/>
                    <a:pt x="6774313" y="2510075"/>
                  </a:cubicBezTo>
                  <a:cubicBezTo>
                    <a:pt x="6787454" y="2490516"/>
                    <a:pt x="6806411" y="2480736"/>
                    <a:pt x="6831187" y="2480736"/>
                  </a:cubicBezTo>
                  <a:close/>
                  <a:moveTo>
                    <a:pt x="6618093" y="2480736"/>
                  </a:moveTo>
                  <a:cubicBezTo>
                    <a:pt x="6665538" y="2480736"/>
                    <a:pt x="6689260" y="2517599"/>
                    <a:pt x="6689260" y="2591324"/>
                  </a:cubicBezTo>
                  <a:cubicBezTo>
                    <a:pt x="6689260" y="2627835"/>
                    <a:pt x="6682565" y="2655695"/>
                    <a:pt x="6669174" y="2674903"/>
                  </a:cubicBezTo>
                  <a:cubicBezTo>
                    <a:pt x="6655783" y="2694111"/>
                    <a:pt x="6637051" y="2703716"/>
                    <a:pt x="6612977" y="2703716"/>
                  </a:cubicBezTo>
                  <a:cubicBezTo>
                    <a:pt x="6590509" y="2703716"/>
                    <a:pt x="6572980" y="2694538"/>
                    <a:pt x="6560392" y="2676182"/>
                  </a:cubicBezTo>
                  <a:cubicBezTo>
                    <a:pt x="6547803" y="2657826"/>
                    <a:pt x="6541509" y="2631295"/>
                    <a:pt x="6541509" y="2596590"/>
                  </a:cubicBezTo>
                  <a:cubicBezTo>
                    <a:pt x="6541509" y="2558473"/>
                    <a:pt x="6548079" y="2529635"/>
                    <a:pt x="6561219" y="2510075"/>
                  </a:cubicBezTo>
                  <a:cubicBezTo>
                    <a:pt x="6574360" y="2490516"/>
                    <a:pt x="6593317" y="2480736"/>
                    <a:pt x="6618093" y="2480736"/>
                  </a:cubicBezTo>
                  <a:close/>
                  <a:moveTo>
                    <a:pt x="6456544" y="2480736"/>
                  </a:moveTo>
                  <a:lnTo>
                    <a:pt x="6471450" y="2480736"/>
                  </a:lnTo>
                  <a:lnTo>
                    <a:pt x="6471450" y="2703716"/>
                  </a:lnTo>
                  <a:lnTo>
                    <a:pt x="6436162" y="2703716"/>
                  </a:lnTo>
                  <a:lnTo>
                    <a:pt x="6436162" y="2523933"/>
                  </a:lnTo>
                  <a:cubicBezTo>
                    <a:pt x="6429774" y="2528496"/>
                    <a:pt x="6422905" y="2532374"/>
                    <a:pt x="6415553" y="2535568"/>
                  </a:cubicBezTo>
                  <a:cubicBezTo>
                    <a:pt x="6408201" y="2538763"/>
                    <a:pt x="6399811" y="2541576"/>
                    <a:pt x="6390380" y="2544010"/>
                  </a:cubicBezTo>
                  <a:lnTo>
                    <a:pt x="6390380" y="2513894"/>
                  </a:lnTo>
                  <a:cubicBezTo>
                    <a:pt x="6396261" y="2511968"/>
                    <a:pt x="6401940" y="2509939"/>
                    <a:pt x="6407415" y="2507810"/>
                  </a:cubicBezTo>
                  <a:cubicBezTo>
                    <a:pt x="6412891" y="2505681"/>
                    <a:pt x="6418291" y="2503298"/>
                    <a:pt x="6423614" y="2500661"/>
                  </a:cubicBezTo>
                  <a:cubicBezTo>
                    <a:pt x="6428938" y="2498025"/>
                    <a:pt x="6434312" y="2495084"/>
                    <a:pt x="6439737" y="2491839"/>
                  </a:cubicBezTo>
                  <a:cubicBezTo>
                    <a:pt x="6445162" y="2488595"/>
                    <a:pt x="6450764" y="2484893"/>
                    <a:pt x="6456544" y="2480736"/>
                  </a:cubicBezTo>
                  <a:close/>
                  <a:moveTo>
                    <a:pt x="6156598" y="2480736"/>
                  </a:moveTo>
                  <a:lnTo>
                    <a:pt x="6171504" y="2480736"/>
                  </a:lnTo>
                  <a:lnTo>
                    <a:pt x="6171504" y="2703716"/>
                  </a:lnTo>
                  <a:lnTo>
                    <a:pt x="6136216" y="2703716"/>
                  </a:lnTo>
                  <a:lnTo>
                    <a:pt x="6136216" y="2523933"/>
                  </a:lnTo>
                  <a:cubicBezTo>
                    <a:pt x="6129828" y="2528496"/>
                    <a:pt x="6122959" y="2532374"/>
                    <a:pt x="6115607" y="2535568"/>
                  </a:cubicBezTo>
                  <a:cubicBezTo>
                    <a:pt x="6108255" y="2538763"/>
                    <a:pt x="6099865" y="2541576"/>
                    <a:pt x="6090434" y="2544010"/>
                  </a:cubicBezTo>
                  <a:lnTo>
                    <a:pt x="6090434" y="2513894"/>
                  </a:lnTo>
                  <a:cubicBezTo>
                    <a:pt x="6096315" y="2511968"/>
                    <a:pt x="6101994" y="2509939"/>
                    <a:pt x="6107469" y="2507810"/>
                  </a:cubicBezTo>
                  <a:cubicBezTo>
                    <a:pt x="6112945" y="2505681"/>
                    <a:pt x="6118345" y="2503298"/>
                    <a:pt x="6123668" y="2500661"/>
                  </a:cubicBezTo>
                  <a:cubicBezTo>
                    <a:pt x="6128992" y="2498025"/>
                    <a:pt x="6134366" y="2495084"/>
                    <a:pt x="6139791" y="2491839"/>
                  </a:cubicBezTo>
                  <a:cubicBezTo>
                    <a:pt x="6145216" y="2488595"/>
                    <a:pt x="6150818" y="2484893"/>
                    <a:pt x="6156598" y="2480736"/>
                  </a:cubicBezTo>
                  <a:close/>
                  <a:moveTo>
                    <a:pt x="5973070" y="2480736"/>
                  </a:moveTo>
                  <a:lnTo>
                    <a:pt x="5987976" y="2480736"/>
                  </a:lnTo>
                  <a:lnTo>
                    <a:pt x="5987976" y="2703716"/>
                  </a:lnTo>
                  <a:lnTo>
                    <a:pt x="5952688" y="2703716"/>
                  </a:lnTo>
                  <a:lnTo>
                    <a:pt x="5952688" y="2523933"/>
                  </a:lnTo>
                  <a:cubicBezTo>
                    <a:pt x="5946299" y="2528496"/>
                    <a:pt x="5939431" y="2532374"/>
                    <a:pt x="5932078" y="2535568"/>
                  </a:cubicBezTo>
                  <a:cubicBezTo>
                    <a:pt x="5924727" y="2538763"/>
                    <a:pt x="5916337" y="2541576"/>
                    <a:pt x="5906905" y="2544010"/>
                  </a:cubicBezTo>
                  <a:lnTo>
                    <a:pt x="5906905" y="2513894"/>
                  </a:lnTo>
                  <a:cubicBezTo>
                    <a:pt x="5912787" y="2511968"/>
                    <a:pt x="5918466" y="2509939"/>
                    <a:pt x="5923941" y="2507810"/>
                  </a:cubicBezTo>
                  <a:cubicBezTo>
                    <a:pt x="5929417" y="2505681"/>
                    <a:pt x="5934817" y="2503298"/>
                    <a:pt x="5940139" y="2500661"/>
                  </a:cubicBezTo>
                  <a:cubicBezTo>
                    <a:pt x="5945464" y="2498025"/>
                    <a:pt x="5950838" y="2495084"/>
                    <a:pt x="5956262" y="2491839"/>
                  </a:cubicBezTo>
                  <a:cubicBezTo>
                    <a:pt x="5961687" y="2488595"/>
                    <a:pt x="5967290" y="2484893"/>
                    <a:pt x="5973070" y="2480736"/>
                  </a:cubicBezTo>
                  <a:close/>
                  <a:moveTo>
                    <a:pt x="5605408" y="2480736"/>
                  </a:moveTo>
                  <a:lnTo>
                    <a:pt x="5620313" y="2480736"/>
                  </a:lnTo>
                  <a:lnTo>
                    <a:pt x="5620313" y="2703716"/>
                  </a:lnTo>
                  <a:lnTo>
                    <a:pt x="5585026" y="2703716"/>
                  </a:lnTo>
                  <a:lnTo>
                    <a:pt x="5585026" y="2523933"/>
                  </a:lnTo>
                  <a:cubicBezTo>
                    <a:pt x="5578638" y="2528496"/>
                    <a:pt x="5571769" y="2532374"/>
                    <a:pt x="5564417" y="2535568"/>
                  </a:cubicBezTo>
                  <a:cubicBezTo>
                    <a:pt x="5557064" y="2538763"/>
                    <a:pt x="5548675" y="2541576"/>
                    <a:pt x="5539244" y="2544010"/>
                  </a:cubicBezTo>
                  <a:lnTo>
                    <a:pt x="5539244" y="2513894"/>
                  </a:lnTo>
                  <a:cubicBezTo>
                    <a:pt x="5545125" y="2511968"/>
                    <a:pt x="5550804" y="2509939"/>
                    <a:pt x="5556279" y="2507810"/>
                  </a:cubicBezTo>
                  <a:cubicBezTo>
                    <a:pt x="5561755" y="2505681"/>
                    <a:pt x="5567154" y="2503298"/>
                    <a:pt x="5572478" y="2500661"/>
                  </a:cubicBezTo>
                  <a:cubicBezTo>
                    <a:pt x="5577802" y="2498025"/>
                    <a:pt x="5583176" y="2495084"/>
                    <a:pt x="5588600" y="2491839"/>
                  </a:cubicBezTo>
                  <a:cubicBezTo>
                    <a:pt x="5594026" y="2488595"/>
                    <a:pt x="5599628" y="2484893"/>
                    <a:pt x="5605408" y="2480736"/>
                  </a:cubicBezTo>
                  <a:close/>
                  <a:moveTo>
                    <a:pt x="5455435" y="2480736"/>
                  </a:moveTo>
                  <a:lnTo>
                    <a:pt x="5470341" y="2480736"/>
                  </a:lnTo>
                  <a:lnTo>
                    <a:pt x="5470341" y="2703716"/>
                  </a:lnTo>
                  <a:lnTo>
                    <a:pt x="5435053" y="2703716"/>
                  </a:lnTo>
                  <a:lnTo>
                    <a:pt x="5435053" y="2523933"/>
                  </a:lnTo>
                  <a:cubicBezTo>
                    <a:pt x="5428664" y="2528496"/>
                    <a:pt x="5421796" y="2532374"/>
                    <a:pt x="5414443" y="2535568"/>
                  </a:cubicBezTo>
                  <a:cubicBezTo>
                    <a:pt x="5407092" y="2538763"/>
                    <a:pt x="5398702" y="2541576"/>
                    <a:pt x="5389271" y="2544010"/>
                  </a:cubicBezTo>
                  <a:lnTo>
                    <a:pt x="5389271" y="2513894"/>
                  </a:lnTo>
                  <a:cubicBezTo>
                    <a:pt x="5395152" y="2511968"/>
                    <a:pt x="5400831" y="2509939"/>
                    <a:pt x="5406306" y="2507810"/>
                  </a:cubicBezTo>
                  <a:cubicBezTo>
                    <a:pt x="5411782" y="2505681"/>
                    <a:pt x="5417182" y="2503298"/>
                    <a:pt x="5422505" y="2500661"/>
                  </a:cubicBezTo>
                  <a:cubicBezTo>
                    <a:pt x="5427829" y="2498025"/>
                    <a:pt x="5433203" y="2495084"/>
                    <a:pt x="5438628" y="2491839"/>
                  </a:cubicBezTo>
                  <a:cubicBezTo>
                    <a:pt x="5444053" y="2488595"/>
                    <a:pt x="5449655" y="2484893"/>
                    <a:pt x="5455435" y="2480736"/>
                  </a:cubicBezTo>
                  <a:close/>
                  <a:moveTo>
                    <a:pt x="5305462" y="2480736"/>
                  </a:moveTo>
                  <a:lnTo>
                    <a:pt x="5320368" y="2480736"/>
                  </a:lnTo>
                  <a:lnTo>
                    <a:pt x="5320368" y="2703716"/>
                  </a:lnTo>
                  <a:lnTo>
                    <a:pt x="5285079" y="2703716"/>
                  </a:lnTo>
                  <a:lnTo>
                    <a:pt x="5285079" y="2523933"/>
                  </a:lnTo>
                  <a:cubicBezTo>
                    <a:pt x="5278692" y="2528496"/>
                    <a:pt x="5271823" y="2532374"/>
                    <a:pt x="5264471" y="2535568"/>
                  </a:cubicBezTo>
                  <a:cubicBezTo>
                    <a:pt x="5257119" y="2538763"/>
                    <a:pt x="5248729" y="2541576"/>
                    <a:pt x="5239298" y="2544010"/>
                  </a:cubicBezTo>
                  <a:lnTo>
                    <a:pt x="5239298" y="2513894"/>
                  </a:lnTo>
                  <a:cubicBezTo>
                    <a:pt x="5245179" y="2511968"/>
                    <a:pt x="5250858" y="2509939"/>
                    <a:pt x="5256333" y="2507810"/>
                  </a:cubicBezTo>
                  <a:cubicBezTo>
                    <a:pt x="5261809" y="2505681"/>
                    <a:pt x="5267209" y="2503298"/>
                    <a:pt x="5272532" y="2500661"/>
                  </a:cubicBezTo>
                  <a:cubicBezTo>
                    <a:pt x="5277857" y="2498025"/>
                    <a:pt x="5283230" y="2495084"/>
                    <a:pt x="5288656" y="2491839"/>
                  </a:cubicBezTo>
                  <a:cubicBezTo>
                    <a:pt x="5294080" y="2488595"/>
                    <a:pt x="5299681" y="2484893"/>
                    <a:pt x="5305462" y="2480736"/>
                  </a:cubicBezTo>
                  <a:close/>
                  <a:moveTo>
                    <a:pt x="4556784" y="2480736"/>
                  </a:moveTo>
                  <a:lnTo>
                    <a:pt x="4571690" y="2480736"/>
                  </a:lnTo>
                  <a:lnTo>
                    <a:pt x="4571690" y="2703716"/>
                  </a:lnTo>
                  <a:lnTo>
                    <a:pt x="4536402" y="2703716"/>
                  </a:lnTo>
                  <a:lnTo>
                    <a:pt x="4536402" y="2523933"/>
                  </a:lnTo>
                  <a:cubicBezTo>
                    <a:pt x="4530014" y="2528496"/>
                    <a:pt x="4523145" y="2532374"/>
                    <a:pt x="4515793" y="2535568"/>
                  </a:cubicBezTo>
                  <a:cubicBezTo>
                    <a:pt x="4508441" y="2538763"/>
                    <a:pt x="4500051" y="2541576"/>
                    <a:pt x="4490620" y="2544010"/>
                  </a:cubicBezTo>
                  <a:lnTo>
                    <a:pt x="4490620" y="2513894"/>
                  </a:lnTo>
                  <a:cubicBezTo>
                    <a:pt x="4496501" y="2511968"/>
                    <a:pt x="4502179" y="2509939"/>
                    <a:pt x="4507655" y="2507810"/>
                  </a:cubicBezTo>
                  <a:cubicBezTo>
                    <a:pt x="4513131" y="2505681"/>
                    <a:pt x="4518531" y="2503298"/>
                    <a:pt x="4523854" y="2500661"/>
                  </a:cubicBezTo>
                  <a:cubicBezTo>
                    <a:pt x="4529178" y="2498025"/>
                    <a:pt x="4534552" y="2495084"/>
                    <a:pt x="4539977" y="2491839"/>
                  </a:cubicBezTo>
                  <a:cubicBezTo>
                    <a:pt x="4545402" y="2488595"/>
                    <a:pt x="4551004" y="2484893"/>
                    <a:pt x="4556784" y="2480736"/>
                  </a:cubicBezTo>
                  <a:close/>
                  <a:moveTo>
                    <a:pt x="4406811" y="2480736"/>
                  </a:moveTo>
                  <a:lnTo>
                    <a:pt x="4421716" y="2480736"/>
                  </a:lnTo>
                  <a:lnTo>
                    <a:pt x="4421716" y="2703716"/>
                  </a:lnTo>
                  <a:lnTo>
                    <a:pt x="4386429" y="2703716"/>
                  </a:lnTo>
                  <a:lnTo>
                    <a:pt x="4386429" y="2523933"/>
                  </a:lnTo>
                  <a:cubicBezTo>
                    <a:pt x="4380041" y="2528496"/>
                    <a:pt x="4373171" y="2532374"/>
                    <a:pt x="4365820" y="2535568"/>
                  </a:cubicBezTo>
                  <a:cubicBezTo>
                    <a:pt x="4358468" y="2538763"/>
                    <a:pt x="4350078" y="2541576"/>
                    <a:pt x="4340647" y="2544010"/>
                  </a:cubicBezTo>
                  <a:lnTo>
                    <a:pt x="4340647" y="2513894"/>
                  </a:lnTo>
                  <a:cubicBezTo>
                    <a:pt x="4346527" y="2511968"/>
                    <a:pt x="4352207" y="2509939"/>
                    <a:pt x="4357682" y="2507810"/>
                  </a:cubicBezTo>
                  <a:cubicBezTo>
                    <a:pt x="4363158" y="2505681"/>
                    <a:pt x="4368557" y="2503298"/>
                    <a:pt x="4373881" y="2500661"/>
                  </a:cubicBezTo>
                  <a:cubicBezTo>
                    <a:pt x="4379205" y="2498025"/>
                    <a:pt x="4384579" y="2495084"/>
                    <a:pt x="4390004" y="2491839"/>
                  </a:cubicBezTo>
                  <a:cubicBezTo>
                    <a:pt x="4395429" y="2488595"/>
                    <a:pt x="4401031" y="2484893"/>
                    <a:pt x="4406811" y="2480736"/>
                  </a:cubicBezTo>
                  <a:close/>
                  <a:moveTo>
                    <a:pt x="4106866" y="2480736"/>
                  </a:moveTo>
                  <a:lnTo>
                    <a:pt x="4121772" y="2480736"/>
                  </a:lnTo>
                  <a:lnTo>
                    <a:pt x="4121772" y="2703716"/>
                  </a:lnTo>
                  <a:lnTo>
                    <a:pt x="4086484" y="2703716"/>
                  </a:lnTo>
                  <a:lnTo>
                    <a:pt x="4086484" y="2523933"/>
                  </a:lnTo>
                  <a:cubicBezTo>
                    <a:pt x="4080096" y="2528496"/>
                    <a:pt x="4073226" y="2532374"/>
                    <a:pt x="4065875" y="2535568"/>
                  </a:cubicBezTo>
                  <a:cubicBezTo>
                    <a:pt x="4058523" y="2538763"/>
                    <a:pt x="4050133" y="2541576"/>
                    <a:pt x="4040701" y="2544010"/>
                  </a:cubicBezTo>
                  <a:lnTo>
                    <a:pt x="4040701" y="2513894"/>
                  </a:lnTo>
                  <a:cubicBezTo>
                    <a:pt x="4046583" y="2511968"/>
                    <a:pt x="4052262" y="2509939"/>
                    <a:pt x="4057737" y="2507810"/>
                  </a:cubicBezTo>
                  <a:cubicBezTo>
                    <a:pt x="4063213" y="2505681"/>
                    <a:pt x="4068613" y="2503298"/>
                    <a:pt x="4073936" y="2500661"/>
                  </a:cubicBezTo>
                  <a:cubicBezTo>
                    <a:pt x="4079260" y="2498025"/>
                    <a:pt x="4084634" y="2495084"/>
                    <a:pt x="4090059" y="2491839"/>
                  </a:cubicBezTo>
                  <a:cubicBezTo>
                    <a:pt x="4095484" y="2488595"/>
                    <a:pt x="4101086" y="2484893"/>
                    <a:pt x="4106866" y="2480736"/>
                  </a:cubicBezTo>
                  <a:close/>
                  <a:moveTo>
                    <a:pt x="3726275" y="2480736"/>
                  </a:moveTo>
                  <a:lnTo>
                    <a:pt x="3741181" y="2480736"/>
                  </a:lnTo>
                  <a:lnTo>
                    <a:pt x="3741181" y="2703716"/>
                  </a:lnTo>
                  <a:lnTo>
                    <a:pt x="3705893" y="2703716"/>
                  </a:lnTo>
                  <a:lnTo>
                    <a:pt x="3705893" y="2523933"/>
                  </a:lnTo>
                  <a:cubicBezTo>
                    <a:pt x="3699504" y="2528496"/>
                    <a:pt x="3692634" y="2532374"/>
                    <a:pt x="3685283" y="2535568"/>
                  </a:cubicBezTo>
                  <a:cubicBezTo>
                    <a:pt x="3677932" y="2538763"/>
                    <a:pt x="3669541" y="2541576"/>
                    <a:pt x="3660111" y="2544010"/>
                  </a:cubicBezTo>
                  <a:lnTo>
                    <a:pt x="3660111" y="2513894"/>
                  </a:lnTo>
                  <a:cubicBezTo>
                    <a:pt x="3665992" y="2511968"/>
                    <a:pt x="3671671" y="2509939"/>
                    <a:pt x="3677146" y="2507810"/>
                  </a:cubicBezTo>
                  <a:cubicBezTo>
                    <a:pt x="3682621" y="2505681"/>
                    <a:pt x="3688022" y="2503298"/>
                    <a:pt x="3693344" y="2500661"/>
                  </a:cubicBezTo>
                  <a:cubicBezTo>
                    <a:pt x="3698668" y="2498025"/>
                    <a:pt x="3704042" y="2495084"/>
                    <a:pt x="3709468" y="2491839"/>
                  </a:cubicBezTo>
                  <a:cubicBezTo>
                    <a:pt x="3714892" y="2488595"/>
                    <a:pt x="3720495" y="2484893"/>
                    <a:pt x="3726275" y="2480736"/>
                  </a:cubicBezTo>
                  <a:close/>
                  <a:moveTo>
                    <a:pt x="3576301" y="2480736"/>
                  </a:moveTo>
                  <a:lnTo>
                    <a:pt x="3591208" y="2480736"/>
                  </a:lnTo>
                  <a:lnTo>
                    <a:pt x="3591208" y="2703716"/>
                  </a:lnTo>
                  <a:lnTo>
                    <a:pt x="3555920" y="2703716"/>
                  </a:lnTo>
                  <a:lnTo>
                    <a:pt x="3555920" y="2523933"/>
                  </a:lnTo>
                  <a:cubicBezTo>
                    <a:pt x="3549532" y="2528496"/>
                    <a:pt x="3542662" y="2532374"/>
                    <a:pt x="3535311" y="2535568"/>
                  </a:cubicBezTo>
                  <a:cubicBezTo>
                    <a:pt x="3527958" y="2538763"/>
                    <a:pt x="3519568" y="2541576"/>
                    <a:pt x="3510138" y="2544010"/>
                  </a:cubicBezTo>
                  <a:lnTo>
                    <a:pt x="3510138" y="2513894"/>
                  </a:lnTo>
                  <a:cubicBezTo>
                    <a:pt x="3516019" y="2511968"/>
                    <a:pt x="3521698" y="2509939"/>
                    <a:pt x="3527173" y="2507810"/>
                  </a:cubicBezTo>
                  <a:cubicBezTo>
                    <a:pt x="3532648" y="2505681"/>
                    <a:pt x="3538049" y="2503298"/>
                    <a:pt x="3543372" y="2500661"/>
                  </a:cubicBezTo>
                  <a:cubicBezTo>
                    <a:pt x="3548695" y="2498025"/>
                    <a:pt x="3554069" y="2495084"/>
                    <a:pt x="3559494" y="2491839"/>
                  </a:cubicBezTo>
                  <a:cubicBezTo>
                    <a:pt x="3564920" y="2488595"/>
                    <a:pt x="3570522" y="2484893"/>
                    <a:pt x="3576301" y="2480736"/>
                  </a:cubicBezTo>
                  <a:close/>
                  <a:moveTo>
                    <a:pt x="3426329" y="2480736"/>
                  </a:moveTo>
                  <a:lnTo>
                    <a:pt x="3441235" y="2480736"/>
                  </a:lnTo>
                  <a:lnTo>
                    <a:pt x="3441235" y="2703716"/>
                  </a:lnTo>
                  <a:lnTo>
                    <a:pt x="3405947" y="2703716"/>
                  </a:lnTo>
                  <a:lnTo>
                    <a:pt x="3405947" y="2523933"/>
                  </a:lnTo>
                  <a:cubicBezTo>
                    <a:pt x="3399559" y="2528496"/>
                    <a:pt x="3392689" y="2532374"/>
                    <a:pt x="3385338" y="2535568"/>
                  </a:cubicBezTo>
                  <a:cubicBezTo>
                    <a:pt x="3377986" y="2538763"/>
                    <a:pt x="3369596" y="2541576"/>
                    <a:pt x="3360165" y="2544010"/>
                  </a:cubicBezTo>
                  <a:lnTo>
                    <a:pt x="3360165" y="2513894"/>
                  </a:lnTo>
                  <a:cubicBezTo>
                    <a:pt x="3366046" y="2511968"/>
                    <a:pt x="3371725" y="2509939"/>
                    <a:pt x="3377200" y="2507810"/>
                  </a:cubicBezTo>
                  <a:cubicBezTo>
                    <a:pt x="3382676" y="2505681"/>
                    <a:pt x="3388076" y="2503298"/>
                    <a:pt x="3393399" y="2500661"/>
                  </a:cubicBezTo>
                  <a:cubicBezTo>
                    <a:pt x="3398722" y="2498025"/>
                    <a:pt x="3404097" y="2495084"/>
                    <a:pt x="3409521" y="2491839"/>
                  </a:cubicBezTo>
                  <a:cubicBezTo>
                    <a:pt x="3414947" y="2488595"/>
                    <a:pt x="3420549" y="2484893"/>
                    <a:pt x="3426329" y="2480736"/>
                  </a:cubicBezTo>
                  <a:close/>
                  <a:moveTo>
                    <a:pt x="3276356" y="2480736"/>
                  </a:moveTo>
                  <a:lnTo>
                    <a:pt x="3291262" y="2480736"/>
                  </a:lnTo>
                  <a:lnTo>
                    <a:pt x="3291262" y="2703716"/>
                  </a:lnTo>
                  <a:lnTo>
                    <a:pt x="3255974" y="2703716"/>
                  </a:lnTo>
                  <a:lnTo>
                    <a:pt x="3255974" y="2523933"/>
                  </a:lnTo>
                  <a:cubicBezTo>
                    <a:pt x="3249586" y="2528496"/>
                    <a:pt x="3242716" y="2532374"/>
                    <a:pt x="3235365" y="2535568"/>
                  </a:cubicBezTo>
                  <a:cubicBezTo>
                    <a:pt x="3228013" y="2538763"/>
                    <a:pt x="3219623" y="2541576"/>
                    <a:pt x="3210192" y="2544010"/>
                  </a:cubicBezTo>
                  <a:lnTo>
                    <a:pt x="3210192" y="2513894"/>
                  </a:lnTo>
                  <a:cubicBezTo>
                    <a:pt x="3216073" y="2511968"/>
                    <a:pt x="3221752" y="2509939"/>
                    <a:pt x="3227227" y="2507810"/>
                  </a:cubicBezTo>
                  <a:cubicBezTo>
                    <a:pt x="3232702" y="2505681"/>
                    <a:pt x="3238103" y="2503298"/>
                    <a:pt x="3243426" y="2500661"/>
                  </a:cubicBezTo>
                  <a:cubicBezTo>
                    <a:pt x="3248750" y="2498025"/>
                    <a:pt x="3254124" y="2495084"/>
                    <a:pt x="3259549" y="2491839"/>
                  </a:cubicBezTo>
                  <a:cubicBezTo>
                    <a:pt x="3264974" y="2488595"/>
                    <a:pt x="3270576" y="2484893"/>
                    <a:pt x="3276356" y="2480736"/>
                  </a:cubicBezTo>
                  <a:close/>
                  <a:moveTo>
                    <a:pt x="3072419" y="2480736"/>
                  </a:moveTo>
                  <a:cubicBezTo>
                    <a:pt x="3119863" y="2480736"/>
                    <a:pt x="3143586" y="2517599"/>
                    <a:pt x="3143586" y="2591324"/>
                  </a:cubicBezTo>
                  <a:cubicBezTo>
                    <a:pt x="3143586" y="2627835"/>
                    <a:pt x="3136891" y="2655695"/>
                    <a:pt x="3123500" y="2674903"/>
                  </a:cubicBezTo>
                  <a:cubicBezTo>
                    <a:pt x="3110109" y="2694111"/>
                    <a:pt x="3091377" y="2703716"/>
                    <a:pt x="3067303" y="2703716"/>
                  </a:cubicBezTo>
                  <a:cubicBezTo>
                    <a:pt x="3044835" y="2703716"/>
                    <a:pt x="3027306" y="2694538"/>
                    <a:pt x="3014718" y="2676182"/>
                  </a:cubicBezTo>
                  <a:cubicBezTo>
                    <a:pt x="3002129" y="2657826"/>
                    <a:pt x="2995835" y="2631295"/>
                    <a:pt x="2995835" y="2596590"/>
                  </a:cubicBezTo>
                  <a:cubicBezTo>
                    <a:pt x="2995835" y="2558473"/>
                    <a:pt x="3002405" y="2529635"/>
                    <a:pt x="3015545" y="2510075"/>
                  </a:cubicBezTo>
                  <a:cubicBezTo>
                    <a:pt x="3028686" y="2490516"/>
                    <a:pt x="3047643" y="2480736"/>
                    <a:pt x="3072419" y="2480736"/>
                  </a:cubicBezTo>
                  <a:close/>
                  <a:moveTo>
                    <a:pt x="2942173" y="2480736"/>
                  </a:moveTo>
                  <a:lnTo>
                    <a:pt x="2957079" y="2480736"/>
                  </a:lnTo>
                  <a:lnTo>
                    <a:pt x="2957079" y="2703716"/>
                  </a:lnTo>
                  <a:lnTo>
                    <a:pt x="2921791" y="2703716"/>
                  </a:lnTo>
                  <a:lnTo>
                    <a:pt x="2921791" y="2523933"/>
                  </a:lnTo>
                  <a:cubicBezTo>
                    <a:pt x="2915403" y="2528496"/>
                    <a:pt x="2908533" y="2532374"/>
                    <a:pt x="2901182" y="2535568"/>
                  </a:cubicBezTo>
                  <a:cubicBezTo>
                    <a:pt x="2893830" y="2538763"/>
                    <a:pt x="2885440" y="2541576"/>
                    <a:pt x="2876008" y="2544010"/>
                  </a:cubicBezTo>
                  <a:lnTo>
                    <a:pt x="2876008" y="2513894"/>
                  </a:lnTo>
                  <a:cubicBezTo>
                    <a:pt x="2881890" y="2511968"/>
                    <a:pt x="2887569" y="2509939"/>
                    <a:pt x="2893044" y="2507810"/>
                  </a:cubicBezTo>
                  <a:cubicBezTo>
                    <a:pt x="2898520" y="2505681"/>
                    <a:pt x="2903920" y="2503298"/>
                    <a:pt x="2909242" y="2500661"/>
                  </a:cubicBezTo>
                  <a:cubicBezTo>
                    <a:pt x="2914567" y="2498025"/>
                    <a:pt x="2919941" y="2495084"/>
                    <a:pt x="2925366" y="2491839"/>
                  </a:cubicBezTo>
                  <a:cubicBezTo>
                    <a:pt x="2930790" y="2488595"/>
                    <a:pt x="2936393" y="2484893"/>
                    <a:pt x="2942173" y="2480736"/>
                  </a:cubicBezTo>
                  <a:close/>
                  <a:moveTo>
                    <a:pt x="2725616" y="2480736"/>
                  </a:moveTo>
                  <a:cubicBezTo>
                    <a:pt x="2773060" y="2480736"/>
                    <a:pt x="2796783" y="2517599"/>
                    <a:pt x="2796783" y="2591324"/>
                  </a:cubicBezTo>
                  <a:cubicBezTo>
                    <a:pt x="2796783" y="2627835"/>
                    <a:pt x="2790088" y="2655695"/>
                    <a:pt x="2776697" y="2674903"/>
                  </a:cubicBezTo>
                  <a:cubicBezTo>
                    <a:pt x="2763306" y="2694111"/>
                    <a:pt x="2744574" y="2703716"/>
                    <a:pt x="2720500" y="2703716"/>
                  </a:cubicBezTo>
                  <a:cubicBezTo>
                    <a:pt x="2698031" y="2703716"/>
                    <a:pt x="2680503" y="2694538"/>
                    <a:pt x="2667915" y="2676182"/>
                  </a:cubicBezTo>
                  <a:cubicBezTo>
                    <a:pt x="2655326" y="2657826"/>
                    <a:pt x="2649032" y="2631295"/>
                    <a:pt x="2649032" y="2596590"/>
                  </a:cubicBezTo>
                  <a:cubicBezTo>
                    <a:pt x="2649032" y="2558473"/>
                    <a:pt x="2655602" y="2529635"/>
                    <a:pt x="2668742" y="2510075"/>
                  </a:cubicBezTo>
                  <a:cubicBezTo>
                    <a:pt x="2681883" y="2490516"/>
                    <a:pt x="2700840" y="2480736"/>
                    <a:pt x="2725616" y="2480736"/>
                  </a:cubicBezTo>
                  <a:close/>
                  <a:moveTo>
                    <a:pt x="2034250" y="2480736"/>
                  </a:moveTo>
                  <a:cubicBezTo>
                    <a:pt x="2081695" y="2480736"/>
                    <a:pt x="2105417" y="2517599"/>
                    <a:pt x="2105417" y="2591324"/>
                  </a:cubicBezTo>
                  <a:cubicBezTo>
                    <a:pt x="2105417" y="2627835"/>
                    <a:pt x="2098723" y="2655695"/>
                    <a:pt x="2085332" y="2674903"/>
                  </a:cubicBezTo>
                  <a:cubicBezTo>
                    <a:pt x="2071941" y="2694111"/>
                    <a:pt x="2053208" y="2703716"/>
                    <a:pt x="2029134" y="2703716"/>
                  </a:cubicBezTo>
                  <a:cubicBezTo>
                    <a:pt x="2006666" y="2703716"/>
                    <a:pt x="1989138" y="2694538"/>
                    <a:pt x="1976549" y="2676182"/>
                  </a:cubicBezTo>
                  <a:cubicBezTo>
                    <a:pt x="1963960" y="2657826"/>
                    <a:pt x="1957666" y="2631295"/>
                    <a:pt x="1957666" y="2596590"/>
                  </a:cubicBezTo>
                  <a:cubicBezTo>
                    <a:pt x="1957666" y="2558473"/>
                    <a:pt x="1964236" y="2529635"/>
                    <a:pt x="1977376" y="2510075"/>
                  </a:cubicBezTo>
                  <a:cubicBezTo>
                    <a:pt x="1990517" y="2490516"/>
                    <a:pt x="2009474" y="2480736"/>
                    <a:pt x="2034250" y="2480736"/>
                  </a:cubicBezTo>
                  <a:close/>
                  <a:moveTo>
                    <a:pt x="1661890" y="2480736"/>
                  </a:moveTo>
                  <a:lnTo>
                    <a:pt x="1676796" y="2480736"/>
                  </a:lnTo>
                  <a:lnTo>
                    <a:pt x="1676796" y="2703716"/>
                  </a:lnTo>
                  <a:lnTo>
                    <a:pt x="1641507" y="2703716"/>
                  </a:lnTo>
                  <a:lnTo>
                    <a:pt x="1641507" y="2523933"/>
                  </a:lnTo>
                  <a:cubicBezTo>
                    <a:pt x="1635120" y="2528496"/>
                    <a:pt x="1628249" y="2532374"/>
                    <a:pt x="1620898" y="2535568"/>
                  </a:cubicBezTo>
                  <a:cubicBezTo>
                    <a:pt x="1613546" y="2538763"/>
                    <a:pt x="1605156" y="2541576"/>
                    <a:pt x="1595726" y="2544010"/>
                  </a:cubicBezTo>
                  <a:lnTo>
                    <a:pt x="1595726" y="2513894"/>
                  </a:lnTo>
                  <a:cubicBezTo>
                    <a:pt x="1601607" y="2511968"/>
                    <a:pt x="1607286" y="2509939"/>
                    <a:pt x="1612761" y="2507810"/>
                  </a:cubicBezTo>
                  <a:cubicBezTo>
                    <a:pt x="1618236" y="2505681"/>
                    <a:pt x="1623637" y="2503298"/>
                    <a:pt x="1628960" y="2500661"/>
                  </a:cubicBezTo>
                  <a:cubicBezTo>
                    <a:pt x="1634284" y="2498025"/>
                    <a:pt x="1639657" y="2495084"/>
                    <a:pt x="1645083" y="2491839"/>
                  </a:cubicBezTo>
                  <a:cubicBezTo>
                    <a:pt x="1650508" y="2488595"/>
                    <a:pt x="1656109" y="2484893"/>
                    <a:pt x="1661890" y="2480736"/>
                  </a:cubicBezTo>
                  <a:close/>
                  <a:moveTo>
                    <a:pt x="1285224" y="2480736"/>
                  </a:moveTo>
                  <a:lnTo>
                    <a:pt x="1300130" y="2480736"/>
                  </a:lnTo>
                  <a:lnTo>
                    <a:pt x="1300130" y="2703716"/>
                  </a:lnTo>
                  <a:lnTo>
                    <a:pt x="1264841" y="2703716"/>
                  </a:lnTo>
                  <a:lnTo>
                    <a:pt x="1264841" y="2523933"/>
                  </a:lnTo>
                  <a:cubicBezTo>
                    <a:pt x="1258454" y="2528496"/>
                    <a:pt x="1251583" y="2532374"/>
                    <a:pt x="1244232" y="2535568"/>
                  </a:cubicBezTo>
                  <a:cubicBezTo>
                    <a:pt x="1236881" y="2538763"/>
                    <a:pt x="1228490" y="2541576"/>
                    <a:pt x="1219060" y="2544010"/>
                  </a:cubicBezTo>
                  <a:lnTo>
                    <a:pt x="1219060" y="2513894"/>
                  </a:lnTo>
                  <a:cubicBezTo>
                    <a:pt x="1224940" y="2511968"/>
                    <a:pt x="1230619" y="2509939"/>
                    <a:pt x="1236094" y="2507810"/>
                  </a:cubicBezTo>
                  <a:cubicBezTo>
                    <a:pt x="1241571" y="2505681"/>
                    <a:pt x="1246971" y="2503298"/>
                    <a:pt x="1252294" y="2500661"/>
                  </a:cubicBezTo>
                  <a:cubicBezTo>
                    <a:pt x="1257618" y="2498025"/>
                    <a:pt x="1262992" y="2495084"/>
                    <a:pt x="1268416" y="2491839"/>
                  </a:cubicBezTo>
                  <a:cubicBezTo>
                    <a:pt x="1273842" y="2488595"/>
                    <a:pt x="1279443" y="2484893"/>
                    <a:pt x="1285224" y="2480736"/>
                  </a:cubicBezTo>
                  <a:close/>
                  <a:moveTo>
                    <a:pt x="985278" y="2480736"/>
                  </a:moveTo>
                  <a:lnTo>
                    <a:pt x="1000183" y="2480736"/>
                  </a:lnTo>
                  <a:lnTo>
                    <a:pt x="1000183" y="2703716"/>
                  </a:lnTo>
                  <a:lnTo>
                    <a:pt x="964896" y="2703716"/>
                  </a:lnTo>
                  <a:lnTo>
                    <a:pt x="964896" y="2523933"/>
                  </a:lnTo>
                  <a:cubicBezTo>
                    <a:pt x="958508" y="2528496"/>
                    <a:pt x="951638" y="2532374"/>
                    <a:pt x="944286" y="2535568"/>
                  </a:cubicBezTo>
                  <a:cubicBezTo>
                    <a:pt x="936935" y="2538763"/>
                    <a:pt x="928544" y="2541576"/>
                    <a:pt x="919114" y="2544010"/>
                  </a:cubicBezTo>
                  <a:lnTo>
                    <a:pt x="919114" y="2513894"/>
                  </a:lnTo>
                  <a:cubicBezTo>
                    <a:pt x="924995" y="2511968"/>
                    <a:pt x="930674" y="2509939"/>
                    <a:pt x="936149" y="2507810"/>
                  </a:cubicBezTo>
                  <a:cubicBezTo>
                    <a:pt x="941624" y="2505681"/>
                    <a:pt x="947024" y="2503298"/>
                    <a:pt x="952348" y="2500661"/>
                  </a:cubicBezTo>
                  <a:cubicBezTo>
                    <a:pt x="957672" y="2498025"/>
                    <a:pt x="963046" y="2495084"/>
                    <a:pt x="968471" y="2491839"/>
                  </a:cubicBezTo>
                  <a:cubicBezTo>
                    <a:pt x="973896" y="2488595"/>
                    <a:pt x="979498" y="2484893"/>
                    <a:pt x="985278" y="2480736"/>
                  </a:cubicBezTo>
                  <a:close/>
                  <a:moveTo>
                    <a:pt x="779044" y="2480736"/>
                  </a:moveTo>
                  <a:cubicBezTo>
                    <a:pt x="826488" y="2480736"/>
                    <a:pt x="850211" y="2517599"/>
                    <a:pt x="850211" y="2591324"/>
                  </a:cubicBezTo>
                  <a:cubicBezTo>
                    <a:pt x="850211" y="2627835"/>
                    <a:pt x="843515" y="2655695"/>
                    <a:pt x="830125" y="2674903"/>
                  </a:cubicBezTo>
                  <a:cubicBezTo>
                    <a:pt x="816734" y="2694111"/>
                    <a:pt x="798002" y="2703716"/>
                    <a:pt x="773928" y="2703716"/>
                  </a:cubicBezTo>
                  <a:cubicBezTo>
                    <a:pt x="751460" y="2703716"/>
                    <a:pt x="733931" y="2694538"/>
                    <a:pt x="721343" y="2676182"/>
                  </a:cubicBezTo>
                  <a:cubicBezTo>
                    <a:pt x="708754" y="2657826"/>
                    <a:pt x="702460" y="2631295"/>
                    <a:pt x="702460" y="2596590"/>
                  </a:cubicBezTo>
                  <a:cubicBezTo>
                    <a:pt x="702460" y="2558473"/>
                    <a:pt x="709030" y="2529635"/>
                    <a:pt x="722170" y="2510075"/>
                  </a:cubicBezTo>
                  <a:cubicBezTo>
                    <a:pt x="735311" y="2490516"/>
                    <a:pt x="754267" y="2480736"/>
                    <a:pt x="779044" y="2480736"/>
                  </a:cubicBezTo>
                  <a:close/>
                  <a:moveTo>
                    <a:pt x="558444" y="2480736"/>
                  </a:moveTo>
                  <a:cubicBezTo>
                    <a:pt x="605888" y="2480736"/>
                    <a:pt x="629611" y="2517599"/>
                    <a:pt x="629611" y="2591324"/>
                  </a:cubicBezTo>
                  <a:cubicBezTo>
                    <a:pt x="629611" y="2627835"/>
                    <a:pt x="622915" y="2655695"/>
                    <a:pt x="609525" y="2674903"/>
                  </a:cubicBezTo>
                  <a:cubicBezTo>
                    <a:pt x="596134" y="2694111"/>
                    <a:pt x="577402" y="2703716"/>
                    <a:pt x="553328" y="2703716"/>
                  </a:cubicBezTo>
                  <a:cubicBezTo>
                    <a:pt x="530860" y="2703716"/>
                    <a:pt x="513331" y="2694538"/>
                    <a:pt x="500742" y="2676182"/>
                  </a:cubicBezTo>
                  <a:cubicBezTo>
                    <a:pt x="488154" y="2657826"/>
                    <a:pt x="481860" y="2631295"/>
                    <a:pt x="481860" y="2596590"/>
                  </a:cubicBezTo>
                  <a:cubicBezTo>
                    <a:pt x="481860" y="2558473"/>
                    <a:pt x="488430" y="2529635"/>
                    <a:pt x="501570" y="2510075"/>
                  </a:cubicBezTo>
                  <a:cubicBezTo>
                    <a:pt x="514711" y="2490516"/>
                    <a:pt x="533668" y="2480736"/>
                    <a:pt x="558444" y="2480736"/>
                  </a:cubicBezTo>
                  <a:close/>
                  <a:moveTo>
                    <a:pt x="391282" y="2480736"/>
                  </a:moveTo>
                  <a:lnTo>
                    <a:pt x="406188" y="2480736"/>
                  </a:lnTo>
                  <a:lnTo>
                    <a:pt x="406188" y="2703716"/>
                  </a:lnTo>
                  <a:lnTo>
                    <a:pt x="370900" y="2703716"/>
                  </a:lnTo>
                  <a:lnTo>
                    <a:pt x="370900" y="2523933"/>
                  </a:lnTo>
                  <a:cubicBezTo>
                    <a:pt x="364512" y="2528496"/>
                    <a:pt x="357642" y="2532374"/>
                    <a:pt x="350291" y="2535568"/>
                  </a:cubicBezTo>
                  <a:cubicBezTo>
                    <a:pt x="342939" y="2538763"/>
                    <a:pt x="334547" y="2541576"/>
                    <a:pt x="325118" y="2544010"/>
                  </a:cubicBezTo>
                  <a:lnTo>
                    <a:pt x="325118" y="2513894"/>
                  </a:lnTo>
                  <a:cubicBezTo>
                    <a:pt x="330999" y="2511968"/>
                    <a:pt x="336677" y="2509939"/>
                    <a:pt x="342153" y="2507810"/>
                  </a:cubicBezTo>
                  <a:cubicBezTo>
                    <a:pt x="347629" y="2505681"/>
                    <a:pt x="353029" y="2503298"/>
                    <a:pt x="358352" y="2500661"/>
                  </a:cubicBezTo>
                  <a:cubicBezTo>
                    <a:pt x="363676" y="2498025"/>
                    <a:pt x="369050" y="2495084"/>
                    <a:pt x="374475" y="2491839"/>
                  </a:cubicBezTo>
                  <a:cubicBezTo>
                    <a:pt x="379900" y="2488595"/>
                    <a:pt x="385502" y="2484893"/>
                    <a:pt x="391282" y="2480736"/>
                  </a:cubicBezTo>
                  <a:close/>
                  <a:moveTo>
                    <a:pt x="91336" y="2480736"/>
                  </a:moveTo>
                  <a:lnTo>
                    <a:pt x="106242" y="2480736"/>
                  </a:lnTo>
                  <a:lnTo>
                    <a:pt x="106242" y="2703716"/>
                  </a:lnTo>
                  <a:lnTo>
                    <a:pt x="70954" y="2703716"/>
                  </a:lnTo>
                  <a:lnTo>
                    <a:pt x="70954" y="2523933"/>
                  </a:lnTo>
                  <a:cubicBezTo>
                    <a:pt x="64566" y="2528496"/>
                    <a:pt x="57696" y="2532374"/>
                    <a:pt x="50345" y="2535568"/>
                  </a:cubicBezTo>
                  <a:cubicBezTo>
                    <a:pt x="42993" y="2538763"/>
                    <a:pt x="34602" y="2541576"/>
                    <a:pt x="25172" y="2544010"/>
                  </a:cubicBezTo>
                  <a:lnTo>
                    <a:pt x="25172" y="2513894"/>
                  </a:lnTo>
                  <a:cubicBezTo>
                    <a:pt x="31053" y="2511968"/>
                    <a:pt x="36732" y="2509939"/>
                    <a:pt x="42207" y="2507810"/>
                  </a:cubicBezTo>
                  <a:cubicBezTo>
                    <a:pt x="47683" y="2505681"/>
                    <a:pt x="53083" y="2503298"/>
                    <a:pt x="58406" y="2500661"/>
                  </a:cubicBezTo>
                  <a:cubicBezTo>
                    <a:pt x="63730" y="2498025"/>
                    <a:pt x="69104" y="2495084"/>
                    <a:pt x="74529" y="2491839"/>
                  </a:cubicBezTo>
                  <a:cubicBezTo>
                    <a:pt x="79954" y="2488595"/>
                    <a:pt x="85556" y="2484893"/>
                    <a:pt x="91336" y="2480736"/>
                  </a:cubicBezTo>
                  <a:close/>
                  <a:moveTo>
                    <a:pt x="11987506" y="2204600"/>
                  </a:moveTo>
                  <a:cubicBezTo>
                    <a:pt x="11961326" y="2204600"/>
                    <a:pt x="11948236" y="2233438"/>
                    <a:pt x="11948236" y="2291114"/>
                  </a:cubicBezTo>
                  <a:cubicBezTo>
                    <a:pt x="11948236" y="2345078"/>
                    <a:pt x="11961075" y="2372061"/>
                    <a:pt x="11986754" y="2372061"/>
                  </a:cubicBezTo>
                  <a:cubicBezTo>
                    <a:pt x="12012030" y="2372061"/>
                    <a:pt x="12024669" y="2344627"/>
                    <a:pt x="12024669" y="2289760"/>
                  </a:cubicBezTo>
                  <a:cubicBezTo>
                    <a:pt x="12024669" y="2232986"/>
                    <a:pt x="12012281" y="2204600"/>
                    <a:pt x="11987506" y="2204600"/>
                  </a:cubicBezTo>
                  <a:close/>
                  <a:moveTo>
                    <a:pt x="11770996" y="2204600"/>
                  </a:moveTo>
                  <a:cubicBezTo>
                    <a:pt x="11744816" y="2204600"/>
                    <a:pt x="11731726" y="2233438"/>
                    <a:pt x="11731726" y="2291114"/>
                  </a:cubicBezTo>
                  <a:cubicBezTo>
                    <a:pt x="11731726" y="2345078"/>
                    <a:pt x="11744565" y="2372061"/>
                    <a:pt x="11770244" y="2372061"/>
                  </a:cubicBezTo>
                  <a:cubicBezTo>
                    <a:pt x="11795520" y="2372061"/>
                    <a:pt x="11808159" y="2344627"/>
                    <a:pt x="11808159" y="2289760"/>
                  </a:cubicBezTo>
                  <a:cubicBezTo>
                    <a:pt x="11808159" y="2232986"/>
                    <a:pt x="11795771" y="2204600"/>
                    <a:pt x="11770996" y="2204600"/>
                  </a:cubicBezTo>
                  <a:close/>
                  <a:moveTo>
                    <a:pt x="6976208" y="2204600"/>
                  </a:moveTo>
                  <a:cubicBezTo>
                    <a:pt x="6950028" y="2204600"/>
                    <a:pt x="6936938" y="2233438"/>
                    <a:pt x="6936938" y="2291114"/>
                  </a:cubicBezTo>
                  <a:cubicBezTo>
                    <a:pt x="6936938" y="2345078"/>
                    <a:pt x="6949777" y="2372061"/>
                    <a:pt x="6975456" y="2372061"/>
                  </a:cubicBezTo>
                  <a:cubicBezTo>
                    <a:pt x="7000733" y="2372061"/>
                    <a:pt x="7013371" y="2344627"/>
                    <a:pt x="7013371" y="2289760"/>
                  </a:cubicBezTo>
                  <a:cubicBezTo>
                    <a:pt x="7013371" y="2232986"/>
                    <a:pt x="7000983" y="2204600"/>
                    <a:pt x="6976208" y="2204600"/>
                  </a:cubicBezTo>
                  <a:close/>
                  <a:moveTo>
                    <a:pt x="6759698" y="2204600"/>
                  </a:moveTo>
                  <a:cubicBezTo>
                    <a:pt x="6733518" y="2204600"/>
                    <a:pt x="6720428" y="2233438"/>
                    <a:pt x="6720428" y="2291114"/>
                  </a:cubicBezTo>
                  <a:cubicBezTo>
                    <a:pt x="6720428" y="2345078"/>
                    <a:pt x="6733267" y="2372061"/>
                    <a:pt x="6758946" y="2372061"/>
                  </a:cubicBezTo>
                  <a:cubicBezTo>
                    <a:pt x="6784223" y="2372061"/>
                    <a:pt x="6796861" y="2344627"/>
                    <a:pt x="6796861" y="2289760"/>
                  </a:cubicBezTo>
                  <a:cubicBezTo>
                    <a:pt x="6796861" y="2232986"/>
                    <a:pt x="6784473" y="2204600"/>
                    <a:pt x="6759698" y="2204600"/>
                  </a:cubicBezTo>
                  <a:close/>
                  <a:moveTo>
                    <a:pt x="6141921" y="2204600"/>
                  </a:moveTo>
                  <a:cubicBezTo>
                    <a:pt x="6115741" y="2204600"/>
                    <a:pt x="6102651" y="2233438"/>
                    <a:pt x="6102651" y="2291114"/>
                  </a:cubicBezTo>
                  <a:cubicBezTo>
                    <a:pt x="6102651" y="2345078"/>
                    <a:pt x="6115490" y="2372061"/>
                    <a:pt x="6141169" y="2372061"/>
                  </a:cubicBezTo>
                  <a:cubicBezTo>
                    <a:pt x="6166446" y="2372061"/>
                    <a:pt x="6179084" y="2344627"/>
                    <a:pt x="6179084" y="2289760"/>
                  </a:cubicBezTo>
                  <a:cubicBezTo>
                    <a:pt x="6179084" y="2232986"/>
                    <a:pt x="6166696" y="2204600"/>
                    <a:pt x="6141921" y="2204600"/>
                  </a:cubicBezTo>
                  <a:close/>
                  <a:moveTo>
                    <a:pt x="5925411" y="2204600"/>
                  </a:moveTo>
                  <a:cubicBezTo>
                    <a:pt x="5899231" y="2204600"/>
                    <a:pt x="5886141" y="2233438"/>
                    <a:pt x="5886141" y="2291114"/>
                  </a:cubicBezTo>
                  <a:cubicBezTo>
                    <a:pt x="5886141" y="2345078"/>
                    <a:pt x="5898981" y="2372061"/>
                    <a:pt x="5924659" y="2372061"/>
                  </a:cubicBezTo>
                  <a:cubicBezTo>
                    <a:pt x="5949935" y="2372061"/>
                    <a:pt x="5962574" y="2344627"/>
                    <a:pt x="5962574" y="2289760"/>
                  </a:cubicBezTo>
                  <a:cubicBezTo>
                    <a:pt x="5962574" y="2232986"/>
                    <a:pt x="5950186" y="2204600"/>
                    <a:pt x="5925411" y="2204600"/>
                  </a:cubicBezTo>
                  <a:close/>
                  <a:moveTo>
                    <a:pt x="5701303" y="2204600"/>
                  </a:moveTo>
                  <a:cubicBezTo>
                    <a:pt x="5675125" y="2204600"/>
                    <a:pt x="5662035" y="2233438"/>
                    <a:pt x="5662035" y="2291114"/>
                  </a:cubicBezTo>
                  <a:cubicBezTo>
                    <a:pt x="5662035" y="2345078"/>
                    <a:pt x="5674873" y="2372061"/>
                    <a:pt x="5700551" y="2372061"/>
                  </a:cubicBezTo>
                  <a:cubicBezTo>
                    <a:pt x="5725828" y="2372061"/>
                    <a:pt x="5738467" y="2344627"/>
                    <a:pt x="5738467" y="2289760"/>
                  </a:cubicBezTo>
                  <a:cubicBezTo>
                    <a:pt x="5738467" y="2232986"/>
                    <a:pt x="5726080" y="2204600"/>
                    <a:pt x="5701303" y="2204600"/>
                  </a:cubicBezTo>
                  <a:close/>
                  <a:moveTo>
                    <a:pt x="923326" y="2204600"/>
                  </a:moveTo>
                  <a:cubicBezTo>
                    <a:pt x="897146" y="2204600"/>
                    <a:pt x="884056" y="2233438"/>
                    <a:pt x="884056" y="2291114"/>
                  </a:cubicBezTo>
                  <a:cubicBezTo>
                    <a:pt x="884056" y="2345078"/>
                    <a:pt x="896895" y="2372061"/>
                    <a:pt x="922574" y="2372061"/>
                  </a:cubicBezTo>
                  <a:cubicBezTo>
                    <a:pt x="947851" y="2372061"/>
                    <a:pt x="960489" y="2344627"/>
                    <a:pt x="960489" y="2289760"/>
                  </a:cubicBezTo>
                  <a:cubicBezTo>
                    <a:pt x="960489" y="2232986"/>
                    <a:pt x="948102" y="2204600"/>
                    <a:pt x="923326" y="2204600"/>
                  </a:cubicBezTo>
                  <a:close/>
                  <a:moveTo>
                    <a:pt x="707049" y="2204600"/>
                  </a:moveTo>
                  <a:cubicBezTo>
                    <a:pt x="680870" y="2204600"/>
                    <a:pt x="667781" y="2233438"/>
                    <a:pt x="667781" y="2291114"/>
                  </a:cubicBezTo>
                  <a:cubicBezTo>
                    <a:pt x="667781" y="2345078"/>
                    <a:pt x="680621" y="2372061"/>
                    <a:pt x="706298" y="2372061"/>
                  </a:cubicBezTo>
                  <a:cubicBezTo>
                    <a:pt x="731575" y="2372061"/>
                    <a:pt x="744214" y="2344627"/>
                    <a:pt x="744214" y="2289760"/>
                  </a:cubicBezTo>
                  <a:cubicBezTo>
                    <a:pt x="744214" y="2232986"/>
                    <a:pt x="731826" y="2204600"/>
                    <a:pt x="707049" y="2204600"/>
                  </a:cubicBezTo>
                  <a:close/>
                  <a:moveTo>
                    <a:pt x="85445" y="2204600"/>
                  </a:moveTo>
                  <a:cubicBezTo>
                    <a:pt x="59265" y="2204600"/>
                    <a:pt x="46174" y="2233438"/>
                    <a:pt x="46174" y="2291114"/>
                  </a:cubicBezTo>
                  <a:cubicBezTo>
                    <a:pt x="46174" y="2345078"/>
                    <a:pt x="59012" y="2372061"/>
                    <a:pt x="84690" y="2372061"/>
                  </a:cubicBezTo>
                  <a:cubicBezTo>
                    <a:pt x="109967" y="2372061"/>
                    <a:pt x="122606" y="2344627"/>
                    <a:pt x="122606" y="2289760"/>
                  </a:cubicBezTo>
                  <a:cubicBezTo>
                    <a:pt x="122606" y="2232986"/>
                    <a:pt x="110219" y="2204600"/>
                    <a:pt x="85445" y="2204600"/>
                  </a:cubicBezTo>
                  <a:close/>
                  <a:moveTo>
                    <a:pt x="11989161" y="2176765"/>
                  </a:moveTo>
                  <a:cubicBezTo>
                    <a:pt x="12036605" y="2176765"/>
                    <a:pt x="12060328" y="2213628"/>
                    <a:pt x="12060328" y="2287352"/>
                  </a:cubicBezTo>
                  <a:cubicBezTo>
                    <a:pt x="12060328" y="2323864"/>
                    <a:pt x="12053632" y="2351724"/>
                    <a:pt x="12040242" y="2370932"/>
                  </a:cubicBezTo>
                  <a:cubicBezTo>
                    <a:pt x="12026851" y="2390140"/>
                    <a:pt x="12008119" y="2399745"/>
                    <a:pt x="11984045" y="2399745"/>
                  </a:cubicBezTo>
                  <a:cubicBezTo>
                    <a:pt x="11961577" y="2399745"/>
                    <a:pt x="11944048" y="2390567"/>
                    <a:pt x="11931460" y="2372211"/>
                  </a:cubicBezTo>
                  <a:cubicBezTo>
                    <a:pt x="11918871" y="2353855"/>
                    <a:pt x="11912577" y="2327324"/>
                    <a:pt x="11912577" y="2292619"/>
                  </a:cubicBezTo>
                  <a:cubicBezTo>
                    <a:pt x="11912577" y="2254502"/>
                    <a:pt x="11919147" y="2225664"/>
                    <a:pt x="11932287" y="2206104"/>
                  </a:cubicBezTo>
                  <a:cubicBezTo>
                    <a:pt x="11945428" y="2186545"/>
                    <a:pt x="11964385" y="2176765"/>
                    <a:pt x="11989161" y="2176765"/>
                  </a:cubicBezTo>
                  <a:close/>
                  <a:moveTo>
                    <a:pt x="11772651" y="2176765"/>
                  </a:moveTo>
                  <a:cubicBezTo>
                    <a:pt x="11820095" y="2176765"/>
                    <a:pt x="11843818" y="2213628"/>
                    <a:pt x="11843818" y="2287352"/>
                  </a:cubicBezTo>
                  <a:cubicBezTo>
                    <a:pt x="11843818" y="2323864"/>
                    <a:pt x="11837122" y="2351724"/>
                    <a:pt x="11823732" y="2370932"/>
                  </a:cubicBezTo>
                  <a:cubicBezTo>
                    <a:pt x="11810341" y="2390140"/>
                    <a:pt x="11791609" y="2399745"/>
                    <a:pt x="11767535" y="2399745"/>
                  </a:cubicBezTo>
                  <a:cubicBezTo>
                    <a:pt x="11745067" y="2399745"/>
                    <a:pt x="11727538" y="2390567"/>
                    <a:pt x="11714950" y="2372211"/>
                  </a:cubicBezTo>
                  <a:cubicBezTo>
                    <a:pt x="11702361" y="2353855"/>
                    <a:pt x="11696067" y="2327324"/>
                    <a:pt x="11696067" y="2292619"/>
                  </a:cubicBezTo>
                  <a:cubicBezTo>
                    <a:pt x="11696067" y="2254502"/>
                    <a:pt x="11702637" y="2225664"/>
                    <a:pt x="11715777" y="2206104"/>
                  </a:cubicBezTo>
                  <a:cubicBezTo>
                    <a:pt x="11728918" y="2186545"/>
                    <a:pt x="11747875" y="2176765"/>
                    <a:pt x="11772651" y="2176765"/>
                  </a:cubicBezTo>
                  <a:close/>
                  <a:moveTo>
                    <a:pt x="11621096" y="2176765"/>
                  </a:moveTo>
                  <a:lnTo>
                    <a:pt x="11636002" y="2176765"/>
                  </a:lnTo>
                  <a:lnTo>
                    <a:pt x="11636002" y="2399745"/>
                  </a:lnTo>
                  <a:lnTo>
                    <a:pt x="11600714" y="2399745"/>
                  </a:lnTo>
                  <a:lnTo>
                    <a:pt x="11600714" y="2219962"/>
                  </a:lnTo>
                  <a:cubicBezTo>
                    <a:pt x="11594326" y="2224525"/>
                    <a:pt x="11587456" y="2228403"/>
                    <a:pt x="11580105" y="2231597"/>
                  </a:cubicBezTo>
                  <a:cubicBezTo>
                    <a:pt x="11572753" y="2234792"/>
                    <a:pt x="11564362" y="2237605"/>
                    <a:pt x="11554932" y="2240039"/>
                  </a:cubicBezTo>
                  <a:lnTo>
                    <a:pt x="11554932" y="2209923"/>
                  </a:lnTo>
                  <a:cubicBezTo>
                    <a:pt x="11560813" y="2207997"/>
                    <a:pt x="11566492" y="2205968"/>
                    <a:pt x="11571967" y="2203839"/>
                  </a:cubicBezTo>
                  <a:cubicBezTo>
                    <a:pt x="11577443" y="2201710"/>
                    <a:pt x="11582843" y="2199326"/>
                    <a:pt x="11588166" y="2196690"/>
                  </a:cubicBezTo>
                  <a:cubicBezTo>
                    <a:pt x="11593490" y="2194054"/>
                    <a:pt x="11598864" y="2191113"/>
                    <a:pt x="11604289" y="2187868"/>
                  </a:cubicBezTo>
                  <a:cubicBezTo>
                    <a:pt x="11609714" y="2184624"/>
                    <a:pt x="11615316" y="2180922"/>
                    <a:pt x="11621096" y="2176765"/>
                  </a:cubicBezTo>
                  <a:close/>
                  <a:moveTo>
                    <a:pt x="11318321" y="2176765"/>
                  </a:moveTo>
                  <a:lnTo>
                    <a:pt x="11333227" y="2176765"/>
                  </a:lnTo>
                  <a:lnTo>
                    <a:pt x="11333227" y="2399745"/>
                  </a:lnTo>
                  <a:lnTo>
                    <a:pt x="11297939" y="2399745"/>
                  </a:lnTo>
                  <a:lnTo>
                    <a:pt x="11297939" y="2219962"/>
                  </a:lnTo>
                  <a:cubicBezTo>
                    <a:pt x="11291551" y="2224525"/>
                    <a:pt x="11284681" y="2228403"/>
                    <a:pt x="11277330" y="2231597"/>
                  </a:cubicBezTo>
                  <a:cubicBezTo>
                    <a:pt x="11269978" y="2234792"/>
                    <a:pt x="11261587" y="2237605"/>
                    <a:pt x="11252157" y="2240039"/>
                  </a:cubicBezTo>
                  <a:lnTo>
                    <a:pt x="11252157" y="2209923"/>
                  </a:lnTo>
                  <a:cubicBezTo>
                    <a:pt x="11258038" y="2207997"/>
                    <a:pt x="11263717" y="2205968"/>
                    <a:pt x="11269192" y="2203839"/>
                  </a:cubicBezTo>
                  <a:cubicBezTo>
                    <a:pt x="11274668" y="2201710"/>
                    <a:pt x="11280068" y="2199326"/>
                    <a:pt x="11285391" y="2196690"/>
                  </a:cubicBezTo>
                  <a:cubicBezTo>
                    <a:pt x="11290715" y="2194054"/>
                    <a:pt x="11296089" y="2191113"/>
                    <a:pt x="11301514" y="2187868"/>
                  </a:cubicBezTo>
                  <a:cubicBezTo>
                    <a:pt x="11306939" y="2184624"/>
                    <a:pt x="11312541" y="2180922"/>
                    <a:pt x="11318321" y="2176765"/>
                  </a:cubicBezTo>
                  <a:close/>
                  <a:moveTo>
                    <a:pt x="10941157" y="2176765"/>
                  </a:moveTo>
                  <a:lnTo>
                    <a:pt x="10956063" y="2176765"/>
                  </a:lnTo>
                  <a:lnTo>
                    <a:pt x="10956063" y="2399745"/>
                  </a:lnTo>
                  <a:lnTo>
                    <a:pt x="10920775" y="2399745"/>
                  </a:lnTo>
                  <a:lnTo>
                    <a:pt x="10920775" y="2219962"/>
                  </a:lnTo>
                  <a:cubicBezTo>
                    <a:pt x="10914387" y="2224525"/>
                    <a:pt x="10907517" y="2228403"/>
                    <a:pt x="10900166" y="2231597"/>
                  </a:cubicBezTo>
                  <a:cubicBezTo>
                    <a:pt x="10892814" y="2234792"/>
                    <a:pt x="10884423" y="2237605"/>
                    <a:pt x="10874993" y="2240039"/>
                  </a:cubicBezTo>
                  <a:lnTo>
                    <a:pt x="10874993" y="2209923"/>
                  </a:lnTo>
                  <a:cubicBezTo>
                    <a:pt x="10880874" y="2207997"/>
                    <a:pt x="10886553" y="2205968"/>
                    <a:pt x="10892028" y="2203839"/>
                  </a:cubicBezTo>
                  <a:cubicBezTo>
                    <a:pt x="10897504" y="2201710"/>
                    <a:pt x="10902904" y="2199326"/>
                    <a:pt x="10908227" y="2196690"/>
                  </a:cubicBezTo>
                  <a:cubicBezTo>
                    <a:pt x="10913551" y="2194054"/>
                    <a:pt x="10918925" y="2191113"/>
                    <a:pt x="10924350" y="2187868"/>
                  </a:cubicBezTo>
                  <a:cubicBezTo>
                    <a:pt x="10929775" y="2184624"/>
                    <a:pt x="10935377" y="2180922"/>
                    <a:pt x="10941157" y="2176765"/>
                  </a:cubicBezTo>
                  <a:close/>
                  <a:moveTo>
                    <a:pt x="10792300" y="2176765"/>
                  </a:moveTo>
                  <a:lnTo>
                    <a:pt x="10807206" y="2176765"/>
                  </a:lnTo>
                  <a:lnTo>
                    <a:pt x="10807206" y="2399745"/>
                  </a:lnTo>
                  <a:lnTo>
                    <a:pt x="10771918" y="2399745"/>
                  </a:lnTo>
                  <a:lnTo>
                    <a:pt x="10771918" y="2219962"/>
                  </a:lnTo>
                  <a:cubicBezTo>
                    <a:pt x="10765530" y="2224525"/>
                    <a:pt x="10758660" y="2228403"/>
                    <a:pt x="10751309" y="2231597"/>
                  </a:cubicBezTo>
                  <a:cubicBezTo>
                    <a:pt x="10743957" y="2234792"/>
                    <a:pt x="10735566" y="2237605"/>
                    <a:pt x="10726136" y="2240039"/>
                  </a:cubicBezTo>
                  <a:lnTo>
                    <a:pt x="10726136" y="2209923"/>
                  </a:lnTo>
                  <a:cubicBezTo>
                    <a:pt x="10732017" y="2207997"/>
                    <a:pt x="10737696" y="2205968"/>
                    <a:pt x="10743171" y="2203839"/>
                  </a:cubicBezTo>
                  <a:cubicBezTo>
                    <a:pt x="10748647" y="2201710"/>
                    <a:pt x="10754047" y="2199326"/>
                    <a:pt x="10759370" y="2196690"/>
                  </a:cubicBezTo>
                  <a:cubicBezTo>
                    <a:pt x="10764694" y="2194054"/>
                    <a:pt x="10770068" y="2191113"/>
                    <a:pt x="10775493" y="2187868"/>
                  </a:cubicBezTo>
                  <a:cubicBezTo>
                    <a:pt x="10780918" y="2184624"/>
                    <a:pt x="10786520" y="2180922"/>
                    <a:pt x="10792300" y="2176765"/>
                  </a:cubicBezTo>
                  <a:close/>
                  <a:moveTo>
                    <a:pt x="10638382" y="2176765"/>
                  </a:moveTo>
                  <a:lnTo>
                    <a:pt x="10653288" y="2176765"/>
                  </a:lnTo>
                  <a:lnTo>
                    <a:pt x="10653288" y="2399745"/>
                  </a:lnTo>
                  <a:lnTo>
                    <a:pt x="10618000" y="2399745"/>
                  </a:lnTo>
                  <a:lnTo>
                    <a:pt x="10618000" y="2219962"/>
                  </a:lnTo>
                  <a:cubicBezTo>
                    <a:pt x="10611612" y="2224525"/>
                    <a:pt x="10604742" y="2228403"/>
                    <a:pt x="10597391" y="2231597"/>
                  </a:cubicBezTo>
                  <a:cubicBezTo>
                    <a:pt x="10590039" y="2234792"/>
                    <a:pt x="10581648" y="2237605"/>
                    <a:pt x="10572218" y="2240039"/>
                  </a:cubicBezTo>
                  <a:lnTo>
                    <a:pt x="10572218" y="2209923"/>
                  </a:lnTo>
                  <a:cubicBezTo>
                    <a:pt x="10578099" y="2207997"/>
                    <a:pt x="10583778" y="2205968"/>
                    <a:pt x="10589253" y="2203839"/>
                  </a:cubicBezTo>
                  <a:cubicBezTo>
                    <a:pt x="10594729" y="2201710"/>
                    <a:pt x="10600129" y="2199326"/>
                    <a:pt x="10605452" y="2196690"/>
                  </a:cubicBezTo>
                  <a:cubicBezTo>
                    <a:pt x="10610776" y="2194054"/>
                    <a:pt x="10616150" y="2191113"/>
                    <a:pt x="10621575" y="2187868"/>
                  </a:cubicBezTo>
                  <a:cubicBezTo>
                    <a:pt x="10627000" y="2184624"/>
                    <a:pt x="10632602" y="2180922"/>
                    <a:pt x="10638382" y="2176765"/>
                  </a:cubicBezTo>
                  <a:close/>
                  <a:moveTo>
                    <a:pt x="10489525" y="2176765"/>
                  </a:moveTo>
                  <a:lnTo>
                    <a:pt x="10504431" y="2176765"/>
                  </a:lnTo>
                  <a:lnTo>
                    <a:pt x="10504431" y="2399745"/>
                  </a:lnTo>
                  <a:lnTo>
                    <a:pt x="10469143" y="2399745"/>
                  </a:lnTo>
                  <a:lnTo>
                    <a:pt x="10469143" y="2219962"/>
                  </a:lnTo>
                  <a:cubicBezTo>
                    <a:pt x="10462755" y="2224525"/>
                    <a:pt x="10455885" y="2228403"/>
                    <a:pt x="10448534" y="2231597"/>
                  </a:cubicBezTo>
                  <a:cubicBezTo>
                    <a:pt x="10441182" y="2234792"/>
                    <a:pt x="10432791" y="2237605"/>
                    <a:pt x="10423361" y="2240039"/>
                  </a:cubicBezTo>
                  <a:lnTo>
                    <a:pt x="10423361" y="2209923"/>
                  </a:lnTo>
                  <a:cubicBezTo>
                    <a:pt x="10429242" y="2207997"/>
                    <a:pt x="10434921" y="2205968"/>
                    <a:pt x="10440396" y="2203839"/>
                  </a:cubicBezTo>
                  <a:cubicBezTo>
                    <a:pt x="10445872" y="2201710"/>
                    <a:pt x="10451272" y="2199326"/>
                    <a:pt x="10456595" y="2196690"/>
                  </a:cubicBezTo>
                  <a:cubicBezTo>
                    <a:pt x="10461919" y="2194054"/>
                    <a:pt x="10467293" y="2191113"/>
                    <a:pt x="10472718" y="2187868"/>
                  </a:cubicBezTo>
                  <a:cubicBezTo>
                    <a:pt x="10478143" y="2184624"/>
                    <a:pt x="10483745" y="2180922"/>
                    <a:pt x="10489525" y="2176765"/>
                  </a:cubicBezTo>
                  <a:close/>
                  <a:moveTo>
                    <a:pt x="9768134" y="2176765"/>
                  </a:moveTo>
                  <a:lnTo>
                    <a:pt x="9783040" y="2176765"/>
                  </a:lnTo>
                  <a:lnTo>
                    <a:pt x="9783040" y="2399745"/>
                  </a:lnTo>
                  <a:lnTo>
                    <a:pt x="9747752" y="2399745"/>
                  </a:lnTo>
                  <a:lnTo>
                    <a:pt x="9747752" y="2219962"/>
                  </a:lnTo>
                  <a:cubicBezTo>
                    <a:pt x="9741364" y="2224525"/>
                    <a:pt x="9734494" y="2228403"/>
                    <a:pt x="9727143" y="2231597"/>
                  </a:cubicBezTo>
                  <a:cubicBezTo>
                    <a:pt x="9719791" y="2234792"/>
                    <a:pt x="9711400" y="2237605"/>
                    <a:pt x="9701970" y="2240039"/>
                  </a:cubicBezTo>
                  <a:lnTo>
                    <a:pt x="9701970" y="2209923"/>
                  </a:lnTo>
                  <a:cubicBezTo>
                    <a:pt x="9707851" y="2207997"/>
                    <a:pt x="9713530" y="2205968"/>
                    <a:pt x="9719005" y="2203839"/>
                  </a:cubicBezTo>
                  <a:cubicBezTo>
                    <a:pt x="9724481" y="2201710"/>
                    <a:pt x="9729881" y="2199326"/>
                    <a:pt x="9735204" y="2196690"/>
                  </a:cubicBezTo>
                  <a:cubicBezTo>
                    <a:pt x="9740528" y="2194054"/>
                    <a:pt x="9745902" y="2191113"/>
                    <a:pt x="9751327" y="2187868"/>
                  </a:cubicBezTo>
                  <a:cubicBezTo>
                    <a:pt x="9756752" y="2184624"/>
                    <a:pt x="9762354" y="2180922"/>
                    <a:pt x="9768134" y="2176765"/>
                  </a:cubicBezTo>
                  <a:close/>
                  <a:moveTo>
                    <a:pt x="9619277" y="2176765"/>
                  </a:moveTo>
                  <a:lnTo>
                    <a:pt x="9634183" y="2176765"/>
                  </a:lnTo>
                  <a:lnTo>
                    <a:pt x="9634183" y="2399745"/>
                  </a:lnTo>
                  <a:lnTo>
                    <a:pt x="9598895" y="2399745"/>
                  </a:lnTo>
                  <a:lnTo>
                    <a:pt x="9598895" y="2219962"/>
                  </a:lnTo>
                  <a:cubicBezTo>
                    <a:pt x="9592507" y="2224525"/>
                    <a:pt x="9585637" y="2228403"/>
                    <a:pt x="9578286" y="2231597"/>
                  </a:cubicBezTo>
                  <a:cubicBezTo>
                    <a:pt x="9570934" y="2234792"/>
                    <a:pt x="9562543" y="2237605"/>
                    <a:pt x="9553113" y="2240039"/>
                  </a:cubicBezTo>
                  <a:lnTo>
                    <a:pt x="9553113" y="2209923"/>
                  </a:lnTo>
                  <a:cubicBezTo>
                    <a:pt x="9558994" y="2207997"/>
                    <a:pt x="9564673" y="2205968"/>
                    <a:pt x="9570148" y="2203839"/>
                  </a:cubicBezTo>
                  <a:cubicBezTo>
                    <a:pt x="9575624" y="2201710"/>
                    <a:pt x="9581024" y="2199326"/>
                    <a:pt x="9586347" y="2196690"/>
                  </a:cubicBezTo>
                  <a:cubicBezTo>
                    <a:pt x="9591671" y="2194054"/>
                    <a:pt x="9597045" y="2191113"/>
                    <a:pt x="9602470" y="2187868"/>
                  </a:cubicBezTo>
                  <a:cubicBezTo>
                    <a:pt x="9607895" y="2184624"/>
                    <a:pt x="9613497" y="2180922"/>
                    <a:pt x="9619277" y="2176765"/>
                  </a:cubicBezTo>
                  <a:close/>
                  <a:moveTo>
                    <a:pt x="8816172" y="2176765"/>
                  </a:moveTo>
                  <a:lnTo>
                    <a:pt x="8831078" y="2176765"/>
                  </a:lnTo>
                  <a:lnTo>
                    <a:pt x="8831078" y="2399745"/>
                  </a:lnTo>
                  <a:lnTo>
                    <a:pt x="8795790" y="2399745"/>
                  </a:lnTo>
                  <a:lnTo>
                    <a:pt x="8795790" y="2219962"/>
                  </a:lnTo>
                  <a:cubicBezTo>
                    <a:pt x="8789402" y="2224525"/>
                    <a:pt x="8782532" y="2228403"/>
                    <a:pt x="8775181" y="2231597"/>
                  </a:cubicBezTo>
                  <a:cubicBezTo>
                    <a:pt x="8767829" y="2234792"/>
                    <a:pt x="8759438" y="2237605"/>
                    <a:pt x="8750008" y="2240039"/>
                  </a:cubicBezTo>
                  <a:lnTo>
                    <a:pt x="8750008" y="2209923"/>
                  </a:lnTo>
                  <a:cubicBezTo>
                    <a:pt x="8755889" y="2207997"/>
                    <a:pt x="8761568" y="2205968"/>
                    <a:pt x="8767043" y="2203839"/>
                  </a:cubicBezTo>
                  <a:cubicBezTo>
                    <a:pt x="8772519" y="2201710"/>
                    <a:pt x="8777919" y="2199326"/>
                    <a:pt x="8783242" y="2196690"/>
                  </a:cubicBezTo>
                  <a:cubicBezTo>
                    <a:pt x="8788566" y="2194054"/>
                    <a:pt x="8793940" y="2191113"/>
                    <a:pt x="8799365" y="2187868"/>
                  </a:cubicBezTo>
                  <a:cubicBezTo>
                    <a:pt x="8804790" y="2184624"/>
                    <a:pt x="8810392" y="2180922"/>
                    <a:pt x="8816172" y="2176765"/>
                  </a:cubicBezTo>
                  <a:close/>
                  <a:moveTo>
                    <a:pt x="8437565" y="2176765"/>
                  </a:moveTo>
                  <a:lnTo>
                    <a:pt x="8452471" y="2176765"/>
                  </a:lnTo>
                  <a:lnTo>
                    <a:pt x="8452471" y="2399745"/>
                  </a:lnTo>
                  <a:lnTo>
                    <a:pt x="8417183" y="2399745"/>
                  </a:lnTo>
                  <a:lnTo>
                    <a:pt x="8417183" y="2219962"/>
                  </a:lnTo>
                  <a:cubicBezTo>
                    <a:pt x="8410795" y="2224525"/>
                    <a:pt x="8403925" y="2228403"/>
                    <a:pt x="8396574" y="2231597"/>
                  </a:cubicBezTo>
                  <a:cubicBezTo>
                    <a:pt x="8389222" y="2234792"/>
                    <a:pt x="8380831" y="2237605"/>
                    <a:pt x="8371401" y="2240039"/>
                  </a:cubicBezTo>
                  <a:lnTo>
                    <a:pt x="8371401" y="2209923"/>
                  </a:lnTo>
                  <a:cubicBezTo>
                    <a:pt x="8377282" y="2207997"/>
                    <a:pt x="8382961" y="2205968"/>
                    <a:pt x="8388436" y="2203839"/>
                  </a:cubicBezTo>
                  <a:cubicBezTo>
                    <a:pt x="8393912" y="2201710"/>
                    <a:pt x="8399312" y="2199326"/>
                    <a:pt x="8404635" y="2196690"/>
                  </a:cubicBezTo>
                  <a:cubicBezTo>
                    <a:pt x="8409959" y="2194054"/>
                    <a:pt x="8415333" y="2191113"/>
                    <a:pt x="8420758" y="2187868"/>
                  </a:cubicBezTo>
                  <a:cubicBezTo>
                    <a:pt x="8426183" y="2184624"/>
                    <a:pt x="8431785" y="2180922"/>
                    <a:pt x="8437565" y="2176765"/>
                  </a:cubicBezTo>
                  <a:close/>
                  <a:moveTo>
                    <a:pt x="8288708" y="2176765"/>
                  </a:moveTo>
                  <a:lnTo>
                    <a:pt x="8303614" y="2176765"/>
                  </a:lnTo>
                  <a:lnTo>
                    <a:pt x="8303614" y="2399745"/>
                  </a:lnTo>
                  <a:lnTo>
                    <a:pt x="8268326" y="2399745"/>
                  </a:lnTo>
                  <a:lnTo>
                    <a:pt x="8268326" y="2219962"/>
                  </a:lnTo>
                  <a:cubicBezTo>
                    <a:pt x="8261938" y="2224525"/>
                    <a:pt x="8255069" y="2228403"/>
                    <a:pt x="8247717" y="2231597"/>
                  </a:cubicBezTo>
                  <a:cubicBezTo>
                    <a:pt x="8240365" y="2234792"/>
                    <a:pt x="8231975" y="2237605"/>
                    <a:pt x="8222544" y="2240039"/>
                  </a:cubicBezTo>
                  <a:lnTo>
                    <a:pt x="8222544" y="2209923"/>
                  </a:lnTo>
                  <a:cubicBezTo>
                    <a:pt x="8228425" y="2207997"/>
                    <a:pt x="8234104" y="2205968"/>
                    <a:pt x="8239579" y="2203839"/>
                  </a:cubicBezTo>
                  <a:cubicBezTo>
                    <a:pt x="8245055" y="2201710"/>
                    <a:pt x="8250455" y="2199326"/>
                    <a:pt x="8255778" y="2196690"/>
                  </a:cubicBezTo>
                  <a:cubicBezTo>
                    <a:pt x="8261102" y="2194054"/>
                    <a:pt x="8266476" y="2191113"/>
                    <a:pt x="8271901" y="2187868"/>
                  </a:cubicBezTo>
                  <a:cubicBezTo>
                    <a:pt x="8277326" y="2184624"/>
                    <a:pt x="8282928" y="2180922"/>
                    <a:pt x="8288708" y="2176765"/>
                  </a:cubicBezTo>
                  <a:close/>
                  <a:moveTo>
                    <a:pt x="8134790" y="2176765"/>
                  </a:moveTo>
                  <a:lnTo>
                    <a:pt x="8149696" y="2176765"/>
                  </a:lnTo>
                  <a:lnTo>
                    <a:pt x="8149696" y="2399745"/>
                  </a:lnTo>
                  <a:lnTo>
                    <a:pt x="8114408" y="2399745"/>
                  </a:lnTo>
                  <a:lnTo>
                    <a:pt x="8114408" y="2219962"/>
                  </a:lnTo>
                  <a:cubicBezTo>
                    <a:pt x="8108020" y="2224525"/>
                    <a:pt x="8101151" y="2228403"/>
                    <a:pt x="8093799" y="2231597"/>
                  </a:cubicBezTo>
                  <a:cubicBezTo>
                    <a:pt x="8086447" y="2234792"/>
                    <a:pt x="8078057" y="2237605"/>
                    <a:pt x="8068626" y="2240039"/>
                  </a:cubicBezTo>
                  <a:lnTo>
                    <a:pt x="8068626" y="2209923"/>
                  </a:lnTo>
                  <a:cubicBezTo>
                    <a:pt x="8074507" y="2207997"/>
                    <a:pt x="8080186" y="2205968"/>
                    <a:pt x="8085661" y="2203839"/>
                  </a:cubicBezTo>
                  <a:cubicBezTo>
                    <a:pt x="8091137" y="2201710"/>
                    <a:pt x="8096537" y="2199326"/>
                    <a:pt x="8101860" y="2196690"/>
                  </a:cubicBezTo>
                  <a:cubicBezTo>
                    <a:pt x="8107184" y="2194054"/>
                    <a:pt x="8112558" y="2191113"/>
                    <a:pt x="8117983" y="2187868"/>
                  </a:cubicBezTo>
                  <a:cubicBezTo>
                    <a:pt x="8123408" y="2184624"/>
                    <a:pt x="8129010" y="2180922"/>
                    <a:pt x="8134790" y="2176765"/>
                  </a:cubicBezTo>
                  <a:close/>
                  <a:moveTo>
                    <a:pt x="7985933" y="2176765"/>
                  </a:moveTo>
                  <a:lnTo>
                    <a:pt x="8000839" y="2176765"/>
                  </a:lnTo>
                  <a:lnTo>
                    <a:pt x="8000839" y="2399745"/>
                  </a:lnTo>
                  <a:lnTo>
                    <a:pt x="7965551" y="2399745"/>
                  </a:lnTo>
                  <a:lnTo>
                    <a:pt x="7965551" y="2219962"/>
                  </a:lnTo>
                  <a:cubicBezTo>
                    <a:pt x="7959163" y="2224525"/>
                    <a:pt x="7952294" y="2228403"/>
                    <a:pt x="7944942" y="2231597"/>
                  </a:cubicBezTo>
                  <a:cubicBezTo>
                    <a:pt x="7937590" y="2234792"/>
                    <a:pt x="7929200" y="2237605"/>
                    <a:pt x="7919769" y="2240039"/>
                  </a:cubicBezTo>
                  <a:lnTo>
                    <a:pt x="7919769" y="2209923"/>
                  </a:lnTo>
                  <a:cubicBezTo>
                    <a:pt x="7925650" y="2207997"/>
                    <a:pt x="7931329" y="2205968"/>
                    <a:pt x="7936804" y="2203839"/>
                  </a:cubicBezTo>
                  <a:cubicBezTo>
                    <a:pt x="7942280" y="2201710"/>
                    <a:pt x="7947680" y="2199326"/>
                    <a:pt x="7953003" y="2196690"/>
                  </a:cubicBezTo>
                  <a:cubicBezTo>
                    <a:pt x="7958327" y="2194054"/>
                    <a:pt x="7963701" y="2191113"/>
                    <a:pt x="7969126" y="2187868"/>
                  </a:cubicBezTo>
                  <a:cubicBezTo>
                    <a:pt x="7974551" y="2184624"/>
                    <a:pt x="7980153" y="2180922"/>
                    <a:pt x="7985933" y="2176765"/>
                  </a:cubicBezTo>
                  <a:close/>
                  <a:moveTo>
                    <a:pt x="7837076" y="2176765"/>
                  </a:moveTo>
                  <a:lnTo>
                    <a:pt x="7851982" y="2176765"/>
                  </a:lnTo>
                  <a:lnTo>
                    <a:pt x="7851982" y="2399745"/>
                  </a:lnTo>
                  <a:lnTo>
                    <a:pt x="7816694" y="2399745"/>
                  </a:lnTo>
                  <a:lnTo>
                    <a:pt x="7816694" y="2219962"/>
                  </a:lnTo>
                  <a:cubicBezTo>
                    <a:pt x="7810306" y="2224525"/>
                    <a:pt x="7803437" y="2228403"/>
                    <a:pt x="7796085" y="2231597"/>
                  </a:cubicBezTo>
                  <a:cubicBezTo>
                    <a:pt x="7788733" y="2234792"/>
                    <a:pt x="7780343" y="2237605"/>
                    <a:pt x="7770912" y="2240039"/>
                  </a:cubicBezTo>
                  <a:lnTo>
                    <a:pt x="7770912" y="2209923"/>
                  </a:lnTo>
                  <a:cubicBezTo>
                    <a:pt x="7776793" y="2207997"/>
                    <a:pt x="7782472" y="2205968"/>
                    <a:pt x="7787947" y="2203839"/>
                  </a:cubicBezTo>
                  <a:cubicBezTo>
                    <a:pt x="7793423" y="2201710"/>
                    <a:pt x="7798823" y="2199326"/>
                    <a:pt x="7804146" y="2196690"/>
                  </a:cubicBezTo>
                  <a:cubicBezTo>
                    <a:pt x="7809470" y="2194054"/>
                    <a:pt x="7814844" y="2191113"/>
                    <a:pt x="7820269" y="2187868"/>
                  </a:cubicBezTo>
                  <a:cubicBezTo>
                    <a:pt x="7825694" y="2184624"/>
                    <a:pt x="7831296" y="2180922"/>
                    <a:pt x="7837076" y="2176765"/>
                  </a:cubicBezTo>
                  <a:close/>
                  <a:moveTo>
                    <a:pt x="7484989" y="2176765"/>
                  </a:moveTo>
                  <a:lnTo>
                    <a:pt x="7499895" y="2176765"/>
                  </a:lnTo>
                  <a:lnTo>
                    <a:pt x="7499895" y="2399745"/>
                  </a:lnTo>
                  <a:lnTo>
                    <a:pt x="7464607" y="2399745"/>
                  </a:lnTo>
                  <a:lnTo>
                    <a:pt x="7464607" y="2219962"/>
                  </a:lnTo>
                  <a:cubicBezTo>
                    <a:pt x="7458219" y="2224525"/>
                    <a:pt x="7451350" y="2228403"/>
                    <a:pt x="7443998" y="2231597"/>
                  </a:cubicBezTo>
                  <a:cubicBezTo>
                    <a:pt x="7436646" y="2234792"/>
                    <a:pt x="7428256" y="2237605"/>
                    <a:pt x="7418825" y="2240039"/>
                  </a:cubicBezTo>
                  <a:lnTo>
                    <a:pt x="7418825" y="2209923"/>
                  </a:lnTo>
                  <a:cubicBezTo>
                    <a:pt x="7424706" y="2207997"/>
                    <a:pt x="7430385" y="2205968"/>
                    <a:pt x="7435860" y="2203839"/>
                  </a:cubicBezTo>
                  <a:cubicBezTo>
                    <a:pt x="7441336" y="2201710"/>
                    <a:pt x="7446736" y="2199326"/>
                    <a:pt x="7452059" y="2196690"/>
                  </a:cubicBezTo>
                  <a:cubicBezTo>
                    <a:pt x="7457383" y="2194054"/>
                    <a:pt x="7462757" y="2191113"/>
                    <a:pt x="7468182" y="2187868"/>
                  </a:cubicBezTo>
                  <a:cubicBezTo>
                    <a:pt x="7473607" y="2184624"/>
                    <a:pt x="7479209" y="2180922"/>
                    <a:pt x="7484989" y="2176765"/>
                  </a:cubicBezTo>
                  <a:close/>
                  <a:moveTo>
                    <a:pt x="7187275" y="2176765"/>
                  </a:moveTo>
                  <a:lnTo>
                    <a:pt x="7202181" y="2176765"/>
                  </a:lnTo>
                  <a:lnTo>
                    <a:pt x="7202181" y="2399745"/>
                  </a:lnTo>
                  <a:lnTo>
                    <a:pt x="7166893" y="2399745"/>
                  </a:lnTo>
                  <a:lnTo>
                    <a:pt x="7166893" y="2219962"/>
                  </a:lnTo>
                  <a:cubicBezTo>
                    <a:pt x="7160505" y="2224525"/>
                    <a:pt x="7153636" y="2228403"/>
                    <a:pt x="7146284" y="2231597"/>
                  </a:cubicBezTo>
                  <a:cubicBezTo>
                    <a:pt x="7138932" y="2234792"/>
                    <a:pt x="7130542" y="2237605"/>
                    <a:pt x="7121111" y="2240039"/>
                  </a:cubicBezTo>
                  <a:lnTo>
                    <a:pt x="7121111" y="2209923"/>
                  </a:lnTo>
                  <a:cubicBezTo>
                    <a:pt x="7126992" y="2207997"/>
                    <a:pt x="7132671" y="2205968"/>
                    <a:pt x="7138146" y="2203839"/>
                  </a:cubicBezTo>
                  <a:cubicBezTo>
                    <a:pt x="7143622" y="2201710"/>
                    <a:pt x="7149022" y="2199326"/>
                    <a:pt x="7154345" y="2196690"/>
                  </a:cubicBezTo>
                  <a:cubicBezTo>
                    <a:pt x="7159669" y="2194054"/>
                    <a:pt x="7165043" y="2191113"/>
                    <a:pt x="7170468" y="2187868"/>
                  </a:cubicBezTo>
                  <a:cubicBezTo>
                    <a:pt x="7175893" y="2184624"/>
                    <a:pt x="7181495" y="2180922"/>
                    <a:pt x="7187275" y="2176765"/>
                  </a:cubicBezTo>
                  <a:close/>
                  <a:moveTo>
                    <a:pt x="6977863" y="2176765"/>
                  </a:moveTo>
                  <a:cubicBezTo>
                    <a:pt x="7025308" y="2176765"/>
                    <a:pt x="7049030" y="2213628"/>
                    <a:pt x="7049030" y="2287352"/>
                  </a:cubicBezTo>
                  <a:cubicBezTo>
                    <a:pt x="7049030" y="2323864"/>
                    <a:pt x="7042335" y="2351724"/>
                    <a:pt x="7028944" y="2370932"/>
                  </a:cubicBezTo>
                  <a:cubicBezTo>
                    <a:pt x="7015553" y="2390140"/>
                    <a:pt x="6996821" y="2399745"/>
                    <a:pt x="6972747" y="2399745"/>
                  </a:cubicBezTo>
                  <a:cubicBezTo>
                    <a:pt x="6950279" y="2399745"/>
                    <a:pt x="6932750" y="2390567"/>
                    <a:pt x="6920162" y="2372211"/>
                  </a:cubicBezTo>
                  <a:cubicBezTo>
                    <a:pt x="6907573" y="2353855"/>
                    <a:pt x="6901279" y="2327324"/>
                    <a:pt x="6901279" y="2292619"/>
                  </a:cubicBezTo>
                  <a:cubicBezTo>
                    <a:pt x="6901279" y="2254502"/>
                    <a:pt x="6907849" y="2225664"/>
                    <a:pt x="6920989" y="2206104"/>
                  </a:cubicBezTo>
                  <a:cubicBezTo>
                    <a:pt x="6934130" y="2186545"/>
                    <a:pt x="6953087" y="2176765"/>
                    <a:pt x="6977863" y="2176765"/>
                  </a:cubicBezTo>
                  <a:close/>
                  <a:moveTo>
                    <a:pt x="6761353" y="2176765"/>
                  </a:moveTo>
                  <a:cubicBezTo>
                    <a:pt x="6808798" y="2176765"/>
                    <a:pt x="6832520" y="2213628"/>
                    <a:pt x="6832520" y="2287352"/>
                  </a:cubicBezTo>
                  <a:cubicBezTo>
                    <a:pt x="6832520" y="2323864"/>
                    <a:pt x="6825825" y="2351724"/>
                    <a:pt x="6812434" y="2370932"/>
                  </a:cubicBezTo>
                  <a:cubicBezTo>
                    <a:pt x="6799043" y="2390140"/>
                    <a:pt x="6780311" y="2399745"/>
                    <a:pt x="6756237" y="2399745"/>
                  </a:cubicBezTo>
                  <a:cubicBezTo>
                    <a:pt x="6733769" y="2399745"/>
                    <a:pt x="6716240" y="2390567"/>
                    <a:pt x="6703652" y="2372211"/>
                  </a:cubicBezTo>
                  <a:cubicBezTo>
                    <a:pt x="6691063" y="2353855"/>
                    <a:pt x="6684769" y="2327324"/>
                    <a:pt x="6684769" y="2292619"/>
                  </a:cubicBezTo>
                  <a:cubicBezTo>
                    <a:pt x="6684769" y="2254502"/>
                    <a:pt x="6691339" y="2225664"/>
                    <a:pt x="6704479" y="2206104"/>
                  </a:cubicBezTo>
                  <a:cubicBezTo>
                    <a:pt x="6717620" y="2186545"/>
                    <a:pt x="6736577" y="2176765"/>
                    <a:pt x="6761353" y="2176765"/>
                  </a:cubicBezTo>
                  <a:close/>
                  <a:moveTo>
                    <a:pt x="6615046" y="2176765"/>
                  </a:moveTo>
                  <a:lnTo>
                    <a:pt x="6629952" y="2176765"/>
                  </a:lnTo>
                  <a:lnTo>
                    <a:pt x="6629952" y="2399745"/>
                  </a:lnTo>
                  <a:lnTo>
                    <a:pt x="6594664" y="2399745"/>
                  </a:lnTo>
                  <a:lnTo>
                    <a:pt x="6594664" y="2219962"/>
                  </a:lnTo>
                  <a:cubicBezTo>
                    <a:pt x="6588276" y="2224525"/>
                    <a:pt x="6581407" y="2228403"/>
                    <a:pt x="6574055" y="2231597"/>
                  </a:cubicBezTo>
                  <a:cubicBezTo>
                    <a:pt x="6566703" y="2234792"/>
                    <a:pt x="6558313" y="2237605"/>
                    <a:pt x="6548882" y="2240039"/>
                  </a:cubicBezTo>
                  <a:lnTo>
                    <a:pt x="6548882" y="2209923"/>
                  </a:lnTo>
                  <a:cubicBezTo>
                    <a:pt x="6554763" y="2207997"/>
                    <a:pt x="6560442" y="2205968"/>
                    <a:pt x="6565917" y="2203839"/>
                  </a:cubicBezTo>
                  <a:cubicBezTo>
                    <a:pt x="6571393" y="2201710"/>
                    <a:pt x="6576793" y="2199326"/>
                    <a:pt x="6582116" y="2196690"/>
                  </a:cubicBezTo>
                  <a:cubicBezTo>
                    <a:pt x="6587440" y="2194054"/>
                    <a:pt x="6592814" y="2191113"/>
                    <a:pt x="6598239" y="2187868"/>
                  </a:cubicBezTo>
                  <a:cubicBezTo>
                    <a:pt x="6603664" y="2184624"/>
                    <a:pt x="6609266" y="2180922"/>
                    <a:pt x="6615046" y="2176765"/>
                  </a:cubicBezTo>
                  <a:close/>
                  <a:moveTo>
                    <a:pt x="6317332" y="2176765"/>
                  </a:moveTo>
                  <a:lnTo>
                    <a:pt x="6332238" y="2176765"/>
                  </a:lnTo>
                  <a:lnTo>
                    <a:pt x="6332238" y="2399745"/>
                  </a:lnTo>
                  <a:lnTo>
                    <a:pt x="6296950" y="2399745"/>
                  </a:lnTo>
                  <a:lnTo>
                    <a:pt x="6296950" y="2219962"/>
                  </a:lnTo>
                  <a:cubicBezTo>
                    <a:pt x="6290562" y="2224525"/>
                    <a:pt x="6283693" y="2228403"/>
                    <a:pt x="6276341" y="2231597"/>
                  </a:cubicBezTo>
                  <a:cubicBezTo>
                    <a:pt x="6268989" y="2234792"/>
                    <a:pt x="6260599" y="2237605"/>
                    <a:pt x="6251168" y="2240039"/>
                  </a:cubicBezTo>
                  <a:lnTo>
                    <a:pt x="6251168" y="2209923"/>
                  </a:lnTo>
                  <a:cubicBezTo>
                    <a:pt x="6257049" y="2207997"/>
                    <a:pt x="6262728" y="2205968"/>
                    <a:pt x="6268203" y="2203839"/>
                  </a:cubicBezTo>
                  <a:cubicBezTo>
                    <a:pt x="6273679" y="2201710"/>
                    <a:pt x="6279079" y="2199326"/>
                    <a:pt x="6284402" y="2196690"/>
                  </a:cubicBezTo>
                  <a:cubicBezTo>
                    <a:pt x="6289726" y="2194054"/>
                    <a:pt x="6295100" y="2191113"/>
                    <a:pt x="6300525" y="2187868"/>
                  </a:cubicBezTo>
                  <a:cubicBezTo>
                    <a:pt x="6305950" y="2184624"/>
                    <a:pt x="6311552" y="2180922"/>
                    <a:pt x="6317332" y="2176765"/>
                  </a:cubicBezTo>
                  <a:close/>
                  <a:moveTo>
                    <a:pt x="6143576" y="2176765"/>
                  </a:moveTo>
                  <a:cubicBezTo>
                    <a:pt x="6191021" y="2176765"/>
                    <a:pt x="6214743" y="2213628"/>
                    <a:pt x="6214743" y="2287352"/>
                  </a:cubicBezTo>
                  <a:cubicBezTo>
                    <a:pt x="6214743" y="2323864"/>
                    <a:pt x="6208048" y="2351724"/>
                    <a:pt x="6194657" y="2370932"/>
                  </a:cubicBezTo>
                  <a:cubicBezTo>
                    <a:pt x="6181266" y="2390140"/>
                    <a:pt x="6162534" y="2399745"/>
                    <a:pt x="6138460" y="2399745"/>
                  </a:cubicBezTo>
                  <a:cubicBezTo>
                    <a:pt x="6115992" y="2399745"/>
                    <a:pt x="6098463" y="2390567"/>
                    <a:pt x="6085875" y="2372211"/>
                  </a:cubicBezTo>
                  <a:cubicBezTo>
                    <a:pt x="6073286" y="2353855"/>
                    <a:pt x="6066992" y="2327324"/>
                    <a:pt x="6066992" y="2292619"/>
                  </a:cubicBezTo>
                  <a:cubicBezTo>
                    <a:pt x="6066992" y="2254502"/>
                    <a:pt x="6073562" y="2225664"/>
                    <a:pt x="6086702" y="2206104"/>
                  </a:cubicBezTo>
                  <a:cubicBezTo>
                    <a:pt x="6099843" y="2186545"/>
                    <a:pt x="6118800" y="2176765"/>
                    <a:pt x="6143576" y="2176765"/>
                  </a:cubicBezTo>
                  <a:close/>
                  <a:moveTo>
                    <a:pt x="5927066" y="2176765"/>
                  </a:moveTo>
                  <a:cubicBezTo>
                    <a:pt x="5974510" y="2176765"/>
                    <a:pt x="5998233" y="2213628"/>
                    <a:pt x="5998233" y="2287352"/>
                  </a:cubicBezTo>
                  <a:cubicBezTo>
                    <a:pt x="5998233" y="2323864"/>
                    <a:pt x="5991537" y="2351724"/>
                    <a:pt x="5978148" y="2370932"/>
                  </a:cubicBezTo>
                  <a:cubicBezTo>
                    <a:pt x="5964756" y="2390140"/>
                    <a:pt x="5946024" y="2399745"/>
                    <a:pt x="5921951" y="2399745"/>
                  </a:cubicBezTo>
                  <a:cubicBezTo>
                    <a:pt x="5899481" y="2399745"/>
                    <a:pt x="5881953" y="2390567"/>
                    <a:pt x="5869364" y="2372211"/>
                  </a:cubicBezTo>
                  <a:cubicBezTo>
                    <a:pt x="5856776" y="2353855"/>
                    <a:pt x="5850483" y="2327324"/>
                    <a:pt x="5850483" y="2292619"/>
                  </a:cubicBezTo>
                  <a:cubicBezTo>
                    <a:pt x="5850483" y="2254502"/>
                    <a:pt x="5857053" y="2225664"/>
                    <a:pt x="5870192" y="2206104"/>
                  </a:cubicBezTo>
                  <a:cubicBezTo>
                    <a:pt x="5883332" y="2186545"/>
                    <a:pt x="5902290" y="2176765"/>
                    <a:pt x="5927066" y="2176765"/>
                  </a:cubicBezTo>
                  <a:close/>
                  <a:moveTo>
                    <a:pt x="5702958" y="2176765"/>
                  </a:moveTo>
                  <a:cubicBezTo>
                    <a:pt x="5750404" y="2176765"/>
                    <a:pt x="5774126" y="2213628"/>
                    <a:pt x="5774126" y="2287352"/>
                  </a:cubicBezTo>
                  <a:cubicBezTo>
                    <a:pt x="5774126" y="2323864"/>
                    <a:pt x="5767431" y="2351724"/>
                    <a:pt x="5754041" y="2370932"/>
                  </a:cubicBezTo>
                  <a:cubicBezTo>
                    <a:pt x="5740649" y="2390140"/>
                    <a:pt x="5721916" y="2399745"/>
                    <a:pt x="5697845" y="2399745"/>
                  </a:cubicBezTo>
                  <a:cubicBezTo>
                    <a:pt x="5675374" y="2399745"/>
                    <a:pt x="5657847" y="2390567"/>
                    <a:pt x="5645258" y="2372211"/>
                  </a:cubicBezTo>
                  <a:cubicBezTo>
                    <a:pt x="5632670" y="2353855"/>
                    <a:pt x="5626376" y="2327324"/>
                    <a:pt x="5626376" y="2292619"/>
                  </a:cubicBezTo>
                  <a:cubicBezTo>
                    <a:pt x="5626376" y="2254502"/>
                    <a:pt x="5632945" y="2225664"/>
                    <a:pt x="5646086" y="2206104"/>
                  </a:cubicBezTo>
                  <a:cubicBezTo>
                    <a:pt x="5659226" y="2186545"/>
                    <a:pt x="5678184" y="2176765"/>
                    <a:pt x="5702958" y="2176765"/>
                  </a:cubicBezTo>
                  <a:close/>
                  <a:moveTo>
                    <a:pt x="5545678" y="2176765"/>
                  </a:moveTo>
                  <a:lnTo>
                    <a:pt x="5560587" y="2176765"/>
                  </a:lnTo>
                  <a:lnTo>
                    <a:pt x="5560587" y="2399745"/>
                  </a:lnTo>
                  <a:lnTo>
                    <a:pt x="5525299" y="2399745"/>
                  </a:lnTo>
                  <a:lnTo>
                    <a:pt x="5525299" y="2219962"/>
                  </a:lnTo>
                  <a:cubicBezTo>
                    <a:pt x="5518910" y="2224525"/>
                    <a:pt x="5512039" y="2228403"/>
                    <a:pt x="5504689" y="2231597"/>
                  </a:cubicBezTo>
                  <a:cubicBezTo>
                    <a:pt x="5497337" y="2234792"/>
                    <a:pt x="5488945" y="2237605"/>
                    <a:pt x="5479516" y="2240039"/>
                  </a:cubicBezTo>
                  <a:lnTo>
                    <a:pt x="5479516" y="2209923"/>
                  </a:lnTo>
                  <a:cubicBezTo>
                    <a:pt x="5485396" y="2207997"/>
                    <a:pt x="5491075" y="2205968"/>
                    <a:pt x="5496550" y="2203839"/>
                  </a:cubicBezTo>
                  <a:cubicBezTo>
                    <a:pt x="5502026" y="2201710"/>
                    <a:pt x="5507425" y="2199326"/>
                    <a:pt x="5512750" y="2196690"/>
                  </a:cubicBezTo>
                  <a:cubicBezTo>
                    <a:pt x="5518072" y="2194054"/>
                    <a:pt x="5523447" y="2191113"/>
                    <a:pt x="5528872" y="2187868"/>
                  </a:cubicBezTo>
                  <a:cubicBezTo>
                    <a:pt x="5534298" y="2184624"/>
                    <a:pt x="5539899" y="2180922"/>
                    <a:pt x="5545678" y="2176765"/>
                  </a:cubicBezTo>
                  <a:close/>
                  <a:moveTo>
                    <a:pt x="5247965" y="2176765"/>
                  </a:moveTo>
                  <a:lnTo>
                    <a:pt x="5262872" y="2176765"/>
                  </a:lnTo>
                  <a:lnTo>
                    <a:pt x="5262872" y="2399745"/>
                  </a:lnTo>
                  <a:lnTo>
                    <a:pt x="5227584" y="2399745"/>
                  </a:lnTo>
                  <a:lnTo>
                    <a:pt x="5227584" y="2219962"/>
                  </a:lnTo>
                  <a:cubicBezTo>
                    <a:pt x="5221197" y="2224525"/>
                    <a:pt x="5214327" y="2228403"/>
                    <a:pt x="5206974" y="2231597"/>
                  </a:cubicBezTo>
                  <a:cubicBezTo>
                    <a:pt x="5199623" y="2234792"/>
                    <a:pt x="5191232" y="2237605"/>
                    <a:pt x="5181802" y="2240039"/>
                  </a:cubicBezTo>
                  <a:lnTo>
                    <a:pt x="5181802" y="2209923"/>
                  </a:lnTo>
                  <a:cubicBezTo>
                    <a:pt x="5187683" y="2207997"/>
                    <a:pt x="5193361" y="2205968"/>
                    <a:pt x="5198836" y="2203839"/>
                  </a:cubicBezTo>
                  <a:cubicBezTo>
                    <a:pt x="5204313" y="2201710"/>
                    <a:pt x="5209712" y="2199326"/>
                    <a:pt x="5215036" y="2196690"/>
                  </a:cubicBezTo>
                  <a:cubicBezTo>
                    <a:pt x="5220359" y="2194054"/>
                    <a:pt x="5225733" y="2191113"/>
                    <a:pt x="5231158" y="2187868"/>
                  </a:cubicBezTo>
                  <a:cubicBezTo>
                    <a:pt x="5236583" y="2184624"/>
                    <a:pt x="5242185" y="2180922"/>
                    <a:pt x="5247965" y="2176765"/>
                  </a:cubicBezTo>
                  <a:close/>
                  <a:moveTo>
                    <a:pt x="4873220" y="2176765"/>
                  </a:moveTo>
                  <a:lnTo>
                    <a:pt x="4888126" y="2176765"/>
                  </a:lnTo>
                  <a:lnTo>
                    <a:pt x="4888126" y="2399745"/>
                  </a:lnTo>
                  <a:lnTo>
                    <a:pt x="4852838" y="2399745"/>
                  </a:lnTo>
                  <a:lnTo>
                    <a:pt x="4852838" y="2219962"/>
                  </a:lnTo>
                  <a:cubicBezTo>
                    <a:pt x="4846450" y="2224525"/>
                    <a:pt x="4839580" y="2228403"/>
                    <a:pt x="4832228" y="2231597"/>
                  </a:cubicBezTo>
                  <a:cubicBezTo>
                    <a:pt x="4824878" y="2234792"/>
                    <a:pt x="4816488" y="2237605"/>
                    <a:pt x="4807057" y="2240039"/>
                  </a:cubicBezTo>
                  <a:lnTo>
                    <a:pt x="4807057" y="2209923"/>
                  </a:lnTo>
                  <a:cubicBezTo>
                    <a:pt x="4812938" y="2207997"/>
                    <a:pt x="4818616" y="2205968"/>
                    <a:pt x="4824092" y="2203839"/>
                  </a:cubicBezTo>
                  <a:cubicBezTo>
                    <a:pt x="4829568" y="2201710"/>
                    <a:pt x="4834966" y="2199326"/>
                    <a:pt x="4840292" y="2196690"/>
                  </a:cubicBezTo>
                  <a:cubicBezTo>
                    <a:pt x="4845614" y="2194054"/>
                    <a:pt x="4850988" y="2191113"/>
                    <a:pt x="4856413" y="2187868"/>
                  </a:cubicBezTo>
                  <a:cubicBezTo>
                    <a:pt x="4861838" y="2184624"/>
                    <a:pt x="4867440" y="2180922"/>
                    <a:pt x="4873220" y="2176765"/>
                  </a:cubicBezTo>
                  <a:close/>
                  <a:moveTo>
                    <a:pt x="4729612" y="2176765"/>
                  </a:moveTo>
                  <a:lnTo>
                    <a:pt x="4744518" y="2176765"/>
                  </a:lnTo>
                  <a:lnTo>
                    <a:pt x="4744518" y="2399745"/>
                  </a:lnTo>
                  <a:lnTo>
                    <a:pt x="4709230" y="2399745"/>
                  </a:lnTo>
                  <a:lnTo>
                    <a:pt x="4709230" y="2219962"/>
                  </a:lnTo>
                  <a:cubicBezTo>
                    <a:pt x="4702842" y="2224525"/>
                    <a:pt x="4695973" y="2228403"/>
                    <a:pt x="4688621" y="2231597"/>
                  </a:cubicBezTo>
                  <a:cubicBezTo>
                    <a:pt x="4681270" y="2234792"/>
                    <a:pt x="4672879" y="2237605"/>
                    <a:pt x="4663449" y="2240039"/>
                  </a:cubicBezTo>
                  <a:lnTo>
                    <a:pt x="4663449" y="2209923"/>
                  </a:lnTo>
                  <a:cubicBezTo>
                    <a:pt x="4669329" y="2207997"/>
                    <a:pt x="4675008" y="2205968"/>
                    <a:pt x="4680483" y="2203839"/>
                  </a:cubicBezTo>
                  <a:cubicBezTo>
                    <a:pt x="4685960" y="2201710"/>
                    <a:pt x="4691358" y="2199326"/>
                    <a:pt x="4696683" y="2196690"/>
                  </a:cubicBezTo>
                  <a:cubicBezTo>
                    <a:pt x="4702006" y="2194054"/>
                    <a:pt x="4707380" y="2191113"/>
                    <a:pt x="4712804" y="2187868"/>
                  </a:cubicBezTo>
                  <a:cubicBezTo>
                    <a:pt x="4718231" y="2184624"/>
                    <a:pt x="4723832" y="2180922"/>
                    <a:pt x="4729612" y="2176765"/>
                  </a:cubicBezTo>
                  <a:close/>
                  <a:moveTo>
                    <a:pt x="4586004" y="2176765"/>
                  </a:moveTo>
                  <a:lnTo>
                    <a:pt x="4600910" y="2176765"/>
                  </a:lnTo>
                  <a:lnTo>
                    <a:pt x="4600910" y="2399745"/>
                  </a:lnTo>
                  <a:lnTo>
                    <a:pt x="4565622" y="2399745"/>
                  </a:lnTo>
                  <a:lnTo>
                    <a:pt x="4565622" y="2219962"/>
                  </a:lnTo>
                  <a:cubicBezTo>
                    <a:pt x="4559235" y="2224525"/>
                    <a:pt x="4552364" y="2228403"/>
                    <a:pt x="4545013" y="2231597"/>
                  </a:cubicBezTo>
                  <a:cubicBezTo>
                    <a:pt x="4537661" y="2234792"/>
                    <a:pt x="4529271" y="2237605"/>
                    <a:pt x="4519841" y="2240039"/>
                  </a:cubicBezTo>
                  <a:lnTo>
                    <a:pt x="4519841" y="2209923"/>
                  </a:lnTo>
                  <a:cubicBezTo>
                    <a:pt x="4525721" y="2207997"/>
                    <a:pt x="4531400" y="2205968"/>
                    <a:pt x="4536875" y="2203839"/>
                  </a:cubicBezTo>
                  <a:cubicBezTo>
                    <a:pt x="4542352" y="2201710"/>
                    <a:pt x="4547750" y="2199326"/>
                    <a:pt x="4553076" y="2196690"/>
                  </a:cubicBezTo>
                  <a:cubicBezTo>
                    <a:pt x="4558398" y="2194054"/>
                    <a:pt x="4563773" y="2191113"/>
                    <a:pt x="4569196" y="2187868"/>
                  </a:cubicBezTo>
                  <a:cubicBezTo>
                    <a:pt x="4574624" y="2184624"/>
                    <a:pt x="4580224" y="2180922"/>
                    <a:pt x="4586004" y="2176765"/>
                  </a:cubicBezTo>
                  <a:close/>
                  <a:moveTo>
                    <a:pt x="4442396" y="2176765"/>
                  </a:moveTo>
                  <a:lnTo>
                    <a:pt x="4457303" y="2176765"/>
                  </a:lnTo>
                  <a:lnTo>
                    <a:pt x="4457303" y="2399745"/>
                  </a:lnTo>
                  <a:lnTo>
                    <a:pt x="4422014" y="2399745"/>
                  </a:lnTo>
                  <a:lnTo>
                    <a:pt x="4422014" y="2219962"/>
                  </a:lnTo>
                  <a:cubicBezTo>
                    <a:pt x="4415627" y="2224525"/>
                    <a:pt x="4408756" y="2228403"/>
                    <a:pt x="4401405" y="2231597"/>
                  </a:cubicBezTo>
                  <a:cubicBezTo>
                    <a:pt x="4394053" y="2234792"/>
                    <a:pt x="4385663" y="2237605"/>
                    <a:pt x="4376233" y="2240039"/>
                  </a:cubicBezTo>
                  <a:lnTo>
                    <a:pt x="4376233" y="2209923"/>
                  </a:lnTo>
                  <a:cubicBezTo>
                    <a:pt x="4382113" y="2207997"/>
                    <a:pt x="4387792" y="2205968"/>
                    <a:pt x="4393267" y="2203839"/>
                  </a:cubicBezTo>
                  <a:cubicBezTo>
                    <a:pt x="4398744" y="2201710"/>
                    <a:pt x="4404142" y="2199326"/>
                    <a:pt x="4409467" y="2196690"/>
                  </a:cubicBezTo>
                  <a:cubicBezTo>
                    <a:pt x="4414790" y="2194054"/>
                    <a:pt x="4420165" y="2191113"/>
                    <a:pt x="4425590" y="2187868"/>
                  </a:cubicBezTo>
                  <a:cubicBezTo>
                    <a:pt x="4431016" y="2184624"/>
                    <a:pt x="4436616" y="2180922"/>
                    <a:pt x="4442396" y="2176765"/>
                  </a:cubicBezTo>
                  <a:close/>
                  <a:moveTo>
                    <a:pt x="3702228" y="2176765"/>
                  </a:moveTo>
                  <a:lnTo>
                    <a:pt x="3717133" y="2176765"/>
                  </a:lnTo>
                  <a:lnTo>
                    <a:pt x="3717133" y="2399745"/>
                  </a:lnTo>
                  <a:lnTo>
                    <a:pt x="3681845" y="2399745"/>
                  </a:lnTo>
                  <a:lnTo>
                    <a:pt x="3681845" y="2219962"/>
                  </a:lnTo>
                  <a:cubicBezTo>
                    <a:pt x="3675458" y="2224525"/>
                    <a:pt x="3668588" y="2228403"/>
                    <a:pt x="3661236" y="2231597"/>
                  </a:cubicBezTo>
                  <a:cubicBezTo>
                    <a:pt x="3653885" y="2234792"/>
                    <a:pt x="3645492" y="2237605"/>
                    <a:pt x="3636063" y="2240039"/>
                  </a:cubicBezTo>
                  <a:lnTo>
                    <a:pt x="3636063" y="2209923"/>
                  </a:lnTo>
                  <a:cubicBezTo>
                    <a:pt x="3641944" y="2207997"/>
                    <a:pt x="3647623" y="2205968"/>
                    <a:pt x="3653098" y="2203839"/>
                  </a:cubicBezTo>
                  <a:cubicBezTo>
                    <a:pt x="3658573" y="2201710"/>
                    <a:pt x="3663973" y="2199326"/>
                    <a:pt x="3669298" y="2196690"/>
                  </a:cubicBezTo>
                  <a:cubicBezTo>
                    <a:pt x="3674622" y="2194054"/>
                    <a:pt x="3679995" y="2191113"/>
                    <a:pt x="3685419" y="2187868"/>
                  </a:cubicBezTo>
                  <a:cubicBezTo>
                    <a:pt x="3690846" y="2184624"/>
                    <a:pt x="3696447" y="2180922"/>
                    <a:pt x="3702228" y="2176765"/>
                  </a:cubicBezTo>
                  <a:close/>
                  <a:moveTo>
                    <a:pt x="3553371" y="2176765"/>
                  </a:moveTo>
                  <a:lnTo>
                    <a:pt x="3568277" y="2176765"/>
                  </a:lnTo>
                  <a:lnTo>
                    <a:pt x="3568277" y="2399745"/>
                  </a:lnTo>
                  <a:lnTo>
                    <a:pt x="3532989" y="2399745"/>
                  </a:lnTo>
                  <a:lnTo>
                    <a:pt x="3532989" y="2219962"/>
                  </a:lnTo>
                  <a:cubicBezTo>
                    <a:pt x="3526600" y="2224525"/>
                    <a:pt x="3519731" y="2228403"/>
                    <a:pt x="3512380" y="2231597"/>
                  </a:cubicBezTo>
                  <a:cubicBezTo>
                    <a:pt x="3505027" y="2234792"/>
                    <a:pt x="3496637" y="2237605"/>
                    <a:pt x="3487206" y="2240039"/>
                  </a:cubicBezTo>
                  <a:lnTo>
                    <a:pt x="3487206" y="2209923"/>
                  </a:lnTo>
                  <a:cubicBezTo>
                    <a:pt x="3493088" y="2207997"/>
                    <a:pt x="3498767" y="2205968"/>
                    <a:pt x="3504242" y="2203839"/>
                  </a:cubicBezTo>
                  <a:cubicBezTo>
                    <a:pt x="3509717" y="2201710"/>
                    <a:pt x="3515117" y="2199326"/>
                    <a:pt x="3520441" y="2196690"/>
                  </a:cubicBezTo>
                  <a:cubicBezTo>
                    <a:pt x="3525764" y="2194054"/>
                    <a:pt x="3531139" y="2191113"/>
                    <a:pt x="3536563" y="2187868"/>
                  </a:cubicBezTo>
                  <a:cubicBezTo>
                    <a:pt x="3541988" y="2184624"/>
                    <a:pt x="3547591" y="2180922"/>
                    <a:pt x="3553371" y="2176765"/>
                  </a:cubicBezTo>
                  <a:close/>
                  <a:moveTo>
                    <a:pt x="2748702" y="2176765"/>
                  </a:moveTo>
                  <a:lnTo>
                    <a:pt x="2763608" y="2176765"/>
                  </a:lnTo>
                  <a:lnTo>
                    <a:pt x="2763608" y="2399745"/>
                  </a:lnTo>
                  <a:lnTo>
                    <a:pt x="2728321" y="2399745"/>
                  </a:lnTo>
                  <a:lnTo>
                    <a:pt x="2728321" y="2219962"/>
                  </a:lnTo>
                  <a:cubicBezTo>
                    <a:pt x="2721933" y="2224525"/>
                    <a:pt x="2715062" y="2228403"/>
                    <a:pt x="2707711" y="2231597"/>
                  </a:cubicBezTo>
                  <a:cubicBezTo>
                    <a:pt x="2700359" y="2234792"/>
                    <a:pt x="2691969" y="2237605"/>
                    <a:pt x="2682538" y="2240039"/>
                  </a:cubicBezTo>
                  <a:lnTo>
                    <a:pt x="2682538" y="2209923"/>
                  </a:lnTo>
                  <a:cubicBezTo>
                    <a:pt x="2688420" y="2207997"/>
                    <a:pt x="2694098" y="2205968"/>
                    <a:pt x="2699574" y="2203839"/>
                  </a:cubicBezTo>
                  <a:cubicBezTo>
                    <a:pt x="2705048" y="2201710"/>
                    <a:pt x="2710449" y="2199326"/>
                    <a:pt x="2715773" y="2196690"/>
                  </a:cubicBezTo>
                  <a:cubicBezTo>
                    <a:pt x="2721097" y="2194054"/>
                    <a:pt x="2726470" y="2191113"/>
                    <a:pt x="2731895" y="2187868"/>
                  </a:cubicBezTo>
                  <a:cubicBezTo>
                    <a:pt x="2737320" y="2184624"/>
                    <a:pt x="2742921" y="2180922"/>
                    <a:pt x="2748702" y="2176765"/>
                  </a:cubicBezTo>
                  <a:close/>
                  <a:moveTo>
                    <a:pt x="2355943" y="2176765"/>
                  </a:moveTo>
                  <a:lnTo>
                    <a:pt x="2370850" y="2176765"/>
                  </a:lnTo>
                  <a:lnTo>
                    <a:pt x="2370850" y="2399745"/>
                  </a:lnTo>
                  <a:lnTo>
                    <a:pt x="2335562" y="2399745"/>
                  </a:lnTo>
                  <a:lnTo>
                    <a:pt x="2335562" y="2219962"/>
                  </a:lnTo>
                  <a:cubicBezTo>
                    <a:pt x="2329174" y="2224525"/>
                    <a:pt x="2322304" y="2228403"/>
                    <a:pt x="2314952" y="2231597"/>
                  </a:cubicBezTo>
                  <a:cubicBezTo>
                    <a:pt x="2307600" y="2234792"/>
                    <a:pt x="2299210" y="2237605"/>
                    <a:pt x="2289780" y="2240039"/>
                  </a:cubicBezTo>
                  <a:lnTo>
                    <a:pt x="2289780" y="2209923"/>
                  </a:lnTo>
                  <a:cubicBezTo>
                    <a:pt x="2295661" y="2207997"/>
                    <a:pt x="2301338" y="2205968"/>
                    <a:pt x="2306815" y="2203839"/>
                  </a:cubicBezTo>
                  <a:cubicBezTo>
                    <a:pt x="2312290" y="2201710"/>
                    <a:pt x="2317689" y="2199326"/>
                    <a:pt x="2323013" y="2196690"/>
                  </a:cubicBezTo>
                  <a:cubicBezTo>
                    <a:pt x="2328337" y="2194054"/>
                    <a:pt x="2333711" y="2191113"/>
                    <a:pt x="2339135" y="2187868"/>
                  </a:cubicBezTo>
                  <a:cubicBezTo>
                    <a:pt x="2344561" y="2184624"/>
                    <a:pt x="2350163" y="2180922"/>
                    <a:pt x="2355943" y="2176765"/>
                  </a:cubicBezTo>
                  <a:close/>
                  <a:moveTo>
                    <a:pt x="2212336" y="2176765"/>
                  </a:moveTo>
                  <a:lnTo>
                    <a:pt x="2227242" y="2176765"/>
                  </a:lnTo>
                  <a:lnTo>
                    <a:pt x="2227242" y="2399745"/>
                  </a:lnTo>
                  <a:lnTo>
                    <a:pt x="2191954" y="2399745"/>
                  </a:lnTo>
                  <a:lnTo>
                    <a:pt x="2191954" y="2219962"/>
                  </a:lnTo>
                  <a:cubicBezTo>
                    <a:pt x="2185566" y="2224525"/>
                    <a:pt x="2178696" y="2228403"/>
                    <a:pt x="2171344" y="2231597"/>
                  </a:cubicBezTo>
                  <a:cubicBezTo>
                    <a:pt x="2163993" y="2234792"/>
                    <a:pt x="2155601" y="2237605"/>
                    <a:pt x="2146172" y="2240039"/>
                  </a:cubicBezTo>
                  <a:lnTo>
                    <a:pt x="2146172" y="2209923"/>
                  </a:lnTo>
                  <a:cubicBezTo>
                    <a:pt x="2152053" y="2207997"/>
                    <a:pt x="2157731" y="2205968"/>
                    <a:pt x="2163206" y="2203839"/>
                  </a:cubicBezTo>
                  <a:cubicBezTo>
                    <a:pt x="2168682" y="2201710"/>
                    <a:pt x="2174080" y="2199326"/>
                    <a:pt x="2179406" y="2196690"/>
                  </a:cubicBezTo>
                  <a:cubicBezTo>
                    <a:pt x="2184729" y="2194054"/>
                    <a:pt x="2190103" y="2191113"/>
                    <a:pt x="2195528" y="2187868"/>
                  </a:cubicBezTo>
                  <a:cubicBezTo>
                    <a:pt x="2200953" y="2184624"/>
                    <a:pt x="2206554" y="2180922"/>
                    <a:pt x="2212336" y="2176765"/>
                  </a:cubicBezTo>
                  <a:close/>
                  <a:moveTo>
                    <a:pt x="2068726" y="2176765"/>
                  </a:moveTo>
                  <a:lnTo>
                    <a:pt x="2083633" y="2176765"/>
                  </a:lnTo>
                  <a:lnTo>
                    <a:pt x="2083633" y="2399745"/>
                  </a:lnTo>
                  <a:lnTo>
                    <a:pt x="2048345" y="2399745"/>
                  </a:lnTo>
                  <a:lnTo>
                    <a:pt x="2048345" y="2219962"/>
                  </a:lnTo>
                  <a:cubicBezTo>
                    <a:pt x="2041957" y="2224525"/>
                    <a:pt x="2035088" y="2228403"/>
                    <a:pt x="2027735" y="2231597"/>
                  </a:cubicBezTo>
                  <a:cubicBezTo>
                    <a:pt x="2020384" y="2234792"/>
                    <a:pt x="2011993" y="2237605"/>
                    <a:pt x="2002563" y="2240039"/>
                  </a:cubicBezTo>
                  <a:lnTo>
                    <a:pt x="2002563" y="2209923"/>
                  </a:lnTo>
                  <a:cubicBezTo>
                    <a:pt x="2008444" y="2207997"/>
                    <a:pt x="2014123" y="2205968"/>
                    <a:pt x="2019598" y="2203839"/>
                  </a:cubicBezTo>
                  <a:cubicBezTo>
                    <a:pt x="2025074" y="2201710"/>
                    <a:pt x="2030474" y="2199326"/>
                    <a:pt x="2035796" y="2196690"/>
                  </a:cubicBezTo>
                  <a:cubicBezTo>
                    <a:pt x="2041121" y="2194054"/>
                    <a:pt x="2046495" y="2191113"/>
                    <a:pt x="2051918" y="2187868"/>
                  </a:cubicBezTo>
                  <a:cubicBezTo>
                    <a:pt x="2057344" y="2184624"/>
                    <a:pt x="2062947" y="2180922"/>
                    <a:pt x="2068726" y="2176765"/>
                  </a:cubicBezTo>
                  <a:close/>
                  <a:moveTo>
                    <a:pt x="1925119" y="2176765"/>
                  </a:moveTo>
                  <a:lnTo>
                    <a:pt x="1940025" y="2176765"/>
                  </a:lnTo>
                  <a:lnTo>
                    <a:pt x="1940025" y="2399745"/>
                  </a:lnTo>
                  <a:lnTo>
                    <a:pt x="1904738" y="2399745"/>
                  </a:lnTo>
                  <a:lnTo>
                    <a:pt x="1904738" y="2219962"/>
                  </a:lnTo>
                  <a:cubicBezTo>
                    <a:pt x="1898350" y="2224525"/>
                    <a:pt x="1891479" y="2228403"/>
                    <a:pt x="1884128" y="2231597"/>
                  </a:cubicBezTo>
                  <a:cubicBezTo>
                    <a:pt x="1876776" y="2234792"/>
                    <a:pt x="1868386" y="2237605"/>
                    <a:pt x="1858955" y="2240039"/>
                  </a:cubicBezTo>
                  <a:lnTo>
                    <a:pt x="1858955" y="2209923"/>
                  </a:lnTo>
                  <a:cubicBezTo>
                    <a:pt x="1864837" y="2207997"/>
                    <a:pt x="1870515" y="2205968"/>
                    <a:pt x="1875991" y="2203839"/>
                  </a:cubicBezTo>
                  <a:cubicBezTo>
                    <a:pt x="1881466" y="2201710"/>
                    <a:pt x="1886866" y="2199326"/>
                    <a:pt x="1892190" y="2196690"/>
                  </a:cubicBezTo>
                  <a:cubicBezTo>
                    <a:pt x="1897514" y="2194054"/>
                    <a:pt x="1902887" y="2191113"/>
                    <a:pt x="1908312" y="2187868"/>
                  </a:cubicBezTo>
                  <a:cubicBezTo>
                    <a:pt x="1913738" y="2184624"/>
                    <a:pt x="1919339" y="2180922"/>
                    <a:pt x="1925119" y="2176765"/>
                  </a:cubicBezTo>
                  <a:close/>
                  <a:moveTo>
                    <a:pt x="1781511" y="2176765"/>
                  </a:moveTo>
                  <a:lnTo>
                    <a:pt x="1796417" y="2176765"/>
                  </a:lnTo>
                  <a:lnTo>
                    <a:pt x="1796417" y="2399745"/>
                  </a:lnTo>
                  <a:lnTo>
                    <a:pt x="1761130" y="2399745"/>
                  </a:lnTo>
                  <a:lnTo>
                    <a:pt x="1761130" y="2219962"/>
                  </a:lnTo>
                  <a:cubicBezTo>
                    <a:pt x="1754742" y="2224525"/>
                    <a:pt x="1747872" y="2228403"/>
                    <a:pt x="1740520" y="2231597"/>
                  </a:cubicBezTo>
                  <a:cubicBezTo>
                    <a:pt x="1733169" y="2234792"/>
                    <a:pt x="1724778" y="2237605"/>
                    <a:pt x="1715347" y="2240039"/>
                  </a:cubicBezTo>
                  <a:lnTo>
                    <a:pt x="1715347" y="2209923"/>
                  </a:lnTo>
                  <a:cubicBezTo>
                    <a:pt x="1721229" y="2207997"/>
                    <a:pt x="1726907" y="2205968"/>
                    <a:pt x="1732383" y="2203839"/>
                  </a:cubicBezTo>
                  <a:cubicBezTo>
                    <a:pt x="1737858" y="2201710"/>
                    <a:pt x="1743258" y="2199326"/>
                    <a:pt x="1748582" y="2196690"/>
                  </a:cubicBezTo>
                  <a:cubicBezTo>
                    <a:pt x="1753905" y="2194054"/>
                    <a:pt x="1759279" y="2191113"/>
                    <a:pt x="1764704" y="2187868"/>
                  </a:cubicBezTo>
                  <a:cubicBezTo>
                    <a:pt x="1770129" y="2184624"/>
                    <a:pt x="1775731" y="2180922"/>
                    <a:pt x="1781511" y="2176765"/>
                  </a:cubicBezTo>
                  <a:close/>
                  <a:moveTo>
                    <a:pt x="1433813" y="2176765"/>
                  </a:moveTo>
                  <a:lnTo>
                    <a:pt x="1448720" y="2176765"/>
                  </a:lnTo>
                  <a:lnTo>
                    <a:pt x="1448720" y="2399745"/>
                  </a:lnTo>
                  <a:lnTo>
                    <a:pt x="1413432" y="2399745"/>
                  </a:lnTo>
                  <a:lnTo>
                    <a:pt x="1413432" y="2219962"/>
                  </a:lnTo>
                  <a:cubicBezTo>
                    <a:pt x="1407044" y="2224525"/>
                    <a:pt x="1400174" y="2228403"/>
                    <a:pt x="1392822" y="2231597"/>
                  </a:cubicBezTo>
                  <a:cubicBezTo>
                    <a:pt x="1385471" y="2234792"/>
                    <a:pt x="1377080" y="2237605"/>
                    <a:pt x="1367650" y="2240039"/>
                  </a:cubicBezTo>
                  <a:lnTo>
                    <a:pt x="1367650" y="2209923"/>
                  </a:lnTo>
                  <a:cubicBezTo>
                    <a:pt x="1373531" y="2207997"/>
                    <a:pt x="1379210" y="2205968"/>
                    <a:pt x="1384685" y="2203839"/>
                  </a:cubicBezTo>
                  <a:cubicBezTo>
                    <a:pt x="1390159" y="2201710"/>
                    <a:pt x="1395559" y="2199326"/>
                    <a:pt x="1400884" y="2196690"/>
                  </a:cubicBezTo>
                  <a:cubicBezTo>
                    <a:pt x="1406207" y="2194054"/>
                    <a:pt x="1411581" y="2191113"/>
                    <a:pt x="1417006" y="2187868"/>
                  </a:cubicBezTo>
                  <a:cubicBezTo>
                    <a:pt x="1422431" y="2184624"/>
                    <a:pt x="1428034" y="2180922"/>
                    <a:pt x="1433813" y="2176765"/>
                  </a:cubicBezTo>
                  <a:close/>
                  <a:moveTo>
                    <a:pt x="1136100" y="2176765"/>
                  </a:moveTo>
                  <a:lnTo>
                    <a:pt x="1151006" y="2176765"/>
                  </a:lnTo>
                  <a:lnTo>
                    <a:pt x="1151006" y="2399745"/>
                  </a:lnTo>
                  <a:lnTo>
                    <a:pt x="1115718" y="2399745"/>
                  </a:lnTo>
                  <a:lnTo>
                    <a:pt x="1115718" y="2219962"/>
                  </a:lnTo>
                  <a:cubicBezTo>
                    <a:pt x="1109330" y="2224525"/>
                    <a:pt x="1102460" y="2228403"/>
                    <a:pt x="1095109" y="2231597"/>
                  </a:cubicBezTo>
                  <a:cubicBezTo>
                    <a:pt x="1087758" y="2234792"/>
                    <a:pt x="1079366" y="2237605"/>
                    <a:pt x="1069936" y="2240039"/>
                  </a:cubicBezTo>
                  <a:lnTo>
                    <a:pt x="1069936" y="2209923"/>
                  </a:lnTo>
                  <a:cubicBezTo>
                    <a:pt x="1075817" y="2207997"/>
                    <a:pt x="1081496" y="2205968"/>
                    <a:pt x="1086971" y="2203839"/>
                  </a:cubicBezTo>
                  <a:cubicBezTo>
                    <a:pt x="1092447" y="2201710"/>
                    <a:pt x="1097847" y="2199326"/>
                    <a:pt x="1103170" y="2196690"/>
                  </a:cubicBezTo>
                  <a:cubicBezTo>
                    <a:pt x="1108494" y="2194054"/>
                    <a:pt x="1113868" y="2191113"/>
                    <a:pt x="1119293" y="2187868"/>
                  </a:cubicBezTo>
                  <a:cubicBezTo>
                    <a:pt x="1124718" y="2184624"/>
                    <a:pt x="1130320" y="2180922"/>
                    <a:pt x="1136100" y="2176765"/>
                  </a:cubicBezTo>
                  <a:close/>
                  <a:moveTo>
                    <a:pt x="924981" y="2176765"/>
                  </a:moveTo>
                  <a:cubicBezTo>
                    <a:pt x="972425" y="2176765"/>
                    <a:pt x="996148" y="2213628"/>
                    <a:pt x="996148" y="2287352"/>
                  </a:cubicBezTo>
                  <a:cubicBezTo>
                    <a:pt x="996148" y="2323864"/>
                    <a:pt x="989453" y="2351724"/>
                    <a:pt x="976062" y="2370932"/>
                  </a:cubicBezTo>
                  <a:cubicBezTo>
                    <a:pt x="962671" y="2390140"/>
                    <a:pt x="943939" y="2399745"/>
                    <a:pt x="919866" y="2399745"/>
                  </a:cubicBezTo>
                  <a:cubicBezTo>
                    <a:pt x="897397" y="2399745"/>
                    <a:pt x="879869" y="2390567"/>
                    <a:pt x="867279" y="2372211"/>
                  </a:cubicBezTo>
                  <a:cubicBezTo>
                    <a:pt x="854692" y="2353855"/>
                    <a:pt x="848398" y="2327324"/>
                    <a:pt x="848398" y="2292619"/>
                  </a:cubicBezTo>
                  <a:cubicBezTo>
                    <a:pt x="848398" y="2254502"/>
                    <a:pt x="854968" y="2225664"/>
                    <a:pt x="868108" y="2206104"/>
                  </a:cubicBezTo>
                  <a:cubicBezTo>
                    <a:pt x="881248" y="2186545"/>
                    <a:pt x="900206" y="2176765"/>
                    <a:pt x="924981" y="2176765"/>
                  </a:cubicBezTo>
                  <a:close/>
                  <a:moveTo>
                    <a:pt x="708705" y="2176765"/>
                  </a:moveTo>
                  <a:cubicBezTo>
                    <a:pt x="756150" y="2176765"/>
                    <a:pt x="779872" y="2213628"/>
                    <a:pt x="779872" y="2287352"/>
                  </a:cubicBezTo>
                  <a:cubicBezTo>
                    <a:pt x="779872" y="2323864"/>
                    <a:pt x="773176" y="2351724"/>
                    <a:pt x="759785" y="2370932"/>
                  </a:cubicBezTo>
                  <a:cubicBezTo>
                    <a:pt x="746395" y="2390140"/>
                    <a:pt x="727662" y="2399745"/>
                    <a:pt x="703590" y="2399745"/>
                  </a:cubicBezTo>
                  <a:cubicBezTo>
                    <a:pt x="681120" y="2399745"/>
                    <a:pt x="663593" y="2390567"/>
                    <a:pt x="651004" y="2372211"/>
                  </a:cubicBezTo>
                  <a:cubicBezTo>
                    <a:pt x="638416" y="2353855"/>
                    <a:pt x="632122" y="2327324"/>
                    <a:pt x="632122" y="2292619"/>
                  </a:cubicBezTo>
                  <a:cubicBezTo>
                    <a:pt x="632122" y="2254502"/>
                    <a:pt x="638691" y="2225664"/>
                    <a:pt x="651832" y="2206104"/>
                  </a:cubicBezTo>
                  <a:cubicBezTo>
                    <a:pt x="664972" y="2186545"/>
                    <a:pt x="683931" y="2176765"/>
                    <a:pt x="708705" y="2176765"/>
                  </a:cubicBezTo>
                  <a:close/>
                  <a:moveTo>
                    <a:pt x="560572" y="2176765"/>
                  </a:moveTo>
                  <a:lnTo>
                    <a:pt x="575479" y="2176765"/>
                  </a:lnTo>
                  <a:lnTo>
                    <a:pt x="575479" y="2399745"/>
                  </a:lnTo>
                  <a:lnTo>
                    <a:pt x="540191" y="2399745"/>
                  </a:lnTo>
                  <a:lnTo>
                    <a:pt x="540191" y="2219962"/>
                  </a:lnTo>
                  <a:cubicBezTo>
                    <a:pt x="533803" y="2224525"/>
                    <a:pt x="526933" y="2228403"/>
                    <a:pt x="519581" y="2231597"/>
                  </a:cubicBezTo>
                  <a:cubicBezTo>
                    <a:pt x="512230" y="2234792"/>
                    <a:pt x="503839" y="2237605"/>
                    <a:pt x="494409" y="2240039"/>
                  </a:cubicBezTo>
                  <a:lnTo>
                    <a:pt x="494409" y="2209923"/>
                  </a:lnTo>
                  <a:cubicBezTo>
                    <a:pt x="500290" y="2207997"/>
                    <a:pt x="505969" y="2205968"/>
                    <a:pt x="511444" y="2203839"/>
                  </a:cubicBezTo>
                  <a:cubicBezTo>
                    <a:pt x="516920" y="2201710"/>
                    <a:pt x="522319" y="2199326"/>
                    <a:pt x="527643" y="2196690"/>
                  </a:cubicBezTo>
                  <a:cubicBezTo>
                    <a:pt x="532966" y="2194054"/>
                    <a:pt x="538342" y="2191113"/>
                    <a:pt x="543766" y="2187868"/>
                  </a:cubicBezTo>
                  <a:cubicBezTo>
                    <a:pt x="549191" y="2184624"/>
                    <a:pt x="554793" y="2180922"/>
                    <a:pt x="560572" y="2176765"/>
                  </a:cubicBezTo>
                  <a:close/>
                  <a:moveTo>
                    <a:pt x="262859" y="2176765"/>
                  </a:moveTo>
                  <a:lnTo>
                    <a:pt x="277764" y="2176765"/>
                  </a:lnTo>
                  <a:lnTo>
                    <a:pt x="277764" y="2399745"/>
                  </a:lnTo>
                  <a:lnTo>
                    <a:pt x="242478" y="2399745"/>
                  </a:lnTo>
                  <a:lnTo>
                    <a:pt x="242478" y="2219962"/>
                  </a:lnTo>
                  <a:cubicBezTo>
                    <a:pt x="236089" y="2224525"/>
                    <a:pt x="229220" y="2228403"/>
                    <a:pt x="221869" y="2231597"/>
                  </a:cubicBezTo>
                  <a:cubicBezTo>
                    <a:pt x="214516" y="2234792"/>
                    <a:pt x="206126" y="2237605"/>
                    <a:pt x="196695" y="2240039"/>
                  </a:cubicBezTo>
                  <a:lnTo>
                    <a:pt x="196695" y="2209923"/>
                  </a:lnTo>
                  <a:cubicBezTo>
                    <a:pt x="202577" y="2207997"/>
                    <a:pt x="208255" y="2205968"/>
                    <a:pt x="213729" y="2203839"/>
                  </a:cubicBezTo>
                  <a:cubicBezTo>
                    <a:pt x="219206" y="2201710"/>
                    <a:pt x="224606" y="2199326"/>
                    <a:pt x="229928" y="2196690"/>
                  </a:cubicBezTo>
                  <a:cubicBezTo>
                    <a:pt x="235253" y="2194054"/>
                    <a:pt x="240626" y="2191113"/>
                    <a:pt x="246052" y="2187868"/>
                  </a:cubicBezTo>
                  <a:cubicBezTo>
                    <a:pt x="251477" y="2184624"/>
                    <a:pt x="257080" y="2180922"/>
                    <a:pt x="262859" y="2176765"/>
                  </a:cubicBezTo>
                  <a:close/>
                  <a:moveTo>
                    <a:pt x="87099" y="2176765"/>
                  </a:moveTo>
                  <a:cubicBezTo>
                    <a:pt x="134543" y="2176765"/>
                    <a:pt x="158266" y="2213628"/>
                    <a:pt x="158266" y="2287352"/>
                  </a:cubicBezTo>
                  <a:cubicBezTo>
                    <a:pt x="158266" y="2323864"/>
                    <a:pt x="151570" y="2351724"/>
                    <a:pt x="138180" y="2370932"/>
                  </a:cubicBezTo>
                  <a:cubicBezTo>
                    <a:pt x="124789" y="2390140"/>
                    <a:pt x="106058" y="2399745"/>
                    <a:pt x="81984" y="2399745"/>
                  </a:cubicBezTo>
                  <a:cubicBezTo>
                    <a:pt x="59516" y="2399745"/>
                    <a:pt x="41986" y="2390567"/>
                    <a:pt x="29398" y="2372211"/>
                  </a:cubicBezTo>
                  <a:cubicBezTo>
                    <a:pt x="16810" y="2353855"/>
                    <a:pt x="10515" y="2327324"/>
                    <a:pt x="10515" y="2292619"/>
                  </a:cubicBezTo>
                  <a:cubicBezTo>
                    <a:pt x="10515" y="2254502"/>
                    <a:pt x="17085" y="2225664"/>
                    <a:pt x="30225" y="2206104"/>
                  </a:cubicBezTo>
                  <a:cubicBezTo>
                    <a:pt x="43366" y="2186545"/>
                    <a:pt x="62323" y="2176765"/>
                    <a:pt x="87099" y="2176765"/>
                  </a:cubicBezTo>
                  <a:close/>
                  <a:moveTo>
                    <a:pt x="11895120" y="1870182"/>
                  </a:moveTo>
                  <a:cubicBezTo>
                    <a:pt x="11868940" y="1870182"/>
                    <a:pt x="11855850" y="1899020"/>
                    <a:pt x="11855850" y="1956697"/>
                  </a:cubicBezTo>
                  <a:cubicBezTo>
                    <a:pt x="11855850" y="2010660"/>
                    <a:pt x="11868689" y="2037642"/>
                    <a:pt x="11894368" y="2037642"/>
                  </a:cubicBezTo>
                  <a:cubicBezTo>
                    <a:pt x="11919644" y="2037642"/>
                    <a:pt x="11932283" y="2010209"/>
                    <a:pt x="11932283" y="1955343"/>
                  </a:cubicBezTo>
                  <a:cubicBezTo>
                    <a:pt x="11932283" y="1898568"/>
                    <a:pt x="11919895" y="1870182"/>
                    <a:pt x="11895120" y="1870182"/>
                  </a:cubicBezTo>
                  <a:close/>
                  <a:moveTo>
                    <a:pt x="11188558" y="1870182"/>
                  </a:moveTo>
                  <a:cubicBezTo>
                    <a:pt x="11162378" y="1870182"/>
                    <a:pt x="11149288" y="1899020"/>
                    <a:pt x="11149288" y="1956697"/>
                  </a:cubicBezTo>
                  <a:cubicBezTo>
                    <a:pt x="11149288" y="2010660"/>
                    <a:pt x="11162127" y="2037642"/>
                    <a:pt x="11187806" y="2037642"/>
                  </a:cubicBezTo>
                  <a:cubicBezTo>
                    <a:pt x="11213082" y="2037642"/>
                    <a:pt x="11225721" y="2010209"/>
                    <a:pt x="11225721" y="1955343"/>
                  </a:cubicBezTo>
                  <a:cubicBezTo>
                    <a:pt x="11225721" y="1898568"/>
                    <a:pt x="11213333" y="1870182"/>
                    <a:pt x="11188558" y="1870182"/>
                  </a:cubicBezTo>
                  <a:close/>
                  <a:moveTo>
                    <a:pt x="9941039" y="1870182"/>
                  </a:moveTo>
                  <a:cubicBezTo>
                    <a:pt x="9914859" y="1870182"/>
                    <a:pt x="9901769" y="1899020"/>
                    <a:pt x="9901769" y="1956697"/>
                  </a:cubicBezTo>
                  <a:cubicBezTo>
                    <a:pt x="9901769" y="2010660"/>
                    <a:pt x="9914608" y="2037642"/>
                    <a:pt x="9940287" y="2037642"/>
                  </a:cubicBezTo>
                  <a:cubicBezTo>
                    <a:pt x="9965563" y="2037642"/>
                    <a:pt x="9978202" y="2010209"/>
                    <a:pt x="9978202" y="1955343"/>
                  </a:cubicBezTo>
                  <a:cubicBezTo>
                    <a:pt x="9978202" y="1898568"/>
                    <a:pt x="9965814" y="1870182"/>
                    <a:pt x="9941039" y="1870182"/>
                  </a:cubicBezTo>
                  <a:close/>
                  <a:moveTo>
                    <a:pt x="9721595" y="1870182"/>
                  </a:moveTo>
                  <a:cubicBezTo>
                    <a:pt x="9695415" y="1870182"/>
                    <a:pt x="9682325" y="1899020"/>
                    <a:pt x="9682325" y="1956697"/>
                  </a:cubicBezTo>
                  <a:cubicBezTo>
                    <a:pt x="9682325" y="2010660"/>
                    <a:pt x="9695164" y="2037642"/>
                    <a:pt x="9720843" y="2037642"/>
                  </a:cubicBezTo>
                  <a:cubicBezTo>
                    <a:pt x="9746119" y="2037642"/>
                    <a:pt x="9758758" y="2010209"/>
                    <a:pt x="9758758" y="1955343"/>
                  </a:cubicBezTo>
                  <a:cubicBezTo>
                    <a:pt x="9758758" y="1898568"/>
                    <a:pt x="9746370" y="1870182"/>
                    <a:pt x="9721595" y="1870182"/>
                  </a:cubicBezTo>
                  <a:close/>
                  <a:moveTo>
                    <a:pt x="6366950" y="1870182"/>
                  </a:moveTo>
                  <a:cubicBezTo>
                    <a:pt x="6340770" y="1870182"/>
                    <a:pt x="6327680" y="1899020"/>
                    <a:pt x="6327680" y="1956697"/>
                  </a:cubicBezTo>
                  <a:cubicBezTo>
                    <a:pt x="6327680" y="2010660"/>
                    <a:pt x="6340519" y="2037642"/>
                    <a:pt x="6366198" y="2037642"/>
                  </a:cubicBezTo>
                  <a:cubicBezTo>
                    <a:pt x="6391475" y="2037642"/>
                    <a:pt x="6404113" y="2010209"/>
                    <a:pt x="6404113" y="1955343"/>
                  </a:cubicBezTo>
                  <a:cubicBezTo>
                    <a:pt x="6404113" y="1898568"/>
                    <a:pt x="6391725" y="1870182"/>
                    <a:pt x="6366950" y="1870182"/>
                  </a:cubicBezTo>
                  <a:close/>
                  <a:moveTo>
                    <a:pt x="5831864" y="1870182"/>
                  </a:moveTo>
                  <a:cubicBezTo>
                    <a:pt x="5805684" y="1870182"/>
                    <a:pt x="5792595" y="1899020"/>
                    <a:pt x="5792595" y="1956697"/>
                  </a:cubicBezTo>
                  <a:cubicBezTo>
                    <a:pt x="5792595" y="2010660"/>
                    <a:pt x="5805433" y="2037642"/>
                    <a:pt x="5831113" y="2037642"/>
                  </a:cubicBezTo>
                  <a:cubicBezTo>
                    <a:pt x="5856389" y="2037642"/>
                    <a:pt x="5869027" y="2010209"/>
                    <a:pt x="5869027" y="1955343"/>
                  </a:cubicBezTo>
                  <a:cubicBezTo>
                    <a:pt x="5869027" y="1898568"/>
                    <a:pt x="5856640" y="1870182"/>
                    <a:pt x="5831864" y="1870182"/>
                  </a:cubicBezTo>
                  <a:close/>
                  <a:moveTo>
                    <a:pt x="5134215" y="1870182"/>
                  </a:moveTo>
                  <a:cubicBezTo>
                    <a:pt x="5108036" y="1870182"/>
                    <a:pt x="5094945" y="1899020"/>
                    <a:pt x="5094945" y="1956697"/>
                  </a:cubicBezTo>
                  <a:cubicBezTo>
                    <a:pt x="5094945" y="2010660"/>
                    <a:pt x="5107784" y="2037642"/>
                    <a:pt x="5133463" y="2037642"/>
                  </a:cubicBezTo>
                  <a:cubicBezTo>
                    <a:pt x="5158739" y="2037642"/>
                    <a:pt x="5171378" y="2010209"/>
                    <a:pt x="5171378" y="1955343"/>
                  </a:cubicBezTo>
                  <a:cubicBezTo>
                    <a:pt x="5171378" y="1898568"/>
                    <a:pt x="5158990" y="1870182"/>
                    <a:pt x="5134215" y="1870182"/>
                  </a:cubicBezTo>
                  <a:close/>
                  <a:moveTo>
                    <a:pt x="3882478" y="1870182"/>
                  </a:moveTo>
                  <a:cubicBezTo>
                    <a:pt x="3856298" y="1870182"/>
                    <a:pt x="3843208" y="1899020"/>
                    <a:pt x="3843208" y="1956697"/>
                  </a:cubicBezTo>
                  <a:cubicBezTo>
                    <a:pt x="3843208" y="2010660"/>
                    <a:pt x="3856047" y="2037642"/>
                    <a:pt x="3881726" y="2037642"/>
                  </a:cubicBezTo>
                  <a:cubicBezTo>
                    <a:pt x="3907002" y="2037642"/>
                    <a:pt x="3919642" y="2010209"/>
                    <a:pt x="3919642" y="1955343"/>
                  </a:cubicBezTo>
                  <a:cubicBezTo>
                    <a:pt x="3919642" y="1898568"/>
                    <a:pt x="3907253" y="1870182"/>
                    <a:pt x="3882478" y="1870182"/>
                  </a:cubicBezTo>
                  <a:close/>
                  <a:moveTo>
                    <a:pt x="3657815" y="1870182"/>
                  </a:moveTo>
                  <a:cubicBezTo>
                    <a:pt x="3631634" y="1870182"/>
                    <a:pt x="3618545" y="1899020"/>
                    <a:pt x="3618545" y="1956697"/>
                  </a:cubicBezTo>
                  <a:cubicBezTo>
                    <a:pt x="3618545" y="2010660"/>
                    <a:pt x="3631383" y="2037642"/>
                    <a:pt x="3657061" y="2037642"/>
                  </a:cubicBezTo>
                  <a:cubicBezTo>
                    <a:pt x="3682339" y="2037642"/>
                    <a:pt x="3694977" y="2010209"/>
                    <a:pt x="3694977" y="1955343"/>
                  </a:cubicBezTo>
                  <a:cubicBezTo>
                    <a:pt x="3694977" y="1898568"/>
                    <a:pt x="3682590" y="1870182"/>
                    <a:pt x="3657815" y="1870182"/>
                  </a:cubicBezTo>
                  <a:close/>
                  <a:moveTo>
                    <a:pt x="295699" y="1870182"/>
                  </a:moveTo>
                  <a:cubicBezTo>
                    <a:pt x="269519" y="1870182"/>
                    <a:pt x="256429" y="1899020"/>
                    <a:pt x="256429" y="1956697"/>
                  </a:cubicBezTo>
                  <a:cubicBezTo>
                    <a:pt x="256429" y="2010660"/>
                    <a:pt x="269268" y="2037642"/>
                    <a:pt x="294947" y="2037642"/>
                  </a:cubicBezTo>
                  <a:cubicBezTo>
                    <a:pt x="320224" y="2037642"/>
                    <a:pt x="332862" y="2010209"/>
                    <a:pt x="332862" y="1955343"/>
                  </a:cubicBezTo>
                  <a:cubicBezTo>
                    <a:pt x="332862" y="1898568"/>
                    <a:pt x="320474" y="1870182"/>
                    <a:pt x="295699" y="1870182"/>
                  </a:cubicBezTo>
                  <a:close/>
                  <a:moveTo>
                    <a:pt x="12088449" y="1842348"/>
                  </a:moveTo>
                  <a:lnTo>
                    <a:pt x="12103355" y="1842348"/>
                  </a:lnTo>
                  <a:lnTo>
                    <a:pt x="12103355" y="2065327"/>
                  </a:lnTo>
                  <a:lnTo>
                    <a:pt x="12068067" y="2065327"/>
                  </a:lnTo>
                  <a:lnTo>
                    <a:pt x="12068067" y="1885544"/>
                  </a:lnTo>
                  <a:cubicBezTo>
                    <a:pt x="12061679" y="1890108"/>
                    <a:pt x="12054809" y="1893985"/>
                    <a:pt x="12047458" y="1897179"/>
                  </a:cubicBezTo>
                  <a:cubicBezTo>
                    <a:pt x="12040106" y="1900374"/>
                    <a:pt x="12031715" y="1903188"/>
                    <a:pt x="12022285" y="1905622"/>
                  </a:cubicBezTo>
                  <a:lnTo>
                    <a:pt x="12022285" y="1875506"/>
                  </a:lnTo>
                  <a:cubicBezTo>
                    <a:pt x="12028166" y="1873580"/>
                    <a:pt x="12033845" y="1871550"/>
                    <a:pt x="12039320" y="1869422"/>
                  </a:cubicBezTo>
                  <a:cubicBezTo>
                    <a:pt x="12044796" y="1867293"/>
                    <a:pt x="12050196" y="1864909"/>
                    <a:pt x="12055519" y="1862273"/>
                  </a:cubicBezTo>
                  <a:cubicBezTo>
                    <a:pt x="12060843" y="1859637"/>
                    <a:pt x="12066217" y="1856696"/>
                    <a:pt x="12071642" y="1853451"/>
                  </a:cubicBezTo>
                  <a:cubicBezTo>
                    <a:pt x="12077067" y="1850207"/>
                    <a:pt x="12082669" y="1846504"/>
                    <a:pt x="12088449" y="1842348"/>
                  </a:cubicBezTo>
                  <a:close/>
                  <a:moveTo>
                    <a:pt x="11896775" y="1842348"/>
                  </a:moveTo>
                  <a:cubicBezTo>
                    <a:pt x="11944219" y="1842348"/>
                    <a:pt x="11967942" y="1879210"/>
                    <a:pt x="11967942" y="1952935"/>
                  </a:cubicBezTo>
                  <a:cubicBezTo>
                    <a:pt x="11967942" y="1989447"/>
                    <a:pt x="11961246" y="2017306"/>
                    <a:pt x="11947856" y="2036514"/>
                  </a:cubicBezTo>
                  <a:cubicBezTo>
                    <a:pt x="11934465" y="2055722"/>
                    <a:pt x="11915733" y="2065327"/>
                    <a:pt x="11891659" y="2065327"/>
                  </a:cubicBezTo>
                  <a:cubicBezTo>
                    <a:pt x="11869191" y="2065327"/>
                    <a:pt x="11851662" y="2056149"/>
                    <a:pt x="11839074" y="2037793"/>
                  </a:cubicBezTo>
                  <a:cubicBezTo>
                    <a:pt x="11826485" y="2019437"/>
                    <a:pt x="11820191" y="1992907"/>
                    <a:pt x="11820191" y="1958202"/>
                  </a:cubicBezTo>
                  <a:cubicBezTo>
                    <a:pt x="11820191" y="1920085"/>
                    <a:pt x="11826761" y="1891247"/>
                    <a:pt x="11839901" y="1871686"/>
                  </a:cubicBezTo>
                  <a:cubicBezTo>
                    <a:pt x="11853042" y="1852127"/>
                    <a:pt x="11871999" y="1842348"/>
                    <a:pt x="11896775" y="1842348"/>
                  </a:cubicBezTo>
                  <a:close/>
                  <a:moveTo>
                    <a:pt x="11190213" y="1842348"/>
                  </a:moveTo>
                  <a:cubicBezTo>
                    <a:pt x="11237657" y="1842348"/>
                    <a:pt x="11261380" y="1879210"/>
                    <a:pt x="11261380" y="1952935"/>
                  </a:cubicBezTo>
                  <a:cubicBezTo>
                    <a:pt x="11261380" y="1989447"/>
                    <a:pt x="11254684" y="2017306"/>
                    <a:pt x="11241294" y="2036514"/>
                  </a:cubicBezTo>
                  <a:cubicBezTo>
                    <a:pt x="11227903" y="2055722"/>
                    <a:pt x="11209171" y="2065327"/>
                    <a:pt x="11185097" y="2065327"/>
                  </a:cubicBezTo>
                  <a:cubicBezTo>
                    <a:pt x="11162629" y="2065327"/>
                    <a:pt x="11145100" y="2056149"/>
                    <a:pt x="11132512" y="2037793"/>
                  </a:cubicBezTo>
                  <a:cubicBezTo>
                    <a:pt x="11119923" y="2019437"/>
                    <a:pt x="11113629" y="1992907"/>
                    <a:pt x="11113629" y="1958202"/>
                  </a:cubicBezTo>
                  <a:cubicBezTo>
                    <a:pt x="11113629" y="1920085"/>
                    <a:pt x="11120199" y="1891247"/>
                    <a:pt x="11133339" y="1871686"/>
                  </a:cubicBezTo>
                  <a:cubicBezTo>
                    <a:pt x="11146480" y="1852127"/>
                    <a:pt x="11165437" y="1842348"/>
                    <a:pt x="11190213" y="1842348"/>
                  </a:cubicBezTo>
                  <a:close/>
                  <a:moveTo>
                    <a:pt x="10816495" y="1842348"/>
                  </a:moveTo>
                  <a:lnTo>
                    <a:pt x="10831401" y="1842348"/>
                  </a:lnTo>
                  <a:lnTo>
                    <a:pt x="10831401" y="2065327"/>
                  </a:lnTo>
                  <a:lnTo>
                    <a:pt x="10796113" y="2065327"/>
                  </a:lnTo>
                  <a:lnTo>
                    <a:pt x="10796113" y="1885544"/>
                  </a:lnTo>
                  <a:cubicBezTo>
                    <a:pt x="10789725" y="1890108"/>
                    <a:pt x="10782855" y="1893985"/>
                    <a:pt x="10775504" y="1897179"/>
                  </a:cubicBezTo>
                  <a:cubicBezTo>
                    <a:pt x="10768152" y="1900374"/>
                    <a:pt x="10759761" y="1903188"/>
                    <a:pt x="10750331" y="1905622"/>
                  </a:cubicBezTo>
                  <a:lnTo>
                    <a:pt x="10750331" y="1875506"/>
                  </a:lnTo>
                  <a:cubicBezTo>
                    <a:pt x="10756212" y="1873580"/>
                    <a:pt x="10761891" y="1871550"/>
                    <a:pt x="10767366" y="1869422"/>
                  </a:cubicBezTo>
                  <a:cubicBezTo>
                    <a:pt x="10772842" y="1867293"/>
                    <a:pt x="10778242" y="1864909"/>
                    <a:pt x="10783565" y="1862273"/>
                  </a:cubicBezTo>
                  <a:cubicBezTo>
                    <a:pt x="10788889" y="1859637"/>
                    <a:pt x="10794263" y="1856696"/>
                    <a:pt x="10799688" y="1853451"/>
                  </a:cubicBezTo>
                  <a:cubicBezTo>
                    <a:pt x="10805113" y="1850207"/>
                    <a:pt x="10810715" y="1846504"/>
                    <a:pt x="10816495" y="1842348"/>
                  </a:cubicBezTo>
                  <a:close/>
                  <a:moveTo>
                    <a:pt x="10444287" y="1842348"/>
                  </a:moveTo>
                  <a:lnTo>
                    <a:pt x="10459193" y="1842348"/>
                  </a:lnTo>
                  <a:lnTo>
                    <a:pt x="10459193" y="2065327"/>
                  </a:lnTo>
                  <a:lnTo>
                    <a:pt x="10423905" y="2065327"/>
                  </a:lnTo>
                  <a:lnTo>
                    <a:pt x="10423905" y="1885544"/>
                  </a:lnTo>
                  <a:cubicBezTo>
                    <a:pt x="10417517" y="1890108"/>
                    <a:pt x="10410647" y="1893985"/>
                    <a:pt x="10403296" y="1897179"/>
                  </a:cubicBezTo>
                  <a:cubicBezTo>
                    <a:pt x="10395944" y="1900374"/>
                    <a:pt x="10387553" y="1903188"/>
                    <a:pt x="10378123" y="1905622"/>
                  </a:cubicBezTo>
                  <a:lnTo>
                    <a:pt x="10378123" y="1875506"/>
                  </a:lnTo>
                  <a:cubicBezTo>
                    <a:pt x="10384004" y="1873580"/>
                    <a:pt x="10389683" y="1871550"/>
                    <a:pt x="10395158" y="1869422"/>
                  </a:cubicBezTo>
                  <a:cubicBezTo>
                    <a:pt x="10400634" y="1867293"/>
                    <a:pt x="10406034" y="1864909"/>
                    <a:pt x="10411357" y="1862273"/>
                  </a:cubicBezTo>
                  <a:cubicBezTo>
                    <a:pt x="10416681" y="1859637"/>
                    <a:pt x="10422055" y="1856696"/>
                    <a:pt x="10427480" y="1853451"/>
                  </a:cubicBezTo>
                  <a:cubicBezTo>
                    <a:pt x="10432905" y="1850207"/>
                    <a:pt x="10438507" y="1846504"/>
                    <a:pt x="10444287" y="1842348"/>
                  </a:cubicBezTo>
                  <a:close/>
                  <a:moveTo>
                    <a:pt x="10157071" y="1842348"/>
                  </a:moveTo>
                  <a:lnTo>
                    <a:pt x="10171977" y="1842348"/>
                  </a:lnTo>
                  <a:lnTo>
                    <a:pt x="10171977" y="2065327"/>
                  </a:lnTo>
                  <a:lnTo>
                    <a:pt x="10136689" y="2065327"/>
                  </a:lnTo>
                  <a:lnTo>
                    <a:pt x="10136689" y="1885544"/>
                  </a:lnTo>
                  <a:cubicBezTo>
                    <a:pt x="10130301" y="1890108"/>
                    <a:pt x="10123431" y="1893985"/>
                    <a:pt x="10116080" y="1897179"/>
                  </a:cubicBezTo>
                  <a:cubicBezTo>
                    <a:pt x="10108728" y="1900374"/>
                    <a:pt x="10100337" y="1903188"/>
                    <a:pt x="10090907" y="1905622"/>
                  </a:cubicBezTo>
                  <a:lnTo>
                    <a:pt x="10090907" y="1875506"/>
                  </a:lnTo>
                  <a:cubicBezTo>
                    <a:pt x="10096788" y="1873580"/>
                    <a:pt x="10102467" y="1871550"/>
                    <a:pt x="10107942" y="1869422"/>
                  </a:cubicBezTo>
                  <a:cubicBezTo>
                    <a:pt x="10113418" y="1867293"/>
                    <a:pt x="10118818" y="1864909"/>
                    <a:pt x="10124141" y="1862273"/>
                  </a:cubicBezTo>
                  <a:cubicBezTo>
                    <a:pt x="10129465" y="1859637"/>
                    <a:pt x="10134839" y="1856696"/>
                    <a:pt x="10140264" y="1853451"/>
                  </a:cubicBezTo>
                  <a:cubicBezTo>
                    <a:pt x="10145689" y="1850207"/>
                    <a:pt x="10151291" y="1846504"/>
                    <a:pt x="10157071" y="1842348"/>
                  </a:cubicBezTo>
                  <a:close/>
                  <a:moveTo>
                    <a:pt x="9942694" y="1842348"/>
                  </a:moveTo>
                  <a:cubicBezTo>
                    <a:pt x="9990138" y="1842348"/>
                    <a:pt x="10013861" y="1879210"/>
                    <a:pt x="10013861" y="1952935"/>
                  </a:cubicBezTo>
                  <a:cubicBezTo>
                    <a:pt x="10013861" y="1989447"/>
                    <a:pt x="10007165" y="2017306"/>
                    <a:pt x="9993775" y="2036514"/>
                  </a:cubicBezTo>
                  <a:cubicBezTo>
                    <a:pt x="9980384" y="2055722"/>
                    <a:pt x="9961652" y="2065327"/>
                    <a:pt x="9937578" y="2065327"/>
                  </a:cubicBezTo>
                  <a:cubicBezTo>
                    <a:pt x="9915110" y="2065327"/>
                    <a:pt x="9897581" y="2056149"/>
                    <a:pt x="9884993" y="2037793"/>
                  </a:cubicBezTo>
                  <a:cubicBezTo>
                    <a:pt x="9872404" y="2019437"/>
                    <a:pt x="9866110" y="1992907"/>
                    <a:pt x="9866110" y="1958202"/>
                  </a:cubicBezTo>
                  <a:cubicBezTo>
                    <a:pt x="9866110" y="1920085"/>
                    <a:pt x="9872680" y="1891247"/>
                    <a:pt x="9885820" y="1871686"/>
                  </a:cubicBezTo>
                  <a:cubicBezTo>
                    <a:pt x="9898961" y="1852127"/>
                    <a:pt x="9917918" y="1842348"/>
                    <a:pt x="9942694" y="1842348"/>
                  </a:cubicBezTo>
                  <a:close/>
                  <a:moveTo>
                    <a:pt x="9723250" y="1842348"/>
                  </a:moveTo>
                  <a:cubicBezTo>
                    <a:pt x="9770694" y="1842348"/>
                    <a:pt x="9794417" y="1879210"/>
                    <a:pt x="9794417" y="1952935"/>
                  </a:cubicBezTo>
                  <a:cubicBezTo>
                    <a:pt x="9794417" y="1989447"/>
                    <a:pt x="9787721" y="2017306"/>
                    <a:pt x="9774331" y="2036514"/>
                  </a:cubicBezTo>
                  <a:cubicBezTo>
                    <a:pt x="9760940" y="2055722"/>
                    <a:pt x="9742208" y="2065327"/>
                    <a:pt x="9718134" y="2065327"/>
                  </a:cubicBezTo>
                  <a:cubicBezTo>
                    <a:pt x="9695666" y="2065327"/>
                    <a:pt x="9678137" y="2056149"/>
                    <a:pt x="9665549" y="2037793"/>
                  </a:cubicBezTo>
                  <a:cubicBezTo>
                    <a:pt x="9652960" y="2019437"/>
                    <a:pt x="9646666" y="1992907"/>
                    <a:pt x="9646666" y="1958202"/>
                  </a:cubicBezTo>
                  <a:cubicBezTo>
                    <a:pt x="9646666" y="1920085"/>
                    <a:pt x="9653236" y="1891247"/>
                    <a:pt x="9666376" y="1871686"/>
                  </a:cubicBezTo>
                  <a:cubicBezTo>
                    <a:pt x="9679517" y="1852127"/>
                    <a:pt x="9698474" y="1842348"/>
                    <a:pt x="9723250" y="1842348"/>
                  </a:cubicBezTo>
                  <a:close/>
                  <a:moveTo>
                    <a:pt x="9556263" y="1842348"/>
                  </a:moveTo>
                  <a:lnTo>
                    <a:pt x="9571169" y="1842348"/>
                  </a:lnTo>
                  <a:lnTo>
                    <a:pt x="9571169" y="2065327"/>
                  </a:lnTo>
                  <a:lnTo>
                    <a:pt x="9535881" y="2065327"/>
                  </a:lnTo>
                  <a:lnTo>
                    <a:pt x="9535881" y="1885544"/>
                  </a:lnTo>
                  <a:cubicBezTo>
                    <a:pt x="9529493" y="1890108"/>
                    <a:pt x="9522623" y="1893985"/>
                    <a:pt x="9515272" y="1897179"/>
                  </a:cubicBezTo>
                  <a:cubicBezTo>
                    <a:pt x="9507920" y="1900374"/>
                    <a:pt x="9499529" y="1903188"/>
                    <a:pt x="9490099" y="1905622"/>
                  </a:cubicBezTo>
                  <a:lnTo>
                    <a:pt x="9490099" y="1875506"/>
                  </a:lnTo>
                  <a:cubicBezTo>
                    <a:pt x="9495980" y="1873580"/>
                    <a:pt x="9501659" y="1871550"/>
                    <a:pt x="9507134" y="1869422"/>
                  </a:cubicBezTo>
                  <a:cubicBezTo>
                    <a:pt x="9512610" y="1867293"/>
                    <a:pt x="9518010" y="1864909"/>
                    <a:pt x="9523333" y="1862273"/>
                  </a:cubicBezTo>
                  <a:cubicBezTo>
                    <a:pt x="9528657" y="1859637"/>
                    <a:pt x="9534031" y="1856696"/>
                    <a:pt x="9539456" y="1853451"/>
                  </a:cubicBezTo>
                  <a:cubicBezTo>
                    <a:pt x="9544881" y="1850207"/>
                    <a:pt x="9550483" y="1846504"/>
                    <a:pt x="9556263" y="1842348"/>
                  </a:cubicBezTo>
                  <a:close/>
                  <a:moveTo>
                    <a:pt x="9269047" y="1842348"/>
                  </a:moveTo>
                  <a:lnTo>
                    <a:pt x="9283953" y="1842348"/>
                  </a:lnTo>
                  <a:lnTo>
                    <a:pt x="9283953" y="2065327"/>
                  </a:lnTo>
                  <a:lnTo>
                    <a:pt x="9248665" y="2065327"/>
                  </a:lnTo>
                  <a:lnTo>
                    <a:pt x="9248665" y="1885544"/>
                  </a:lnTo>
                  <a:cubicBezTo>
                    <a:pt x="9242277" y="1890108"/>
                    <a:pt x="9235407" y="1893985"/>
                    <a:pt x="9228056" y="1897179"/>
                  </a:cubicBezTo>
                  <a:cubicBezTo>
                    <a:pt x="9220704" y="1900374"/>
                    <a:pt x="9212313" y="1903188"/>
                    <a:pt x="9202883" y="1905622"/>
                  </a:cubicBezTo>
                  <a:lnTo>
                    <a:pt x="9202883" y="1875506"/>
                  </a:lnTo>
                  <a:cubicBezTo>
                    <a:pt x="9208764" y="1873580"/>
                    <a:pt x="9214443" y="1871550"/>
                    <a:pt x="9219918" y="1869422"/>
                  </a:cubicBezTo>
                  <a:cubicBezTo>
                    <a:pt x="9225394" y="1867293"/>
                    <a:pt x="9230794" y="1864909"/>
                    <a:pt x="9236117" y="1862273"/>
                  </a:cubicBezTo>
                  <a:cubicBezTo>
                    <a:pt x="9241441" y="1859637"/>
                    <a:pt x="9246815" y="1856696"/>
                    <a:pt x="9252240" y="1853451"/>
                  </a:cubicBezTo>
                  <a:cubicBezTo>
                    <a:pt x="9257665" y="1850207"/>
                    <a:pt x="9263267" y="1846504"/>
                    <a:pt x="9269047" y="1842348"/>
                  </a:cubicBezTo>
                  <a:close/>
                  <a:moveTo>
                    <a:pt x="8879256" y="1842348"/>
                  </a:moveTo>
                  <a:lnTo>
                    <a:pt x="8894162" y="1842348"/>
                  </a:lnTo>
                  <a:lnTo>
                    <a:pt x="8894162" y="2065327"/>
                  </a:lnTo>
                  <a:lnTo>
                    <a:pt x="8858874" y="2065327"/>
                  </a:lnTo>
                  <a:lnTo>
                    <a:pt x="8858874" y="1885544"/>
                  </a:lnTo>
                  <a:cubicBezTo>
                    <a:pt x="8852486" y="1890108"/>
                    <a:pt x="8845616" y="1893985"/>
                    <a:pt x="8838265" y="1897179"/>
                  </a:cubicBezTo>
                  <a:cubicBezTo>
                    <a:pt x="8830913" y="1900374"/>
                    <a:pt x="8822522" y="1903188"/>
                    <a:pt x="8813092" y="1905622"/>
                  </a:cubicBezTo>
                  <a:lnTo>
                    <a:pt x="8813092" y="1875506"/>
                  </a:lnTo>
                  <a:cubicBezTo>
                    <a:pt x="8818973" y="1873580"/>
                    <a:pt x="8824652" y="1871550"/>
                    <a:pt x="8830127" y="1869422"/>
                  </a:cubicBezTo>
                  <a:cubicBezTo>
                    <a:pt x="8835603" y="1867293"/>
                    <a:pt x="8841003" y="1864909"/>
                    <a:pt x="8846326" y="1862273"/>
                  </a:cubicBezTo>
                  <a:cubicBezTo>
                    <a:pt x="8851650" y="1859637"/>
                    <a:pt x="8857024" y="1856696"/>
                    <a:pt x="8862449" y="1853451"/>
                  </a:cubicBezTo>
                  <a:cubicBezTo>
                    <a:pt x="8867874" y="1850207"/>
                    <a:pt x="8873476" y="1846504"/>
                    <a:pt x="8879256" y="1842348"/>
                  </a:cubicBezTo>
                  <a:close/>
                  <a:moveTo>
                    <a:pt x="8735648" y="1842348"/>
                  </a:moveTo>
                  <a:lnTo>
                    <a:pt x="8750554" y="1842348"/>
                  </a:lnTo>
                  <a:lnTo>
                    <a:pt x="8750554" y="2065327"/>
                  </a:lnTo>
                  <a:lnTo>
                    <a:pt x="8715266" y="2065327"/>
                  </a:lnTo>
                  <a:lnTo>
                    <a:pt x="8715266" y="1885544"/>
                  </a:lnTo>
                  <a:cubicBezTo>
                    <a:pt x="8708878" y="1890108"/>
                    <a:pt x="8702008" y="1893985"/>
                    <a:pt x="8694657" y="1897179"/>
                  </a:cubicBezTo>
                  <a:cubicBezTo>
                    <a:pt x="8687305" y="1900374"/>
                    <a:pt x="8678914" y="1903188"/>
                    <a:pt x="8669484" y="1905622"/>
                  </a:cubicBezTo>
                  <a:lnTo>
                    <a:pt x="8669484" y="1875506"/>
                  </a:lnTo>
                  <a:cubicBezTo>
                    <a:pt x="8675365" y="1873580"/>
                    <a:pt x="8681044" y="1871550"/>
                    <a:pt x="8686519" y="1869422"/>
                  </a:cubicBezTo>
                  <a:cubicBezTo>
                    <a:pt x="8691995" y="1867293"/>
                    <a:pt x="8697395" y="1864909"/>
                    <a:pt x="8702718" y="1862273"/>
                  </a:cubicBezTo>
                  <a:cubicBezTo>
                    <a:pt x="8708042" y="1859637"/>
                    <a:pt x="8713416" y="1856696"/>
                    <a:pt x="8718841" y="1853451"/>
                  </a:cubicBezTo>
                  <a:cubicBezTo>
                    <a:pt x="8724266" y="1850207"/>
                    <a:pt x="8729868" y="1846504"/>
                    <a:pt x="8735648" y="1842348"/>
                  </a:cubicBezTo>
                  <a:close/>
                  <a:moveTo>
                    <a:pt x="8592040" y="1842348"/>
                  </a:moveTo>
                  <a:lnTo>
                    <a:pt x="8606946" y="1842348"/>
                  </a:lnTo>
                  <a:lnTo>
                    <a:pt x="8606946" y="2065327"/>
                  </a:lnTo>
                  <a:lnTo>
                    <a:pt x="8571658" y="2065327"/>
                  </a:lnTo>
                  <a:lnTo>
                    <a:pt x="8571658" y="1885544"/>
                  </a:lnTo>
                  <a:cubicBezTo>
                    <a:pt x="8565270" y="1890108"/>
                    <a:pt x="8558400" y="1893985"/>
                    <a:pt x="8551049" y="1897179"/>
                  </a:cubicBezTo>
                  <a:cubicBezTo>
                    <a:pt x="8543697" y="1900374"/>
                    <a:pt x="8535306" y="1903188"/>
                    <a:pt x="8525876" y="1905622"/>
                  </a:cubicBezTo>
                  <a:lnTo>
                    <a:pt x="8525876" y="1875506"/>
                  </a:lnTo>
                  <a:cubicBezTo>
                    <a:pt x="8531757" y="1873580"/>
                    <a:pt x="8537436" y="1871550"/>
                    <a:pt x="8542911" y="1869422"/>
                  </a:cubicBezTo>
                  <a:cubicBezTo>
                    <a:pt x="8548387" y="1867293"/>
                    <a:pt x="8553787" y="1864909"/>
                    <a:pt x="8559110" y="1862273"/>
                  </a:cubicBezTo>
                  <a:cubicBezTo>
                    <a:pt x="8564434" y="1859637"/>
                    <a:pt x="8569808" y="1856696"/>
                    <a:pt x="8575233" y="1853451"/>
                  </a:cubicBezTo>
                  <a:cubicBezTo>
                    <a:pt x="8580658" y="1850207"/>
                    <a:pt x="8586260" y="1846504"/>
                    <a:pt x="8592040" y="1842348"/>
                  </a:cubicBezTo>
                  <a:close/>
                  <a:moveTo>
                    <a:pt x="7830039" y="1842348"/>
                  </a:moveTo>
                  <a:lnTo>
                    <a:pt x="7844946" y="1842348"/>
                  </a:lnTo>
                  <a:lnTo>
                    <a:pt x="7844946" y="2065327"/>
                  </a:lnTo>
                  <a:lnTo>
                    <a:pt x="7809658" y="2065327"/>
                  </a:lnTo>
                  <a:lnTo>
                    <a:pt x="7809658" y="1885544"/>
                  </a:lnTo>
                  <a:cubicBezTo>
                    <a:pt x="7803270" y="1890108"/>
                    <a:pt x="7796400" y="1893985"/>
                    <a:pt x="7789048" y="1897179"/>
                  </a:cubicBezTo>
                  <a:cubicBezTo>
                    <a:pt x="7781697" y="1900374"/>
                    <a:pt x="7773306" y="1903188"/>
                    <a:pt x="7763876" y="1905622"/>
                  </a:cubicBezTo>
                  <a:lnTo>
                    <a:pt x="7763876" y="1875506"/>
                  </a:lnTo>
                  <a:cubicBezTo>
                    <a:pt x="7769757" y="1873580"/>
                    <a:pt x="7775435" y="1871550"/>
                    <a:pt x="7780911" y="1869422"/>
                  </a:cubicBezTo>
                  <a:cubicBezTo>
                    <a:pt x="7786387" y="1867293"/>
                    <a:pt x="7791786" y="1864909"/>
                    <a:pt x="7797110" y="1862273"/>
                  </a:cubicBezTo>
                  <a:cubicBezTo>
                    <a:pt x="7802433" y="1859637"/>
                    <a:pt x="7807808" y="1856696"/>
                    <a:pt x="7813232" y="1853451"/>
                  </a:cubicBezTo>
                  <a:cubicBezTo>
                    <a:pt x="7818658" y="1850207"/>
                    <a:pt x="7824260" y="1846504"/>
                    <a:pt x="7830039" y="1842348"/>
                  </a:cubicBezTo>
                  <a:close/>
                  <a:moveTo>
                    <a:pt x="7686431" y="1842348"/>
                  </a:moveTo>
                  <a:lnTo>
                    <a:pt x="7701338" y="1842348"/>
                  </a:lnTo>
                  <a:lnTo>
                    <a:pt x="7701338" y="2065327"/>
                  </a:lnTo>
                  <a:lnTo>
                    <a:pt x="7666050" y="2065327"/>
                  </a:lnTo>
                  <a:lnTo>
                    <a:pt x="7666050" y="1885544"/>
                  </a:lnTo>
                  <a:cubicBezTo>
                    <a:pt x="7659662" y="1890108"/>
                    <a:pt x="7652792" y="1893985"/>
                    <a:pt x="7645440" y="1897179"/>
                  </a:cubicBezTo>
                  <a:cubicBezTo>
                    <a:pt x="7638089" y="1900374"/>
                    <a:pt x="7629698" y="1903188"/>
                    <a:pt x="7620268" y="1905622"/>
                  </a:cubicBezTo>
                  <a:lnTo>
                    <a:pt x="7620268" y="1875506"/>
                  </a:lnTo>
                  <a:cubicBezTo>
                    <a:pt x="7626149" y="1873580"/>
                    <a:pt x="7631827" y="1871550"/>
                    <a:pt x="7637303" y="1869422"/>
                  </a:cubicBezTo>
                  <a:cubicBezTo>
                    <a:pt x="7642779" y="1867293"/>
                    <a:pt x="7648178" y="1864909"/>
                    <a:pt x="7653502" y="1862273"/>
                  </a:cubicBezTo>
                  <a:cubicBezTo>
                    <a:pt x="7658825" y="1859637"/>
                    <a:pt x="7664200" y="1856696"/>
                    <a:pt x="7669624" y="1853451"/>
                  </a:cubicBezTo>
                  <a:cubicBezTo>
                    <a:pt x="7675050" y="1850207"/>
                    <a:pt x="7680652" y="1846504"/>
                    <a:pt x="7686431" y="1842348"/>
                  </a:cubicBezTo>
                  <a:close/>
                  <a:moveTo>
                    <a:pt x="7399215" y="1842348"/>
                  </a:moveTo>
                  <a:lnTo>
                    <a:pt x="7414122" y="1842348"/>
                  </a:lnTo>
                  <a:lnTo>
                    <a:pt x="7414122" y="2065327"/>
                  </a:lnTo>
                  <a:lnTo>
                    <a:pt x="7378834" y="2065327"/>
                  </a:lnTo>
                  <a:lnTo>
                    <a:pt x="7378834" y="1885544"/>
                  </a:lnTo>
                  <a:cubicBezTo>
                    <a:pt x="7372446" y="1890108"/>
                    <a:pt x="7365576" y="1893985"/>
                    <a:pt x="7358224" y="1897179"/>
                  </a:cubicBezTo>
                  <a:cubicBezTo>
                    <a:pt x="7350873" y="1900374"/>
                    <a:pt x="7342482" y="1903188"/>
                    <a:pt x="7333052" y="1905622"/>
                  </a:cubicBezTo>
                  <a:lnTo>
                    <a:pt x="7333052" y="1875506"/>
                  </a:lnTo>
                  <a:cubicBezTo>
                    <a:pt x="7338933" y="1873580"/>
                    <a:pt x="7344611" y="1871550"/>
                    <a:pt x="7350087" y="1869422"/>
                  </a:cubicBezTo>
                  <a:cubicBezTo>
                    <a:pt x="7355563" y="1867293"/>
                    <a:pt x="7360962" y="1864909"/>
                    <a:pt x="7366286" y="1862273"/>
                  </a:cubicBezTo>
                  <a:cubicBezTo>
                    <a:pt x="7371609" y="1859637"/>
                    <a:pt x="7376984" y="1856696"/>
                    <a:pt x="7382408" y="1853451"/>
                  </a:cubicBezTo>
                  <a:cubicBezTo>
                    <a:pt x="7387834" y="1850207"/>
                    <a:pt x="7393436" y="1846504"/>
                    <a:pt x="7399215" y="1842348"/>
                  </a:cubicBezTo>
                  <a:close/>
                  <a:moveTo>
                    <a:pt x="7000631" y="1842348"/>
                  </a:moveTo>
                  <a:lnTo>
                    <a:pt x="7015537" y="1842348"/>
                  </a:lnTo>
                  <a:lnTo>
                    <a:pt x="7015537" y="2065327"/>
                  </a:lnTo>
                  <a:lnTo>
                    <a:pt x="6980249" y="2065327"/>
                  </a:lnTo>
                  <a:lnTo>
                    <a:pt x="6980249" y="1885544"/>
                  </a:lnTo>
                  <a:cubicBezTo>
                    <a:pt x="6973861" y="1890108"/>
                    <a:pt x="6966992" y="1893985"/>
                    <a:pt x="6959640" y="1897179"/>
                  </a:cubicBezTo>
                  <a:cubicBezTo>
                    <a:pt x="6952288" y="1900374"/>
                    <a:pt x="6943898" y="1903188"/>
                    <a:pt x="6934467" y="1905622"/>
                  </a:cubicBezTo>
                  <a:lnTo>
                    <a:pt x="6934467" y="1875506"/>
                  </a:lnTo>
                  <a:cubicBezTo>
                    <a:pt x="6940348" y="1873580"/>
                    <a:pt x="6946027" y="1871550"/>
                    <a:pt x="6951502" y="1869422"/>
                  </a:cubicBezTo>
                  <a:cubicBezTo>
                    <a:pt x="6956978" y="1867293"/>
                    <a:pt x="6962378" y="1864909"/>
                    <a:pt x="6967701" y="1862273"/>
                  </a:cubicBezTo>
                  <a:cubicBezTo>
                    <a:pt x="6973025" y="1859637"/>
                    <a:pt x="6978399" y="1856696"/>
                    <a:pt x="6983824" y="1853451"/>
                  </a:cubicBezTo>
                  <a:cubicBezTo>
                    <a:pt x="6989249" y="1850207"/>
                    <a:pt x="6994851" y="1846504"/>
                    <a:pt x="7000631" y="1842348"/>
                  </a:cubicBezTo>
                  <a:close/>
                  <a:moveTo>
                    <a:pt x="6857023" y="1842348"/>
                  </a:moveTo>
                  <a:lnTo>
                    <a:pt x="6871929" y="1842348"/>
                  </a:lnTo>
                  <a:lnTo>
                    <a:pt x="6871929" y="2065327"/>
                  </a:lnTo>
                  <a:lnTo>
                    <a:pt x="6836641" y="2065327"/>
                  </a:lnTo>
                  <a:lnTo>
                    <a:pt x="6836641" y="1885544"/>
                  </a:lnTo>
                  <a:cubicBezTo>
                    <a:pt x="6830253" y="1890108"/>
                    <a:pt x="6823384" y="1893985"/>
                    <a:pt x="6816032" y="1897179"/>
                  </a:cubicBezTo>
                  <a:cubicBezTo>
                    <a:pt x="6808680" y="1900374"/>
                    <a:pt x="6800290" y="1903188"/>
                    <a:pt x="6790859" y="1905622"/>
                  </a:cubicBezTo>
                  <a:lnTo>
                    <a:pt x="6790859" y="1875506"/>
                  </a:lnTo>
                  <a:cubicBezTo>
                    <a:pt x="6796740" y="1873580"/>
                    <a:pt x="6802419" y="1871550"/>
                    <a:pt x="6807894" y="1869422"/>
                  </a:cubicBezTo>
                  <a:cubicBezTo>
                    <a:pt x="6813370" y="1867293"/>
                    <a:pt x="6818770" y="1864909"/>
                    <a:pt x="6824093" y="1862273"/>
                  </a:cubicBezTo>
                  <a:cubicBezTo>
                    <a:pt x="6829417" y="1859637"/>
                    <a:pt x="6834791" y="1856696"/>
                    <a:pt x="6840216" y="1853451"/>
                  </a:cubicBezTo>
                  <a:cubicBezTo>
                    <a:pt x="6845641" y="1850207"/>
                    <a:pt x="6851243" y="1846504"/>
                    <a:pt x="6857023" y="1842348"/>
                  </a:cubicBezTo>
                  <a:close/>
                  <a:moveTo>
                    <a:pt x="6713415" y="1842348"/>
                  </a:moveTo>
                  <a:lnTo>
                    <a:pt x="6728321" y="1842348"/>
                  </a:lnTo>
                  <a:lnTo>
                    <a:pt x="6728321" y="2065327"/>
                  </a:lnTo>
                  <a:lnTo>
                    <a:pt x="6693033" y="2065327"/>
                  </a:lnTo>
                  <a:lnTo>
                    <a:pt x="6693033" y="1885544"/>
                  </a:lnTo>
                  <a:cubicBezTo>
                    <a:pt x="6686645" y="1890108"/>
                    <a:pt x="6679776" y="1893985"/>
                    <a:pt x="6672424" y="1897179"/>
                  </a:cubicBezTo>
                  <a:cubicBezTo>
                    <a:pt x="6665072" y="1900374"/>
                    <a:pt x="6656682" y="1903188"/>
                    <a:pt x="6647251" y="1905622"/>
                  </a:cubicBezTo>
                  <a:lnTo>
                    <a:pt x="6647251" y="1875506"/>
                  </a:lnTo>
                  <a:cubicBezTo>
                    <a:pt x="6653132" y="1873580"/>
                    <a:pt x="6658811" y="1871550"/>
                    <a:pt x="6664286" y="1869422"/>
                  </a:cubicBezTo>
                  <a:cubicBezTo>
                    <a:pt x="6669762" y="1867293"/>
                    <a:pt x="6675162" y="1864909"/>
                    <a:pt x="6680485" y="1862273"/>
                  </a:cubicBezTo>
                  <a:cubicBezTo>
                    <a:pt x="6685809" y="1859637"/>
                    <a:pt x="6691183" y="1856696"/>
                    <a:pt x="6696608" y="1853451"/>
                  </a:cubicBezTo>
                  <a:cubicBezTo>
                    <a:pt x="6702033" y="1850207"/>
                    <a:pt x="6707635" y="1846504"/>
                    <a:pt x="6713415" y="1842348"/>
                  </a:cubicBezTo>
                  <a:close/>
                  <a:moveTo>
                    <a:pt x="6569807" y="1842348"/>
                  </a:moveTo>
                  <a:lnTo>
                    <a:pt x="6584713" y="1842348"/>
                  </a:lnTo>
                  <a:lnTo>
                    <a:pt x="6584713" y="2065327"/>
                  </a:lnTo>
                  <a:lnTo>
                    <a:pt x="6549425" y="2065327"/>
                  </a:lnTo>
                  <a:lnTo>
                    <a:pt x="6549425" y="1885544"/>
                  </a:lnTo>
                  <a:cubicBezTo>
                    <a:pt x="6543037" y="1890108"/>
                    <a:pt x="6536168" y="1893985"/>
                    <a:pt x="6528816" y="1897179"/>
                  </a:cubicBezTo>
                  <a:cubicBezTo>
                    <a:pt x="6521464" y="1900374"/>
                    <a:pt x="6513074" y="1903188"/>
                    <a:pt x="6503643" y="1905622"/>
                  </a:cubicBezTo>
                  <a:lnTo>
                    <a:pt x="6503643" y="1875506"/>
                  </a:lnTo>
                  <a:cubicBezTo>
                    <a:pt x="6509524" y="1873580"/>
                    <a:pt x="6515203" y="1871550"/>
                    <a:pt x="6520678" y="1869422"/>
                  </a:cubicBezTo>
                  <a:cubicBezTo>
                    <a:pt x="6526154" y="1867293"/>
                    <a:pt x="6531554" y="1864909"/>
                    <a:pt x="6536877" y="1862273"/>
                  </a:cubicBezTo>
                  <a:cubicBezTo>
                    <a:pt x="6542201" y="1859637"/>
                    <a:pt x="6547575" y="1856696"/>
                    <a:pt x="6553000" y="1853451"/>
                  </a:cubicBezTo>
                  <a:cubicBezTo>
                    <a:pt x="6558425" y="1850207"/>
                    <a:pt x="6564027" y="1846504"/>
                    <a:pt x="6569807" y="1842348"/>
                  </a:cubicBezTo>
                  <a:close/>
                  <a:moveTo>
                    <a:pt x="6368605" y="1842348"/>
                  </a:moveTo>
                  <a:cubicBezTo>
                    <a:pt x="6416050" y="1842348"/>
                    <a:pt x="6439772" y="1879210"/>
                    <a:pt x="6439772" y="1952935"/>
                  </a:cubicBezTo>
                  <a:cubicBezTo>
                    <a:pt x="6439772" y="1989447"/>
                    <a:pt x="6433077" y="2017306"/>
                    <a:pt x="6419686" y="2036514"/>
                  </a:cubicBezTo>
                  <a:cubicBezTo>
                    <a:pt x="6406295" y="2055722"/>
                    <a:pt x="6387563" y="2065327"/>
                    <a:pt x="6363489" y="2065327"/>
                  </a:cubicBezTo>
                  <a:cubicBezTo>
                    <a:pt x="6341021" y="2065327"/>
                    <a:pt x="6323492" y="2056149"/>
                    <a:pt x="6310904" y="2037793"/>
                  </a:cubicBezTo>
                  <a:cubicBezTo>
                    <a:pt x="6298315" y="2019437"/>
                    <a:pt x="6292021" y="1992907"/>
                    <a:pt x="6292021" y="1958202"/>
                  </a:cubicBezTo>
                  <a:cubicBezTo>
                    <a:pt x="6292021" y="1920085"/>
                    <a:pt x="6298591" y="1891247"/>
                    <a:pt x="6311731" y="1871686"/>
                  </a:cubicBezTo>
                  <a:cubicBezTo>
                    <a:pt x="6324872" y="1852127"/>
                    <a:pt x="6343829" y="1842348"/>
                    <a:pt x="6368605" y="1842348"/>
                  </a:cubicBezTo>
                  <a:close/>
                  <a:moveTo>
                    <a:pt x="6033478" y="1842348"/>
                  </a:moveTo>
                  <a:lnTo>
                    <a:pt x="6048383" y="1842348"/>
                  </a:lnTo>
                  <a:lnTo>
                    <a:pt x="6048383" y="2065327"/>
                  </a:lnTo>
                  <a:lnTo>
                    <a:pt x="6013095" y="2065327"/>
                  </a:lnTo>
                  <a:lnTo>
                    <a:pt x="6013095" y="1885544"/>
                  </a:lnTo>
                  <a:cubicBezTo>
                    <a:pt x="6006707" y="1890108"/>
                    <a:pt x="5999838" y="1893985"/>
                    <a:pt x="5992487" y="1897179"/>
                  </a:cubicBezTo>
                  <a:cubicBezTo>
                    <a:pt x="5985135" y="1900374"/>
                    <a:pt x="5976744" y="1903188"/>
                    <a:pt x="5967315" y="1905622"/>
                  </a:cubicBezTo>
                  <a:lnTo>
                    <a:pt x="5967315" y="1875506"/>
                  </a:lnTo>
                  <a:cubicBezTo>
                    <a:pt x="5973194" y="1873580"/>
                    <a:pt x="5978874" y="1871550"/>
                    <a:pt x="5984348" y="1869422"/>
                  </a:cubicBezTo>
                  <a:cubicBezTo>
                    <a:pt x="5989824" y="1867293"/>
                    <a:pt x="5995224" y="1864909"/>
                    <a:pt x="6000547" y="1862273"/>
                  </a:cubicBezTo>
                  <a:cubicBezTo>
                    <a:pt x="6005871" y="1859637"/>
                    <a:pt x="6011246" y="1856696"/>
                    <a:pt x="6016670" y="1853451"/>
                  </a:cubicBezTo>
                  <a:cubicBezTo>
                    <a:pt x="6022096" y="1850207"/>
                    <a:pt x="6027697" y="1846504"/>
                    <a:pt x="6033478" y="1842348"/>
                  </a:cubicBezTo>
                  <a:close/>
                  <a:moveTo>
                    <a:pt x="5833520" y="1842348"/>
                  </a:moveTo>
                  <a:cubicBezTo>
                    <a:pt x="5880965" y="1842348"/>
                    <a:pt x="5904686" y="1879210"/>
                    <a:pt x="5904686" y="1952935"/>
                  </a:cubicBezTo>
                  <a:cubicBezTo>
                    <a:pt x="5904686" y="1989447"/>
                    <a:pt x="5897991" y="2017306"/>
                    <a:pt x="5884601" y="2036514"/>
                  </a:cubicBezTo>
                  <a:cubicBezTo>
                    <a:pt x="5871210" y="2055722"/>
                    <a:pt x="5852477" y="2065327"/>
                    <a:pt x="5828403" y="2065327"/>
                  </a:cubicBezTo>
                  <a:cubicBezTo>
                    <a:pt x="5805935" y="2065327"/>
                    <a:pt x="5788407" y="2056149"/>
                    <a:pt x="5775818" y="2037793"/>
                  </a:cubicBezTo>
                  <a:cubicBezTo>
                    <a:pt x="5763229" y="2019437"/>
                    <a:pt x="5756935" y="1992907"/>
                    <a:pt x="5756935" y="1958202"/>
                  </a:cubicBezTo>
                  <a:cubicBezTo>
                    <a:pt x="5756935" y="1920085"/>
                    <a:pt x="5763506" y="1891247"/>
                    <a:pt x="5776646" y="1871686"/>
                  </a:cubicBezTo>
                  <a:cubicBezTo>
                    <a:pt x="5789787" y="1852127"/>
                    <a:pt x="5808744" y="1842348"/>
                    <a:pt x="5833520" y="1842348"/>
                  </a:cubicBezTo>
                  <a:close/>
                  <a:moveTo>
                    <a:pt x="5135870" y="1842348"/>
                  </a:moveTo>
                  <a:cubicBezTo>
                    <a:pt x="5183315" y="1842348"/>
                    <a:pt x="5207037" y="1879210"/>
                    <a:pt x="5207037" y="1952935"/>
                  </a:cubicBezTo>
                  <a:cubicBezTo>
                    <a:pt x="5207037" y="1989447"/>
                    <a:pt x="5200342" y="2017306"/>
                    <a:pt x="5186950" y="2036514"/>
                  </a:cubicBezTo>
                  <a:cubicBezTo>
                    <a:pt x="5173561" y="2055722"/>
                    <a:pt x="5154828" y="2065327"/>
                    <a:pt x="5130754" y="2065327"/>
                  </a:cubicBezTo>
                  <a:cubicBezTo>
                    <a:pt x="5108286" y="2065327"/>
                    <a:pt x="5090756" y="2056149"/>
                    <a:pt x="5078168" y="2037793"/>
                  </a:cubicBezTo>
                  <a:cubicBezTo>
                    <a:pt x="5065580" y="2019437"/>
                    <a:pt x="5059286" y="1992907"/>
                    <a:pt x="5059286" y="1958202"/>
                  </a:cubicBezTo>
                  <a:cubicBezTo>
                    <a:pt x="5059286" y="1920085"/>
                    <a:pt x="5065856" y="1891247"/>
                    <a:pt x="5078996" y="1871686"/>
                  </a:cubicBezTo>
                  <a:cubicBezTo>
                    <a:pt x="5092137" y="1852127"/>
                    <a:pt x="5111094" y="1842348"/>
                    <a:pt x="5135870" y="1842348"/>
                  </a:cubicBezTo>
                  <a:close/>
                  <a:moveTo>
                    <a:pt x="4761526" y="1842348"/>
                  </a:moveTo>
                  <a:lnTo>
                    <a:pt x="4776431" y="1842348"/>
                  </a:lnTo>
                  <a:lnTo>
                    <a:pt x="4776431" y="2065327"/>
                  </a:lnTo>
                  <a:lnTo>
                    <a:pt x="4741143" y="2065327"/>
                  </a:lnTo>
                  <a:lnTo>
                    <a:pt x="4741143" y="1885544"/>
                  </a:lnTo>
                  <a:cubicBezTo>
                    <a:pt x="4734755" y="1890108"/>
                    <a:pt x="4727885" y="1893985"/>
                    <a:pt x="4720534" y="1897179"/>
                  </a:cubicBezTo>
                  <a:cubicBezTo>
                    <a:pt x="4713182" y="1900374"/>
                    <a:pt x="4704792" y="1903188"/>
                    <a:pt x="4695361" y="1905622"/>
                  </a:cubicBezTo>
                  <a:lnTo>
                    <a:pt x="4695361" y="1875506"/>
                  </a:lnTo>
                  <a:cubicBezTo>
                    <a:pt x="4701241" y="1873580"/>
                    <a:pt x="4706921" y="1871550"/>
                    <a:pt x="4712395" y="1869422"/>
                  </a:cubicBezTo>
                  <a:cubicBezTo>
                    <a:pt x="4717872" y="1867293"/>
                    <a:pt x="4723271" y="1864909"/>
                    <a:pt x="4728594" y="1862273"/>
                  </a:cubicBezTo>
                  <a:cubicBezTo>
                    <a:pt x="4733919" y="1859637"/>
                    <a:pt x="4739293" y="1856696"/>
                    <a:pt x="4744717" y="1853451"/>
                  </a:cubicBezTo>
                  <a:cubicBezTo>
                    <a:pt x="4750143" y="1850207"/>
                    <a:pt x="4755744" y="1846504"/>
                    <a:pt x="4761526" y="1842348"/>
                  </a:cubicBezTo>
                  <a:close/>
                  <a:moveTo>
                    <a:pt x="4392240" y="1842348"/>
                  </a:moveTo>
                  <a:lnTo>
                    <a:pt x="4407147" y="1842348"/>
                  </a:lnTo>
                  <a:lnTo>
                    <a:pt x="4407147" y="2065327"/>
                  </a:lnTo>
                  <a:lnTo>
                    <a:pt x="4371860" y="2065327"/>
                  </a:lnTo>
                  <a:lnTo>
                    <a:pt x="4371860" y="1885544"/>
                  </a:lnTo>
                  <a:cubicBezTo>
                    <a:pt x="4365472" y="1890108"/>
                    <a:pt x="4358602" y="1893985"/>
                    <a:pt x="4351250" y="1897179"/>
                  </a:cubicBezTo>
                  <a:cubicBezTo>
                    <a:pt x="4343899" y="1900374"/>
                    <a:pt x="4335508" y="1903188"/>
                    <a:pt x="4326077" y="1905622"/>
                  </a:cubicBezTo>
                  <a:lnTo>
                    <a:pt x="4326077" y="1875506"/>
                  </a:lnTo>
                  <a:cubicBezTo>
                    <a:pt x="4331958" y="1873580"/>
                    <a:pt x="4337636" y="1871550"/>
                    <a:pt x="4343113" y="1869422"/>
                  </a:cubicBezTo>
                  <a:cubicBezTo>
                    <a:pt x="4348588" y="1867293"/>
                    <a:pt x="4353988" y="1864909"/>
                    <a:pt x="4359312" y="1862273"/>
                  </a:cubicBezTo>
                  <a:cubicBezTo>
                    <a:pt x="4364634" y="1859637"/>
                    <a:pt x="4370010" y="1856696"/>
                    <a:pt x="4375433" y="1853451"/>
                  </a:cubicBezTo>
                  <a:cubicBezTo>
                    <a:pt x="4380859" y="1850207"/>
                    <a:pt x="4386462" y="1846504"/>
                    <a:pt x="4392240" y="1842348"/>
                  </a:cubicBezTo>
                  <a:close/>
                  <a:moveTo>
                    <a:pt x="4091705" y="1842348"/>
                  </a:moveTo>
                  <a:lnTo>
                    <a:pt x="4106611" y="1842348"/>
                  </a:lnTo>
                  <a:lnTo>
                    <a:pt x="4106611" y="2065327"/>
                  </a:lnTo>
                  <a:lnTo>
                    <a:pt x="4071322" y="2065327"/>
                  </a:lnTo>
                  <a:lnTo>
                    <a:pt x="4071322" y="1885544"/>
                  </a:lnTo>
                  <a:cubicBezTo>
                    <a:pt x="4064935" y="1890108"/>
                    <a:pt x="4058065" y="1893985"/>
                    <a:pt x="4050714" y="1897179"/>
                  </a:cubicBezTo>
                  <a:cubicBezTo>
                    <a:pt x="4043362" y="1900374"/>
                    <a:pt x="4034970" y="1903188"/>
                    <a:pt x="4025540" y="1905622"/>
                  </a:cubicBezTo>
                  <a:lnTo>
                    <a:pt x="4025540" y="1875506"/>
                  </a:lnTo>
                  <a:cubicBezTo>
                    <a:pt x="4031421" y="1873580"/>
                    <a:pt x="4037100" y="1871550"/>
                    <a:pt x="4042575" y="1869422"/>
                  </a:cubicBezTo>
                  <a:cubicBezTo>
                    <a:pt x="4048051" y="1867293"/>
                    <a:pt x="4053451" y="1864909"/>
                    <a:pt x="4058774" y="1862273"/>
                  </a:cubicBezTo>
                  <a:cubicBezTo>
                    <a:pt x="4064098" y="1859637"/>
                    <a:pt x="4069473" y="1856696"/>
                    <a:pt x="4074897" y="1853451"/>
                  </a:cubicBezTo>
                  <a:cubicBezTo>
                    <a:pt x="4080323" y="1850207"/>
                    <a:pt x="4085924" y="1846504"/>
                    <a:pt x="4091705" y="1842348"/>
                  </a:cubicBezTo>
                  <a:close/>
                  <a:moveTo>
                    <a:pt x="3884133" y="1842348"/>
                  </a:moveTo>
                  <a:cubicBezTo>
                    <a:pt x="3931577" y="1842348"/>
                    <a:pt x="3955300" y="1879210"/>
                    <a:pt x="3955300" y="1952935"/>
                  </a:cubicBezTo>
                  <a:cubicBezTo>
                    <a:pt x="3955300" y="1989447"/>
                    <a:pt x="3948604" y="2017306"/>
                    <a:pt x="3935215" y="2036514"/>
                  </a:cubicBezTo>
                  <a:cubicBezTo>
                    <a:pt x="3921823" y="2055722"/>
                    <a:pt x="3903090" y="2065327"/>
                    <a:pt x="3879017" y="2065327"/>
                  </a:cubicBezTo>
                  <a:cubicBezTo>
                    <a:pt x="3856548" y="2065327"/>
                    <a:pt x="3839020" y="2056149"/>
                    <a:pt x="3826433" y="2037793"/>
                  </a:cubicBezTo>
                  <a:cubicBezTo>
                    <a:pt x="3813843" y="2019437"/>
                    <a:pt x="3807549" y="1992907"/>
                    <a:pt x="3807549" y="1958202"/>
                  </a:cubicBezTo>
                  <a:cubicBezTo>
                    <a:pt x="3807549" y="1920085"/>
                    <a:pt x="3814119" y="1891247"/>
                    <a:pt x="3827259" y="1871686"/>
                  </a:cubicBezTo>
                  <a:cubicBezTo>
                    <a:pt x="3840399" y="1852127"/>
                    <a:pt x="3859358" y="1842348"/>
                    <a:pt x="3884133" y="1842348"/>
                  </a:cubicBezTo>
                  <a:close/>
                  <a:moveTo>
                    <a:pt x="3659468" y="1842348"/>
                  </a:moveTo>
                  <a:cubicBezTo>
                    <a:pt x="3706913" y="1842348"/>
                    <a:pt x="3730636" y="1879210"/>
                    <a:pt x="3730636" y="1952935"/>
                  </a:cubicBezTo>
                  <a:cubicBezTo>
                    <a:pt x="3730636" y="1989447"/>
                    <a:pt x="3723940" y="2017306"/>
                    <a:pt x="3710550" y="2036514"/>
                  </a:cubicBezTo>
                  <a:cubicBezTo>
                    <a:pt x="3697160" y="2055722"/>
                    <a:pt x="3678427" y="2065327"/>
                    <a:pt x="3654354" y="2065327"/>
                  </a:cubicBezTo>
                  <a:cubicBezTo>
                    <a:pt x="3631885" y="2065327"/>
                    <a:pt x="3614357" y="2056149"/>
                    <a:pt x="3601769" y="2037793"/>
                  </a:cubicBezTo>
                  <a:cubicBezTo>
                    <a:pt x="3589180" y="2019437"/>
                    <a:pt x="3582886" y="1992907"/>
                    <a:pt x="3582886" y="1958202"/>
                  </a:cubicBezTo>
                  <a:cubicBezTo>
                    <a:pt x="3582886" y="1920085"/>
                    <a:pt x="3589456" y="1891247"/>
                    <a:pt x="3602596" y="1871686"/>
                  </a:cubicBezTo>
                  <a:cubicBezTo>
                    <a:pt x="3615736" y="1852127"/>
                    <a:pt x="3634693" y="1842348"/>
                    <a:pt x="3659468" y="1842348"/>
                  </a:cubicBezTo>
                  <a:close/>
                  <a:moveTo>
                    <a:pt x="3513017" y="1842348"/>
                  </a:moveTo>
                  <a:lnTo>
                    <a:pt x="3527924" y="1842348"/>
                  </a:lnTo>
                  <a:lnTo>
                    <a:pt x="3527924" y="2065327"/>
                  </a:lnTo>
                  <a:lnTo>
                    <a:pt x="3492635" y="2065327"/>
                  </a:lnTo>
                  <a:lnTo>
                    <a:pt x="3492635" y="1885544"/>
                  </a:lnTo>
                  <a:cubicBezTo>
                    <a:pt x="3486247" y="1890108"/>
                    <a:pt x="3479377" y="1893985"/>
                    <a:pt x="3472027" y="1897179"/>
                  </a:cubicBezTo>
                  <a:cubicBezTo>
                    <a:pt x="3464674" y="1900374"/>
                    <a:pt x="3456284" y="1903188"/>
                    <a:pt x="3446854" y="1905622"/>
                  </a:cubicBezTo>
                  <a:lnTo>
                    <a:pt x="3446854" y="1875506"/>
                  </a:lnTo>
                  <a:cubicBezTo>
                    <a:pt x="3452735" y="1873580"/>
                    <a:pt x="3458413" y="1871550"/>
                    <a:pt x="3463889" y="1869422"/>
                  </a:cubicBezTo>
                  <a:cubicBezTo>
                    <a:pt x="3469364" y="1867293"/>
                    <a:pt x="3474763" y="1864909"/>
                    <a:pt x="3480087" y="1862273"/>
                  </a:cubicBezTo>
                  <a:cubicBezTo>
                    <a:pt x="3485411" y="1859637"/>
                    <a:pt x="3490785" y="1856696"/>
                    <a:pt x="3496210" y="1853451"/>
                  </a:cubicBezTo>
                  <a:cubicBezTo>
                    <a:pt x="3501636" y="1850207"/>
                    <a:pt x="3507237" y="1846504"/>
                    <a:pt x="3513017" y="1842348"/>
                  </a:cubicBezTo>
                  <a:close/>
                  <a:moveTo>
                    <a:pt x="3208218" y="1842348"/>
                  </a:moveTo>
                  <a:lnTo>
                    <a:pt x="3223124" y="1842348"/>
                  </a:lnTo>
                  <a:lnTo>
                    <a:pt x="3223124" y="2065327"/>
                  </a:lnTo>
                  <a:lnTo>
                    <a:pt x="3187836" y="2065327"/>
                  </a:lnTo>
                  <a:lnTo>
                    <a:pt x="3187836" y="1885544"/>
                  </a:lnTo>
                  <a:cubicBezTo>
                    <a:pt x="3181448" y="1890108"/>
                    <a:pt x="3174578" y="1893985"/>
                    <a:pt x="3167227" y="1897179"/>
                  </a:cubicBezTo>
                  <a:cubicBezTo>
                    <a:pt x="3159874" y="1900374"/>
                    <a:pt x="3151483" y="1903188"/>
                    <a:pt x="3142053" y="1905622"/>
                  </a:cubicBezTo>
                  <a:lnTo>
                    <a:pt x="3142053" y="1875506"/>
                  </a:lnTo>
                  <a:cubicBezTo>
                    <a:pt x="3147935" y="1873580"/>
                    <a:pt x="3153614" y="1871550"/>
                    <a:pt x="3159089" y="1869422"/>
                  </a:cubicBezTo>
                  <a:cubicBezTo>
                    <a:pt x="3164565" y="1867293"/>
                    <a:pt x="3169964" y="1864909"/>
                    <a:pt x="3175288" y="1862273"/>
                  </a:cubicBezTo>
                  <a:cubicBezTo>
                    <a:pt x="3180612" y="1859637"/>
                    <a:pt x="3185985" y="1856696"/>
                    <a:pt x="3191409" y="1853451"/>
                  </a:cubicBezTo>
                  <a:cubicBezTo>
                    <a:pt x="3196835" y="1850207"/>
                    <a:pt x="3202438" y="1846504"/>
                    <a:pt x="3208218" y="1842348"/>
                  </a:cubicBezTo>
                  <a:close/>
                  <a:moveTo>
                    <a:pt x="2813523" y="1842348"/>
                  </a:moveTo>
                  <a:lnTo>
                    <a:pt x="2828429" y="1842348"/>
                  </a:lnTo>
                  <a:lnTo>
                    <a:pt x="2828429" y="2065327"/>
                  </a:lnTo>
                  <a:lnTo>
                    <a:pt x="2793141" y="2065327"/>
                  </a:lnTo>
                  <a:lnTo>
                    <a:pt x="2793141" y="1885544"/>
                  </a:lnTo>
                  <a:cubicBezTo>
                    <a:pt x="2786752" y="1890108"/>
                    <a:pt x="2779883" y="1893985"/>
                    <a:pt x="2772531" y="1897179"/>
                  </a:cubicBezTo>
                  <a:cubicBezTo>
                    <a:pt x="2765180" y="1900374"/>
                    <a:pt x="2756789" y="1903188"/>
                    <a:pt x="2747358" y="1905622"/>
                  </a:cubicBezTo>
                  <a:lnTo>
                    <a:pt x="2747358" y="1875506"/>
                  </a:lnTo>
                  <a:cubicBezTo>
                    <a:pt x="2753240" y="1873580"/>
                    <a:pt x="2758919" y="1871550"/>
                    <a:pt x="2764394" y="1869422"/>
                  </a:cubicBezTo>
                  <a:cubicBezTo>
                    <a:pt x="2769870" y="1867293"/>
                    <a:pt x="2775268" y="1864909"/>
                    <a:pt x="2780592" y="1862273"/>
                  </a:cubicBezTo>
                  <a:cubicBezTo>
                    <a:pt x="2785917" y="1859637"/>
                    <a:pt x="2791290" y="1856696"/>
                    <a:pt x="2796715" y="1853451"/>
                  </a:cubicBezTo>
                  <a:cubicBezTo>
                    <a:pt x="2802141" y="1850207"/>
                    <a:pt x="2807743" y="1846504"/>
                    <a:pt x="2813523" y="1842348"/>
                  </a:cubicBezTo>
                  <a:close/>
                  <a:moveTo>
                    <a:pt x="2662929" y="1842348"/>
                  </a:moveTo>
                  <a:lnTo>
                    <a:pt x="2677834" y="1842348"/>
                  </a:lnTo>
                  <a:lnTo>
                    <a:pt x="2677834" y="2065327"/>
                  </a:lnTo>
                  <a:lnTo>
                    <a:pt x="2642547" y="2065327"/>
                  </a:lnTo>
                  <a:lnTo>
                    <a:pt x="2642547" y="1885544"/>
                  </a:lnTo>
                  <a:cubicBezTo>
                    <a:pt x="2636159" y="1890108"/>
                    <a:pt x="2629289" y="1893985"/>
                    <a:pt x="2621937" y="1897179"/>
                  </a:cubicBezTo>
                  <a:cubicBezTo>
                    <a:pt x="2614586" y="1900374"/>
                    <a:pt x="2606195" y="1903188"/>
                    <a:pt x="2596765" y="1905622"/>
                  </a:cubicBezTo>
                  <a:lnTo>
                    <a:pt x="2596765" y="1875506"/>
                  </a:lnTo>
                  <a:cubicBezTo>
                    <a:pt x="2602646" y="1873580"/>
                    <a:pt x="2608325" y="1871550"/>
                    <a:pt x="2613800" y="1869422"/>
                  </a:cubicBezTo>
                  <a:cubicBezTo>
                    <a:pt x="2619276" y="1867293"/>
                    <a:pt x="2624675" y="1864909"/>
                    <a:pt x="2629998" y="1862273"/>
                  </a:cubicBezTo>
                  <a:cubicBezTo>
                    <a:pt x="2635322" y="1859637"/>
                    <a:pt x="2640696" y="1856696"/>
                    <a:pt x="2646120" y="1853451"/>
                  </a:cubicBezTo>
                  <a:cubicBezTo>
                    <a:pt x="2651547" y="1850207"/>
                    <a:pt x="2657149" y="1846504"/>
                    <a:pt x="2662929" y="1842348"/>
                  </a:cubicBezTo>
                  <a:close/>
                  <a:moveTo>
                    <a:pt x="2529603" y="1842348"/>
                  </a:moveTo>
                  <a:lnTo>
                    <a:pt x="2544509" y="1842348"/>
                  </a:lnTo>
                  <a:lnTo>
                    <a:pt x="2544509" y="2065327"/>
                  </a:lnTo>
                  <a:lnTo>
                    <a:pt x="2509221" y="2065327"/>
                  </a:lnTo>
                  <a:lnTo>
                    <a:pt x="2509221" y="1885544"/>
                  </a:lnTo>
                  <a:cubicBezTo>
                    <a:pt x="2502834" y="1890108"/>
                    <a:pt x="2495963" y="1893985"/>
                    <a:pt x="2488613" y="1897179"/>
                  </a:cubicBezTo>
                  <a:cubicBezTo>
                    <a:pt x="2481260" y="1900374"/>
                    <a:pt x="2472869" y="1903188"/>
                    <a:pt x="2463440" y="1905622"/>
                  </a:cubicBezTo>
                  <a:lnTo>
                    <a:pt x="2463440" y="1875506"/>
                  </a:lnTo>
                  <a:cubicBezTo>
                    <a:pt x="2469321" y="1873580"/>
                    <a:pt x="2474999" y="1871550"/>
                    <a:pt x="2480475" y="1869422"/>
                  </a:cubicBezTo>
                  <a:cubicBezTo>
                    <a:pt x="2485951" y="1867293"/>
                    <a:pt x="2491349" y="1864909"/>
                    <a:pt x="2496673" y="1862273"/>
                  </a:cubicBezTo>
                  <a:cubicBezTo>
                    <a:pt x="2501998" y="1859637"/>
                    <a:pt x="2507372" y="1856696"/>
                    <a:pt x="2512795" y="1853451"/>
                  </a:cubicBezTo>
                  <a:cubicBezTo>
                    <a:pt x="2518222" y="1850207"/>
                    <a:pt x="2523823" y="1846504"/>
                    <a:pt x="2529603" y="1842348"/>
                  </a:cubicBezTo>
                  <a:close/>
                  <a:moveTo>
                    <a:pt x="1775939" y="1842348"/>
                  </a:moveTo>
                  <a:lnTo>
                    <a:pt x="1790845" y="1842348"/>
                  </a:lnTo>
                  <a:lnTo>
                    <a:pt x="1790845" y="2065327"/>
                  </a:lnTo>
                  <a:lnTo>
                    <a:pt x="1755557" y="2065327"/>
                  </a:lnTo>
                  <a:lnTo>
                    <a:pt x="1755557" y="1885544"/>
                  </a:lnTo>
                  <a:cubicBezTo>
                    <a:pt x="1749170" y="1890108"/>
                    <a:pt x="1742299" y="1893985"/>
                    <a:pt x="1734948" y="1897179"/>
                  </a:cubicBezTo>
                  <a:cubicBezTo>
                    <a:pt x="1727596" y="1900374"/>
                    <a:pt x="1719205" y="1903188"/>
                    <a:pt x="1709775" y="1905622"/>
                  </a:cubicBezTo>
                  <a:lnTo>
                    <a:pt x="1709775" y="1875506"/>
                  </a:lnTo>
                  <a:cubicBezTo>
                    <a:pt x="1715656" y="1873580"/>
                    <a:pt x="1721335" y="1871550"/>
                    <a:pt x="1726810" y="1869422"/>
                  </a:cubicBezTo>
                  <a:cubicBezTo>
                    <a:pt x="1732286" y="1867293"/>
                    <a:pt x="1737686" y="1864909"/>
                    <a:pt x="1743009" y="1862273"/>
                  </a:cubicBezTo>
                  <a:cubicBezTo>
                    <a:pt x="1748333" y="1859637"/>
                    <a:pt x="1753707" y="1856696"/>
                    <a:pt x="1759132" y="1853451"/>
                  </a:cubicBezTo>
                  <a:cubicBezTo>
                    <a:pt x="1764557" y="1850207"/>
                    <a:pt x="1770159" y="1846504"/>
                    <a:pt x="1775939" y="1842348"/>
                  </a:cubicBezTo>
                  <a:close/>
                  <a:moveTo>
                    <a:pt x="1622547" y="1842348"/>
                  </a:moveTo>
                  <a:lnTo>
                    <a:pt x="1637453" y="1842348"/>
                  </a:lnTo>
                  <a:lnTo>
                    <a:pt x="1637453" y="2065327"/>
                  </a:lnTo>
                  <a:lnTo>
                    <a:pt x="1602165" y="2065327"/>
                  </a:lnTo>
                  <a:lnTo>
                    <a:pt x="1602165" y="1885544"/>
                  </a:lnTo>
                  <a:cubicBezTo>
                    <a:pt x="1595777" y="1890108"/>
                    <a:pt x="1588907" y="1893985"/>
                    <a:pt x="1581556" y="1897179"/>
                  </a:cubicBezTo>
                  <a:cubicBezTo>
                    <a:pt x="1574204" y="1900374"/>
                    <a:pt x="1565813" y="1903188"/>
                    <a:pt x="1556383" y="1905622"/>
                  </a:cubicBezTo>
                  <a:lnTo>
                    <a:pt x="1556383" y="1875506"/>
                  </a:lnTo>
                  <a:cubicBezTo>
                    <a:pt x="1562264" y="1873580"/>
                    <a:pt x="1567943" y="1871550"/>
                    <a:pt x="1573418" y="1869422"/>
                  </a:cubicBezTo>
                  <a:cubicBezTo>
                    <a:pt x="1578894" y="1867293"/>
                    <a:pt x="1584294" y="1864909"/>
                    <a:pt x="1589617" y="1862273"/>
                  </a:cubicBezTo>
                  <a:cubicBezTo>
                    <a:pt x="1594941" y="1859637"/>
                    <a:pt x="1600315" y="1856696"/>
                    <a:pt x="1605740" y="1853451"/>
                  </a:cubicBezTo>
                  <a:cubicBezTo>
                    <a:pt x="1611165" y="1850207"/>
                    <a:pt x="1616767" y="1846504"/>
                    <a:pt x="1622547" y="1842348"/>
                  </a:cubicBezTo>
                  <a:close/>
                  <a:moveTo>
                    <a:pt x="1328478" y="1842348"/>
                  </a:moveTo>
                  <a:lnTo>
                    <a:pt x="1343384" y="1842348"/>
                  </a:lnTo>
                  <a:lnTo>
                    <a:pt x="1343384" y="2065327"/>
                  </a:lnTo>
                  <a:lnTo>
                    <a:pt x="1308096" y="2065327"/>
                  </a:lnTo>
                  <a:lnTo>
                    <a:pt x="1308096" y="1885544"/>
                  </a:lnTo>
                  <a:cubicBezTo>
                    <a:pt x="1301708" y="1890108"/>
                    <a:pt x="1294838" y="1893985"/>
                    <a:pt x="1287487" y="1897179"/>
                  </a:cubicBezTo>
                  <a:cubicBezTo>
                    <a:pt x="1280135" y="1900374"/>
                    <a:pt x="1271744" y="1903188"/>
                    <a:pt x="1262314" y="1905622"/>
                  </a:cubicBezTo>
                  <a:lnTo>
                    <a:pt x="1262314" y="1875506"/>
                  </a:lnTo>
                  <a:cubicBezTo>
                    <a:pt x="1268195" y="1873580"/>
                    <a:pt x="1273874" y="1871550"/>
                    <a:pt x="1279349" y="1869422"/>
                  </a:cubicBezTo>
                  <a:cubicBezTo>
                    <a:pt x="1284825" y="1867293"/>
                    <a:pt x="1290225" y="1864909"/>
                    <a:pt x="1295548" y="1862273"/>
                  </a:cubicBezTo>
                  <a:cubicBezTo>
                    <a:pt x="1300872" y="1859637"/>
                    <a:pt x="1306246" y="1856696"/>
                    <a:pt x="1311671" y="1853451"/>
                  </a:cubicBezTo>
                  <a:cubicBezTo>
                    <a:pt x="1317096" y="1850207"/>
                    <a:pt x="1322698" y="1846504"/>
                    <a:pt x="1328478" y="1842348"/>
                  </a:cubicBezTo>
                  <a:close/>
                  <a:moveTo>
                    <a:pt x="953339" y="1842348"/>
                  </a:moveTo>
                  <a:lnTo>
                    <a:pt x="968245" y="1842348"/>
                  </a:lnTo>
                  <a:lnTo>
                    <a:pt x="968245" y="2065327"/>
                  </a:lnTo>
                  <a:lnTo>
                    <a:pt x="932957" y="2065327"/>
                  </a:lnTo>
                  <a:lnTo>
                    <a:pt x="932957" y="1885544"/>
                  </a:lnTo>
                  <a:cubicBezTo>
                    <a:pt x="926569" y="1890108"/>
                    <a:pt x="919699" y="1893985"/>
                    <a:pt x="912348" y="1897179"/>
                  </a:cubicBezTo>
                  <a:cubicBezTo>
                    <a:pt x="904996" y="1900374"/>
                    <a:pt x="896605" y="1903188"/>
                    <a:pt x="887175" y="1905622"/>
                  </a:cubicBezTo>
                  <a:lnTo>
                    <a:pt x="887175" y="1875506"/>
                  </a:lnTo>
                  <a:cubicBezTo>
                    <a:pt x="893056" y="1873580"/>
                    <a:pt x="898735" y="1871550"/>
                    <a:pt x="904210" y="1869422"/>
                  </a:cubicBezTo>
                  <a:cubicBezTo>
                    <a:pt x="909686" y="1867293"/>
                    <a:pt x="915086" y="1864909"/>
                    <a:pt x="920409" y="1862273"/>
                  </a:cubicBezTo>
                  <a:cubicBezTo>
                    <a:pt x="925733" y="1859637"/>
                    <a:pt x="931107" y="1856696"/>
                    <a:pt x="936532" y="1853451"/>
                  </a:cubicBezTo>
                  <a:cubicBezTo>
                    <a:pt x="941957" y="1850207"/>
                    <a:pt x="947559" y="1846504"/>
                    <a:pt x="953339" y="1842348"/>
                  </a:cubicBezTo>
                  <a:close/>
                  <a:moveTo>
                    <a:pt x="804482" y="1842348"/>
                  </a:moveTo>
                  <a:lnTo>
                    <a:pt x="819388" y="1842348"/>
                  </a:lnTo>
                  <a:lnTo>
                    <a:pt x="819388" y="2065327"/>
                  </a:lnTo>
                  <a:lnTo>
                    <a:pt x="784100" y="2065327"/>
                  </a:lnTo>
                  <a:lnTo>
                    <a:pt x="784100" y="1885544"/>
                  </a:lnTo>
                  <a:cubicBezTo>
                    <a:pt x="777712" y="1890108"/>
                    <a:pt x="770842" y="1893985"/>
                    <a:pt x="763491" y="1897179"/>
                  </a:cubicBezTo>
                  <a:cubicBezTo>
                    <a:pt x="756139" y="1900374"/>
                    <a:pt x="747748" y="1903188"/>
                    <a:pt x="738318" y="1905622"/>
                  </a:cubicBezTo>
                  <a:lnTo>
                    <a:pt x="738318" y="1875506"/>
                  </a:lnTo>
                  <a:cubicBezTo>
                    <a:pt x="744199" y="1873580"/>
                    <a:pt x="749878" y="1871550"/>
                    <a:pt x="755353" y="1869422"/>
                  </a:cubicBezTo>
                  <a:cubicBezTo>
                    <a:pt x="760829" y="1867293"/>
                    <a:pt x="766229" y="1864909"/>
                    <a:pt x="771552" y="1862273"/>
                  </a:cubicBezTo>
                  <a:cubicBezTo>
                    <a:pt x="776876" y="1859637"/>
                    <a:pt x="782250" y="1856696"/>
                    <a:pt x="787675" y="1853451"/>
                  </a:cubicBezTo>
                  <a:cubicBezTo>
                    <a:pt x="793100" y="1850207"/>
                    <a:pt x="798702" y="1846504"/>
                    <a:pt x="804482" y="1842348"/>
                  </a:cubicBezTo>
                  <a:close/>
                  <a:moveTo>
                    <a:pt x="655625" y="1842348"/>
                  </a:moveTo>
                  <a:lnTo>
                    <a:pt x="670531" y="1842348"/>
                  </a:lnTo>
                  <a:lnTo>
                    <a:pt x="670531" y="2065327"/>
                  </a:lnTo>
                  <a:lnTo>
                    <a:pt x="635243" y="2065327"/>
                  </a:lnTo>
                  <a:lnTo>
                    <a:pt x="635243" y="1885544"/>
                  </a:lnTo>
                  <a:cubicBezTo>
                    <a:pt x="628855" y="1890108"/>
                    <a:pt x="621985" y="1893985"/>
                    <a:pt x="614634" y="1897179"/>
                  </a:cubicBezTo>
                  <a:cubicBezTo>
                    <a:pt x="607282" y="1900374"/>
                    <a:pt x="598891" y="1903188"/>
                    <a:pt x="589461" y="1905622"/>
                  </a:cubicBezTo>
                  <a:lnTo>
                    <a:pt x="589461" y="1875506"/>
                  </a:lnTo>
                  <a:cubicBezTo>
                    <a:pt x="595342" y="1873580"/>
                    <a:pt x="601021" y="1871550"/>
                    <a:pt x="606496" y="1869422"/>
                  </a:cubicBezTo>
                  <a:cubicBezTo>
                    <a:pt x="611972" y="1867293"/>
                    <a:pt x="617372" y="1864909"/>
                    <a:pt x="622695" y="1862273"/>
                  </a:cubicBezTo>
                  <a:cubicBezTo>
                    <a:pt x="628019" y="1859637"/>
                    <a:pt x="633393" y="1856696"/>
                    <a:pt x="638818" y="1853451"/>
                  </a:cubicBezTo>
                  <a:cubicBezTo>
                    <a:pt x="644243" y="1850207"/>
                    <a:pt x="649845" y="1846504"/>
                    <a:pt x="655625" y="1842348"/>
                  </a:cubicBezTo>
                  <a:close/>
                  <a:moveTo>
                    <a:pt x="506768" y="1842348"/>
                  </a:moveTo>
                  <a:lnTo>
                    <a:pt x="521674" y="1842348"/>
                  </a:lnTo>
                  <a:lnTo>
                    <a:pt x="521674" y="2065327"/>
                  </a:lnTo>
                  <a:lnTo>
                    <a:pt x="486386" y="2065327"/>
                  </a:lnTo>
                  <a:lnTo>
                    <a:pt x="486386" y="1885544"/>
                  </a:lnTo>
                  <a:cubicBezTo>
                    <a:pt x="479998" y="1890108"/>
                    <a:pt x="473128" y="1893985"/>
                    <a:pt x="465777" y="1897179"/>
                  </a:cubicBezTo>
                  <a:cubicBezTo>
                    <a:pt x="458425" y="1900374"/>
                    <a:pt x="450034" y="1903188"/>
                    <a:pt x="440604" y="1905622"/>
                  </a:cubicBezTo>
                  <a:lnTo>
                    <a:pt x="440604" y="1875506"/>
                  </a:lnTo>
                  <a:cubicBezTo>
                    <a:pt x="446485" y="1873580"/>
                    <a:pt x="452164" y="1871550"/>
                    <a:pt x="457639" y="1869422"/>
                  </a:cubicBezTo>
                  <a:cubicBezTo>
                    <a:pt x="463115" y="1867293"/>
                    <a:pt x="468515" y="1864909"/>
                    <a:pt x="473838" y="1862273"/>
                  </a:cubicBezTo>
                  <a:cubicBezTo>
                    <a:pt x="479162" y="1859637"/>
                    <a:pt x="484536" y="1856696"/>
                    <a:pt x="489961" y="1853451"/>
                  </a:cubicBezTo>
                  <a:cubicBezTo>
                    <a:pt x="495386" y="1850207"/>
                    <a:pt x="500988" y="1846504"/>
                    <a:pt x="506768" y="1842348"/>
                  </a:cubicBezTo>
                  <a:close/>
                  <a:moveTo>
                    <a:pt x="297354" y="1842348"/>
                  </a:moveTo>
                  <a:cubicBezTo>
                    <a:pt x="344798" y="1842348"/>
                    <a:pt x="368521" y="1879210"/>
                    <a:pt x="368521" y="1952935"/>
                  </a:cubicBezTo>
                  <a:cubicBezTo>
                    <a:pt x="368521" y="1989447"/>
                    <a:pt x="361826" y="2017306"/>
                    <a:pt x="348435" y="2036514"/>
                  </a:cubicBezTo>
                  <a:cubicBezTo>
                    <a:pt x="335044" y="2055722"/>
                    <a:pt x="316312" y="2065327"/>
                    <a:pt x="292238" y="2065327"/>
                  </a:cubicBezTo>
                  <a:cubicBezTo>
                    <a:pt x="269770" y="2065327"/>
                    <a:pt x="252241" y="2056149"/>
                    <a:pt x="239653" y="2037793"/>
                  </a:cubicBezTo>
                  <a:cubicBezTo>
                    <a:pt x="227064" y="2019437"/>
                    <a:pt x="220770" y="1992907"/>
                    <a:pt x="220770" y="1958202"/>
                  </a:cubicBezTo>
                  <a:cubicBezTo>
                    <a:pt x="220770" y="1920085"/>
                    <a:pt x="227340" y="1891247"/>
                    <a:pt x="240480" y="1871686"/>
                  </a:cubicBezTo>
                  <a:cubicBezTo>
                    <a:pt x="253621" y="1852127"/>
                    <a:pt x="272578" y="1842348"/>
                    <a:pt x="297354" y="1842348"/>
                  </a:cubicBezTo>
                  <a:close/>
                  <a:moveTo>
                    <a:pt x="10090194" y="1549837"/>
                  </a:moveTo>
                  <a:cubicBezTo>
                    <a:pt x="10064014" y="1549837"/>
                    <a:pt x="10050924" y="1578675"/>
                    <a:pt x="10050924" y="1636351"/>
                  </a:cubicBezTo>
                  <a:cubicBezTo>
                    <a:pt x="10050924" y="1690315"/>
                    <a:pt x="10063763" y="1717298"/>
                    <a:pt x="10089442" y="1717298"/>
                  </a:cubicBezTo>
                  <a:cubicBezTo>
                    <a:pt x="10114718" y="1717298"/>
                    <a:pt x="10127357" y="1689865"/>
                    <a:pt x="10127357" y="1634998"/>
                  </a:cubicBezTo>
                  <a:cubicBezTo>
                    <a:pt x="10127357" y="1578223"/>
                    <a:pt x="10114969" y="1549837"/>
                    <a:pt x="10090194" y="1549837"/>
                  </a:cubicBezTo>
                  <a:close/>
                  <a:moveTo>
                    <a:pt x="9869271" y="1549837"/>
                  </a:moveTo>
                  <a:cubicBezTo>
                    <a:pt x="9843091" y="1549837"/>
                    <a:pt x="9830001" y="1578675"/>
                    <a:pt x="9830001" y="1636351"/>
                  </a:cubicBezTo>
                  <a:cubicBezTo>
                    <a:pt x="9830001" y="1690315"/>
                    <a:pt x="9842840" y="1717298"/>
                    <a:pt x="9868519" y="1717298"/>
                  </a:cubicBezTo>
                  <a:cubicBezTo>
                    <a:pt x="9893795" y="1717298"/>
                    <a:pt x="9906434" y="1689865"/>
                    <a:pt x="9906434" y="1634998"/>
                  </a:cubicBezTo>
                  <a:cubicBezTo>
                    <a:pt x="9906434" y="1578223"/>
                    <a:pt x="9894046" y="1549837"/>
                    <a:pt x="9869271" y="1549837"/>
                  </a:cubicBezTo>
                  <a:close/>
                  <a:moveTo>
                    <a:pt x="9207611" y="1549837"/>
                  </a:moveTo>
                  <a:cubicBezTo>
                    <a:pt x="9181431" y="1549837"/>
                    <a:pt x="9168341" y="1578675"/>
                    <a:pt x="9168341" y="1636351"/>
                  </a:cubicBezTo>
                  <a:cubicBezTo>
                    <a:pt x="9168341" y="1690315"/>
                    <a:pt x="9181180" y="1717298"/>
                    <a:pt x="9206859" y="1717298"/>
                  </a:cubicBezTo>
                  <a:cubicBezTo>
                    <a:pt x="9232135" y="1717298"/>
                    <a:pt x="9244774" y="1689865"/>
                    <a:pt x="9244774" y="1634998"/>
                  </a:cubicBezTo>
                  <a:cubicBezTo>
                    <a:pt x="9244774" y="1578223"/>
                    <a:pt x="9232386" y="1549837"/>
                    <a:pt x="9207611" y="1549837"/>
                  </a:cubicBezTo>
                  <a:close/>
                  <a:moveTo>
                    <a:pt x="8986688" y="1549837"/>
                  </a:moveTo>
                  <a:cubicBezTo>
                    <a:pt x="8960508" y="1549837"/>
                    <a:pt x="8947418" y="1578675"/>
                    <a:pt x="8947418" y="1636351"/>
                  </a:cubicBezTo>
                  <a:cubicBezTo>
                    <a:pt x="8947418" y="1690315"/>
                    <a:pt x="8960257" y="1717298"/>
                    <a:pt x="8985936" y="1717298"/>
                  </a:cubicBezTo>
                  <a:cubicBezTo>
                    <a:pt x="9011212" y="1717298"/>
                    <a:pt x="9023851" y="1689865"/>
                    <a:pt x="9023851" y="1634998"/>
                  </a:cubicBezTo>
                  <a:cubicBezTo>
                    <a:pt x="9023851" y="1578223"/>
                    <a:pt x="9011463" y="1549837"/>
                    <a:pt x="8986688" y="1549837"/>
                  </a:cubicBezTo>
                  <a:close/>
                  <a:moveTo>
                    <a:pt x="4034142" y="1549837"/>
                  </a:moveTo>
                  <a:cubicBezTo>
                    <a:pt x="4007962" y="1549837"/>
                    <a:pt x="3994872" y="1578675"/>
                    <a:pt x="3994872" y="1636351"/>
                  </a:cubicBezTo>
                  <a:cubicBezTo>
                    <a:pt x="3994872" y="1690315"/>
                    <a:pt x="4007711" y="1717298"/>
                    <a:pt x="4033390" y="1717298"/>
                  </a:cubicBezTo>
                  <a:cubicBezTo>
                    <a:pt x="4058667" y="1717298"/>
                    <a:pt x="4071305" y="1689865"/>
                    <a:pt x="4071305" y="1634998"/>
                  </a:cubicBezTo>
                  <a:cubicBezTo>
                    <a:pt x="4071305" y="1578223"/>
                    <a:pt x="4058917" y="1549837"/>
                    <a:pt x="4034142" y="1549837"/>
                  </a:cubicBezTo>
                  <a:close/>
                  <a:moveTo>
                    <a:pt x="3813219" y="1549837"/>
                  </a:moveTo>
                  <a:cubicBezTo>
                    <a:pt x="3787039" y="1549837"/>
                    <a:pt x="3773949" y="1578675"/>
                    <a:pt x="3773949" y="1636351"/>
                  </a:cubicBezTo>
                  <a:cubicBezTo>
                    <a:pt x="3773949" y="1690315"/>
                    <a:pt x="3786789" y="1717298"/>
                    <a:pt x="3812467" y="1717298"/>
                  </a:cubicBezTo>
                  <a:cubicBezTo>
                    <a:pt x="3837744" y="1717298"/>
                    <a:pt x="3850382" y="1689865"/>
                    <a:pt x="3850382" y="1634998"/>
                  </a:cubicBezTo>
                  <a:cubicBezTo>
                    <a:pt x="3850382" y="1578223"/>
                    <a:pt x="3837995" y="1549837"/>
                    <a:pt x="3813219" y="1549837"/>
                  </a:cubicBezTo>
                  <a:close/>
                  <a:moveTo>
                    <a:pt x="3151559" y="1549837"/>
                  </a:moveTo>
                  <a:cubicBezTo>
                    <a:pt x="3125380" y="1549837"/>
                    <a:pt x="3112289" y="1578675"/>
                    <a:pt x="3112289" y="1636351"/>
                  </a:cubicBezTo>
                  <a:cubicBezTo>
                    <a:pt x="3112289" y="1690315"/>
                    <a:pt x="3125129" y="1717298"/>
                    <a:pt x="3150808" y="1717298"/>
                  </a:cubicBezTo>
                  <a:cubicBezTo>
                    <a:pt x="3176084" y="1717298"/>
                    <a:pt x="3188723" y="1689865"/>
                    <a:pt x="3188723" y="1634998"/>
                  </a:cubicBezTo>
                  <a:cubicBezTo>
                    <a:pt x="3188723" y="1578223"/>
                    <a:pt x="3176334" y="1549837"/>
                    <a:pt x="3151559" y="1549837"/>
                  </a:cubicBezTo>
                  <a:close/>
                  <a:moveTo>
                    <a:pt x="2930637" y="1549837"/>
                  </a:moveTo>
                  <a:cubicBezTo>
                    <a:pt x="2904456" y="1549837"/>
                    <a:pt x="2891366" y="1578675"/>
                    <a:pt x="2891366" y="1636351"/>
                  </a:cubicBezTo>
                  <a:cubicBezTo>
                    <a:pt x="2891366" y="1690315"/>
                    <a:pt x="2904206" y="1717298"/>
                    <a:pt x="2929884" y="1717298"/>
                  </a:cubicBezTo>
                  <a:cubicBezTo>
                    <a:pt x="2955161" y="1717298"/>
                    <a:pt x="2967799" y="1689865"/>
                    <a:pt x="2967799" y="1634998"/>
                  </a:cubicBezTo>
                  <a:cubicBezTo>
                    <a:pt x="2967799" y="1578223"/>
                    <a:pt x="2955412" y="1549837"/>
                    <a:pt x="2930637" y="1549837"/>
                  </a:cubicBezTo>
                  <a:close/>
                  <a:moveTo>
                    <a:pt x="11918627" y="1522003"/>
                  </a:moveTo>
                  <a:lnTo>
                    <a:pt x="11933533" y="1522003"/>
                  </a:lnTo>
                  <a:lnTo>
                    <a:pt x="11933533" y="1744984"/>
                  </a:lnTo>
                  <a:lnTo>
                    <a:pt x="11898245" y="1744984"/>
                  </a:lnTo>
                  <a:lnTo>
                    <a:pt x="11898245" y="1565200"/>
                  </a:lnTo>
                  <a:cubicBezTo>
                    <a:pt x="11891857" y="1569764"/>
                    <a:pt x="11884987" y="1573641"/>
                    <a:pt x="11877636" y="1576836"/>
                  </a:cubicBezTo>
                  <a:cubicBezTo>
                    <a:pt x="11870284" y="1580031"/>
                    <a:pt x="11861893" y="1582843"/>
                    <a:pt x="11852463" y="1585278"/>
                  </a:cubicBezTo>
                  <a:lnTo>
                    <a:pt x="11852463" y="1555161"/>
                  </a:lnTo>
                  <a:cubicBezTo>
                    <a:pt x="11858344" y="1553236"/>
                    <a:pt x="11864023" y="1551207"/>
                    <a:pt x="11869498" y="1549078"/>
                  </a:cubicBezTo>
                  <a:cubicBezTo>
                    <a:pt x="11874974" y="1546948"/>
                    <a:pt x="11880374" y="1544566"/>
                    <a:pt x="11885697" y="1541929"/>
                  </a:cubicBezTo>
                  <a:cubicBezTo>
                    <a:pt x="11891021" y="1539292"/>
                    <a:pt x="11896395" y="1536351"/>
                    <a:pt x="11901820" y="1533106"/>
                  </a:cubicBezTo>
                  <a:cubicBezTo>
                    <a:pt x="11907245" y="1529862"/>
                    <a:pt x="11912847" y="1526162"/>
                    <a:pt x="11918627" y="1522003"/>
                  </a:cubicBezTo>
                  <a:close/>
                  <a:moveTo>
                    <a:pt x="11535759" y="1522003"/>
                  </a:moveTo>
                  <a:lnTo>
                    <a:pt x="11550665" y="1522003"/>
                  </a:lnTo>
                  <a:lnTo>
                    <a:pt x="11550665" y="1744984"/>
                  </a:lnTo>
                  <a:lnTo>
                    <a:pt x="11515377" y="1744984"/>
                  </a:lnTo>
                  <a:lnTo>
                    <a:pt x="11515377" y="1565200"/>
                  </a:lnTo>
                  <a:cubicBezTo>
                    <a:pt x="11508989" y="1569764"/>
                    <a:pt x="11502119" y="1573641"/>
                    <a:pt x="11494768" y="1576836"/>
                  </a:cubicBezTo>
                  <a:cubicBezTo>
                    <a:pt x="11487416" y="1580031"/>
                    <a:pt x="11479025" y="1582843"/>
                    <a:pt x="11469595" y="1585278"/>
                  </a:cubicBezTo>
                  <a:lnTo>
                    <a:pt x="11469595" y="1555161"/>
                  </a:lnTo>
                  <a:cubicBezTo>
                    <a:pt x="11475476" y="1553236"/>
                    <a:pt x="11481155" y="1551207"/>
                    <a:pt x="11486630" y="1549078"/>
                  </a:cubicBezTo>
                  <a:cubicBezTo>
                    <a:pt x="11492106" y="1546948"/>
                    <a:pt x="11497506" y="1544566"/>
                    <a:pt x="11502829" y="1541929"/>
                  </a:cubicBezTo>
                  <a:cubicBezTo>
                    <a:pt x="11508153" y="1539292"/>
                    <a:pt x="11513527" y="1536351"/>
                    <a:pt x="11518952" y="1533106"/>
                  </a:cubicBezTo>
                  <a:cubicBezTo>
                    <a:pt x="11524377" y="1529862"/>
                    <a:pt x="11529979" y="1526162"/>
                    <a:pt x="11535759" y="1522003"/>
                  </a:cubicBezTo>
                  <a:close/>
                  <a:moveTo>
                    <a:pt x="11391633" y="1522003"/>
                  </a:moveTo>
                  <a:lnTo>
                    <a:pt x="11406539" y="1522003"/>
                  </a:lnTo>
                  <a:lnTo>
                    <a:pt x="11406539" y="1744984"/>
                  </a:lnTo>
                  <a:lnTo>
                    <a:pt x="11371251" y="1744984"/>
                  </a:lnTo>
                  <a:lnTo>
                    <a:pt x="11371251" y="1565200"/>
                  </a:lnTo>
                  <a:cubicBezTo>
                    <a:pt x="11364863" y="1569764"/>
                    <a:pt x="11357993" y="1573641"/>
                    <a:pt x="11350642" y="1576836"/>
                  </a:cubicBezTo>
                  <a:cubicBezTo>
                    <a:pt x="11343290" y="1580031"/>
                    <a:pt x="11334899" y="1582843"/>
                    <a:pt x="11325469" y="1585278"/>
                  </a:cubicBezTo>
                  <a:lnTo>
                    <a:pt x="11325469" y="1555161"/>
                  </a:lnTo>
                  <a:cubicBezTo>
                    <a:pt x="11331350" y="1553236"/>
                    <a:pt x="11337029" y="1551207"/>
                    <a:pt x="11342504" y="1549078"/>
                  </a:cubicBezTo>
                  <a:cubicBezTo>
                    <a:pt x="11347980" y="1546948"/>
                    <a:pt x="11353380" y="1544566"/>
                    <a:pt x="11358703" y="1541929"/>
                  </a:cubicBezTo>
                  <a:cubicBezTo>
                    <a:pt x="11364027" y="1539292"/>
                    <a:pt x="11369401" y="1536351"/>
                    <a:pt x="11374826" y="1533106"/>
                  </a:cubicBezTo>
                  <a:cubicBezTo>
                    <a:pt x="11380251" y="1529862"/>
                    <a:pt x="11385853" y="1526162"/>
                    <a:pt x="11391633" y="1522003"/>
                  </a:cubicBezTo>
                  <a:close/>
                  <a:moveTo>
                    <a:pt x="11247508" y="1522003"/>
                  </a:moveTo>
                  <a:lnTo>
                    <a:pt x="11262414" y="1522003"/>
                  </a:lnTo>
                  <a:lnTo>
                    <a:pt x="11262414" y="1744984"/>
                  </a:lnTo>
                  <a:lnTo>
                    <a:pt x="11227126" y="1744984"/>
                  </a:lnTo>
                  <a:lnTo>
                    <a:pt x="11227126" y="1565200"/>
                  </a:lnTo>
                  <a:cubicBezTo>
                    <a:pt x="11220738" y="1569764"/>
                    <a:pt x="11213868" y="1573641"/>
                    <a:pt x="11206517" y="1576836"/>
                  </a:cubicBezTo>
                  <a:cubicBezTo>
                    <a:pt x="11199165" y="1580031"/>
                    <a:pt x="11190774" y="1582843"/>
                    <a:pt x="11181344" y="1585278"/>
                  </a:cubicBezTo>
                  <a:lnTo>
                    <a:pt x="11181344" y="1555161"/>
                  </a:lnTo>
                  <a:cubicBezTo>
                    <a:pt x="11187225" y="1553236"/>
                    <a:pt x="11192904" y="1551207"/>
                    <a:pt x="11198379" y="1549078"/>
                  </a:cubicBezTo>
                  <a:cubicBezTo>
                    <a:pt x="11203855" y="1546948"/>
                    <a:pt x="11209255" y="1544566"/>
                    <a:pt x="11214578" y="1541929"/>
                  </a:cubicBezTo>
                  <a:cubicBezTo>
                    <a:pt x="11219902" y="1539292"/>
                    <a:pt x="11225276" y="1536351"/>
                    <a:pt x="11230701" y="1533106"/>
                  </a:cubicBezTo>
                  <a:cubicBezTo>
                    <a:pt x="11236126" y="1529862"/>
                    <a:pt x="11241728" y="1526162"/>
                    <a:pt x="11247508" y="1522003"/>
                  </a:cubicBezTo>
                  <a:close/>
                  <a:moveTo>
                    <a:pt x="11103383" y="1522003"/>
                  </a:moveTo>
                  <a:lnTo>
                    <a:pt x="11118289" y="1522003"/>
                  </a:lnTo>
                  <a:lnTo>
                    <a:pt x="11118289" y="1744984"/>
                  </a:lnTo>
                  <a:lnTo>
                    <a:pt x="11083001" y="1744984"/>
                  </a:lnTo>
                  <a:lnTo>
                    <a:pt x="11083001" y="1565200"/>
                  </a:lnTo>
                  <a:cubicBezTo>
                    <a:pt x="11076613" y="1569764"/>
                    <a:pt x="11069743" y="1573641"/>
                    <a:pt x="11062392" y="1576836"/>
                  </a:cubicBezTo>
                  <a:cubicBezTo>
                    <a:pt x="11055040" y="1580031"/>
                    <a:pt x="11046649" y="1582843"/>
                    <a:pt x="11037219" y="1585278"/>
                  </a:cubicBezTo>
                  <a:lnTo>
                    <a:pt x="11037219" y="1555161"/>
                  </a:lnTo>
                  <a:cubicBezTo>
                    <a:pt x="11043100" y="1553236"/>
                    <a:pt x="11048779" y="1551207"/>
                    <a:pt x="11054254" y="1549078"/>
                  </a:cubicBezTo>
                  <a:cubicBezTo>
                    <a:pt x="11059730" y="1546948"/>
                    <a:pt x="11065130" y="1544566"/>
                    <a:pt x="11070453" y="1541929"/>
                  </a:cubicBezTo>
                  <a:cubicBezTo>
                    <a:pt x="11075777" y="1539292"/>
                    <a:pt x="11081151" y="1536351"/>
                    <a:pt x="11086576" y="1533106"/>
                  </a:cubicBezTo>
                  <a:cubicBezTo>
                    <a:pt x="11092001" y="1529862"/>
                    <a:pt x="11097603" y="1526162"/>
                    <a:pt x="11103383" y="1522003"/>
                  </a:cubicBezTo>
                  <a:close/>
                  <a:moveTo>
                    <a:pt x="10959258" y="1522003"/>
                  </a:moveTo>
                  <a:lnTo>
                    <a:pt x="10974164" y="1522003"/>
                  </a:lnTo>
                  <a:lnTo>
                    <a:pt x="10974164" y="1744984"/>
                  </a:lnTo>
                  <a:lnTo>
                    <a:pt x="10938876" y="1744984"/>
                  </a:lnTo>
                  <a:lnTo>
                    <a:pt x="10938876" y="1565200"/>
                  </a:lnTo>
                  <a:cubicBezTo>
                    <a:pt x="10932488" y="1569764"/>
                    <a:pt x="10925618" y="1573641"/>
                    <a:pt x="10918267" y="1576836"/>
                  </a:cubicBezTo>
                  <a:cubicBezTo>
                    <a:pt x="10910915" y="1580031"/>
                    <a:pt x="10902524" y="1582843"/>
                    <a:pt x="10893094" y="1585278"/>
                  </a:cubicBezTo>
                  <a:lnTo>
                    <a:pt x="10893094" y="1555161"/>
                  </a:lnTo>
                  <a:cubicBezTo>
                    <a:pt x="10898975" y="1553236"/>
                    <a:pt x="10904654" y="1551207"/>
                    <a:pt x="10910129" y="1549078"/>
                  </a:cubicBezTo>
                  <a:cubicBezTo>
                    <a:pt x="10915605" y="1546948"/>
                    <a:pt x="10921005" y="1544566"/>
                    <a:pt x="10926328" y="1541929"/>
                  </a:cubicBezTo>
                  <a:cubicBezTo>
                    <a:pt x="10931652" y="1539292"/>
                    <a:pt x="10937026" y="1536351"/>
                    <a:pt x="10942451" y="1533106"/>
                  </a:cubicBezTo>
                  <a:cubicBezTo>
                    <a:pt x="10947876" y="1529862"/>
                    <a:pt x="10953478" y="1526162"/>
                    <a:pt x="10959258" y="1522003"/>
                  </a:cubicBezTo>
                  <a:close/>
                  <a:moveTo>
                    <a:pt x="10571025" y="1522003"/>
                  </a:moveTo>
                  <a:lnTo>
                    <a:pt x="10585931" y="1522003"/>
                  </a:lnTo>
                  <a:lnTo>
                    <a:pt x="10585931" y="1744984"/>
                  </a:lnTo>
                  <a:lnTo>
                    <a:pt x="10550643" y="1744984"/>
                  </a:lnTo>
                  <a:lnTo>
                    <a:pt x="10550643" y="1565200"/>
                  </a:lnTo>
                  <a:cubicBezTo>
                    <a:pt x="10544255" y="1569764"/>
                    <a:pt x="10537385" y="1573641"/>
                    <a:pt x="10530034" y="1576836"/>
                  </a:cubicBezTo>
                  <a:cubicBezTo>
                    <a:pt x="10522682" y="1580031"/>
                    <a:pt x="10514291" y="1582843"/>
                    <a:pt x="10504861" y="1585278"/>
                  </a:cubicBezTo>
                  <a:lnTo>
                    <a:pt x="10504861" y="1555161"/>
                  </a:lnTo>
                  <a:cubicBezTo>
                    <a:pt x="10510742" y="1553236"/>
                    <a:pt x="10516421" y="1551207"/>
                    <a:pt x="10521896" y="1549078"/>
                  </a:cubicBezTo>
                  <a:cubicBezTo>
                    <a:pt x="10527372" y="1546948"/>
                    <a:pt x="10532772" y="1544566"/>
                    <a:pt x="10538095" y="1541929"/>
                  </a:cubicBezTo>
                  <a:cubicBezTo>
                    <a:pt x="10543419" y="1539292"/>
                    <a:pt x="10548793" y="1536351"/>
                    <a:pt x="10554218" y="1533106"/>
                  </a:cubicBezTo>
                  <a:cubicBezTo>
                    <a:pt x="10559643" y="1529862"/>
                    <a:pt x="10565245" y="1526162"/>
                    <a:pt x="10571025" y="1522003"/>
                  </a:cubicBezTo>
                  <a:close/>
                  <a:moveTo>
                    <a:pt x="10304917" y="1522003"/>
                  </a:moveTo>
                  <a:lnTo>
                    <a:pt x="10319823" y="1522003"/>
                  </a:lnTo>
                  <a:lnTo>
                    <a:pt x="10319823" y="1744984"/>
                  </a:lnTo>
                  <a:lnTo>
                    <a:pt x="10284535" y="1744984"/>
                  </a:lnTo>
                  <a:lnTo>
                    <a:pt x="10284535" y="1565200"/>
                  </a:lnTo>
                  <a:cubicBezTo>
                    <a:pt x="10278147" y="1569764"/>
                    <a:pt x="10271277" y="1573641"/>
                    <a:pt x="10263926" y="1576836"/>
                  </a:cubicBezTo>
                  <a:cubicBezTo>
                    <a:pt x="10256574" y="1580031"/>
                    <a:pt x="10248183" y="1582843"/>
                    <a:pt x="10238753" y="1585278"/>
                  </a:cubicBezTo>
                  <a:lnTo>
                    <a:pt x="10238753" y="1555161"/>
                  </a:lnTo>
                  <a:cubicBezTo>
                    <a:pt x="10244634" y="1553236"/>
                    <a:pt x="10250313" y="1551207"/>
                    <a:pt x="10255788" y="1549078"/>
                  </a:cubicBezTo>
                  <a:cubicBezTo>
                    <a:pt x="10261264" y="1546948"/>
                    <a:pt x="10266664" y="1544566"/>
                    <a:pt x="10271987" y="1541929"/>
                  </a:cubicBezTo>
                  <a:cubicBezTo>
                    <a:pt x="10277311" y="1539292"/>
                    <a:pt x="10282685" y="1536351"/>
                    <a:pt x="10288110" y="1533106"/>
                  </a:cubicBezTo>
                  <a:cubicBezTo>
                    <a:pt x="10293535" y="1529862"/>
                    <a:pt x="10299137" y="1526162"/>
                    <a:pt x="10304917" y="1522003"/>
                  </a:cubicBezTo>
                  <a:close/>
                  <a:moveTo>
                    <a:pt x="9693318" y="1522003"/>
                  </a:moveTo>
                  <a:lnTo>
                    <a:pt x="9708224" y="1522003"/>
                  </a:lnTo>
                  <a:lnTo>
                    <a:pt x="9708224" y="1744984"/>
                  </a:lnTo>
                  <a:lnTo>
                    <a:pt x="9672936" y="1744984"/>
                  </a:lnTo>
                  <a:lnTo>
                    <a:pt x="9672936" y="1565200"/>
                  </a:lnTo>
                  <a:cubicBezTo>
                    <a:pt x="9666548" y="1569764"/>
                    <a:pt x="9659678" y="1573641"/>
                    <a:pt x="9652327" y="1576836"/>
                  </a:cubicBezTo>
                  <a:cubicBezTo>
                    <a:pt x="9644975" y="1580031"/>
                    <a:pt x="9636584" y="1582843"/>
                    <a:pt x="9627154" y="1585278"/>
                  </a:cubicBezTo>
                  <a:lnTo>
                    <a:pt x="9627154" y="1555161"/>
                  </a:lnTo>
                  <a:cubicBezTo>
                    <a:pt x="9633035" y="1553236"/>
                    <a:pt x="9638714" y="1551207"/>
                    <a:pt x="9644189" y="1549078"/>
                  </a:cubicBezTo>
                  <a:cubicBezTo>
                    <a:pt x="9649665" y="1546948"/>
                    <a:pt x="9655065" y="1544566"/>
                    <a:pt x="9660388" y="1541929"/>
                  </a:cubicBezTo>
                  <a:cubicBezTo>
                    <a:pt x="9665712" y="1539292"/>
                    <a:pt x="9671086" y="1536351"/>
                    <a:pt x="9676511" y="1533106"/>
                  </a:cubicBezTo>
                  <a:cubicBezTo>
                    <a:pt x="9681936" y="1529862"/>
                    <a:pt x="9687538" y="1526162"/>
                    <a:pt x="9693318" y="1522003"/>
                  </a:cubicBezTo>
                  <a:close/>
                  <a:moveTo>
                    <a:pt x="9427210" y="1522003"/>
                  </a:moveTo>
                  <a:lnTo>
                    <a:pt x="9442116" y="1522003"/>
                  </a:lnTo>
                  <a:lnTo>
                    <a:pt x="9442116" y="1744984"/>
                  </a:lnTo>
                  <a:lnTo>
                    <a:pt x="9406828" y="1744984"/>
                  </a:lnTo>
                  <a:lnTo>
                    <a:pt x="9406828" y="1565200"/>
                  </a:lnTo>
                  <a:cubicBezTo>
                    <a:pt x="9400440" y="1569764"/>
                    <a:pt x="9393570" y="1573641"/>
                    <a:pt x="9386219" y="1576836"/>
                  </a:cubicBezTo>
                  <a:cubicBezTo>
                    <a:pt x="9378867" y="1580031"/>
                    <a:pt x="9370476" y="1582843"/>
                    <a:pt x="9361046" y="1585278"/>
                  </a:cubicBezTo>
                  <a:lnTo>
                    <a:pt x="9361046" y="1555161"/>
                  </a:lnTo>
                  <a:cubicBezTo>
                    <a:pt x="9366927" y="1553236"/>
                    <a:pt x="9372606" y="1551207"/>
                    <a:pt x="9378081" y="1549078"/>
                  </a:cubicBezTo>
                  <a:cubicBezTo>
                    <a:pt x="9383557" y="1546948"/>
                    <a:pt x="9388957" y="1544566"/>
                    <a:pt x="9394280" y="1541929"/>
                  </a:cubicBezTo>
                  <a:cubicBezTo>
                    <a:pt x="9399604" y="1539292"/>
                    <a:pt x="9404978" y="1536351"/>
                    <a:pt x="9410403" y="1533106"/>
                  </a:cubicBezTo>
                  <a:cubicBezTo>
                    <a:pt x="9415828" y="1529862"/>
                    <a:pt x="9421430" y="1526162"/>
                    <a:pt x="9427210" y="1522003"/>
                  </a:cubicBezTo>
                  <a:close/>
                  <a:moveTo>
                    <a:pt x="8820863" y="1522003"/>
                  </a:moveTo>
                  <a:lnTo>
                    <a:pt x="8835769" y="1522003"/>
                  </a:lnTo>
                  <a:lnTo>
                    <a:pt x="8835769" y="1744984"/>
                  </a:lnTo>
                  <a:lnTo>
                    <a:pt x="8800481" y="1744984"/>
                  </a:lnTo>
                  <a:lnTo>
                    <a:pt x="8800481" y="1565200"/>
                  </a:lnTo>
                  <a:cubicBezTo>
                    <a:pt x="8794093" y="1569764"/>
                    <a:pt x="8787223" y="1573641"/>
                    <a:pt x="8779872" y="1576836"/>
                  </a:cubicBezTo>
                  <a:cubicBezTo>
                    <a:pt x="8772520" y="1580031"/>
                    <a:pt x="8764129" y="1582843"/>
                    <a:pt x="8754699" y="1585278"/>
                  </a:cubicBezTo>
                  <a:lnTo>
                    <a:pt x="8754699" y="1555161"/>
                  </a:lnTo>
                  <a:cubicBezTo>
                    <a:pt x="8760580" y="1553236"/>
                    <a:pt x="8766259" y="1551207"/>
                    <a:pt x="8771734" y="1549078"/>
                  </a:cubicBezTo>
                  <a:cubicBezTo>
                    <a:pt x="8777210" y="1546948"/>
                    <a:pt x="8782610" y="1544566"/>
                    <a:pt x="8787933" y="1541929"/>
                  </a:cubicBezTo>
                  <a:cubicBezTo>
                    <a:pt x="8793257" y="1539292"/>
                    <a:pt x="8798631" y="1536351"/>
                    <a:pt x="8804056" y="1533106"/>
                  </a:cubicBezTo>
                  <a:cubicBezTo>
                    <a:pt x="8809481" y="1529862"/>
                    <a:pt x="8815083" y="1526162"/>
                    <a:pt x="8820863" y="1522003"/>
                  </a:cubicBezTo>
                  <a:close/>
                  <a:moveTo>
                    <a:pt x="8554755" y="1522003"/>
                  </a:moveTo>
                  <a:lnTo>
                    <a:pt x="8569661" y="1522003"/>
                  </a:lnTo>
                  <a:lnTo>
                    <a:pt x="8569661" y="1744984"/>
                  </a:lnTo>
                  <a:lnTo>
                    <a:pt x="8534373" y="1744984"/>
                  </a:lnTo>
                  <a:lnTo>
                    <a:pt x="8534373" y="1565200"/>
                  </a:lnTo>
                  <a:cubicBezTo>
                    <a:pt x="8527985" y="1569764"/>
                    <a:pt x="8521115" y="1573641"/>
                    <a:pt x="8513764" y="1576836"/>
                  </a:cubicBezTo>
                  <a:cubicBezTo>
                    <a:pt x="8506412" y="1580031"/>
                    <a:pt x="8498021" y="1582843"/>
                    <a:pt x="8488591" y="1585278"/>
                  </a:cubicBezTo>
                  <a:lnTo>
                    <a:pt x="8488591" y="1555161"/>
                  </a:lnTo>
                  <a:cubicBezTo>
                    <a:pt x="8494472" y="1553236"/>
                    <a:pt x="8500151" y="1551207"/>
                    <a:pt x="8505626" y="1549078"/>
                  </a:cubicBezTo>
                  <a:cubicBezTo>
                    <a:pt x="8511102" y="1546948"/>
                    <a:pt x="8516502" y="1544566"/>
                    <a:pt x="8521825" y="1541929"/>
                  </a:cubicBezTo>
                  <a:cubicBezTo>
                    <a:pt x="8527149" y="1539292"/>
                    <a:pt x="8532523" y="1536351"/>
                    <a:pt x="8537948" y="1533106"/>
                  </a:cubicBezTo>
                  <a:cubicBezTo>
                    <a:pt x="8543373" y="1529862"/>
                    <a:pt x="8548975" y="1526162"/>
                    <a:pt x="8554755" y="1522003"/>
                  </a:cubicBezTo>
                  <a:close/>
                  <a:moveTo>
                    <a:pt x="8142987" y="1522003"/>
                  </a:moveTo>
                  <a:lnTo>
                    <a:pt x="8157894" y="1522003"/>
                  </a:lnTo>
                  <a:lnTo>
                    <a:pt x="8157894" y="1744984"/>
                  </a:lnTo>
                  <a:lnTo>
                    <a:pt x="8122606" y="1744984"/>
                  </a:lnTo>
                  <a:lnTo>
                    <a:pt x="8122606" y="1565200"/>
                  </a:lnTo>
                  <a:cubicBezTo>
                    <a:pt x="8116218" y="1569764"/>
                    <a:pt x="8109348" y="1573641"/>
                    <a:pt x="8101996" y="1576836"/>
                  </a:cubicBezTo>
                  <a:cubicBezTo>
                    <a:pt x="8094645" y="1580031"/>
                    <a:pt x="8086254" y="1582843"/>
                    <a:pt x="8076824" y="1585278"/>
                  </a:cubicBezTo>
                  <a:lnTo>
                    <a:pt x="8076824" y="1555161"/>
                  </a:lnTo>
                  <a:cubicBezTo>
                    <a:pt x="8082705" y="1553236"/>
                    <a:pt x="8088383" y="1551207"/>
                    <a:pt x="8093859" y="1549078"/>
                  </a:cubicBezTo>
                  <a:cubicBezTo>
                    <a:pt x="8099335" y="1546948"/>
                    <a:pt x="8104734" y="1544566"/>
                    <a:pt x="8110058" y="1541929"/>
                  </a:cubicBezTo>
                  <a:cubicBezTo>
                    <a:pt x="8115381" y="1539292"/>
                    <a:pt x="8120756" y="1536351"/>
                    <a:pt x="8126180" y="1533106"/>
                  </a:cubicBezTo>
                  <a:cubicBezTo>
                    <a:pt x="8131606" y="1529862"/>
                    <a:pt x="8137208" y="1526162"/>
                    <a:pt x="8142987" y="1522003"/>
                  </a:cubicBezTo>
                  <a:close/>
                  <a:moveTo>
                    <a:pt x="8009933" y="1522003"/>
                  </a:moveTo>
                  <a:lnTo>
                    <a:pt x="8024840" y="1522003"/>
                  </a:lnTo>
                  <a:lnTo>
                    <a:pt x="8024840" y="1744984"/>
                  </a:lnTo>
                  <a:lnTo>
                    <a:pt x="7989552" y="1744984"/>
                  </a:lnTo>
                  <a:lnTo>
                    <a:pt x="7989552" y="1565200"/>
                  </a:lnTo>
                  <a:cubicBezTo>
                    <a:pt x="7983164" y="1569764"/>
                    <a:pt x="7976294" y="1573641"/>
                    <a:pt x="7968942" y="1576836"/>
                  </a:cubicBezTo>
                  <a:cubicBezTo>
                    <a:pt x="7961591" y="1580031"/>
                    <a:pt x="7953200" y="1582843"/>
                    <a:pt x="7943770" y="1585278"/>
                  </a:cubicBezTo>
                  <a:lnTo>
                    <a:pt x="7943770" y="1555161"/>
                  </a:lnTo>
                  <a:cubicBezTo>
                    <a:pt x="7949651" y="1553236"/>
                    <a:pt x="7955329" y="1551207"/>
                    <a:pt x="7960805" y="1549078"/>
                  </a:cubicBezTo>
                  <a:cubicBezTo>
                    <a:pt x="7966281" y="1546948"/>
                    <a:pt x="7971680" y="1544566"/>
                    <a:pt x="7977004" y="1541929"/>
                  </a:cubicBezTo>
                  <a:cubicBezTo>
                    <a:pt x="7982327" y="1539292"/>
                    <a:pt x="7987702" y="1536351"/>
                    <a:pt x="7993126" y="1533106"/>
                  </a:cubicBezTo>
                  <a:cubicBezTo>
                    <a:pt x="7998552" y="1529862"/>
                    <a:pt x="8004154" y="1526162"/>
                    <a:pt x="8009933" y="1522003"/>
                  </a:cubicBezTo>
                  <a:close/>
                  <a:moveTo>
                    <a:pt x="7876879" y="1522003"/>
                  </a:moveTo>
                  <a:lnTo>
                    <a:pt x="7891786" y="1522003"/>
                  </a:lnTo>
                  <a:lnTo>
                    <a:pt x="7891786" y="1744984"/>
                  </a:lnTo>
                  <a:lnTo>
                    <a:pt x="7856498" y="1744984"/>
                  </a:lnTo>
                  <a:lnTo>
                    <a:pt x="7856498" y="1565200"/>
                  </a:lnTo>
                  <a:cubicBezTo>
                    <a:pt x="7850110" y="1569764"/>
                    <a:pt x="7843240" y="1573641"/>
                    <a:pt x="7835888" y="1576836"/>
                  </a:cubicBezTo>
                  <a:cubicBezTo>
                    <a:pt x="7828537" y="1580031"/>
                    <a:pt x="7820146" y="1582843"/>
                    <a:pt x="7810716" y="1585278"/>
                  </a:cubicBezTo>
                  <a:lnTo>
                    <a:pt x="7810716" y="1555161"/>
                  </a:lnTo>
                  <a:cubicBezTo>
                    <a:pt x="7816597" y="1553236"/>
                    <a:pt x="7822275" y="1551207"/>
                    <a:pt x="7827751" y="1549078"/>
                  </a:cubicBezTo>
                  <a:cubicBezTo>
                    <a:pt x="7833227" y="1546948"/>
                    <a:pt x="7838626" y="1544566"/>
                    <a:pt x="7843950" y="1541929"/>
                  </a:cubicBezTo>
                  <a:cubicBezTo>
                    <a:pt x="7849273" y="1539292"/>
                    <a:pt x="7854648" y="1536351"/>
                    <a:pt x="7860072" y="1533106"/>
                  </a:cubicBezTo>
                  <a:cubicBezTo>
                    <a:pt x="7865498" y="1529862"/>
                    <a:pt x="7871100" y="1526162"/>
                    <a:pt x="7876879" y="1522003"/>
                  </a:cubicBezTo>
                  <a:close/>
                  <a:moveTo>
                    <a:pt x="7734267" y="1522003"/>
                  </a:moveTo>
                  <a:lnTo>
                    <a:pt x="7749174" y="1522003"/>
                  </a:lnTo>
                  <a:lnTo>
                    <a:pt x="7749174" y="1744984"/>
                  </a:lnTo>
                  <a:lnTo>
                    <a:pt x="7713886" y="1744984"/>
                  </a:lnTo>
                  <a:lnTo>
                    <a:pt x="7713886" y="1565200"/>
                  </a:lnTo>
                  <a:cubicBezTo>
                    <a:pt x="7707498" y="1569764"/>
                    <a:pt x="7700628" y="1573641"/>
                    <a:pt x="7693276" y="1576836"/>
                  </a:cubicBezTo>
                  <a:cubicBezTo>
                    <a:pt x="7685925" y="1580031"/>
                    <a:pt x="7677534" y="1582843"/>
                    <a:pt x="7668104" y="1585278"/>
                  </a:cubicBezTo>
                  <a:lnTo>
                    <a:pt x="7668104" y="1555161"/>
                  </a:lnTo>
                  <a:cubicBezTo>
                    <a:pt x="7673985" y="1553236"/>
                    <a:pt x="7679663" y="1551207"/>
                    <a:pt x="7685139" y="1549078"/>
                  </a:cubicBezTo>
                  <a:cubicBezTo>
                    <a:pt x="7690615" y="1546948"/>
                    <a:pt x="7696014" y="1544566"/>
                    <a:pt x="7701338" y="1541929"/>
                  </a:cubicBezTo>
                  <a:cubicBezTo>
                    <a:pt x="7706661" y="1539292"/>
                    <a:pt x="7712036" y="1536351"/>
                    <a:pt x="7717460" y="1533106"/>
                  </a:cubicBezTo>
                  <a:cubicBezTo>
                    <a:pt x="7722886" y="1529862"/>
                    <a:pt x="7728488" y="1526162"/>
                    <a:pt x="7734267" y="1522003"/>
                  </a:cubicBezTo>
                  <a:close/>
                  <a:moveTo>
                    <a:pt x="6986927" y="1522003"/>
                  </a:moveTo>
                  <a:lnTo>
                    <a:pt x="7001834" y="1522003"/>
                  </a:lnTo>
                  <a:lnTo>
                    <a:pt x="7001834" y="1744984"/>
                  </a:lnTo>
                  <a:lnTo>
                    <a:pt x="6966546" y="1744984"/>
                  </a:lnTo>
                  <a:lnTo>
                    <a:pt x="6966546" y="1565200"/>
                  </a:lnTo>
                  <a:cubicBezTo>
                    <a:pt x="6960158" y="1569764"/>
                    <a:pt x="6953288" y="1573641"/>
                    <a:pt x="6945936" y="1576836"/>
                  </a:cubicBezTo>
                  <a:cubicBezTo>
                    <a:pt x="6938585" y="1580031"/>
                    <a:pt x="6930194" y="1582843"/>
                    <a:pt x="6920764" y="1585278"/>
                  </a:cubicBezTo>
                  <a:lnTo>
                    <a:pt x="6920764" y="1555161"/>
                  </a:lnTo>
                  <a:cubicBezTo>
                    <a:pt x="6926645" y="1553236"/>
                    <a:pt x="6932323" y="1551207"/>
                    <a:pt x="6937799" y="1549078"/>
                  </a:cubicBezTo>
                  <a:cubicBezTo>
                    <a:pt x="6943275" y="1546948"/>
                    <a:pt x="6948674" y="1544566"/>
                    <a:pt x="6953998" y="1541929"/>
                  </a:cubicBezTo>
                  <a:cubicBezTo>
                    <a:pt x="6959321" y="1539292"/>
                    <a:pt x="6964696" y="1536351"/>
                    <a:pt x="6970120" y="1533106"/>
                  </a:cubicBezTo>
                  <a:cubicBezTo>
                    <a:pt x="6975546" y="1529862"/>
                    <a:pt x="6981148" y="1526162"/>
                    <a:pt x="6986927" y="1522003"/>
                  </a:cubicBezTo>
                  <a:close/>
                  <a:moveTo>
                    <a:pt x="6842801" y="1522003"/>
                  </a:moveTo>
                  <a:lnTo>
                    <a:pt x="6857708" y="1522003"/>
                  </a:lnTo>
                  <a:lnTo>
                    <a:pt x="6857708" y="1744984"/>
                  </a:lnTo>
                  <a:lnTo>
                    <a:pt x="6822420" y="1744984"/>
                  </a:lnTo>
                  <a:lnTo>
                    <a:pt x="6822420" y="1565200"/>
                  </a:lnTo>
                  <a:cubicBezTo>
                    <a:pt x="6816032" y="1569764"/>
                    <a:pt x="6809162" y="1573641"/>
                    <a:pt x="6801810" y="1576836"/>
                  </a:cubicBezTo>
                  <a:cubicBezTo>
                    <a:pt x="6794459" y="1580031"/>
                    <a:pt x="6786068" y="1582843"/>
                    <a:pt x="6776638" y="1585278"/>
                  </a:cubicBezTo>
                  <a:lnTo>
                    <a:pt x="6776638" y="1555161"/>
                  </a:lnTo>
                  <a:cubicBezTo>
                    <a:pt x="6782519" y="1553236"/>
                    <a:pt x="6788197" y="1551207"/>
                    <a:pt x="6793673" y="1549078"/>
                  </a:cubicBezTo>
                  <a:cubicBezTo>
                    <a:pt x="6799149" y="1546948"/>
                    <a:pt x="6804548" y="1544566"/>
                    <a:pt x="6809872" y="1541929"/>
                  </a:cubicBezTo>
                  <a:cubicBezTo>
                    <a:pt x="6815195" y="1539292"/>
                    <a:pt x="6820570" y="1536351"/>
                    <a:pt x="6825994" y="1533106"/>
                  </a:cubicBezTo>
                  <a:cubicBezTo>
                    <a:pt x="6831420" y="1529862"/>
                    <a:pt x="6837022" y="1526162"/>
                    <a:pt x="6842801" y="1522003"/>
                  </a:cubicBezTo>
                  <a:close/>
                  <a:moveTo>
                    <a:pt x="6150824" y="1522003"/>
                  </a:moveTo>
                  <a:lnTo>
                    <a:pt x="6165731" y="1522003"/>
                  </a:lnTo>
                  <a:lnTo>
                    <a:pt x="6165731" y="1744984"/>
                  </a:lnTo>
                  <a:lnTo>
                    <a:pt x="6130443" y="1744984"/>
                  </a:lnTo>
                  <a:lnTo>
                    <a:pt x="6130443" y="1565200"/>
                  </a:lnTo>
                  <a:cubicBezTo>
                    <a:pt x="6124055" y="1569764"/>
                    <a:pt x="6117185" y="1573641"/>
                    <a:pt x="6109833" y="1576836"/>
                  </a:cubicBezTo>
                  <a:cubicBezTo>
                    <a:pt x="6102482" y="1580031"/>
                    <a:pt x="6094091" y="1582843"/>
                    <a:pt x="6084661" y="1585278"/>
                  </a:cubicBezTo>
                  <a:lnTo>
                    <a:pt x="6084661" y="1555161"/>
                  </a:lnTo>
                  <a:cubicBezTo>
                    <a:pt x="6090542" y="1553236"/>
                    <a:pt x="6096220" y="1551207"/>
                    <a:pt x="6101696" y="1549078"/>
                  </a:cubicBezTo>
                  <a:cubicBezTo>
                    <a:pt x="6107172" y="1546948"/>
                    <a:pt x="6112571" y="1544566"/>
                    <a:pt x="6117895" y="1541929"/>
                  </a:cubicBezTo>
                  <a:cubicBezTo>
                    <a:pt x="6123218" y="1539292"/>
                    <a:pt x="6128593" y="1536351"/>
                    <a:pt x="6134017" y="1533106"/>
                  </a:cubicBezTo>
                  <a:cubicBezTo>
                    <a:pt x="6139443" y="1529862"/>
                    <a:pt x="6145045" y="1526162"/>
                    <a:pt x="6150824" y="1522003"/>
                  </a:cubicBezTo>
                  <a:close/>
                  <a:moveTo>
                    <a:pt x="5862574" y="1522003"/>
                  </a:moveTo>
                  <a:lnTo>
                    <a:pt x="5877481" y="1522003"/>
                  </a:lnTo>
                  <a:lnTo>
                    <a:pt x="5877481" y="1744984"/>
                  </a:lnTo>
                  <a:lnTo>
                    <a:pt x="5842193" y="1744984"/>
                  </a:lnTo>
                  <a:lnTo>
                    <a:pt x="5842193" y="1565200"/>
                  </a:lnTo>
                  <a:cubicBezTo>
                    <a:pt x="5835804" y="1569764"/>
                    <a:pt x="5828935" y="1573641"/>
                    <a:pt x="5821582" y="1576836"/>
                  </a:cubicBezTo>
                  <a:cubicBezTo>
                    <a:pt x="5814232" y="1580031"/>
                    <a:pt x="5805840" y="1582843"/>
                    <a:pt x="5796410" y="1585278"/>
                  </a:cubicBezTo>
                  <a:lnTo>
                    <a:pt x="5796410" y="1555161"/>
                  </a:lnTo>
                  <a:cubicBezTo>
                    <a:pt x="5802291" y="1553236"/>
                    <a:pt x="5807969" y="1551207"/>
                    <a:pt x="5813446" y="1549078"/>
                  </a:cubicBezTo>
                  <a:cubicBezTo>
                    <a:pt x="5818921" y="1546948"/>
                    <a:pt x="5824321" y="1544566"/>
                    <a:pt x="5829644" y="1541929"/>
                  </a:cubicBezTo>
                  <a:cubicBezTo>
                    <a:pt x="5834968" y="1539292"/>
                    <a:pt x="5840342" y="1536351"/>
                    <a:pt x="5845767" y="1533106"/>
                  </a:cubicBezTo>
                  <a:cubicBezTo>
                    <a:pt x="5851192" y="1529862"/>
                    <a:pt x="5856794" y="1526162"/>
                    <a:pt x="5862574" y="1522003"/>
                  </a:cubicBezTo>
                  <a:close/>
                  <a:moveTo>
                    <a:pt x="5479705" y="1522003"/>
                  </a:moveTo>
                  <a:lnTo>
                    <a:pt x="5494612" y="1522003"/>
                  </a:lnTo>
                  <a:lnTo>
                    <a:pt x="5494612" y="1744984"/>
                  </a:lnTo>
                  <a:lnTo>
                    <a:pt x="5459325" y="1744984"/>
                  </a:lnTo>
                  <a:lnTo>
                    <a:pt x="5459325" y="1565200"/>
                  </a:lnTo>
                  <a:cubicBezTo>
                    <a:pt x="5452937" y="1569764"/>
                    <a:pt x="5446067" y="1573641"/>
                    <a:pt x="5438715" y="1576836"/>
                  </a:cubicBezTo>
                  <a:cubicBezTo>
                    <a:pt x="5431364" y="1580031"/>
                    <a:pt x="5422973" y="1582843"/>
                    <a:pt x="5413543" y="1585278"/>
                  </a:cubicBezTo>
                  <a:lnTo>
                    <a:pt x="5413543" y="1555161"/>
                  </a:lnTo>
                  <a:cubicBezTo>
                    <a:pt x="5419424" y="1553236"/>
                    <a:pt x="5425102" y="1551207"/>
                    <a:pt x="5430578" y="1549078"/>
                  </a:cubicBezTo>
                  <a:cubicBezTo>
                    <a:pt x="5436054" y="1546948"/>
                    <a:pt x="5441453" y="1544566"/>
                    <a:pt x="5446777" y="1541929"/>
                  </a:cubicBezTo>
                  <a:cubicBezTo>
                    <a:pt x="5452100" y="1539292"/>
                    <a:pt x="5457475" y="1536351"/>
                    <a:pt x="5462898" y="1533106"/>
                  </a:cubicBezTo>
                  <a:cubicBezTo>
                    <a:pt x="5468325" y="1529862"/>
                    <a:pt x="5473927" y="1526162"/>
                    <a:pt x="5479705" y="1522003"/>
                  </a:cubicBezTo>
                  <a:close/>
                  <a:moveTo>
                    <a:pt x="5335580" y="1522003"/>
                  </a:moveTo>
                  <a:lnTo>
                    <a:pt x="5350487" y="1522003"/>
                  </a:lnTo>
                  <a:lnTo>
                    <a:pt x="5350487" y="1744984"/>
                  </a:lnTo>
                  <a:lnTo>
                    <a:pt x="5315199" y="1744984"/>
                  </a:lnTo>
                  <a:lnTo>
                    <a:pt x="5315199" y="1565200"/>
                  </a:lnTo>
                  <a:cubicBezTo>
                    <a:pt x="5308810" y="1569764"/>
                    <a:pt x="5301941" y="1573641"/>
                    <a:pt x="5294589" y="1576836"/>
                  </a:cubicBezTo>
                  <a:cubicBezTo>
                    <a:pt x="5287238" y="1580031"/>
                    <a:pt x="5278847" y="1582843"/>
                    <a:pt x="5269417" y="1585278"/>
                  </a:cubicBezTo>
                  <a:lnTo>
                    <a:pt x="5269417" y="1555161"/>
                  </a:lnTo>
                  <a:cubicBezTo>
                    <a:pt x="5275298" y="1553236"/>
                    <a:pt x="5280976" y="1551207"/>
                    <a:pt x="5286452" y="1549078"/>
                  </a:cubicBezTo>
                  <a:cubicBezTo>
                    <a:pt x="5291928" y="1546948"/>
                    <a:pt x="5297327" y="1544566"/>
                    <a:pt x="5302650" y="1541929"/>
                  </a:cubicBezTo>
                  <a:cubicBezTo>
                    <a:pt x="5307974" y="1539292"/>
                    <a:pt x="5313349" y="1536351"/>
                    <a:pt x="5318773" y="1533106"/>
                  </a:cubicBezTo>
                  <a:cubicBezTo>
                    <a:pt x="5324198" y="1529862"/>
                    <a:pt x="5329801" y="1526162"/>
                    <a:pt x="5335580" y="1522003"/>
                  </a:cubicBezTo>
                  <a:close/>
                  <a:moveTo>
                    <a:pt x="5191455" y="1522003"/>
                  </a:moveTo>
                  <a:lnTo>
                    <a:pt x="5206362" y="1522003"/>
                  </a:lnTo>
                  <a:lnTo>
                    <a:pt x="5206362" y="1744984"/>
                  </a:lnTo>
                  <a:lnTo>
                    <a:pt x="5171074" y="1744984"/>
                  </a:lnTo>
                  <a:lnTo>
                    <a:pt x="5171074" y="1565200"/>
                  </a:lnTo>
                  <a:cubicBezTo>
                    <a:pt x="5164686" y="1569764"/>
                    <a:pt x="5157816" y="1573641"/>
                    <a:pt x="5150464" y="1576836"/>
                  </a:cubicBezTo>
                  <a:cubicBezTo>
                    <a:pt x="5143113" y="1580031"/>
                    <a:pt x="5134721" y="1582843"/>
                    <a:pt x="5125291" y="1585278"/>
                  </a:cubicBezTo>
                  <a:lnTo>
                    <a:pt x="5125291" y="1555161"/>
                  </a:lnTo>
                  <a:cubicBezTo>
                    <a:pt x="5131172" y="1553236"/>
                    <a:pt x="5136851" y="1551207"/>
                    <a:pt x="5142326" y="1549078"/>
                  </a:cubicBezTo>
                  <a:cubicBezTo>
                    <a:pt x="5147803" y="1546948"/>
                    <a:pt x="5153202" y="1544566"/>
                    <a:pt x="5158526" y="1541929"/>
                  </a:cubicBezTo>
                  <a:cubicBezTo>
                    <a:pt x="5163848" y="1539292"/>
                    <a:pt x="5169223" y="1536351"/>
                    <a:pt x="5174648" y="1533106"/>
                  </a:cubicBezTo>
                  <a:cubicBezTo>
                    <a:pt x="5180074" y="1529862"/>
                    <a:pt x="5185676" y="1526162"/>
                    <a:pt x="5191455" y="1522003"/>
                  </a:cubicBezTo>
                  <a:close/>
                  <a:moveTo>
                    <a:pt x="5047329" y="1522003"/>
                  </a:moveTo>
                  <a:lnTo>
                    <a:pt x="5062237" y="1522003"/>
                  </a:lnTo>
                  <a:lnTo>
                    <a:pt x="5062237" y="1744984"/>
                  </a:lnTo>
                  <a:lnTo>
                    <a:pt x="5026949" y="1744984"/>
                  </a:lnTo>
                  <a:lnTo>
                    <a:pt x="5026949" y="1565200"/>
                  </a:lnTo>
                  <a:cubicBezTo>
                    <a:pt x="5020561" y="1569764"/>
                    <a:pt x="5013691" y="1573641"/>
                    <a:pt x="5006339" y="1576836"/>
                  </a:cubicBezTo>
                  <a:cubicBezTo>
                    <a:pt x="4998988" y="1580031"/>
                    <a:pt x="4990597" y="1582843"/>
                    <a:pt x="4981166" y="1585278"/>
                  </a:cubicBezTo>
                  <a:lnTo>
                    <a:pt x="4981166" y="1555161"/>
                  </a:lnTo>
                  <a:cubicBezTo>
                    <a:pt x="4987047" y="1553236"/>
                    <a:pt x="4992725" y="1551207"/>
                    <a:pt x="4998201" y="1549078"/>
                  </a:cubicBezTo>
                  <a:cubicBezTo>
                    <a:pt x="5003677" y="1546948"/>
                    <a:pt x="5009077" y="1544566"/>
                    <a:pt x="5014401" y="1541929"/>
                  </a:cubicBezTo>
                  <a:cubicBezTo>
                    <a:pt x="5019723" y="1539292"/>
                    <a:pt x="5025099" y="1536351"/>
                    <a:pt x="5030524" y="1533106"/>
                  </a:cubicBezTo>
                  <a:cubicBezTo>
                    <a:pt x="5035948" y="1529862"/>
                    <a:pt x="5041550" y="1526162"/>
                    <a:pt x="5047329" y="1522003"/>
                  </a:cubicBezTo>
                  <a:close/>
                  <a:moveTo>
                    <a:pt x="4903204" y="1522003"/>
                  </a:moveTo>
                  <a:lnTo>
                    <a:pt x="4918113" y="1522003"/>
                  </a:lnTo>
                  <a:lnTo>
                    <a:pt x="4918113" y="1744984"/>
                  </a:lnTo>
                  <a:lnTo>
                    <a:pt x="4882824" y="1744984"/>
                  </a:lnTo>
                  <a:lnTo>
                    <a:pt x="4882824" y="1565200"/>
                  </a:lnTo>
                  <a:cubicBezTo>
                    <a:pt x="4876436" y="1569764"/>
                    <a:pt x="4869566" y="1573641"/>
                    <a:pt x="4862214" y="1576836"/>
                  </a:cubicBezTo>
                  <a:cubicBezTo>
                    <a:pt x="4854863" y="1580031"/>
                    <a:pt x="4846471" y="1582843"/>
                    <a:pt x="4837041" y="1585278"/>
                  </a:cubicBezTo>
                  <a:lnTo>
                    <a:pt x="4837041" y="1555161"/>
                  </a:lnTo>
                  <a:cubicBezTo>
                    <a:pt x="4842923" y="1553236"/>
                    <a:pt x="4848601" y="1551207"/>
                    <a:pt x="4854077" y="1549078"/>
                  </a:cubicBezTo>
                  <a:cubicBezTo>
                    <a:pt x="4859552" y="1546948"/>
                    <a:pt x="4864952" y="1544566"/>
                    <a:pt x="4870276" y="1541929"/>
                  </a:cubicBezTo>
                  <a:cubicBezTo>
                    <a:pt x="4875598" y="1539292"/>
                    <a:pt x="4880974" y="1536351"/>
                    <a:pt x="4886398" y="1533106"/>
                  </a:cubicBezTo>
                  <a:cubicBezTo>
                    <a:pt x="4891824" y="1529862"/>
                    <a:pt x="4897426" y="1526162"/>
                    <a:pt x="4903204" y="1522003"/>
                  </a:cubicBezTo>
                  <a:close/>
                  <a:moveTo>
                    <a:pt x="4514973" y="1522003"/>
                  </a:moveTo>
                  <a:lnTo>
                    <a:pt x="4529878" y="1522003"/>
                  </a:lnTo>
                  <a:lnTo>
                    <a:pt x="4529878" y="1744984"/>
                  </a:lnTo>
                  <a:lnTo>
                    <a:pt x="4494591" y="1744984"/>
                  </a:lnTo>
                  <a:lnTo>
                    <a:pt x="4494591" y="1565200"/>
                  </a:lnTo>
                  <a:cubicBezTo>
                    <a:pt x="4488202" y="1569764"/>
                    <a:pt x="4481333" y="1573641"/>
                    <a:pt x="4473982" y="1576836"/>
                  </a:cubicBezTo>
                  <a:cubicBezTo>
                    <a:pt x="4466630" y="1580031"/>
                    <a:pt x="4458240" y="1582843"/>
                    <a:pt x="4448809" y="1585278"/>
                  </a:cubicBezTo>
                  <a:lnTo>
                    <a:pt x="4448809" y="1555161"/>
                  </a:lnTo>
                  <a:cubicBezTo>
                    <a:pt x="4454690" y="1553236"/>
                    <a:pt x="4460369" y="1551207"/>
                    <a:pt x="4465844" y="1549078"/>
                  </a:cubicBezTo>
                  <a:cubicBezTo>
                    <a:pt x="4471320" y="1546948"/>
                    <a:pt x="4476719" y="1544566"/>
                    <a:pt x="4482043" y="1541929"/>
                  </a:cubicBezTo>
                  <a:cubicBezTo>
                    <a:pt x="4487367" y="1539292"/>
                    <a:pt x="4492741" y="1536351"/>
                    <a:pt x="4498165" y="1533106"/>
                  </a:cubicBezTo>
                  <a:cubicBezTo>
                    <a:pt x="4503591" y="1529862"/>
                    <a:pt x="4509192" y="1526162"/>
                    <a:pt x="4514973" y="1522003"/>
                  </a:cubicBezTo>
                  <a:close/>
                  <a:moveTo>
                    <a:pt x="4248864" y="1522003"/>
                  </a:moveTo>
                  <a:lnTo>
                    <a:pt x="4263771" y="1522003"/>
                  </a:lnTo>
                  <a:lnTo>
                    <a:pt x="4263771" y="1744984"/>
                  </a:lnTo>
                  <a:lnTo>
                    <a:pt x="4228482" y="1744984"/>
                  </a:lnTo>
                  <a:lnTo>
                    <a:pt x="4228482" y="1565200"/>
                  </a:lnTo>
                  <a:cubicBezTo>
                    <a:pt x="4222095" y="1569764"/>
                    <a:pt x="4215226" y="1573641"/>
                    <a:pt x="4207874" y="1576836"/>
                  </a:cubicBezTo>
                  <a:cubicBezTo>
                    <a:pt x="4200521" y="1580031"/>
                    <a:pt x="4192131" y="1582843"/>
                    <a:pt x="4182701" y="1585278"/>
                  </a:cubicBezTo>
                  <a:lnTo>
                    <a:pt x="4182701" y="1555161"/>
                  </a:lnTo>
                  <a:cubicBezTo>
                    <a:pt x="4188582" y="1553236"/>
                    <a:pt x="4194260" y="1551207"/>
                    <a:pt x="4199735" y="1549078"/>
                  </a:cubicBezTo>
                  <a:cubicBezTo>
                    <a:pt x="4205212" y="1546948"/>
                    <a:pt x="4210612" y="1544566"/>
                    <a:pt x="4215934" y="1541929"/>
                  </a:cubicBezTo>
                  <a:cubicBezTo>
                    <a:pt x="4221259" y="1539292"/>
                    <a:pt x="4226632" y="1536351"/>
                    <a:pt x="4232057" y="1533106"/>
                  </a:cubicBezTo>
                  <a:cubicBezTo>
                    <a:pt x="4237483" y="1529862"/>
                    <a:pt x="4243085" y="1526162"/>
                    <a:pt x="4248864" y="1522003"/>
                  </a:cubicBezTo>
                  <a:close/>
                  <a:moveTo>
                    <a:pt x="3637266" y="1522003"/>
                  </a:moveTo>
                  <a:lnTo>
                    <a:pt x="3652172" y="1522003"/>
                  </a:lnTo>
                  <a:lnTo>
                    <a:pt x="3652172" y="1744984"/>
                  </a:lnTo>
                  <a:lnTo>
                    <a:pt x="3616884" y="1744984"/>
                  </a:lnTo>
                  <a:lnTo>
                    <a:pt x="3616884" y="1565200"/>
                  </a:lnTo>
                  <a:cubicBezTo>
                    <a:pt x="3610497" y="1569764"/>
                    <a:pt x="3603626" y="1573641"/>
                    <a:pt x="3596275" y="1576836"/>
                  </a:cubicBezTo>
                  <a:cubicBezTo>
                    <a:pt x="3588923" y="1580031"/>
                    <a:pt x="3580534" y="1582843"/>
                    <a:pt x="3571102" y="1585278"/>
                  </a:cubicBezTo>
                  <a:lnTo>
                    <a:pt x="3571102" y="1555161"/>
                  </a:lnTo>
                  <a:cubicBezTo>
                    <a:pt x="3576983" y="1553236"/>
                    <a:pt x="3582662" y="1551207"/>
                    <a:pt x="3588137" y="1549078"/>
                  </a:cubicBezTo>
                  <a:cubicBezTo>
                    <a:pt x="3593613" y="1546948"/>
                    <a:pt x="3599013" y="1544566"/>
                    <a:pt x="3604336" y="1541929"/>
                  </a:cubicBezTo>
                  <a:cubicBezTo>
                    <a:pt x="3609661" y="1539292"/>
                    <a:pt x="3615035" y="1536351"/>
                    <a:pt x="3620460" y="1533106"/>
                  </a:cubicBezTo>
                  <a:cubicBezTo>
                    <a:pt x="3625884" y="1529862"/>
                    <a:pt x="3631486" y="1526162"/>
                    <a:pt x="3637266" y="1522003"/>
                  </a:cubicBezTo>
                  <a:close/>
                  <a:moveTo>
                    <a:pt x="3371159" y="1522003"/>
                  </a:moveTo>
                  <a:lnTo>
                    <a:pt x="3386064" y="1522003"/>
                  </a:lnTo>
                  <a:lnTo>
                    <a:pt x="3386064" y="1744984"/>
                  </a:lnTo>
                  <a:lnTo>
                    <a:pt x="3350777" y="1744984"/>
                  </a:lnTo>
                  <a:lnTo>
                    <a:pt x="3350777" y="1565200"/>
                  </a:lnTo>
                  <a:cubicBezTo>
                    <a:pt x="3344388" y="1569764"/>
                    <a:pt x="3337519" y="1573641"/>
                    <a:pt x="3330167" y="1576836"/>
                  </a:cubicBezTo>
                  <a:cubicBezTo>
                    <a:pt x="3322816" y="1580031"/>
                    <a:pt x="3314425" y="1582843"/>
                    <a:pt x="3304994" y="1585278"/>
                  </a:cubicBezTo>
                  <a:lnTo>
                    <a:pt x="3304994" y="1555161"/>
                  </a:lnTo>
                  <a:cubicBezTo>
                    <a:pt x="3310875" y="1553236"/>
                    <a:pt x="3316554" y="1551207"/>
                    <a:pt x="3322030" y="1549078"/>
                  </a:cubicBezTo>
                  <a:cubicBezTo>
                    <a:pt x="3327505" y="1546948"/>
                    <a:pt x="3332905" y="1544566"/>
                    <a:pt x="3338229" y="1541929"/>
                  </a:cubicBezTo>
                  <a:cubicBezTo>
                    <a:pt x="3343552" y="1539292"/>
                    <a:pt x="3348927" y="1536351"/>
                    <a:pt x="3354351" y="1533106"/>
                  </a:cubicBezTo>
                  <a:cubicBezTo>
                    <a:pt x="3359776" y="1529862"/>
                    <a:pt x="3365379" y="1526162"/>
                    <a:pt x="3371159" y="1522003"/>
                  </a:cubicBezTo>
                  <a:close/>
                  <a:moveTo>
                    <a:pt x="2764811" y="1522003"/>
                  </a:moveTo>
                  <a:lnTo>
                    <a:pt x="2779717" y="1522003"/>
                  </a:lnTo>
                  <a:lnTo>
                    <a:pt x="2779717" y="1744984"/>
                  </a:lnTo>
                  <a:lnTo>
                    <a:pt x="2744429" y="1744984"/>
                  </a:lnTo>
                  <a:lnTo>
                    <a:pt x="2744429" y="1565200"/>
                  </a:lnTo>
                  <a:cubicBezTo>
                    <a:pt x="2738041" y="1569764"/>
                    <a:pt x="2731171" y="1573641"/>
                    <a:pt x="2723820" y="1576836"/>
                  </a:cubicBezTo>
                  <a:cubicBezTo>
                    <a:pt x="2716468" y="1580031"/>
                    <a:pt x="2708078" y="1582843"/>
                    <a:pt x="2698648" y="1585278"/>
                  </a:cubicBezTo>
                  <a:lnTo>
                    <a:pt x="2698648" y="1555161"/>
                  </a:lnTo>
                  <a:cubicBezTo>
                    <a:pt x="2704528" y="1553236"/>
                    <a:pt x="2710207" y="1551207"/>
                    <a:pt x="2715682" y="1549078"/>
                  </a:cubicBezTo>
                  <a:cubicBezTo>
                    <a:pt x="2721159" y="1546948"/>
                    <a:pt x="2726558" y="1544566"/>
                    <a:pt x="2731881" y="1541929"/>
                  </a:cubicBezTo>
                  <a:cubicBezTo>
                    <a:pt x="2737205" y="1539292"/>
                    <a:pt x="2742579" y="1536351"/>
                    <a:pt x="2748004" y="1533106"/>
                  </a:cubicBezTo>
                  <a:cubicBezTo>
                    <a:pt x="2753429" y="1529862"/>
                    <a:pt x="2759031" y="1526162"/>
                    <a:pt x="2764811" y="1522003"/>
                  </a:cubicBezTo>
                  <a:close/>
                  <a:moveTo>
                    <a:pt x="2498703" y="1522003"/>
                  </a:moveTo>
                  <a:lnTo>
                    <a:pt x="2513609" y="1522003"/>
                  </a:lnTo>
                  <a:lnTo>
                    <a:pt x="2513609" y="1744984"/>
                  </a:lnTo>
                  <a:lnTo>
                    <a:pt x="2478321" y="1744984"/>
                  </a:lnTo>
                  <a:lnTo>
                    <a:pt x="2478321" y="1565200"/>
                  </a:lnTo>
                  <a:cubicBezTo>
                    <a:pt x="2471933" y="1569764"/>
                    <a:pt x="2465063" y="1573641"/>
                    <a:pt x="2457712" y="1576836"/>
                  </a:cubicBezTo>
                  <a:cubicBezTo>
                    <a:pt x="2450360" y="1580031"/>
                    <a:pt x="2441970" y="1582843"/>
                    <a:pt x="2432539" y="1585278"/>
                  </a:cubicBezTo>
                  <a:lnTo>
                    <a:pt x="2432539" y="1555161"/>
                  </a:lnTo>
                  <a:cubicBezTo>
                    <a:pt x="2438420" y="1553236"/>
                    <a:pt x="2444099" y="1551207"/>
                    <a:pt x="2449574" y="1549078"/>
                  </a:cubicBezTo>
                  <a:cubicBezTo>
                    <a:pt x="2455050" y="1546948"/>
                    <a:pt x="2460450" y="1544566"/>
                    <a:pt x="2465773" y="1541929"/>
                  </a:cubicBezTo>
                  <a:cubicBezTo>
                    <a:pt x="2471097" y="1539292"/>
                    <a:pt x="2476471" y="1536351"/>
                    <a:pt x="2481896" y="1533106"/>
                  </a:cubicBezTo>
                  <a:cubicBezTo>
                    <a:pt x="2487321" y="1529862"/>
                    <a:pt x="2492923" y="1526162"/>
                    <a:pt x="2498703" y="1522003"/>
                  </a:cubicBezTo>
                  <a:close/>
                  <a:moveTo>
                    <a:pt x="2086936" y="1522003"/>
                  </a:moveTo>
                  <a:lnTo>
                    <a:pt x="2101842" y="1522003"/>
                  </a:lnTo>
                  <a:lnTo>
                    <a:pt x="2101842" y="1744984"/>
                  </a:lnTo>
                  <a:lnTo>
                    <a:pt x="2066554" y="1744984"/>
                  </a:lnTo>
                  <a:lnTo>
                    <a:pt x="2066554" y="1565200"/>
                  </a:lnTo>
                  <a:cubicBezTo>
                    <a:pt x="2060167" y="1569764"/>
                    <a:pt x="2053297" y="1573641"/>
                    <a:pt x="2045945" y="1576836"/>
                  </a:cubicBezTo>
                  <a:cubicBezTo>
                    <a:pt x="2038593" y="1580031"/>
                    <a:pt x="2030203" y="1582843"/>
                    <a:pt x="2020772" y="1585278"/>
                  </a:cubicBezTo>
                  <a:lnTo>
                    <a:pt x="2020772" y="1555161"/>
                  </a:lnTo>
                  <a:cubicBezTo>
                    <a:pt x="2026653" y="1553236"/>
                    <a:pt x="2032332" y="1551207"/>
                    <a:pt x="2037808" y="1549078"/>
                  </a:cubicBezTo>
                  <a:cubicBezTo>
                    <a:pt x="2043283" y="1546948"/>
                    <a:pt x="2048683" y="1544566"/>
                    <a:pt x="2054006" y="1541929"/>
                  </a:cubicBezTo>
                  <a:cubicBezTo>
                    <a:pt x="2059330" y="1539292"/>
                    <a:pt x="2064704" y="1536351"/>
                    <a:pt x="2070129" y="1533106"/>
                  </a:cubicBezTo>
                  <a:cubicBezTo>
                    <a:pt x="2075555" y="1529862"/>
                    <a:pt x="2081156" y="1526162"/>
                    <a:pt x="2086936" y="1522003"/>
                  </a:cubicBezTo>
                  <a:close/>
                  <a:moveTo>
                    <a:pt x="1953882" y="1522003"/>
                  </a:moveTo>
                  <a:lnTo>
                    <a:pt x="1968788" y="1522003"/>
                  </a:lnTo>
                  <a:lnTo>
                    <a:pt x="1968788" y="1744984"/>
                  </a:lnTo>
                  <a:lnTo>
                    <a:pt x="1933501" y="1744984"/>
                  </a:lnTo>
                  <a:lnTo>
                    <a:pt x="1933501" y="1565200"/>
                  </a:lnTo>
                  <a:cubicBezTo>
                    <a:pt x="1927112" y="1569764"/>
                    <a:pt x="1920243" y="1573641"/>
                    <a:pt x="1912891" y="1576836"/>
                  </a:cubicBezTo>
                  <a:cubicBezTo>
                    <a:pt x="1905539" y="1580031"/>
                    <a:pt x="1897149" y="1582843"/>
                    <a:pt x="1887718" y="1585278"/>
                  </a:cubicBezTo>
                  <a:lnTo>
                    <a:pt x="1887718" y="1555161"/>
                  </a:lnTo>
                  <a:cubicBezTo>
                    <a:pt x="1893600" y="1553236"/>
                    <a:pt x="1899278" y="1551207"/>
                    <a:pt x="1904753" y="1549078"/>
                  </a:cubicBezTo>
                  <a:cubicBezTo>
                    <a:pt x="1910229" y="1546948"/>
                    <a:pt x="1915629" y="1544566"/>
                    <a:pt x="1920952" y="1541929"/>
                  </a:cubicBezTo>
                  <a:cubicBezTo>
                    <a:pt x="1926276" y="1539292"/>
                    <a:pt x="1931650" y="1536351"/>
                    <a:pt x="1937075" y="1533106"/>
                  </a:cubicBezTo>
                  <a:cubicBezTo>
                    <a:pt x="1942500" y="1529862"/>
                    <a:pt x="1948102" y="1526162"/>
                    <a:pt x="1953882" y="1522003"/>
                  </a:cubicBezTo>
                  <a:close/>
                  <a:moveTo>
                    <a:pt x="1820828" y="1522003"/>
                  </a:moveTo>
                  <a:lnTo>
                    <a:pt x="1835734" y="1522003"/>
                  </a:lnTo>
                  <a:lnTo>
                    <a:pt x="1835734" y="1744984"/>
                  </a:lnTo>
                  <a:lnTo>
                    <a:pt x="1800447" y="1744984"/>
                  </a:lnTo>
                  <a:lnTo>
                    <a:pt x="1800447" y="1565200"/>
                  </a:lnTo>
                  <a:cubicBezTo>
                    <a:pt x="1794058" y="1569764"/>
                    <a:pt x="1787189" y="1573641"/>
                    <a:pt x="1779837" y="1576836"/>
                  </a:cubicBezTo>
                  <a:cubicBezTo>
                    <a:pt x="1772486" y="1580031"/>
                    <a:pt x="1764094" y="1582843"/>
                    <a:pt x="1754664" y="1585278"/>
                  </a:cubicBezTo>
                  <a:lnTo>
                    <a:pt x="1754664" y="1555161"/>
                  </a:lnTo>
                  <a:cubicBezTo>
                    <a:pt x="1760545" y="1553236"/>
                    <a:pt x="1766224" y="1551207"/>
                    <a:pt x="1771699" y="1549078"/>
                  </a:cubicBezTo>
                  <a:cubicBezTo>
                    <a:pt x="1777175" y="1546948"/>
                    <a:pt x="1782575" y="1544566"/>
                    <a:pt x="1787898" y="1541929"/>
                  </a:cubicBezTo>
                  <a:cubicBezTo>
                    <a:pt x="1793222" y="1539292"/>
                    <a:pt x="1798596" y="1536351"/>
                    <a:pt x="1804021" y="1533106"/>
                  </a:cubicBezTo>
                  <a:cubicBezTo>
                    <a:pt x="1809446" y="1529862"/>
                    <a:pt x="1815048" y="1526162"/>
                    <a:pt x="1820828" y="1522003"/>
                  </a:cubicBezTo>
                  <a:close/>
                  <a:moveTo>
                    <a:pt x="1678216" y="1522003"/>
                  </a:moveTo>
                  <a:lnTo>
                    <a:pt x="1693123" y="1522003"/>
                  </a:lnTo>
                  <a:lnTo>
                    <a:pt x="1693123" y="1744984"/>
                  </a:lnTo>
                  <a:lnTo>
                    <a:pt x="1657834" y="1744984"/>
                  </a:lnTo>
                  <a:lnTo>
                    <a:pt x="1657834" y="1565200"/>
                  </a:lnTo>
                  <a:cubicBezTo>
                    <a:pt x="1651447" y="1569764"/>
                    <a:pt x="1644577" y="1573641"/>
                    <a:pt x="1637225" y="1576836"/>
                  </a:cubicBezTo>
                  <a:cubicBezTo>
                    <a:pt x="1629873" y="1580031"/>
                    <a:pt x="1621483" y="1582843"/>
                    <a:pt x="1612053" y="1585278"/>
                  </a:cubicBezTo>
                  <a:lnTo>
                    <a:pt x="1612053" y="1555161"/>
                  </a:lnTo>
                  <a:cubicBezTo>
                    <a:pt x="1617933" y="1553236"/>
                    <a:pt x="1623612" y="1551207"/>
                    <a:pt x="1629088" y="1549078"/>
                  </a:cubicBezTo>
                  <a:cubicBezTo>
                    <a:pt x="1634563" y="1546948"/>
                    <a:pt x="1639963" y="1544566"/>
                    <a:pt x="1645287" y="1541929"/>
                  </a:cubicBezTo>
                  <a:cubicBezTo>
                    <a:pt x="1650610" y="1539292"/>
                    <a:pt x="1655984" y="1536351"/>
                    <a:pt x="1661409" y="1533106"/>
                  </a:cubicBezTo>
                  <a:cubicBezTo>
                    <a:pt x="1666834" y="1529862"/>
                    <a:pt x="1672436" y="1526162"/>
                    <a:pt x="1678216" y="1522003"/>
                  </a:cubicBezTo>
                  <a:close/>
                  <a:moveTo>
                    <a:pt x="922825" y="1522003"/>
                  </a:moveTo>
                  <a:lnTo>
                    <a:pt x="937731" y="1522003"/>
                  </a:lnTo>
                  <a:lnTo>
                    <a:pt x="937731" y="1744984"/>
                  </a:lnTo>
                  <a:lnTo>
                    <a:pt x="902443" y="1744984"/>
                  </a:lnTo>
                  <a:lnTo>
                    <a:pt x="902443" y="1565200"/>
                  </a:lnTo>
                  <a:cubicBezTo>
                    <a:pt x="896055" y="1569764"/>
                    <a:pt x="889185" y="1573641"/>
                    <a:pt x="881833" y="1576836"/>
                  </a:cubicBezTo>
                  <a:cubicBezTo>
                    <a:pt x="874482" y="1580031"/>
                    <a:pt x="866091" y="1582843"/>
                    <a:pt x="856661" y="1585278"/>
                  </a:cubicBezTo>
                  <a:lnTo>
                    <a:pt x="856661" y="1555161"/>
                  </a:lnTo>
                  <a:cubicBezTo>
                    <a:pt x="862542" y="1553236"/>
                    <a:pt x="868220" y="1551207"/>
                    <a:pt x="873696" y="1549078"/>
                  </a:cubicBezTo>
                  <a:cubicBezTo>
                    <a:pt x="879172" y="1546948"/>
                    <a:pt x="884571" y="1544566"/>
                    <a:pt x="889895" y="1541929"/>
                  </a:cubicBezTo>
                  <a:cubicBezTo>
                    <a:pt x="895218" y="1539292"/>
                    <a:pt x="900593" y="1536351"/>
                    <a:pt x="906017" y="1533106"/>
                  </a:cubicBezTo>
                  <a:cubicBezTo>
                    <a:pt x="911443" y="1529862"/>
                    <a:pt x="917045" y="1526162"/>
                    <a:pt x="922825" y="1522003"/>
                  </a:cubicBezTo>
                  <a:close/>
                  <a:moveTo>
                    <a:pt x="789770" y="1522003"/>
                  </a:moveTo>
                  <a:lnTo>
                    <a:pt x="804677" y="1522003"/>
                  </a:lnTo>
                  <a:lnTo>
                    <a:pt x="804677" y="1744984"/>
                  </a:lnTo>
                  <a:lnTo>
                    <a:pt x="769389" y="1744984"/>
                  </a:lnTo>
                  <a:lnTo>
                    <a:pt x="769389" y="1565200"/>
                  </a:lnTo>
                  <a:cubicBezTo>
                    <a:pt x="763001" y="1569764"/>
                    <a:pt x="756131" y="1573641"/>
                    <a:pt x="748779" y="1576836"/>
                  </a:cubicBezTo>
                  <a:cubicBezTo>
                    <a:pt x="741428" y="1580031"/>
                    <a:pt x="733037" y="1582843"/>
                    <a:pt x="723607" y="1585278"/>
                  </a:cubicBezTo>
                  <a:lnTo>
                    <a:pt x="723607" y="1555161"/>
                  </a:lnTo>
                  <a:cubicBezTo>
                    <a:pt x="729488" y="1553236"/>
                    <a:pt x="735167" y="1551207"/>
                    <a:pt x="740642" y="1549078"/>
                  </a:cubicBezTo>
                  <a:cubicBezTo>
                    <a:pt x="746117" y="1546948"/>
                    <a:pt x="751517" y="1544566"/>
                    <a:pt x="756841" y="1541929"/>
                  </a:cubicBezTo>
                  <a:cubicBezTo>
                    <a:pt x="762164" y="1539292"/>
                    <a:pt x="767539" y="1536351"/>
                    <a:pt x="772963" y="1533106"/>
                  </a:cubicBezTo>
                  <a:cubicBezTo>
                    <a:pt x="778388" y="1529862"/>
                    <a:pt x="783991" y="1526162"/>
                    <a:pt x="789770" y="1522003"/>
                  </a:cubicBezTo>
                  <a:close/>
                  <a:moveTo>
                    <a:pt x="10091849" y="1522002"/>
                  </a:moveTo>
                  <a:cubicBezTo>
                    <a:pt x="10139293" y="1522002"/>
                    <a:pt x="10163016" y="1558865"/>
                    <a:pt x="10163016" y="1632590"/>
                  </a:cubicBezTo>
                  <a:cubicBezTo>
                    <a:pt x="10163016" y="1669101"/>
                    <a:pt x="10156320" y="1696962"/>
                    <a:pt x="10142930" y="1716169"/>
                  </a:cubicBezTo>
                  <a:cubicBezTo>
                    <a:pt x="10129539" y="1735377"/>
                    <a:pt x="10110807" y="1744982"/>
                    <a:pt x="10086733" y="1744982"/>
                  </a:cubicBezTo>
                  <a:cubicBezTo>
                    <a:pt x="10064265" y="1744982"/>
                    <a:pt x="10046736" y="1735804"/>
                    <a:pt x="10034148" y="1717449"/>
                  </a:cubicBezTo>
                  <a:cubicBezTo>
                    <a:pt x="10021559" y="1699092"/>
                    <a:pt x="10015265" y="1672561"/>
                    <a:pt x="10015265" y="1637857"/>
                  </a:cubicBezTo>
                  <a:cubicBezTo>
                    <a:pt x="10015265" y="1599739"/>
                    <a:pt x="10021835" y="1570902"/>
                    <a:pt x="10034975" y="1551343"/>
                  </a:cubicBezTo>
                  <a:cubicBezTo>
                    <a:pt x="10048116" y="1531782"/>
                    <a:pt x="10067073" y="1522002"/>
                    <a:pt x="10091849" y="1522002"/>
                  </a:cubicBezTo>
                  <a:close/>
                  <a:moveTo>
                    <a:pt x="9870926" y="1522002"/>
                  </a:moveTo>
                  <a:cubicBezTo>
                    <a:pt x="9918370" y="1522002"/>
                    <a:pt x="9942093" y="1558865"/>
                    <a:pt x="9942093" y="1632590"/>
                  </a:cubicBezTo>
                  <a:cubicBezTo>
                    <a:pt x="9942093" y="1669101"/>
                    <a:pt x="9935397" y="1696962"/>
                    <a:pt x="9922007" y="1716169"/>
                  </a:cubicBezTo>
                  <a:cubicBezTo>
                    <a:pt x="9908616" y="1735377"/>
                    <a:pt x="9889884" y="1744982"/>
                    <a:pt x="9865810" y="1744982"/>
                  </a:cubicBezTo>
                  <a:cubicBezTo>
                    <a:pt x="9843342" y="1744982"/>
                    <a:pt x="9825813" y="1735804"/>
                    <a:pt x="9813225" y="1717449"/>
                  </a:cubicBezTo>
                  <a:cubicBezTo>
                    <a:pt x="9800636" y="1699092"/>
                    <a:pt x="9794342" y="1672561"/>
                    <a:pt x="9794342" y="1637857"/>
                  </a:cubicBezTo>
                  <a:cubicBezTo>
                    <a:pt x="9794342" y="1599739"/>
                    <a:pt x="9800912" y="1570902"/>
                    <a:pt x="9814052" y="1551343"/>
                  </a:cubicBezTo>
                  <a:cubicBezTo>
                    <a:pt x="9827193" y="1531782"/>
                    <a:pt x="9846150" y="1522002"/>
                    <a:pt x="9870926" y="1522002"/>
                  </a:cubicBezTo>
                  <a:close/>
                  <a:moveTo>
                    <a:pt x="9209266" y="1522002"/>
                  </a:moveTo>
                  <a:cubicBezTo>
                    <a:pt x="9256710" y="1522002"/>
                    <a:pt x="9280433" y="1558865"/>
                    <a:pt x="9280433" y="1632590"/>
                  </a:cubicBezTo>
                  <a:cubicBezTo>
                    <a:pt x="9280433" y="1669101"/>
                    <a:pt x="9273737" y="1696962"/>
                    <a:pt x="9260347" y="1716169"/>
                  </a:cubicBezTo>
                  <a:cubicBezTo>
                    <a:pt x="9246956" y="1735377"/>
                    <a:pt x="9228224" y="1744982"/>
                    <a:pt x="9204150" y="1744982"/>
                  </a:cubicBezTo>
                  <a:cubicBezTo>
                    <a:pt x="9181682" y="1744982"/>
                    <a:pt x="9164153" y="1735804"/>
                    <a:pt x="9151565" y="1717449"/>
                  </a:cubicBezTo>
                  <a:cubicBezTo>
                    <a:pt x="9138976" y="1699092"/>
                    <a:pt x="9132682" y="1672561"/>
                    <a:pt x="9132682" y="1637857"/>
                  </a:cubicBezTo>
                  <a:cubicBezTo>
                    <a:pt x="9132682" y="1599739"/>
                    <a:pt x="9139252" y="1570902"/>
                    <a:pt x="9152392" y="1551343"/>
                  </a:cubicBezTo>
                  <a:cubicBezTo>
                    <a:pt x="9165533" y="1531782"/>
                    <a:pt x="9184490" y="1522002"/>
                    <a:pt x="9209266" y="1522002"/>
                  </a:cubicBezTo>
                  <a:close/>
                  <a:moveTo>
                    <a:pt x="8988343" y="1522002"/>
                  </a:moveTo>
                  <a:cubicBezTo>
                    <a:pt x="9035787" y="1522002"/>
                    <a:pt x="9059510" y="1558865"/>
                    <a:pt x="9059510" y="1632590"/>
                  </a:cubicBezTo>
                  <a:cubicBezTo>
                    <a:pt x="9059510" y="1669101"/>
                    <a:pt x="9052814" y="1696962"/>
                    <a:pt x="9039424" y="1716169"/>
                  </a:cubicBezTo>
                  <a:cubicBezTo>
                    <a:pt x="9026033" y="1735377"/>
                    <a:pt x="9007301" y="1744982"/>
                    <a:pt x="8983227" y="1744982"/>
                  </a:cubicBezTo>
                  <a:cubicBezTo>
                    <a:pt x="8960759" y="1744982"/>
                    <a:pt x="8943230" y="1735804"/>
                    <a:pt x="8930642" y="1717449"/>
                  </a:cubicBezTo>
                  <a:cubicBezTo>
                    <a:pt x="8918053" y="1699092"/>
                    <a:pt x="8911759" y="1672561"/>
                    <a:pt x="8911759" y="1637857"/>
                  </a:cubicBezTo>
                  <a:cubicBezTo>
                    <a:pt x="8911759" y="1599739"/>
                    <a:pt x="8918329" y="1570902"/>
                    <a:pt x="8931469" y="1551343"/>
                  </a:cubicBezTo>
                  <a:cubicBezTo>
                    <a:pt x="8944610" y="1531782"/>
                    <a:pt x="8963567" y="1522002"/>
                    <a:pt x="8988343" y="1522002"/>
                  </a:cubicBezTo>
                  <a:close/>
                  <a:moveTo>
                    <a:pt x="4035797" y="1522002"/>
                  </a:moveTo>
                  <a:cubicBezTo>
                    <a:pt x="4083241" y="1522002"/>
                    <a:pt x="4106964" y="1558865"/>
                    <a:pt x="4106964" y="1632590"/>
                  </a:cubicBezTo>
                  <a:cubicBezTo>
                    <a:pt x="4106964" y="1669101"/>
                    <a:pt x="4100269" y="1696962"/>
                    <a:pt x="4086878" y="1716169"/>
                  </a:cubicBezTo>
                  <a:cubicBezTo>
                    <a:pt x="4073487" y="1735377"/>
                    <a:pt x="4054756" y="1744982"/>
                    <a:pt x="4030681" y="1744982"/>
                  </a:cubicBezTo>
                  <a:cubicBezTo>
                    <a:pt x="4008213" y="1744982"/>
                    <a:pt x="3990684" y="1735804"/>
                    <a:pt x="3978096" y="1717449"/>
                  </a:cubicBezTo>
                  <a:cubicBezTo>
                    <a:pt x="3965507" y="1699092"/>
                    <a:pt x="3959213" y="1672561"/>
                    <a:pt x="3959213" y="1637857"/>
                  </a:cubicBezTo>
                  <a:cubicBezTo>
                    <a:pt x="3959213" y="1599739"/>
                    <a:pt x="3965783" y="1570902"/>
                    <a:pt x="3978923" y="1551343"/>
                  </a:cubicBezTo>
                  <a:cubicBezTo>
                    <a:pt x="3992064" y="1531782"/>
                    <a:pt x="4011022" y="1522002"/>
                    <a:pt x="4035797" y="1522002"/>
                  </a:cubicBezTo>
                  <a:close/>
                  <a:moveTo>
                    <a:pt x="3814874" y="1522002"/>
                  </a:moveTo>
                  <a:cubicBezTo>
                    <a:pt x="3862319" y="1522002"/>
                    <a:pt x="3886042" y="1558865"/>
                    <a:pt x="3886042" y="1632590"/>
                  </a:cubicBezTo>
                  <a:cubicBezTo>
                    <a:pt x="3886042" y="1669101"/>
                    <a:pt x="3879346" y="1696962"/>
                    <a:pt x="3865955" y="1716169"/>
                  </a:cubicBezTo>
                  <a:cubicBezTo>
                    <a:pt x="3852564" y="1735377"/>
                    <a:pt x="3833832" y="1744982"/>
                    <a:pt x="3809758" y="1744982"/>
                  </a:cubicBezTo>
                  <a:cubicBezTo>
                    <a:pt x="3787290" y="1744982"/>
                    <a:pt x="3769761" y="1735804"/>
                    <a:pt x="3757173" y="1717449"/>
                  </a:cubicBezTo>
                  <a:cubicBezTo>
                    <a:pt x="3744584" y="1699092"/>
                    <a:pt x="3738290" y="1672561"/>
                    <a:pt x="3738290" y="1637857"/>
                  </a:cubicBezTo>
                  <a:cubicBezTo>
                    <a:pt x="3738290" y="1599739"/>
                    <a:pt x="3744860" y="1570902"/>
                    <a:pt x="3758000" y="1551343"/>
                  </a:cubicBezTo>
                  <a:cubicBezTo>
                    <a:pt x="3771141" y="1531782"/>
                    <a:pt x="3790098" y="1522002"/>
                    <a:pt x="3814874" y="1522002"/>
                  </a:cubicBezTo>
                  <a:close/>
                  <a:moveTo>
                    <a:pt x="3153215" y="1522002"/>
                  </a:moveTo>
                  <a:cubicBezTo>
                    <a:pt x="3200659" y="1522002"/>
                    <a:pt x="3224382" y="1558865"/>
                    <a:pt x="3224382" y="1632590"/>
                  </a:cubicBezTo>
                  <a:cubicBezTo>
                    <a:pt x="3224382" y="1669101"/>
                    <a:pt x="3217686" y="1696962"/>
                    <a:pt x="3204295" y="1716169"/>
                  </a:cubicBezTo>
                  <a:cubicBezTo>
                    <a:pt x="3190904" y="1735377"/>
                    <a:pt x="3172172" y="1744982"/>
                    <a:pt x="3148098" y="1744982"/>
                  </a:cubicBezTo>
                  <a:cubicBezTo>
                    <a:pt x="3125631" y="1744982"/>
                    <a:pt x="3108101" y="1735804"/>
                    <a:pt x="3095513" y="1717449"/>
                  </a:cubicBezTo>
                  <a:cubicBezTo>
                    <a:pt x="3082924" y="1699092"/>
                    <a:pt x="3076630" y="1672561"/>
                    <a:pt x="3076630" y="1637857"/>
                  </a:cubicBezTo>
                  <a:cubicBezTo>
                    <a:pt x="3076630" y="1599739"/>
                    <a:pt x="3083200" y="1570902"/>
                    <a:pt x="3096340" y="1551343"/>
                  </a:cubicBezTo>
                  <a:cubicBezTo>
                    <a:pt x="3109481" y="1531782"/>
                    <a:pt x="3128439" y="1522002"/>
                    <a:pt x="3153215" y="1522002"/>
                  </a:cubicBezTo>
                  <a:close/>
                  <a:moveTo>
                    <a:pt x="2932291" y="1522002"/>
                  </a:moveTo>
                  <a:cubicBezTo>
                    <a:pt x="2979736" y="1522002"/>
                    <a:pt x="3003458" y="1558865"/>
                    <a:pt x="3003458" y="1632590"/>
                  </a:cubicBezTo>
                  <a:cubicBezTo>
                    <a:pt x="3003458" y="1669101"/>
                    <a:pt x="2996763" y="1696962"/>
                    <a:pt x="2983372" y="1716169"/>
                  </a:cubicBezTo>
                  <a:cubicBezTo>
                    <a:pt x="2969981" y="1735377"/>
                    <a:pt x="2951249" y="1744982"/>
                    <a:pt x="2927176" y="1744982"/>
                  </a:cubicBezTo>
                  <a:cubicBezTo>
                    <a:pt x="2904707" y="1744982"/>
                    <a:pt x="2887178" y="1735804"/>
                    <a:pt x="2874590" y="1717449"/>
                  </a:cubicBezTo>
                  <a:cubicBezTo>
                    <a:pt x="2862001" y="1699092"/>
                    <a:pt x="2855708" y="1672561"/>
                    <a:pt x="2855708" y="1637857"/>
                  </a:cubicBezTo>
                  <a:cubicBezTo>
                    <a:pt x="2855708" y="1599739"/>
                    <a:pt x="2862277" y="1570902"/>
                    <a:pt x="2875417" y="1551343"/>
                  </a:cubicBezTo>
                  <a:cubicBezTo>
                    <a:pt x="2888558" y="1531782"/>
                    <a:pt x="2907515" y="1522002"/>
                    <a:pt x="2932291" y="1522002"/>
                  </a:cubicBezTo>
                  <a:close/>
                  <a:moveTo>
                    <a:pt x="111672" y="1522002"/>
                  </a:moveTo>
                  <a:lnTo>
                    <a:pt x="126579" y="1522002"/>
                  </a:lnTo>
                  <a:lnTo>
                    <a:pt x="126579" y="1744982"/>
                  </a:lnTo>
                  <a:lnTo>
                    <a:pt x="91291" y="1744982"/>
                  </a:lnTo>
                  <a:lnTo>
                    <a:pt x="91291" y="1565199"/>
                  </a:lnTo>
                  <a:cubicBezTo>
                    <a:pt x="84903" y="1569763"/>
                    <a:pt x="78033" y="1573641"/>
                    <a:pt x="70681" y="1576835"/>
                  </a:cubicBezTo>
                  <a:cubicBezTo>
                    <a:pt x="63330" y="1580030"/>
                    <a:pt x="54939" y="1582842"/>
                    <a:pt x="45509" y="1585277"/>
                  </a:cubicBezTo>
                  <a:lnTo>
                    <a:pt x="45509" y="1555160"/>
                  </a:lnTo>
                  <a:cubicBezTo>
                    <a:pt x="51390" y="1553235"/>
                    <a:pt x="57068" y="1551206"/>
                    <a:pt x="62544" y="1549076"/>
                  </a:cubicBezTo>
                  <a:cubicBezTo>
                    <a:pt x="68019" y="1546948"/>
                    <a:pt x="73419" y="1544565"/>
                    <a:pt x="78743" y="1541927"/>
                  </a:cubicBezTo>
                  <a:cubicBezTo>
                    <a:pt x="84066" y="1539291"/>
                    <a:pt x="89441" y="1536350"/>
                    <a:pt x="94865" y="1533105"/>
                  </a:cubicBezTo>
                  <a:cubicBezTo>
                    <a:pt x="100291" y="1529861"/>
                    <a:pt x="105893" y="1526160"/>
                    <a:pt x="111672" y="1522002"/>
                  </a:cubicBezTo>
                  <a:close/>
                  <a:moveTo>
                    <a:pt x="9137689" y="1236534"/>
                  </a:moveTo>
                  <a:cubicBezTo>
                    <a:pt x="9111509" y="1236534"/>
                    <a:pt x="9098419" y="1265372"/>
                    <a:pt x="9098419" y="1323048"/>
                  </a:cubicBezTo>
                  <a:cubicBezTo>
                    <a:pt x="9098419" y="1377012"/>
                    <a:pt x="9111258" y="1403995"/>
                    <a:pt x="9136937" y="1403995"/>
                  </a:cubicBezTo>
                  <a:cubicBezTo>
                    <a:pt x="9162213" y="1403995"/>
                    <a:pt x="9174852" y="1376561"/>
                    <a:pt x="9174852" y="1321695"/>
                  </a:cubicBezTo>
                  <a:cubicBezTo>
                    <a:pt x="9174852" y="1264921"/>
                    <a:pt x="9162464" y="1236534"/>
                    <a:pt x="9137689" y="1236534"/>
                  </a:cubicBezTo>
                  <a:close/>
                  <a:moveTo>
                    <a:pt x="8795932" y="1236534"/>
                  </a:moveTo>
                  <a:cubicBezTo>
                    <a:pt x="8769752" y="1236534"/>
                    <a:pt x="8756662" y="1265372"/>
                    <a:pt x="8756662" y="1323048"/>
                  </a:cubicBezTo>
                  <a:cubicBezTo>
                    <a:pt x="8756662" y="1377012"/>
                    <a:pt x="8769501" y="1403995"/>
                    <a:pt x="8795180" y="1403995"/>
                  </a:cubicBezTo>
                  <a:cubicBezTo>
                    <a:pt x="8820456" y="1403995"/>
                    <a:pt x="8833095" y="1376561"/>
                    <a:pt x="8833095" y="1321695"/>
                  </a:cubicBezTo>
                  <a:cubicBezTo>
                    <a:pt x="8833095" y="1264921"/>
                    <a:pt x="8820707" y="1236534"/>
                    <a:pt x="8795932" y="1236534"/>
                  </a:cubicBezTo>
                  <a:close/>
                  <a:moveTo>
                    <a:pt x="8094530" y="1236534"/>
                  </a:moveTo>
                  <a:cubicBezTo>
                    <a:pt x="8068350" y="1236534"/>
                    <a:pt x="8055260" y="1265372"/>
                    <a:pt x="8055260" y="1323048"/>
                  </a:cubicBezTo>
                  <a:cubicBezTo>
                    <a:pt x="8055260" y="1377012"/>
                    <a:pt x="8068099" y="1403995"/>
                    <a:pt x="8093778" y="1403995"/>
                  </a:cubicBezTo>
                  <a:cubicBezTo>
                    <a:pt x="8119055" y="1403995"/>
                    <a:pt x="8131693" y="1376561"/>
                    <a:pt x="8131693" y="1321695"/>
                  </a:cubicBezTo>
                  <a:cubicBezTo>
                    <a:pt x="8131693" y="1264921"/>
                    <a:pt x="8119305" y="1236534"/>
                    <a:pt x="8094530" y="1236534"/>
                  </a:cubicBezTo>
                  <a:close/>
                  <a:moveTo>
                    <a:pt x="6836041" y="1236534"/>
                  </a:moveTo>
                  <a:cubicBezTo>
                    <a:pt x="6809861" y="1236534"/>
                    <a:pt x="6796771" y="1265372"/>
                    <a:pt x="6796771" y="1323048"/>
                  </a:cubicBezTo>
                  <a:cubicBezTo>
                    <a:pt x="6796771" y="1377012"/>
                    <a:pt x="6809610" y="1403995"/>
                    <a:pt x="6835289" y="1403995"/>
                  </a:cubicBezTo>
                  <a:cubicBezTo>
                    <a:pt x="6860566" y="1403995"/>
                    <a:pt x="6873204" y="1376561"/>
                    <a:pt x="6873204" y="1321695"/>
                  </a:cubicBezTo>
                  <a:cubicBezTo>
                    <a:pt x="6873204" y="1264921"/>
                    <a:pt x="6860816" y="1236534"/>
                    <a:pt x="6836041" y="1236534"/>
                  </a:cubicBezTo>
                  <a:close/>
                  <a:moveTo>
                    <a:pt x="6622947" y="1236534"/>
                  </a:moveTo>
                  <a:cubicBezTo>
                    <a:pt x="6596767" y="1236534"/>
                    <a:pt x="6583677" y="1265372"/>
                    <a:pt x="6583677" y="1323048"/>
                  </a:cubicBezTo>
                  <a:cubicBezTo>
                    <a:pt x="6583677" y="1377012"/>
                    <a:pt x="6596516" y="1403995"/>
                    <a:pt x="6622195" y="1403995"/>
                  </a:cubicBezTo>
                  <a:cubicBezTo>
                    <a:pt x="6647472" y="1403995"/>
                    <a:pt x="6660110" y="1376561"/>
                    <a:pt x="6660110" y="1321695"/>
                  </a:cubicBezTo>
                  <a:cubicBezTo>
                    <a:pt x="6660110" y="1264921"/>
                    <a:pt x="6647722" y="1236534"/>
                    <a:pt x="6622947" y="1236534"/>
                  </a:cubicBezTo>
                  <a:close/>
                  <a:moveTo>
                    <a:pt x="3077272" y="1236534"/>
                  </a:moveTo>
                  <a:cubicBezTo>
                    <a:pt x="3051092" y="1236534"/>
                    <a:pt x="3038002" y="1265372"/>
                    <a:pt x="3038002" y="1323048"/>
                  </a:cubicBezTo>
                  <a:cubicBezTo>
                    <a:pt x="3038002" y="1377012"/>
                    <a:pt x="3050841" y="1403995"/>
                    <a:pt x="3076520" y="1403995"/>
                  </a:cubicBezTo>
                  <a:cubicBezTo>
                    <a:pt x="3101797" y="1403995"/>
                    <a:pt x="3114435" y="1376561"/>
                    <a:pt x="3114435" y="1321695"/>
                  </a:cubicBezTo>
                  <a:cubicBezTo>
                    <a:pt x="3114435" y="1264921"/>
                    <a:pt x="3102047" y="1236534"/>
                    <a:pt x="3077272" y="1236534"/>
                  </a:cubicBezTo>
                  <a:close/>
                  <a:moveTo>
                    <a:pt x="2730469" y="1236534"/>
                  </a:moveTo>
                  <a:cubicBezTo>
                    <a:pt x="2704289" y="1236534"/>
                    <a:pt x="2691199" y="1265372"/>
                    <a:pt x="2691199" y="1323048"/>
                  </a:cubicBezTo>
                  <a:cubicBezTo>
                    <a:pt x="2691199" y="1377012"/>
                    <a:pt x="2704038" y="1403995"/>
                    <a:pt x="2729717" y="1403995"/>
                  </a:cubicBezTo>
                  <a:cubicBezTo>
                    <a:pt x="2754994" y="1403995"/>
                    <a:pt x="2767632" y="1376561"/>
                    <a:pt x="2767632" y="1321695"/>
                  </a:cubicBezTo>
                  <a:cubicBezTo>
                    <a:pt x="2767632" y="1264921"/>
                    <a:pt x="2755244" y="1236534"/>
                    <a:pt x="2730469" y="1236534"/>
                  </a:cubicBezTo>
                  <a:close/>
                  <a:moveTo>
                    <a:pt x="2039104" y="1236534"/>
                  </a:moveTo>
                  <a:cubicBezTo>
                    <a:pt x="2012924" y="1236534"/>
                    <a:pt x="1999834" y="1265372"/>
                    <a:pt x="1999834" y="1323048"/>
                  </a:cubicBezTo>
                  <a:cubicBezTo>
                    <a:pt x="1999834" y="1377012"/>
                    <a:pt x="2012673" y="1403995"/>
                    <a:pt x="2038352" y="1403995"/>
                  </a:cubicBezTo>
                  <a:cubicBezTo>
                    <a:pt x="2063629" y="1403995"/>
                    <a:pt x="2076267" y="1376561"/>
                    <a:pt x="2076267" y="1321695"/>
                  </a:cubicBezTo>
                  <a:cubicBezTo>
                    <a:pt x="2076267" y="1264921"/>
                    <a:pt x="2063879" y="1236534"/>
                    <a:pt x="2039104" y="1236534"/>
                  </a:cubicBezTo>
                  <a:close/>
                  <a:moveTo>
                    <a:pt x="783897" y="1236534"/>
                  </a:moveTo>
                  <a:cubicBezTo>
                    <a:pt x="757717" y="1236534"/>
                    <a:pt x="744627" y="1265372"/>
                    <a:pt x="744627" y="1323048"/>
                  </a:cubicBezTo>
                  <a:cubicBezTo>
                    <a:pt x="744627" y="1377012"/>
                    <a:pt x="757466" y="1403995"/>
                    <a:pt x="783145" y="1403995"/>
                  </a:cubicBezTo>
                  <a:cubicBezTo>
                    <a:pt x="808422" y="1403995"/>
                    <a:pt x="821060" y="1376561"/>
                    <a:pt x="821060" y="1321695"/>
                  </a:cubicBezTo>
                  <a:cubicBezTo>
                    <a:pt x="821060" y="1264921"/>
                    <a:pt x="808672" y="1236534"/>
                    <a:pt x="783897" y="1236534"/>
                  </a:cubicBezTo>
                  <a:close/>
                  <a:moveTo>
                    <a:pt x="563297" y="1236534"/>
                  </a:moveTo>
                  <a:cubicBezTo>
                    <a:pt x="537117" y="1236534"/>
                    <a:pt x="524027" y="1265372"/>
                    <a:pt x="524027" y="1323048"/>
                  </a:cubicBezTo>
                  <a:cubicBezTo>
                    <a:pt x="524027" y="1377012"/>
                    <a:pt x="536866" y="1403995"/>
                    <a:pt x="562545" y="1403995"/>
                  </a:cubicBezTo>
                  <a:cubicBezTo>
                    <a:pt x="587822" y="1403995"/>
                    <a:pt x="600460" y="1376561"/>
                    <a:pt x="600460" y="1321695"/>
                  </a:cubicBezTo>
                  <a:cubicBezTo>
                    <a:pt x="600460" y="1264921"/>
                    <a:pt x="588072" y="1236534"/>
                    <a:pt x="563297" y="1236534"/>
                  </a:cubicBezTo>
                  <a:close/>
                  <a:moveTo>
                    <a:pt x="12042385" y="1208700"/>
                  </a:moveTo>
                  <a:lnTo>
                    <a:pt x="12057291" y="1208700"/>
                  </a:lnTo>
                  <a:lnTo>
                    <a:pt x="12057291" y="1431679"/>
                  </a:lnTo>
                  <a:lnTo>
                    <a:pt x="12022003" y="1431679"/>
                  </a:lnTo>
                  <a:lnTo>
                    <a:pt x="12022003" y="1251896"/>
                  </a:lnTo>
                  <a:cubicBezTo>
                    <a:pt x="12015615" y="1256459"/>
                    <a:pt x="12008745" y="1260337"/>
                    <a:pt x="12001394" y="1263531"/>
                  </a:cubicBezTo>
                  <a:cubicBezTo>
                    <a:pt x="11994042" y="1266726"/>
                    <a:pt x="11985651" y="1269539"/>
                    <a:pt x="11976221" y="1271973"/>
                  </a:cubicBezTo>
                  <a:lnTo>
                    <a:pt x="11976221" y="1241857"/>
                  </a:lnTo>
                  <a:cubicBezTo>
                    <a:pt x="11982102" y="1239931"/>
                    <a:pt x="11987781" y="1237902"/>
                    <a:pt x="11993256" y="1235773"/>
                  </a:cubicBezTo>
                  <a:cubicBezTo>
                    <a:pt x="11998732" y="1233645"/>
                    <a:pt x="12004132" y="1231262"/>
                    <a:pt x="12009455" y="1228624"/>
                  </a:cubicBezTo>
                  <a:cubicBezTo>
                    <a:pt x="12014779" y="1225988"/>
                    <a:pt x="12020153" y="1223048"/>
                    <a:pt x="12025578" y="1219803"/>
                  </a:cubicBezTo>
                  <a:cubicBezTo>
                    <a:pt x="12031003" y="1216559"/>
                    <a:pt x="12036605" y="1212856"/>
                    <a:pt x="12042385" y="1208700"/>
                  </a:cubicBezTo>
                  <a:close/>
                  <a:moveTo>
                    <a:pt x="11669820" y="1208700"/>
                  </a:moveTo>
                  <a:lnTo>
                    <a:pt x="11684726" y="1208700"/>
                  </a:lnTo>
                  <a:lnTo>
                    <a:pt x="11684726" y="1431679"/>
                  </a:lnTo>
                  <a:lnTo>
                    <a:pt x="11649438" y="1431679"/>
                  </a:lnTo>
                  <a:lnTo>
                    <a:pt x="11649438" y="1251896"/>
                  </a:lnTo>
                  <a:cubicBezTo>
                    <a:pt x="11643050" y="1256459"/>
                    <a:pt x="11636180" y="1260337"/>
                    <a:pt x="11628829" y="1263531"/>
                  </a:cubicBezTo>
                  <a:cubicBezTo>
                    <a:pt x="11621477" y="1266726"/>
                    <a:pt x="11613086" y="1269539"/>
                    <a:pt x="11603656" y="1271973"/>
                  </a:cubicBezTo>
                  <a:lnTo>
                    <a:pt x="11603656" y="1241857"/>
                  </a:lnTo>
                  <a:cubicBezTo>
                    <a:pt x="11609537" y="1239931"/>
                    <a:pt x="11615216" y="1237902"/>
                    <a:pt x="11620691" y="1235773"/>
                  </a:cubicBezTo>
                  <a:cubicBezTo>
                    <a:pt x="11626167" y="1233645"/>
                    <a:pt x="11631567" y="1231262"/>
                    <a:pt x="11636890" y="1228624"/>
                  </a:cubicBezTo>
                  <a:cubicBezTo>
                    <a:pt x="11642214" y="1225988"/>
                    <a:pt x="11647588" y="1223048"/>
                    <a:pt x="11653013" y="1219803"/>
                  </a:cubicBezTo>
                  <a:cubicBezTo>
                    <a:pt x="11658438" y="1216559"/>
                    <a:pt x="11664040" y="1212856"/>
                    <a:pt x="11669820" y="1208700"/>
                  </a:cubicBezTo>
                  <a:close/>
                  <a:moveTo>
                    <a:pt x="11519847" y="1208700"/>
                  </a:moveTo>
                  <a:lnTo>
                    <a:pt x="11534753" y="1208700"/>
                  </a:lnTo>
                  <a:lnTo>
                    <a:pt x="11534753" y="1431679"/>
                  </a:lnTo>
                  <a:lnTo>
                    <a:pt x="11499465" y="1431679"/>
                  </a:lnTo>
                  <a:lnTo>
                    <a:pt x="11499465" y="1251896"/>
                  </a:lnTo>
                  <a:cubicBezTo>
                    <a:pt x="11493077" y="1256459"/>
                    <a:pt x="11486207" y="1260337"/>
                    <a:pt x="11478856" y="1263531"/>
                  </a:cubicBezTo>
                  <a:cubicBezTo>
                    <a:pt x="11471504" y="1266726"/>
                    <a:pt x="11463113" y="1269539"/>
                    <a:pt x="11453683" y="1271973"/>
                  </a:cubicBezTo>
                  <a:lnTo>
                    <a:pt x="11453683" y="1241857"/>
                  </a:lnTo>
                  <a:cubicBezTo>
                    <a:pt x="11459564" y="1239931"/>
                    <a:pt x="11465243" y="1237902"/>
                    <a:pt x="11470718" y="1235773"/>
                  </a:cubicBezTo>
                  <a:cubicBezTo>
                    <a:pt x="11476194" y="1233645"/>
                    <a:pt x="11481594" y="1231262"/>
                    <a:pt x="11486917" y="1228624"/>
                  </a:cubicBezTo>
                  <a:cubicBezTo>
                    <a:pt x="11492241" y="1225988"/>
                    <a:pt x="11497615" y="1223048"/>
                    <a:pt x="11503040" y="1219803"/>
                  </a:cubicBezTo>
                  <a:cubicBezTo>
                    <a:pt x="11508465" y="1216559"/>
                    <a:pt x="11514067" y="1212856"/>
                    <a:pt x="11519847" y="1208700"/>
                  </a:cubicBezTo>
                  <a:close/>
                  <a:moveTo>
                    <a:pt x="11369874" y="1208700"/>
                  </a:moveTo>
                  <a:lnTo>
                    <a:pt x="11384780" y="1208700"/>
                  </a:lnTo>
                  <a:lnTo>
                    <a:pt x="11384780" y="1431679"/>
                  </a:lnTo>
                  <a:lnTo>
                    <a:pt x="11349492" y="1431679"/>
                  </a:lnTo>
                  <a:lnTo>
                    <a:pt x="11349492" y="1251896"/>
                  </a:lnTo>
                  <a:cubicBezTo>
                    <a:pt x="11343104" y="1256459"/>
                    <a:pt x="11336234" y="1260337"/>
                    <a:pt x="11328883" y="1263531"/>
                  </a:cubicBezTo>
                  <a:cubicBezTo>
                    <a:pt x="11321531" y="1266726"/>
                    <a:pt x="11313140" y="1269539"/>
                    <a:pt x="11303710" y="1271973"/>
                  </a:cubicBezTo>
                  <a:lnTo>
                    <a:pt x="11303710" y="1241857"/>
                  </a:lnTo>
                  <a:cubicBezTo>
                    <a:pt x="11309591" y="1239931"/>
                    <a:pt x="11315270" y="1237902"/>
                    <a:pt x="11320745" y="1235773"/>
                  </a:cubicBezTo>
                  <a:cubicBezTo>
                    <a:pt x="11326221" y="1233645"/>
                    <a:pt x="11331621" y="1231262"/>
                    <a:pt x="11336944" y="1228624"/>
                  </a:cubicBezTo>
                  <a:cubicBezTo>
                    <a:pt x="11342268" y="1225988"/>
                    <a:pt x="11347642" y="1223048"/>
                    <a:pt x="11353067" y="1219803"/>
                  </a:cubicBezTo>
                  <a:cubicBezTo>
                    <a:pt x="11358492" y="1216559"/>
                    <a:pt x="11364094" y="1212856"/>
                    <a:pt x="11369874" y="1208700"/>
                  </a:cubicBezTo>
                  <a:close/>
                  <a:moveTo>
                    <a:pt x="10626916" y="1208700"/>
                  </a:moveTo>
                  <a:lnTo>
                    <a:pt x="10641822" y="1208700"/>
                  </a:lnTo>
                  <a:lnTo>
                    <a:pt x="10641822" y="1431679"/>
                  </a:lnTo>
                  <a:lnTo>
                    <a:pt x="10606534" y="1431679"/>
                  </a:lnTo>
                  <a:lnTo>
                    <a:pt x="10606534" y="1251896"/>
                  </a:lnTo>
                  <a:cubicBezTo>
                    <a:pt x="10600146" y="1256459"/>
                    <a:pt x="10593276" y="1260337"/>
                    <a:pt x="10585925" y="1263531"/>
                  </a:cubicBezTo>
                  <a:cubicBezTo>
                    <a:pt x="10578573" y="1266726"/>
                    <a:pt x="10570182" y="1269539"/>
                    <a:pt x="10560752" y="1271973"/>
                  </a:cubicBezTo>
                  <a:lnTo>
                    <a:pt x="10560752" y="1241857"/>
                  </a:lnTo>
                  <a:cubicBezTo>
                    <a:pt x="10566633" y="1239931"/>
                    <a:pt x="10572312" y="1237902"/>
                    <a:pt x="10577787" y="1235773"/>
                  </a:cubicBezTo>
                  <a:cubicBezTo>
                    <a:pt x="10583263" y="1233645"/>
                    <a:pt x="10588663" y="1231262"/>
                    <a:pt x="10593986" y="1228624"/>
                  </a:cubicBezTo>
                  <a:cubicBezTo>
                    <a:pt x="10599310" y="1225988"/>
                    <a:pt x="10604684" y="1223048"/>
                    <a:pt x="10610109" y="1219803"/>
                  </a:cubicBezTo>
                  <a:cubicBezTo>
                    <a:pt x="10615534" y="1216559"/>
                    <a:pt x="10621136" y="1212856"/>
                    <a:pt x="10626916" y="1208700"/>
                  </a:cubicBezTo>
                  <a:close/>
                  <a:moveTo>
                    <a:pt x="10475787" y="1208700"/>
                  </a:moveTo>
                  <a:lnTo>
                    <a:pt x="10490693" y="1208700"/>
                  </a:lnTo>
                  <a:lnTo>
                    <a:pt x="10490693" y="1431679"/>
                  </a:lnTo>
                  <a:lnTo>
                    <a:pt x="10455405" y="1431679"/>
                  </a:lnTo>
                  <a:lnTo>
                    <a:pt x="10455405" y="1251896"/>
                  </a:lnTo>
                  <a:cubicBezTo>
                    <a:pt x="10449017" y="1256459"/>
                    <a:pt x="10442147" y="1260337"/>
                    <a:pt x="10434796" y="1263531"/>
                  </a:cubicBezTo>
                  <a:cubicBezTo>
                    <a:pt x="10427444" y="1266726"/>
                    <a:pt x="10419053" y="1269539"/>
                    <a:pt x="10409623" y="1271973"/>
                  </a:cubicBezTo>
                  <a:lnTo>
                    <a:pt x="10409623" y="1241857"/>
                  </a:lnTo>
                  <a:cubicBezTo>
                    <a:pt x="10415504" y="1239931"/>
                    <a:pt x="10421183" y="1237902"/>
                    <a:pt x="10426658" y="1235773"/>
                  </a:cubicBezTo>
                  <a:cubicBezTo>
                    <a:pt x="10432134" y="1233645"/>
                    <a:pt x="10437534" y="1231262"/>
                    <a:pt x="10442857" y="1228624"/>
                  </a:cubicBezTo>
                  <a:cubicBezTo>
                    <a:pt x="10448181" y="1225988"/>
                    <a:pt x="10453555" y="1223048"/>
                    <a:pt x="10458980" y="1219803"/>
                  </a:cubicBezTo>
                  <a:cubicBezTo>
                    <a:pt x="10464405" y="1216559"/>
                    <a:pt x="10470007" y="1212856"/>
                    <a:pt x="10475787" y="1208700"/>
                  </a:cubicBezTo>
                  <a:close/>
                  <a:moveTo>
                    <a:pt x="10175840" y="1208700"/>
                  </a:moveTo>
                  <a:lnTo>
                    <a:pt x="10190746" y="1208700"/>
                  </a:lnTo>
                  <a:lnTo>
                    <a:pt x="10190746" y="1431679"/>
                  </a:lnTo>
                  <a:lnTo>
                    <a:pt x="10155458" y="1431679"/>
                  </a:lnTo>
                  <a:lnTo>
                    <a:pt x="10155458" y="1251896"/>
                  </a:lnTo>
                  <a:cubicBezTo>
                    <a:pt x="10149070" y="1256459"/>
                    <a:pt x="10142200" y="1260337"/>
                    <a:pt x="10134849" y="1263531"/>
                  </a:cubicBezTo>
                  <a:cubicBezTo>
                    <a:pt x="10127497" y="1266726"/>
                    <a:pt x="10119106" y="1269539"/>
                    <a:pt x="10109676" y="1271973"/>
                  </a:cubicBezTo>
                  <a:lnTo>
                    <a:pt x="10109676" y="1241857"/>
                  </a:lnTo>
                  <a:cubicBezTo>
                    <a:pt x="10115557" y="1239931"/>
                    <a:pt x="10121236" y="1237902"/>
                    <a:pt x="10126711" y="1235773"/>
                  </a:cubicBezTo>
                  <a:cubicBezTo>
                    <a:pt x="10132187" y="1233645"/>
                    <a:pt x="10137587" y="1231262"/>
                    <a:pt x="10142910" y="1228624"/>
                  </a:cubicBezTo>
                  <a:cubicBezTo>
                    <a:pt x="10148234" y="1225988"/>
                    <a:pt x="10153608" y="1223048"/>
                    <a:pt x="10159033" y="1219803"/>
                  </a:cubicBezTo>
                  <a:cubicBezTo>
                    <a:pt x="10164458" y="1216559"/>
                    <a:pt x="10170060" y="1212856"/>
                    <a:pt x="10175840" y="1208700"/>
                  </a:cubicBezTo>
                  <a:close/>
                  <a:moveTo>
                    <a:pt x="9790812" y="1208700"/>
                  </a:moveTo>
                  <a:lnTo>
                    <a:pt x="9805718" y="1208700"/>
                  </a:lnTo>
                  <a:lnTo>
                    <a:pt x="9805718" y="1431679"/>
                  </a:lnTo>
                  <a:lnTo>
                    <a:pt x="9770430" y="1431679"/>
                  </a:lnTo>
                  <a:lnTo>
                    <a:pt x="9770430" y="1251896"/>
                  </a:lnTo>
                  <a:cubicBezTo>
                    <a:pt x="9764042" y="1256459"/>
                    <a:pt x="9757172" y="1260337"/>
                    <a:pt x="9749821" y="1263531"/>
                  </a:cubicBezTo>
                  <a:cubicBezTo>
                    <a:pt x="9742469" y="1266726"/>
                    <a:pt x="9734078" y="1269539"/>
                    <a:pt x="9724648" y="1271973"/>
                  </a:cubicBezTo>
                  <a:lnTo>
                    <a:pt x="9724648" y="1241857"/>
                  </a:lnTo>
                  <a:cubicBezTo>
                    <a:pt x="9730529" y="1239931"/>
                    <a:pt x="9736208" y="1237902"/>
                    <a:pt x="9741683" y="1235773"/>
                  </a:cubicBezTo>
                  <a:cubicBezTo>
                    <a:pt x="9747159" y="1233645"/>
                    <a:pt x="9752559" y="1231262"/>
                    <a:pt x="9757882" y="1228624"/>
                  </a:cubicBezTo>
                  <a:cubicBezTo>
                    <a:pt x="9763206" y="1225988"/>
                    <a:pt x="9768580" y="1223048"/>
                    <a:pt x="9774005" y="1219803"/>
                  </a:cubicBezTo>
                  <a:cubicBezTo>
                    <a:pt x="9779430" y="1216559"/>
                    <a:pt x="9785032" y="1212856"/>
                    <a:pt x="9790812" y="1208700"/>
                  </a:cubicBezTo>
                  <a:close/>
                  <a:moveTo>
                    <a:pt x="9639683" y="1208700"/>
                  </a:moveTo>
                  <a:lnTo>
                    <a:pt x="9654589" y="1208700"/>
                  </a:lnTo>
                  <a:lnTo>
                    <a:pt x="9654589" y="1431679"/>
                  </a:lnTo>
                  <a:lnTo>
                    <a:pt x="9619301" y="1431679"/>
                  </a:lnTo>
                  <a:lnTo>
                    <a:pt x="9619301" y="1251896"/>
                  </a:lnTo>
                  <a:cubicBezTo>
                    <a:pt x="9612913" y="1256459"/>
                    <a:pt x="9606043" y="1260337"/>
                    <a:pt x="9598692" y="1263531"/>
                  </a:cubicBezTo>
                  <a:cubicBezTo>
                    <a:pt x="9591340" y="1266726"/>
                    <a:pt x="9582949" y="1269539"/>
                    <a:pt x="9573519" y="1271973"/>
                  </a:cubicBezTo>
                  <a:lnTo>
                    <a:pt x="9573519" y="1241857"/>
                  </a:lnTo>
                  <a:cubicBezTo>
                    <a:pt x="9579400" y="1239931"/>
                    <a:pt x="9585079" y="1237902"/>
                    <a:pt x="9590554" y="1235773"/>
                  </a:cubicBezTo>
                  <a:cubicBezTo>
                    <a:pt x="9596030" y="1233645"/>
                    <a:pt x="9601430" y="1231262"/>
                    <a:pt x="9606753" y="1228624"/>
                  </a:cubicBezTo>
                  <a:cubicBezTo>
                    <a:pt x="9612077" y="1225988"/>
                    <a:pt x="9617451" y="1223048"/>
                    <a:pt x="9622876" y="1219803"/>
                  </a:cubicBezTo>
                  <a:cubicBezTo>
                    <a:pt x="9628301" y="1216559"/>
                    <a:pt x="9633903" y="1212856"/>
                    <a:pt x="9639683" y="1208700"/>
                  </a:cubicBezTo>
                  <a:close/>
                  <a:moveTo>
                    <a:pt x="9489710" y="1208700"/>
                  </a:moveTo>
                  <a:lnTo>
                    <a:pt x="9504616" y="1208700"/>
                  </a:lnTo>
                  <a:lnTo>
                    <a:pt x="9504616" y="1431679"/>
                  </a:lnTo>
                  <a:lnTo>
                    <a:pt x="9469328" y="1431679"/>
                  </a:lnTo>
                  <a:lnTo>
                    <a:pt x="9469328" y="1251896"/>
                  </a:lnTo>
                  <a:cubicBezTo>
                    <a:pt x="9462940" y="1256459"/>
                    <a:pt x="9456070" y="1260337"/>
                    <a:pt x="9448719" y="1263531"/>
                  </a:cubicBezTo>
                  <a:cubicBezTo>
                    <a:pt x="9441367" y="1266726"/>
                    <a:pt x="9432976" y="1269539"/>
                    <a:pt x="9423546" y="1271973"/>
                  </a:cubicBezTo>
                  <a:lnTo>
                    <a:pt x="9423546" y="1241857"/>
                  </a:lnTo>
                  <a:cubicBezTo>
                    <a:pt x="9429427" y="1239931"/>
                    <a:pt x="9435106" y="1237902"/>
                    <a:pt x="9440581" y="1235773"/>
                  </a:cubicBezTo>
                  <a:cubicBezTo>
                    <a:pt x="9446057" y="1233645"/>
                    <a:pt x="9451457" y="1231262"/>
                    <a:pt x="9456780" y="1228624"/>
                  </a:cubicBezTo>
                  <a:cubicBezTo>
                    <a:pt x="9462104" y="1225988"/>
                    <a:pt x="9467478" y="1223048"/>
                    <a:pt x="9472903" y="1219803"/>
                  </a:cubicBezTo>
                  <a:cubicBezTo>
                    <a:pt x="9478328" y="1216559"/>
                    <a:pt x="9483930" y="1212856"/>
                    <a:pt x="9489710" y="1208700"/>
                  </a:cubicBezTo>
                  <a:close/>
                  <a:moveTo>
                    <a:pt x="9339737" y="1208700"/>
                  </a:moveTo>
                  <a:lnTo>
                    <a:pt x="9354643" y="1208700"/>
                  </a:lnTo>
                  <a:lnTo>
                    <a:pt x="9354643" y="1431679"/>
                  </a:lnTo>
                  <a:lnTo>
                    <a:pt x="9319355" y="1431679"/>
                  </a:lnTo>
                  <a:lnTo>
                    <a:pt x="9319355" y="1251896"/>
                  </a:lnTo>
                  <a:cubicBezTo>
                    <a:pt x="9312967" y="1256459"/>
                    <a:pt x="9306097" y="1260337"/>
                    <a:pt x="9298746" y="1263531"/>
                  </a:cubicBezTo>
                  <a:cubicBezTo>
                    <a:pt x="9291394" y="1266726"/>
                    <a:pt x="9283003" y="1269539"/>
                    <a:pt x="9273573" y="1271973"/>
                  </a:cubicBezTo>
                  <a:lnTo>
                    <a:pt x="9273573" y="1241857"/>
                  </a:lnTo>
                  <a:cubicBezTo>
                    <a:pt x="9279454" y="1239931"/>
                    <a:pt x="9285133" y="1237902"/>
                    <a:pt x="9290608" y="1235773"/>
                  </a:cubicBezTo>
                  <a:cubicBezTo>
                    <a:pt x="9296084" y="1233645"/>
                    <a:pt x="9301484" y="1231262"/>
                    <a:pt x="9306807" y="1228624"/>
                  </a:cubicBezTo>
                  <a:cubicBezTo>
                    <a:pt x="9312131" y="1225988"/>
                    <a:pt x="9317505" y="1223048"/>
                    <a:pt x="9322930" y="1219803"/>
                  </a:cubicBezTo>
                  <a:cubicBezTo>
                    <a:pt x="9328355" y="1216559"/>
                    <a:pt x="9333957" y="1212856"/>
                    <a:pt x="9339737" y="1208700"/>
                  </a:cubicBezTo>
                  <a:close/>
                  <a:moveTo>
                    <a:pt x="9139344" y="1208700"/>
                  </a:moveTo>
                  <a:cubicBezTo>
                    <a:pt x="9186788" y="1208700"/>
                    <a:pt x="9210511" y="1245562"/>
                    <a:pt x="9210511" y="1319287"/>
                  </a:cubicBezTo>
                  <a:cubicBezTo>
                    <a:pt x="9210511" y="1355798"/>
                    <a:pt x="9203815" y="1383658"/>
                    <a:pt x="9190425" y="1402866"/>
                  </a:cubicBezTo>
                  <a:cubicBezTo>
                    <a:pt x="9177034" y="1422074"/>
                    <a:pt x="9158302" y="1431679"/>
                    <a:pt x="9134228" y="1431679"/>
                  </a:cubicBezTo>
                  <a:cubicBezTo>
                    <a:pt x="9111760" y="1431679"/>
                    <a:pt x="9094231" y="1422501"/>
                    <a:pt x="9081643" y="1404145"/>
                  </a:cubicBezTo>
                  <a:cubicBezTo>
                    <a:pt x="9069054" y="1385789"/>
                    <a:pt x="9062760" y="1359259"/>
                    <a:pt x="9062760" y="1324553"/>
                  </a:cubicBezTo>
                  <a:cubicBezTo>
                    <a:pt x="9062760" y="1286436"/>
                    <a:pt x="9069330" y="1257599"/>
                    <a:pt x="9082470" y="1238039"/>
                  </a:cubicBezTo>
                  <a:cubicBezTo>
                    <a:pt x="9095611" y="1218479"/>
                    <a:pt x="9114568" y="1208700"/>
                    <a:pt x="9139344" y="1208700"/>
                  </a:cubicBezTo>
                  <a:close/>
                  <a:moveTo>
                    <a:pt x="9008268" y="1208700"/>
                  </a:moveTo>
                  <a:lnTo>
                    <a:pt x="9023174" y="1208700"/>
                  </a:lnTo>
                  <a:lnTo>
                    <a:pt x="9023174" y="1431679"/>
                  </a:lnTo>
                  <a:lnTo>
                    <a:pt x="8987886" y="1431679"/>
                  </a:lnTo>
                  <a:lnTo>
                    <a:pt x="8987886" y="1251896"/>
                  </a:lnTo>
                  <a:cubicBezTo>
                    <a:pt x="8981498" y="1256459"/>
                    <a:pt x="8974628" y="1260337"/>
                    <a:pt x="8967277" y="1263531"/>
                  </a:cubicBezTo>
                  <a:cubicBezTo>
                    <a:pt x="8959925" y="1266726"/>
                    <a:pt x="8951534" y="1269539"/>
                    <a:pt x="8942104" y="1271973"/>
                  </a:cubicBezTo>
                  <a:lnTo>
                    <a:pt x="8942104" y="1241857"/>
                  </a:lnTo>
                  <a:cubicBezTo>
                    <a:pt x="8947985" y="1239931"/>
                    <a:pt x="8953664" y="1237902"/>
                    <a:pt x="8959139" y="1235773"/>
                  </a:cubicBezTo>
                  <a:cubicBezTo>
                    <a:pt x="8964615" y="1233645"/>
                    <a:pt x="8970015" y="1231262"/>
                    <a:pt x="8975338" y="1228624"/>
                  </a:cubicBezTo>
                  <a:cubicBezTo>
                    <a:pt x="8980662" y="1225988"/>
                    <a:pt x="8986036" y="1223048"/>
                    <a:pt x="8991461" y="1219803"/>
                  </a:cubicBezTo>
                  <a:cubicBezTo>
                    <a:pt x="8996886" y="1216559"/>
                    <a:pt x="9002488" y="1212856"/>
                    <a:pt x="9008268" y="1208700"/>
                  </a:cubicBezTo>
                  <a:close/>
                  <a:moveTo>
                    <a:pt x="8797587" y="1208700"/>
                  </a:moveTo>
                  <a:cubicBezTo>
                    <a:pt x="8845031" y="1208700"/>
                    <a:pt x="8868754" y="1245562"/>
                    <a:pt x="8868754" y="1319287"/>
                  </a:cubicBezTo>
                  <a:cubicBezTo>
                    <a:pt x="8868754" y="1355798"/>
                    <a:pt x="8862058" y="1383658"/>
                    <a:pt x="8848668" y="1402866"/>
                  </a:cubicBezTo>
                  <a:cubicBezTo>
                    <a:pt x="8835277" y="1422074"/>
                    <a:pt x="8816545" y="1431679"/>
                    <a:pt x="8792471" y="1431679"/>
                  </a:cubicBezTo>
                  <a:cubicBezTo>
                    <a:pt x="8770003" y="1431679"/>
                    <a:pt x="8752474" y="1422501"/>
                    <a:pt x="8739886" y="1404145"/>
                  </a:cubicBezTo>
                  <a:cubicBezTo>
                    <a:pt x="8727297" y="1385789"/>
                    <a:pt x="8721003" y="1359259"/>
                    <a:pt x="8721003" y="1324553"/>
                  </a:cubicBezTo>
                  <a:cubicBezTo>
                    <a:pt x="8721003" y="1286436"/>
                    <a:pt x="8727573" y="1257599"/>
                    <a:pt x="8740713" y="1238039"/>
                  </a:cubicBezTo>
                  <a:cubicBezTo>
                    <a:pt x="8753854" y="1218479"/>
                    <a:pt x="8772811" y="1208700"/>
                    <a:pt x="8797587" y="1208700"/>
                  </a:cubicBezTo>
                  <a:close/>
                  <a:moveTo>
                    <a:pt x="8096185" y="1208700"/>
                  </a:moveTo>
                  <a:cubicBezTo>
                    <a:pt x="8143630" y="1208700"/>
                    <a:pt x="8167352" y="1245562"/>
                    <a:pt x="8167352" y="1319287"/>
                  </a:cubicBezTo>
                  <a:cubicBezTo>
                    <a:pt x="8167352" y="1355798"/>
                    <a:pt x="8160657" y="1383658"/>
                    <a:pt x="8147266" y="1402866"/>
                  </a:cubicBezTo>
                  <a:cubicBezTo>
                    <a:pt x="8133875" y="1422074"/>
                    <a:pt x="8115143" y="1431679"/>
                    <a:pt x="8091069" y="1431679"/>
                  </a:cubicBezTo>
                  <a:cubicBezTo>
                    <a:pt x="8068601" y="1431679"/>
                    <a:pt x="8051072" y="1422501"/>
                    <a:pt x="8038484" y="1404145"/>
                  </a:cubicBezTo>
                  <a:cubicBezTo>
                    <a:pt x="8025895" y="1385789"/>
                    <a:pt x="8019601" y="1359259"/>
                    <a:pt x="8019601" y="1324553"/>
                  </a:cubicBezTo>
                  <a:cubicBezTo>
                    <a:pt x="8019601" y="1286436"/>
                    <a:pt x="8026171" y="1257599"/>
                    <a:pt x="8039311" y="1238039"/>
                  </a:cubicBezTo>
                  <a:cubicBezTo>
                    <a:pt x="8052452" y="1218479"/>
                    <a:pt x="8071409" y="1208700"/>
                    <a:pt x="8096185" y="1208700"/>
                  </a:cubicBezTo>
                  <a:close/>
                  <a:moveTo>
                    <a:pt x="7717024" y="1208700"/>
                  </a:moveTo>
                  <a:lnTo>
                    <a:pt x="7731930" y="1208700"/>
                  </a:lnTo>
                  <a:lnTo>
                    <a:pt x="7731930" y="1431679"/>
                  </a:lnTo>
                  <a:lnTo>
                    <a:pt x="7696642" y="1431679"/>
                  </a:lnTo>
                  <a:lnTo>
                    <a:pt x="7696642" y="1251896"/>
                  </a:lnTo>
                  <a:cubicBezTo>
                    <a:pt x="7690254" y="1256459"/>
                    <a:pt x="7683385" y="1260337"/>
                    <a:pt x="7676033" y="1263531"/>
                  </a:cubicBezTo>
                  <a:cubicBezTo>
                    <a:pt x="7668681" y="1266726"/>
                    <a:pt x="7660291" y="1269539"/>
                    <a:pt x="7650860" y="1271973"/>
                  </a:cubicBezTo>
                  <a:lnTo>
                    <a:pt x="7650860" y="1241857"/>
                  </a:lnTo>
                  <a:cubicBezTo>
                    <a:pt x="7656741" y="1239931"/>
                    <a:pt x="7662420" y="1237902"/>
                    <a:pt x="7667895" y="1235773"/>
                  </a:cubicBezTo>
                  <a:cubicBezTo>
                    <a:pt x="7673371" y="1233645"/>
                    <a:pt x="7678771" y="1231262"/>
                    <a:pt x="7684094" y="1228624"/>
                  </a:cubicBezTo>
                  <a:cubicBezTo>
                    <a:pt x="7689418" y="1225988"/>
                    <a:pt x="7694792" y="1223048"/>
                    <a:pt x="7700217" y="1219803"/>
                  </a:cubicBezTo>
                  <a:cubicBezTo>
                    <a:pt x="7705642" y="1216559"/>
                    <a:pt x="7711244" y="1212856"/>
                    <a:pt x="7717024" y="1208700"/>
                  </a:cubicBezTo>
                  <a:close/>
                  <a:moveTo>
                    <a:pt x="7355082" y="1208700"/>
                  </a:moveTo>
                  <a:lnTo>
                    <a:pt x="7369988" y="1208700"/>
                  </a:lnTo>
                  <a:lnTo>
                    <a:pt x="7369988" y="1431679"/>
                  </a:lnTo>
                  <a:lnTo>
                    <a:pt x="7334700" y="1431679"/>
                  </a:lnTo>
                  <a:lnTo>
                    <a:pt x="7334700" y="1251896"/>
                  </a:lnTo>
                  <a:cubicBezTo>
                    <a:pt x="7328312" y="1256459"/>
                    <a:pt x="7321443" y="1260337"/>
                    <a:pt x="7314091" y="1263531"/>
                  </a:cubicBezTo>
                  <a:cubicBezTo>
                    <a:pt x="7306739" y="1266726"/>
                    <a:pt x="7298349" y="1269539"/>
                    <a:pt x="7288918" y="1271973"/>
                  </a:cubicBezTo>
                  <a:lnTo>
                    <a:pt x="7288918" y="1241857"/>
                  </a:lnTo>
                  <a:cubicBezTo>
                    <a:pt x="7294799" y="1239931"/>
                    <a:pt x="7300478" y="1237902"/>
                    <a:pt x="7305953" y="1235773"/>
                  </a:cubicBezTo>
                  <a:cubicBezTo>
                    <a:pt x="7311429" y="1233645"/>
                    <a:pt x="7316829" y="1231262"/>
                    <a:pt x="7322152" y="1228624"/>
                  </a:cubicBezTo>
                  <a:cubicBezTo>
                    <a:pt x="7327476" y="1225988"/>
                    <a:pt x="7332850" y="1223048"/>
                    <a:pt x="7338275" y="1219803"/>
                  </a:cubicBezTo>
                  <a:cubicBezTo>
                    <a:pt x="7343700" y="1216559"/>
                    <a:pt x="7349302" y="1212856"/>
                    <a:pt x="7355082" y="1208700"/>
                  </a:cubicBezTo>
                  <a:close/>
                  <a:moveTo>
                    <a:pt x="7055136" y="1208700"/>
                  </a:moveTo>
                  <a:lnTo>
                    <a:pt x="7070042" y="1208700"/>
                  </a:lnTo>
                  <a:lnTo>
                    <a:pt x="7070042" y="1431679"/>
                  </a:lnTo>
                  <a:lnTo>
                    <a:pt x="7034754" y="1431679"/>
                  </a:lnTo>
                  <a:lnTo>
                    <a:pt x="7034754" y="1251896"/>
                  </a:lnTo>
                  <a:cubicBezTo>
                    <a:pt x="7028366" y="1256459"/>
                    <a:pt x="7021497" y="1260337"/>
                    <a:pt x="7014145" y="1263531"/>
                  </a:cubicBezTo>
                  <a:cubicBezTo>
                    <a:pt x="7006793" y="1266726"/>
                    <a:pt x="6998403" y="1269539"/>
                    <a:pt x="6988972" y="1271973"/>
                  </a:cubicBezTo>
                  <a:lnTo>
                    <a:pt x="6988972" y="1241857"/>
                  </a:lnTo>
                  <a:cubicBezTo>
                    <a:pt x="6994853" y="1239931"/>
                    <a:pt x="7000532" y="1237902"/>
                    <a:pt x="7006007" y="1235773"/>
                  </a:cubicBezTo>
                  <a:cubicBezTo>
                    <a:pt x="7011483" y="1233645"/>
                    <a:pt x="7016883" y="1231262"/>
                    <a:pt x="7022206" y="1228624"/>
                  </a:cubicBezTo>
                  <a:cubicBezTo>
                    <a:pt x="7027530" y="1225988"/>
                    <a:pt x="7032904" y="1223048"/>
                    <a:pt x="7038329" y="1219803"/>
                  </a:cubicBezTo>
                  <a:cubicBezTo>
                    <a:pt x="7043754" y="1216559"/>
                    <a:pt x="7049356" y="1212856"/>
                    <a:pt x="7055136" y="1208700"/>
                  </a:cubicBezTo>
                  <a:close/>
                  <a:moveTo>
                    <a:pt x="6837696" y="1208700"/>
                  </a:moveTo>
                  <a:cubicBezTo>
                    <a:pt x="6885141" y="1208700"/>
                    <a:pt x="6908863" y="1245562"/>
                    <a:pt x="6908863" y="1319287"/>
                  </a:cubicBezTo>
                  <a:cubicBezTo>
                    <a:pt x="6908863" y="1355798"/>
                    <a:pt x="6902168" y="1383658"/>
                    <a:pt x="6888777" y="1402866"/>
                  </a:cubicBezTo>
                  <a:cubicBezTo>
                    <a:pt x="6875386" y="1422074"/>
                    <a:pt x="6856654" y="1431679"/>
                    <a:pt x="6832580" y="1431679"/>
                  </a:cubicBezTo>
                  <a:cubicBezTo>
                    <a:pt x="6810112" y="1431679"/>
                    <a:pt x="6792583" y="1422501"/>
                    <a:pt x="6779995" y="1404145"/>
                  </a:cubicBezTo>
                  <a:cubicBezTo>
                    <a:pt x="6767406" y="1385789"/>
                    <a:pt x="6761112" y="1359259"/>
                    <a:pt x="6761112" y="1324553"/>
                  </a:cubicBezTo>
                  <a:cubicBezTo>
                    <a:pt x="6761112" y="1286436"/>
                    <a:pt x="6767682" y="1257599"/>
                    <a:pt x="6780822" y="1238039"/>
                  </a:cubicBezTo>
                  <a:cubicBezTo>
                    <a:pt x="6793963" y="1218479"/>
                    <a:pt x="6812920" y="1208700"/>
                    <a:pt x="6837696" y="1208700"/>
                  </a:cubicBezTo>
                  <a:close/>
                  <a:moveTo>
                    <a:pt x="6624602" y="1208700"/>
                  </a:moveTo>
                  <a:cubicBezTo>
                    <a:pt x="6672047" y="1208700"/>
                    <a:pt x="6695769" y="1245562"/>
                    <a:pt x="6695769" y="1319287"/>
                  </a:cubicBezTo>
                  <a:cubicBezTo>
                    <a:pt x="6695769" y="1355798"/>
                    <a:pt x="6689074" y="1383658"/>
                    <a:pt x="6675683" y="1402866"/>
                  </a:cubicBezTo>
                  <a:cubicBezTo>
                    <a:pt x="6662292" y="1422074"/>
                    <a:pt x="6643560" y="1431679"/>
                    <a:pt x="6619486" y="1431679"/>
                  </a:cubicBezTo>
                  <a:cubicBezTo>
                    <a:pt x="6597018" y="1431679"/>
                    <a:pt x="6579489" y="1422501"/>
                    <a:pt x="6566901" y="1404145"/>
                  </a:cubicBezTo>
                  <a:cubicBezTo>
                    <a:pt x="6554312" y="1385789"/>
                    <a:pt x="6548018" y="1359259"/>
                    <a:pt x="6548018" y="1324553"/>
                  </a:cubicBezTo>
                  <a:cubicBezTo>
                    <a:pt x="6548018" y="1286436"/>
                    <a:pt x="6554588" y="1257599"/>
                    <a:pt x="6567728" y="1238039"/>
                  </a:cubicBezTo>
                  <a:cubicBezTo>
                    <a:pt x="6580869" y="1218479"/>
                    <a:pt x="6599826" y="1208700"/>
                    <a:pt x="6624602" y="1208700"/>
                  </a:cubicBezTo>
                  <a:close/>
                  <a:moveTo>
                    <a:pt x="6463053" y="1208700"/>
                  </a:moveTo>
                  <a:lnTo>
                    <a:pt x="6477959" y="1208700"/>
                  </a:lnTo>
                  <a:lnTo>
                    <a:pt x="6477959" y="1431679"/>
                  </a:lnTo>
                  <a:lnTo>
                    <a:pt x="6442671" y="1431679"/>
                  </a:lnTo>
                  <a:lnTo>
                    <a:pt x="6442671" y="1251896"/>
                  </a:lnTo>
                  <a:cubicBezTo>
                    <a:pt x="6436283" y="1256459"/>
                    <a:pt x="6429414" y="1260337"/>
                    <a:pt x="6422062" y="1263531"/>
                  </a:cubicBezTo>
                  <a:cubicBezTo>
                    <a:pt x="6414710" y="1266726"/>
                    <a:pt x="6406320" y="1269539"/>
                    <a:pt x="6396889" y="1271973"/>
                  </a:cubicBezTo>
                  <a:lnTo>
                    <a:pt x="6396889" y="1241857"/>
                  </a:lnTo>
                  <a:cubicBezTo>
                    <a:pt x="6402770" y="1239931"/>
                    <a:pt x="6408449" y="1237902"/>
                    <a:pt x="6413924" y="1235773"/>
                  </a:cubicBezTo>
                  <a:cubicBezTo>
                    <a:pt x="6419400" y="1233645"/>
                    <a:pt x="6424800" y="1231262"/>
                    <a:pt x="6430123" y="1228624"/>
                  </a:cubicBezTo>
                  <a:cubicBezTo>
                    <a:pt x="6435447" y="1225988"/>
                    <a:pt x="6440821" y="1223048"/>
                    <a:pt x="6446246" y="1219803"/>
                  </a:cubicBezTo>
                  <a:cubicBezTo>
                    <a:pt x="6451671" y="1216559"/>
                    <a:pt x="6457273" y="1212856"/>
                    <a:pt x="6463053" y="1208700"/>
                  </a:cubicBezTo>
                  <a:close/>
                  <a:moveTo>
                    <a:pt x="6163107" y="1208700"/>
                  </a:moveTo>
                  <a:lnTo>
                    <a:pt x="6178013" y="1208700"/>
                  </a:lnTo>
                  <a:lnTo>
                    <a:pt x="6178013" y="1431679"/>
                  </a:lnTo>
                  <a:lnTo>
                    <a:pt x="6142725" y="1431679"/>
                  </a:lnTo>
                  <a:lnTo>
                    <a:pt x="6142725" y="1251896"/>
                  </a:lnTo>
                  <a:cubicBezTo>
                    <a:pt x="6136337" y="1256459"/>
                    <a:pt x="6129468" y="1260337"/>
                    <a:pt x="6122116" y="1263531"/>
                  </a:cubicBezTo>
                  <a:cubicBezTo>
                    <a:pt x="6114764" y="1266726"/>
                    <a:pt x="6106374" y="1269539"/>
                    <a:pt x="6096943" y="1271973"/>
                  </a:cubicBezTo>
                  <a:lnTo>
                    <a:pt x="6096943" y="1241857"/>
                  </a:lnTo>
                  <a:cubicBezTo>
                    <a:pt x="6102824" y="1239931"/>
                    <a:pt x="6108503" y="1237902"/>
                    <a:pt x="6113978" y="1235773"/>
                  </a:cubicBezTo>
                  <a:cubicBezTo>
                    <a:pt x="6119454" y="1233645"/>
                    <a:pt x="6124854" y="1231262"/>
                    <a:pt x="6130177" y="1228624"/>
                  </a:cubicBezTo>
                  <a:cubicBezTo>
                    <a:pt x="6135501" y="1225988"/>
                    <a:pt x="6140875" y="1223048"/>
                    <a:pt x="6146300" y="1219803"/>
                  </a:cubicBezTo>
                  <a:cubicBezTo>
                    <a:pt x="6151725" y="1216559"/>
                    <a:pt x="6157327" y="1212856"/>
                    <a:pt x="6163107" y="1208700"/>
                  </a:cubicBezTo>
                  <a:close/>
                  <a:moveTo>
                    <a:pt x="5979578" y="1208700"/>
                  </a:moveTo>
                  <a:lnTo>
                    <a:pt x="5994484" y="1208700"/>
                  </a:lnTo>
                  <a:lnTo>
                    <a:pt x="5994484" y="1431679"/>
                  </a:lnTo>
                  <a:lnTo>
                    <a:pt x="5959196" y="1431679"/>
                  </a:lnTo>
                  <a:lnTo>
                    <a:pt x="5959196" y="1251896"/>
                  </a:lnTo>
                  <a:cubicBezTo>
                    <a:pt x="5952808" y="1256459"/>
                    <a:pt x="5945939" y="1260337"/>
                    <a:pt x="5938587" y="1263531"/>
                  </a:cubicBezTo>
                  <a:cubicBezTo>
                    <a:pt x="5931236" y="1266726"/>
                    <a:pt x="5922846" y="1269539"/>
                    <a:pt x="5913415" y="1271973"/>
                  </a:cubicBezTo>
                  <a:lnTo>
                    <a:pt x="5913415" y="1241857"/>
                  </a:lnTo>
                  <a:cubicBezTo>
                    <a:pt x="5919296" y="1239931"/>
                    <a:pt x="5924974" y="1237902"/>
                    <a:pt x="5930450" y="1235773"/>
                  </a:cubicBezTo>
                  <a:cubicBezTo>
                    <a:pt x="5935926" y="1233645"/>
                    <a:pt x="5941325" y="1231262"/>
                    <a:pt x="5946648" y="1228624"/>
                  </a:cubicBezTo>
                  <a:cubicBezTo>
                    <a:pt x="5951973" y="1225988"/>
                    <a:pt x="5957347" y="1223048"/>
                    <a:pt x="5962771" y="1219803"/>
                  </a:cubicBezTo>
                  <a:cubicBezTo>
                    <a:pt x="5968196" y="1216559"/>
                    <a:pt x="5973799" y="1212856"/>
                    <a:pt x="5979578" y="1208700"/>
                  </a:cubicBezTo>
                  <a:close/>
                  <a:moveTo>
                    <a:pt x="5611916" y="1208700"/>
                  </a:moveTo>
                  <a:lnTo>
                    <a:pt x="5626822" y="1208700"/>
                  </a:lnTo>
                  <a:lnTo>
                    <a:pt x="5626822" y="1431679"/>
                  </a:lnTo>
                  <a:lnTo>
                    <a:pt x="5591534" y="1431679"/>
                  </a:lnTo>
                  <a:lnTo>
                    <a:pt x="5591534" y="1251896"/>
                  </a:lnTo>
                  <a:cubicBezTo>
                    <a:pt x="5585147" y="1256459"/>
                    <a:pt x="5578277" y="1260337"/>
                    <a:pt x="5570926" y="1263531"/>
                  </a:cubicBezTo>
                  <a:cubicBezTo>
                    <a:pt x="5563574" y="1266726"/>
                    <a:pt x="5555183" y="1269539"/>
                    <a:pt x="5545753" y="1271973"/>
                  </a:cubicBezTo>
                  <a:lnTo>
                    <a:pt x="5545753" y="1241857"/>
                  </a:lnTo>
                  <a:cubicBezTo>
                    <a:pt x="5551633" y="1239931"/>
                    <a:pt x="5557312" y="1237902"/>
                    <a:pt x="5562787" y="1235773"/>
                  </a:cubicBezTo>
                  <a:cubicBezTo>
                    <a:pt x="5568263" y="1233645"/>
                    <a:pt x="5573663" y="1231262"/>
                    <a:pt x="5578987" y="1228624"/>
                  </a:cubicBezTo>
                  <a:cubicBezTo>
                    <a:pt x="5584310" y="1225988"/>
                    <a:pt x="5589684" y="1223048"/>
                    <a:pt x="5595109" y="1219803"/>
                  </a:cubicBezTo>
                  <a:cubicBezTo>
                    <a:pt x="5600535" y="1216559"/>
                    <a:pt x="5606136" y="1212856"/>
                    <a:pt x="5611916" y="1208700"/>
                  </a:cubicBezTo>
                  <a:close/>
                  <a:moveTo>
                    <a:pt x="5461944" y="1208700"/>
                  </a:moveTo>
                  <a:lnTo>
                    <a:pt x="5476850" y="1208700"/>
                  </a:lnTo>
                  <a:lnTo>
                    <a:pt x="5476850" y="1431679"/>
                  </a:lnTo>
                  <a:lnTo>
                    <a:pt x="5441562" y="1431679"/>
                  </a:lnTo>
                  <a:lnTo>
                    <a:pt x="5441562" y="1251896"/>
                  </a:lnTo>
                  <a:cubicBezTo>
                    <a:pt x="5435173" y="1256459"/>
                    <a:pt x="5428305" y="1260337"/>
                    <a:pt x="5420952" y="1263531"/>
                  </a:cubicBezTo>
                  <a:cubicBezTo>
                    <a:pt x="5413601" y="1266726"/>
                    <a:pt x="5405211" y="1269539"/>
                    <a:pt x="5395779" y="1271973"/>
                  </a:cubicBezTo>
                  <a:lnTo>
                    <a:pt x="5395779" y="1241857"/>
                  </a:lnTo>
                  <a:cubicBezTo>
                    <a:pt x="5401661" y="1239931"/>
                    <a:pt x="5407340" y="1237902"/>
                    <a:pt x="5412815" y="1235773"/>
                  </a:cubicBezTo>
                  <a:cubicBezTo>
                    <a:pt x="5418291" y="1233645"/>
                    <a:pt x="5423691" y="1231262"/>
                    <a:pt x="5429013" y="1228624"/>
                  </a:cubicBezTo>
                  <a:cubicBezTo>
                    <a:pt x="5434338" y="1225988"/>
                    <a:pt x="5439711" y="1223048"/>
                    <a:pt x="5445137" y="1219803"/>
                  </a:cubicBezTo>
                  <a:cubicBezTo>
                    <a:pt x="5450561" y="1216559"/>
                    <a:pt x="5456164" y="1212856"/>
                    <a:pt x="5461944" y="1208700"/>
                  </a:cubicBezTo>
                  <a:close/>
                  <a:moveTo>
                    <a:pt x="5311970" y="1208700"/>
                  </a:moveTo>
                  <a:lnTo>
                    <a:pt x="5326877" y="1208700"/>
                  </a:lnTo>
                  <a:lnTo>
                    <a:pt x="5326877" y="1431679"/>
                  </a:lnTo>
                  <a:lnTo>
                    <a:pt x="5291589" y="1431679"/>
                  </a:lnTo>
                  <a:lnTo>
                    <a:pt x="5291589" y="1251896"/>
                  </a:lnTo>
                  <a:cubicBezTo>
                    <a:pt x="5285201" y="1256459"/>
                    <a:pt x="5278332" y="1260337"/>
                    <a:pt x="5270980" y="1263531"/>
                  </a:cubicBezTo>
                  <a:cubicBezTo>
                    <a:pt x="5263627" y="1266726"/>
                    <a:pt x="5255237" y="1269539"/>
                    <a:pt x="5245806" y="1271973"/>
                  </a:cubicBezTo>
                  <a:lnTo>
                    <a:pt x="5245806" y="1241857"/>
                  </a:lnTo>
                  <a:cubicBezTo>
                    <a:pt x="5251687" y="1239931"/>
                    <a:pt x="5257366" y="1237902"/>
                    <a:pt x="5262841" y="1235773"/>
                  </a:cubicBezTo>
                  <a:cubicBezTo>
                    <a:pt x="5268318" y="1233645"/>
                    <a:pt x="5273717" y="1231262"/>
                    <a:pt x="5279041" y="1228624"/>
                  </a:cubicBezTo>
                  <a:cubicBezTo>
                    <a:pt x="5284364" y="1225988"/>
                    <a:pt x="5289738" y="1223048"/>
                    <a:pt x="5295163" y="1219803"/>
                  </a:cubicBezTo>
                  <a:cubicBezTo>
                    <a:pt x="5300589" y="1216559"/>
                    <a:pt x="5306191" y="1212856"/>
                    <a:pt x="5311970" y="1208700"/>
                  </a:cubicBezTo>
                  <a:close/>
                  <a:moveTo>
                    <a:pt x="4563292" y="1208700"/>
                  </a:moveTo>
                  <a:lnTo>
                    <a:pt x="4578199" y="1208700"/>
                  </a:lnTo>
                  <a:lnTo>
                    <a:pt x="4578199" y="1431679"/>
                  </a:lnTo>
                  <a:lnTo>
                    <a:pt x="4542910" y="1431679"/>
                  </a:lnTo>
                  <a:lnTo>
                    <a:pt x="4542910" y="1251896"/>
                  </a:lnTo>
                  <a:cubicBezTo>
                    <a:pt x="4536523" y="1256459"/>
                    <a:pt x="4529654" y="1260337"/>
                    <a:pt x="4522301" y="1263531"/>
                  </a:cubicBezTo>
                  <a:cubicBezTo>
                    <a:pt x="4514949" y="1266726"/>
                    <a:pt x="4506560" y="1269539"/>
                    <a:pt x="4497129" y="1271973"/>
                  </a:cubicBezTo>
                  <a:lnTo>
                    <a:pt x="4497129" y="1241857"/>
                  </a:lnTo>
                  <a:cubicBezTo>
                    <a:pt x="4503009" y="1239931"/>
                    <a:pt x="4508688" y="1237902"/>
                    <a:pt x="4514163" y="1235773"/>
                  </a:cubicBezTo>
                  <a:cubicBezTo>
                    <a:pt x="4519640" y="1233645"/>
                    <a:pt x="4525040" y="1231262"/>
                    <a:pt x="4530362" y="1228624"/>
                  </a:cubicBezTo>
                  <a:cubicBezTo>
                    <a:pt x="4535687" y="1225988"/>
                    <a:pt x="4541061" y="1223048"/>
                    <a:pt x="4546485" y="1219803"/>
                  </a:cubicBezTo>
                  <a:cubicBezTo>
                    <a:pt x="4551911" y="1216559"/>
                    <a:pt x="4557512" y="1212856"/>
                    <a:pt x="4563292" y="1208700"/>
                  </a:cubicBezTo>
                  <a:close/>
                  <a:moveTo>
                    <a:pt x="4413319" y="1208700"/>
                  </a:moveTo>
                  <a:lnTo>
                    <a:pt x="4428226" y="1208700"/>
                  </a:lnTo>
                  <a:lnTo>
                    <a:pt x="4428226" y="1431679"/>
                  </a:lnTo>
                  <a:lnTo>
                    <a:pt x="4392937" y="1431679"/>
                  </a:lnTo>
                  <a:lnTo>
                    <a:pt x="4392937" y="1251896"/>
                  </a:lnTo>
                  <a:cubicBezTo>
                    <a:pt x="4386550" y="1256459"/>
                    <a:pt x="4379681" y="1260337"/>
                    <a:pt x="4372329" y="1263531"/>
                  </a:cubicBezTo>
                  <a:cubicBezTo>
                    <a:pt x="4364976" y="1266726"/>
                    <a:pt x="4356586" y="1269539"/>
                    <a:pt x="4347156" y="1271973"/>
                  </a:cubicBezTo>
                  <a:lnTo>
                    <a:pt x="4347156" y="1241857"/>
                  </a:lnTo>
                  <a:cubicBezTo>
                    <a:pt x="4353037" y="1239931"/>
                    <a:pt x="4358715" y="1237902"/>
                    <a:pt x="4364190" y="1235773"/>
                  </a:cubicBezTo>
                  <a:cubicBezTo>
                    <a:pt x="4369666" y="1233645"/>
                    <a:pt x="4375067" y="1231262"/>
                    <a:pt x="4380389" y="1228624"/>
                  </a:cubicBezTo>
                  <a:cubicBezTo>
                    <a:pt x="4385713" y="1225988"/>
                    <a:pt x="4391087" y="1223048"/>
                    <a:pt x="4396513" y="1219803"/>
                  </a:cubicBezTo>
                  <a:cubicBezTo>
                    <a:pt x="4401938" y="1216559"/>
                    <a:pt x="4407539" y="1212856"/>
                    <a:pt x="4413319" y="1208700"/>
                  </a:cubicBezTo>
                  <a:close/>
                  <a:moveTo>
                    <a:pt x="4113374" y="1208700"/>
                  </a:moveTo>
                  <a:lnTo>
                    <a:pt x="4128280" y="1208700"/>
                  </a:lnTo>
                  <a:lnTo>
                    <a:pt x="4128280" y="1431679"/>
                  </a:lnTo>
                  <a:lnTo>
                    <a:pt x="4092992" y="1431679"/>
                  </a:lnTo>
                  <a:lnTo>
                    <a:pt x="4092992" y="1251896"/>
                  </a:lnTo>
                  <a:cubicBezTo>
                    <a:pt x="4086604" y="1256459"/>
                    <a:pt x="4079734" y="1260337"/>
                    <a:pt x="4072383" y="1263531"/>
                  </a:cubicBezTo>
                  <a:cubicBezTo>
                    <a:pt x="4065031" y="1266726"/>
                    <a:pt x="4056641" y="1269539"/>
                    <a:pt x="4047210" y="1271973"/>
                  </a:cubicBezTo>
                  <a:lnTo>
                    <a:pt x="4047210" y="1241857"/>
                  </a:lnTo>
                  <a:cubicBezTo>
                    <a:pt x="4053091" y="1239931"/>
                    <a:pt x="4058770" y="1237902"/>
                    <a:pt x="4064245" y="1235773"/>
                  </a:cubicBezTo>
                  <a:cubicBezTo>
                    <a:pt x="4069721" y="1233645"/>
                    <a:pt x="4075121" y="1231262"/>
                    <a:pt x="4080444" y="1228624"/>
                  </a:cubicBezTo>
                  <a:cubicBezTo>
                    <a:pt x="4085768" y="1225988"/>
                    <a:pt x="4091142" y="1223048"/>
                    <a:pt x="4096567" y="1219803"/>
                  </a:cubicBezTo>
                  <a:cubicBezTo>
                    <a:pt x="4101992" y="1216559"/>
                    <a:pt x="4107594" y="1212856"/>
                    <a:pt x="4113374" y="1208700"/>
                  </a:cubicBezTo>
                  <a:close/>
                  <a:moveTo>
                    <a:pt x="3732783" y="1208700"/>
                  </a:moveTo>
                  <a:lnTo>
                    <a:pt x="3747689" y="1208700"/>
                  </a:lnTo>
                  <a:lnTo>
                    <a:pt x="3747689" y="1431679"/>
                  </a:lnTo>
                  <a:lnTo>
                    <a:pt x="3712401" y="1431679"/>
                  </a:lnTo>
                  <a:lnTo>
                    <a:pt x="3712401" y="1251896"/>
                  </a:lnTo>
                  <a:cubicBezTo>
                    <a:pt x="3706013" y="1256459"/>
                    <a:pt x="3699143" y="1260337"/>
                    <a:pt x="3691792" y="1263531"/>
                  </a:cubicBezTo>
                  <a:cubicBezTo>
                    <a:pt x="3684440" y="1266726"/>
                    <a:pt x="3676050" y="1269539"/>
                    <a:pt x="3666619" y="1271973"/>
                  </a:cubicBezTo>
                  <a:lnTo>
                    <a:pt x="3666619" y="1241857"/>
                  </a:lnTo>
                  <a:cubicBezTo>
                    <a:pt x="3672500" y="1239931"/>
                    <a:pt x="3678179" y="1237902"/>
                    <a:pt x="3683654" y="1235773"/>
                  </a:cubicBezTo>
                  <a:cubicBezTo>
                    <a:pt x="3689130" y="1233645"/>
                    <a:pt x="3694530" y="1231262"/>
                    <a:pt x="3699853" y="1228624"/>
                  </a:cubicBezTo>
                  <a:cubicBezTo>
                    <a:pt x="3705177" y="1225988"/>
                    <a:pt x="3710551" y="1223048"/>
                    <a:pt x="3715976" y="1219803"/>
                  </a:cubicBezTo>
                  <a:cubicBezTo>
                    <a:pt x="3721401" y="1216559"/>
                    <a:pt x="3727003" y="1212856"/>
                    <a:pt x="3732783" y="1208700"/>
                  </a:cubicBezTo>
                  <a:close/>
                  <a:moveTo>
                    <a:pt x="3582810" y="1208700"/>
                  </a:moveTo>
                  <a:lnTo>
                    <a:pt x="3597716" y="1208700"/>
                  </a:lnTo>
                  <a:lnTo>
                    <a:pt x="3597716" y="1431679"/>
                  </a:lnTo>
                  <a:lnTo>
                    <a:pt x="3562428" y="1431679"/>
                  </a:lnTo>
                  <a:lnTo>
                    <a:pt x="3562428" y="1251896"/>
                  </a:lnTo>
                  <a:cubicBezTo>
                    <a:pt x="3556040" y="1256459"/>
                    <a:pt x="3549170" y="1260337"/>
                    <a:pt x="3541819" y="1263531"/>
                  </a:cubicBezTo>
                  <a:cubicBezTo>
                    <a:pt x="3534467" y="1266726"/>
                    <a:pt x="3526077" y="1269539"/>
                    <a:pt x="3516646" y="1271973"/>
                  </a:cubicBezTo>
                  <a:lnTo>
                    <a:pt x="3516646" y="1241857"/>
                  </a:lnTo>
                  <a:cubicBezTo>
                    <a:pt x="3522527" y="1239931"/>
                    <a:pt x="3528206" y="1237902"/>
                    <a:pt x="3533681" y="1235773"/>
                  </a:cubicBezTo>
                  <a:cubicBezTo>
                    <a:pt x="3539157" y="1233645"/>
                    <a:pt x="3544557" y="1231262"/>
                    <a:pt x="3549880" y="1228624"/>
                  </a:cubicBezTo>
                  <a:cubicBezTo>
                    <a:pt x="3555204" y="1225988"/>
                    <a:pt x="3560578" y="1223048"/>
                    <a:pt x="3566003" y="1219803"/>
                  </a:cubicBezTo>
                  <a:cubicBezTo>
                    <a:pt x="3571428" y="1216559"/>
                    <a:pt x="3577030" y="1212856"/>
                    <a:pt x="3582810" y="1208700"/>
                  </a:cubicBezTo>
                  <a:close/>
                  <a:moveTo>
                    <a:pt x="3432837" y="1208700"/>
                  </a:moveTo>
                  <a:lnTo>
                    <a:pt x="3447743" y="1208700"/>
                  </a:lnTo>
                  <a:lnTo>
                    <a:pt x="3447743" y="1431679"/>
                  </a:lnTo>
                  <a:lnTo>
                    <a:pt x="3412455" y="1431679"/>
                  </a:lnTo>
                  <a:lnTo>
                    <a:pt x="3412455" y="1251896"/>
                  </a:lnTo>
                  <a:cubicBezTo>
                    <a:pt x="3406067" y="1256459"/>
                    <a:pt x="3399197" y="1260337"/>
                    <a:pt x="3391846" y="1263531"/>
                  </a:cubicBezTo>
                  <a:cubicBezTo>
                    <a:pt x="3384494" y="1266726"/>
                    <a:pt x="3376104" y="1269539"/>
                    <a:pt x="3366673" y="1271973"/>
                  </a:cubicBezTo>
                  <a:lnTo>
                    <a:pt x="3366673" y="1241857"/>
                  </a:lnTo>
                  <a:cubicBezTo>
                    <a:pt x="3372554" y="1239931"/>
                    <a:pt x="3378233" y="1237902"/>
                    <a:pt x="3383708" y="1235773"/>
                  </a:cubicBezTo>
                  <a:cubicBezTo>
                    <a:pt x="3389184" y="1233645"/>
                    <a:pt x="3394584" y="1231262"/>
                    <a:pt x="3399907" y="1228624"/>
                  </a:cubicBezTo>
                  <a:cubicBezTo>
                    <a:pt x="3405231" y="1225988"/>
                    <a:pt x="3410605" y="1223048"/>
                    <a:pt x="3416030" y="1219803"/>
                  </a:cubicBezTo>
                  <a:cubicBezTo>
                    <a:pt x="3421455" y="1216559"/>
                    <a:pt x="3427057" y="1212856"/>
                    <a:pt x="3432837" y="1208700"/>
                  </a:cubicBezTo>
                  <a:close/>
                  <a:moveTo>
                    <a:pt x="3282864" y="1208700"/>
                  </a:moveTo>
                  <a:lnTo>
                    <a:pt x="3297770" y="1208700"/>
                  </a:lnTo>
                  <a:lnTo>
                    <a:pt x="3297770" y="1431679"/>
                  </a:lnTo>
                  <a:lnTo>
                    <a:pt x="3262482" y="1431679"/>
                  </a:lnTo>
                  <a:lnTo>
                    <a:pt x="3262482" y="1251896"/>
                  </a:lnTo>
                  <a:cubicBezTo>
                    <a:pt x="3256094" y="1256459"/>
                    <a:pt x="3249224" y="1260337"/>
                    <a:pt x="3241873" y="1263531"/>
                  </a:cubicBezTo>
                  <a:cubicBezTo>
                    <a:pt x="3234521" y="1266726"/>
                    <a:pt x="3226131" y="1269539"/>
                    <a:pt x="3216700" y="1271973"/>
                  </a:cubicBezTo>
                  <a:lnTo>
                    <a:pt x="3216700" y="1241857"/>
                  </a:lnTo>
                  <a:cubicBezTo>
                    <a:pt x="3222581" y="1239931"/>
                    <a:pt x="3228260" y="1237902"/>
                    <a:pt x="3233735" y="1235773"/>
                  </a:cubicBezTo>
                  <a:cubicBezTo>
                    <a:pt x="3239211" y="1233645"/>
                    <a:pt x="3244611" y="1231262"/>
                    <a:pt x="3249934" y="1228624"/>
                  </a:cubicBezTo>
                  <a:cubicBezTo>
                    <a:pt x="3255258" y="1225988"/>
                    <a:pt x="3260632" y="1223048"/>
                    <a:pt x="3266057" y="1219803"/>
                  </a:cubicBezTo>
                  <a:cubicBezTo>
                    <a:pt x="3271482" y="1216559"/>
                    <a:pt x="3277084" y="1212856"/>
                    <a:pt x="3282864" y="1208700"/>
                  </a:cubicBezTo>
                  <a:close/>
                  <a:moveTo>
                    <a:pt x="3078927" y="1208700"/>
                  </a:moveTo>
                  <a:cubicBezTo>
                    <a:pt x="3126371" y="1208700"/>
                    <a:pt x="3150094" y="1245562"/>
                    <a:pt x="3150094" y="1319287"/>
                  </a:cubicBezTo>
                  <a:cubicBezTo>
                    <a:pt x="3150094" y="1355798"/>
                    <a:pt x="3143399" y="1383658"/>
                    <a:pt x="3130008" y="1402866"/>
                  </a:cubicBezTo>
                  <a:cubicBezTo>
                    <a:pt x="3116617" y="1422074"/>
                    <a:pt x="3097885" y="1431679"/>
                    <a:pt x="3073811" y="1431679"/>
                  </a:cubicBezTo>
                  <a:cubicBezTo>
                    <a:pt x="3051343" y="1431679"/>
                    <a:pt x="3033814" y="1422501"/>
                    <a:pt x="3021226" y="1404145"/>
                  </a:cubicBezTo>
                  <a:cubicBezTo>
                    <a:pt x="3008637" y="1385789"/>
                    <a:pt x="3002343" y="1359259"/>
                    <a:pt x="3002343" y="1324553"/>
                  </a:cubicBezTo>
                  <a:cubicBezTo>
                    <a:pt x="3002343" y="1286436"/>
                    <a:pt x="3008913" y="1257599"/>
                    <a:pt x="3022053" y="1238039"/>
                  </a:cubicBezTo>
                  <a:cubicBezTo>
                    <a:pt x="3035194" y="1218479"/>
                    <a:pt x="3054151" y="1208700"/>
                    <a:pt x="3078927" y="1208700"/>
                  </a:cubicBezTo>
                  <a:close/>
                  <a:moveTo>
                    <a:pt x="2948681" y="1208700"/>
                  </a:moveTo>
                  <a:lnTo>
                    <a:pt x="2963587" y="1208700"/>
                  </a:lnTo>
                  <a:lnTo>
                    <a:pt x="2963587" y="1431679"/>
                  </a:lnTo>
                  <a:lnTo>
                    <a:pt x="2928299" y="1431679"/>
                  </a:lnTo>
                  <a:lnTo>
                    <a:pt x="2928299" y="1251896"/>
                  </a:lnTo>
                  <a:cubicBezTo>
                    <a:pt x="2921911" y="1256459"/>
                    <a:pt x="2915041" y="1260337"/>
                    <a:pt x="2907690" y="1263531"/>
                  </a:cubicBezTo>
                  <a:cubicBezTo>
                    <a:pt x="2900338" y="1266726"/>
                    <a:pt x="2891948" y="1269539"/>
                    <a:pt x="2882517" y="1271973"/>
                  </a:cubicBezTo>
                  <a:lnTo>
                    <a:pt x="2882517" y="1241857"/>
                  </a:lnTo>
                  <a:cubicBezTo>
                    <a:pt x="2888398" y="1239931"/>
                    <a:pt x="2894077" y="1237902"/>
                    <a:pt x="2899552" y="1235773"/>
                  </a:cubicBezTo>
                  <a:cubicBezTo>
                    <a:pt x="2905028" y="1233645"/>
                    <a:pt x="2910428" y="1231262"/>
                    <a:pt x="2915751" y="1228624"/>
                  </a:cubicBezTo>
                  <a:cubicBezTo>
                    <a:pt x="2921075" y="1225988"/>
                    <a:pt x="2926449" y="1223048"/>
                    <a:pt x="2931874" y="1219803"/>
                  </a:cubicBezTo>
                  <a:cubicBezTo>
                    <a:pt x="2937299" y="1216559"/>
                    <a:pt x="2942901" y="1212856"/>
                    <a:pt x="2948681" y="1208700"/>
                  </a:cubicBezTo>
                  <a:close/>
                  <a:moveTo>
                    <a:pt x="2732124" y="1208700"/>
                  </a:moveTo>
                  <a:cubicBezTo>
                    <a:pt x="2779568" y="1208700"/>
                    <a:pt x="2803291" y="1245562"/>
                    <a:pt x="2803291" y="1319287"/>
                  </a:cubicBezTo>
                  <a:cubicBezTo>
                    <a:pt x="2803291" y="1355798"/>
                    <a:pt x="2796596" y="1383658"/>
                    <a:pt x="2783205" y="1402866"/>
                  </a:cubicBezTo>
                  <a:cubicBezTo>
                    <a:pt x="2769814" y="1422074"/>
                    <a:pt x="2751082" y="1431679"/>
                    <a:pt x="2727008" y="1431679"/>
                  </a:cubicBezTo>
                  <a:cubicBezTo>
                    <a:pt x="2704540" y="1431679"/>
                    <a:pt x="2687011" y="1422501"/>
                    <a:pt x="2674423" y="1404145"/>
                  </a:cubicBezTo>
                  <a:cubicBezTo>
                    <a:pt x="2661834" y="1385789"/>
                    <a:pt x="2655540" y="1359259"/>
                    <a:pt x="2655540" y="1324553"/>
                  </a:cubicBezTo>
                  <a:cubicBezTo>
                    <a:pt x="2655540" y="1286436"/>
                    <a:pt x="2662110" y="1257599"/>
                    <a:pt x="2675250" y="1238039"/>
                  </a:cubicBezTo>
                  <a:cubicBezTo>
                    <a:pt x="2688391" y="1218479"/>
                    <a:pt x="2707348" y="1208700"/>
                    <a:pt x="2732124" y="1208700"/>
                  </a:cubicBezTo>
                  <a:close/>
                  <a:moveTo>
                    <a:pt x="2040759" y="1208700"/>
                  </a:moveTo>
                  <a:cubicBezTo>
                    <a:pt x="2088203" y="1208700"/>
                    <a:pt x="2111926" y="1245562"/>
                    <a:pt x="2111926" y="1319287"/>
                  </a:cubicBezTo>
                  <a:cubicBezTo>
                    <a:pt x="2111926" y="1355798"/>
                    <a:pt x="2105231" y="1383658"/>
                    <a:pt x="2091840" y="1402866"/>
                  </a:cubicBezTo>
                  <a:cubicBezTo>
                    <a:pt x="2078449" y="1422074"/>
                    <a:pt x="2059717" y="1431679"/>
                    <a:pt x="2035643" y="1431679"/>
                  </a:cubicBezTo>
                  <a:cubicBezTo>
                    <a:pt x="2013175" y="1431679"/>
                    <a:pt x="1995646" y="1422501"/>
                    <a:pt x="1983058" y="1404145"/>
                  </a:cubicBezTo>
                  <a:cubicBezTo>
                    <a:pt x="1970469" y="1385789"/>
                    <a:pt x="1964175" y="1359259"/>
                    <a:pt x="1964175" y="1324553"/>
                  </a:cubicBezTo>
                  <a:cubicBezTo>
                    <a:pt x="1964175" y="1286436"/>
                    <a:pt x="1970745" y="1257599"/>
                    <a:pt x="1983885" y="1238039"/>
                  </a:cubicBezTo>
                  <a:cubicBezTo>
                    <a:pt x="1997026" y="1218479"/>
                    <a:pt x="2015983" y="1208700"/>
                    <a:pt x="2040759" y="1208700"/>
                  </a:cubicBezTo>
                  <a:close/>
                  <a:moveTo>
                    <a:pt x="1668398" y="1208700"/>
                  </a:moveTo>
                  <a:lnTo>
                    <a:pt x="1683304" y="1208700"/>
                  </a:lnTo>
                  <a:lnTo>
                    <a:pt x="1683304" y="1431679"/>
                  </a:lnTo>
                  <a:lnTo>
                    <a:pt x="1648016" y="1431679"/>
                  </a:lnTo>
                  <a:lnTo>
                    <a:pt x="1648016" y="1251896"/>
                  </a:lnTo>
                  <a:cubicBezTo>
                    <a:pt x="1641628" y="1256459"/>
                    <a:pt x="1634758" y="1260337"/>
                    <a:pt x="1627407" y="1263531"/>
                  </a:cubicBezTo>
                  <a:cubicBezTo>
                    <a:pt x="1620055" y="1266726"/>
                    <a:pt x="1611664" y="1269539"/>
                    <a:pt x="1602234" y="1271973"/>
                  </a:cubicBezTo>
                  <a:lnTo>
                    <a:pt x="1602234" y="1241857"/>
                  </a:lnTo>
                  <a:cubicBezTo>
                    <a:pt x="1608115" y="1239931"/>
                    <a:pt x="1613794" y="1237902"/>
                    <a:pt x="1619269" y="1235773"/>
                  </a:cubicBezTo>
                  <a:cubicBezTo>
                    <a:pt x="1624745" y="1233645"/>
                    <a:pt x="1630145" y="1231262"/>
                    <a:pt x="1635468" y="1228624"/>
                  </a:cubicBezTo>
                  <a:cubicBezTo>
                    <a:pt x="1640792" y="1225988"/>
                    <a:pt x="1646166" y="1223048"/>
                    <a:pt x="1651591" y="1219803"/>
                  </a:cubicBezTo>
                  <a:cubicBezTo>
                    <a:pt x="1657016" y="1216559"/>
                    <a:pt x="1662618" y="1212856"/>
                    <a:pt x="1668398" y="1208700"/>
                  </a:cubicBezTo>
                  <a:close/>
                  <a:moveTo>
                    <a:pt x="1291732" y="1208700"/>
                  </a:moveTo>
                  <a:lnTo>
                    <a:pt x="1306638" y="1208700"/>
                  </a:lnTo>
                  <a:lnTo>
                    <a:pt x="1306638" y="1431679"/>
                  </a:lnTo>
                  <a:lnTo>
                    <a:pt x="1271350" y="1431679"/>
                  </a:lnTo>
                  <a:lnTo>
                    <a:pt x="1271350" y="1251896"/>
                  </a:lnTo>
                  <a:cubicBezTo>
                    <a:pt x="1264962" y="1256459"/>
                    <a:pt x="1258092" y="1260337"/>
                    <a:pt x="1250741" y="1263531"/>
                  </a:cubicBezTo>
                  <a:cubicBezTo>
                    <a:pt x="1243389" y="1266726"/>
                    <a:pt x="1234998" y="1269539"/>
                    <a:pt x="1225568" y="1271973"/>
                  </a:cubicBezTo>
                  <a:lnTo>
                    <a:pt x="1225568" y="1241857"/>
                  </a:lnTo>
                  <a:cubicBezTo>
                    <a:pt x="1231449" y="1239931"/>
                    <a:pt x="1237128" y="1237902"/>
                    <a:pt x="1242603" y="1235773"/>
                  </a:cubicBezTo>
                  <a:cubicBezTo>
                    <a:pt x="1248079" y="1233645"/>
                    <a:pt x="1253479" y="1231262"/>
                    <a:pt x="1258802" y="1228624"/>
                  </a:cubicBezTo>
                  <a:cubicBezTo>
                    <a:pt x="1264126" y="1225988"/>
                    <a:pt x="1269500" y="1223048"/>
                    <a:pt x="1274925" y="1219803"/>
                  </a:cubicBezTo>
                  <a:cubicBezTo>
                    <a:pt x="1280350" y="1216559"/>
                    <a:pt x="1285952" y="1212856"/>
                    <a:pt x="1291732" y="1208700"/>
                  </a:cubicBezTo>
                  <a:close/>
                  <a:moveTo>
                    <a:pt x="991786" y="1208700"/>
                  </a:moveTo>
                  <a:lnTo>
                    <a:pt x="1006692" y="1208700"/>
                  </a:lnTo>
                  <a:lnTo>
                    <a:pt x="1006692" y="1431679"/>
                  </a:lnTo>
                  <a:lnTo>
                    <a:pt x="971404" y="1431679"/>
                  </a:lnTo>
                  <a:lnTo>
                    <a:pt x="971404" y="1251896"/>
                  </a:lnTo>
                  <a:cubicBezTo>
                    <a:pt x="965016" y="1256459"/>
                    <a:pt x="958146" y="1260337"/>
                    <a:pt x="950795" y="1263531"/>
                  </a:cubicBezTo>
                  <a:cubicBezTo>
                    <a:pt x="943443" y="1266726"/>
                    <a:pt x="935052" y="1269539"/>
                    <a:pt x="925622" y="1271973"/>
                  </a:cubicBezTo>
                  <a:lnTo>
                    <a:pt x="925622" y="1241857"/>
                  </a:lnTo>
                  <a:cubicBezTo>
                    <a:pt x="931503" y="1239931"/>
                    <a:pt x="937182" y="1237902"/>
                    <a:pt x="942657" y="1235773"/>
                  </a:cubicBezTo>
                  <a:cubicBezTo>
                    <a:pt x="948133" y="1233645"/>
                    <a:pt x="953533" y="1231262"/>
                    <a:pt x="958856" y="1228624"/>
                  </a:cubicBezTo>
                  <a:cubicBezTo>
                    <a:pt x="964180" y="1225988"/>
                    <a:pt x="969554" y="1223048"/>
                    <a:pt x="974979" y="1219803"/>
                  </a:cubicBezTo>
                  <a:cubicBezTo>
                    <a:pt x="980404" y="1216559"/>
                    <a:pt x="986006" y="1212856"/>
                    <a:pt x="991786" y="1208700"/>
                  </a:cubicBezTo>
                  <a:close/>
                  <a:moveTo>
                    <a:pt x="785552" y="1208700"/>
                  </a:moveTo>
                  <a:cubicBezTo>
                    <a:pt x="832996" y="1208700"/>
                    <a:pt x="856719" y="1245562"/>
                    <a:pt x="856719" y="1319287"/>
                  </a:cubicBezTo>
                  <a:cubicBezTo>
                    <a:pt x="856719" y="1355798"/>
                    <a:pt x="850023" y="1383658"/>
                    <a:pt x="836633" y="1402866"/>
                  </a:cubicBezTo>
                  <a:cubicBezTo>
                    <a:pt x="823242" y="1422074"/>
                    <a:pt x="804510" y="1431679"/>
                    <a:pt x="780436" y="1431679"/>
                  </a:cubicBezTo>
                  <a:cubicBezTo>
                    <a:pt x="757968" y="1431679"/>
                    <a:pt x="740439" y="1422501"/>
                    <a:pt x="727851" y="1404145"/>
                  </a:cubicBezTo>
                  <a:cubicBezTo>
                    <a:pt x="715262" y="1385789"/>
                    <a:pt x="708968" y="1359259"/>
                    <a:pt x="708968" y="1324553"/>
                  </a:cubicBezTo>
                  <a:cubicBezTo>
                    <a:pt x="708968" y="1286436"/>
                    <a:pt x="715538" y="1257599"/>
                    <a:pt x="728678" y="1238039"/>
                  </a:cubicBezTo>
                  <a:cubicBezTo>
                    <a:pt x="741819" y="1218479"/>
                    <a:pt x="760776" y="1208700"/>
                    <a:pt x="785552" y="1208700"/>
                  </a:cubicBezTo>
                  <a:close/>
                  <a:moveTo>
                    <a:pt x="564952" y="1208700"/>
                  </a:moveTo>
                  <a:cubicBezTo>
                    <a:pt x="612396" y="1208700"/>
                    <a:pt x="636119" y="1245562"/>
                    <a:pt x="636119" y="1319287"/>
                  </a:cubicBezTo>
                  <a:cubicBezTo>
                    <a:pt x="636119" y="1355798"/>
                    <a:pt x="629423" y="1383658"/>
                    <a:pt x="616033" y="1402866"/>
                  </a:cubicBezTo>
                  <a:cubicBezTo>
                    <a:pt x="602642" y="1422074"/>
                    <a:pt x="583910" y="1431679"/>
                    <a:pt x="559836" y="1431679"/>
                  </a:cubicBezTo>
                  <a:cubicBezTo>
                    <a:pt x="537368" y="1431679"/>
                    <a:pt x="519839" y="1422501"/>
                    <a:pt x="507251" y="1404145"/>
                  </a:cubicBezTo>
                  <a:cubicBezTo>
                    <a:pt x="494662" y="1385789"/>
                    <a:pt x="488368" y="1359259"/>
                    <a:pt x="488368" y="1324553"/>
                  </a:cubicBezTo>
                  <a:cubicBezTo>
                    <a:pt x="488368" y="1286436"/>
                    <a:pt x="494938" y="1257599"/>
                    <a:pt x="508078" y="1238039"/>
                  </a:cubicBezTo>
                  <a:cubicBezTo>
                    <a:pt x="521219" y="1218479"/>
                    <a:pt x="540176" y="1208700"/>
                    <a:pt x="564952" y="1208700"/>
                  </a:cubicBezTo>
                  <a:close/>
                  <a:moveTo>
                    <a:pt x="397790" y="1208700"/>
                  </a:moveTo>
                  <a:lnTo>
                    <a:pt x="412696" y="1208700"/>
                  </a:lnTo>
                  <a:lnTo>
                    <a:pt x="412696" y="1431679"/>
                  </a:lnTo>
                  <a:lnTo>
                    <a:pt x="377408" y="1431679"/>
                  </a:lnTo>
                  <a:lnTo>
                    <a:pt x="377408" y="1251896"/>
                  </a:lnTo>
                  <a:cubicBezTo>
                    <a:pt x="371020" y="1256459"/>
                    <a:pt x="364150" y="1260337"/>
                    <a:pt x="356799" y="1263531"/>
                  </a:cubicBezTo>
                  <a:cubicBezTo>
                    <a:pt x="349447" y="1266726"/>
                    <a:pt x="341056" y="1269539"/>
                    <a:pt x="331626" y="1271973"/>
                  </a:cubicBezTo>
                  <a:lnTo>
                    <a:pt x="331626" y="1241857"/>
                  </a:lnTo>
                  <a:cubicBezTo>
                    <a:pt x="337507" y="1239931"/>
                    <a:pt x="343186" y="1237902"/>
                    <a:pt x="348661" y="1235773"/>
                  </a:cubicBezTo>
                  <a:cubicBezTo>
                    <a:pt x="354137" y="1233645"/>
                    <a:pt x="359537" y="1231262"/>
                    <a:pt x="364860" y="1228624"/>
                  </a:cubicBezTo>
                  <a:cubicBezTo>
                    <a:pt x="370184" y="1225988"/>
                    <a:pt x="375558" y="1223048"/>
                    <a:pt x="380983" y="1219803"/>
                  </a:cubicBezTo>
                  <a:cubicBezTo>
                    <a:pt x="386408" y="1216559"/>
                    <a:pt x="392010" y="1212856"/>
                    <a:pt x="397790" y="1208700"/>
                  </a:cubicBezTo>
                  <a:close/>
                  <a:moveTo>
                    <a:pt x="97844" y="1208700"/>
                  </a:moveTo>
                  <a:lnTo>
                    <a:pt x="112750" y="1208700"/>
                  </a:lnTo>
                  <a:lnTo>
                    <a:pt x="112750" y="1431679"/>
                  </a:lnTo>
                  <a:lnTo>
                    <a:pt x="77462" y="1431679"/>
                  </a:lnTo>
                  <a:lnTo>
                    <a:pt x="77462" y="1251896"/>
                  </a:lnTo>
                  <a:cubicBezTo>
                    <a:pt x="71074" y="1256459"/>
                    <a:pt x="64204" y="1260337"/>
                    <a:pt x="56853" y="1263531"/>
                  </a:cubicBezTo>
                  <a:cubicBezTo>
                    <a:pt x="49501" y="1266726"/>
                    <a:pt x="41110" y="1269539"/>
                    <a:pt x="31680" y="1271973"/>
                  </a:cubicBezTo>
                  <a:lnTo>
                    <a:pt x="31680" y="1241857"/>
                  </a:lnTo>
                  <a:cubicBezTo>
                    <a:pt x="37561" y="1239931"/>
                    <a:pt x="43240" y="1237902"/>
                    <a:pt x="48715" y="1235773"/>
                  </a:cubicBezTo>
                  <a:cubicBezTo>
                    <a:pt x="54191" y="1233645"/>
                    <a:pt x="59591" y="1231262"/>
                    <a:pt x="64914" y="1228624"/>
                  </a:cubicBezTo>
                  <a:cubicBezTo>
                    <a:pt x="70238" y="1225988"/>
                    <a:pt x="75612" y="1223048"/>
                    <a:pt x="81037" y="1219803"/>
                  </a:cubicBezTo>
                  <a:cubicBezTo>
                    <a:pt x="86462" y="1216559"/>
                    <a:pt x="92064" y="1212856"/>
                    <a:pt x="97844" y="1208700"/>
                  </a:cubicBezTo>
                  <a:close/>
                  <a:moveTo>
                    <a:pt x="11990061" y="942895"/>
                  </a:moveTo>
                  <a:cubicBezTo>
                    <a:pt x="11963881" y="942895"/>
                    <a:pt x="11950791" y="971733"/>
                    <a:pt x="11950791" y="1029409"/>
                  </a:cubicBezTo>
                  <a:cubicBezTo>
                    <a:pt x="11950791" y="1083373"/>
                    <a:pt x="11963630" y="1110356"/>
                    <a:pt x="11989309" y="1110356"/>
                  </a:cubicBezTo>
                  <a:cubicBezTo>
                    <a:pt x="12014585" y="1110356"/>
                    <a:pt x="12027224" y="1082922"/>
                    <a:pt x="12027224" y="1028055"/>
                  </a:cubicBezTo>
                  <a:cubicBezTo>
                    <a:pt x="12027224" y="971281"/>
                    <a:pt x="12014836" y="942895"/>
                    <a:pt x="11990061" y="942895"/>
                  </a:cubicBezTo>
                  <a:close/>
                  <a:moveTo>
                    <a:pt x="11773551" y="942895"/>
                  </a:moveTo>
                  <a:cubicBezTo>
                    <a:pt x="11747371" y="942895"/>
                    <a:pt x="11734281" y="971733"/>
                    <a:pt x="11734281" y="1029409"/>
                  </a:cubicBezTo>
                  <a:cubicBezTo>
                    <a:pt x="11734281" y="1083373"/>
                    <a:pt x="11747120" y="1110356"/>
                    <a:pt x="11772799" y="1110356"/>
                  </a:cubicBezTo>
                  <a:cubicBezTo>
                    <a:pt x="11798075" y="1110356"/>
                    <a:pt x="11810714" y="1082922"/>
                    <a:pt x="11810714" y="1028055"/>
                  </a:cubicBezTo>
                  <a:cubicBezTo>
                    <a:pt x="11810714" y="971281"/>
                    <a:pt x="11798326" y="942895"/>
                    <a:pt x="11773551" y="942895"/>
                  </a:cubicBezTo>
                  <a:close/>
                  <a:moveTo>
                    <a:pt x="6978763" y="942895"/>
                  </a:moveTo>
                  <a:cubicBezTo>
                    <a:pt x="6952583" y="942895"/>
                    <a:pt x="6939493" y="971733"/>
                    <a:pt x="6939493" y="1029409"/>
                  </a:cubicBezTo>
                  <a:cubicBezTo>
                    <a:pt x="6939493" y="1083373"/>
                    <a:pt x="6952332" y="1110356"/>
                    <a:pt x="6978011" y="1110356"/>
                  </a:cubicBezTo>
                  <a:cubicBezTo>
                    <a:pt x="7003288" y="1110356"/>
                    <a:pt x="7015926" y="1082922"/>
                    <a:pt x="7015926" y="1028055"/>
                  </a:cubicBezTo>
                  <a:cubicBezTo>
                    <a:pt x="7015926" y="971281"/>
                    <a:pt x="7003538" y="942895"/>
                    <a:pt x="6978763" y="942895"/>
                  </a:cubicBezTo>
                  <a:close/>
                  <a:moveTo>
                    <a:pt x="6762253" y="942895"/>
                  </a:moveTo>
                  <a:cubicBezTo>
                    <a:pt x="6736073" y="942895"/>
                    <a:pt x="6722983" y="971733"/>
                    <a:pt x="6722983" y="1029409"/>
                  </a:cubicBezTo>
                  <a:cubicBezTo>
                    <a:pt x="6722983" y="1083373"/>
                    <a:pt x="6735822" y="1110356"/>
                    <a:pt x="6761501" y="1110356"/>
                  </a:cubicBezTo>
                  <a:cubicBezTo>
                    <a:pt x="6786778" y="1110356"/>
                    <a:pt x="6799416" y="1082922"/>
                    <a:pt x="6799416" y="1028055"/>
                  </a:cubicBezTo>
                  <a:cubicBezTo>
                    <a:pt x="6799416" y="971281"/>
                    <a:pt x="6787028" y="942895"/>
                    <a:pt x="6762253" y="942895"/>
                  </a:cubicBezTo>
                  <a:close/>
                  <a:moveTo>
                    <a:pt x="6144476" y="942895"/>
                  </a:moveTo>
                  <a:cubicBezTo>
                    <a:pt x="6118296" y="942895"/>
                    <a:pt x="6105206" y="971733"/>
                    <a:pt x="6105206" y="1029409"/>
                  </a:cubicBezTo>
                  <a:cubicBezTo>
                    <a:pt x="6105206" y="1083373"/>
                    <a:pt x="6118045" y="1110356"/>
                    <a:pt x="6143724" y="1110356"/>
                  </a:cubicBezTo>
                  <a:cubicBezTo>
                    <a:pt x="6169001" y="1110356"/>
                    <a:pt x="6181639" y="1082922"/>
                    <a:pt x="6181639" y="1028055"/>
                  </a:cubicBezTo>
                  <a:cubicBezTo>
                    <a:pt x="6181639" y="971281"/>
                    <a:pt x="6169251" y="942895"/>
                    <a:pt x="6144476" y="942895"/>
                  </a:cubicBezTo>
                  <a:close/>
                  <a:moveTo>
                    <a:pt x="5927965" y="942895"/>
                  </a:moveTo>
                  <a:cubicBezTo>
                    <a:pt x="5901786" y="942895"/>
                    <a:pt x="5888696" y="971733"/>
                    <a:pt x="5888696" y="1029409"/>
                  </a:cubicBezTo>
                  <a:cubicBezTo>
                    <a:pt x="5888696" y="1083373"/>
                    <a:pt x="5901536" y="1110356"/>
                    <a:pt x="5927213" y="1110356"/>
                  </a:cubicBezTo>
                  <a:cubicBezTo>
                    <a:pt x="5952490" y="1110356"/>
                    <a:pt x="5965130" y="1082922"/>
                    <a:pt x="5965130" y="1028055"/>
                  </a:cubicBezTo>
                  <a:cubicBezTo>
                    <a:pt x="5965130" y="971281"/>
                    <a:pt x="5952741" y="942895"/>
                    <a:pt x="5927965" y="942895"/>
                  </a:cubicBezTo>
                  <a:close/>
                  <a:moveTo>
                    <a:pt x="5703858" y="942895"/>
                  </a:moveTo>
                  <a:cubicBezTo>
                    <a:pt x="5677680" y="942895"/>
                    <a:pt x="5664590" y="971733"/>
                    <a:pt x="5664590" y="1029409"/>
                  </a:cubicBezTo>
                  <a:cubicBezTo>
                    <a:pt x="5664590" y="1083373"/>
                    <a:pt x="5677428" y="1110356"/>
                    <a:pt x="5703106" y="1110356"/>
                  </a:cubicBezTo>
                  <a:cubicBezTo>
                    <a:pt x="5728384" y="1110356"/>
                    <a:pt x="5741022" y="1082922"/>
                    <a:pt x="5741022" y="1028055"/>
                  </a:cubicBezTo>
                  <a:cubicBezTo>
                    <a:pt x="5741022" y="971281"/>
                    <a:pt x="5728634" y="942895"/>
                    <a:pt x="5703858" y="942895"/>
                  </a:cubicBezTo>
                  <a:close/>
                  <a:moveTo>
                    <a:pt x="925881" y="942895"/>
                  </a:moveTo>
                  <a:cubicBezTo>
                    <a:pt x="899701" y="942895"/>
                    <a:pt x="886611" y="971733"/>
                    <a:pt x="886611" y="1029409"/>
                  </a:cubicBezTo>
                  <a:cubicBezTo>
                    <a:pt x="886611" y="1083373"/>
                    <a:pt x="899450" y="1110356"/>
                    <a:pt x="925129" y="1110356"/>
                  </a:cubicBezTo>
                  <a:cubicBezTo>
                    <a:pt x="950406" y="1110356"/>
                    <a:pt x="963044" y="1082922"/>
                    <a:pt x="963044" y="1028055"/>
                  </a:cubicBezTo>
                  <a:cubicBezTo>
                    <a:pt x="963044" y="971281"/>
                    <a:pt x="950657" y="942895"/>
                    <a:pt x="925881" y="942895"/>
                  </a:cubicBezTo>
                  <a:close/>
                  <a:moveTo>
                    <a:pt x="709604" y="942895"/>
                  </a:moveTo>
                  <a:cubicBezTo>
                    <a:pt x="683425" y="942895"/>
                    <a:pt x="670336" y="971733"/>
                    <a:pt x="670336" y="1029409"/>
                  </a:cubicBezTo>
                  <a:cubicBezTo>
                    <a:pt x="670336" y="1083373"/>
                    <a:pt x="683175" y="1110356"/>
                    <a:pt x="708853" y="1110356"/>
                  </a:cubicBezTo>
                  <a:cubicBezTo>
                    <a:pt x="734130" y="1110356"/>
                    <a:pt x="746769" y="1082922"/>
                    <a:pt x="746769" y="1028055"/>
                  </a:cubicBezTo>
                  <a:cubicBezTo>
                    <a:pt x="746769" y="971281"/>
                    <a:pt x="734381" y="942895"/>
                    <a:pt x="709604" y="942895"/>
                  </a:cubicBezTo>
                  <a:close/>
                  <a:moveTo>
                    <a:pt x="87999" y="942895"/>
                  </a:moveTo>
                  <a:cubicBezTo>
                    <a:pt x="61819" y="942895"/>
                    <a:pt x="48728" y="971733"/>
                    <a:pt x="48728" y="1029409"/>
                  </a:cubicBezTo>
                  <a:cubicBezTo>
                    <a:pt x="48728" y="1083373"/>
                    <a:pt x="61567" y="1110356"/>
                    <a:pt x="87245" y="1110356"/>
                  </a:cubicBezTo>
                  <a:cubicBezTo>
                    <a:pt x="112522" y="1110356"/>
                    <a:pt x="125161" y="1082922"/>
                    <a:pt x="125161" y="1028055"/>
                  </a:cubicBezTo>
                  <a:cubicBezTo>
                    <a:pt x="125161" y="971281"/>
                    <a:pt x="112774" y="942895"/>
                    <a:pt x="87999" y="942895"/>
                  </a:cubicBezTo>
                  <a:close/>
                  <a:moveTo>
                    <a:pt x="11991716" y="915060"/>
                  </a:moveTo>
                  <a:cubicBezTo>
                    <a:pt x="12039160" y="915060"/>
                    <a:pt x="12062883" y="951923"/>
                    <a:pt x="12062883" y="1025647"/>
                  </a:cubicBezTo>
                  <a:cubicBezTo>
                    <a:pt x="12062883" y="1062159"/>
                    <a:pt x="12056187" y="1090019"/>
                    <a:pt x="12042797" y="1109227"/>
                  </a:cubicBezTo>
                  <a:cubicBezTo>
                    <a:pt x="12029406" y="1128435"/>
                    <a:pt x="12010674" y="1138040"/>
                    <a:pt x="11986600" y="1138040"/>
                  </a:cubicBezTo>
                  <a:cubicBezTo>
                    <a:pt x="11964132" y="1138040"/>
                    <a:pt x="11946603" y="1128862"/>
                    <a:pt x="11934015" y="1110506"/>
                  </a:cubicBezTo>
                  <a:cubicBezTo>
                    <a:pt x="11921426" y="1092150"/>
                    <a:pt x="11915132" y="1065619"/>
                    <a:pt x="11915132" y="1030914"/>
                  </a:cubicBezTo>
                  <a:cubicBezTo>
                    <a:pt x="11915132" y="992797"/>
                    <a:pt x="11921702" y="963959"/>
                    <a:pt x="11934842" y="944399"/>
                  </a:cubicBezTo>
                  <a:cubicBezTo>
                    <a:pt x="11947983" y="924840"/>
                    <a:pt x="11966940" y="915060"/>
                    <a:pt x="11991716" y="915060"/>
                  </a:cubicBezTo>
                  <a:close/>
                  <a:moveTo>
                    <a:pt x="11775206" y="915060"/>
                  </a:moveTo>
                  <a:cubicBezTo>
                    <a:pt x="11822650" y="915060"/>
                    <a:pt x="11846373" y="951923"/>
                    <a:pt x="11846373" y="1025647"/>
                  </a:cubicBezTo>
                  <a:cubicBezTo>
                    <a:pt x="11846373" y="1062159"/>
                    <a:pt x="11839677" y="1090019"/>
                    <a:pt x="11826287" y="1109227"/>
                  </a:cubicBezTo>
                  <a:cubicBezTo>
                    <a:pt x="11812896" y="1128435"/>
                    <a:pt x="11794164" y="1138040"/>
                    <a:pt x="11770090" y="1138040"/>
                  </a:cubicBezTo>
                  <a:cubicBezTo>
                    <a:pt x="11747622" y="1138040"/>
                    <a:pt x="11730093" y="1128862"/>
                    <a:pt x="11717505" y="1110506"/>
                  </a:cubicBezTo>
                  <a:cubicBezTo>
                    <a:pt x="11704916" y="1092150"/>
                    <a:pt x="11698622" y="1065619"/>
                    <a:pt x="11698622" y="1030914"/>
                  </a:cubicBezTo>
                  <a:cubicBezTo>
                    <a:pt x="11698622" y="992797"/>
                    <a:pt x="11705192" y="963959"/>
                    <a:pt x="11718332" y="944399"/>
                  </a:cubicBezTo>
                  <a:cubicBezTo>
                    <a:pt x="11731473" y="924840"/>
                    <a:pt x="11750430" y="915060"/>
                    <a:pt x="11775206" y="915060"/>
                  </a:cubicBezTo>
                  <a:close/>
                  <a:moveTo>
                    <a:pt x="11623651" y="915060"/>
                  </a:moveTo>
                  <a:lnTo>
                    <a:pt x="11638557" y="915060"/>
                  </a:lnTo>
                  <a:lnTo>
                    <a:pt x="11638557" y="1138040"/>
                  </a:lnTo>
                  <a:lnTo>
                    <a:pt x="11603269" y="1138040"/>
                  </a:lnTo>
                  <a:lnTo>
                    <a:pt x="11603269" y="958257"/>
                  </a:lnTo>
                  <a:cubicBezTo>
                    <a:pt x="11596881" y="962820"/>
                    <a:pt x="11590011" y="966698"/>
                    <a:pt x="11582660" y="969892"/>
                  </a:cubicBezTo>
                  <a:cubicBezTo>
                    <a:pt x="11575308" y="973087"/>
                    <a:pt x="11566917" y="975900"/>
                    <a:pt x="11557487" y="978334"/>
                  </a:cubicBezTo>
                  <a:lnTo>
                    <a:pt x="11557487" y="948218"/>
                  </a:lnTo>
                  <a:cubicBezTo>
                    <a:pt x="11563368" y="946292"/>
                    <a:pt x="11569047" y="944263"/>
                    <a:pt x="11574522" y="942134"/>
                  </a:cubicBezTo>
                  <a:cubicBezTo>
                    <a:pt x="11579998" y="940005"/>
                    <a:pt x="11585398" y="937621"/>
                    <a:pt x="11590721" y="934985"/>
                  </a:cubicBezTo>
                  <a:cubicBezTo>
                    <a:pt x="11596045" y="932349"/>
                    <a:pt x="11601419" y="929408"/>
                    <a:pt x="11606844" y="926163"/>
                  </a:cubicBezTo>
                  <a:cubicBezTo>
                    <a:pt x="11612269" y="922919"/>
                    <a:pt x="11617871" y="919217"/>
                    <a:pt x="11623651" y="915060"/>
                  </a:cubicBezTo>
                  <a:close/>
                  <a:moveTo>
                    <a:pt x="11320876" y="915060"/>
                  </a:moveTo>
                  <a:lnTo>
                    <a:pt x="11335782" y="915060"/>
                  </a:lnTo>
                  <a:lnTo>
                    <a:pt x="11335782" y="1138040"/>
                  </a:lnTo>
                  <a:lnTo>
                    <a:pt x="11300494" y="1138040"/>
                  </a:lnTo>
                  <a:lnTo>
                    <a:pt x="11300494" y="958257"/>
                  </a:lnTo>
                  <a:cubicBezTo>
                    <a:pt x="11294106" y="962820"/>
                    <a:pt x="11287236" y="966698"/>
                    <a:pt x="11279885" y="969892"/>
                  </a:cubicBezTo>
                  <a:cubicBezTo>
                    <a:pt x="11272533" y="973087"/>
                    <a:pt x="11264142" y="975900"/>
                    <a:pt x="11254712" y="978334"/>
                  </a:cubicBezTo>
                  <a:lnTo>
                    <a:pt x="11254712" y="948218"/>
                  </a:lnTo>
                  <a:cubicBezTo>
                    <a:pt x="11260593" y="946292"/>
                    <a:pt x="11266272" y="944263"/>
                    <a:pt x="11271747" y="942134"/>
                  </a:cubicBezTo>
                  <a:cubicBezTo>
                    <a:pt x="11277223" y="940005"/>
                    <a:pt x="11282623" y="937621"/>
                    <a:pt x="11287946" y="934985"/>
                  </a:cubicBezTo>
                  <a:cubicBezTo>
                    <a:pt x="11293270" y="932349"/>
                    <a:pt x="11298644" y="929408"/>
                    <a:pt x="11304069" y="926163"/>
                  </a:cubicBezTo>
                  <a:cubicBezTo>
                    <a:pt x="11309494" y="922919"/>
                    <a:pt x="11315096" y="919217"/>
                    <a:pt x="11320876" y="915060"/>
                  </a:cubicBezTo>
                  <a:close/>
                  <a:moveTo>
                    <a:pt x="10943712" y="915060"/>
                  </a:moveTo>
                  <a:lnTo>
                    <a:pt x="10958618" y="915060"/>
                  </a:lnTo>
                  <a:lnTo>
                    <a:pt x="10958618" y="1138040"/>
                  </a:lnTo>
                  <a:lnTo>
                    <a:pt x="10923330" y="1138040"/>
                  </a:lnTo>
                  <a:lnTo>
                    <a:pt x="10923330" y="958257"/>
                  </a:lnTo>
                  <a:cubicBezTo>
                    <a:pt x="10916942" y="962820"/>
                    <a:pt x="10910072" y="966698"/>
                    <a:pt x="10902721" y="969892"/>
                  </a:cubicBezTo>
                  <a:cubicBezTo>
                    <a:pt x="10895369" y="973087"/>
                    <a:pt x="10886978" y="975900"/>
                    <a:pt x="10877548" y="978334"/>
                  </a:cubicBezTo>
                  <a:lnTo>
                    <a:pt x="10877548" y="948218"/>
                  </a:lnTo>
                  <a:cubicBezTo>
                    <a:pt x="10883429" y="946292"/>
                    <a:pt x="10889108" y="944263"/>
                    <a:pt x="10894583" y="942134"/>
                  </a:cubicBezTo>
                  <a:cubicBezTo>
                    <a:pt x="10900059" y="940005"/>
                    <a:pt x="10905459" y="937621"/>
                    <a:pt x="10910782" y="934985"/>
                  </a:cubicBezTo>
                  <a:cubicBezTo>
                    <a:pt x="10916106" y="932349"/>
                    <a:pt x="10921480" y="929408"/>
                    <a:pt x="10926905" y="926163"/>
                  </a:cubicBezTo>
                  <a:cubicBezTo>
                    <a:pt x="10932330" y="922919"/>
                    <a:pt x="10937932" y="919217"/>
                    <a:pt x="10943712" y="915060"/>
                  </a:cubicBezTo>
                  <a:close/>
                  <a:moveTo>
                    <a:pt x="10794855" y="915060"/>
                  </a:moveTo>
                  <a:lnTo>
                    <a:pt x="10809761" y="915060"/>
                  </a:lnTo>
                  <a:lnTo>
                    <a:pt x="10809761" y="1138040"/>
                  </a:lnTo>
                  <a:lnTo>
                    <a:pt x="10774473" y="1138040"/>
                  </a:lnTo>
                  <a:lnTo>
                    <a:pt x="10774473" y="958257"/>
                  </a:lnTo>
                  <a:cubicBezTo>
                    <a:pt x="10768085" y="962820"/>
                    <a:pt x="10761215" y="966698"/>
                    <a:pt x="10753864" y="969892"/>
                  </a:cubicBezTo>
                  <a:cubicBezTo>
                    <a:pt x="10746512" y="973087"/>
                    <a:pt x="10738121" y="975900"/>
                    <a:pt x="10728691" y="978334"/>
                  </a:cubicBezTo>
                  <a:lnTo>
                    <a:pt x="10728691" y="948218"/>
                  </a:lnTo>
                  <a:cubicBezTo>
                    <a:pt x="10734572" y="946292"/>
                    <a:pt x="10740251" y="944263"/>
                    <a:pt x="10745726" y="942134"/>
                  </a:cubicBezTo>
                  <a:cubicBezTo>
                    <a:pt x="10751202" y="940005"/>
                    <a:pt x="10756602" y="937621"/>
                    <a:pt x="10761925" y="934985"/>
                  </a:cubicBezTo>
                  <a:cubicBezTo>
                    <a:pt x="10767249" y="932349"/>
                    <a:pt x="10772623" y="929408"/>
                    <a:pt x="10778048" y="926163"/>
                  </a:cubicBezTo>
                  <a:cubicBezTo>
                    <a:pt x="10783473" y="922919"/>
                    <a:pt x="10789075" y="919217"/>
                    <a:pt x="10794855" y="915060"/>
                  </a:cubicBezTo>
                  <a:close/>
                  <a:moveTo>
                    <a:pt x="10640937" y="915060"/>
                  </a:moveTo>
                  <a:lnTo>
                    <a:pt x="10655843" y="915060"/>
                  </a:lnTo>
                  <a:lnTo>
                    <a:pt x="10655843" y="1138040"/>
                  </a:lnTo>
                  <a:lnTo>
                    <a:pt x="10620555" y="1138040"/>
                  </a:lnTo>
                  <a:lnTo>
                    <a:pt x="10620555" y="958257"/>
                  </a:lnTo>
                  <a:cubicBezTo>
                    <a:pt x="10614167" y="962820"/>
                    <a:pt x="10607297" y="966698"/>
                    <a:pt x="10599946" y="969892"/>
                  </a:cubicBezTo>
                  <a:cubicBezTo>
                    <a:pt x="10592594" y="973087"/>
                    <a:pt x="10584203" y="975900"/>
                    <a:pt x="10574773" y="978334"/>
                  </a:cubicBezTo>
                  <a:lnTo>
                    <a:pt x="10574773" y="948218"/>
                  </a:lnTo>
                  <a:cubicBezTo>
                    <a:pt x="10580654" y="946292"/>
                    <a:pt x="10586333" y="944263"/>
                    <a:pt x="10591808" y="942134"/>
                  </a:cubicBezTo>
                  <a:cubicBezTo>
                    <a:pt x="10597284" y="940005"/>
                    <a:pt x="10602684" y="937621"/>
                    <a:pt x="10608007" y="934985"/>
                  </a:cubicBezTo>
                  <a:cubicBezTo>
                    <a:pt x="10613331" y="932349"/>
                    <a:pt x="10618705" y="929408"/>
                    <a:pt x="10624130" y="926163"/>
                  </a:cubicBezTo>
                  <a:cubicBezTo>
                    <a:pt x="10629555" y="922919"/>
                    <a:pt x="10635157" y="919217"/>
                    <a:pt x="10640937" y="915060"/>
                  </a:cubicBezTo>
                  <a:close/>
                  <a:moveTo>
                    <a:pt x="10492080" y="915060"/>
                  </a:moveTo>
                  <a:lnTo>
                    <a:pt x="10506986" y="915060"/>
                  </a:lnTo>
                  <a:lnTo>
                    <a:pt x="10506986" y="1138040"/>
                  </a:lnTo>
                  <a:lnTo>
                    <a:pt x="10471698" y="1138040"/>
                  </a:lnTo>
                  <a:lnTo>
                    <a:pt x="10471698" y="958257"/>
                  </a:lnTo>
                  <a:cubicBezTo>
                    <a:pt x="10465310" y="962820"/>
                    <a:pt x="10458440" y="966698"/>
                    <a:pt x="10451089" y="969892"/>
                  </a:cubicBezTo>
                  <a:cubicBezTo>
                    <a:pt x="10443737" y="973087"/>
                    <a:pt x="10435346" y="975900"/>
                    <a:pt x="10425916" y="978334"/>
                  </a:cubicBezTo>
                  <a:lnTo>
                    <a:pt x="10425916" y="948218"/>
                  </a:lnTo>
                  <a:cubicBezTo>
                    <a:pt x="10431797" y="946292"/>
                    <a:pt x="10437476" y="944263"/>
                    <a:pt x="10442951" y="942134"/>
                  </a:cubicBezTo>
                  <a:cubicBezTo>
                    <a:pt x="10448427" y="940005"/>
                    <a:pt x="10453827" y="937621"/>
                    <a:pt x="10459150" y="934985"/>
                  </a:cubicBezTo>
                  <a:cubicBezTo>
                    <a:pt x="10464474" y="932349"/>
                    <a:pt x="10469848" y="929408"/>
                    <a:pt x="10475273" y="926163"/>
                  </a:cubicBezTo>
                  <a:cubicBezTo>
                    <a:pt x="10480698" y="922919"/>
                    <a:pt x="10486300" y="919217"/>
                    <a:pt x="10492080" y="915060"/>
                  </a:cubicBezTo>
                  <a:close/>
                  <a:moveTo>
                    <a:pt x="9770689" y="915060"/>
                  </a:moveTo>
                  <a:lnTo>
                    <a:pt x="9785595" y="915060"/>
                  </a:lnTo>
                  <a:lnTo>
                    <a:pt x="9785595" y="1138040"/>
                  </a:lnTo>
                  <a:lnTo>
                    <a:pt x="9750307" y="1138040"/>
                  </a:lnTo>
                  <a:lnTo>
                    <a:pt x="9750307" y="958257"/>
                  </a:lnTo>
                  <a:cubicBezTo>
                    <a:pt x="9743919" y="962820"/>
                    <a:pt x="9737049" y="966698"/>
                    <a:pt x="9729698" y="969892"/>
                  </a:cubicBezTo>
                  <a:cubicBezTo>
                    <a:pt x="9722346" y="973087"/>
                    <a:pt x="9713955" y="975900"/>
                    <a:pt x="9704525" y="978334"/>
                  </a:cubicBezTo>
                  <a:lnTo>
                    <a:pt x="9704525" y="948218"/>
                  </a:lnTo>
                  <a:cubicBezTo>
                    <a:pt x="9710406" y="946292"/>
                    <a:pt x="9716085" y="944263"/>
                    <a:pt x="9721560" y="942134"/>
                  </a:cubicBezTo>
                  <a:cubicBezTo>
                    <a:pt x="9727036" y="940005"/>
                    <a:pt x="9732436" y="937621"/>
                    <a:pt x="9737759" y="934985"/>
                  </a:cubicBezTo>
                  <a:cubicBezTo>
                    <a:pt x="9743083" y="932349"/>
                    <a:pt x="9748457" y="929408"/>
                    <a:pt x="9753882" y="926163"/>
                  </a:cubicBezTo>
                  <a:cubicBezTo>
                    <a:pt x="9759307" y="922919"/>
                    <a:pt x="9764909" y="919217"/>
                    <a:pt x="9770689" y="915060"/>
                  </a:cubicBezTo>
                  <a:close/>
                  <a:moveTo>
                    <a:pt x="9621832" y="915060"/>
                  </a:moveTo>
                  <a:lnTo>
                    <a:pt x="9636738" y="915060"/>
                  </a:lnTo>
                  <a:lnTo>
                    <a:pt x="9636738" y="1138040"/>
                  </a:lnTo>
                  <a:lnTo>
                    <a:pt x="9601450" y="1138040"/>
                  </a:lnTo>
                  <a:lnTo>
                    <a:pt x="9601450" y="958257"/>
                  </a:lnTo>
                  <a:cubicBezTo>
                    <a:pt x="9595062" y="962820"/>
                    <a:pt x="9588192" y="966698"/>
                    <a:pt x="9580841" y="969892"/>
                  </a:cubicBezTo>
                  <a:cubicBezTo>
                    <a:pt x="9573489" y="973087"/>
                    <a:pt x="9565098" y="975900"/>
                    <a:pt x="9555668" y="978334"/>
                  </a:cubicBezTo>
                  <a:lnTo>
                    <a:pt x="9555668" y="948218"/>
                  </a:lnTo>
                  <a:cubicBezTo>
                    <a:pt x="9561549" y="946292"/>
                    <a:pt x="9567228" y="944263"/>
                    <a:pt x="9572703" y="942134"/>
                  </a:cubicBezTo>
                  <a:cubicBezTo>
                    <a:pt x="9578179" y="940005"/>
                    <a:pt x="9583579" y="937621"/>
                    <a:pt x="9588902" y="934985"/>
                  </a:cubicBezTo>
                  <a:cubicBezTo>
                    <a:pt x="9594226" y="932349"/>
                    <a:pt x="9599600" y="929408"/>
                    <a:pt x="9605025" y="926163"/>
                  </a:cubicBezTo>
                  <a:cubicBezTo>
                    <a:pt x="9610450" y="922919"/>
                    <a:pt x="9616052" y="919217"/>
                    <a:pt x="9621832" y="915060"/>
                  </a:cubicBezTo>
                  <a:close/>
                  <a:moveTo>
                    <a:pt x="8818727" y="915060"/>
                  </a:moveTo>
                  <a:lnTo>
                    <a:pt x="8833633" y="915060"/>
                  </a:lnTo>
                  <a:lnTo>
                    <a:pt x="8833633" y="1138040"/>
                  </a:lnTo>
                  <a:lnTo>
                    <a:pt x="8798345" y="1138040"/>
                  </a:lnTo>
                  <a:lnTo>
                    <a:pt x="8798345" y="958257"/>
                  </a:lnTo>
                  <a:cubicBezTo>
                    <a:pt x="8791957" y="962820"/>
                    <a:pt x="8785087" y="966698"/>
                    <a:pt x="8777736" y="969892"/>
                  </a:cubicBezTo>
                  <a:cubicBezTo>
                    <a:pt x="8770384" y="973087"/>
                    <a:pt x="8761993" y="975900"/>
                    <a:pt x="8752563" y="978334"/>
                  </a:cubicBezTo>
                  <a:lnTo>
                    <a:pt x="8752563" y="948218"/>
                  </a:lnTo>
                  <a:cubicBezTo>
                    <a:pt x="8758444" y="946292"/>
                    <a:pt x="8764123" y="944263"/>
                    <a:pt x="8769598" y="942134"/>
                  </a:cubicBezTo>
                  <a:cubicBezTo>
                    <a:pt x="8775074" y="940005"/>
                    <a:pt x="8780474" y="937621"/>
                    <a:pt x="8785797" y="934985"/>
                  </a:cubicBezTo>
                  <a:cubicBezTo>
                    <a:pt x="8791121" y="932349"/>
                    <a:pt x="8796495" y="929408"/>
                    <a:pt x="8801920" y="926163"/>
                  </a:cubicBezTo>
                  <a:cubicBezTo>
                    <a:pt x="8807345" y="922919"/>
                    <a:pt x="8812947" y="919217"/>
                    <a:pt x="8818727" y="915060"/>
                  </a:cubicBezTo>
                  <a:close/>
                  <a:moveTo>
                    <a:pt x="8440120" y="915060"/>
                  </a:moveTo>
                  <a:lnTo>
                    <a:pt x="8455026" y="915060"/>
                  </a:lnTo>
                  <a:lnTo>
                    <a:pt x="8455026" y="1138040"/>
                  </a:lnTo>
                  <a:lnTo>
                    <a:pt x="8419738" y="1138040"/>
                  </a:lnTo>
                  <a:lnTo>
                    <a:pt x="8419738" y="958257"/>
                  </a:lnTo>
                  <a:cubicBezTo>
                    <a:pt x="8413350" y="962820"/>
                    <a:pt x="8406480" y="966698"/>
                    <a:pt x="8399129" y="969892"/>
                  </a:cubicBezTo>
                  <a:cubicBezTo>
                    <a:pt x="8391777" y="973087"/>
                    <a:pt x="8383386" y="975900"/>
                    <a:pt x="8373956" y="978334"/>
                  </a:cubicBezTo>
                  <a:lnTo>
                    <a:pt x="8373956" y="948218"/>
                  </a:lnTo>
                  <a:cubicBezTo>
                    <a:pt x="8379837" y="946292"/>
                    <a:pt x="8385516" y="944263"/>
                    <a:pt x="8390991" y="942134"/>
                  </a:cubicBezTo>
                  <a:cubicBezTo>
                    <a:pt x="8396467" y="940005"/>
                    <a:pt x="8401867" y="937621"/>
                    <a:pt x="8407190" y="934985"/>
                  </a:cubicBezTo>
                  <a:cubicBezTo>
                    <a:pt x="8412514" y="932349"/>
                    <a:pt x="8417888" y="929408"/>
                    <a:pt x="8423313" y="926163"/>
                  </a:cubicBezTo>
                  <a:cubicBezTo>
                    <a:pt x="8428738" y="922919"/>
                    <a:pt x="8434340" y="919217"/>
                    <a:pt x="8440120" y="915060"/>
                  </a:cubicBezTo>
                  <a:close/>
                  <a:moveTo>
                    <a:pt x="8291263" y="915060"/>
                  </a:moveTo>
                  <a:lnTo>
                    <a:pt x="8306169" y="915060"/>
                  </a:lnTo>
                  <a:lnTo>
                    <a:pt x="8306169" y="1138040"/>
                  </a:lnTo>
                  <a:lnTo>
                    <a:pt x="8270881" y="1138040"/>
                  </a:lnTo>
                  <a:lnTo>
                    <a:pt x="8270881" y="958257"/>
                  </a:lnTo>
                  <a:cubicBezTo>
                    <a:pt x="8264493" y="962820"/>
                    <a:pt x="8257624" y="966698"/>
                    <a:pt x="8250272" y="969892"/>
                  </a:cubicBezTo>
                  <a:cubicBezTo>
                    <a:pt x="8242920" y="973087"/>
                    <a:pt x="8234530" y="975900"/>
                    <a:pt x="8225099" y="978334"/>
                  </a:cubicBezTo>
                  <a:lnTo>
                    <a:pt x="8225099" y="948218"/>
                  </a:lnTo>
                  <a:cubicBezTo>
                    <a:pt x="8230980" y="946292"/>
                    <a:pt x="8236659" y="944263"/>
                    <a:pt x="8242134" y="942134"/>
                  </a:cubicBezTo>
                  <a:cubicBezTo>
                    <a:pt x="8247610" y="940005"/>
                    <a:pt x="8253010" y="937621"/>
                    <a:pt x="8258333" y="934985"/>
                  </a:cubicBezTo>
                  <a:cubicBezTo>
                    <a:pt x="8263657" y="932349"/>
                    <a:pt x="8269031" y="929408"/>
                    <a:pt x="8274456" y="926163"/>
                  </a:cubicBezTo>
                  <a:cubicBezTo>
                    <a:pt x="8279881" y="922919"/>
                    <a:pt x="8285483" y="919217"/>
                    <a:pt x="8291263" y="915060"/>
                  </a:cubicBezTo>
                  <a:close/>
                  <a:moveTo>
                    <a:pt x="8137345" y="915060"/>
                  </a:moveTo>
                  <a:lnTo>
                    <a:pt x="8152251" y="915060"/>
                  </a:lnTo>
                  <a:lnTo>
                    <a:pt x="8152251" y="1138040"/>
                  </a:lnTo>
                  <a:lnTo>
                    <a:pt x="8116963" y="1138040"/>
                  </a:lnTo>
                  <a:lnTo>
                    <a:pt x="8116963" y="958257"/>
                  </a:lnTo>
                  <a:cubicBezTo>
                    <a:pt x="8110575" y="962820"/>
                    <a:pt x="8103706" y="966698"/>
                    <a:pt x="8096354" y="969892"/>
                  </a:cubicBezTo>
                  <a:cubicBezTo>
                    <a:pt x="8089002" y="973087"/>
                    <a:pt x="8080612" y="975900"/>
                    <a:pt x="8071181" y="978334"/>
                  </a:cubicBezTo>
                  <a:lnTo>
                    <a:pt x="8071181" y="948218"/>
                  </a:lnTo>
                  <a:cubicBezTo>
                    <a:pt x="8077062" y="946292"/>
                    <a:pt x="8082741" y="944263"/>
                    <a:pt x="8088216" y="942134"/>
                  </a:cubicBezTo>
                  <a:cubicBezTo>
                    <a:pt x="8093692" y="940005"/>
                    <a:pt x="8099092" y="937621"/>
                    <a:pt x="8104415" y="934985"/>
                  </a:cubicBezTo>
                  <a:cubicBezTo>
                    <a:pt x="8109739" y="932349"/>
                    <a:pt x="8115113" y="929408"/>
                    <a:pt x="8120538" y="926163"/>
                  </a:cubicBezTo>
                  <a:cubicBezTo>
                    <a:pt x="8125963" y="922919"/>
                    <a:pt x="8131565" y="919217"/>
                    <a:pt x="8137345" y="915060"/>
                  </a:cubicBezTo>
                  <a:close/>
                  <a:moveTo>
                    <a:pt x="7988488" y="915060"/>
                  </a:moveTo>
                  <a:lnTo>
                    <a:pt x="8003394" y="915060"/>
                  </a:lnTo>
                  <a:lnTo>
                    <a:pt x="8003394" y="1138040"/>
                  </a:lnTo>
                  <a:lnTo>
                    <a:pt x="7968106" y="1138040"/>
                  </a:lnTo>
                  <a:lnTo>
                    <a:pt x="7968106" y="958257"/>
                  </a:lnTo>
                  <a:cubicBezTo>
                    <a:pt x="7961718" y="962820"/>
                    <a:pt x="7954849" y="966698"/>
                    <a:pt x="7947497" y="969892"/>
                  </a:cubicBezTo>
                  <a:cubicBezTo>
                    <a:pt x="7940145" y="973087"/>
                    <a:pt x="7931755" y="975900"/>
                    <a:pt x="7922324" y="978334"/>
                  </a:cubicBezTo>
                  <a:lnTo>
                    <a:pt x="7922324" y="948218"/>
                  </a:lnTo>
                  <a:cubicBezTo>
                    <a:pt x="7928205" y="946292"/>
                    <a:pt x="7933884" y="944263"/>
                    <a:pt x="7939359" y="942134"/>
                  </a:cubicBezTo>
                  <a:cubicBezTo>
                    <a:pt x="7944835" y="940005"/>
                    <a:pt x="7950235" y="937621"/>
                    <a:pt x="7955558" y="934985"/>
                  </a:cubicBezTo>
                  <a:cubicBezTo>
                    <a:pt x="7960882" y="932349"/>
                    <a:pt x="7966256" y="929408"/>
                    <a:pt x="7971681" y="926163"/>
                  </a:cubicBezTo>
                  <a:cubicBezTo>
                    <a:pt x="7977106" y="922919"/>
                    <a:pt x="7982708" y="919217"/>
                    <a:pt x="7988488" y="915060"/>
                  </a:cubicBezTo>
                  <a:close/>
                  <a:moveTo>
                    <a:pt x="7839631" y="915060"/>
                  </a:moveTo>
                  <a:lnTo>
                    <a:pt x="7854537" y="915060"/>
                  </a:lnTo>
                  <a:lnTo>
                    <a:pt x="7854537" y="1138040"/>
                  </a:lnTo>
                  <a:lnTo>
                    <a:pt x="7819249" y="1138040"/>
                  </a:lnTo>
                  <a:lnTo>
                    <a:pt x="7819249" y="958257"/>
                  </a:lnTo>
                  <a:cubicBezTo>
                    <a:pt x="7812861" y="962820"/>
                    <a:pt x="7805992" y="966698"/>
                    <a:pt x="7798640" y="969892"/>
                  </a:cubicBezTo>
                  <a:cubicBezTo>
                    <a:pt x="7791288" y="973087"/>
                    <a:pt x="7782898" y="975900"/>
                    <a:pt x="7773467" y="978334"/>
                  </a:cubicBezTo>
                  <a:lnTo>
                    <a:pt x="7773467" y="948218"/>
                  </a:lnTo>
                  <a:cubicBezTo>
                    <a:pt x="7779348" y="946292"/>
                    <a:pt x="7785027" y="944263"/>
                    <a:pt x="7790502" y="942134"/>
                  </a:cubicBezTo>
                  <a:cubicBezTo>
                    <a:pt x="7795978" y="940005"/>
                    <a:pt x="7801378" y="937621"/>
                    <a:pt x="7806701" y="934985"/>
                  </a:cubicBezTo>
                  <a:cubicBezTo>
                    <a:pt x="7812025" y="932349"/>
                    <a:pt x="7817399" y="929408"/>
                    <a:pt x="7822824" y="926163"/>
                  </a:cubicBezTo>
                  <a:cubicBezTo>
                    <a:pt x="7828249" y="922919"/>
                    <a:pt x="7833851" y="919217"/>
                    <a:pt x="7839631" y="915060"/>
                  </a:cubicBezTo>
                  <a:close/>
                  <a:moveTo>
                    <a:pt x="7487544" y="915060"/>
                  </a:moveTo>
                  <a:lnTo>
                    <a:pt x="7502450" y="915060"/>
                  </a:lnTo>
                  <a:lnTo>
                    <a:pt x="7502450" y="1138040"/>
                  </a:lnTo>
                  <a:lnTo>
                    <a:pt x="7467162" y="1138040"/>
                  </a:lnTo>
                  <a:lnTo>
                    <a:pt x="7467162" y="958257"/>
                  </a:lnTo>
                  <a:cubicBezTo>
                    <a:pt x="7460774" y="962820"/>
                    <a:pt x="7453905" y="966698"/>
                    <a:pt x="7446553" y="969892"/>
                  </a:cubicBezTo>
                  <a:cubicBezTo>
                    <a:pt x="7439201" y="973087"/>
                    <a:pt x="7430811" y="975900"/>
                    <a:pt x="7421380" y="978334"/>
                  </a:cubicBezTo>
                  <a:lnTo>
                    <a:pt x="7421380" y="948218"/>
                  </a:lnTo>
                  <a:cubicBezTo>
                    <a:pt x="7427261" y="946292"/>
                    <a:pt x="7432940" y="944263"/>
                    <a:pt x="7438415" y="942134"/>
                  </a:cubicBezTo>
                  <a:cubicBezTo>
                    <a:pt x="7443891" y="940005"/>
                    <a:pt x="7449291" y="937621"/>
                    <a:pt x="7454614" y="934985"/>
                  </a:cubicBezTo>
                  <a:cubicBezTo>
                    <a:pt x="7459938" y="932349"/>
                    <a:pt x="7465312" y="929408"/>
                    <a:pt x="7470737" y="926163"/>
                  </a:cubicBezTo>
                  <a:cubicBezTo>
                    <a:pt x="7476162" y="922919"/>
                    <a:pt x="7481764" y="919217"/>
                    <a:pt x="7487544" y="915060"/>
                  </a:cubicBezTo>
                  <a:close/>
                  <a:moveTo>
                    <a:pt x="7189830" y="915060"/>
                  </a:moveTo>
                  <a:lnTo>
                    <a:pt x="7204736" y="915060"/>
                  </a:lnTo>
                  <a:lnTo>
                    <a:pt x="7204736" y="1138040"/>
                  </a:lnTo>
                  <a:lnTo>
                    <a:pt x="7169448" y="1138040"/>
                  </a:lnTo>
                  <a:lnTo>
                    <a:pt x="7169448" y="958257"/>
                  </a:lnTo>
                  <a:cubicBezTo>
                    <a:pt x="7163060" y="962820"/>
                    <a:pt x="7156191" y="966698"/>
                    <a:pt x="7148839" y="969892"/>
                  </a:cubicBezTo>
                  <a:cubicBezTo>
                    <a:pt x="7141487" y="973087"/>
                    <a:pt x="7133097" y="975900"/>
                    <a:pt x="7123666" y="978334"/>
                  </a:cubicBezTo>
                  <a:lnTo>
                    <a:pt x="7123666" y="948218"/>
                  </a:lnTo>
                  <a:cubicBezTo>
                    <a:pt x="7129547" y="946292"/>
                    <a:pt x="7135226" y="944263"/>
                    <a:pt x="7140701" y="942134"/>
                  </a:cubicBezTo>
                  <a:cubicBezTo>
                    <a:pt x="7146177" y="940005"/>
                    <a:pt x="7151577" y="937621"/>
                    <a:pt x="7156900" y="934985"/>
                  </a:cubicBezTo>
                  <a:cubicBezTo>
                    <a:pt x="7162224" y="932349"/>
                    <a:pt x="7167598" y="929408"/>
                    <a:pt x="7173023" y="926163"/>
                  </a:cubicBezTo>
                  <a:cubicBezTo>
                    <a:pt x="7178448" y="922919"/>
                    <a:pt x="7184050" y="919217"/>
                    <a:pt x="7189830" y="915060"/>
                  </a:cubicBezTo>
                  <a:close/>
                  <a:moveTo>
                    <a:pt x="6980418" y="915060"/>
                  </a:moveTo>
                  <a:cubicBezTo>
                    <a:pt x="7027863" y="915060"/>
                    <a:pt x="7051585" y="951923"/>
                    <a:pt x="7051585" y="1025647"/>
                  </a:cubicBezTo>
                  <a:cubicBezTo>
                    <a:pt x="7051585" y="1062159"/>
                    <a:pt x="7044890" y="1090019"/>
                    <a:pt x="7031499" y="1109227"/>
                  </a:cubicBezTo>
                  <a:cubicBezTo>
                    <a:pt x="7018108" y="1128435"/>
                    <a:pt x="6999376" y="1138040"/>
                    <a:pt x="6975302" y="1138040"/>
                  </a:cubicBezTo>
                  <a:cubicBezTo>
                    <a:pt x="6952834" y="1138040"/>
                    <a:pt x="6935305" y="1128862"/>
                    <a:pt x="6922717" y="1110506"/>
                  </a:cubicBezTo>
                  <a:cubicBezTo>
                    <a:pt x="6910128" y="1092150"/>
                    <a:pt x="6903834" y="1065619"/>
                    <a:pt x="6903834" y="1030914"/>
                  </a:cubicBezTo>
                  <a:cubicBezTo>
                    <a:pt x="6903834" y="992797"/>
                    <a:pt x="6910404" y="963959"/>
                    <a:pt x="6923544" y="944399"/>
                  </a:cubicBezTo>
                  <a:cubicBezTo>
                    <a:pt x="6936685" y="924840"/>
                    <a:pt x="6955642" y="915060"/>
                    <a:pt x="6980418" y="915060"/>
                  </a:cubicBezTo>
                  <a:close/>
                  <a:moveTo>
                    <a:pt x="6763908" y="915060"/>
                  </a:moveTo>
                  <a:cubicBezTo>
                    <a:pt x="6811353" y="915060"/>
                    <a:pt x="6835075" y="951923"/>
                    <a:pt x="6835075" y="1025647"/>
                  </a:cubicBezTo>
                  <a:cubicBezTo>
                    <a:pt x="6835075" y="1062159"/>
                    <a:pt x="6828380" y="1090019"/>
                    <a:pt x="6814989" y="1109227"/>
                  </a:cubicBezTo>
                  <a:cubicBezTo>
                    <a:pt x="6801598" y="1128435"/>
                    <a:pt x="6782866" y="1138040"/>
                    <a:pt x="6758792" y="1138040"/>
                  </a:cubicBezTo>
                  <a:cubicBezTo>
                    <a:pt x="6736324" y="1138040"/>
                    <a:pt x="6718795" y="1128862"/>
                    <a:pt x="6706207" y="1110506"/>
                  </a:cubicBezTo>
                  <a:cubicBezTo>
                    <a:pt x="6693618" y="1092150"/>
                    <a:pt x="6687324" y="1065619"/>
                    <a:pt x="6687324" y="1030914"/>
                  </a:cubicBezTo>
                  <a:cubicBezTo>
                    <a:pt x="6687324" y="992797"/>
                    <a:pt x="6693894" y="963959"/>
                    <a:pt x="6707034" y="944399"/>
                  </a:cubicBezTo>
                  <a:cubicBezTo>
                    <a:pt x="6720175" y="924840"/>
                    <a:pt x="6739132" y="915060"/>
                    <a:pt x="6763908" y="915060"/>
                  </a:cubicBezTo>
                  <a:close/>
                  <a:moveTo>
                    <a:pt x="6617601" y="915060"/>
                  </a:moveTo>
                  <a:lnTo>
                    <a:pt x="6632507" y="915060"/>
                  </a:lnTo>
                  <a:lnTo>
                    <a:pt x="6632507" y="1138040"/>
                  </a:lnTo>
                  <a:lnTo>
                    <a:pt x="6597219" y="1138040"/>
                  </a:lnTo>
                  <a:lnTo>
                    <a:pt x="6597219" y="958257"/>
                  </a:lnTo>
                  <a:cubicBezTo>
                    <a:pt x="6590831" y="962820"/>
                    <a:pt x="6583962" y="966698"/>
                    <a:pt x="6576610" y="969892"/>
                  </a:cubicBezTo>
                  <a:cubicBezTo>
                    <a:pt x="6569258" y="973087"/>
                    <a:pt x="6560868" y="975900"/>
                    <a:pt x="6551437" y="978334"/>
                  </a:cubicBezTo>
                  <a:lnTo>
                    <a:pt x="6551437" y="948218"/>
                  </a:lnTo>
                  <a:cubicBezTo>
                    <a:pt x="6557318" y="946292"/>
                    <a:pt x="6562997" y="944263"/>
                    <a:pt x="6568472" y="942134"/>
                  </a:cubicBezTo>
                  <a:cubicBezTo>
                    <a:pt x="6573948" y="940005"/>
                    <a:pt x="6579348" y="937621"/>
                    <a:pt x="6584671" y="934985"/>
                  </a:cubicBezTo>
                  <a:cubicBezTo>
                    <a:pt x="6589995" y="932349"/>
                    <a:pt x="6595369" y="929408"/>
                    <a:pt x="6600794" y="926163"/>
                  </a:cubicBezTo>
                  <a:cubicBezTo>
                    <a:pt x="6606219" y="922919"/>
                    <a:pt x="6611821" y="919217"/>
                    <a:pt x="6617601" y="915060"/>
                  </a:cubicBezTo>
                  <a:close/>
                  <a:moveTo>
                    <a:pt x="6319887" y="915060"/>
                  </a:moveTo>
                  <a:lnTo>
                    <a:pt x="6334793" y="915060"/>
                  </a:lnTo>
                  <a:lnTo>
                    <a:pt x="6334793" y="1138040"/>
                  </a:lnTo>
                  <a:lnTo>
                    <a:pt x="6299505" y="1138040"/>
                  </a:lnTo>
                  <a:lnTo>
                    <a:pt x="6299505" y="958257"/>
                  </a:lnTo>
                  <a:cubicBezTo>
                    <a:pt x="6293117" y="962820"/>
                    <a:pt x="6286248" y="966698"/>
                    <a:pt x="6278896" y="969892"/>
                  </a:cubicBezTo>
                  <a:cubicBezTo>
                    <a:pt x="6271544" y="973087"/>
                    <a:pt x="6263154" y="975900"/>
                    <a:pt x="6253723" y="978334"/>
                  </a:cubicBezTo>
                  <a:lnTo>
                    <a:pt x="6253723" y="948218"/>
                  </a:lnTo>
                  <a:cubicBezTo>
                    <a:pt x="6259604" y="946292"/>
                    <a:pt x="6265283" y="944263"/>
                    <a:pt x="6270758" y="942134"/>
                  </a:cubicBezTo>
                  <a:cubicBezTo>
                    <a:pt x="6276234" y="940005"/>
                    <a:pt x="6281634" y="937621"/>
                    <a:pt x="6286957" y="934985"/>
                  </a:cubicBezTo>
                  <a:cubicBezTo>
                    <a:pt x="6292281" y="932349"/>
                    <a:pt x="6297655" y="929408"/>
                    <a:pt x="6303080" y="926163"/>
                  </a:cubicBezTo>
                  <a:cubicBezTo>
                    <a:pt x="6308505" y="922919"/>
                    <a:pt x="6314107" y="919217"/>
                    <a:pt x="6319887" y="915060"/>
                  </a:cubicBezTo>
                  <a:close/>
                  <a:moveTo>
                    <a:pt x="6146131" y="915060"/>
                  </a:moveTo>
                  <a:cubicBezTo>
                    <a:pt x="6193576" y="915060"/>
                    <a:pt x="6217298" y="951923"/>
                    <a:pt x="6217298" y="1025647"/>
                  </a:cubicBezTo>
                  <a:cubicBezTo>
                    <a:pt x="6217298" y="1062159"/>
                    <a:pt x="6210603" y="1090019"/>
                    <a:pt x="6197212" y="1109227"/>
                  </a:cubicBezTo>
                  <a:cubicBezTo>
                    <a:pt x="6183821" y="1128435"/>
                    <a:pt x="6165089" y="1138040"/>
                    <a:pt x="6141015" y="1138040"/>
                  </a:cubicBezTo>
                  <a:cubicBezTo>
                    <a:pt x="6118547" y="1138040"/>
                    <a:pt x="6101018" y="1128862"/>
                    <a:pt x="6088430" y="1110506"/>
                  </a:cubicBezTo>
                  <a:cubicBezTo>
                    <a:pt x="6075841" y="1092150"/>
                    <a:pt x="6069547" y="1065619"/>
                    <a:pt x="6069547" y="1030914"/>
                  </a:cubicBezTo>
                  <a:cubicBezTo>
                    <a:pt x="6069547" y="992797"/>
                    <a:pt x="6076117" y="963959"/>
                    <a:pt x="6089257" y="944399"/>
                  </a:cubicBezTo>
                  <a:cubicBezTo>
                    <a:pt x="6102398" y="924840"/>
                    <a:pt x="6121355" y="915060"/>
                    <a:pt x="6146131" y="915060"/>
                  </a:cubicBezTo>
                  <a:close/>
                  <a:moveTo>
                    <a:pt x="5929621" y="915060"/>
                  </a:moveTo>
                  <a:cubicBezTo>
                    <a:pt x="5977065" y="915060"/>
                    <a:pt x="6000789" y="951923"/>
                    <a:pt x="6000789" y="1025647"/>
                  </a:cubicBezTo>
                  <a:cubicBezTo>
                    <a:pt x="6000789" y="1062159"/>
                    <a:pt x="5994092" y="1090019"/>
                    <a:pt x="5980702" y="1109227"/>
                  </a:cubicBezTo>
                  <a:cubicBezTo>
                    <a:pt x="5967310" y="1128435"/>
                    <a:pt x="5948579" y="1138040"/>
                    <a:pt x="5924506" y="1138040"/>
                  </a:cubicBezTo>
                  <a:cubicBezTo>
                    <a:pt x="5902036" y="1138040"/>
                    <a:pt x="5884508" y="1128862"/>
                    <a:pt x="5871919" y="1110506"/>
                  </a:cubicBezTo>
                  <a:cubicBezTo>
                    <a:pt x="5859331" y="1092150"/>
                    <a:pt x="5853037" y="1065619"/>
                    <a:pt x="5853037" y="1030914"/>
                  </a:cubicBezTo>
                  <a:cubicBezTo>
                    <a:pt x="5853037" y="992797"/>
                    <a:pt x="5859608" y="963959"/>
                    <a:pt x="5872748" y="944399"/>
                  </a:cubicBezTo>
                  <a:cubicBezTo>
                    <a:pt x="5885887" y="924840"/>
                    <a:pt x="5904846" y="915060"/>
                    <a:pt x="5929621" y="915060"/>
                  </a:cubicBezTo>
                  <a:close/>
                  <a:moveTo>
                    <a:pt x="5705513" y="915060"/>
                  </a:moveTo>
                  <a:cubicBezTo>
                    <a:pt x="5752958" y="915060"/>
                    <a:pt x="5776681" y="951923"/>
                    <a:pt x="5776681" y="1025647"/>
                  </a:cubicBezTo>
                  <a:cubicBezTo>
                    <a:pt x="5776681" y="1062159"/>
                    <a:pt x="5769985" y="1090019"/>
                    <a:pt x="5756596" y="1109227"/>
                  </a:cubicBezTo>
                  <a:cubicBezTo>
                    <a:pt x="5743203" y="1128435"/>
                    <a:pt x="5724471" y="1138040"/>
                    <a:pt x="5700399" y="1138040"/>
                  </a:cubicBezTo>
                  <a:cubicBezTo>
                    <a:pt x="5677929" y="1138040"/>
                    <a:pt x="5660402" y="1128862"/>
                    <a:pt x="5647813" y="1110506"/>
                  </a:cubicBezTo>
                  <a:cubicBezTo>
                    <a:pt x="5635224" y="1092150"/>
                    <a:pt x="5628930" y="1065619"/>
                    <a:pt x="5628930" y="1030914"/>
                  </a:cubicBezTo>
                  <a:cubicBezTo>
                    <a:pt x="5628930" y="992797"/>
                    <a:pt x="5635500" y="963959"/>
                    <a:pt x="5648641" y="944399"/>
                  </a:cubicBezTo>
                  <a:cubicBezTo>
                    <a:pt x="5661780" y="924840"/>
                    <a:pt x="5680739" y="915060"/>
                    <a:pt x="5705513" y="915060"/>
                  </a:cubicBezTo>
                  <a:close/>
                  <a:moveTo>
                    <a:pt x="5548234" y="915060"/>
                  </a:moveTo>
                  <a:lnTo>
                    <a:pt x="5563142" y="915060"/>
                  </a:lnTo>
                  <a:lnTo>
                    <a:pt x="5563142" y="1138040"/>
                  </a:lnTo>
                  <a:lnTo>
                    <a:pt x="5527853" y="1138040"/>
                  </a:lnTo>
                  <a:lnTo>
                    <a:pt x="5527853" y="958257"/>
                  </a:lnTo>
                  <a:cubicBezTo>
                    <a:pt x="5521465" y="962820"/>
                    <a:pt x="5514594" y="966698"/>
                    <a:pt x="5507244" y="969892"/>
                  </a:cubicBezTo>
                  <a:cubicBezTo>
                    <a:pt x="5499891" y="973087"/>
                    <a:pt x="5491500" y="975900"/>
                    <a:pt x="5482071" y="978334"/>
                  </a:cubicBezTo>
                  <a:lnTo>
                    <a:pt x="5482071" y="948218"/>
                  </a:lnTo>
                  <a:cubicBezTo>
                    <a:pt x="5487951" y="946292"/>
                    <a:pt x="5493629" y="944263"/>
                    <a:pt x="5499105" y="942134"/>
                  </a:cubicBezTo>
                  <a:cubicBezTo>
                    <a:pt x="5504581" y="940005"/>
                    <a:pt x="5509980" y="937621"/>
                    <a:pt x="5515305" y="934985"/>
                  </a:cubicBezTo>
                  <a:cubicBezTo>
                    <a:pt x="5520627" y="932349"/>
                    <a:pt x="5526002" y="929408"/>
                    <a:pt x="5531426" y="926163"/>
                  </a:cubicBezTo>
                  <a:cubicBezTo>
                    <a:pt x="5536852" y="922919"/>
                    <a:pt x="5542454" y="919217"/>
                    <a:pt x="5548234" y="915060"/>
                  </a:cubicBezTo>
                  <a:close/>
                  <a:moveTo>
                    <a:pt x="5250520" y="915060"/>
                  </a:moveTo>
                  <a:lnTo>
                    <a:pt x="5265426" y="915060"/>
                  </a:lnTo>
                  <a:lnTo>
                    <a:pt x="5265426" y="1138040"/>
                  </a:lnTo>
                  <a:lnTo>
                    <a:pt x="5230139" y="1138040"/>
                  </a:lnTo>
                  <a:lnTo>
                    <a:pt x="5230139" y="958257"/>
                  </a:lnTo>
                  <a:cubicBezTo>
                    <a:pt x="5223751" y="962820"/>
                    <a:pt x="5216882" y="966698"/>
                    <a:pt x="5209528" y="969892"/>
                  </a:cubicBezTo>
                  <a:cubicBezTo>
                    <a:pt x="5202178" y="973087"/>
                    <a:pt x="5193787" y="975900"/>
                    <a:pt x="5184357" y="978334"/>
                  </a:cubicBezTo>
                  <a:lnTo>
                    <a:pt x="5184357" y="948218"/>
                  </a:lnTo>
                  <a:cubicBezTo>
                    <a:pt x="5190238" y="946292"/>
                    <a:pt x="5195916" y="944263"/>
                    <a:pt x="5201391" y="942134"/>
                  </a:cubicBezTo>
                  <a:cubicBezTo>
                    <a:pt x="5206868" y="940005"/>
                    <a:pt x="5212267" y="937621"/>
                    <a:pt x="5217590" y="934985"/>
                  </a:cubicBezTo>
                  <a:cubicBezTo>
                    <a:pt x="5222914" y="932349"/>
                    <a:pt x="5228288" y="929408"/>
                    <a:pt x="5233712" y="926163"/>
                  </a:cubicBezTo>
                  <a:cubicBezTo>
                    <a:pt x="5239139" y="922919"/>
                    <a:pt x="5244741" y="919217"/>
                    <a:pt x="5250520" y="915060"/>
                  </a:cubicBezTo>
                  <a:close/>
                  <a:moveTo>
                    <a:pt x="4875775" y="915060"/>
                  </a:moveTo>
                  <a:lnTo>
                    <a:pt x="4890681" y="915060"/>
                  </a:lnTo>
                  <a:lnTo>
                    <a:pt x="4890681" y="1138040"/>
                  </a:lnTo>
                  <a:lnTo>
                    <a:pt x="4855393" y="1138040"/>
                  </a:lnTo>
                  <a:lnTo>
                    <a:pt x="4855393" y="958257"/>
                  </a:lnTo>
                  <a:cubicBezTo>
                    <a:pt x="4849005" y="962820"/>
                    <a:pt x="4842135" y="966698"/>
                    <a:pt x="4834784" y="969892"/>
                  </a:cubicBezTo>
                  <a:cubicBezTo>
                    <a:pt x="4827432" y="973087"/>
                    <a:pt x="4819042" y="975900"/>
                    <a:pt x="4809611" y="978334"/>
                  </a:cubicBezTo>
                  <a:lnTo>
                    <a:pt x="4809611" y="948218"/>
                  </a:lnTo>
                  <a:cubicBezTo>
                    <a:pt x="4815492" y="946292"/>
                    <a:pt x="4821170" y="944263"/>
                    <a:pt x="4826646" y="942134"/>
                  </a:cubicBezTo>
                  <a:cubicBezTo>
                    <a:pt x="4832122" y="940005"/>
                    <a:pt x="4837521" y="937621"/>
                    <a:pt x="4842846" y="934985"/>
                  </a:cubicBezTo>
                  <a:cubicBezTo>
                    <a:pt x="4848168" y="932349"/>
                    <a:pt x="4853543" y="929408"/>
                    <a:pt x="4858968" y="926163"/>
                  </a:cubicBezTo>
                  <a:cubicBezTo>
                    <a:pt x="4864393" y="922919"/>
                    <a:pt x="4869995" y="919217"/>
                    <a:pt x="4875775" y="915060"/>
                  </a:cubicBezTo>
                  <a:close/>
                  <a:moveTo>
                    <a:pt x="4732167" y="915060"/>
                  </a:moveTo>
                  <a:lnTo>
                    <a:pt x="4747074" y="915060"/>
                  </a:lnTo>
                  <a:lnTo>
                    <a:pt x="4747074" y="1138040"/>
                  </a:lnTo>
                  <a:lnTo>
                    <a:pt x="4711785" y="1138040"/>
                  </a:lnTo>
                  <a:lnTo>
                    <a:pt x="4711785" y="958257"/>
                  </a:lnTo>
                  <a:cubicBezTo>
                    <a:pt x="4705398" y="962820"/>
                    <a:pt x="4698527" y="966698"/>
                    <a:pt x="4691176" y="969892"/>
                  </a:cubicBezTo>
                  <a:cubicBezTo>
                    <a:pt x="4683824" y="973087"/>
                    <a:pt x="4675433" y="975900"/>
                    <a:pt x="4666003" y="978334"/>
                  </a:cubicBezTo>
                  <a:lnTo>
                    <a:pt x="4666003" y="948218"/>
                  </a:lnTo>
                  <a:cubicBezTo>
                    <a:pt x="4671884" y="946292"/>
                    <a:pt x="4677562" y="944263"/>
                    <a:pt x="4683038" y="942134"/>
                  </a:cubicBezTo>
                  <a:cubicBezTo>
                    <a:pt x="4688514" y="940005"/>
                    <a:pt x="4693913" y="937621"/>
                    <a:pt x="4699238" y="934985"/>
                  </a:cubicBezTo>
                  <a:cubicBezTo>
                    <a:pt x="4704560" y="932349"/>
                    <a:pt x="4709935" y="929408"/>
                    <a:pt x="4715360" y="926163"/>
                  </a:cubicBezTo>
                  <a:cubicBezTo>
                    <a:pt x="4720786" y="922919"/>
                    <a:pt x="4726387" y="919217"/>
                    <a:pt x="4732167" y="915060"/>
                  </a:cubicBezTo>
                  <a:close/>
                  <a:moveTo>
                    <a:pt x="4588559" y="915060"/>
                  </a:moveTo>
                  <a:lnTo>
                    <a:pt x="4603466" y="915060"/>
                  </a:lnTo>
                  <a:lnTo>
                    <a:pt x="4603466" y="1138040"/>
                  </a:lnTo>
                  <a:lnTo>
                    <a:pt x="4568177" y="1138040"/>
                  </a:lnTo>
                  <a:lnTo>
                    <a:pt x="4568177" y="958257"/>
                  </a:lnTo>
                  <a:cubicBezTo>
                    <a:pt x="4561790" y="962820"/>
                    <a:pt x="4554919" y="966698"/>
                    <a:pt x="4547568" y="969892"/>
                  </a:cubicBezTo>
                  <a:cubicBezTo>
                    <a:pt x="4540216" y="973087"/>
                    <a:pt x="4531825" y="975900"/>
                    <a:pt x="4522395" y="978334"/>
                  </a:cubicBezTo>
                  <a:lnTo>
                    <a:pt x="4522395" y="948218"/>
                  </a:lnTo>
                  <a:cubicBezTo>
                    <a:pt x="4528276" y="946292"/>
                    <a:pt x="4533954" y="944263"/>
                    <a:pt x="4539430" y="942134"/>
                  </a:cubicBezTo>
                  <a:cubicBezTo>
                    <a:pt x="4544906" y="940005"/>
                    <a:pt x="4550306" y="937621"/>
                    <a:pt x="4555630" y="934985"/>
                  </a:cubicBezTo>
                  <a:cubicBezTo>
                    <a:pt x="4560952" y="932349"/>
                    <a:pt x="4566328" y="929408"/>
                    <a:pt x="4571752" y="926163"/>
                  </a:cubicBezTo>
                  <a:cubicBezTo>
                    <a:pt x="4577178" y="922919"/>
                    <a:pt x="4582779" y="919217"/>
                    <a:pt x="4588559" y="915060"/>
                  </a:cubicBezTo>
                  <a:close/>
                  <a:moveTo>
                    <a:pt x="4444951" y="915060"/>
                  </a:moveTo>
                  <a:lnTo>
                    <a:pt x="4459858" y="915060"/>
                  </a:lnTo>
                  <a:lnTo>
                    <a:pt x="4459858" y="1138040"/>
                  </a:lnTo>
                  <a:lnTo>
                    <a:pt x="4424569" y="1138040"/>
                  </a:lnTo>
                  <a:lnTo>
                    <a:pt x="4424569" y="958257"/>
                  </a:lnTo>
                  <a:cubicBezTo>
                    <a:pt x="4418182" y="962820"/>
                    <a:pt x="4411311" y="966698"/>
                    <a:pt x="4403960" y="969892"/>
                  </a:cubicBezTo>
                  <a:cubicBezTo>
                    <a:pt x="4396608" y="973087"/>
                    <a:pt x="4388217" y="975900"/>
                    <a:pt x="4378788" y="978334"/>
                  </a:cubicBezTo>
                  <a:lnTo>
                    <a:pt x="4378788" y="948218"/>
                  </a:lnTo>
                  <a:cubicBezTo>
                    <a:pt x="4384669" y="946292"/>
                    <a:pt x="4390346" y="944263"/>
                    <a:pt x="4395823" y="942134"/>
                  </a:cubicBezTo>
                  <a:cubicBezTo>
                    <a:pt x="4401298" y="940005"/>
                    <a:pt x="4406697" y="937621"/>
                    <a:pt x="4412022" y="934985"/>
                  </a:cubicBezTo>
                  <a:cubicBezTo>
                    <a:pt x="4417345" y="932349"/>
                    <a:pt x="4422719" y="929408"/>
                    <a:pt x="4428144" y="926163"/>
                  </a:cubicBezTo>
                  <a:cubicBezTo>
                    <a:pt x="4433570" y="922919"/>
                    <a:pt x="4439171" y="919217"/>
                    <a:pt x="4444951" y="915060"/>
                  </a:cubicBezTo>
                  <a:close/>
                  <a:moveTo>
                    <a:pt x="3704782" y="915060"/>
                  </a:moveTo>
                  <a:lnTo>
                    <a:pt x="3719687" y="915060"/>
                  </a:lnTo>
                  <a:lnTo>
                    <a:pt x="3719687" y="1138040"/>
                  </a:lnTo>
                  <a:lnTo>
                    <a:pt x="3684398" y="1138040"/>
                  </a:lnTo>
                  <a:lnTo>
                    <a:pt x="3684398" y="958257"/>
                  </a:lnTo>
                  <a:cubicBezTo>
                    <a:pt x="3678012" y="962820"/>
                    <a:pt x="3671142" y="966698"/>
                    <a:pt x="3663791" y="969892"/>
                  </a:cubicBezTo>
                  <a:cubicBezTo>
                    <a:pt x="3656439" y="973087"/>
                    <a:pt x="3648047" y="975900"/>
                    <a:pt x="3638618" y="978334"/>
                  </a:cubicBezTo>
                  <a:lnTo>
                    <a:pt x="3638618" y="948218"/>
                  </a:lnTo>
                  <a:cubicBezTo>
                    <a:pt x="3644499" y="946292"/>
                    <a:pt x="3650177" y="944263"/>
                    <a:pt x="3655653" y="942134"/>
                  </a:cubicBezTo>
                  <a:cubicBezTo>
                    <a:pt x="3661128" y="940005"/>
                    <a:pt x="3666528" y="937621"/>
                    <a:pt x="3671852" y="934985"/>
                  </a:cubicBezTo>
                  <a:cubicBezTo>
                    <a:pt x="3677175" y="932349"/>
                    <a:pt x="3682550" y="929408"/>
                    <a:pt x="3687974" y="926163"/>
                  </a:cubicBezTo>
                  <a:cubicBezTo>
                    <a:pt x="3693400" y="922919"/>
                    <a:pt x="3699002" y="919217"/>
                    <a:pt x="3704782" y="915060"/>
                  </a:cubicBezTo>
                  <a:close/>
                  <a:moveTo>
                    <a:pt x="3555925" y="915060"/>
                  </a:moveTo>
                  <a:lnTo>
                    <a:pt x="3570831" y="915060"/>
                  </a:lnTo>
                  <a:lnTo>
                    <a:pt x="3570831" y="1138040"/>
                  </a:lnTo>
                  <a:lnTo>
                    <a:pt x="3535543" y="1138040"/>
                  </a:lnTo>
                  <a:lnTo>
                    <a:pt x="3535543" y="958257"/>
                  </a:lnTo>
                  <a:cubicBezTo>
                    <a:pt x="3529155" y="962820"/>
                    <a:pt x="3522285" y="966698"/>
                    <a:pt x="3514934" y="969892"/>
                  </a:cubicBezTo>
                  <a:cubicBezTo>
                    <a:pt x="3507582" y="973087"/>
                    <a:pt x="3499191" y="975900"/>
                    <a:pt x="3489761" y="978334"/>
                  </a:cubicBezTo>
                  <a:lnTo>
                    <a:pt x="3489761" y="948218"/>
                  </a:lnTo>
                  <a:cubicBezTo>
                    <a:pt x="3495642" y="946292"/>
                    <a:pt x="3501321" y="944263"/>
                    <a:pt x="3506796" y="942134"/>
                  </a:cubicBezTo>
                  <a:cubicBezTo>
                    <a:pt x="3512272" y="940005"/>
                    <a:pt x="3517671" y="937621"/>
                    <a:pt x="3522995" y="934985"/>
                  </a:cubicBezTo>
                  <a:cubicBezTo>
                    <a:pt x="3528319" y="932349"/>
                    <a:pt x="3533692" y="929408"/>
                    <a:pt x="3539117" y="926163"/>
                  </a:cubicBezTo>
                  <a:cubicBezTo>
                    <a:pt x="3544543" y="922919"/>
                    <a:pt x="3550145" y="919217"/>
                    <a:pt x="3555925" y="915060"/>
                  </a:cubicBezTo>
                  <a:close/>
                  <a:moveTo>
                    <a:pt x="2751256" y="915060"/>
                  </a:moveTo>
                  <a:lnTo>
                    <a:pt x="2766162" y="915060"/>
                  </a:lnTo>
                  <a:lnTo>
                    <a:pt x="2766162" y="1138040"/>
                  </a:lnTo>
                  <a:lnTo>
                    <a:pt x="2730875" y="1138040"/>
                  </a:lnTo>
                  <a:lnTo>
                    <a:pt x="2730875" y="958257"/>
                  </a:lnTo>
                  <a:cubicBezTo>
                    <a:pt x="2724487" y="962820"/>
                    <a:pt x="2717616" y="966698"/>
                    <a:pt x="2710265" y="969892"/>
                  </a:cubicBezTo>
                  <a:cubicBezTo>
                    <a:pt x="2702913" y="973087"/>
                    <a:pt x="2694523" y="975900"/>
                    <a:pt x="2685092" y="978334"/>
                  </a:cubicBezTo>
                  <a:lnTo>
                    <a:pt x="2685092" y="948218"/>
                  </a:lnTo>
                  <a:cubicBezTo>
                    <a:pt x="2690974" y="946292"/>
                    <a:pt x="2696652" y="944263"/>
                    <a:pt x="2702128" y="942134"/>
                  </a:cubicBezTo>
                  <a:cubicBezTo>
                    <a:pt x="2707602" y="940005"/>
                    <a:pt x="2713003" y="937621"/>
                    <a:pt x="2718327" y="934985"/>
                  </a:cubicBezTo>
                  <a:cubicBezTo>
                    <a:pt x="2723651" y="932349"/>
                    <a:pt x="2729024" y="929408"/>
                    <a:pt x="2734449" y="926163"/>
                  </a:cubicBezTo>
                  <a:cubicBezTo>
                    <a:pt x="2739874" y="922919"/>
                    <a:pt x="2745476" y="919217"/>
                    <a:pt x="2751256" y="915060"/>
                  </a:cubicBezTo>
                  <a:close/>
                  <a:moveTo>
                    <a:pt x="2358497" y="915060"/>
                  </a:moveTo>
                  <a:lnTo>
                    <a:pt x="2373404" y="915060"/>
                  </a:lnTo>
                  <a:lnTo>
                    <a:pt x="2373404" y="1138040"/>
                  </a:lnTo>
                  <a:lnTo>
                    <a:pt x="2338116" y="1138040"/>
                  </a:lnTo>
                  <a:lnTo>
                    <a:pt x="2338116" y="958257"/>
                  </a:lnTo>
                  <a:cubicBezTo>
                    <a:pt x="2331728" y="962820"/>
                    <a:pt x="2324858" y="966698"/>
                    <a:pt x="2317506" y="969892"/>
                  </a:cubicBezTo>
                  <a:cubicBezTo>
                    <a:pt x="2310154" y="973087"/>
                    <a:pt x="2301764" y="975900"/>
                    <a:pt x="2292334" y="978334"/>
                  </a:cubicBezTo>
                  <a:lnTo>
                    <a:pt x="2292334" y="948218"/>
                  </a:lnTo>
                  <a:cubicBezTo>
                    <a:pt x="2298215" y="946292"/>
                    <a:pt x="2303893" y="944263"/>
                    <a:pt x="2309369" y="942134"/>
                  </a:cubicBezTo>
                  <a:cubicBezTo>
                    <a:pt x="2314844" y="940005"/>
                    <a:pt x="2320244" y="937621"/>
                    <a:pt x="2325567" y="934985"/>
                  </a:cubicBezTo>
                  <a:cubicBezTo>
                    <a:pt x="2330891" y="932349"/>
                    <a:pt x="2336265" y="929408"/>
                    <a:pt x="2341689" y="926163"/>
                  </a:cubicBezTo>
                  <a:cubicBezTo>
                    <a:pt x="2347115" y="922919"/>
                    <a:pt x="2352717" y="919217"/>
                    <a:pt x="2358497" y="915060"/>
                  </a:cubicBezTo>
                  <a:close/>
                  <a:moveTo>
                    <a:pt x="2214890" y="915060"/>
                  </a:moveTo>
                  <a:lnTo>
                    <a:pt x="2229796" y="915060"/>
                  </a:lnTo>
                  <a:lnTo>
                    <a:pt x="2229796" y="1138040"/>
                  </a:lnTo>
                  <a:lnTo>
                    <a:pt x="2194508" y="1138040"/>
                  </a:lnTo>
                  <a:lnTo>
                    <a:pt x="2194508" y="958257"/>
                  </a:lnTo>
                  <a:cubicBezTo>
                    <a:pt x="2188120" y="962820"/>
                    <a:pt x="2181250" y="966698"/>
                    <a:pt x="2173898" y="969892"/>
                  </a:cubicBezTo>
                  <a:cubicBezTo>
                    <a:pt x="2166547" y="973087"/>
                    <a:pt x="2158155" y="975900"/>
                    <a:pt x="2148726" y="978334"/>
                  </a:cubicBezTo>
                  <a:lnTo>
                    <a:pt x="2148726" y="948218"/>
                  </a:lnTo>
                  <a:cubicBezTo>
                    <a:pt x="2154607" y="946292"/>
                    <a:pt x="2160285" y="944263"/>
                    <a:pt x="2165760" y="942134"/>
                  </a:cubicBezTo>
                  <a:cubicBezTo>
                    <a:pt x="2171237" y="940005"/>
                    <a:pt x="2176635" y="937621"/>
                    <a:pt x="2181960" y="934985"/>
                  </a:cubicBezTo>
                  <a:cubicBezTo>
                    <a:pt x="2187283" y="932349"/>
                    <a:pt x="2192657" y="929408"/>
                    <a:pt x="2198082" y="926163"/>
                  </a:cubicBezTo>
                  <a:cubicBezTo>
                    <a:pt x="2203507" y="922919"/>
                    <a:pt x="2209108" y="919217"/>
                    <a:pt x="2214890" y="915060"/>
                  </a:cubicBezTo>
                  <a:close/>
                  <a:moveTo>
                    <a:pt x="2071281" y="915060"/>
                  </a:moveTo>
                  <a:lnTo>
                    <a:pt x="2086188" y="915060"/>
                  </a:lnTo>
                  <a:lnTo>
                    <a:pt x="2086188" y="1138040"/>
                  </a:lnTo>
                  <a:lnTo>
                    <a:pt x="2050900" y="1138040"/>
                  </a:lnTo>
                  <a:lnTo>
                    <a:pt x="2050900" y="958257"/>
                  </a:lnTo>
                  <a:cubicBezTo>
                    <a:pt x="2044512" y="962820"/>
                    <a:pt x="2037643" y="966698"/>
                    <a:pt x="2030290" y="969892"/>
                  </a:cubicBezTo>
                  <a:cubicBezTo>
                    <a:pt x="2022939" y="973087"/>
                    <a:pt x="2014548" y="975900"/>
                    <a:pt x="2005118" y="978334"/>
                  </a:cubicBezTo>
                  <a:lnTo>
                    <a:pt x="2005118" y="948218"/>
                  </a:lnTo>
                  <a:cubicBezTo>
                    <a:pt x="2010999" y="946292"/>
                    <a:pt x="2016678" y="944263"/>
                    <a:pt x="2022153" y="942134"/>
                  </a:cubicBezTo>
                  <a:cubicBezTo>
                    <a:pt x="2027629" y="940005"/>
                    <a:pt x="2033029" y="937621"/>
                    <a:pt x="2038351" y="934985"/>
                  </a:cubicBezTo>
                  <a:cubicBezTo>
                    <a:pt x="2043676" y="932349"/>
                    <a:pt x="2049050" y="929408"/>
                    <a:pt x="2054473" y="926163"/>
                  </a:cubicBezTo>
                  <a:cubicBezTo>
                    <a:pt x="2059899" y="922919"/>
                    <a:pt x="2065501" y="919217"/>
                    <a:pt x="2071281" y="915060"/>
                  </a:cubicBezTo>
                  <a:close/>
                  <a:moveTo>
                    <a:pt x="1927674" y="915060"/>
                  </a:moveTo>
                  <a:lnTo>
                    <a:pt x="1942580" y="915060"/>
                  </a:lnTo>
                  <a:lnTo>
                    <a:pt x="1942580" y="1138040"/>
                  </a:lnTo>
                  <a:lnTo>
                    <a:pt x="1907293" y="1138040"/>
                  </a:lnTo>
                  <a:lnTo>
                    <a:pt x="1907293" y="958257"/>
                  </a:lnTo>
                  <a:cubicBezTo>
                    <a:pt x="1900905" y="962820"/>
                    <a:pt x="1894034" y="966698"/>
                    <a:pt x="1886683" y="969892"/>
                  </a:cubicBezTo>
                  <a:cubicBezTo>
                    <a:pt x="1879331" y="973087"/>
                    <a:pt x="1870941" y="975900"/>
                    <a:pt x="1861510" y="978334"/>
                  </a:cubicBezTo>
                  <a:lnTo>
                    <a:pt x="1861510" y="948218"/>
                  </a:lnTo>
                  <a:cubicBezTo>
                    <a:pt x="1867392" y="946292"/>
                    <a:pt x="1873070" y="944263"/>
                    <a:pt x="1878546" y="942134"/>
                  </a:cubicBezTo>
                  <a:cubicBezTo>
                    <a:pt x="1884021" y="940005"/>
                    <a:pt x="1889421" y="937621"/>
                    <a:pt x="1894745" y="934985"/>
                  </a:cubicBezTo>
                  <a:cubicBezTo>
                    <a:pt x="1900069" y="932349"/>
                    <a:pt x="1905442" y="929408"/>
                    <a:pt x="1910867" y="926163"/>
                  </a:cubicBezTo>
                  <a:cubicBezTo>
                    <a:pt x="1916293" y="922919"/>
                    <a:pt x="1921894" y="919217"/>
                    <a:pt x="1927674" y="915060"/>
                  </a:cubicBezTo>
                  <a:close/>
                  <a:moveTo>
                    <a:pt x="1784066" y="915060"/>
                  </a:moveTo>
                  <a:lnTo>
                    <a:pt x="1798972" y="915060"/>
                  </a:lnTo>
                  <a:lnTo>
                    <a:pt x="1798972" y="1138040"/>
                  </a:lnTo>
                  <a:lnTo>
                    <a:pt x="1763685" y="1138040"/>
                  </a:lnTo>
                  <a:lnTo>
                    <a:pt x="1763685" y="958257"/>
                  </a:lnTo>
                  <a:cubicBezTo>
                    <a:pt x="1757297" y="962820"/>
                    <a:pt x="1750427" y="966698"/>
                    <a:pt x="1743075" y="969892"/>
                  </a:cubicBezTo>
                  <a:cubicBezTo>
                    <a:pt x="1735724" y="973087"/>
                    <a:pt x="1727333" y="975900"/>
                    <a:pt x="1717902" y="978334"/>
                  </a:cubicBezTo>
                  <a:lnTo>
                    <a:pt x="1717902" y="948218"/>
                  </a:lnTo>
                  <a:cubicBezTo>
                    <a:pt x="1723784" y="946292"/>
                    <a:pt x="1729462" y="944263"/>
                    <a:pt x="1734938" y="942134"/>
                  </a:cubicBezTo>
                  <a:cubicBezTo>
                    <a:pt x="1740413" y="940005"/>
                    <a:pt x="1745813" y="937621"/>
                    <a:pt x="1751137" y="934985"/>
                  </a:cubicBezTo>
                  <a:cubicBezTo>
                    <a:pt x="1756460" y="932349"/>
                    <a:pt x="1761834" y="929408"/>
                    <a:pt x="1767259" y="926163"/>
                  </a:cubicBezTo>
                  <a:cubicBezTo>
                    <a:pt x="1772684" y="922919"/>
                    <a:pt x="1778286" y="919217"/>
                    <a:pt x="1784066" y="915060"/>
                  </a:cubicBezTo>
                  <a:close/>
                  <a:moveTo>
                    <a:pt x="1436368" y="915060"/>
                  </a:moveTo>
                  <a:lnTo>
                    <a:pt x="1451275" y="915060"/>
                  </a:lnTo>
                  <a:lnTo>
                    <a:pt x="1451275" y="1138040"/>
                  </a:lnTo>
                  <a:lnTo>
                    <a:pt x="1415987" y="1138040"/>
                  </a:lnTo>
                  <a:lnTo>
                    <a:pt x="1415987" y="958257"/>
                  </a:lnTo>
                  <a:cubicBezTo>
                    <a:pt x="1409599" y="962820"/>
                    <a:pt x="1402729" y="966698"/>
                    <a:pt x="1395377" y="969892"/>
                  </a:cubicBezTo>
                  <a:cubicBezTo>
                    <a:pt x="1388026" y="973087"/>
                    <a:pt x="1379635" y="975900"/>
                    <a:pt x="1370205" y="978334"/>
                  </a:cubicBezTo>
                  <a:lnTo>
                    <a:pt x="1370205" y="948218"/>
                  </a:lnTo>
                  <a:cubicBezTo>
                    <a:pt x="1376086" y="946292"/>
                    <a:pt x="1381764" y="944263"/>
                    <a:pt x="1387240" y="942134"/>
                  </a:cubicBezTo>
                  <a:cubicBezTo>
                    <a:pt x="1392714" y="940005"/>
                    <a:pt x="1398114" y="937621"/>
                    <a:pt x="1403439" y="934985"/>
                  </a:cubicBezTo>
                  <a:cubicBezTo>
                    <a:pt x="1408762" y="932349"/>
                    <a:pt x="1414136" y="929408"/>
                    <a:pt x="1419561" y="926163"/>
                  </a:cubicBezTo>
                  <a:cubicBezTo>
                    <a:pt x="1424986" y="922919"/>
                    <a:pt x="1430589" y="919217"/>
                    <a:pt x="1436368" y="915060"/>
                  </a:cubicBezTo>
                  <a:close/>
                  <a:moveTo>
                    <a:pt x="1138655" y="915060"/>
                  </a:moveTo>
                  <a:lnTo>
                    <a:pt x="1153561" y="915060"/>
                  </a:lnTo>
                  <a:lnTo>
                    <a:pt x="1153561" y="1138040"/>
                  </a:lnTo>
                  <a:lnTo>
                    <a:pt x="1118273" y="1138040"/>
                  </a:lnTo>
                  <a:lnTo>
                    <a:pt x="1118273" y="958257"/>
                  </a:lnTo>
                  <a:cubicBezTo>
                    <a:pt x="1111885" y="962820"/>
                    <a:pt x="1105015" y="966698"/>
                    <a:pt x="1097664" y="969892"/>
                  </a:cubicBezTo>
                  <a:cubicBezTo>
                    <a:pt x="1090312" y="973087"/>
                    <a:pt x="1081921" y="975900"/>
                    <a:pt x="1072491" y="978334"/>
                  </a:cubicBezTo>
                  <a:lnTo>
                    <a:pt x="1072491" y="948218"/>
                  </a:lnTo>
                  <a:cubicBezTo>
                    <a:pt x="1078372" y="946292"/>
                    <a:pt x="1084051" y="944263"/>
                    <a:pt x="1089526" y="942134"/>
                  </a:cubicBezTo>
                  <a:cubicBezTo>
                    <a:pt x="1095002" y="940005"/>
                    <a:pt x="1100402" y="937621"/>
                    <a:pt x="1105725" y="934985"/>
                  </a:cubicBezTo>
                  <a:cubicBezTo>
                    <a:pt x="1111049" y="932349"/>
                    <a:pt x="1116423" y="929408"/>
                    <a:pt x="1121848" y="926163"/>
                  </a:cubicBezTo>
                  <a:cubicBezTo>
                    <a:pt x="1127273" y="922919"/>
                    <a:pt x="1132875" y="919217"/>
                    <a:pt x="1138655" y="915060"/>
                  </a:cubicBezTo>
                  <a:close/>
                  <a:moveTo>
                    <a:pt x="927536" y="915060"/>
                  </a:moveTo>
                  <a:cubicBezTo>
                    <a:pt x="974980" y="915060"/>
                    <a:pt x="998703" y="951923"/>
                    <a:pt x="998703" y="1025647"/>
                  </a:cubicBezTo>
                  <a:cubicBezTo>
                    <a:pt x="998703" y="1062159"/>
                    <a:pt x="992008" y="1090019"/>
                    <a:pt x="978617" y="1109227"/>
                  </a:cubicBezTo>
                  <a:cubicBezTo>
                    <a:pt x="965226" y="1128435"/>
                    <a:pt x="946494" y="1138040"/>
                    <a:pt x="922421" y="1138040"/>
                  </a:cubicBezTo>
                  <a:cubicBezTo>
                    <a:pt x="899952" y="1138040"/>
                    <a:pt x="882424" y="1128862"/>
                    <a:pt x="869834" y="1110506"/>
                  </a:cubicBezTo>
                  <a:cubicBezTo>
                    <a:pt x="857247" y="1092150"/>
                    <a:pt x="850953" y="1065619"/>
                    <a:pt x="850953" y="1030914"/>
                  </a:cubicBezTo>
                  <a:cubicBezTo>
                    <a:pt x="850953" y="992797"/>
                    <a:pt x="857523" y="963959"/>
                    <a:pt x="870663" y="944399"/>
                  </a:cubicBezTo>
                  <a:cubicBezTo>
                    <a:pt x="883803" y="924840"/>
                    <a:pt x="902761" y="915060"/>
                    <a:pt x="927536" y="915060"/>
                  </a:cubicBezTo>
                  <a:close/>
                  <a:moveTo>
                    <a:pt x="711260" y="915060"/>
                  </a:moveTo>
                  <a:cubicBezTo>
                    <a:pt x="758705" y="915060"/>
                    <a:pt x="782427" y="951923"/>
                    <a:pt x="782427" y="1025647"/>
                  </a:cubicBezTo>
                  <a:cubicBezTo>
                    <a:pt x="782427" y="1062159"/>
                    <a:pt x="775731" y="1090019"/>
                    <a:pt x="762340" y="1109227"/>
                  </a:cubicBezTo>
                  <a:cubicBezTo>
                    <a:pt x="748950" y="1128435"/>
                    <a:pt x="730217" y="1138040"/>
                    <a:pt x="706145" y="1138040"/>
                  </a:cubicBezTo>
                  <a:cubicBezTo>
                    <a:pt x="683675" y="1138040"/>
                    <a:pt x="666148" y="1128862"/>
                    <a:pt x="653559" y="1110506"/>
                  </a:cubicBezTo>
                  <a:cubicBezTo>
                    <a:pt x="640971" y="1092150"/>
                    <a:pt x="634677" y="1065619"/>
                    <a:pt x="634677" y="1030914"/>
                  </a:cubicBezTo>
                  <a:cubicBezTo>
                    <a:pt x="634677" y="992797"/>
                    <a:pt x="641246" y="963959"/>
                    <a:pt x="654387" y="944399"/>
                  </a:cubicBezTo>
                  <a:cubicBezTo>
                    <a:pt x="667527" y="924840"/>
                    <a:pt x="686485" y="915060"/>
                    <a:pt x="711260" y="915060"/>
                  </a:cubicBezTo>
                  <a:close/>
                  <a:moveTo>
                    <a:pt x="563127" y="915060"/>
                  </a:moveTo>
                  <a:lnTo>
                    <a:pt x="578034" y="915060"/>
                  </a:lnTo>
                  <a:lnTo>
                    <a:pt x="578034" y="1138040"/>
                  </a:lnTo>
                  <a:lnTo>
                    <a:pt x="542746" y="1138040"/>
                  </a:lnTo>
                  <a:lnTo>
                    <a:pt x="542746" y="958257"/>
                  </a:lnTo>
                  <a:cubicBezTo>
                    <a:pt x="536358" y="962820"/>
                    <a:pt x="529488" y="966698"/>
                    <a:pt x="522136" y="969892"/>
                  </a:cubicBezTo>
                  <a:cubicBezTo>
                    <a:pt x="514785" y="973087"/>
                    <a:pt x="506393" y="975900"/>
                    <a:pt x="496964" y="978334"/>
                  </a:cubicBezTo>
                  <a:lnTo>
                    <a:pt x="496964" y="948218"/>
                  </a:lnTo>
                  <a:cubicBezTo>
                    <a:pt x="502845" y="946292"/>
                    <a:pt x="508524" y="944263"/>
                    <a:pt x="513999" y="942134"/>
                  </a:cubicBezTo>
                  <a:cubicBezTo>
                    <a:pt x="519475" y="940005"/>
                    <a:pt x="524874" y="937621"/>
                    <a:pt x="530198" y="934985"/>
                  </a:cubicBezTo>
                  <a:cubicBezTo>
                    <a:pt x="535521" y="932349"/>
                    <a:pt x="540896" y="929408"/>
                    <a:pt x="546320" y="926163"/>
                  </a:cubicBezTo>
                  <a:cubicBezTo>
                    <a:pt x="551745" y="922919"/>
                    <a:pt x="557348" y="919217"/>
                    <a:pt x="563127" y="915060"/>
                  </a:cubicBezTo>
                  <a:close/>
                  <a:moveTo>
                    <a:pt x="265414" y="915060"/>
                  </a:moveTo>
                  <a:lnTo>
                    <a:pt x="280319" y="915060"/>
                  </a:lnTo>
                  <a:lnTo>
                    <a:pt x="280319" y="1138040"/>
                  </a:lnTo>
                  <a:lnTo>
                    <a:pt x="245032" y="1138040"/>
                  </a:lnTo>
                  <a:lnTo>
                    <a:pt x="245032" y="958257"/>
                  </a:lnTo>
                  <a:cubicBezTo>
                    <a:pt x="238644" y="962820"/>
                    <a:pt x="231774" y="966698"/>
                    <a:pt x="224423" y="969892"/>
                  </a:cubicBezTo>
                  <a:cubicBezTo>
                    <a:pt x="217071" y="973087"/>
                    <a:pt x="208681" y="975900"/>
                    <a:pt x="199250" y="978334"/>
                  </a:cubicBezTo>
                  <a:lnTo>
                    <a:pt x="199250" y="948218"/>
                  </a:lnTo>
                  <a:cubicBezTo>
                    <a:pt x="205131" y="946292"/>
                    <a:pt x="210810" y="944263"/>
                    <a:pt x="216284" y="942134"/>
                  </a:cubicBezTo>
                  <a:cubicBezTo>
                    <a:pt x="221761" y="940005"/>
                    <a:pt x="227161" y="937621"/>
                    <a:pt x="232483" y="934985"/>
                  </a:cubicBezTo>
                  <a:cubicBezTo>
                    <a:pt x="237808" y="932349"/>
                    <a:pt x="243181" y="929408"/>
                    <a:pt x="248607" y="926163"/>
                  </a:cubicBezTo>
                  <a:cubicBezTo>
                    <a:pt x="254032" y="922919"/>
                    <a:pt x="259634" y="919217"/>
                    <a:pt x="265414" y="915060"/>
                  </a:cubicBezTo>
                  <a:close/>
                  <a:moveTo>
                    <a:pt x="89653" y="915060"/>
                  </a:moveTo>
                  <a:cubicBezTo>
                    <a:pt x="137098" y="915060"/>
                    <a:pt x="160821" y="951923"/>
                    <a:pt x="160821" y="1025647"/>
                  </a:cubicBezTo>
                  <a:cubicBezTo>
                    <a:pt x="160821" y="1062159"/>
                    <a:pt x="154125" y="1090019"/>
                    <a:pt x="140735" y="1109227"/>
                  </a:cubicBezTo>
                  <a:cubicBezTo>
                    <a:pt x="127344" y="1128435"/>
                    <a:pt x="108612" y="1138040"/>
                    <a:pt x="84538" y="1138040"/>
                  </a:cubicBezTo>
                  <a:cubicBezTo>
                    <a:pt x="62070" y="1138040"/>
                    <a:pt x="44541" y="1128862"/>
                    <a:pt x="31953" y="1110506"/>
                  </a:cubicBezTo>
                  <a:cubicBezTo>
                    <a:pt x="19364" y="1092150"/>
                    <a:pt x="13070" y="1065619"/>
                    <a:pt x="13070" y="1030914"/>
                  </a:cubicBezTo>
                  <a:cubicBezTo>
                    <a:pt x="13070" y="992797"/>
                    <a:pt x="19640" y="963959"/>
                    <a:pt x="32780" y="944399"/>
                  </a:cubicBezTo>
                  <a:cubicBezTo>
                    <a:pt x="45921" y="924840"/>
                    <a:pt x="64878" y="915060"/>
                    <a:pt x="89653" y="915060"/>
                  </a:cubicBezTo>
                  <a:close/>
                  <a:moveTo>
                    <a:pt x="9143281" y="660590"/>
                  </a:moveTo>
                  <a:cubicBezTo>
                    <a:pt x="9117101" y="660590"/>
                    <a:pt x="9104011" y="689428"/>
                    <a:pt x="9104011" y="747104"/>
                  </a:cubicBezTo>
                  <a:cubicBezTo>
                    <a:pt x="9104011" y="801068"/>
                    <a:pt x="9116850" y="828051"/>
                    <a:pt x="9142529" y="828051"/>
                  </a:cubicBezTo>
                  <a:cubicBezTo>
                    <a:pt x="9167805" y="828051"/>
                    <a:pt x="9180444" y="800617"/>
                    <a:pt x="9180444" y="745750"/>
                  </a:cubicBezTo>
                  <a:cubicBezTo>
                    <a:pt x="9180444" y="688976"/>
                    <a:pt x="9168056" y="660590"/>
                    <a:pt x="9143281" y="660590"/>
                  </a:cubicBezTo>
                  <a:close/>
                  <a:moveTo>
                    <a:pt x="8801524" y="660590"/>
                  </a:moveTo>
                  <a:cubicBezTo>
                    <a:pt x="8775344" y="660590"/>
                    <a:pt x="8762254" y="689428"/>
                    <a:pt x="8762254" y="747104"/>
                  </a:cubicBezTo>
                  <a:cubicBezTo>
                    <a:pt x="8762254" y="801068"/>
                    <a:pt x="8775093" y="828051"/>
                    <a:pt x="8800772" y="828051"/>
                  </a:cubicBezTo>
                  <a:cubicBezTo>
                    <a:pt x="8826048" y="828051"/>
                    <a:pt x="8838687" y="800617"/>
                    <a:pt x="8838687" y="745750"/>
                  </a:cubicBezTo>
                  <a:cubicBezTo>
                    <a:pt x="8838687" y="688976"/>
                    <a:pt x="8826299" y="660590"/>
                    <a:pt x="8801524" y="660590"/>
                  </a:cubicBezTo>
                  <a:close/>
                  <a:moveTo>
                    <a:pt x="8100122" y="660590"/>
                  </a:moveTo>
                  <a:cubicBezTo>
                    <a:pt x="8073942" y="660590"/>
                    <a:pt x="8060852" y="689428"/>
                    <a:pt x="8060852" y="747104"/>
                  </a:cubicBezTo>
                  <a:cubicBezTo>
                    <a:pt x="8060852" y="801068"/>
                    <a:pt x="8073691" y="828051"/>
                    <a:pt x="8099370" y="828051"/>
                  </a:cubicBezTo>
                  <a:cubicBezTo>
                    <a:pt x="8124647" y="828051"/>
                    <a:pt x="8137285" y="800617"/>
                    <a:pt x="8137285" y="745750"/>
                  </a:cubicBezTo>
                  <a:cubicBezTo>
                    <a:pt x="8137285" y="688976"/>
                    <a:pt x="8124897" y="660590"/>
                    <a:pt x="8100122" y="660590"/>
                  </a:cubicBezTo>
                  <a:close/>
                  <a:moveTo>
                    <a:pt x="6841633" y="660590"/>
                  </a:moveTo>
                  <a:cubicBezTo>
                    <a:pt x="6815453" y="660590"/>
                    <a:pt x="6802363" y="689428"/>
                    <a:pt x="6802363" y="747104"/>
                  </a:cubicBezTo>
                  <a:cubicBezTo>
                    <a:pt x="6802363" y="801068"/>
                    <a:pt x="6815202" y="828051"/>
                    <a:pt x="6840881" y="828051"/>
                  </a:cubicBezTo>
                  <a:cubicBezTo>
                    <a:pt x="6866158" y="828051"/>
                    <a:pt x="6878796" y="800617"/>
                    <a:pt x="6878796" y="745750"/>
                  </a:cubicBezTo>
                  <a:cubicBezTo>
                    <a:pt x="6878796" y="688976"/>
                    <a:pt x="6866408" y="660590"/>
                    <a:pt x="6841633" y="660590"/>
                  </a:cubicBezTo>
                  <a:close/>
                  <a:moveTo>
                    <a:pt x="6628539" y="660590"/>
                  </a:moveTo>
                  <a:cubicBezTo>
                    <a:pt x="6602359" y="660590"/>
                    <a:pt x="6589269" y="689428"/>
                    <a:pt x="6589269" y="747104"/>
                  </a:cubicBezTo>
                  <a:cubicBezTo>
                    <a:pt x="6589269" y="801068"/>
                    <a:pt x="6602108" y="828051"/>
                    <a:pt x="6627787" y="828051"/>
                  </a:cubicBezTo>
                  <a:cubicBezTo>
                    <a:pt x="6653064" y="828051"/>
                    <a:pt x="6665702" y="800617"/>
                    <a:pt x="6665702" y="745750"/>
                  </a:cubicBezTo>
                  <a:cubicBezTo>
                    <a:pt x="6665702" y="688976"/>
                    <a:pt x="6653314" y="660590"/>
                    <a:pt x="6628539" y="660590"/>
                  </a:cubicBezTo>
                  <a:close/>
                  <a:moveTo>
                    <a:pt x="3082864" y="660590"/>
                  </a:moveTo>
                  <a:cubicBezTo>
                    <a:pt x="3056684" y="660590"/>
                    <a:pt x="3043594" y="689428"/>
                    <a:pt x="3043594" y="747104"/>
                  </a:cubicBezTo>
                  <a:cubicBezTo>
                    <a:pt x="3043594" y="801068"/>
                    <a:pt x="3056433" y="828051"/>
                    <a:pt x="3082111" y="828051"/>
                  </a:cubicBezTo>
                  <a:cubicBezTo>
                    <a:pt x="3107389" y="828051"/>
                    <a:pt x="3120027" y="800617"/>
                    <a:pt x="3120027" y="745750"/>
                  </a:cubicBezTo>
                  <a:cubicBezTo>
                    <a:pt x="3120027" y="688976"/>
                    <a:pt x="3107639" y="660590"/>
                    <a:pt x="3082864" y="660590"/>
                  </a:cubicBezTo>
                  <a:close/>
                  <a:moveTo>
                    <a:pt x="2736061" y="660590"/>
                  </a:moveTo>
                  <a:cubicBezTo>
                    <a:pt x="2709881" y="660590"/>
                    <a:pt x="2696791" y="689428"/>
                    <a:pt x="2696791" y="747104"/>
                  </a:cubicBezTo>
                  <a:cubicBezTo>
                    <a:pt x="2696791" y="801068"/>
                    <a:pt x="2709630" y="828051"/>
                    <a:pt x="2735309" y="828051"/>
                  </a:cubicBezTo>
                  <a:cubicBezTo>
                    <a:pt x="2760586" y="828051"/>
                    <a:pt x="2773224" y="800617"/>
                    <a:pt x="2773224" y="745750"/>
                  </a:cubicBezTo>
                  <a:cubicBezTo>
                    <a:pt x="2773224" y="688976"/>
                    <a:pt x="2760836" y="660590"/>
                    <a:pt x="2736061" y="660590"/>
                  </a:cubicBezTo>
                  <a:close/>
                  <a:moveTo>
                    <a:pt x="2044696" y="660590"/>
                  </a:moveTo>
                  <a:cubicBezTo>
                    <a:pt x="2018515" y="660590"/>
                    <a:pt x="2005426" y="689428"/>
                    <a:pt x="2005426" y="747104"/>
                  </a:cubicBezTo>
                  <a:cubicBezTo>
                    <a:pt x="2005426" y="801068"/>
                    <a:pt x="2018265" y="828051"/>
                    <a:pt x="2043944" y="828051"/>
                  </a:cubicBezTo>
                  <a:cubicBezTo>
                    <a:pt x="2069221" y="828051"/>
                    <a:pt x="2081859" y="800617"/>
                    <a:pt x="2081859" y="745750"/>
                  </a:cubicBezTo>
                  <a:cubicBezTo>
                    <a:pt x="2081859" y="688976"/>
                    <a:pt x="2069471" y="660590"/>
                    <a:pt x="2044696" y="660590"/>
                  </a:cubicBezTo>
                  <a:close/>
                  <a:moveTo>
                    <a:pt x="789489" y="660590"/>
                  </a:moveTo>
                  <a:cubicBezTo>
                    <a:pt x="763309" y="660590"/>
                    <a:pt x="750218" y="689428"/>
                    <a:pt x="750218" y="747104"/>
                  </a:cubicBezTo>
                  <a:cubicBezTo>
                    <a:pt x="750218" y="801068"/>
                    <a:pt x="763058" y="828051"/>
                    <a:pt x="788737" y="828051"/>
                  </a:cubicBezTo>
                  <a:cubicBezTo>
                    <a:pt x="814014" y="828051"/>
                    <a:pt x="826652" y="800617"/>
                    <a:pt x="826652" y="745750"/>
                  </a:cubicBezTo>
                  <a:cubicBezTo>
                    <a:pt x="826652" y="688976"/>
                    <a:pt x="814264" y="660590"/>
                    <a:pt x="789489" y="660590"/>
                  </a:cubicBezTo>
                  <a:close/>
                  <a:moveTo>
                    <a:pt x="568889" y="660590"/>
                  </a:moveTo>
                  <a:cubicBezTo>
                    <a:pt x="542709" y="660590"/>
                    <a:pt x="529618" y="689428"/>
                    <a:pt x="529618" y="747104"/>
                  </a:cubicBezTo>
                  <a:cubicBezTo>
                    <a:pt x="529618" y="801068"/>
                    <a:pt x="542457" y="828051"/>
                    <a:pt x="568137" y="828051"/>
                  </a:cubicBezTo>
                  <a:cubicBezTo>
                    <a:pt x="593414" y="828051"/>
                    <a:pt x="606052" y="800617"/>
                    <a:pt x="606052" y="745750"/>
                  </a:cubicBezTo>
                  <a:cubicBezTo>
                    <a:pt x="606052" y="688976"/>
                    <a:pt x="593664" y="660590"/>
                    <a:pt x="568889" y="660590"/>
                  </a:cubicBezTo>
                  <a:close/>
                  <a:moveTo>
                    <a:pt x="12047977" y="632755"/>
                  </a:moveTo>
                  <a:lnTo>
                    <a:pt x="12062883" y="632755"/>
                  </a:lnTo>
                  <a:lnTo>
                    <a:pt x="12062883" y="855735"/>
                  </a:lnTo>
                  <a:lnTo>
                    <a:pt x="12027595" y="855735"/>
                  </a:lnTo>
                  <a:lnTo>
                    <a:pt x="12027595" y="675952"/>
                  </a:lnTo>
                  <a:cubicBezTo>
                    <a:pt x="12021207" y="680515"/>
                    <a:pt x="12014337" y="684393"/>
                    <a:pt x="12006986" y="687587"/>
                  </a:cubicBezTo>
                  <a:cubicBezTo>
                    <a:pt x="11999634" y="690782"/>
                    <a:pt x="11991243" y="693595"/>
                    <a:pt x="11981813" y="696029"/>
                  </a:cubicBezTo>
                  <a:lnTo>
                    <a:pt x="11981813" y="665913"/>
                  </a:lnTo>
                  <a:cubicBezTo>
                    <a:pt x="11987694" y="663987"/>
                    <a:pt x="11993373" y="661958"/>
                    <a:pt x="11998848" y="659829"/>
                  </a:cubicBezTo>
                  <a:cubicBezTo>
                    <a:pt x="12004324" y="657700"/>
                    <a:pt x="12009724" y="655317"/>
                    <a:pt x="12015047" y="652680"/>
                  </a:cubicBezTo>
                  <a:cubicBezTo>
                    <a:pt x="12020371" y="650044"/>
                    <a:pt x="12025745" y="647103"/>
                    <a:pt x="12031170" y="643858"/>
                  </a:cubicBezTo>
                  <a:cubicBezTo>
                    <a:pt x="12036595" y="640614"/>
                    <a:pt x="12042197" y="636912"/>
                    <a:pt x="12047977" y="632755"/>
                  </a:cubicBezTo>
                  <a:close/>
                  <a:moveTo>
                    <a:pt x="11675412" y="632755"/>
                  </a:moveTo>
                  <a:lnTo>
                    <a:pt x="11690318" y="632755"/>
                  </a:lnTo>
                  <a:lnTo>
                    <a:pt x="11690318" y="855735"/>
                  </a:lnTo>
                  <a:lnTo>
                    <a:pt x="11655030" y="855735"/>
                  </a:lnTo>
                  <a:lnTo>
                    <a:pt x="11655030" y="675952"/>
                  </a:lnTo>
                  <a:cubicBezTo>
                    <a:pt x="11648642" y="680515"/>
                    <a:pt x="11641772" y="684393"/>
                    <a:pt x="11634421" y="687587"/>
                  </a:cubicBezTo>
                  <a:cubicBezTo>
                    <a:pt x="11627069" y="690782"/>
                    <a:pt x="11618678" y="693595"/>
                    <a:pt x="11609248" y="696029"/>
                  </a:cubicBezTo>
                  <a:lnTo>
                    <a:pt x="11609248" y="665913"/>
                  </a:lnTo>
                  <a:cubicBezTo>
                    <a:pt x="11615129" y="663987"/>
                    <a:pt x="11620808" y="661958"/>
                    <a:pt x="11626283" y="659829"/>
                  </a:cubicBezTo>
                  <a:cubicBezTo>
                    <a:pt x="11631759" y="657700"/>
                    <a:pt x="11637159" y="655317"/>
                    <a:pt x="11642482" y="652680"/>
                  </a:cubicBezTo>
                  <a:cubicBezTo>
                    <a:pt x="11647806" y="650044"/>
                    <a:pt x="11653180" y="647103"/>
                    <a:pt x="11658605" y="643858"/>
                  </a:cubicBezTo>
                  <a:cubicBezTo>
                    <a:pt x="11664030" y="640614"/>
                    <a:pt x="11669632" y="636912"/>
                    <a:pt x="11675412" y="632755"/>
                  </a:cubicBezTo>
                  <a:close/>
                  <a:moveTo>
                    <a:pt x="11525439" y="632755"/>
                  </a:moveTo>
                  <a:lnTo>
                    <a:pt x="11540345" y="632755"/>
                  </a:lnTo>
                  <a:lnTo>
                    <a:pt x="11540345" y="855735"/>
                  </a:lnTo>
                  <a:lnTo>
                    <a:pt x="11505057" y="855735"/>
                  </a:lnTo>
                  <a:lnTo>
                    <a:pt x="11505057" y="675952"/>
                  </a:lnTo>
                  <a:cubicBezTo>
                    <a:pt x="11498669" y="680515"/>
                    <a:pt x="11491799" y="684393"/>
                    <a:pt x="11484448" y="687587"/>
                  </a:cubicBezTo>
                  <a:cubicBezTo>
                    <a:pt x="11477096" y="690782"/>
                    <a:pt x="11468705" y="693595"/>
                    <a:pt x="11459275" y="696029"/>
                  </a:cubicBezTo>
                  <a:lnTo>
                    <a:pt x="11459275" y="665913"/>
                  </a:lnTo>
                  <a:cubicBezTo>
                    <a:pt x="11465156" y="663987"/>
                    <a:pt x="11470835" y="661958"/>
                    <a:pt x="11476310" y="659829"/>
                  </a:cubicBezTo>
                  <a:cubicBezTo>
                    <a:pt x="11481786" y="657700"/>
                    <a:pt x="11487186" y="655317"/>
                    <a:pt x="11492509" y="652680"/>
                  </a:cubicBezTo>
                  <a:cubicBezTo>
                    <a:pt x="11497833" y="650044"/>
                    <a:pt x="11503207" y="647103"/>
                    <a:pt x="11508632" y="643858"/>
                  </a:cubicBezTo>
                  <a:cubicBezTo>
                    <a:pt x="11514057" y="640614"/>
                    <a:pt x="11519659" y="636912"/>
                    <a:pt x="11525439" y="632755"/>
                  </a:cubicBezTo>
                  <a:close/>
                  <a:moveTo>
                    <a:pt x="11375466" y="632755"/>
                  </a:moveTo>
                  <a:lnTo>
                    <a:pt x="11390372" y="632755"/>
                  </a:lnTo>
                  <a:lnTo>
                    <a:pt x="11390372" y="855735"/>
                  </a:lnTo>
                  <a:lnTo>
                    <a:pt x="11355084" y="855735"/>
                  </a:lnTo>
                  <a:lnTo>
                    <a:pt x="11355084" y="675952"/>
                  </a:lnTo>
                  <a:cubicBezTo>
                    <a:pt x="11348696" y="680515"/>
                    <a:pt x="11341826" y="684393"/>
                    <a:pt x="11334475" y="687587"/>
                  </a:cubicBezTo>
                  <a:cubicBezTo>
                    <a:pt x="11327123" y="690782"/>
                    <a:pt x="11318732" y="693595"/>
                    <a:pt x="11309302" y="696029"/>
                  </a:cubicBezTo>
                  <a:lnTo>
                    <a:pt x="11309302" y="665913"/>
                  </a:lnTo>
                  <a:cubicBezTo>
                    <a:pt x="11315183" y="663987"/>
                    <a:pt x="11320862" y="661958"/>
                    <a:pt x="11326337" y="659829"/>
                  </a:cubicBezTo>
                  <a:cubicBezTo>
                    <a:pt x="11331813" y="657700"/>
                    <a:pt x="11337213" y="655317"/>
                    <a:pt x="11342536" y="652680"/>
                  </a:cubicBezTo>
                  <a:cubicBezTo>
                    <a:pt x="11347860" y="650044"/>
                    <a:pt x="11353234" y="647103"/>
                    <a:pt x="11358659" y="643858"/>
                  </a:cubicBezTo>
                  <a:cubicBezTo>
                    <a:pt x="11364084" y="640614"/>
                    <a:pt x="11369686" y="636912"/>
                    <a:pt x="11375466" y="632755"/>
                  </a:cubicBezTo>
                  <a:close/>
                  <a:moveTo>
                    <a:pt x="10632508" y="632755"/>
                  </a:moveTo>
                  <a:lnTo>
                    <a:pt x="10647414" y="632755"/>
                  </a:lnTo>
                  <a:lnTo>
                    <a:pt x="10647414" y="855735"/>
                  </a:lnTo>
                  <a:lnTo>
                    <a:pt x="10612126" y="855735"/>
                  </a:lnTo>
                  <a:lnTo>
                    <a:pt x="10612126" y="675952"/>
                  </a:lnTo>
                  <a:cubicBezTo>
                    <a:pt x="10605738" y="680515"/>
                    <a:pt x="10598868" y="684393"/>
                    <a:pt x="10591517" y="687587"/>
                  </a:cubicBezTo>
                  <a:cubicBezTo>
                    <a:pt x="10584165" y="690782"/>
                    <a:pt x="10575774" y="693595"/>
                    <a:pt x="10566344" y="696029"/>
                  </a:cubicBezTo>
                  <a:lnTo>
                    <a:pt x="10566344" y="665913"/>
                  </a:lnTo>
                  <a:cubicBezTo>
                    <a:pt x="10572225" y="663987"/>
                    <a:pt x="10577904" y="661958"/>
                    <a:pt x="10583379" y="659829"/>
                  </a:cubicBezTo>
                  <a:cubicBezTo>
                    <a:pt x="10588855" y="657700"/>
                    <a:pt x="10594255" y="655317"/>
                    <a:pt x="10599578" y="652680"/>
                  </a:cubicBezTo>
                  <a:cubicBezTo>
                    <a:pt x="10604902" y="650044"/>
                    <a:pt x="10610276" y="647103"/>
                    <a:pt x="10615701" y="643858"/>
                  </a:cubicBezTo>
                  <a:cubicBezTo>
                    <a:pt x="10621126" y="640614"/>
                    <a:pt x="10626728" y="636912"/>
                    <a:pt x="10632508" y="632755"/>
                  </a:cubicBezTo>
                  <a:close/>
                  <a:moveTo>
                    <a:pt x="10481379" y="632755"/>
                  </a:moveTo>
                  <a:lnTo>
                    <a:pt x="10496285" y="632755"/>
                  </a:lnTo>
                  <a:lnTo>
                    <a:pt x="10496285" y="855735"/>
                  </a:lnTo>
                  <a:lnTo>
                    <a:pt x="10460997" y="855735"/>
                  </a:lnTo>
                  <a:lnTo>
                    <a:pt x="10460997" y="675952"/>
                  </a:lnTo>
                  <a:cubicBezTo>
                    <a:pt x="10454609" y="680515"/>
                    <a:pt x="10447739" y="684393"/>
                    <a:pt x="10440388" y="687587"/>
                  </a:cubicBezTo>
                  <a:cubicBezTo>
                    <a:pt x="10433036" y="690782"/>
                    <a:pt x="10424645" y="693595"/>
                    <a:pt x="10415215" y="696029"/>
                  </a:cubicBezTo>
                  <a:lnTo>
                    <a:pt x="10415215" y="665913"/>
                  </a:lnTo>
                  <a:cubicBezTo>
                    <a:pt x="10421096" y="663987"/>
                    <a:pt x="10426775" y="661958"/>
                    <a:pt x="10432250" y="659829"/>
                  </a:cubicBezTo>
                  <a:cubicBezTo>
                    <a:pt x="10437726" y="657700"/>
                    <a:pt x="10443126" y="655317"/>
                    <a:pt x="10448449" y="652680"/>
                  </a:cubicBezTo>
                  <a:cubicBezTo>
                    <a:pt x="10453773" y="650044"/>
                    <a:pt x="10459147" y="647103"/>
                    <a:pt x="10464572" y="643858"/>
                  </a:cubicBezTo>
                  <a:cubicBezTo>
                    <a:pt x="10469997" y="640614"/>
                    <a:pt x="10475599" y="636912"/>
                    <a:pt x="10481379" y="632755"/>
                  </a:cubicBezTo>
                  <a:close/>
                  <a:moveTo>
                    <a:pt x="10181432" y="632755"/>
                  </a:moveTo>
                  <a:lnTo>
                    <a:pt x="10196338" y="632755"/>
                  </a:lnTo>
                  <a:lnTo>
                    <a:pt x="10196338" y="855735"/>
                  </a:lnTo>
                  <a:lnTo>
                    <a:pt x="10161050" y="855735"/>
                  </a:lnTo>
                  <a:lnTo>
                    <a:pt x="10161050" y="675952"/>
                  </a:lnTo>
                  <a:cubicBezTo>
                    <a:pt x="10154662" y="680515"/>
                    <a:pt x="10147792" y="684393"/>
                    <a:pt x="10140441" y="687587"/>
                  </a:cubicBezTo>
                  <a:cubicBezTo>
                    <a:pt x="10133089" y="690782"/>
                    <a:pt x="10124698" y="693595"/>
                    <a:pt x="10115268" y="696029"/>
                  </a:cubicBezTo>
                  <a:lnTo>
                    <a:pt x="10115268" y="665913"/>
                  </a:lnTo>
                  <a:cubicBezTo>
                    <a:pt x="10121149" y="663987"/>
                    <a:pt x="10126828" y="661958"/>
                    <a:pt x="10132303" y="659829"/>
                  </a:cubicBezTo>
                  <a:cubicBezTo>
                    <a:pt x="10137779" y="657700"/>
                    <a:pt x="10143179" y="655317"/>
                    <a:pt x="10148502" y="652680"/>
                  </a:cubicBezTo>
                  <a:cubicBezTo>
                    <a:pt x="10153826" y="650044"/>
                    <a:pt x="10159200" y="647103"/>
                    <a:pt x="10164625" y="643858"/>
                  </a:cubicBezTo>
                  <a:cubicBezTo>
                    <a:pt x="10170050" y="640614"/>
                    <a:pt x="10175652" y="636912"/>
                    <a:pt x="10181432" y="632755"/>
                  </a:cubicBezTo>
                  <a:close/>
                  <a:moveTo>
                    <a:pt x="9796404" y="632755"/>
                  </a:moveTo>
                  <a:lnTo>
                    <a:pt x="9811310" y="632755"/>
                  </a:lnTo>
                  <a:lnTo>
                    <a:pt x="9811310" y="855735"/>
                  </a:lnTo>
                  <a:lnTo>
                    <a:pt x="9776022" y="855735"/>
                  </a:lnTo>
                  <a:lnTo>
                    <a:pt x="9776022" y="675952"/>
                  </a:lnTo>
                  <a:cubicBezTo>
                    <a:pt x="9769634" y="680515"/>
                    <a:pt x="9762764" y="684393"/>
                    <a:pt x="9755413" y="687587"/>
                  </a:cubicBezTo>
                  <a:cubicBezTo>
                    <a:pt x="9748061" y="690782"/>
                    <a:pt x="9739670" y="693595"/>
                    <a:pt x="9730240" y="696029"/>
                  </a:cubicBezTo>
                  <a:lnTo>
                    <a:pt x="9730240" y="665913"/>
                  </a:lnTo>
                  <a:cubicBezTo>
                    <a:pt x="9736121" y="663987"/>
                    <a:pt x="9741800" y="661958"/>
                    <a:pt x="9747275" y="659829"/>
                  </a:cubicBezTo>
                  <a:cubicBezTo>
                    <a:pt x="9752751" y="657700"/>
                    <a:pt x="9758151" y="655317"/>
                    <a:pt x="9763474" y="652680"/>
                  </a:cubicBezTo>
                  <a:cubicBezTo>
                    <a:pt x="9768798" y="650044"/>
                    <a:pt x="9774172" y="647103"/>
                    <a:pt x="9779597" y="643858"/>
                  </a:cubicBezTo>
                  <a:cubicBezTo>
                    <a:pt x="9785022" y="640614"/>
                    <a:pt x="9790624" y="636912"/>
                    <a:pt x="9796404" y="632755"/>
                  </a:cubicBezTo>
                  <a:close/>
                  <a:moveTo>
                    <a:pt x="9645275" y="632755"/>
                  </a:moveTo>
                  <a:lnTo>
                    <a:pt x="9660181" y="632755"/>
                  </a:lnTo>
                  <a:lnTo>
                    <a:pt x="9660181" y="855735"/>
                  </a:lnTo>
                  <a:lnTo>
                    <a:pt x="9624893" y="855735"/>
                  </a:lnTo>
                  <a:lnTo>
                    <a:pt x="9624893" y="675952"/>
                  </a:lnTo>
                  <a:cubicBezTo>
                    <a:pt x="9618505" y="680515"/>
                    <a:pt x="9611635" y="684393"/>
                    <a:pt x="9604284" y="687587"/>
                  </a:cubicBezTo>
                  <a:cubicBezTo>
                    <a:pt x="9596932" y="690782"/>
                    <a:pt x="9588541" y="693595"/>
                    <a:pt x="9579111" y="696029"/>
                  </a:cubicBezTo>
                  <a:lnTo>
                    <a:pt x="9579111" y="665913"/>
                  </a:lnTo>
                  <a:cubicBezTo>
                    <a:pt x="9584992" y="663987"/>
                    <a:pt x="9590671" y="661958"/>
                    <a:pt x="9596146" y="659829"/>
                  </a:cubicBezTo>
                  <a:cubicBezTo>
                    <a:pt x="9601622" y="657700"/>
                    <a:pt x="9607022" y="655317"/>
                    <a:pt x="9612345" y="652680"/>
                  </a:cubicBezTo>
                  <a:cubicBezTo>
                    <a:pt x="9617669" y="650044"/>
                    <a:pt x="9623043" y="647103"/>
                    <a:pt x="9628468" y="643858"/>
                  </a:cubicBezTo>
                  <a:cubicBezTo>
                    <a:pt x="9633893" y="640614"/>
                    <a:pt x="9639495" y="636912"/>
                    <a:pt x="9645275" y="632755"/>
                  </a:cubicBezTo>
                  <a:close/>
                  <a:moveTo>
                    <a:pt x="9495302" y="632755"/>
                  </a:moveTo>
                  <a:lnTo>
                    <a:pt x="9510208" y="632755"/>
                  </a:lnTo>
                  <a:lnTo>
                    <a:pt x="9510208" y="855735"/>
                  </a:lnTo>
                  <a:lnTo>
                    <a:pt x="9474920" y="855735"/>
                  </a:lnTo>
                  <a:lnTo>
                    <a:pt x="9474920" y="675952"/>
                  </a:lnTo>
                  <a:cubicBezTo>
                    <a:pt x="9468532" y="680515"/>
                    <a:pt x="9461662" y="684393"/>
                    <a:pt x="9454311" y="687587"/>
                  </a:cubicBezTo>
                  <a:cubicBezTo>
                    <a:pt x="9446959" y="690782"/>
                    <a:pt x="9438568" y="693595"/>
                    <a:pt x="9429138" y="696029"/>
                  </a:cubicBezTo>
                  <a:lnTo>
                    <a:pt x="9429138" y="665913"/>
                  </a:lnTo>
                  <a:cubicBezTo>
                    <a:pt x="9435019" y="663987"/>
                    <a:pt x="9440698" y="661958"/>
                    <a:pt x="9446173" y="659829"/>
                  </a:cubicBezTo>
                  <a:cubicBezTo>
                    <a:pt x="9451649" y="657700"/>
                    <a:pt x="9457049" y="655317"/>
                    <a:pt x="9462372" y="652680"/>
                  </a:cubicBezTo>
                  <a:cubicBezTo>
                    <a:pt x="9467696" y="650044"/>
                    <a:pt x="9473070" y="647103"/>
                    <a:pt x="9478495" y="643858"/>
                  </a:cubicBezTo>
                  <a:cubicBezTo>
                    <a:pt x="9483920" y="640614"/>
                    <a:pt x="9489522" y="636912"/>
                    <a:pt x="9495302" y="632755"/>
                  </a:cubicBezTo>
                  <a:close/>
                  <a:moveTo>
                    <a:pt x="9345329" y="632755"/>
                  </a:moveTo>
                  <a:lnTo>
                    <a:pt x="9360235" y="632755"/>
                  </a:lnTo>
                  <a:lnTo>
                    <a:pt x="9360235" y="855735"/>
                  </a:lnTo>
                  <a:lnTo>
                    <a:pt x="9324947" y="855735"/>
                  </a:lnTo>
                  <a:lnTo>
                    <a:pt x="9324947" y="675952"/>
                  </a:lnTo>
                  <a:cubicBezTo>
                    <a:pt x="9318559" y="680515"/>
                    <a:pt x="9311689" y="684393"/>
                    <a:pt x="9304338" y="687587"/>
                  </a:cubicBezTo>
                  <a:cubicBezTo>
                    <a:pt x="9296986" y="690782"/>
                    <a:pt x="9288595" y="693595"/>
                    <a:pt x="9279165" y="696029"/>
                  </a:cubicBezTo>
                  <a:lnTo>
                    <a:pt x="9279165" y="665913"/>
                  </a:lnTo>
                  <a:cubicBezTo>
                    <a:pt x="9285046" y="663987"/>
                    <a:pt x="9290725" y="661958"/>
                    <a:pt x="9296200" y="659829"/>
                  </a:cubicBezTo>
                  <a:cubicBezTo>
                    <a:pt x="9301676" y="657700"/>
                    <a:pt x="9307076" y="655317"/>
                    <a:pt x="9312399" y="652680"/>
                  </a:cubicBezTo>
                  <a:cubicBezTo>
                    <a:pt x="9317723" y="650044"/>
                    <a:pt x="9323097" y="647103"/>
                    <a:pt x="9328522" y="643858"/>
                  </a:cubicBezTo>
                  <a:cubicBezTo>
                    <a:pt x="9333947" y="640614"/>
                    <a:pt x="9339549" y="636912"/>
                    <a:pt x="9345329" y="632755"/>
                  </a:cubicBezTo>
                  <a:close/>
                  <a:moveTo>
                    <a:pt x="9144936" y="632755"/>
                  </a:moveTo>
                  <a:cubicBezTo>
                    <a:pt x="9192380" y="632755"/>
                    <a:pt x="9216103" y="669618"/>
                    <a:pt x="9216103" y="743343"/>
                  </a:cubicBezTo>
                  <a:cubicBezTo>
                    <a:pt x="9216103" y="779854"/>
                    <a:pt x="9209407" y="807714"/>
                    <a:pt x="9196017" y="826922"/>
                  </a:cubicBezTo>
                  <a:cubicBezTo>
                    <a:pt x="9182626" y="846130"/>
                    <a:pt x="9163894" y="855735"/>
                    <a:pt x="9139820" y="855735"/>
                  </a:cubicBezTo>
                  <a:cubicBezTo>
                    <a:pt x="9117352" y="855735"/>
                    <a:pt x="9099823" y="846557"/>
                    <a:pt x="9087235" y="828201"/>
                  </a:cubicBezTo>
                  <a:cubicBezTo>
                    <a:pt x="9074646" y="809845"/>
                    <a:pt x="9068352" y="783314"/>
                    <a:pt x="9068352" y="748609"/>
                  </a:cubicBezTo>
                  <a:cubicBezTo>
                    <a:pt x="9068352" y="710492"/>
                    <a:pt x="9074922" y="681654"/>
                    <a:pt x="9088062" y="662094"/>
                  </a:cubicBezTo>
                  <a:cubicBezTo>
                    <a:pt x="9101203" y="642535"/>
                    <a:pt x="9120160" y="632755"/>
                    <a:pt x="9144936" y="632755"/>
                  </a:cubicBezTo>
                  <a:close/>
                  <a:moveTo>
                    <a:pt x="9013860" y="632755"/>
                  </a:moveTo>
                  <a:lnTo>
                    <a:pt x="9028766" y="632755"/>
                  </a:lnTo>
                  <a:lnTo>
                    <a:pt x="9028766" y="855735"/>
                  </a:lnTo>
                  <a:lnTo>
                    <a:pt x="8993478" y="855735"/>
                  </a:lnTo>
                  <a:lnTo>
                    <a:pt x="8993478" y="675952"/>
                  </a:lnTo>
                  <a:cubicBezTo>
                    <a:pt x="8987090" y="680515"/>
                    <a:pt x="8980220" y="684393"/>
                    <a:pt x="8972869" y="687587"/>
                  </a:cubicBezTo>
                  <a:cubicBezTo>
                    <a:pt x="8965517" y="690782"/>
                    <a:pt x="8957126" y="693595"/>
                    <a:pt x="8947696" y="696029"/>
                  </a:cubicBezTo>
                  <a:lnTo>
                    <a:pt x="8947696" y="665913"/>
                  </a:lnTo>
                  <a:cubicBezTo>
                    <a:pt x="8953577" y="663987"/>
                    <a:pt x="8959256" y="661958"/>
                    <a:pt x="8964731" y="659829"/>
                  </a:cubicBezTo>
                  <a:cubicBezTo>
                    <a:pt x="8970207" y="657700"/>
                    <a:pt x="8975607" y="655317"/>
                    <a:pt x="8980930" y="652680"/>
                  </a:cubicBezTo>
                  <a:cubicBezTo>
                    <a:pt x="8986254" y="650044"/>
                    <a:pt x="8991628" y="647103"/>
                    <a:pt x="8997053" y="643858"/>
                  </a:cubicBezTo>
                  <a:cubicBezTo>
                    <a:pt x="9002478" y="640614"/>
                    <a:pt x="9008080" y="636912"/>
                    <a:pt x="9013860" y="632755"/>
                  </a:cubicBezTo>
                  <a:close/>
                  <a:moveTo>
                    <a:pt x="8803179" y="632755"/>
                  </a:moveTo>
                  <a:cubicBezTo>
                    <a:pt x="8850623" y="632755"/>
                    <a:pt x="8874346" y="669618"/>
                    <a:pt x="8874346" y="743343"/>
                  </a:cubicBezTo>
                  <a:cubicBezTo>
                    <a:pt x="8874346" y="779854"/>
                    <a:pt x="8867650" y="807714"/>
                    <a:pt x="8854260" y="826922"/>
                  </a:cubicBezTo>
                  <a:cubicBezTo>
                    <a:pt x="8840869" y="846130"/>
                    <a:pt x="8822137" y="855735"/>
                    <a:pt x="8798063" y="855735"/>
                  </a:cubicBezTo>
                  <a:cubicBezTo>
                    <a:pt x="8775595" y="855735"/>
                    <a:pt x="8758066" y="846557"/>
                    <a:pt x="8745478" y="828201"/>
                  </a:cubicBezTo>
                  <a:cubicBezTo>
                    <a:pt x="8732889" y="809845"/>
                    <a:pt x="8726595" y="783314"/>
                    <a:pt x="8726595" y="748609"/>
                  </a:cubicBezTo>
                  <a:cubicBezTo>
                    <a:pt x="8726595" y="710492"/>
                    <a:pt x="8733165" y="681654"/>
                    <a:pt x="8746305" y="662094"/>
                  </a:cubicBezTo>
                  <a:cubicBezTo>
                    <a:pt x="8759446" y="642535"/>
                    <a:pt x="8778403" y="632755"/>
                    <a:pt x="8803179" y="632755"/>
                  </a:cubicBezTo>
                  <a:close/>
                  <a:moveTo>
                    <a:pt x="8101777" y="632755"/>
                  </a:moveTo>
                  <a:cubicBezTo>
                    <a:pt x="8149222" y="632755"/>
                    <a:pt x="8172944" y="669618"/>
                    <a:pt x="8172944" y="743343"/>
                  </a:cubicBezTo>
                  <a:cubicBezTo>
                    <a:pt x="8172944" y="779854"/>
                    <a:pt x="8166249" y="807714"/>
                    <a:pt x="8152858" y="826922"/>
                  </a:cubicBezTo>
                  <a:cubicBezTo>
                    <a:pt x="8139467" y="846130"/>
                    <a:pt x="8120735" y="855735"/>
                    <a:pt x="8096661" y="855735"/>
                  </a:cubicBezTo>
                  <a:cubicBezTo>
                    <a:pt x="8074193" y="855735"/>
                    <a:pt x="8056664" y="846557"/>
                    <a:pt x="8044076" y="828201"/>
                  </a:cubicBezTo>
                  <a:cubicBezTo>
                    <a:pt x="8031487" y="809845"/>
                    <a:pt x="8025193" y="783314"/>
                    <a:pt x="8025193" y="748609"/>
                  </a:cubicBezTo>
                  <a:cubicBezTo>
                    <a:pt x="8025193" y="710492"/>
                    <a:pt x="8031763" y="681654"/>
                    <a:pt x="8044903" y="662094"/>
                  </a:cubicBezTo>
                  <a:cubicBezTo>
                    <a:pt x="8058044" y="642535"/>
                    <a:pt x="8077001" y="632755"/>
                    <a:pt x="8101777" y="632755"/>
                  </a:cubicBezTo>
                  <a:close/>
                  <a:moveTo>
                    <a:pt x="7722616" y="632755"/>
                  </a:moveTo>
                  <a:lnTo>
                    <a:pt x="7737522" y="632755"/>
                  </a:lnTo>
                  <a:lnTo>
                    <a:pt x="7737522" y="855735"/>
                  </a:lnTo>
                  <a:lnTo>
                    <a:pt x="7702234" y="855735"/>
                  </a:lnTo>
                  <a:lnTo>
                    <a:pt x="7702234" y="675952"/>
                  </a:lnTo>
                  <a:cubicBezTo>
                    <a:pt x="7695846" y="680515"/>
                    <a:pt x="7688977" y="684393"/>
                    <a:pt x="7681625" y="687587"/>
                  </a:cubicBezTo>
                  <a:cubicBezTo>
                    <a:pt x="7674273" y="690782"/>
                    <a:pt x="7665883" y="693595"/>
                    <a:pt x="7656452" y="696029"/>
                  </a:cubicBezTo>
                  <a:lnTo>
                    <a:pt x="7656452" y="665913"/>
                  </a:lnTo>
                  <a:cubicBezTo>
                    <a:pt x="7662333" y="663987"/>
                    <a:pt x="7668012" y="661958"/>
                    <a:pt x="7673487" y="659829"/>
                  </a:cubicBezTo>
                  <a:cubicBezTo>
                    <a:pt x="7678963" y="657700"/>
                    <a:pt x="7684363" y="655317"/>
                    <a:pt x="7689686" y="652680"/>
                  </a:cubicBezTo>
                  <a:cubicBezTo>
                    <a:pt x="7695010" y="650044"/>
                    <a:pt x="7700384" y="647103"/>
                    <a:pt x="7705809" y="643858"/>
                  </a:cubicBezTo>
                  <a:cubicBezTo>
                    <a:pt x="7711234" y="640614"/>
                    <a:pt x="7716836" y="636912"/>
                    <a:pt x="7722616" y="632755"/>
                  </a:cubicBezTo>
                  <a:close/>
                  <a:moveTo>
                    <a:pt x="7360674" y="632755"/>
                  </a:moveTo>
                  <a:lnTo>
                    <a:pt x="7375580" y="632755"/>
                  </a:lnTo>
                  <a:lnTo>
                    <a:pt x="7375580" y="855735"/>
                  </a:lnTo>
                  <a:lnTo>
                    <a:pt x="7340292" y="855735"/>
                  </a:lnTo>
                  <a:lnTo>
                    <a:pt x="7340292" y="675952"/>
                  </a:lnTo>
                  <a:cubicBezTo>
                    <a:pt x="7333904" y="680515"/>
                    <a:pt x="7327035" y="684393"/>
                    <a:pt x="7319683" y="687587"/>
                  </a:cubicBezTo>
                  <a:cubicBezTo>
                    <a:pt x="7312331" y="690782"/>
                    <a:pt x="7303941" y="693595"/>
                    <a:pt x="7294510" y="696029"/>
                  </a:cubicBezTo>
                  <a:lnTo>
                    <a:pt x="7294510" y="665913"/>
                  </a:lnTo>
                  <a:cubicBezTo>
                    <a:pt x="7300391" y="663987"/>
                    <a:pt x="7306070" y="661958"/>
                    <a:pt x="7311545" y="659829"/>
                  </a:cubicBezTo>
                  <a:cubicBezTo>
                    <a:pt x="7317021" y="657700"/>
                    <a:pt x="7322421" y="655317"/>
                    <a:pt x="7327744" y="652680"/>
                  </a:cubicBezTo>
                  <a:cubicBezTo>
                    <a:pt x="7333068" y="650044"/>
                    <a:pt x="7338442" y="647103"/>
                    <a:pt x="7343867" y="643858"/>
                  </a:cubicBezTo>
                  <a:cubicBezTo>
                    <a:pt x="7349292" y="640614"/>
                    <a:pt x="7354894" y="636912"/>
                    <a:pt x="7360674" y="632755"/>
                  </a:cubicBezTo>
                  <a:close/>
                  <a:moveTo>
                    <a:pt x="7060728" y="632755"/>
                  </a:moveTo>
                  <a:lnTo>
                    <a:pt x="7075634" y="632755"/>
                  </a:lnTo>
                  <a:lnTo>
                    <a:pt x="7075634" y="855735"/>
                  </a:lnTo>
                  <a:lnTo>
                    <a:pt x="7040346" y="855735"/>
                  </a:lnTo>
                  <a:lnTo>
                    <a:pt x="7040346" y="675952"/>
                  </a:lnTo>
                  <a:cubicBezTo>
                    <a:pt x="7033958" y="680515"/>
                    <a:pt x="7027089" y="684393"/>
                    <a:pt x="7019737" y="687587"/>
                  </a:cubicBezTo>
                  <a:cubicBezTo>
                    <a:pt x="7012385" y="690782"/>
                    <a:pt x="7003995" y="693595"/>
                    <a:pt x="6994564" y="696029"/>
                  </a:cubicBezTo>
                  <a:lnTo>
                    <a:pt x="6994564" y="665913"/>
                  </a:lnTo>
                  <a:cubicBezTo>
                    <a:pt x="7000445" y="663987"/>
                    <a:pt x="7006124" y="661958"/>
                    <a:pt x="7011599" y="659829"/>
                  </a:cubicBezTo>
                  <a:cubicBezTo>
                    <a:pt x="7017075" y="657700"/>
                    <a:pt x="7022475" y="655317"/>
                    <a:pt x="7027798" y="652680"/>
                  </a:cubicBezTo>
                  <a:cubicBezTo>
                    <a:pt x="7033122" y="650044"/>
                    <a:pt x="7038496" y="647103"/>
                    <a:pt x="7043921" y="643858"/>
                  </a:cubicBezTo>
                  <a:cubicBezTo>
                    <a:pt x="7049346" y="640614"/>
                    <a:pt x="7054948" y="636912"/>
                    <a:pt x="7060728" y="632755"/>
                  </a:cubicBezTo>
                  <a:close/>
                  <a:moveTo>
                    <a:pt x="6843288" y="632755"/>
                  </a:moveTo>
                  <a:cubicBezTo>
                    <a:pt x="6890733" y="632755"/>
                    <a:pt x="6914455" y="669618"/>
                    <a:pt x="6914455" y="743343"/>
                  </a:cubicBezTo>
                  <a:cubicBezTo>
                    <a:pt x="6914455" y="779854"/>
                    <a:pt x="6907760" y="807714"/>
                    <a:pt x="6894369" y="826922"/>
                  </a:cubicBezTo>
                  <a:cubicBezTo>
                    <a:pt x="6880978" y="846130"/>
                    <a:pt x="6862246" y="855735"/>
                    <a:pt x="6838172" y="855735"/>
                  </a:cubicBezTo>
                  <a:cubicBezTo>
                    <a:pt x="6815704" y="855735"/>
                    <a:pt x="6798175" y="846557"/>
                    <a:pt x="6785587" y="828201"/>
                  </a:cubicBezTo>
                  <a:cubicBezTo>
                    <a:pt x="6772998" y="809845"/>
                    <a:pt x="6766704" y="783314"/>
                    <a:pt x="6766704" y="748609"/>
                  </a:cubicBezTo>
                  <a:cubicBezTo>
                    <a:pt x="6766704" y="710492"/>
                    <a:pt x="6773274" y="681654"/>
                    <a:pt x="6786414" y="662094"/>
                  </a:cubicBezTo>
                  <a:cubicBezTo>
                    <a:pt x="6799555" y="642535"/>
                    <a:pt x="6818512" y="632755"/>
                    <a:pt x="6843288" y="632755"/>
                  </a:cubicBezTo>
                  <a:close/>
                  <a:moveTo>
                    <a:pt x="6630194" y="632755"/>
                  </a:moveTo>
                  <a:cubicBezTo>
                    <a:pt x="6677639" y="632755"/>
                    <a:pt x="6701361" y="669618"/>
                    <a:pt x="6701361" y="743343"/>
                  </a:cubicBezTo>
                  <a:cubicBezTo>
                    <a:pt x="6701361" y="779854"/>
                    <a:pt x="6694666" y="807714"/>
                    <a:pt x="6681275" y="826922"/>
                  </a:cubicBezTo>
                  <a:cubicBezTo>
                    <a:pt x="6667884" y="846130"/>
                    <a:pt x="6649152" y="855735"/>
                    <a:pt x="6625078" y="855735"/>
                  </a:cubicBezTo>
                  <a:cubicBezTo>
                    <a:pt x="6602610" y="855735"/>
                    <a:pt x="6585081" y="846557"/>
                    <a:pt x="6572493" y="828201"/>
                  </a:cubicBezTo>
                  <a:cubicBezTo>
                    <a:pt x="6559904" y="809845"/>
                    <a:pt x="6553610" y="783314"/>
                    <a:pt x="6553610" y="748609"/>
                  </a:cubicBezTo>
                  <a:cubicBezTo>
                    <a:pt x="6553610" y="710492"/>
                    <a:pt x="6560180" y="681654"/>
                    <a:pt x="6573320" y="662094"/>
                  </a:cubicBezTo>
                  <a:cubicBezTo>
                    <a:pt x="6586461" y="642535"/>
                    <a:pt x="6605418" y="632755"/>
                    <a:pt x="6630194" y="632755"/>
                  </a:cubicBezTo>
                  <a:close/>
                  <a:moveTo>
                    <a:pt x="6468645" y="632755"/>
                  </a:moveTo>
                  <a:lnTo>
                    <a:pt x="6483551" y="632755"/>
                  </a:lnTo>
                  <a:lnTo>
                    <a:pt x="6483551" y="855735"/>
                  </a:lnTo>
                  <a:lnTo>
                    <a:pt x="6448263" y="855735"/>
                  </a:lnTo>
                  <a:lnTo>
                    <a:pt x="6448263" y="675952"/>
                  </a:lnTo>
                  <a:cubicBezTo>
                    <a:pt x="6441875" y="680515"/>
                    <a:pt x="6435006" y="684393"/>
                    <a:pt x="6427654" y="687587"/>
                  </a:cubicBezTo>
                  <a:cubicBezTo>
                    <a:pt x="6420302" y="690782"/>
                    <a:pt x="6411912" y="693595"/>
                    <a:pt x="6402481" y="696029"/>
                  </a:cubicBezTo>
                  <a:lnTo>
                    <a:pt x="6402481" y="665913"/>
                  </a:lnTo>
                  <a:cubicBezTo>
                    <a:pt x="6408362" y="663987"/>
                    <a:pt x="6414041" y="661958"/>
                    <a:pt x="6419516" y="659829"/>
                  </a:cubicBezTo>
                  <a:cubicBezTo>
                    <a:pt x="6424992" y="657700"/>
                    <a:pt x="6430392" y="655317"/>
                    <a:pt x="6435715" y="652680"/>
                  </a:cubicBezTo>
                  <a:cubicBezTo>
                    <a:pt x="6441039" y="650044"/>
                    <a:pt x="6446413" y="647103"/>
                    <a:pt x="6451838" y="643858"/>
                  </a:cubicBezTo>
                  <a:cubicBezTo>
                    <a:pt x="6457263" y="640614"/>
                    <a:pt x="6462865" y="636912"/>
                    <a:pt x="6468645" y="632755"/>
                  </a:cubicBezTo>
                  <a:close/>
                  <a:moveTo>
                    <a:pt x="6168699" y="632755"/>
                  </a:moveTo>
                  <a:lnTo>
                    <a:pt x="6183605" y="632755"/>
                  </a:lnTo>
                  <a:lnTo>
                    <a:pt x="6183605" y="855735"/>
                  </a:lnTo>
                  <a:lnTo>
                    <a:pt x="6148317" y="855735"/>
                  </a:lnTo>
                  <a:lnTo>
                    <a:pt x="6148317" y="675952"/>
                  </a:lnTo>
                  <a:cubicBezTo>
                    <a:pt x="6141929" y="680515"/>
                    <a:pt x="6135060" y="684393"/>
                    <a:pt x="6127708" y="687587"/>
                  </a:cubicBezTo>
                  <a:cubicBezTo>
                    <a:pt x="6120356" y="690782"/>
                    <a:pt x="6111966" y="693595"/>
                    <a:pt x="6102535" y="696029"/>
                  </a:cubicBezTo>
                  <a:lnTo>
                    <a:pt x="6102535" y="665913"/>
                  </a:lnTo>
                  <a:cubicBezTo>
                    <a:pt x="6108416" y="663987"/>
                    <a:pt x="6114095" y="661958"/>
                    <a:pt x="6119570" y="659829"/>
                  </a:cubicBezTo>
                  <a:cubicBezTo>
                    <a:pt x="6125046" y="657700"/>
                    <a:pt x="6130446" y="655317"/>
                    <a:pt x="6135769" y="652680"/>
                  </a:cubicBezTo>
                  <a:cubicBezTo>
                    <a:pt x="6141093" y="650044"/>
                    <a:pt x="6146467" y="647103"/>
                    <a:pt x="6151892" y="643858"/>
                  </a:cubicBezTo>
                  <a:cubicBezTo>
                    <a:pt x="6157317" y="640614"/>
                    <a:pt x="6162919" y="636912"/>
                    <a:pt x="6168699" y="632755"/>
                  </a:cubicBezTo>
                  <a:close/>
                  <a:moveTo>
                    <a:pt x="5985170" y="632755"/>
                  </a:moveTo>
                  <a:lnTo>
                    <a:pt x="6000077" y="632755"/>
                  </a:lnTo>
                  <a:lnTo>
                    <a:pt x="6000077" y="855735"/>
                  </a:lnTo>
                  <a:lnTo>
                    <a:pt x="5964788" y="855735"/>
                  </a:lnTo>
                  <a:lnTo>
                    <a:pt x="5964788" y="675952"/>
                  </a:lnTo>
                  <a:cubicBezTo>
                    <a:pt x="5958401" y="680515"/>
                    <a:pt x="5951531" y="684393"/>
                    <a:pt x="5944180" y="687587"/>
                  </a:cubicBezTo>
                  <a:cubicBezTo>
                    <a:pt x="5936827" y="690782"/>
                    <a:pt x="5928437" y="693595"/>
                    <a:pt x="5919006" y="696029"/>
                  </a:cubicBezTo>
                  <a:lnTo>
                    <a:pt x="5919006" y="665913"/>
                  </a:lnTo>
                  <a:cubicBezTo>
                    <a:pt x="5924887" y="663987"/>
                    <a:pt x="5930567" y="661958"/>
                    <a:pt x="5936041" y="659829"/>
                  </a:cubicBezTo>
                  <a:cubicBezTo>
                    <a:pt x="5941517" y="657700"/>
                    <a:pt x="5946918" y="655317"/>
                    <a:pt x="5952241" y="652680"/>
                  </a:cubicBezTo>
                  <a:cubicBezTo>
                    <a:pt x="5957564" y="650044"/>
                    <a:pt x="5962938" y="647103"/>
                    <a:pt x="5968363" y="643858"/>
                  </a:cubicBezTo>
                  <a:cubicBezTo>
                    <a:pt x="5973788" y="640614"/>
                    <a:pt x="5979390" y="636912"/>
                    <a:pt x="5985170" y="632755"/>
                  </a:cubicBezTo>
                  <a:close/>
                  <a:moveTo>
                    <a:pt x="5617508" y="632755"/>
                  </a:moveTo>
                  <a:lnTo>
                    <a:pt x="5632415" y="632755"/>
                  </a:lnTo>
                  <a:lnTo>
                    <a:pt x="5632415" y="855735"/>
                  </a:lnTo>
                  <a:lnTo>
                    <a:pt x="5597126" y="855735"/>
                  </a:lnTo>
                  <a:lnTo>
                    <a:pt x="5597126" y="675952"/>
                  </a:lnTo>
                  <a:cubicBezTo>
                    <a:pt x="5590739" y="680515"/>
                    <a:pt x="5583869" y="684393"/>
                    <a:pt x="5576518" y="687587"/>
                  </a:cubicBezTo>
                  <a:cubicBezTo>
                    <a:pt x="5569165" y="690782"/>
                    <a:pt x="5560775" y="693595"/>
                    <a:pt x="5551344" y="696029"/>
                  </a:cubicBezTo>
                  <a:lnTo>
                    <a:pt x="5551344" y="665913"/>
                  </a:lnTo>
                  <a:cubicBezTo>
                    <a:pt x="5557225" y="663987"/>
                    <a:pt x="5562904" y="661958"/>
                    <a:pt x="5568379" y="659829"/>
                  </a:cubicBezTo>
                  <a:cubicBezTo>
                    <a:pt x="5573855" y="657700"/>
                    <a:pt x="5579256" y="655317"/>
                    <a:pt x="5584578" y="652680"/>
                  </a:cubicBezTo>
                  <a:cubicBezTo>
                    <a:pt x="5589902" y="650044"/>
                    <a:pt x="5595276" y="647103"/>
                    <a:pt x="5600701" y="643858"/>
                  </a:cubicBezTo>
                  <a:cubicBezTo>
                    <a:pt x="5606126" y="640614"/>
                    <a:pt x="5611728" y="636912"/>
                    <a:pt x="5617508" y="632755"/>
                  </a:cubicBezTo>
                  <a:close/>
                  <a:moveTo>
                    <a:pt x="5467535" y="632755"/>
                  </a:moveTo>
                  <a:lnTo>
                    <a:pt x="5482441" y="632755"/>
                  </a:lnTo>
                  <a:lnTo>
                    <a:pt x="5482441" y="855735"/>
                  </a:lnTo>
                  <a:lnTo>
                    <a:pt x="5447153" y="855735"/>
                  </a:lnTo>
                  <a:lnTo>
                    <a:pt x="5447153" y="675952"/>
                  </a:lnTo>
                  <a:cubicBezTo>
                    <a:pt x="5440765" y="680515"/>
                    <a:pt x="5433896" y="684393"/>
                    <a:pt x="5426545" y="687587"/>
                  </a:cubicBezTo>
                  <a:cubicBezTo>
                    <a:pt x="5419192" y="690782"/>
                    <a:pt x="5410803" y="693595"/>
                    <a:pt x="5401372" y="696029"/>
                  </a:cubicBezTo>
                  <a:lnTo>
                    <a:pt x="5401372" y="665913"/>
                  </a:lnTo>
                  <a:cubicBezTo>
                    <a:pt x="5407253" y="663987"/>
                    <a:pt x="5412931" y="661958"/>
                    <a:pt x="5418407" y="659829"/>
                  </a:cubicBezTo>
                  <a:cubicBezTo>
                    <a:pt x="5423882" y="657700"/>
                    <a:pt x="5429282" y="655317"/>
                    <a:pt x="5434605" y="652680"/>
                  </a:cubicBezTo>
                  <a:cubicBezTo>
                    <a:pt x="5439929" y="650044"/>
                    <a:pt x="5445304" y="647103"/>
                    <a:pt x="5450728" y="643858"/>
                  </a:cubicBezTo>
                  <a:cubicBezTo>
                    <a:pt x="5456153" y="640614"/>
                    <a:pt x="5461755" y="636912"/>
                    <a:pt x="5467535" y="632755"/>
                  </a:cubicBezTo>
                  <a:close/>
                  <a:moveTo>
                    <a:pt x="5317563" y="632755"/>
                  </a:moveTo>
                  <a:lnTo>
                    <a:pt x="5332469" y="632755"/>
                  </a:lnTo>
                  <a:lnTo>
                    <a:pt x="5332469" y="855735"/>
                  </a:lnTo>
                  <a:lnTo>
                    <a:pt x="5297180" y="855735"/>
                  </a:lnTo>
                  <a:lnTo>
                    <a:pt x="5297180" y="675952"/>
                  </a:lnTo>
                  <a:cubicBezTo>
                    <a:pt x="5290792" y="680515"/>
                    <a:pt x="5283924" y="684393"/>
                    <a:pt x="5276571" y="687587"/>
                  </a:cubicBezTo>
                  <a:cubicBezTo>
                    <a:pt x="5269220" y="690782"/>
                    <a:pt x="5260829" y="693595"/>
                    <a:pt x="5251398" y="696029"/>
                  </a:cubicBezTo>
                  <a:lnTo>
                    <a:pt x="5251398" y="665913"/>
                  </a:lnTo>
                  <a:cubicBezTo>
                    <a:pt x="5257279" y="663987"/>
                    <a:pt x="5262958" y="661958"/>
                    <a:pt x="5268433" y="659829"/>
                  </a:cubicBezTo>
                  <a:cubicBezTo>
                    <a:pt x="5273909" y="657700"/>
                    <a:pt x="5279309" y="655317"/>
                    <a:pt x="5284632" y="652680"/>
                  </a:cubicBezTo>
                  <a:cubicBezTo>
                    <a:pt x="5289957" y="650044"/>
                    <a:pt x="5295330" y="647103"/>
                    <a:pt x="5300756" y="643858"/>
                  </a:cubicBezTo>
                  <a:cubicBezTo>
                    <a:pt x="5306180" y="640614"/>
                    <a:pt x="5311782" y="636912"/>
                    <a:pt x="5317563" y="632755"/>
                  </a:cubicBezTo>
                  <a:close/>
                  <a:moveTo>
                    <a:pt x="4568884" y="632755"/>
                  </a:moveTo>
                  <a:lnTo>
                    <a:pt x="4583790" y="632755"/>
                  </a:lnTo>
                  <a:lnTo>
                    <a:pt x="4583790" y="855735"/>
                  </a:lnTo>
                  <a:lnTo>
                    <a:pt x="4548503" y="855735"/>
                  </a:lnTo>
                  <a:lnTo>
                    <a:pt x="4548503" y="675952"/>
                  </a:lnTo>
                  <a:cubicBezTo>
                    <a:pt x="4542115" y="680515"/>
                    <a:pt x="4535245" y="684393"/>
                    <a:pt x="4527893" y="687587"/>
                  </a:cubicBezTo>
                  <a:cubicBezTo>
                    <a:pt x="4520541" y="690782"/>
                    <a:pt x="4512151" y="693595"/>
                    <a:pt x="4502720" y="696029"/>
                  </a:cubicBezTo>
                  <a:lnTo>
                    <a:pt x="4502720" y="665913"/>
                  </a:lnTo>
                  <a:cubicBezTo>
                    <a:pt x="4508602" y="663987"/>
                    <a:pt x="4514280" y="661958"/>
                    <a:pt x="4519755" y="659829"/>
                  </a:cubicBezTo>
                  <a:cubicBezTo>
                    <a:pt x="4525232" y="657700"/>
                    <a:pt x="4530631" y="655317"/>
                    <a:pt x="4535955" y="652680"/>
                  </a:cubicBezTo>
                  <a:cubicBezTo>
                    <a:pt x="4541278" y="650044"/>
                    <a:pt x="4546652" y="647103"/>
                    <a:pt x="4552078" y="643858"/>
                  </a:cubicBezTo>
                  <a:cubicBezTo>
                    <a:pt x="4557502" y="640614"/>
                    <a:pt x="4563105" y="636912"/>
                    <a:pt x="4568884" y="632755"/>
                  </a:cubicBezTo>
                  <a:close/>
                  <a:moveTo>
                    <a:pt x="4418912" y="632755"/>
                  </a:moveTo>
                  <a:lnTo>
                    <a:pt x="4433817" y="632755"/>
                  </a:lnTo>
                  <a:lnTo>
                    <a:pt x="4433817" y="855735"/>
                  </a:lnTo>
                  <a:lnTo>
                    <a:pt x="4398529" y="855735"/>
                  </a:lnTo>
                  <a:lnTo>
                    <a:pt x="4398529" y="675952"/>
                  </a:lnTo>
                  <a:cubicBezTo>
                    <a:pt x="4392141" y="680515"/>
                    <a:pt x="4385273" y="684393"/>
                    <a:pt x="4377920" y="687587"/>
                  </a:cubicBezTo>
                  <a:cubicBezTo>
                    <a:pt x="4370568" y="690782"/>
                    <a:pt x="4362179" y="693595"/>
                    <a:pt x="4352748" y="696029"/>
                  </a:cubicBezTo>
                  <a:lnTo>
                    <a:pt x="4352748" y="665913"/>
                  </a:lnTo>
                  <a:cubicBezTo>
                    <a:pt x="4358628" y="663987"/>
                    <a:pt x="4364307" y="661958"/>
                    <a:pt x="4369782" y="659829"/>
                  </a:cubicBezTo>
                  <a:cubicBezTo>
                    <a:pt x="4375259" y="657700"/>
                    <a:pt x="4380658" y="655317"/>
                    <a:pt x="4385981" y="652680"/>
                  </a:cubicBezTo>
                  <a:cubicBezTo>
                    <a:pt x="4391306" y="650044"/>
                    <a:pt x="4396680" y="647103"/>
                    <a:pt x="4402104" y="643858"/>
                  </a:cubicBezTo>
                  <a:cubicBezTo>
                    <a:pt x="4407530" y="640614"/>
                    <a:pt x="4413131" y="636912"/>
                    <a:pt x="4418912" y="632755"/>
                  </a:cubicBezTo>
                  <a:close/>
                  <a:moveTo>
                    <a:pt x="4118966" y="632755"/>
                  </a:moveTo>
                  <a:lnTo>
                    <a:pt x="4133872" y="632755"/>
                  </a:lnTo>
                  <a:lnTo>
                    <a:pt x="4133872" y="855735"/>
                  </a:lnTo>
                  <a:lnTo>
                    <a:pt x="4098584" y="855735"/>
                  </a:lnTo>
                  <a:lnTo>
                    <a:pt x="4098584" y="675952"/>
                  </a:lnTo>
                  <a:cubicBezTo>
                    <a:pt x="4092196" y="680515"/>
                    <a:pt x="4085326" y="684393"/>
                    <a:pt x="4077975" y="687587"/>
                  </a:cubicBezTo>
                  <a:cubicBezTo>
                    <a:pt x="4070623" y="690782"/>
                    <a:pt x="4062233" y="693595"/>
                    <a:pt x="4052802" y="696029"/>
                  </a:cubicBezTo>
                  <a:lnTo>
                    <a:pt x="4052802" y="665913"/>
                  </a:lnTo>
                  <a:cubicBezTo>
                    <a:pt x="4058683" y="663987"/>
                    <a:pt x="4064362" y="661958"/>
                    <a:pt x="4069837" y="659829"/>
                  </a:cubicBezTo>
                  <a:cubicBezTo>
                    <a:pt x="4075313" y="657700"/>
                    <a:pt x="4080713" y="655317"/>
                    <a:pt x="4086036" y="652680"/>
                  </a:cubicBezTo>
                  <a:cubicBezTo>
                    <a:pt x="4091359" y="650044"/>
                    <a:pt x="4096734" y="647103"/>
                    <a:pt x="4102158" y="643858"/>
                  </a:cubicBezTo>
                  <a:cubicBezTo>
                    <a:pt x="4107584" y="640614"/>
                    <a:pt x="4113186" y="636912"/>
                    <a:pt x="4118966" y="632755"/>
                  </a:cubicBezTo>
                  <a:close/>
                  <a:moveTo>
                    <a:pt x="3738375" y="632755"/>
                  </a:moveTo>
                  <a:lnTo>
                    <a:pt x="3753281" y="632755"/>
                  </a:lnTo>
                  <a:lnTo>
                    <a:pt x="3753281" y="855735"/>
                  </a:lnTo>
                  <a:lnTo>
                    <a:pt x="3717993" y="855735"/>
                  </a:lnTo>
                  <a:lnTo>
                    <a:pt x="3717993" y="675952"/>
                  </a:lnTo>
                  <a:cubicBezTo>
                    <a:pt x="3711604" y="680515"/>
                    <a:pt x="3704735" y="684393"/>
                    <a:pt x="3697384" y="687587"/>
                  </a:cubicBezTo>
                  <a:cubicBezTo>
                    <a:pt x="3690032" y="690782"/>
                    <a:pt x="3681642" y="693595"/>
                    <a:pt x="3672211" y="696029"/>
                  </a:cubicBezTo>
                  <a:lnTo>
                    <a:pt x="3672211" y="665913"/>
                  </a:lnTo>
                  <a:cubicBezTo>
                    <a:pt x="3678092" y="663987"/>
                    <a:pt x="3683771" y="661958"/>
                    <a:pt x="3689246" y="659829"/>
                  </a:cubicBezTo>
                  <a:cubicBezTo>
                    <a:pt x="3694722" y="657700"/>
                    <a:pt x="3700122" y="655317"/>
                    <a:pt x="3705445" y="652680"/>
                  </a:cubicBezTo>
                  <a:cubicBezTo>
                    <a:pt x="3710769" y="650044"/>
                    <a:pt x="3716143" y="647103"/>
                    <a:pt x="3721568" y="643858"/>
                  </a:cubicBezTo>
                  <a:cubicBezTo>
                    <a:pt x="3726993" y="640614"/>
                    <a:pt x="3732595" y="636912"/>
                    <a:pt x="3738375" y="632755"/>
                  </a:cubicBezTo>
                  <a:close/>
                  <a:moveTo>
                    <a:pt x="3588402" y="632755"/>
                  </a:moveTo>
                  <a:lnTo>
                    <a:pt x="3603308" y="632755"/>
                  </a:lnTo>
                  <a:lnTo>
                    <a:pt x="3603308" y="855735"/>
                  </a:lnTo>
                  <a:lnTo>
                    <a:pt x="3568020" y="855735"/>
                  </a:lnTo>
                  <a:lnTo>
                    <a:pt x="3568020" y="675952"/>
                  </a:lnTo>
                  <a:cubicBezTo>
                    <a:pt x="3561632" y="680515"/>
                    <a:pt x="3554762" y="684393"/>
                    <a:pt x="3547411" y="687587"/>
                  </a:cubicBezTo>
                  <a:cubicBezTo>
                    <a:pt x="3540059" y="690782"/>
                    <a:pt x="3531668" y="693595"/>
                    <a:pt x="3522237" y="696029"/>
                  </a:cubicBezTo>
                  <a:lnTo>
                    <a:pt x="3522237" y="665913"/>
                  </a:lnTo>
                  <a:cubicBezTo>
                    <a:pt x="3528119" y="663987"/>
                    <a:pt x="3533798" y="661958"/>
                    <a:pt x="3539273" y="659829"/>
                  </a:cubicBezTo>
                  <a:cubicBezTo>
                    <a:pt x="3544749" y="657700"/>
                    <a:pt x="3550149" y="655317"/>
                    <a:pt x="3555472" y="652680"/>
                  </a:cubicBezTo>
                  <a:cubicBezTo>
                    <a:pt x="3560796" y="650044"/>
                    <a:pt x="3566170" y="647103"/>
                    <a:pt x="3571595" y="643858"/>
                  </a:cubicBezTo>
                  <a:cubicBezTo>
                    <a:pt x="3577020" y="640614"/>
                    <a:pt x="3582622" y="636912"/>
                    <a:pt x="3588402" y="632755"/>
                  </a:cubicBezTo>
                  <a:close/>
                  <a:moveTo>
                    <a:pt x="3438429" y="632755"/>
                  </a:moveTo>
                  <a:lnTo>
                    <a:pt x="3453335" y="632755"/>
                  </a:lnTo>
                  <a:lnTo>
                    <a:pt x="3453335" y="855735"/>
                  </a:lnTo>
                  <a:lnTo>
                    <a:pt x="3418047" y="855735"/>
                  </a:lnTo>
                  <a:lnTo>
                    <a:pt x="3418047" y="675952"/>
                  </a:lnTo>
                  <a:cubicBezTo>
                    <a:pt x="3411659" y="680515"/>
                    <a:pt x="3404789" y="684393"/>
                    <a:pt x="3397438" y="687587"/>
                  </a:cubicBezTo>
                  <a:cubicBezTo>
                    <a:pt x="3390086" y="690782"/>
                    <a:pt x="3381696" y="693595"/>
                    <a:pt x="3372265" y="696029"/>
                  </a:cubicBezTo>
                  <a:lnTo>
                    <a:pt x="3372265" y="665913"/>
                  </a:lnTo>
                  <a:cubicBezTo>
                    <a:pt x="3378146" y="663987"/>
                    <a:pt x="3383825" y="661958"/>
                    <a:pt x="3389300" y="659829"/>
                  </a:cubicBezTo>
                  <a:cubicBezTo>
                    <a:pt x="3394776" y="657700"/>
                    <a:pt x="3400176" y="655317"/>
                    <a:pt x="3405499" y="652680"/>
                  </a:cubicBezTo>
                  <a:cubicBezTo>
                    <a:pt x="3410823" y="650044"/>
                    <a:pt x="3416197" y="647103"/>
                    <a:pt x="3421622" y="643858"/>
                  </a:cubicBezTo>
                  <a:cubicBezTo>
                    <a:pt x="3427047" y="640614"/>
                    <a:pt x="3432649" y="636912"/>
                    <a:pt x="3438429" y="632755"/>
                  </a:cubicBezTo>
                  <a:close/>
                  <a:moveTo>
                    <a:pt x="3288456" y="632755"/>
                  </a:moveTo>
                  <a:lnTo>
                    <a:pt x="3303362" y="632755"/>
                  </a:lnTo>
                  <a:lnTo>
                    <a:pt x="3303362" y="855735"/>
                  </a:lnTo>
                  <a:lnTo>
                    <a:pt x="3268074" y="855735"/>
                  </a:lnTo>
                  <a:lnTo>
                    <a:pt x="3268074" y="675952"/>
                  </a:lnTo>
                  <a:cubicBezTo>
                    <a:pt x="3261686" y="680515"/>
                    <a:pt x="3254815" y="684393"/>
                    <a:pt x="3247464" y="687587"/>
                  </a:cubicBezTo>
                  <a:cubicBezTo>
                    <a:pt x="3240113" y="690782"/>
                    <a:pt x="3231723" y="693595"/>
                    <a:pt x="3222292" y="696029"/>
                  </a:cubicBezTo>
                  <a:lnTo>
                    <a:pt x="3222292" y="665913"/>
                  </a:lnTo>
                  <a:cubicBezTo>
                    <a:pt x="3228173" y="663987"/>
                    <a:pt x="3233852" y="661958"/>
                    <a:pt x="3239327" y="659829"/>
                  </a:cubicBezTo>
                  <a:cubicBezTo>
                    <a:pt x="3244803" y="657700"/>
                    <a:pt x="3250203" y="655317"/>
                    <a:pt x="3255526" y="652680"/>
                  </a:cubicBezTo>
                  <a:cubicBezTo>
                    <a:pt x="3260850" y="650044"/>
                    <a:pt x="3266224" y="647103"/>
                    <a:pt x="3271649" y="643858"/>
                  </a:cubicBezTo>
                  <a:cubicBezTo>
                    <a:pt x="3277074" y="640614"/>
                    <a:pt x="3282676" y="636912"/>
                    <a:pt x="3288456" y="632755"/>
                  </a:cubicBezTo>
                  <a:close/>
                  <a:moveTo>
                    <a:pt x="3084519" y="632755"/>
                  </a:moveTo>
                  <a:cubicBezTo>
                    <a:pt x="3131963" y="632755"/>
                    <a:pt x="3155686" y="669618"/>
                    <a:pt x="3155686" y="743343"/>
                  </a:cubicBezTo>
                  <a:cubicBezTo>
                    <a:pt x="3155686" y="779854"/>
                    <a:pt x="3148991" y="807714"/>
                    <a:pt x="3135600" y="826922"/>
                  </a:cubicBezTo>
                  <a:cubicBezTo>
                    <a:pt x="3122209" y="846130"/>
                    <a:pt x="3103477" y="855735"/>
                    <a:pt x="3079403" y="855735"/>
                  </a:cubicBezTo>
                  <a:cubicBezTo>
                    <a:pt x="3056935" y="855735"/>
                    <a:pt x="3039406" y="846557"/>
                    <a:pt x="3026818" y="828201"/>
                  </a:cubicBezTo>
                  <a:cubicBezTo>
                    <a:pt x="3014229" y="809845"/>
                    <a:pt x="3007935" y="783314"/>
                    <a:pt x="3007935" y="748609"/>
                  </a:cubicBezTo>
                  <a:cubicBezTo>
                    <a:pt x="3007935" y="710492"/>
                    <a:pt x="3014505" y="681654"/>
                    <a:pt x="3027645" y="662094"/>
                  </a:cubicBezTo>
                  <a:cubicBezTo>
                    <a:pt x="3040786" y="642535"/>
                    <a:pt x="3059743" y="632755"/>
                    <a:pt x="3084519" y="632755"/>
                  </a:cubicBezTo>
                  <a:close/>
                  <a:moveTo>
                    <a:pt x="2954273" y="632755"/>
                  </a:moveTo>
                  <a:lnTo>
                    <a:pt x="2969178" y="632755"/>
                  </a:lnTo>
                  <a:lnTo>
                    <a:pt x="2969178" y="855735"/>
                  </a:lnTo>
                  <a:lnTo>
                    <a:pt x="2933891" y="855735"/>
                  </a:lnTo>
                  <a:lnTo>
                    <a:pt x="2933891" y="675952"/>
                  </a:lnTo>
                  <a:cubicBezTo>
                    <a:pt x="2927503" y="680515"/>
                    <a:pt x="2920633" y="684393"/>
                    <a:pt x="2913282" y="687587"/>
                  </a:cubicBezTo>
                  <a:cubicBezTo>
                    <a:pt x="2905930" y="690782"/>
                    <a:pt x="2897540" y="693595"/>
                    <a:pt x="2888109" y="696029"/>
                  </a:cubicBezTo>
                  <a:lnTo>
                    <a:pt x="2888109" y="665913"/>
                  </a:lnTo>
                  <a:cubicBezTo>
                    <a:pt x="2893990" y="663987"/>
                    <a:pt x="2899669" y="661958"/>
                    <a:pt x="2905144" y="659829"/>
                  </a:cubicBezTo>
                  <a:cubicBezTo>
                    <a:pt x="2910620" y="657700"/>
                    <a:pt x="2916020" y="655317"/>
                    <a:pt x="2921343" y="652680"/>
                  </a:cubicBezTo>
                  <a:cubicBezTo>
                    <a:pt x="2926667" y="650044"/>
                    <a:pt x="2932041" y="647103"/>
                    <a:pt x="2937466" y="643858"/>
                  </a:cubicBezTo>
                  <a:cubicBezTo>
                    <a:pt x="2942890" y="640614"/>
                    <a:pt x="2948493" y="636912"/>
                    <a:pt x="2954273" y="632755"/>
                  </a:cubicBezTo>
                  <a:close/>
                  <a:moveTo>
                    <a:pt x="2737716" y="632755"/>
                  </a:moveTo>
                  <a:cubicBezTo>
                    <a:pt x="2785160" y="632755"/>
                    <a:pt x="2808883" y="669618"/>
                    <a:pt x="2808883" y="743343"/>
                  </a:cubicBezTo>
                  <a:cubicBezTo>
                    <a:pt x="2808883" y="779854"/>
                    <a:pt x="2802188" y="807714"/>
                    <a:pt x="2788797" y="826922"/>
                  </a:cubicBezTo>
                  <a:cubicBezTo>
                    <a:pt x="2775406" y="846130"/>
                    <a:pt x="2756674" y="855735"/>
                    <a:pt x="2732600" y="855735"/>
                  </a:cubicBezTo>
                  <a:cubicBezTo>
                    <a:pt x="2710132" y="855735"/>
                    <a:pt x="2692602" y="846557"/>
                    <a:pt x="2680015" y="828201"/>
                  </a:cubicBezTo>
                  <a:cubicBezTo>
                    <a:pt x="2667426" y="809845"/>
                    <a:pt x="2661132" y="783314"/>
                    <a:pt x="2661132" y="748609"/>
                  </a:cubicBezTo>
                  <a:cubicBezTo>
                    <a:pt x="2661132" y="710492"/>
                    <a:pt x="2667702" y="681654"/>
                    <a:pt x="2680842" y="662094"/>
                  </a:cubicBezTo>
                  <a:cubicBezTo>
                    <a:pt x="2693983" y="642535"/>
                    <a:pt x="2712940" y="632755"/>
                    <a:pt x="2737716" y="632755"/>
                  </a:cubicBezTo>
                  <a:close/>
                  <a:moveTo>
                    <a:pt x="2046351" y="632755"/>
                  </a:moveTo>
                  <a:cubicBezTo>
                    <a:pt x="2093795" y="632755"/>
                    <a:pt x="2117517" y="669618"/>
                    <a:pt x="2117517" y="743343"/>
                  </a:cubicBezTo>
                  <a:cubicBezTo>
                    <a:pt x="2117517" y="779854"/>
                    <a:pt x="2110822" y="807714"/>
                    <a:pt x="2097432" y="826922"/>
                  </a:cubicBezTo>
                  <a:cubicBezTo>
                    <a:pt x="2084041" y="846130"/>
                    <a:pt x="2065309" y="855735"/>
                    <a:pt x="2041234" y="855735"/>
                  </a:cubicBezTo>
                  <a:cubicBezTo>
                    <a:pt x="2018767" y="855735"/>
                    <a:pt x="2001238" y="846557"/>
                    <a:pt x="1988650" y="828201"/>
                  </a:cubicBezTo>
                  <a:cubicBezTo>
                    <a:pt x="1976060" y="809845"/>
                    <a:pt x="1969766" y="783314"/>
                    <a:pt x="1969766" y="748609"/>
                  </a:cubicBezTo>
                  <a:cubicBezTo>
                    <a:pt x="1969766" y="710492"/>
                    <a:pt x="1976337" y="681654"/>
                    <a:pt x="1989476" y="662094"/>
                  </a:cubicBezTo>
                  <a:cubicBezTo>
                    <a:pt x="2002618" y="642535"/>
                    <a:pt x="2021574" y="632755"/>
                    <a:pt x="2046351" y="632755"/>
                  </a:cubicBezTo>
                  <a:close/>
                  <a:moveTo>
                    <a:pt x="1673990" y="632755"/>
                  </a:moveTo>
                  <a:lnTo>
                    <a:pt x="1688896" y="632755"/>
                  </a:lnTo>
                  <a:lnTo>
                    <a:pt x="1688896" y="855735"/>
                  </a:lnTo>
                  <a:lnTo>
                    <a:pt x="1653607" y="855735"/>
                  </a:lnTo>
                  <a:lnTo>
                    <a:pt x="1653607" y="675952"/>
                  </a:lnTo>
                  <a:cubicBezTo>
                    <a:pt x="1647219" y="680515"/>
                    <a:pt x="1640349" y="684393"/>
                    <a:pt x="1632999" y="687587"/>
                  </a:cubicBezTo>
                  <a:cubicBezTo>
                    <a:pt x="1625647" y="690782"/>
                    <a:pt x="1617256" y="693595"/>
                    <a:pt x="1607825" y="696029"/>
                  </a:cubicBezTo>
                  <a:lnTo>
                    <a:pt x="1607825" y="665913"/>
                  </a:lnTo>
                  <a:cubicBezTo>
                    <a:pt x="1613706" y="663987"/>
                    <a:pt x="1619385" y="661958"/>
                    <a:pt x="1624860" y="659829"/>
                  </a:cubicBezTo>
                  <a:cubicBezTo>
                    <a:pt x="1630337" y="657700"/>
                    <a:pt x="1635737" y="655317"/>
                    <a:pt x="1641059" y="652680"/>
                  </a:cubicBezTo>
                  <a:cubicBezTo>
                    <a:pt x="1646384" y="650044"/>
                    <a:pt x="1651758" y="647103"/>
                    <a:pt x="1657183" y="643858"/>
                  </a:cubicBezTo>
                  <a:cubicBezTo>
                    <a:pt x="1662607" y="640614"/>
                    <a:pt x="1668209" y="636912"/>
                    <a:pt x="1673990" y="632755"/>
                  </a:cubicBezTo>
                  <a:close/>
                  <a:moveTo>
                    <a:pt x="1297324" y="632755"/>
                  </a:moveTo>
                  <a:lnTo>
                    <a:pt x="1312230" y="632755"/>
                  </a:lnTo>
                  <a:lnTo>
                    <a:pt x="1312230" y="855735"/>
                  </a:lnTo>
                  <a:lnTo>
                    <a:pt x="1276941" y="855735"/>
                  </a:lnTo>
                  <a:lnTo>
                    <a:pt x="1276941" y="675952"/>
                  </a:lnTo>
                  <a:cubicBezTo>
                    <a:pt x="1270553" y="680515"/>
                    <a:pt x="1263684" y="684393"/>
                    <a:pt x="1256333" y="687587"/>
                  </a:cubicBezTo>
                  <a:cubicBezTo>
                    <a:pt x="1248981" y="690782"/>
                    <a:pt x="1240589" y="693595"/>
                    <a:pt x="1231160" y="696029"/>
                  </a:cubicBezTo>
                  <a:lnTo>
                    <a:pt x="1231160" y="665913"/>
                  </a:lnTo>
                  <a:cubicBezTo>
                    <a:pt x="1237041" y="663987"/>
                    <a:pt x="1242720" y="661958"/>
                    <a:pt x="1248195" y="659829"/>
                  </a:cubicBezTo>
                  <a:cubicBezTo>
                    <a:pt x="1253671" y="657700"/>
                    <a:pt x="1259071" y="655317"/>
                    <a:pt x="1264393" y="652680"/>
                  </a:cubicBezTo>
                  <a:cubicBezTo>
                    <a:pt x="1269718" y="650044"/>
                    <a:pt x="1275092" y="647103"/>
                    <a:pt x="1280517" y="643858"/>
                  </a:cubicBezTo>
                  <a:cubicBezTo>
                    <a:pt x="1285941" y="640614"/>
                    <a:pt x="1291543" y="636912"/>
                    <a:pt x="1297324" y="632755"/>
                  </a:cubicBezTo>
                  <a:close/>
                  <a:moveTo>
                    <a:pt x="997378" y="632755"/>
                  </a:moveTo>
                  <a:lnTo>
                    <a:pt x="1012284" y="632755"/>
                  </a:lnTo>
                  <a:lnTo>
                    <a:pt x="1012284" y="855735"/>
                  </a:lnTo>
                  <a:lnTo>
                    <a:pt x="976996" y="855735"/>
                  </a:lnTo>
                  <a:lnTo>
                    <a:pt x="976996" y="675952"/>
                  </a:lnTo>
                  <a:cubicBezTo>
                    <a:pt x="970608" y="680515"/>
                    <a:pt x="963737" y="684393"/>
                    <a:pt x="956386" y="687587"/>
                  </a:cubicBezTo>
                  <a:cubicBezTo>
                    <a:pt x="949035" y="690782"/>
                    <a:pt x="940644" y="693595"/>
                    <a:pt x="931214" y="696029"/>
                  </a:cubicBezTo>
                  <a:lnTo>
                    <a:pt x="931214" y="665913"/>
                  </a:lnTo>
                  <a:cubicBezTo>
                    <a:pt x="937095" y="663987"/>
                    <a:pt x="942773" y="661958"/>
                    <a:pt x="948249" y="659829"/>
                  </a:cubicBezTo>
                  <a:cubicBezTo>
                    <a:pt x="953725" y="657700"/>
                    <a:pt x="959125" y="655317"/>
                    <a:pt x="964447" y="652680"/>
                  </a:cubicBezTo>
                  <a:cubicBezTo>
                    <a:pt x="969772" y="650044"/>
                    <a:pt x="975145" y="647103"/>
                    <a:pt x="980570" y="643858"/>
                  </a:cubicBezTo>
                  <a:cubicBezTo>
                    <a:pt x="985995" y="640614"/>
                    <a:pt x="991598" y="636912"/>
                    <a:pt x="997378" y="632755"/>
                  </a:cubicBezTo>
                  <a:close/>
                  <a:moveTo>
                    <a:pt x="791144" y="632755"/>
                  </a:moveTo>
                  <a:cubicBezTo>
                    <a:pt x="838588" y="632755"/>
                    <a:pt x="862311" y="669618"/>
                    <a:pt x="862311" y="743343"/>
                  </a:cubicBezTo>
                  <a:cubicBezTo>
                    <a:pt x="862311" y="779854"/>
                    <a:pt x="855615" y="807714"/>
                    <a:pt x="842224" y="826922"/>
                  </a:cubicBezTo>
                  <a:cubicBezTo>
                    <a:pt x="828834" y="846130"/>
                    <a:pt x="810102" y="855735"/>
                    <a:pt x="786027" y="855735"/>
                  </a:cubicBezTo>
                  <a:cubicBezTo>
                    <a:pt x="763560" y="855735"/>
                    <a:pt x="746031" y="846557"/>
                    <a:pt x="733443" y="828201"/>
                  </a:cubicBezTo>
                  <a:cubicBezTo>
                    <a:pt x="720853" y="809845"/>
                    <a:pt x="714559" y="783314"/>
                    <a:pt x="714559" y="748609"/>
                  </a:cubicBezTo>
                  <a:cubicBezTo>
                    <a:pt x="714559" y="710492"/>
                    <a:pt x="721130" y="681654"/>
                    <a:pt x="734269" y="662094"/>
                  </a:cubicBezTo>
                  <a:cubicBezTo>
                    <a:pt x="747411" y="642535"/>
                    <a:pt x="766368" y="632755"/>
                    <a:pt x="791144" y="632755"/>
                  </a:cubicBezTo>
                  <a:close/>
                  <a:moveTo>
                    <a:pt x="570544" y="632755"/>
                  </a:moveTo>
                  <a:cubicBezTo>
                    <a:pt x="617988" y="632755"/>
                    <a:pt x="641710" y="669618"/>
                    <a:pt x="641710" y="743343"/>
                  </a:cubicBezTo>
                  <a:cubicBezTo>
                    <a:pt x="641710" y="779854"/>
                    <a:pt x="635015" y="807714"/>
                    <a:pt x="621624" y="826922"/>
                  </a:cubicBezTo>
                  <a:cubicBezTo>
                    <a:pt x="608233" y="846130"/>
                    <a:pt x="589502" y="855735"/>
                    <a:pt x="565428" y="855735"/>
                  </a:cubicBezTo>
                  <a:cubicBezTo>
                    <a:pt x="542960" y="855735"/>
                    <a:pt x="525430" y="846557"/>
                    <a:pt x="512842" y="828201"/>
                  </a:cubicBezTo>
                  <a:cubicBezTo>
                    <a:pt x="500254" y="809845"/>
                    <a:pt x="493960" y="783314"/>
                    <a:pt x="493960" y="748609"/>
                  </a:cubicBezTo>
                  <a:cubicBezTo>
                    <a:pt x="493960" y="710492"/>
                    <a:pt x="500530" y="681654"/>
                    <a:pt x="513670" y="662094"/>
                  </a:cubicBezTo>
                  <a:cubicBezTo>
                    <a:pt x="526811" y="642535"/>
                    <a:pt x="545768" y="632755"/>
                    <a:pt x="570544" y="632755"/>
                  </a:cubicBezTo>
                  <a:close/>
                  <a:moveTo>
                    <a:pt x="403382" y="632755"/>
                  </a:moveTo>
                  <a:lnTo>
                    <a:pt x="418288" y="632755"/>
                  </a:lnTo>
                  <a:lnTo>
                    <a:pt x="418288" y="855735"/>
                  </a:lnTo>
                  <a:lnTo>
                    <a:pt x="382999" y="855735"/>
                  </a:lnTo>
                  <a:lnTo>
                    <a:pt x="382999" y="675952"/>
                  </a:lnTo>
                  <a:cubicBezTo>
                    <a:pt x="376612" y="680515"/>
                    <a:pt x="369742" y="684393"/>
                    <a:pt x="362391" y="687587"/>
                  </a:cubicBezTo>
                  <a:cubicBezTo>
                    <a:pt x="355039" y="690782"/>
                    <a:pt x="346648" y="693595"/>
                    <a:pt x="337217" y="696029"/>
                  </a:cubicBezTo>
                  <a:lnTo>
                    <a:pt x="337217" y="665913"/>
                  </a:lnTo>
                  <a:cubicBezTo>
                    <a:pt x="343098" y="663987"/>
                    <a:pt x="348778" y="661958"/>
                    <a:pt x="354252" y="659829"/>
                  </a:cubicBezTo>
                  <a:cubicBezTo>
                    <a:pt x="359729" y="657700"/>
                    <a:pt x="365129" y="655317"/>
                    <a:pt x="370452" y="652680"/>
                  </a:cubicBezTo>
                  <a:cubicBezTo>
                    <a:pt x="375775" y="650044"/>
                    <a:pt x="381150" y="647103"/>
                    <a:pt x="386575" y="643858"/>
                  </a:cubicBezTo>
                  <a:cubicBezTo>
                    <a:pt x="392000" y="640614"/>
                    <a:pt x="397601" y="636912"/>
                    <a:pt x="403382" y="632755"/>
                  </a:cubicBezTo>
                  <a:close/>
                  <a:moveTo>
                    <a:pt x="103435" y="632755"/>
                  </a:moveTo>
                  <a:lnTo>
                    <a:pt x="118342" y="632755"/>
                  </a:lnTo>
                  <a:lnTo>
                    <a:pt x="118342" y="855735"/>
                  </a:lnTo>
                  <a:lnTo>
                    <a:pt x="83054" y="855735"/>
                  </a:lnTo>
                  <a:lnTo>
                    <a:pt x="83054" y="675952"/>
                  </a:lnTo>
                  <a:cubicBezTo>
                    <a:pt x="76666" y="680515"/>
                    <a:pt x="69796" y="684393"/>
                    <a:pt x="62445" y="687587"/>
                  </a:cubicBezTo>
                  <a:cubicBezTo>
                    <a:pt x="55092" y="690782"/>
                    <a:pt x="46702" y="693595"/>
                    <a:pt x="37272" y="696029"/>
                  </a:cubicBezTo>
                  <a:lnTo>
                    <a:pt x="37272" y="665913"/>
                  </a:lnTo>
                  <a:cubicBezTo>
                    <a:pt x="43153" y="663987"/>
                    <a:pt x="48832" y="661958"/>
                    <a:pt x="54307" y="659829"/>
                  </a:cubicBezTo>
                  <a:cubicBezTo>
                    <a:pt x="59783" y="657700"/>
                    <a:pt x="65183" y="655317"/>
                    <a:pt x="70506" y="652680"/>
                  </a:cubicBezTo>
                  <a:cubicBezTo>
                    <a:pt x="75830" y="650044"/>
                    <a:pt x="81203" y="647103"/>
                    <a:pt x="86629" y="643858"/>
                  </a:cubicBezTo>
                  <a:cubicBezTo>
                    <a:pt x="92054" y="640614"/>
                    <a:pt x="97656" y="636912"/>
                    <a:pt x="103435" y="632755"/>
                  </a:cubicBezTo>
                  <a:close/>
                  <a:moveTo>
                    <a:pt x="11997319" y="356082"/>
                  </a:moveTo>
                  <a:cubicBezTo>
                    <a:pt x="11971139" y="356082"/>
                    <a:pt x="11958049" y="384920"/>
                    <a:pt x="11958049" y="442596"/>
                  </a:cubicBezTo>
                  <a:cubicBezTo>
                    <a:pt x="11958049" y="496560"/>
                    <a:pt x="11970888" y="523543"/>
                    <a:pt x="11996567" y="523543"/>
                  </a:cubicBezTo>
                  <a:cubicBezTo>
                    <a:pt x="12021843" y="523543"/>
                    <a:pt x="12034482" y="496109"/>
                    <a:pt x="12034482" y="441242"/>
                  </a:cubicBezTo>
                  <a:cubicBezTo>
                    <a:pt x="12034482" y="384468"/>
                    <a:pt x="12022094" y="356082"/>
                    <a:pt x="11997319" y="356082"/>
                  </a:cubicBezTo>
                  <a:close/>
                  <a:moveTo>
                    <a:pt x="11780809" y="356082"/>
                  </a:moveTo>
                  <a:cubicBezTo>
                    <a:pt x="11754629" y="356082"/>
                    <a:pt x="11741539" y="384920"/>
                    <a:pt x="11741539" y="442596"/>
                  </a:cubicBezTo>
                  <a:cubicBezTo>
                    <a:pt x="11741539" y="496560"/>
                    <a:pt x="11754378" y="523543"/>
                    <a:pt x="11780057" y="523543"/>
                  </a:cubicBezTo>
                  <a:cubicBezTo>
                    <a:pt x="11805333" y="523543"/>
                    <a:pt x="11817972" y="496109"/>
                    <a:pt x="11817972" y="441242"/>
                  </a:cubicBezTo>
                  <a:cubicBezTo>
                    <a:pt x="11817972" y="384468"/>
                    <a:pt x="11805584" y="356082"/>
                    <a:pt x="11780809" y="356082"/>
                  </a:cubicBezTo>
                  <a:close/>
                  <a:moveTo>
                    <a:pt x="6986021" y="356082"/>
                  </a:moveTo>
                  <a:cubicBezTo>
                    <a:pt x="6959841" y="356082"/>
                    <a:pt x="6946751" y="384920"/>
                    <a:pt x="6946751" y="442596"/>
                  </a:cubicBezTo>
                  <a:cubicBezTo>
                    <a:pt x="6946751" y="496560"/>
                    <a:pt x="6959590" y="523543"/>
                    <a:pt x="6985269" y="523543"/>
                  </a:cubicBezTo>
                  <a:cubicBezTo>
                    <a:pt x="7010546" y="523543"/>
                    <a:pt x="7023184" y="496109"/>
                    <a:pt x="7023184" y="441242"/>
                  </a:cubicBezTo>
                  <a:cubicBezTo>
                    <a:pt x="7023184" y="384468"/>
                    <a:pt x="7010796" y="356082"/>
                    <a:pt x="6986021" y="356082"/>
                  </a:cubicBezTo>
                  <a:close/>
                  <a:moveTo>
                    <a:pt x="6769511" y="356082"/>
                  </a:moveTo>
                  <a:cubicBezTo>
                    <a:pt x="6743331" y="356082"/>
                    <a:pt x="6730241" y="384920"/>
                    <a:pt x="6730241" y="442596"/>
                  </a:cubicBezTo>
                  <a:cubicBezTo>
                    <a:pt x="6730241" y="496560"/>
                    <a:pt x="6743080" y="523543"/>
                    <a:pt x="6768759" y="523543"/>
                  </a:cubicBezTo>
                  <a:cubicBezTo>
                    <a:pt x="6794036" y="523543"/>
                    <a:pt x="6806674" y="496109"/>
                    <a:pt x="6806674" y="441242"/>
                  </a:cubicBezTo>
                  <a:cubicBezTo>
                    <a:pt x="6806674" y="384468"/>
                    <a:pt x="6794286" y="356082"/>
                    <a:pt x="6769511" y="356082"/>
                  </a:cubicBezTo>
                  <a:close/>
                  <a:moveTo>
                    <a:pt x="6151734" y="356082"/>
                  </a:moveTo>
                  <a:cubicBezTo>
                    <a:pt x="6125554" y="356082"/>
                    <a:pt x="6112464" y="384920"/>
                    <a:pt x="6112464" y="442596"/>
                  </a:cubicBezTo>
                  <a:cubicBezTo>
                    <a:pt x="6112464" y="496560"/>
                    <a:pt x="6125303" y="523543"/>
                    <a:pt x="6150982" y="523543"/>
                  </a:cubicBezTo>
                  <a:cubicBezTo>
                    <a:pt x="6176259" y="523543"/>
                    <a:pt x="6188897" y="496109"/>
                    <a:pt x="6188897" y="441242"/>
                  </a:cubicBezTo>
                  <a:cubicBezTo>
                    <a:pt x="6188897" y="384468"/>
                    <a:pt x="6176509" y="356082"/>
                    <a:pt x="6151734" y="356082"/>
                  </a:cubicBezTo>
                  <a:close/>
                  <a:moveTo>
                    <a:pt x="5935223" y="356082"/>
                  </a:moveTo>
                  <a:cubicBezTo>
                    <a:pt x="5909045" y="356082"/>
                    <a:pt x="5895954" y="384920"/>
                    <a:pt x="5895954" y="442596"/>
                  </a:cubicBezTo>
                  <a:cubicBezTo>
                    <a:pt x="5895954" y="496560"/>
                    <a:pt x="5908794" y="523543"/>
                    <a:pt x="5934472" y="523543"/>
                  </a:cubicBezTo>
                  <a:cubicBezTo>
                    <a:pt x="5959748" y="523543"/>
                    <a:pt x="5972387" y="496109"/>
                    <a:pt x="5972387" y="441242"/>
                  </a:cubicBezTo>
                  <a:cubicBezTo>
                    <a:pt x="5972387" y="384468"/>
                    <a:pt x="5959999" y="356082"/>
                    <a:pt x="5935223" y="356082"/>
                  </a:cubicBezTo>
                  <a:close/>
                  <a:moveTo>
                    <a:pt x="5711116" y="356082"/>
                  </a:moveTo>
                  <a:cubicBezTo>
                    <a:pt x="5684938" y="356082"/>
                    <a:pt x="5671847" y="384920"/>
                    <a:pt x="5671847" y="442596"/>
                  </a:cubicBezTo>
                  <a:cubicBezTo>
                    <a:pt x="5671847" y="496560"/>
                    <a:pt x="5684686" y="523543"/>
                    <a:pt x="5710364" y="523543"/>
                  </a:cubicBezTo>
                  <a:cubicBezTo>
                    <a:pt x="5735642" y="523543"/>
                    <a:pt x="5748280" y="496109"/>
                    <a:pt x="5748280" y="441242"/>
                  </a:cubicBezTo>
                  <a:cubicBezTo>
                    <a:pt x="5748280" y="384468"/>
                    <a:pt x="5735892" y="356082"/>
                    <a:pt x="5711116" y="356082"/>
                  </a:cubicBezTo>
                  <a:close/>
                  <a:moveTo>
                    <a:pt x="933138" y="356082"/>
                  </a:moveTo>
                  <a:cubicBezTo>
                    <a:pt x="906958" y="356082"/>
                    <a:pt x="893868" y="384920"/>
                    <a:pt x="893868" y="442596"/>
                  </a:cubicBezTo>
                  <a:cubicBezTo>
                    <a:pt x="893868" y="496560"/>
                    <a:pt x="906707" y="523543"/>
                    <a:pt x="932386" y="523543"/>
                  </a:cubicBezTo>
                  <a:cubicBezTo>
                    <a:pt x="957663" y="523543"/>
                    <a:pt x="970301" y="496109"/>
                    <a:pt x="970301" y="441242"/>
                  </a:cubicBezTo>
                  <a:cubicBezTo>
                    <a:pt x="970301" y="384468"/>
                    <a:pt x="957914" y="356082"/>
                    <a:pt x="933138" y="356082"/>
                  </a:cubicBezTo>
                  <a:close/>
                  <a:moveTo>
                    <a:pt x="716861" y="356082"/>
                  </a:moveTo>
                  <a:cubicBezTo>
                    <a:pt x="690682" y="356082"/>
                    <a:pt x="677593" y="384920"/>
                    <a:pt x="677593" y="442596"/>
                  </a:cubicBezTo>
                  <a:cubicBezTo>
                    <a:pt x="677593" y="496560"/>
                    <a:pt x="690433" y="523543"/>
                    <a:pt x="716110" y="523543"/>
                  </a:cubicBezTo>
                  <a:cubicBezTo>
                    <a:pt x="741387" y="523543"/>
                    <a:pt x="754026" y="496109"/>
                    <a:pt x="754026" y="441242"/>
                  </a:cubicBezTo>
                  <a:cubicBezTo>
                    <a:pt x="754026" y="384468"/>
                    <a:pt x="741638" y="356082"/>
                    <a:pt x="716861" y="356082"/>
                  </a:cubicBezTo>
                  <a:close/>
                  <a:moveTo>
                    <a:pt x="95256" y="356082"/>
                  </a:moveTo>
                  <a:cubicBezTo>
                    <a:pt x="69076" y="356082"/>
                    <a:pt x="55985" y="384920"/>
                    <a:pt x="55985" y="442596"/>
                  </a:cubicBezTo>
                  <a:cubicBezTo>
                    <a:pt x="55985" y="496560"/>
                    <a:pt x="68824" y="523543"/>
                    <a:pt x="94502" y="523543"/>
                  </a:cubicBezTo>
                  <a:cubicBezTo>
                    <a:pt x="119779" y="523543"/>
                    <a:pt x="132418" y="496109"/>
                    <a:pt x="132418" y="441242"/>
                  </a:cubicBezTo>
                  <a:cubicBezTo>
                    <a:pt x="132418" y="384468"/>
                    <a:pt x="120031" y="356082"/>
                    <a:pt x="95256" y="356082"/>
                  </a:cubicBezTo>
                  <a:close/>
                  <a:moveTo>
                    <a:pt x="11998974" y="328247"/>
                  </a:moveTo>
                  <a:cubicBezTo>
                    <a:pt x="12046418" y="328247"/>
                    <a:pt x="12070141" y="365110"/>
                    <a:pt x="12070141" y="438834"/>
                  </a:cubicBezTo>
                  <a:cubicBezTo>
                    <a:pt x="12070141" y="475346"/>
                    <a:pt x="12063445" y="503206"/>
                    <a:pt x="12050055" y="522414"/>
                  </a:cubicBezTo>
                  <a:cubicBezTo>
                    <a:pt x="12036664" y="541622"/>
                    <a:pt x="12017932" y="551227"/>
                    <a:pt x="11993858" y="551227"/>
                  </a:cubicBezTo>
                  <a:cubicBezTo>
                    <a:pt x="11971390" y="551227"/>
                    <a:pt x="11953861" y="542049"/>
                    <a:pt x="11941273" y="523693"/>
                  </a:cubicBezTo>
                  <a:cubicBezTo>
                    <a:pt x="11928684" y="505337"/>
                    <a:pt x="11922390" y="478806"/>
                    <a:pt x="11922390" y="444101"/>
                  </a:cubicBezTo>
                  <a:cubicBezTo>
                    <a:pt x="11922390" y="405984"/>
                    <a:pt x="11928960" y="377146"/>
                    <a:pt x="11942100" y="357586"/>
                  </a:cubicBezTo>
                  <a:cubicBezTo>
                    <a:pt x="11955241" y="338027"/>
                    <a:pt x="11974198" y="328247"/>
                    <a:pt x="11998974" y="328247"/>
                  </a:cubicBezTo>
                  <a:close/>
                  <a:moveTo>
                    <a:pt x="11782464" y="328247"/>
                  </a:moveTo>
                  <a:cubicBezTo>
                    <a:pt x="11829908" y="328247"/>
                    <a:pt x="11853631" y="365110"/>
                    <a:pt x="11853631" y="438834"/>
                  </a:cubicBezTo>
                  <a:cubicBezTo>
                    <a:pt x="11853631" y="475346"/>
                    <a:pt x="11846935" y="503206"/>
                    <a:pt x="11833545" y="522414"/>
                  </a:cubicBezTo>
                  <a:cubicBezTo>
                    <a:pt x="11820154" y="541622"/>
                    <a:pt x="11801422" y="551227"/>
                    <a:pt x="11777348" y="551227"/>
                  </a:cubicBezTo>
                  <a:cubicBezTo>
                    <a:pt x="11754880" y="551227"/>
                    <a:pt x="11737351" y="542049"/>
                    <a:pt x="11724763" y="523693"/>
                  </a:cubicBezTo>
                  <a:cubicBezTo>
                    <a:pt x="11712174" y="505337"/>
                    <a:pt x="11705880" y="478806"/>
                    <a:pt x="11705880" y="444101"/>
                  </a:cubicBezTo>
                  <a:cubicBezTo>
                    <a:pt x="11705880" y="405984"/>
                    <a:pt x="11712450" y="377146"/>
                    <a:pt x="11725590" y="357586"/>
                  </a:cubicBezTo>
                  <a:cubicBezTo>
                    <a:pt x="11738731" y="338027"/>
                    <a:pt x="11757688" y="328247"/>
                    <a:pt x="11782464" y="328247"/>
                  </a:cubicBezTo>
                  <a:close/>
                  <a:moveTo>
                    <a:pt x="11630909" y="328247"/>
                  </a:moveTo>
                  <a:lnTo>
                    <a:pt x="11645815" y="328247"/>
                  </a:lnTo>
                  <a:lnTo>
                    <a:pt x="11645815" y="551227"/>
                  </a:lnTo>
                  <a:lnTo>
                    <a:pt x="11610527" y="551227"/>
                  </a:lnTo>
                  <a:lnTo>
                    <a:pt x="11610527" y="371444"/>
                  </a:lnTo>
                  <a:cubicBezTo>
                    <a:pt x="11604139" y="376007"/>
                    <a:pt x="11597269" y="379885"/>
                    <a:pt x="11589918" y="383079"/>
                  </a:cubicBezTo>
                  <a:cubicBezTo>
                    <a:pt x="11582566" y="386274"/>
                    <a:pt x="11574175" y="389087"/>
                    <a:pt x="11564745" y="391521"/>
                  </a:cubicBezTo>
                  <a:lnTo>
                    <a:pt x="11564745" y="361405"/>
                  </a:lnTo>
                  <a:cubicBezTo>
                    <a:pt x="11570626" y="359479"/>
                    <a:pt x="11576305" y="357450"/>
                    <a:pt x="11581780" y="355321"/>
                  </a:cubicBezTo>
                  <a:cubicBezTo>
                    <a:pt x="11587256" y="353192"/>
                    <a:pt x="11592656" y="350808"/>
                    <a:pt x="11597979" y="348172"/>
                  </a:cubicBezTo>
                  <a:cubicBezTo>
                    <a:pt x="11603303" y="345536"/>
                    <a:pt x="11608677" y="342595"/>
                    <a:pt x="11614102" y="339350"/>
                  </a:cubicBezTo>
                  <a:cubicBezTo>
                    <a:pt x="11619527" y="336106"/>
                    <a:pt x="11625129" y="332404"/>
                    <a:pt x="11630909" y="328247"/>
                  </a:cubicBezTo>
                  <a:close/>
                  <a:moveTo>
                    <a:pt x="11328134" y="328247"/>
                  </a:moveTo>
                  <a:lnTo>
                    <a:pt x="11343040" y="328247"/>
                  </a:lnTo>
                  <a:lnTo>
                    <a:pt x="11343040" y="551227"/>
                  </a:lnTo>
                  <a:lnTo>
                    <a:pt x="11307752" y="551227"/>
                  </a:lnTo>
                  <a:lnTo>
                    <a:pt x="11307752" y="371444"/>
                  </a:lnTo>
                  <a:cubicBezTo>
                    <a:pt x="11301364" y="376007"/>
                    <a:pt x="11294494" y="379885"/>
                    <a:pt x="11287143" y="383079"/>
                  </a:cubicBezTo>
                  <a:cubicBezTo>
                    <a:pt x="11279791" y="386274"/>
                    <a:pt x="11271400" y="389087"/>
                    <a:pt x="11261970" y="391521"/>
                  </a:cubicBezTo>
                  <a:lnTo>
                    <a:pt x="11261970" y="361405"/>
                  </a:lnTo>
                  <a:cubicBezTo>
                    <a:pt x="11267851" y="359479"/>
                    <a:pt x="11273530" y="357450"/>
                    <a:pt x="11279005" y="355321"/>
                  </a:cubicBezTo>
                  <a:cubicBezTo>
                    <a:pt x="11284481" y="353192"/>
                    <a:pt x="11289881" y="350808"/>
                    <a:pt x="11295204" y="348172"/>
                  </a:cubicBezTo>
                  <a:cubicBezTo>
                    <a:pt x="11300528" y="345536"/>
                    <a:pt x="11305902" y="342595"/>
                    <a:pt x="11311327" y="339350"/>
                  </a:cubicBezTo>
                  <a:cubicBezTo>
                    <a:pt x="11316752" y="336106"/>
                    <a:pt x="11322354" y="332404"/>
                    <a:pt x="11328134" y="328247"/>
                  </a:cubicBezTo>
                  <a:close/>
                  <a:moveTo>
                    <a:pt x="10950970" y="328247"/>
                  </a:moveTo>
                  <a:lnTo>
                    <a:pt x="10965876" y="328247"/>
                  </a:lnTo>
                  <a:lnTo>
                    <a:pt x="10965876" y="551227"/>
                  </a:lnTo>
                  <a:lnTo>
                    <a:pt x="10930588" y="551227"/>
                  </a:lnTo>
                  <a:lnTo>
                    <a:pt x="10930588" y="371444"/>
                  </a:lnTo>
                  <a:cubicBezTo>
                    <a:pt x="10924200" y="376007"/>
                    <a:pt x="10917330" y="379885"/>
                    <a:pt x="10909979" y="383079"/>
                  </a:cubicBezTo>
                  <a:cubicBezTo>
                    <a:pt x="10902627" y="386274"/>
                    <a:pt x="10894236" y="389087"/>
                    <a:pt x="10884806" y="391521"/>
                  </a:cubicBezTo>
                  <a:lnTo>
                    <a:pt x="10884806" y="361405"/>
                  </a:lnTo>
                  <a:cubicBezTo>
                    <a:pt x="10890687" y="359479"/>
                    <a:pt x="10896366" y="357450"/>
                    <a:pt x="10901841" y="355321"/>
                  </a:cubicBezTo>
                  <a:cubicBezTo>
                    <a:pt x="10907317" y="353192"/>
                    <a:pt x="10912717" y="350808"/>
                    <a:pt x="10918040" y="348172"/>
                  </a:cubicBezTo>
                  <a:cubicBezTo>
                    <a:pt x="10923364" y="345536"/>
                    <a:pt x="10928738" y="342595"/>
                    <a:pt x="10934163" y="339350"/>
                  </a:cubicBezTo>
                  <a:cubicBezTo>
                    <a:pt x="10939588" y="336106"/>
                    <a:pt x="10945190" y="332404"/>
                    <a:pt x="10950970" y="328247"/>
                  </a:cubicBezTo>
                  <a:close/>
                  <a:moveTo>
                    <a:pt x="10802113" y="328247"/>
                  </a:moveTo>
                  <a:lnTo>
                    <a:pt x="10817019" y="328247"/>
                  </a:lnTo>
                  <a:lnTo>
                    <a:pt x="10817019" y="551227"/>
                  </a:lnTo>
                  <a:lnTo>
                    <a:pt x="10781731" y="551227"/>
                  </a:lnTo>
                  <a:lnTo>
                    <a:pt x="10781731" y="371444"/>
                  </a:lnTo>
                  <a:cubicBezTo>
                    <a:pt x="10775343" y="376007"/>
                    <a:pt x="10768473" y="379885"/>
                    <a:pt x="10761122" y="383079"/>
                  </a:cubicBezTo>
                  <a:cubicBezTo>
                    <a:pt x="10753770" y="386274"/>
                    <a:pt x="10745379" y="389087"/>
                    <a:pt x="10735949" y="391521"/>
                  </a:cubicBezTo>
                  <a:lnTo>
                    <a:pt x="10735949" y="361405"/>
                  </a:lnTo>
                  <a:cubicBezTo>
                    <a:pt x="10741830" y="359479"/>
                    <a:pt x="10747509" y="357450"/>
                    <a:pt x="10752984" y="355321"/>
                  </a:cubicBezTo>
                  <a:cubicBezTo>
                    <a:pt x="10758460" y="353192"/>
                    <a:pt x="10763860" y="350808"/>
                    <a:pt x="10769183" y="348172"/>
                  </a:cubicBezTo>
                  <a:cubicBezTo>
                    <a:pt x="10774507" y="345536"/>
                    <a:pt x="10779881" y="342595"/>
                    <a:pt x="10785306" y="339350"/>
                  </a:cubicBezTo>
                  <a:cubicBezTo>
                    <a:pt x="10790731" y="336106"/>
                    <a:pt x="10796333" y="332404"/>
                    <a:pt x="10802113" y="328247"/>
                  </a:cubicBezTo>
                  <a:close/>
                  <a:moveTo>
                    <a:pt x="10648195" y="328247"/>
                  </a:moveTo>
                  <a:lnTo>
                    <a:pt x="10663101" y="328247"/>
                  </a:lnTo>
                  <a:lnTo>
                    <a:pt x="10663101" y="551227"/>
                  </a:lnTo>
                  <a:lnTo>
                    <a:pt x="10627813" y="551227"/>
                  </a:lnTo>
                  <a:lnTo>
                    <a:pt x="10627813" y="371444"/>
                  </a:lnTo>
                  <a:cubicBezTo>
                    <a:pt x="10621425" y="376007"/>
                    <a:pt x="10614555" y="379885"/>
                    <a:pt x="10607204" y="383079"/>
                  </a:cubicBezTo>
                  <a:cubicBezTo>
                    <a:pt x="10599852" y="386274"/>
                    <a:pt x="10591461" y="389087"/>
                    <a:pt x="10582031" y="391521"/>
                  </a:cubicBezTo>
                  <a:lnTo>
                    <a:pt x="10582031" y="361405"/>
                  </a:lnTo>
                  <a:cubicBezTo>
                    <a:pt x="10587912" y="359479"/>
                    <a:pt x="10593591" y="357450"/>
                    <a:pt x="10599066" y="355321"/>
                  </a:cubicBezTo>
                  <a:cubicBezTo>
                    <a:pt x="10604542" y="353192"/>
                    <a:pt x="10609942" y="350808"/>
                    <a:pt x="10615265" y="348172"/>
                  </a:cubicBezTo>
                  <a:cubicBezTo>
                    <a:pt x="10620589" y="345536"/>
                    <a:pt x="10625963" y="342595"/>
                    <a:pt x="10631388" y="339350"/>
                  </a:cubicBezTo>
                  <a:cubicBezTo>
                    <a:pt x="10636813" y="336106"/>
                    <a:pt x="10642415" y="332404"/>
                    <a:pt x="10648195" y="328247"/>
                  </a:cubicBezTo>
                  <a:close/>
                  <a:moveTo>
                    <a:pt x="10499338" y="328247"/>
                  </a:moveTo>
                  <a:lnTo>
                    <a:pt x="10514244" y="328247"/>
                  </a:lnTo>
                  <a:lnTo>
                    <a:pt x="10514244" y="551227"/>
                  </a:lnTo>
                  <a:lnTo>
                    <a:pt x="10478956" y="551227"/>
                  </a:lnTo>
                  <a:lnTo>
                    <a:pt x="10478956" y="371444"/>
                  </a:lnTo>
                  <a:cubicBezTo>
                    <a:pt x="10472568" y="376007"/>
                    <a:pt x="10465698" y="379885"/>
                    <a:pt x="10458347" y="383079"/>
                  </a:cubicBezTo>
                  <a:cubicBezTo>
                    <a:pt x="10450995" y="386274"/>
                    <a:pt x="10442604" y="389087"/>
                    <a:pt x="10433174" y="391521"/>
                  </a:cubicBezTo>
                  <a:lnTo>
                    <a:pt x="10433174" y="361405"/>
                  </a:lnTo>
                  <a:cubicBezTo>
                    <a:pt x="10439055" y="359479"/>
                    <a:pt x="10444734" y="357450"/>
                    <a:pt x="10450209" y="355321"/>
                  </a:cubicBezTo>
                  <a:cubicBezTo>
                    <a:pt x="10455685" y="353192"/>
                    <a:pt x="10461085" y="350808"/>
                    <a:pt x="10466408" y="348172"/>
                  </a:cubicBezTo>
                  <a:cubicBezTo>
                    <a:pt x="10471732" y="345536"/>
                    <a:pt x="10477106" y="342595"/>
                    <a:pt x="10482531" y="339350"/>
                  </a:cubicBezTo>
                  <a:cubicBezTo>
                    <a:pt x="10487956" y="336106"/>
                    <a:pt x="10493558" y="332404"/>
                    <a:pt x="10499338" y="328247"/>
                  </a:cubicBezTo>
                  <a:close/>
                  <a:moveTo>
                    <a:pt x="9777947" y="328247"/>
                  </a:moveTo>
                  <a:lnTo>
                    <a:pt x="9792853" y="328247"/>
                  </a:lnTo>
                  <a:lnTo>
                    <a:pt x="9792853" y="551227"/>
                  </a:lnTo>
                  <a:lnTo>
                    <a:pt x="9757565" y="551227"/>
                  </a:lnTo>
                  <a:lnTo>
                    <a:pt x="9757565" y="371444"/>
                  </a:lnTo>
                  <a:cubicBezTo>
                    <a:pt x="9751177" y="376007"/>
                    <a:pt x="9744307" y="379885"/>
                    <a:pt x="9736956" y="383079"/>
                  </a:cubicBezTo>
                  <a:cubicBezTo>
                    <a:pt x="9729604" y="386274"/>
                    <a:pt x="9721213" y="389087"/>
                    <a:pt x="9711783" y="391521"/>
                  </a:cubicBezTo>
                  <a:lnTo>
                    <a:pt x="9711783" y="361405"/>
                  </a:lnTo>
                  <a:cubicBezTo>
                    <a:pt x="9717664" y="359479"/>
                    <a:pt x="9723343" y="357450"/>
                    <a:pt x="9728818" y="355321"/>
                  </a:cubicBezTo>
                  <a:cubicBezTo>
                    <a:pt x="9734294" y="353192"/>
                    <a:pt x="9739694" y="350808"/>
                    <a:pt x="9745017" y="348172"/>
                  </a:cubicBezTo>
                  <a:cubicBezTo>
                    <a:pt x="9750341" y="345536"/>
                    <a:pt x="9755715" y="342595"/>
                    <a:pt x="9761140" y="339350"/>
                  </a:cubicBezTo>
                  <a:cubicBezTo>
                    <a:pt x="9766565" y="336106"/>
                    <a:pt x="9772167" y="332404"/>
                    <a:pt x="9777947" y="328247"/>
                  </a:cubicBezTo>
                  <a:close/>
                  <a:moveTo>
                    <a:pt x="9629090" y="328247"/>
                  </a:moveTo>
                  <a:lnTo>
                    <a:pt x="9643996" y="328247"/>
                  </a:lnTo>
                  <a:lnTo>
                    <a:pt x="9643996" y="551227"/>
                  </a:lnTo>
                  <a:lnTo>
                    <a:pt x="9608708" y="551227"/>
                  </a:lnTo>
                  <a:lnTo>
                    <a:pt x="9608708" y="371444"/>
                  </a:lnTo>
                  <a:cubicBezTo>
                    <a:pt x="9602320" y="376007"/>
                    <a:pt x="9595450" y="379885"/>
                    <a:pt x="9588099" y="383079"/>
                  </a:cubicBezTo>
                  <a:cubicBezTo>
                    <a:pt x="9580747" y="386274"/>
                    <a:pt x="9572356" y="389087"/>
                    <a:pt x="9562926" y="391521"/>
                  </a:cubicBezTo>
                  <a:lnTo>
                    <a:pt x="9562926" y="361405"/>
                  </a:lnTo>
                  <a:cubicBezTo>
                    <a:pt x="9568807" y="359479"/>
                    <a:pt x="9574486" y="357450"/>
                    <a:pt x="9579961" y="355321"/>
                  </a:cubicBezTo>
                  <a:cubicBezTo>
                    <a:pt x="9585437" y="353192"/>
                    <a:pt x="9590837" y="350808"/>
                    <a:pt x="9596160" y="348172"/>
                  </a:cubicBezTo>
                  <a:cubicBezTo>
                    <a:pt x="9601484" y="345536"/>
                    <a:pt x="9606858" y="342595"/>
                    <a:pt x="9612283" y="339350"/>
                  </a:cubicBezTo>
                  <a:cubicBezTo>
                    <a:pt x="9617708" y="336106"/>
                    <a:pt x="9623310" y="332404"/>
                    <a:pt x="9629090" y="328247"/>
                  </a:cubicBezTo>
                  <a:close/>
                  <a:moveTo>
                    <a:pt x="8825985" y="328247"/>
                  </a:moveTo>
                  <a:lnTo>
                    <a:pt x="8840891" y="328247"/>
                  </a:lnTo>
                  <a:lnTo>
                    <a:pt x="8840891" y="551227"/>
                  </a:lnTo>
                  <a:lnTo>
                    <a:pt x="8805603" y="551227"/>
                  </a:lnTo>
                  <a:lnTo>
                    <a:pt x="8805603" y="371444"/>
                  </a:lnTo>
                  <a:cubicBezTo>
                    <a:pt x="8799215" y="376007"/>
                    <a:pt x="8792345" y="379885"/>
                    <a:pt x="8784994" y="383079"/>
                  </a:cubicBezTo>
                  <a:cubicBezTo>
                    <a:pt x="8777642" y="386274"/>
                    <a:pt x="8769251" y="389087"/>
                    <a:pt x="8759821" y="391521"/>
                  </a:cubicBezTo>
                  <a:lnTo>
                    <a:pt x="8759821" y="361405"/>
                  </a:lnTo>
                  <a:cubicBezTo>
                    <a:pt x="8765702" y="359479"/>
                    <a:pt x="8771381" y="357450"/>
                    <a:pt x="8776856" y="355321"/>
                  </a:cubicBezTo>
                  <a:cubicBezTo>
                    <a:pt x="8782332" y="353192"/>
                    <a:pt x="8787732" y="350808"/>
                    <a:pt x="8793055" y="348172"/>
                  </a:cubicBezTo>
                  <a:cubicBezTo>
                    <a:pt x="8798379" y="345536"/>
                    <a:pt x="8803753" y="342595"/>
                    <a:pt x="8809178" y="339350"/>
                  </a:cubicBezTo>
                  <a:cubicBezTo>
                    <a:pt x="8814603" y="336106"/>
                    <a:pt x="8820205" y="332404"/>
                    <a:pt x="8825985" y="328247"/>
                  </a:cubicBezTo>
                  <a:close/>
                  <a:moveTo>
                    <a:pt x="8447378" y="328247"/>
                  </a:moveTo>
                  <a:lnTo>
                    <a:pt x="8462284" y="328247"/>
                  </a:lnTo>
                  <a:lnTo>
                    <a:pt x="8462284" y="551227"/>
                  </a:lnTo>
                  <a:lnTo>
                    <a:pt x="8426996" y="551227"/>
                  </a:lnTo>
                  <a:lnTo>
                    <a:pt x="8426996" y="371444"/>
                  </a:lnTo>
                  <a:cubicBezTo>
                    <a:pt x="8420608" y="376007"/>
                    <a:pt x="8413738" y="379885"/>
                    <a:pt x="8406387" y="383079"/>
                  </a:cubicBezTo>
                  <a:cubicBezTo>
                    <a:pt x="8399035" y="386274"/>
                    <a:pt x="8390644" y="389087"/>
                    <a:pt x="8381214" y="391521"/>
                  </a:cubicBezTo>
                  <a:lnTo>
                    <a:pt x="8381214" y="361405"/>
                  </a:lnTo>
                  <a:cubicBezTo>
                    <a:pt x="8387095" y="359479"/>
                    <a:pt x="8392774" y="357450"/>
                    <a:pt x="8398249" y="355321"/>
                  </a:cubicBezTo>
                  <a:cubicBezTo>
                    <a:pt x="8403725" y="353192"/>
                    <a:pt x="8409125" y="350808"/>
                    <a:pt x="8414448" y="348172"/>
                  </a:cubicBezTo>
                  <a:cubicBezTo>
                    <a:pt x="8419772" y="345536"/>
                    <a:pt x="8425146" y="342595"/>
                    <a:pt x="8430571" y="339350"/>
                  </a:cubicBezTo>
                  <a:cubicBezTo>
                    <a:pt x="8435996" y="336106"/>
                    <a:pt x="8441598" y="332404"/>
                    <a:pt x="8447378" y="328247"/>
                  </a:cubicBezTo>
                  <a:close/>
                  <a:moveTo>
                    <a:pt x="8298521" y="328247"/>
                  </a:moveTo>
                  <a:lnTo>
                    <a:pt x="8313427" y="328247"/>
                  </a:lnTo>
                  <a:lnTo>
                    <a:pt x="8313427" y="551227"/>
                  </a:lnTo>
                  <a:lnTo>
                    <a:pt x="8278139" y="551227"/>
                  </a:lnTo>
                  <a:lnTo>
                    <a:pt x="8278139" y="371444"/>
                  </a:lnTo>
                  <a:cubicBezTo>
                    <a:pt x="8271751" y="376007"/>
                    <a:pt x="8264882" y="379885"/>
                    <a:pt x="8257530" y="383079"/>
                  </a:cubicBezTo>
                  <a:cubicBezTo>
                    <a:pt x="8250178" y="386274"/>
                    <a:pt x="8241788" y="389087"/>
                    <a:pt x="8232357" y="391521"/>
                  </a:cubicBezTo>
                  <a:lnTo>
                    <a:pt x="8232357" y="361405"/>
                  </a:lnTo>
                  <a:cubicBezTo>
                    <a:pt x="8238238" y="359479"/>
                    <a:pt x="8243917" y="357450"/>
                    <a:pt x="8249392" y="355321"/>
                  </a:cubicBezTo>
                  <a:cubicBezTo>
                    <a:pt x="8254868" y="353192"/>
                    <a:pt x="8260268" y="350808"/>
                    <a:pt x="8265591" y="348172"/>
                  </a:cubicBezTo>
                  <a:cubicBezTo>
                    <a:pt x="8270915" y="345536"/>
                    <a:pt x="8276289" y="342595"/>
                    <a:pt x="8281714" y="339350"/>
                  </a:cubicBezTo>
                  <a:cubicBezTo>
                    <a:pt x="8287139" y="336106"/>
                    <a:pt x="8292741" y="332404"/>
                    <a:pt x="8298521" y="328247"/>
                  </a:cubicBezTo>
                  <a:close/>
                  <a:moveTo>
                    <a:pt x="8144603" y="328247"/>
                  </a:moveTo>
                  <a:lnTo>
                    <a:pt x="8159509" y="328247"/>
                  </a:lnTo>
                  <a:lnTo>
                    <a:pt x="8159509" y="551227"/>
                  </a:lnTo>
                  <a:lnTo>
                    <a:pt x="8124221" y="551227"/>
                  </a:lnTo>
                  <a:lnTo>
                    <a:pt x="8124221" y="371444"/>
                  </a:lnTo>
                  <a:cubicBezTo>
                    <a:pt x="8117833" y="376007"/>
                    <a:pt x="8110964" y="379885"/>
                    <a:pt x="8103612" y="383079"/>
                  </a:cubicBezTo>
                  <a:cubicBezTo>
                    <a:pt x="8096260" y="386274"/>
                    <a:pt x="8087870" y="389087"/>
                    <a:pt x="8078439" y="391521"/>
                  </a:cubicBezTo>
                  <a:lnTo>
                    <a:pt x="8078439" y="361405"/>
                  </a:lnTo>
                  <a:cubicBezTo>
                    <a:pt x="8084320" y="359479"/>
                    <a:pt x="8089999" y="357450"/>
                    <a:pt x="8095474" y="355321"/>
                  </a:cubicBezTo>
                  <a:cubicBezTo>
                    <a:pt x="8100950" y="353192"/>
                    <a:pt x="8106350" y="350808"/>
                    <a:pt x="8111673" y="348172"/>
                  </a:cubicBezTo>
                  <a:cubicBezTo>
                    <a:pt x="8116997" y="345536"/>
                    <a:pt x="8122371" y="342595"/>
                    <a:pt x="8127796" y="339350"/>
                  </a:cubicBezTo>
                  <a:cubicBezTo>
                    <a:pt x="8133221" y="336106"/>
                    <a:pt x="8138823" y="332404"/>
                    <a:pt x="8144603" y="328247"/>
                  </a:cubicBezTo>
                  <a:close/>
                  <a:moveTo>
                    <a:pt x="7995746" y="328247"/>
                  </a:moveTo>
                  <a:lnTo>
                    <a:pt x="8010652" y="328247"/>
                  </a:lnTo>
                  <a:lnTo>
                    <a:pt x="8010652" y="551227"/>
                  </a:lnTo>
                  <a:lnTo>
                    <a:pt x="7975364" y="551227"/>
                  </a:lnTo>
                  <a:lnTo>
                    <a:pt x="7975364" y="371444"/>
                  </a:lnTo>
                  <a:cubicBezTo>
                    <a:pt x="7968976" y="376007"/>
                    <a:pt x="7962107" y="379885"/>
                    <a:pt x="7954755" y="383079"/>
                  </a:cubicBezTo>
                  <a:cubicBezTo>
                    <a:pt x="7947403" y="386274"/>
                    <a:pt x="7939013" y="389087"/>
                    <a:pt x="7929582" y="391521"/>
                  </a:cubicBezTo>
                  <a:lnTo>
                    <a:pt x="7929582" y="361405"/>
                  </a:lnTo>
                  <a:cubicBezTo>
                    <a:pt x="7935463" y="359479"/>
                    <a:pt x="7941142" y="357450"/>
                    <a:pt x="7946617" y="355321"/>
                  </a:cubicBezTo>
                  <a:cubicBezTo>
                    <a:pt x="7952093" y="353192"/>
                    <a:pt x="7957493" y="350808"/>
                    <a:pt x="7962816" y="348172"/>
                  </a:cubicBezTo>
                  <a:cubicBezTo>
                    <a:pt x="7968140" y="345536"/>
                    <a:pt x="7973514" y="342595"/>
                    <a:pt x="7978939" y="339350"/>
                  </a:cubicBezTo>
                  <a:cubicBezTo>
                    <a:pt x="7984364" y="336106"/>
                    <a:pt x="7989966" y="332404"/>
                    <a:pt x="7995746" y="328247"/>
                  </a:cubicBezTo>
                  <a:close/>
                  <a:moveTo>
                    <a:pt x="7846889" y="328247"/>
                  </a:moveTo>
                  <a:lnTo>
                    <a:pt x="7861795" y="328247"/>
                  </a:lnTo>
                  <a:lnTo>
                    <a:pt x="7861795" y="551227"/>
                  </a:lnTo>
                  <a:lnTo>
                    <a:pt x="7826507" y="551227"/>
                  </a:lnTo>
                  <a:lnTo>
                    <a:pt x="7826507" y="371444"/>
                  </a:lnTo>
                  <a:cubicBezTo>
                    <a:pt x="7820119" y="376007"/>
                    <a:pt x="7813250" y="379885"/>
                    <a:pt x="7805898" y="383079"/>
                  </a:cubicBezTo>
                  <a:cubicBezTo>
                    <a:pt x="7798546" y="386274"/>
                    <a:pt x="7790156" y="389087"/>
                    <a:pt x="7780725" y="391521"/>
                  </a:cubicBezTo>
                  <a:lnTo>
                    <a:pt x="7780725" y="361405"/>
                  </a:lnTo>
                  <a:cubicBezTo>
                    <a:pt x="7786606" y="359479"/>
                    <a:pt x="7792285" y="357450"/>
                    <a:pt x="7797760" y="355321"/>
                  </a:cubicBezTo>
                  <a:cubicBezTo>
                    <a:pt x="7803236" y="353192"/>
                    <a:pt x="7808636" y="350808"/>
                    <a:pt x="7813959" y="348172"/>
                  </a:cubicBezTo>
                  <a:cubicBezTo>
                    <a:pt x="7819283" y="345536"/>
                    <a:pt x="7824657" y="342595"/>
                    <a:pt x="7830082" y="339350"/>
                  </a:cubicBezTo>
                  <a:cubicBezTo>
                    <a:pt x="7835507" y="336106"/>
                    <a:pt x="7841109" y="332404"/>
                    <a:pt x="7846889" y="328247"/>
                  </a:cubicBezTo>
                  <a:close/>
                  <a:moveTo>
                    <a:pt x="7494802" y="328247"/>
                  </a:moveTo>
                  <a:lnTo>
                    <a:pt x="7509708" y="328247"/>
                  </a:lnTo>
                  <a:lnTo>
                    <a:pt x="7509708" y="551227"/>
                  </a:lnTo>
                  <a:lnTo>
                    <a:pt x="7474420" y="551227"/>
                  </a:lnTo>
                  <a:lnTo>
                    <a:pt x="7474420" y="371444"/>
                  </a:lnTo>
                  <a:cubicBezTo>
                    <a:pt x="7468032" y="376007"/>
                    <a:pt x="7461163" y="379885"/>
                    <a:pt x="7453811" y="383079"/>
                  </a:cubicBezTo>
                  <a:cubicBezTo>
                    <a:pt x="7446459" y="386274"/>
                    <a:pt x="7438069" y="389087"/>
                    <a:pt x="7428638" y="391521"/>
                  </a:cubicBezTo>
                  <a:lnTo>
                    <a:pt x="7428638" y="361405"/>
                  </a:lnTo>
                  <a:cubicBezTo>
                    <a:pt x="7434519" y="359479"/>
                    <a:pt x="7440198" y="357450"/>
                    <a:pt x="7445673" y="355321"/>
                  </a:cubicBezTo>
                  <a:cubicBezTo>
                    <a:pt x="7451149" y="353192"/>
                    <a:pt x="7456549" y="350808"/>
                    <a:pt x="7461872" y="348172"/>
                  </a:cubicBezTo>
                  <a:cubicBezTo>
                    <a:pt x="7467196" y="345536"/>
                    <a:pt x="7472570" y="342595"/>
                    <a:pt x="7477995" y="339350"/>
                  </a:cubicBezTo>
                  <a:cubicBezTo>
                    <a:pt x="7483420" y="336106"/>
                    <a:pt x="7489022" y="332404"/>
                    <a:pt x="7494802" y="328247"/>
                  </a:cubicBezTo>
                  <a:close/>
                  <a:moveTo>
                    <a:pt x="7197088" y="328247"/>
                  </a:moveTo>
                  <a:lnTo>
                    <a:pt x="7211994" y="328247"/>
                  </a:lnTo>
                  <a:lnTo>
                    <a:pt x="7211994" y="551227"/>
                  </a:lnTo>
                  <a:lnTo>
                    <a:pt x="7176706" y="551227"/>
                  </a:lnTo>
                  <a:lnTo>
                    <a:pt x="7176706" y="371444"/>
                  </a:lnTo>
                  <a:cubicBezTo>
                    <a:pt x="7170318" y="376007"/>
                    <a:pt x="7163449" y="379885"/>
                    <a:pt x="7156097" y="383079"/>
                  </a:cubicBezTo>
                  <a:cubicBezTo>
                    <a:pt x="7148745" y="386274"/>
                    <a:pt x="7140355" y="389087"/>
                    <a:pt x="7130924" y="391521"/>
                  </a:cubicBezTo>
                  <a:lnTo>
                    <a:pt x="7130924" y="361405"/>
                  </a:lnTo>
                  <a:cubicBezTo>
                    <a:pt x="7136805" y="359479"/>
                    <a:pt x="7142484" y="357450"/>
                    <a:pt x="7147959" y="355321"/>
                  </a:cubicBezTo>
                  <a:cubicBezTo>
                    <a:pt x="7153435" y="353192"/>
                    <a:pt x="7158835" y="350808"/>
                    <a:pt x="7164158" y="348172"/>
                  </a:cubicBezTo>
                  <a:cubicBezTo>
                    <a:pt x="7169482" y="345536"/>
                    <a:pt x="7174856" y="342595"/>
                    <a:pt x="7180281" y="339350"/>
                  </a:cubicBezTo>
                  <a:cubicBezTo>
                    <a:pt x="7185706" y="336106"/>
                    <a:pt x="7191308" y="332404"/>
                    <a:pt x="7197088" y="328247"/>
                  </a:cubicBezTo>
                  <a:close/>
                  <a:moveTo>
                    <a:pt x="6987676" y="328247"/>
                  </a:moveTo>
                  <a:cubicBezTo>
                    <a:pt x="7035121" y="328247"/>
                    <a:pt x="7058843" y="365110"/>
                    <a:pt x="7058843" y="438834"/>
                  </a:cubicBezTo>
                  <a:cubicBezTo>
                    <a:pt x="7058843" y="475346"/>
                    <a:pt x="7052148" y="503206"/>
                    <a:pt x="7038757" y="522414"/>
                  </a:cubicBezTo>
                  <a:cubicBezTo>
                    <a:pt x="7025366" y="541622"/>
                    <a:pt x="7006634" y="551227"/>
                    <a:pt x="6982560" y="551227"/>
                  </a:cubicBezTo>
                  <a:cubicBezTo>
                    <a:pt x="6960092" y="551227"/>
                    <a:pt x="6942563" y="542049"/>
                    <a:pt x="6929975" y="523693"/>
                  </a:cubicBezTo>
                  <a:cubicBezTo>
                    <a:pt x="6917386" y="505337"/>
                    <a:pt x="6911092" y="478806"/>
                    <a:pt x="6911092" y="444101"/>
                  </a:cubicBezTo>
                  <a:cubicBezTo>
                    <a:pt x="6911092" y="405984"/>
                    <a:pt x="6917662" y="377146"/>
                    <a:pt x="6930802" y="357586"/>
                  </a:cubicBezTo>
                  <a:cubicBezTo>
                    <a:pt x="6943943" y="338027"/>
                    <a:pt x="6962900" y="328247"/>
                    <a:pt x="6987676" y="328247"/>
                  </a:cubicBezTo>
                  <a:close/>
                  <a:moveTo>
                    <a:pt x="6771166" y="328247"/>
                  </a:moveTo>
                  <a:cubicBezTo>
                    <a:pt x="6818611" y="328247"/>
                    <a:pt x="6842333" y="365110"/>
                    <a:pt x="6842333" y="438834"/>
                  </a:cubicBezTo>
                  <a:cubicBezTo>
                    <a:pt x="6842333" y="475346"/>
                    <a:pt x="6835638" y="503206"/>
                    <a:pt x="6822247" y="522414"/>
                  </a:cubicBezTo>
                  <a:cubicBezTo>
                    <a:pt x="6808856" y="541622"/>
                    <a:pt x="6790124" y="551227"/>
                    <a:pt x="6766050" y="551227"/>
                  </a:cubicBezTo>
                  <a:cubicBezTo>
                    <a:pt x="6743582" y="551227"/>
                    <a:pt x="6726053" y="542049"/>
                    <a:pt x="6713465" y="523693"/>
                  </a:cubicBezTo>
                  <a:cubicBezTo>
                    <a:pt x="6700876" y="505337"/>
                    <a:pt x="6694582" y="478806"/>
                    <a:pt x="6694582" y="444101"/>
                  </a:cubicBezTo>
                  <a:cubicBezTo>
                    <a:pt x="6694582" y="405984"/>
                    <a:pt x="6701152" y="377146"/>
                    <a:pt x="6714292" y="357586"/>
                  </a:cubicBezTo>
                  <a:cubicBezTo>
                    <a:pt x="6727433" y="338027"/>
                    <a:pt x="6746390" y="328247"/>
                    <a:pt x="6771166" y="328247"/>
                  </a:cubicBezTo>
                  <a:close/>
                  <a:moveTo>
                    <a:pt x="6624859" y="328247"/>
                  </a:moveTo>
                  <a:lnTo>
                    <a:pt x="6639765" y="328247"/>
                  </a:lnTo>
                  <a:lnTo>
                    <a:pt x="6639765" y="551227"/>
                  </a:lnTo>
                  <a:lnTo>
                    <a:pt x="6604477" y="551227"/>
                  </a:lnTo>
                  <a:lnTo>
                    <a:pt x="6604477" y="371444"/>
                  </a:lnTo>
                  <a:cubicBezTo>
                    <a:pt x="6598089" y="376007"/>
                    <a:pt x="6591220" y="379885"/>
                    <a:pt x="6583868" y="383079"/>
                  </a:cubicBezTo>
                  <a:cubicBezTo>
                    <a:pt x="6576516" y="386274"/>
                    <a:pt x="6568126" y="389087"/>
                    <a:pt x="6558695" y="391521"/>
                  </a:cubicBezTo>
                  <a:lnTo>
                    <a:pt x="6558695" y="361405"/>
                  </a:lnTo>
                  <a:cubicBezTo>
                    <a:pt x="6564576" y="359479"/>
                    <a:pt x="6570255" y="357450"/>
                    <a:pt x="6575730" y="355321"/>
                  </a:cubicBezTo>
                  <a:cubicBezTo>
                    <a:pt x="6581206" y="353192"/>
                    <a:pt x="6586606" y="350808"/>
                    <a:pt x="6591929" y="348172"/>
                  </a:cubicBezTo>
                  <a:cubicBezTo>
                    <a:pt x="6597253" y="345536"/>
                    <a:pt x="6602627" y="342595"/>
                    <a:pt x="6608052" y="339350"/>
                  </a:cubicBezTo>
                  <a:cubicBezTo>
                    <a:pt x="6613477" y="336106"/>
                    <a:pt x="6619079" y="332404"/>
                    <a:pt x="6624859" y="328247"/>
                  </a:cubicBezTo>
                  <a:close/>
                  <a:moveTo>
                    <a:pt x="6327145" y="328247"/>
                  </a:moveTo>
                  <a:lnTo>
                    <a:pt x="6342051" y="328247"/>
                  </a:lnTo>
                  <a:lnTo>
                    <a:pt x="6342051" y="551227"/>
                  </a:lnTo>
                  <a:lnTo>
                    <a:pt x="6306763" y="551227"/>
                  </a:lnTo>
                  <a:lnTo>
                    <a:pt x="6306763" y="371444"/>
                  </a:lnTo>
                  <a:cubicBezTo>
                    <a:pt x="6300375" y="376007"/>
                    <a:pt x="6293506" y="379885"/>
                    <a:pt x="6286154" y="383079"/>
                  </a:cubicBezTo>
                  <a:cubicBezTo>
                    <a:pt x="6278802" y="386274"/>
                    <a:pt x="6270412" y="389087"/>
                    <a:pt x="6260981" y="391521"/>
                  </a:cubicBezTo>
                  <a:lnTo>
                    <a:pt x="6260981" y="361405"/>
                  </a:lnTo>
                  <a:cubicBezTo>
                    <a:pt x="6266862" y="359479"/>
                    <a:pt x="6272541" y="357450"/>
                    <a:pt x="6278016" y="355321"/>
                  </a:cubicBezTo>
                  <a:cubicBezTo>
                    <a:pt x="6283492" y="353192"/>
                    <a:pt x="6288892" y="350808"/>
                    <a:pt x="6294215" y="348172"/>
                  </a:cubicBezTo>
                  <a:cubicBezTo>
                    <a:pt x="6299539" y="345536"/>
                    <a:pt x="6304913" y="342595"/>
                    <a:pt x="6310338" y="339350"/>
                  </a:cubicBezTo>
                  <a:cubicBezTo>
                    <a:pt x="6315763" y="336106"/>
                    <a:pt x="6321365" y="332404"/>
                    <a:pt x="6327145" y="328247"/>
                  </a:cubicBezTo>
                  <a:close/>
                  <a:moveTo>
                    <a:pt x="6153389" y="328247"/>
                  </a:moveTo>
                  <a:cubicBezTo>
                    <a:pt x="6200834" y="328247"/>
                    <a:pt x="6224556" y="365110"/>
                    <a:pt x="6224556" y="438834"/>
                  </a:cubicBezTo>
                  <a:cubicBezTo>
                    <a:pt x="6224556" y="475346"/>
                    <a:pt x="6217861" y="503206"/>
                    <a:pt x="6204470" y="522414"/>
                  </a:cubicBezTo>
                  <a:cubicBezTo>
                    <a:pt x="6191079" y="541622"/>
                    <a:pt x="6172347" y="551227"/>
                    <a:pt x="6148273" y="551227"/>
                  </a:cubicBezTo>
                  <a:cubicBezTo>
                    <a:pt x="6125805" y="551227"/>
                    <a:pt x="6108276" y="542049"/>
                    <a:pt x="6095688" y="523693"/>
                  </a:cubicBezTo>
                  <a:cubicBezTo>
                    <a:pt x="6083099" y="505337"/>
                    <a:pt x="6076805" y="478806"/>
                    <a:pt x="6076805" y="444101"/>
                  </a:cubicBezTo>
                  <a:cubicBezTo>
                    <a:pt x="6076805" y="405984"/>
                    <a:pt x="6083375" y="377146"/>
                    <a:pt x="6096515" y="357586"/>
                  </a:cubicBezTo>
                  <a:cubicBezTo>
                    <a:pt x="6109656" y="338027"/>
                    <a:pt x="6128613" y="328247"/>
                    <a:pt x="6153389" y="328247"/>
                  </a:cubicBezTo>
                  <a:close/>
                  <a:moveTo>
                    <a:pt x="5936879" y="328247"/>
                  </a:moveTo>
                  <a:cubicBezTo>
                    <a:pt x="5984323" y="328247"/>
                    <a:pt x="6008046" y="365110"/>
                    <a:pt x="6008046" y="438834"/>
                  </a:cubicBezTo>
                  <a:cubicBezTo>
                    <a:pt x="6008046" y="475346"/>
                    <a:pt x="6001350" y="503206"/>
                    <a:pt x="5987960" y="522414"/>
                  </a:cubicBezTo>
                  <a:cubicBezTo>
                    <a:pt x="5974568" y="541622"/>
                    <a:pt x="5955837" y="551227"/>
                    <a:pt x="5931764" y="551227"/>
                  </a:cubicBezTo>
                  <a:cubicBezTo>
                    <a:pt x="5909295" y="551227"/>
                    <a:pt x="5891766" y="542049"/>
                    <a:pt x="5879177" y="523693"/>
                  </a:cubicBezTo>
                  <a:cubicBezTo>
                    <a:pt x="5866589" y="505337"/>
                    <a:pt x="5860295" y="478806"/>
                    <a:pt x="5860295" y="444101"/>
                  </a:cubicBezTo>
                  <a:cubicBezTo>
                    <a:pt x="5860295" y="405984"/>
                    <a:pt x="5866866" y="377146"/>
                    <a:pt x="5880005" y="357586"/>
                  </a:cubicBezTo>
                  <a:cubicBezTo>
                    <a:pt x="5893145" y="338027"/>
                    <a:pt x="5912103" y="328247"/>
                    <a:pt x="5936879" y="328247"/>
                  </a:cubicBezTo>
                  <a:close/>
                  <a:moveTo>
                    <a:pt x="5712771" y="328247"/>
                  </a:moveTo>
                  <a:cubicBezTo>
                    <a:pt x="5760216" y="328247"/>
                    <a:pt x="5783939" y="365110"/>
                    <a:pt x="5783939" y="438834"/>
                  </a:cubicBezTo>
                  <a:cubicBezTo>
                    <a:pt x="5783939" y="475346"/>
                    <a:pt x="5777243" y="503206"/>
                    <a:pt x="5763853" y="522414"/>
                  </a:cubicBezTo>
                  <a:cubicBezTo>
                    <a:pt x="5750461" y="541622"/>
                    <a:pt x="5731729" y="551227"/>
                    <a:pt x="5707657" y="551227"/>
                  </a:cubicBezTo>
                  <a:cubicBezTo>
                    <a:pt x="5685187" y="551227"/>
                    <a:pt x="5667659" y="542049"/>
                    <a:pt x="5655071" y="523693"/>
                  </a:cubicBezTo>
                  <a:cubicBezTo>
                    <a:pt x="5642482" y="505337"/>
                    <a:pt x="5636188" y="478806"/>
                    <a:pt x="5636188" y="444101"/>
                  </a:cubicBezTo>
                  <a:cubicBezTo>
                    <a:pt x="5636188" y="405984"/>
                    <a:pt x="5642758" y="377146"/>
                    <a:pt x="5655899" y="357586"/>
                  </a:cubicBezTo>
                  <a:cubicBezTo>
                    <a:pt x="5669039" y="338027"/>
                    <a:pt x="5687996" y="328247"/>
                    <a:pt x="5712771" y="328247"/>
                  </a:cubicBezTo>
                  <a:close/>
                  <a:moveTo>
                    <a:pt x="5555491" y="328247"/>
                  </a:moveTo>
                  <a:lnTo>
                    <a:pt x="5570400" y="328247"/>
                  </a:lnTo>
                  <a:lnTo>
                    <a:pt x="5570400" y="551227"/>
                  </a:lnTo>
                  <a:lnTo>
                    <a:pt x="5535111" y="551227"/>
                  </a:lnTo>
                  <a:lnTo>
                    <a:pt x="5535111" y="371444"/>
                  </a:lnTo>
                  <a:cubicBezTo>
                    <a:pt x="5528722" y="376007"/>
                    <a:pt x="5521852" y="379885"/>
                    <a:pt x="5514501" y="383079"/>
                  </a:cubicBezTo>
                  <a:cubicBezTo>
                    <a:pt x="5507149" y="386274"/>
                    <a:pt x="5498759" y="389087"/>
                    <a:pt x="5489329" y="391521"/>
                  </a:cubicBezTo>
                  <a:lnTo>
                    <a:pt x="5489329" y="361405"/>
                  </a:lnTo>
                  <a:cubicBezTo>
                    <a:pt x="5495209" y="359479"/>
                    <a:pt x="5500887" y="357450"/>
                    <a:pt x="5506363" y="355321"/>
                  </a:cubicBezTo>
                  <a:cubicBezTo>
                    <a:pt x="5511839" y="353192"/>
                    <a:pt x="5517238" y="350808"/>
                    <a:pt x="5522562" y="348172"/>
                  </a:cubicBezTo>
                  <a:cubicBezTo>
                    <a:pt x="5527885" y="345536"/>
                    <a:pt x="5533260" y="342595"/>
                    <a:pt x="5538684" y="339350"/>
                  </a:cubicBezTo>
                  <a:cubicBezTo>
                    <a:pt x="5544110" y="336106"/>
                    <a:pt x="5549712" y="332404"/>
                    <a:pt x="5555491" y="328247"/>
                  </a:cubicBezTo>
                  <a:close/>
                  <a:moveTo>
                    <a:pt x="5257777" y="328247"/>
                  </a:moveTo>
                  <a:lnTo>
                    <a:pt x="5272684" y="328247"/>
                  </a:lnTo>
                  <a:lnTo>
                    <a:pt x="5272684" y="551227"/>
                  </a:lnTo>
                  <a:lnTo>
                    <a:pt x="5237397" y="551227"/>
                  </a:lnTo>
                  <a:lnTo>
                    <a:pt x="5237397" y="371444"/>
                  </a:lnTo>
                  <a:cubicBezTo>
                    <a:pt x="5231010" y="376007"/>
                    <a:pt x="5224139" y="379885"/>
                    <a:pt x="5216786" y="383079"/>
                  </a:cubicBezTo>
                  <a:cubicBezTo>
                    <a:pt x="5209436" y="386274"/>
                    <a:pt x="5201044" y="389087"/>
                    <a:pt x="5191614" y="391521"/>
                  </a:cubicBezTo>
                  <a:lnTo>
                    <a:pt x="5191614" y="361405"/>
                  </a:lnTo>
                  <a:cubicBezTo>
                    <a:pt x="5197496" y="359479"/>
                    <a:pt x="5203174" y="357450"/>
                    <a:pt x="5208650" y="355321"/>
                  </a:cubicBezTo>
                  <a:cubicBezTo>
                    <a:pt x="5214125" y="353192"/>
                    <a:pt x="5219525" y="350808"/>
                    <a:pt x="5224848" y="348172"/>
                  </a:cubicBezTo>
                  <a:cubicBezTo>
                    <a:pt x="5230172" y="345536"/>
                    <a:pt x="5235547" y="342595"/>
                    <a:pt x="5240970" y="339350"/>
                  </a:cubicBezTo>
                  <a:cubicBezTo>
                    <a:pt x="5246396" y="336106"/>
                    <a:pt x="5251999" y="332404"/>
                    <a:pt x="5257777" y="328247"/>
                  </a:cubicBezTo>
                  <a:close/>
                  <a:moveTo>
                    <a:pt x="4883032" y="328247"/>
                  </a:moveTo>
                  <a:lnTo>
                    <a:pt x="4897939" y="328247"/>
                  </a:lnTo>
                  <a:lnTo>
                    <a:pt x="4897939" y="551227"/>
                  </a:lnTo>
                  <a:lnTo>
                    <a:pt x="4862651" y="551227"/>
                  </a:lnTo>
                  <a:lnTo>
                    <a:pt x="4862651" y="371444"/>
                  </a:lnTo>
                  <a:cubicBezTo>
                    <a:pt x="4856263" y="376007"/>
                    <a:pt x="4849393" y="379885"/>
                    <a:pt x="4842041" y="383079"/>
                  </a:cubicBezTo>
                  <a:cubicBezTo>
                    <a:pt x="4834690" y="386274"/>
                    <a:pt x="4826299" y="389087"/>
                    <a:pt x="4816869" y="391521"/>
                  </a:cubicBezTo>
                  <a:lnTo>
                    <a:pt x="4816869" y="361405"/>
                  </a:lnTo>
                  <a:cubicBezTo>
                    <a:pt x="4822750" y="359479"/>
                    <a:pt x="4828428" y="357450"/>
                    <a:pt x="4833904" y="355321"/>
                  </a:cubicBezTo>
                  <a:cubicBezTo>
                    <a:pt x="4839380" y="353192"/>
                    <a:pt x="4844779" y="350808"/>
                    <a:pt x="4850103" y="348172"/>
                  </a:cubicBezTo>
                  <a:cubicBezTo>
                    <a:pt x="4855426" y="345536"/>
                    <a:pt x="4860801" y="342595"/>
                    <a:pt x="4866225" y="339350"/>
                  </a:cubicBezTo>
                  <a:cubicBezTo>
                    <a:pt x="4871651" y="336106"/>
                    <a:pt x="4877253" y="332404"/>
                    <a:pt x="4883032" y="328247"/>
                  </a:cubicBezTo>
                  <a:close/>
                  <a:moveTo>
                    <a:pt x="4739424" y="328247"/>
                  </a:moveTo>
                  <a:lnTo>
                    <a:pt x="4754331" y="328247"/>
                  </a:lnTo>
                  <a:lnTo>
                    <a:pt x="4754331" y="551227"/>
                  </a:lnTo>
                  <a:lnTo>
                    <a:pt x="4719043" y="551227"/>
                  </a:lnTo>
                  <a:lnTo>
                    <a:pt x="4719043" y="371444"/>
                  </a:lnTo>
                  <a:cubicBezTo>
                    <a:pt x="4712655" y="376007"/>
                    <a:pt x="4705785" y="379885"/>
                    <a:pt x="4698434" y="383079"/>
                  </a:cubicBezTo>
                  <a:cubicBezTo>
                    <a:pt x="4691082" y="386274"/>
                    <a:pt x="4682691" y="389087"/>
                    <a:pt x="4673261" y="391521"/>
                  </a:cubicBezTo>
                  <a:lnTo>
                    <a:pt x="4673261" y="361405"/>
                  </a:lnTo>
                  <a:cubicBezTo>
                    <a:pt x="4679142" y="359479"/>
                    <a:pt x="4684820" y="357450"/>
                    <a:pt x="4690296" y="355321"/>
                  </a:cubicBezTo>
                  <a:cubicBezTo>
                    <a:pt x="4695772" y="353192"/>
                    <a:pt x="4701171" y="350808"/>
                    <a:pt x="4706496" y="348172"/>
                  </a:cubicBezTo>
                  <a:cubicBezTo>
                    <a:pt x="4711818" y="345536"/>
                    <a:pt x="4717194" y="342595"/>
                    <a:pt x="4722617" y="339350"/>
                  </a:cubicBezTo>
                  <a:cubicBezTo>
                    <a:pt x="4728045" y="336106"/>
                    <a:pt x="4733645" y="332404"/>
                    <a:pt x="4739424" y="328247"/>
                  </a:cubicBezTo>
                  <a:close/>
                  <a:moveTo>
                    <a:pt x="4595816" y="328247"/>
                  </a:moveTo>
                  <a:lnTo>
                    <a:pt x="4610723" y="328247"/>
                  </a:lnTo>
                  <a:lnTo>
                    <a:pt x="4610723" y="551227"/>
                  </a:lnTo>
                  <a:lnTo>
                    <a:pt x="4575435" y="551227"/>
                  </a:lnTo>
                  <a:lnTo>
                    <a:pt x="4575435" y="371444"/>
                  </a:lnTo>
                  <a:cubicBezTo>
                    <a:pt x="4569047" y="376007"/>
                    <a:pt x="4562177" y="379885"/>
                    <a:pt x="4554826" y="383079"/>
                  </a:cubicBezTo>
                  <a:cubicBezTo>
                    <a:pt x="4547474" y="386274"/>
                    <a:pt x="4539083" y="389087"/>
                    <a:pt x="4529653" y="391521"/>
                  </a:cubicBezTo>
                  <a:lnTo>
                    <a:pt x="4529653" y="361405"/>
                  </a:lnTo>
                  <a:cubicBezTo>
                    <a:pt x="4535534" y="359479"/>
                    <a:pt x="4541212" y="357450"/>
                    <a:pt x="4546689" y="355321"/>
                  </a:cubicBezTo>
                  <a:cubicBezTo>
                    <a:pt x="4552164" y="353192"/>
                    <a:pt x="4557563" y="350808"/>
                    <a:pt x="4562888" y="348172"/>
                  </a:cubicBezTo>
                  <a:cubicBezTo>
                    <a:pt x="4568211" y="345536"/>
                    <a:pt x="4573585" y="342595"/>
                    <a:pt x="4579010" y="339350"/>
                  </a:cubicBezTo>
                  <a:cubicBezTo>
                    <a:pt x="4584436" y="336106"/>
                    <a:pt x="4590037" y="332404"/>
                    <a:pt x="4595816" y="328247"/>
                  </a:cubicBezTo>
                  <a:close/>
                  <a:moveTo>
                    <a:pt x="4452209" y="328247"/>
                  </a:moveTo>
                  <a:lnTo>
                    <a:pt x="4467115" y="328247"/>
                  </a:lnTo>
                  <a:lnTo>
                    <a:pt x="4467115" y="551227"/>
                  </a:lnTo>
                  <a:lnTo>
                    <a:pt x="4431828" y="551227"/>
                  </a:lnTo>
                  <a:lnTo>
                    <a:pt x="4431828" y="371444"/>
                  </a:lnTo>
                  <a:cubicBezTo>
                    <a:pt x="4425440" y="376007"/>
                    <a:pt x="4418570" y="379885"/>
                    <a:pt x="4411218" y="383079"/>
                  </a:cubicBezTo>
                  <a:cubicBezTo>
                    <a:pt x="4403866" y="386274"/>
                    <a:pt x="4395475" y="389087"/>
                    <a:pt x="4386045" y="391521"/>
                  </a:cubicBezTo>
                  <a:lnTo>
                    <a:pt x="4386045" y="361405"/>
                  </a:lnTo>
                  <a:cubicBezTo>
                    <a:pt x="4391926" y="359479"/>
                    <a:pt x="4397604" y="357450"/>
                    <a:pt x="4403080" y="355321"/>
                  </a:cubicBezTo>
                  <a:cubicBezTo>
                    <a:pt x="4408557" y="353192"/>
                    <a:pt x="4413955" y="350808"/>
                    <a:pt x="4419280" y="348172"/>
                  </a:cubicBezTo>
                  <a:cubicBezTo>
                    <a:pt x="4424602" y="345536"/>
                    <a:pt x="4429977" y="342595"/>
                    <a:pt x="4435402" y="339350"/>
                  </a:cubicBezTo>
                  <a:cubicBezTo>
                    <a:pt x="4440828" y="336106"/>
                    <a:pt x="4446429" y="332404"/>
                    <a:pt x="4452209" y="328247"/>
                  </a:cubicBezTo>
                  <a:close/>
                  <a:moveTo>
                    <a:pt x="3712039" y="328247"/>
                  </a:moveTo>
                  <a:lnTo>
                    <a:pt x="3726944" y="328247"/>
                  </a:lnTo>
                  <a:lnTo>
                    <a:pt x="3726944" y="551227"/>
                  </a:lnTo>
                  <a:lnTo>
                    <a:pt x="3691657" y="551227"/>
                  </a:lnTo>
                  <a:lnTo>
                    <a:pt x="3691657" y="371444"/>
                  </a:lnTo>
                  <a:cubicBezTo>
                    <a:pt x="3685269" y="376007"/>
                    <a:pt x="3678400" y="379885"/>
                    <a:pt x="3671049" y="383079"/>
                  </a:cubicBezTo>
                  <a:cubicBezTo>
                    <a:pt x="3663697" y="386274"/>
                    <a:pt x="3655305" y="389087"/>
                    <a:pt x="3645875" y="391521"/>
                  </a:cubicBezTo>
                  <a:lnTo>
                    <a:pt x="3645875" y="361405"/>
                  </a:lnTo>
                  <a:cubicBezTo>
                    <a:pt x="3651756" y="359479"/>
                    <a:pt x="3657435" y="357450"/>
                    <a:pt x="3662911" y="355321"/>
                  </a:cubicBezTo>
                  <a:cubicBezTo>
                    <a:pt x="3668385" y="353192"/>
                    <a:pt x="3673785" y="350808"/>
                    <a:pt x="3679110" y="348172"/>
                  </a:cubicBezTo>
                  <a:cubicBezTo>
                    <a:pt x="3684434" y="345536"/>
                    <a:pt x="3689807" y="342595"/>
                    <a:pt x="3695232" y="339350"/>
                  </a:cubicBezTo>
                  <a:cubicBezTo>
                    <a:pt x="3700657" y="336106"/>
                    <a:pt x="3706260" y="332404"/>
                    <a:pt x="3712039" y="328247"/>
                  </a:cubicBezTo>
                  <a:close/>
                  <a:moveTo>
                    <a:pt x="3563183" y="328247"/>
                  </a:moveTo>
                  <a:lnTo>
                    <a:pt x="3578089" y="328247"/>
                  </a:lnTo>
                  <a:lnTo>
                    <a:pt x="3578089" y="551227"/>
                  </a:lnTo>
                  <a:lnTo>
                    <a:pt x="3542801" y="551227"/>
                  </a:lnTo>
                  <a:lnTo>
                    <a:pt x="3542801" y="371444"/>
                  </a:lnTo>
                  <a:cubicBezTo>
                    <a:pt x="3536412" y="376007"/>
                    <a:pt x="3529543" y="379885"/>
                    <a:pt x="3522192" y="383079"/>
                  </a:cubicBezTo>
                  <a:cubicBezTo>
                    <a:pt x="3514840" y="386274"/>
                    <a:pt x="3506449" y="389087"/>
                    <a:pt x="3497018" y="391521"/>
                  </a:cubicBezTo>
                  <a:lnTo>
                    <a:pt x="3497018" y="361405"/>
                  </a:lnTo>
                  <a:cubicBezTo>
                    <a:pt x="3502899" y="359479"/>
                    <a:pt x="3508579" y="357450"/>
                    <a:pt x="3514053" y="355321"/>
                  </a:cubicBezTo>
                  <a:cubicBezTo>
                    <a:pt x="3519530" y="353192"/>
                    <a:pt x="3524929" y="350808"/>
                    <a:pt x="3530252" y="348172"/>
                  </a:cubicBezTo>
                  <a:cubicBezTo>
                    <a:pt x="3535577" y="345536"/>
                    <a:pt x="3540951" y="342595"/>
                    <a:pt x="3546374" y="339350"/>
                  </a:cubicBezTo>
                  <a:cubicBezTo>
                    <a:pt x="3551801" y="336106"/>
                    <a:pt x="3557403" y="332404"/>
                    <a:pt x="3563183" y="328247"/>
                  </a:cubicBezTo>
                  <a:close/>
                  <a:moveTo>
                    <a:pt x="2758514" y="328247"/>
                  </a:moveTo>
                  <a:lnTo>
                    <a:pt x="2773420" y="328247"/>
                  </a:lnTo>
                  <a:lnTo>
                    <a:pt x="2773420" y="551227"/>
                  </a:lnTo>
                  <a:lnTo>
                    <a:pt x="2738133" y="551227"/>
                  </a:lnTo>
                  <a:lnTo>
                    <a:pt x="2738133" y="371444"/>
                  </a:lnTo>
                  <a:cubicBezTo>
                    <a:pt x="2731744" y="376007"/>
                    <a:pt x="2724874" y="379885"/>
                    <a:pt x="2717522" y="383079"/>
                  </a:cubicBezTo>
                  <a:cubicBezTo>
                    <a:pt x="2710171" y="386274"/>
                    <a:pt x="2701780" y="389087"/>
                    <a:pt x="2692349" y="391521"/>
                  </a:cubicBezTo>
                  <a:lnTo>
                    <a:pt x="2692349" y="361405"/>
                  </a:lnTo>
                  <a:cubicBezTo>
                    <a:pt x="2698232" y="359479"/>
                    <a:pt x="2703910" y="357450"/>
                    <a:pt x="2709386" y="355321"/>
                  </a:cubicBezTo>
                  <a:cubicBezTo>
                    <a:pt x="2714860" y="353192"/>
                    <a:pt x="2720261" y="350808"/>
                    <a:pt x="2725584" y="348172"/>
                  </a:cubicBezTo>
                  <a:cubicBezTo>
                    <a:pt x="2730908" y="345536"/>
                    <a:pt x="2736281" y="342595"/>
                    <a:pt x="2741707" y="339350"/>
                  </a:cubicBezTo>
                  <a:cubicBezTo>
                    <a:pt x="2747131" y="336106"/>
                    <a:pt x="2752733" y="332404"/>
                    <a:pt x="2758514" y="328247"/>
                  </a:cubicBezTo>
                  <a:close/>
                  <a:moveTo>
                    <a:pt x="2365755" y="328247"/>
                  </a:moveTo>
                  <a:lnTo>
                    <a:pt x="2380662" y="328247"/>
                  </a:lnTo>
                  <a:lnTo>
                    <a:pt x="2380662" y="551227"/>
                  </a:lnTo>
                  <a:lnTo>
                    <a:pt x="2345374" y="551227"/>
                  </a:lnTo>
                  <a:lnTo>
                    <a:pt x="2345374" y="371444"/>
                  </a:lnTo>
                  <a:cubicBezTo>
                    <a:pt x="2338985" y="376007"/>
                    <a:pt x="2332116" y="379885"/>
                    <a:pt x="2324763" y="383079"/>
                  </a:cubicBezTo>
                  <a:cubicBezTo>
                    <a:pt x="2317412" y="386274"/>
                    <a:pt x="2309021" y="389087"/>
                    <a:pt x="2299591" y="391521"/>
                  </a:cubicBezTo>
                  <a:lnTo>
                    <a:pt x="2299591" y="361405"/>
                  </a:lnTo>
                  <a:cubicBezTo>
                    <a:pt x="2305473" y="359479"/>
                    <a:pt x="2311150" y="357450"/>
                    <a:pt x="2316626" y="355321"/>
                  </a:cubicBezTo>
                  <a:cubicBezTo>
                    <a:pt x="2322102" y="353192"/>
                    <a:pt x="2327501" y="350808"/>
                    <a:pt x="2332825" y="348172"/>
                  </a:cubicBezTo>
                  <a:cubicBezTo>
                    <a:pt x="2338148" y="345536"/>
                    <a:pt x="2343522" y="342595"/>
                    <a:pt x="2348947" y="339350"/>
                  </a:cubicBezTo>
                  <a:cubicBezTo>
                    <a:pt x="2354373" y="336106"/>
                    <a:pt x="2359975" y="332404"/>
                    <a:pt x="2365755" y="328247"/>
                  </a:cubicBezTo>
                  <a:close/>
                  <a:moveTo>
                    <a:pt x="2222148" y="328247"/>
                  </a:moveTo>
                  <a:lnTo>
                    <a:pt x="2237054" y="328247"/>
                  </a:lnTo>
                  <a:lnTo>
                    <a:pt x="2237054" y="551227"/>
                  </a:lnTo>
                  <a:lnTo>
                    <a:pt x="2201765" y="551227"/>
                  </a:lnTo>
                  <a:lnTo>
                    <a:pt x="2201765" y="371444"/>
                  </a:lnTo>
                  <a:cubicBezTo>
                    <a:pt x="2195377" y="376007"/>
                    <a:pt x="2188507" y="379885"/>
                    <a:pt x="2181155" y="383079"/>
                  </a:cubicBezTo>
                  <a:cubicBezTo>
                    <a:pt x="2173805" y="386274"/>
                    <a:pt x="2165413" y="389087"/>
                    <a:pt x="2155983" y="391521"/>
                  </a:cubicBezTo>
                  <a:lnTo>
                    <a:pt x="2155983" y="361405"/>
                  </a:lnTo>
                  <a:cubicBezTo>
                    <a:pt x="2161864" y="359479"/>
                    <a:pt x="2167543" y="357450"/>
                    <a:pt x="2173018" y="355321"/>
                  </a:cubicBezTo>
                  <a:cubicBezTo>
                    <a:pt x="2178494" y="353192"/>
                    <a:pt x="2183893" y="350808"/>
                    <a:pt x="2189217" y="348172"/>
                  </a:cubicBezTo>
                  <a:cubicBezTo>
                    <a:pt x="2194540" y="345536"/>
                    <a:pt x="2199914" y="342595"/>
                    <a:pt x="2205340" y="339350"/>
                  </a:cubicBezTo>
                  <a:cubicBezTo>
                    <a:pt x="2210765" y="336106"/>
                    <a:pt x="2216365" y="332404"/>
                    <a:pt x="2222148" y="328247"/>
                  </a:cubicBezTo>
                  <a:close/>
                  <a:moveTo>
                    <a:pt x="2078538" y="328247"/>
                  </a:moveTo>
                  <a:lnTo>
                    <a:pt x="2093445" y="328247"/>
                  </a:lnTo>
                  <a:lnTo>
                    <a:pt x="2093445" y="551227"/>
                  </a:lnTo>
                  <a:lnTo>
                    <a:pt x="2058157" y="551227"/>
                  </a:lnTo>
                  <a:lnTo>
                    <a:pt x="2058157" y="371444"/>
                  </a:lnTo>
                  <a:cubicBezTo>
                    <a:pt x="2051769" y="376007"/>
                    <a:pt x="2044900" y="379885"/>
                    <a:pt x="2037547" y="383079"/>
                  </a:cubicBezTo>
                  <a:cubicBezTo>
                    <a:pt x="2030197" y="386274"/>
                    <a:pt x="2021805" y="389087"/>
                    <a:pt x="2012375" y="391521"/>
                  </a:cubicBezTo>
                  <a:lnTo>
                    <a:pt x="2012375" y="361405"/>
                  </a:lnTo>
                  <a:cubicBezTo>
                    <a:pt x="2018256" y="359479"/>
                    <a:pt x="2023935" y="357450"/>
                    <a:pt x="2029410" y="355321"/>
                  </a:cubicBezTo>
                  <a:cubicBezTo>
                    <a:pt x="2034886" y="353192"/>
                    <a:pt x="2040286" y="350808"/>
                    <a:pt x="2045609" y="348172"/>
                  </a:cubicBezTo>
                  <a:cubicBezTo>
                    <a:pt x="2050933" y="345536"/>
                    <a:pt x="2056308" y="342595"/>
                    <a:pt x="2061730" y="339350"/>
                  </a:cubicBezTo>
                  <a:cubicBezTo>
                    <a:pt x="2067157" y="336106"/>
                    <a:pt x="2072759" y="332404"/>
                    <a:pt x="2078538" y="328247"/>
                  </a:cubicBezTo>
                  <a:close/>
                  <a:moveTo>
                    <a:pt x="1934932" y="328247"/>
                  </a:moveTo>
                  <a:lnTo>
                    <a:pt x="1949837" y="328247"/>
                  </a:lnTo>
                  <a:lnTo>
                    <a:pt x="1949837" y="551227"/>
                  </a:lnTo>
                  <a:lnTo>
                    <a:pt x="1914550" y="551227"/>
                  </a:lnTo>
                  <a:lnTo>
                    <a:pt x="1914550" y="371444"/>
                  </a:lnTo>
                  <a:cubicBezTo>
                    <a:pt x="1908163" y="376007"/>
                    <a:pt x="1901291" y="379885"/>
                    <a:pt x="1893940" y="383079"/>
                  </a:cubicBezTo>
                  <a:cubicBezTo>
                    <a:pt x="1886589" y="386274"/>
                    <a:pt x="1878199" y="389087"/>
                    <a:pt x="1868767" y="391521"/>
                  </a:cubicBezTo>
                  <a:lnTo>
                    <a:pt x="1868767" y="361405"/>
                  </a:lnTo>
                  <a:cubicBezTo>
                    <a:pt x="1874649" y="359479"/>
                    <a:pt x="1880327" y="357450"/>
                    <a:pt x="1885803" y="355321"/>
                  </a:cubicBezTo>
                  <a:cubicBezTo>
                    <a:pt x="1891278" y="353192"/>
                    <a:pt x="1896678" y="350808"/>
                    <a:pt x="1902003" y="348172"/>
                  </a:cubicBezTo>
                  <a:cubicBezTo>
                    <a:pt x="1907327" y="345536"/>
                    <a:pt x="1912700" y="342595"/>
                    <a:pt x="1918124" y="339350"/>
                  </a:cubicBezTo>
                  <a:cubicBezTo>
                    <a:pt x="1923551" y="336106"/>
                    <a:pt x="1929151" y="332404"/>
                    <a:pt x="1934932" y="328247"/>
                  </a:cubicBezTo>
                  <a:close/>
                  <a:moveTo>
                    <a:pt x="1791323" y="328247"/>
                  </a:moveTo>
                  <a:lnTo>
                    <a:pt x="1806229" y="328247"/>
                  </a:lnTo>
                  <a:lnTo>
                    <a:pt x="1806229" y="551227"/>
                  </a:lnTo>
                  <a:lnTo>
                    <a:pt x="1770942" y="551227"/>
                  </a:lnTo>
                  <a:lnTo>
                    <a:pt x="1770942" y="371444"/>
                  </a:lnTo>
                  <a:cubicBezTo>
                    <a:pt x="1764555" y="376007"/>
                    <a:pt x="1757684" y="379885"/>
                    <a:pt x="1750332" y="383079"/>
                  </a:cubicBezTo>
                  <a:cubicBezTo>
                    <a:pt x="1742981" y="386274"/>
                    <a:pt x="1734591" y="389087"/>
                    <a:pt x="1725159" y="391521"/>
                  </a:cubicBezTo>
                  <a:lnTo>
                    <a:pt x="1725159" y="361405"/>
                  </a:lnTo>
                  <a:cubicBezTo>
                    <a:pt x="1731041" y="359479"/>
                    <a:pt x="1736719" y="357450"/>
                    <a:pt x="1742195" y="355321"/>
                  </a:cubicBezTo>
                  <a:cubicBezTo>
                    <a:pt x="1747671" y="353192"/>
                    <a:pt x="1753070" y="350808"/>
                    <a:pt x="1758394" y="348172"/>
                  </a:cubicBezTo>
                  <a:cubicBezTo>
                    <a:pt x="1763717" y="345536"/>
                    <a:pt x="1769091" y="342595"/>
                    <a:pt x="1774516" y="339350"/>
                  </a:cubicBezTo>
                  <a:cubicBezTo>
                    <a:pt x="1779941" y="336106"/>
                    <a:pt x="1785543" y="332404"/>
                    <a:pt x="1791323" y="328247"/>
                  </a:cubicBezTo>
                  <a:close/>
                  <a:moveTo>
                    <a:pt x="1443625" y="328247"/>
                  </a:moveTo>
                  <a:lnTo>
                    <a:pt x="1458532" y="328247"/>
                  </a:lnTo>
                  <a:lnTo>
                    <a:pt x="1458532" y="551227"/>
                  </a:lnTo>
                  <a:lnTo>
                    <a:pt x="1423244" y="551227"/>
                  </a:lnTo>
                  <a:lnTo>
                    <a:pt x="1423244" y="371444"/>
                  </a:lnTo>
                  <a:cubicBezTo>
                    <a:pt x="1416856" y="376007"/>
                    <a:pt x="1409986" y="379885"/>
                    <a:pt x="1402634" y="383079"/>
                  </a:cubicBezTo>
                  <a:cubicBezTo>
                    <a:pt x="1395284" y="386274"/>
                    <a:pt x="1386892" y="389087"/>
                    <a:pt x="1377462" y="391521"/>
                  </a:cubicBezTo>
                  <a:lnTo>
                    <a:pt x="1377462" y="361405"/>
                  </a:lnTo>
                  <a:cubicBezTo>
                    <a:pt x="1383343" y="359479"/>
                    <a:pt x="1389022" y="357450"/>
                    <a:pt x="1394497" y="355321"/>
                  </a:cubicBezTo>
                  <a:cubicBezTo>
                    <a:pt x="1399971" y="353192"/>
                    <a:pt x="1405371" y="350808"/>
                    <a:pt x="1410696" y="348172"/>
                  </a:cubicBezTo>
                  <a:cubicBezTo>
                    <a:pt x="1416019" y="345536"/>
                    <a:pt x="1421393" y="342595"/>
                    <a:pt x="1426818" y="339350"/>
                  </a:cubicBezTo>
                  <a:cubicBezTo>
                    <a:pt x="1432244" y="336106"/>
                    <a:pt x="1437846" y="332404"/>
                    <a:pt x="1443625" y="328247"/>
                  </a:cubicBezTo>
                  <a:close/>
                  <a:moveTo>
                    <a:pt x="1145912" y="328247"/>
                  </a:moveTo>
                  <a:lnTo>
                    <a:pt x="1160818" y="328247"/>
                  </a:lnTo>
                  <a:lnTo>
                    <a:pt x="1160818" y="551227"/>
                  </a:lnTo>
                  <a:lnTo>
                    <a:pt x="1125531" y="551227"/>
                  </a:lnTo>
                  <a:lnTo>
                    <a:pt x="1125531" y="371444"/>
                  </a:lnTo>
                  <a:cubicBezTo>
                    <a:pt x="1119142" y="376007"/>
                    <a:pt x="1112273" y="379885"/>
                    <a:pt x="1104921" y="383079"/>
                  </a:cubicBezTo>
                  <a:cubicBezTo>
                    <a:pt x="1097569" y="386274"/>
                    <a:pt x="1089178" y="389087"/>
                    <a:pt x="1079749" y="391521"/>
                  </a:cubicBezTo>
                  <a:lnTo>
                    <a:pt x="1079749" y="361405"/>
                  </a:lnTo>
                  <a:cubicBezTo>
                    <a:pt x="1085630" y="359479"/>
                    <a:pt x="1091308" y="357450"/>
                    <a:pt x="1096784" y="355321"/>
                  </a:cubicBezTo>
                  <a:cubicBezTo>
                    <a:pt x="1102259" y="353192"/>
                    <a:pt x="1107659" y="350808"/>
                    <a:pt x="1112982" y="348172"/>
                  </a:cubicBezTo>
                  <a:cubicBezTo>
                    <a:pt x="1118306" y="345536"/>
                    <a:pt x="1123680" y="342595"/>
                    <a:pt x="1129105" y="339350"/>
                  </a:cubicBezTo>
                  <a:cubicBezTo>
                    <a:pt x="1134531" y="336106"/>
                    <a:pt x="1140133" y="332404"/>
                    <a:pt x="1145912" y="328247"/>
                  </a:cubicBezTo>
                  <a:close/>
                  <a:moveTo>
                    <a:pt x="934793" y="328247"/>
                  </a:moveTo>
                  <a:cubicBezTo>
                    <a:pt x="982237" y="328247"/>
                    <a:pt x="1005960" y="365110"/>
                    <a:pt x="1005960" y="438834"/>
                  </a:cubicBezTo>
                  <a:cubicBezTo>
                    <a:pt x="1005960" y="475346"/>
                    <a:pt x="999265" y="503206"/>
                    <a:pt x="985874" y="522414"/>
                  </a:cubicBezTo>
                  <a:cubicBezTo>
                    <a:pt x="972483" y="541622"/>
                    <a:pt x="953751" y="551227"/>
                    <a:pt x="929678" y="551227"/>
                  </a:cubicBezTo>
                  <a:cubicBezTo>
                    <a:pt x="907209" y="551227"/>
                    <a:pt x="889681" y="542049"/>
                    <a:pt x="877091" y="523693"/>
                  </a:cubicBezTo>
                  <a:cubicBezTo>
                    <a:pt x="864504" y="505337"/>
                    <a:pt x="858210" y="478806"/>
                    <a:pt x="858210" y="444101"/>
                  </a:cubicBezTo>
                  <a:cubicBezTo>
                    <a:pt x="858210" y="405984"/>
                    <a:pt x="864780" y="377146"/>
                    <a:pt x="877920" y="357586"/>
                  </a:cubicBezTo>
                  <a:cubicBezTo>
                    <a:pt x="891060" y="338027"/>
                    <a:pt x="910018" y="328247"/>
                    <a:pt x="934793" y="328247"/>
                  </a:cubicBezTo>
                  <a:close/>
                  <a:moveTo>
                    <a:pt x="718517" y="328247"/>
                  </a:moveTo>
                  <a:cubicBezTo>
                    <a:pt x="765962" y="328247"/>
                    <a:pt x="789684" y="365110"/>
                    <a:pt x="789684" y="438834"/>
                  </a:cubicBezTo>
                  <a:cubicBezTo>
                    <a:pt x="789684" y="475346"/>
                    <a:pt x="782988" y="503206"/>
                    <a:pt x="769597" y="522414"/>
                  </a:cubicBezTo>
                  <a:cubicBezTo>
                    <a:pt x="756207" y="541622"/>
                    <a:pt x="737474" y="551227"/>
                    <a:pt x="713402" y="551227"/>
                  </a:cubicBezTo>
                  <a:cubicBezTo>
                    <a:pt x="690932" y="551227"/>
                    <a:pt x="673405" y="542049"/>
                    <a:pt x="660816" y="523693"/>
                  </a:cubicBezTo>
                  <a:cubicBezTo>
                    <a:pt x="648228" y="505337"/>
                    <a:pt x="641934" y="478806"/>
                    <a:pt x="641934" y="444101"/>
                  </a:cubicBezTo>
                  <a:cubicBezTo>
                    <a:pt x="641934" y="405984"/>
                    <a:pt x="648503" y="377146"/>
                    <a:pt x="661644" y="357586"/>
                  </a:cubicBezTo>
                  <a:cubicBezTo>
                    <a:pt x="674784" y="338027"/>
                    <a:pt x="693742" y="328247"/>
                    <a:pt x="718517" y="328247"/>
                  </a:cubicBezTo>
                  <a:close/>
                  <a:moveTo>
                    <a:pt x="570384" y="328247"/>
                  </a:moveTo>
                  <a:lnTo>
                    <a:pt x="585291" y="328247"/>
                  </a:lnTo>
                  <a:lnTo>
                    <a:pt x="585291" y="551227"/>
                  </a:lnTo>
                  <a:lnTo>
                    <a:pt x="550003" y="551227"/>
                  </a:lnTo>
                  <a:lnTo>
                    <a:pt x="550003" y="371444"/>
                  </a:lnTo>
                  <a:cubicBezTo>
                    <a:pt x="543615" y="376007"/>
                    <a:pt x="536745" y="379885"/>
                    <a:pt x="529393" y="383079"/>
                  </a:cubicBezTo>
                  <a:cubicBezTo>
                    <a:pt x="522042" y="386274"/>
                    <a:pt x="513651" y="389087"/>
                    <a:pt x="504221" y="391521"/>
                  </a:cubicBezTo>
                  <a:lnTo>
                    <a:pt x="504221" y="361405"/>
                  </a:lnTo>
                  <a:cubicBezTo>
                    <a:pt x="510102" y="359479"/>
                    <a:pt x="515781" y="357450"/>
                    <a:pt x="521256" y="355321"/>
                  </a:cubicBezTo>
                  <a:cubicBezTo>
                    <a:pt x="526733" y="353192"/>
                    <a:pt x="532131" y="350808"/>
                    <a:pt x="537455" y="348172"/>
                  </a:cubicBezTo>
                  <a:cubicBezTo>
                    <a:pt x="542778" y="345536"/>
                    <a:pt x="548153" y="342595"/>
                    <a:pt x="553578" y="339350"/>
                  </a:cubicBezTo>
                  <a:cubicBezTo>
                    <a:pt x="559002" y="336106"/>
                    <a:pt x="564605" y="332404"/>
                    <a:pt x="570384" y="328247"/>
                  </a:cubicBezTo>
                  <a:close/>
                  <a:moveTo>
                    <a:pt x="272671" y="328247"/>
                  </a:moveTo>
                  <a:lnTo>
                    <a:pt x="287576" y="328247"/>
                  </a:lnTo>
                  <a:lnTo>
                    <a:pt x="287576" y="551227"/>
                  </a:lnTo>
                  <a:lnTo>
                    <a:pt x="252289" y="551227"/>
                  </a:lnTo>
                  <a:lnTo>
                    <a:pt x="252289" y="371444"/>
                  </a:lnTo>
                  <a:cubicBezTo>
                    <a:pt x="245901" y="376007"/>
                    <a:pt x="239031" y="379885"/>
                    <a:pt x="231681" y="383079"/>
                  </a:cubicBezTo>
                  <a:cubicBezTo>
                    <a:pt x="224328" y="386274"/>
                    <a:pt x="215938" y="389087"/>
                    <a:pt x="206507" y="391521"/>
                  </a:cubicBezTo>
                  <a:lnTo>
                    <a:pt x="206507" y="361405"/>
                  </a:lnTo>
                  <a:cubicBezTo>
                    <a:pt x="212388" y="359479"/>
                    <a:pt x="218067" y="357450"/>
                    <a:pt x="223541" y="355321"/>
                  </a:cubicBezTo>
                  <a:cubicBezTo>
                    <a:pt x="229018" y="353192"/>
                    <a:pt x="234418" y="350808"/>
                    <a:pt x="239740" y="348172"/>
                  </a:cubicBezTo>
                  <a:cubicBezTo>
                    <a:pt x="245065" y="345536"/>
                    <a:pt x="250438" y="342595"/>
                    <a:pt x="255864" y="339350"/>
                  </a:cubicBezTo>
                  <a:cubicBezTo>
                    <a:pt x="261289" y="336106"/>
                    <a:pt x="266891" y="332404"/>
                    <a:pt x="272671" y="328247"/>
                  </a:cubicBezTo>
                  <a:close/>
                  <a:moveTo>
                    <a:pt x="96910" y="328247"/>
                  </a:moveTo>
                  <a:cubicBezTo>
                    <a:pt x="144355" y="328247"/>
                    <a:pt x="168078" y="365110"/>
                    <a:pt x="168078" y="438834"/>
                  </a:cubicBezTo>
                  <a:cubicBezTo>
                    <a:pt x="168078" y="475346"/>
                    <a:pt x="161382" y="503206"/>
                    <a:pt x="147992" y="522414"/>
                  </a:cubicBezTo>
                  <a:cubicBezTo>
                    <a:pt x="134601" y="541622"/>
                    <a:pt x="115869" y="551227"/>
                    <a:pt x="91795" y="551227"/>
                  </a:cubicBezTo>
                  <a:cubicBezTo>
                    <a:pt x="69327" y="551227"/>
                    <a:pt x="51798" y="542049"/>
                    <a:pt x="39210" y="523693"/>
                  </a:cubicBezTo>
                  <a:cubicBezTo>
                    <a:pt x="26621" y="505337"/>
                    <a:pt x="20327" y="478806"/>
                    <a:pt x="20327" y="444101"/>
                  </a:cubicBezTo>
                  <a:cubicBezTo>
                    <a:pt x="20327" y="405984"/>
                    <a:pt x="26897" y="377146"/>
                    <a:pt x="40037" y="357586"/>
                  </a:cubicBezTo>
                  <a:cubicBezTo>
                    <a:pt x="53178" y="338027"/>
                    <a:pt x="72135" y="328247"/>
                    <a:pt x="96910" y="328247"/>
                  </a:cubicBezTo>
                  <a:close/>
                  <a:moveTo>
                    <a:pt x="11909636" y="27835"/>
                  </a:moveTo>
                  <a:cubicBezTo>
                    <a:pt x="11883456" y="27835"/>
                    <a:pt x="11870366" y="56673"/>
                    <a:pt x="11870366" y="114349"/>
                  </a:cubicBezTo>
                  <a:cubicBezTo>
                    <a:pt x="11870366" y="168313"/>
                    <a:pt x="11883205" y="195295"/>
                    <a:pt x="11908884" y="195295"/>
                  </a:cubicBezTo>
                  <a:cubicBezTo>
                    <a:pt x="11934160" y="195295"/>
                    <a:pt x="11946799" y="167862"/>
                    <a:pt x="11946799" y="112995"/>
                  </a:cubicBezTo>
                  <a:cubicBezTo>
                    <a:pt x="11946799" y="56221"/>
                    <a:pt x="11934411" y="27835"/>
                    <a:pt x="11909636" y="27835"/>
                  </a:cubicBezTo>
                  <a:close/>
                  <a:moveTo>
                    <a:pt x="11203074" y="27835"/>
                  </a:moveTo>
                  <a:cubicBezTo>
                    <a:pt x="11176894" y="27835"/>
                    <a:pt x="11163804" y="56673"/>
                    <a:pt x="11163804" y="114349"/>
                  </a:cubicBezTo>
                  <a:cubicBezTo>
                    <a:pt x="11163804" y="168313"/>
                    <a:pt x="11176643" y="195295"/>
                    <a:pt x="11202322" y="195295"/>
                  </a:cubicBezTo>
                  <a:cubicBezTo>
                    <a:pt x="11227598" y="195295"/>
                    <a:pt x="11240237" y="167862"/>
                    <a:pt x="11240237" y="112995"/>
                  </a:cubicBezTo>
                  <a:cubicBezTo>
                    <a:pt x="11240237" y="56221"/>
                    <a:pt x="11227849" y="27835"/>
                    <a:pt x="11203074" y="27835"/>
                  </a:cubicBezTo>
                  <a:close/>
                  <a:moveTo>
                    <a:pt x="9955555" y="27835"/>
                  </a:moveTo>
                  <a:cubicBezTo>
                    <a:pt x="9929375" y="27835"/>
                    <a:pt x="9916285" y="56673"/>
                    <a:pt x="9916285" y="114349"/>
                  </a:cubicBezTo>
                  <a:cubicBezTo>
                    <a:pt x="9916285" y="168313"/>
                    <a:pt x="9929124" y="195295"/>
                    <a:pt x="9954803" y="195295"/>
                  </a:cubicBezTo>
                  <a:cubicBezTo>
                    <a:pt x="9980079" y="195295"/>
                    <a:pt x="9992718" y="167862"/>
                    <a:pt x="9992718" y="112995"/>
                  </a:cubicBezTo>
                  <a:cubicBezTo>
                    <a:pt x="9992718" y="56221"/>
                    <a:pt x="9980330" y="27835"/>
                    <a:pt x="9955555" y="27835"/>
                  </a:cubicBezTo>
                  <a:close/>
                  <a:moveTo>
                    <a:pt x="9736111" y="27835"/>
                  </a:moveTo>
                  <a:cubicBezTo>
                    <a:pt x="9709931" y="27835"/>
                    <a:pt x="9696841" y="56673"/>
                    <a:pt x="9696841" y="114349"/>
                  </a:cubicBezTo>
                  <a:cubicBezTo>
                    <a:pt x="9696841" y="168313"/>
                    <a:pt x="9709680" y="195295"/>
                    <a:pt x="9735359" y="195295"/>
                  </a:cubicBezTo>
                  <a:cubicBezTo>
                    <a:pt x="9760635" y="195295"/>
                    <a:pt x="9773274" y="167862"/>
                    <a:pt x="9773274" y="112995"/>
                  </a:cubicBezTo>
                  <a:cubicBezTo>
                    <a:pt x="9773274" y="56221"/>
                    <a:pt x="9760886" y="27835"/>
                    <a:pt x="9736111" y="27835"/>
                  </a:cubicBezTo>
                  <a:close/>
                  <a:moveTo>
                    <a:pt x="6381466" y="27835"/>
                  </a:moveTo>
                  <a:cubicBezTo>
                    <a:pt x="6355286" y="27835"/>
                    <a:pt x="6342196" y="56673"/>
                    <a:pt x="6342196" y="114349"/>
                  </a:cubicBezTo>
                  <a:cubicBezTo>
                    <a:pt x="6342196" y="168313"/>
                    <a:pt x="6355035" y="195295"/>
                    <a:pt x="6380714" y="195295"/>
                  </a:cubicBezTo>
                  <a:cubicBezTo>
                    <a:pt x="6405991" y="195295"/>
                    <a:pt x="6418629" y="167862"/>
                    <a:pt x="6418629" y="112995"/>
                  </a:cubicBezTo>
                  <a:cubicBezTo>
                    <a:pt x="6418629" y="56221"/>
                    <a:pt x="6406241" y="27835"/>
                    <a:pt x="6381466" y="27835"/>
                  </a:cubicBezTo>
                  <a:close/>
                  <a:moveTo>
                    <a:pt x="5846380" y="27835"/>
                  </a:moveTo>
                  <a:cubicBezTo>
                    <a:pt x="5820200" y="27835"/>
                    <a:pt x="5807110" y="56673"/>
                    <a:pt x="5807110" y="114349"/>
                  </a:cubicBezTo>
                  <a:cubicBezTo>
                    <a:pt x="5807110" y="168313"/>
                    <a:pt x="5819949" y="195295"/>
                    <a:pt x="5845628" y="195295"/>
                  </a:cubicBezTo>
                  <a:cubicBezTo>
                    <a:pt x="5870906" y="195295"/>
                    <a:pt x="5883543" y="167862"/>
                    <a:pt x="5883543" y="112995"/>
                  </a:cubicBezTo>
                  <a:cubicBezTo>
                    <a:pt x="5883543" y="56221"/>
                    <a:pt x="5871155" y="27835"/>
                    <a:pt x="5846380" y="27835"/>
                  </a:cubicBezTo>
                  <a:close/>
                  <a:moveTo>
                    <a:pt x="5148730" y="27835"/>
                  </a:moveTo>
                  <a:cubicBezTo>
                    <a:pt x="5122550" y="27835"/>
                    <a:pt x="5109460" y="56673"/>
                    <a:pt x="5109460" y="114349"/>
                  </a:cubicBezTo>
                  <a:cubicBezTo>
                    <a:pt x="5109460" y="168313"/>
                    <a:pt x="5122299" y="195295"/>
                    <a:pt x="5147978" y="195295"/>
                  </a:cubicBezTo>
                  <a:cubicBezTo>
                    <a:pt x="5173255" y="195295"/>
                    <a:pt x="5185893" y="167862"/>
                    <a:pt x="5185893" y="112995"/>
                  </a:cubicBezTo>
                  <a:cubicBezTo>
                    <a:pt x="5185893" y="56221"/>
                    <a:pt x="5173505" y="27835"/>
                    <a:pt x="5148730" y="27835"/>
                  </a:cubicBezTo>
                  <a:close/>
                  <a:moveTo>
                    <a:pt x="3896993" y="27835"/>
                  </a:moveTo>
                  <a:cubicBezTo>
                    <a:pt x="3870813" y="27835"/>
                    <a:pt x="3857723" y="56673"/>
                    <a:pt x="3857723" y="114349"/>
                  </a:cubicBezTo>
                  <a:cubicBezTo>
                    <a:pt x="3857723" y="168313"/>
                    <a:pt x="3870562" y="195295"/>
                    <a:pt x="3896240" y="195295"/>
                  </a:cubicBezTo>
                  <a:cubicBezTo>
                    <a:pt x="3921517" y="195295"/>
                    <a:pt x="3934156" y="167862"/>
                    <a:pt x="3934156" y="112995"/>
                  </a:cubicBezTo>
                  <a:cubicBezTo>
                    <a:pt x="3934156" y="56221"/>
                    <a:pt x="3921768" y="27835"/>
                    <a:pt x="3896993" y="27835"/>
                  </a:cubicBezTo>
                  <a:close/>
                  <a:moveTo>
                    <a:pt x="3672329" y="27835"/>
                  </a:moveTo>
                  <a:cubicBezTo>
                    <a:pt x="3646149" y="27835"/>
                    <a:pt x="3633059" y="56673"/>
                    <a:pt x="3633059" y="114349"/>
                  </a:cubicBezTo>
                  <a:cubicBezTo>
                    <a:pt x="3633059" y="168313"/>
                    <a:pt x="3645898" y="195295"/>
                    <a:pt x="3671576" y="195295"/>
                  </a:cubicBezTo>
                  <a:cubicBezTo>
                    <a:pt x="3696853" y="195295"/>
                    <a:pt x="3709492" y="167862"/>
                    <a:pt x="3709492" y="112995"/>
                  </a:cubicBezTo>
                  <a:cubicBezTo>
                    <a:pt x="3709492" y="56221"/>
                    <a:pt x="3697104" y="27835"/>
                    <a:pt x="3672329" y="27835"/>
                  </a:cubicBezTo>
                  <a:close/>
                  <a:moveTo>
                    <a:pt x="310214" y="27835"/>
                  </a:moveTo>
                  <a:cubicBezTo>
                    <a:pt x="284034" y="27835"/>
                    <a:pt x="270944" y="56673"/>
                    <a:pt x="270944" y="114349"/>
                  </a:cubicBezTo>
                  <a:cubicBezTo>
                    <a:pt x="270944" y="168313"/>
                    <a:pt x="283783" y="195295"/>
                    <a:pt x="309462" y="195295"/>
                  </a:cubicBezTo>
                  <a:cubicBezTo>
                    <a:pt x="334739" y="195295"/>
                    <a:pt x="347377" y="167862"/>
                    <a:pt x="347377" y="112995"/>
                  </a:cubicBezTo>
                  <a:cubicBezTo>
                    <a:pt x="347377" y="56221"/>
                    <a:pt x="334989" y="27835"/>
                    <a:pt x="310214" y="27835"/>
                  </a:cubicBezTo>
                  <a:close/>
                  <a:moveTo>
                    <a:pt x="12102965" y="0"/>
                  </a:moveTo>
                  <a:lnTo>
                    <a:pt x="12117871" y="0"/>
                  </a:lnTo>
                  <a:lnTo>
                    <a:pt x="12117871" y="222980"/>
                  </a:lnTo>
                  <a:lnTo>
                    <a:pt x="12082583" y="222980"/>
                  </a:lnTo>
                  <a:lnTo>
                    <a:pt x="12082583" y="43196"/>
                  </a:lnTo>
                  <a:cubicBezTo>
                    <a:pt x="12076195" y="47760"/>
                    <a:pt x="12069325" y="51638"/>
                    <a:pt x="12061974" y="54832"/>
                  </a:cubicBezTo>
                  <a:cubicBezTo>
                    <a:pt x="12054622" y="58027"/>
                    <a:pt x="12046231" y="60840"/>
                    <a:pt x="12036801" y="63274"/>
                  </a:cubicBezTo>
                  <a:lnTo>
                    <a:pt x="12036801" y="33158"/>
                  </a:lnTo>
                  <a:cubicBezTo>
                    <a:pt x="12042682" y="31232"/>
                    <a:pt x="12048361" y="29203"/>
                    <a:pt x="12053836" y="27074"/>
                  </a:cubicBezTo>
                  <a:cubicBezTo>
                    <a:pt x="12059312" y="24945"/>
                    <a:pt x="12064712" y="22561"/>
                    <a:pt x="12070035" y="19925"/>
                  </a:cubicBezTo>
                  <a:cubicBezTo>
                    <a:pt x="12075359" y="17289"/>
                    <a:pt x="12080733" y="14348"/>
                    <a:pt x="12086158" y="11103"/>
                  </a:cubicBezTo>
                  <a:cubicBezTo>
                    <a:pt x="12091583" y="7859"/>
                    <a:pt x="12097185" y="4157"/>
                    <a:pt x="12102965" y="0"/>
                  </a:cubicBezTo>
                  <a:close/>
                  <a:moveTo>
                    <a:pt x="11911291" y="0"/>
                  </a:moveTo>
                  <a:cubicBezTo>
                    <a:pt x="11958735" y="0"/>
                    <a:pt x="11982458" y="36862"/>
                    <a:pt x="11982458" y="110587"/>
                  </a:cubicBezTo>
                  <a:cubicBezTo>
                    <a:pt x="11982458" y="147099"/>
                    <a:pt x="11975762" y="174959"/>
                    <a:pt x="11962372" y="194167"/>
                  </a:cubicBezTo>
                  <a:cubicBezTo>
                    <a:pt x="11948981" y="213375"/>
                    <a:pt x="11930249" y="222980"/>
                    <a:pt x="11906175" y="222980"/>
                  </a:cubicBezTo>
                  <a:cubicBezTo>
                    <a:pt x="11883707" y="222980"/>
                    <a:pt x="11866178" y="213802"/>
                    <a:pt x="11853590" y="195446"/>
                  </a:cubicBezTo>
                  <a:cubicBezTo>
                    <a:pt x="11841001" y="177090"/>
                    <a:pt x="11834707" y="150559"/>
                    <a:pt x="11834707" y="115854"/>
                  </a:cubicBezTo>
                  <a:cubicBezTo>
                    <a:pt x="11834707" y="77737"/>
                    <a:pt x="11841277" y="48899"/>
                    <a:pt x="11854417" y="29339"/>
                  </a:cubicBezTo>
                  <a:cubicBezTo>
                    <a:pt x="11867558" y="9780"/>
                    <a:pt x="11886515" y="0"/>
                    <a:pt x="11911291" y="0"/>
                  </a:cubicBezTo>
                  <a:close/>
                  <a:moveTo>
                    <a:pt x="11204729" y="0"/>
                  </a:moveTo>
                  <a:cubicBezTo>
                    <a:pt x="11252173" y="0"/>
                    <a:pt x="11275896" y="36862"/>
                    <a:pt x="11275896" y="110587"/>
                  </a:cubicBezTo>
                  <a:cubicBezTo>
                    <a:pt x="11275896" y="147099"/>
                    <a:pt x="11269200" y="174959"/>
                    <a:pt x="11255810" y="194167"/>
                  </a:cubicBezTo>
                  <a:cubicBezTo>
                    <a:pt x="11242419" y="213375"/>
                    <a:pt x="11223687" y="222980"/>
                    <a:pt x="11199613" y="222980"/>
                  </a:cubicBezTo>
                  <a:cubicBezTo>
                    <a:pt x="11177145" y="222980"/>
                    <a:pt x="11159616" y="213802"/>
                    <a:pt x="11147028" y="195446"/>
                  </a:cubicBezTo>
                  <a:cubicBezTo>
                    <a:pt x="11134439" y="177090"/>
                    <a:pt x="11128145" y="150559"/>
                    <a:pt x="11128145" y="115854"/>
                  </a:cubicBezTo>
                  <a:cubicBezTo>
                    <a:pt x="11128145" y="77737"/>
                    <a:pt x="11134715" y="48899"/>
                    <a:pt x="11147855" y="29339"/>
                  </a:cubicBezTo>
                  <a:cubicBezTo>
                    <a:pt x="11160996" y="9780"/>
                    <a:pt x="11179953" y="0"/>
                    <a:pt x="11204729" y="0"/>
                  </a:cubicBezTo>
                  <a:close/>
                  <a:moveTo>
                    <a:pt x="10831011" y="0"/>
                  </a:moveTo>
                  <a:lnTo>
                    <a:pt x="10845917" y="0"/>
                  </a:lnTo>
                  <a:lnTo>
                    <a:pt x="10845917" y="222980"/>
                  </a:lnTo>
                  <a:lnTo>
                    <a:pt x="10810629" y="222980"/>
                  </a:lnTo>
                  <a:lnTo>
                    <a:pt x="10810629" y="43196"/>
                  </a:lnTo>
                  <a:cubicBezTo>
                    <a:pt x="10804241" y="47760"/>
                    <a:pt x="10797371" y="51638"/>
                    <a:pt x="10790020" y="54832"/>
                  </a:cubicBezTo>
                  <a:cubicBezTo>
                    <a:pt x="10782668" y="58027"/>
                    <a:pt x="10774277" y="60840"/>
                    <a:pt x="10764847" y="63274"/>
                  </a:cubicBezTo>
                  <a:lnTo>
                    <a:pt x="10764847" y="33158"/>
                  </a:lnTo>
                  <a:cubicBezTo>
                    <a:pt x="10770728" y="31232"/>
                    <a:pt x="10776407" y="29203"/>
                    <a:pt x="10781882" y="27074"/>
                  </a:cubicBezTo>
                  <a:cubicBezTo>
                    <a:pt x="10787358" y="24945"/>
                    <a:pt x="10792758" y="22561"/>
                    <a:pt x="10798081" y="19925"/>
                  </a:cubicBezTo>
                  <a:cubicBezTo>
                    <a:pt x="10803405" y="17289"/>
                    <a:pt x="10808779" y="14348"/>
                    <a:pt x="10814204" y="11103"/>
                  </a:cubicBezTo>
                  <a:cubicBezTo>
                    <a:pt x="10819629" y="7859"/>
                    <a:pt x="10825231" y="4157"/>
                    <a:pt x="10831011" y="0"/>
                  </a:cubicBezTo>
                  <a:close/>
                  <a:moveTo>
                    <a:pt x="10458803" y="0"/>
                  </a:moveTo>
                  <a:lnTo>
                    <a:pt x="10473709" y="0"/>
                  </a:lnTo>
                  <a:lnTo>
                    <a:pt x="10473709" y="222980"/>
                  </a:lnTo>
                  <a:lnTo>
                    <a:pt x="10438421" y="222980"/>
                  </a:lnTo>
                  <a:lnTo>
                    <a:pt x="10438421" y="43196"/>
                  </a:lnTo>
                  <a:cubicBezTo>
                    <a:pt x="10432033" y="47760"/>
                    <a:pt x="10425163" y="51638"/>
                    <a:pt x="10417812" y="54832"/>
                  </a:cubicBezTo>
                  <a:cubicBezTo>
                    <a:pt x="10410460" y="58027"/>
                    <a:pt x="10402069" y="60840"/>
                    <a:pt x="10392639" y="63274"/>
                  </a:cubicBezTo>
                  <a:lnTo>
                    <a:pt x="10392639" y="33158"/>
                  </a:lnTo>
                  <a:cubicBezTo>
                    <a:pt x="10398520" y="31232"/>
                    <a:pt x="10404199" y="29203"/>
                    <a:pt x="10409674" y="27074"/>
                  </a:cubicBezTo>
                  <a:cubicBezTo>
                    <a:pt x="10415150" y="24945"/>
                    <a:pt x="10420550" y="22561"/>
                    <a:pt x="10425873" y="19925"/>
                  </a:cubicBezTo>
                  <a:cubicBezTo>
                    <a:pt x="10431197" y="17289"/>
                    <a:pt x="10436571" y="14348"/>
                    <a:pt x="10441996" y="11103"/>
                  </a:cubicBezTo>
                  <a:cubicBezTo>
                    <a:pt x="10447421" y="7859"/>
                    <a:pt x="10453023" y="4157"/>
                    <a:pt x="10458803" y="0"/>
                  </a:cubicBezTo>
                  <a:close/>
                  <a:moveTo>
                    <a:pt x="10171587" y="0"/>
                  </a:moveTo>
                  <a:lnTo>
                    <a:pt x="10186493" y="0"/>
                  </a:lnTo>
                  <a:lnTo>
                    <a:pt x="10186493" y="222980"/>
                  </a:lnTo>
                  <a:lnTo>
                    <a:pt x="10151205" y="222980"/>
                  </a:lnTo>
                  <a:lnTo>
                    <a:pt x="10151205" y="43196"/>
                  </a:lnTo>
                  <a:cubicBezTo>
                    <a:pt x="10144817" y="47760"/>
                    <a:pt x="10137947" y="51638"/>
                    <a:pt x="10130596" y="54832"/>
                  </a:cubicBezTo>
                  <a:cubicBezTo>
                    <a:pt x="10123244" y="58027"/>
                    <a:pt x="10114853" y="60840"/>
                    <a:pt x="10105423" y="63274"/>
                  </a:cubicBezTo>
                  <a:lnTo>
                    <a:pt x="10105423" y="33158"/>
                  </a:lnTo>
                  <a:cubicBezTo>
                    <a:pt x="10111304" y="31232"/>
                    <a:pt x="10116983" y="29203"/>
                    <a:pt x="10122458" y="27074"/>
                  </a:cubicBezTo>
                  <a:cubicBezTo>
                    <a:pt x="10127934" y="24945"/>
                    <a:pt x="10133334" y="22561"/>
                    <a:pt x="10138657" y="19925"/>
                  </a:cubicBezTo>
                  <a:cubicBezTo>
                    <a:pt x="10143981" y="17289"/>
                    <a:pt x="10149355" y="14348"/>
                    <a:pt x="10154780" y="11103"/>
                  </a:cubicBezTo>
                  <a:cubicBezTo>
                    <a:pt x="10160205" y="7859"/>
                    <a:pt x="10165807" y="4157"/>
                    <a:pt x="10171587" y="0"/>
                  </a:cubicBezTo>
                  <a:close/>
                  <a:moveTo>
                    <a:pt x="9957210" y="0"/>
                  </a:moveTo>
                  <a:cubicBezTo>
                    <a:pt x="10004654" y="0"/>
                    <a:pt x="10028377" y="36862"/>
                    <a:pt x="10028377" y="110587"/>
                  </a:cubicBezTo>
                  <a:cubicBezTo>
                    <a:pt x="10028377" y="147099"/>
                    <a:pt x="10021681" y="174959"/>
                    <a:pt x="10008291" y="194167"/>
                  </a:cubicBezTo>
                  <a:cubicBezTo>
                    <a:pt x="9994900" y="213375"/>
                    <a:pt x="9976168" y="222980"/>
                    <a:pt x="9952094" y="222980"/>
                  </a:cubicBezTo>
                  <a:cubicBezTo>
                    <a:pt x="9929626" y="222980"/>
                    <a:pt x="9912097" y="213802"/>
                    <a:pt x="9899509" y="195446"/>
                  </a:cubicBezTo>
                  <a:cubicBezTo>
                    <a:pt x="9886920" y="177090"/>
                    <a:pt x="9880626" y="150559"/>
                    <a:pt x="9880626" y="115854"/>
                  </a:cubicBezTo>
                  <a:cubicBezTo>
                    <a:pt x="9880626" y="77737"/>
                    <a:pt x="9887196" y="48899"/>
                    <a:pt x="9900336" y="29339"/>
                  </a:cubicBezTo>
                  <a:cubicBezTo>
                    <a:pt x="9913477" y="9780"/>
                    <a:pt x="9932434" y="0"/>
                    <a:pt x="9957210" y="0"/>
                  </a:cubicBezTo>
                  <a:close/>
                  <a:moveTo>
                    <a:pt x="9737766" y="0"/>
                  </a:moveTo>
                  <a:cubicBezTo>
                    <a:pt x="9785210" y="0"/>
                    <a:pt x="9808933" y="36862"/>
                    <a:pt x="9808933" y="110587"/>
                  </a:cubicBezTo>
                  <a:cubicBezTo>
                    <a:pt x="9808933" y="147099"/>
                    <a:pt x="9802237" y="174959"/>
                    <a:pt x="9788847" y="194167"/>
                  </a:cubicBezTo>
                  <a:cubicBezTo>
                    <a:pt x="9775456" y="213375"/>
                    <a:pt x="9756724" y="222980"/>
                    <a:pt x="9732650" y="222980"/>
                  </a:cubicBezTo>
                  <a:cubicBezTo>
                    <a:pt x="9710182" y="222980"/>
                    <a:pt x="9692653" y="213802"/>
                    <a:pt x="9680065" y="195446"/>
                  </a:cubicBezTo>
                  <a:cubicBezTo>
                    <a:pt x="9667476" y="177090"/>
                    <a:pt x="9661182" y="150559"/>
                    <a:pt x="9661182" y="115854"/>
                  </a:cubicBezTo>
                  <a:cubicBezTo>
                    <a:pt x="9661182" y="77737"/>
                    <a:pt x="9667752" y="48899"/>
                    <a:pt x="9680892" y="29339"/>
                  </a:cubicBezTo>
                  <a:cubicBezTo>
                    <a:pt x="9694033" y="9780"/>
                    <a:pt x="9712990" y="0"/>
                    <a:pt x="9737766" y="0"/>
                  </a:cubicBezTo>
                  <a:close/>
                  <a:moveTo>
                    <a:pt x="9570779" y="0"/>
                  </a:moveTo>
                  <a:lnTo>
                    <a:pt x="9585685" y="0"/>
                  </a:lnTo>
                  <a:lnTo>
                    <a:pt x="9585685" y="222980"/>
                  </a:lnTo>
                  <a:lnTo>
                    <a:pt x="9550397" y="222980"/>
                  </a:lnTo>
                  <a:lnTo>
                    <a:pt x="9550397" y="43196"/>
                  </a:lnTo>
                  <a:cubicBezTo>
                    <a:pt x="9544009" y="47760"/>
                    <a:pt x="9537139" y="51638"/>
                    <a:pt x="9529788" y="54832"/>
                  </a:cubicBezTo>
                  <a:cubicBezTo>
                    <a:pt x="9522436" y="58027"/>
                    <a:pt x="9514045" y="60840"/>
                    <a:pt x="9504615" y="63274"/>
                  </a:cubicBezTo>
                  <a:lnTo>
                    <a:pt x="9504615" y="33158"/>
                  </a:lnTo>
                  <a:cubicBezTo>
                    <a:pt x="9510496" y="31232"/>
                    <a:pt x="9516175" y="29203"/>
                    <a:pt x="9521650" y="27074"/>
                  </a:cubicBezTo>
                  <a:cubicBezTo>
                    <a:pt x="9527126" y="24945"/>
                    <a:pt x="9532526" y="22561"/>
                    <a:pt x="9537849" y="19925"/>
                  </a:cubicBezTo>
                  <a:cubicBezTo>
                    <a:pt x="9543173" y="17289"/>
                    <a:pt x="9548547" y="14348"/>
                    <a:pt x="9553972" y="11103"/>
                  </a:cubicBezTo>
                  <a:cubicBezTo>
                    <a:pt x="9559397" y="7859"/>
                    <a:pt x="9564999" y="4157"/>
                    <a:pt x="9570779" y="0"/>
                  </a:cubicBezTo>
                  <a:close/>
                  <a:moveTo>
                    <a:pt x="9283563" y="0"/>
                  </a:moveTo>
                  <a:lnTo>
                    <a:pt x="9298469" y="0"/>
                  </a:lnTo>
                  <a:lnTo>
                    <a:pt x="9298469" y="222980"/>
                  </a:lnTo>
                  <a:lnTo>
                    <a:pt x="9263181" y="222980"/>
                  </a:lnTo>
                  <a:lnTo>
                    <a:pt x="9263181" y="43196"/>
                  </a:lnTo>
                  <a:cubicBezTo>
                    <a:pt x="9256793" y="47760"/>
                    <a:pt x="9249923" y="51638"/>
                    <a:pt x="9242572" y="54832"/>
                  </a:cubicBezTo>
                  <a:cubicBezTo>
                    <a:pt x="9235220" y="58027"/>
                    <a:pt x="9226829" y="60840"/>
                    <a:pt x="9217399" y="63274"/>
                  </a:cubicBezTo>
                  <a:lnTo>
                    <a:pt x="9217399" y="33158"/>
                  </a:lnTo>
                  <a:cubicBezTo>
                    <a:pt x="9223280" y="31232"/>
                    <a:pt x="9228959" y="29203"/>
                    <a:pt x="9234434" y="27074"/>
                  </a:cubicBezTo>
                  <a:cubicBezTo>
                    <a:pt x="9239910" y="24945"/>
                    <a:pt x="9245310" y="22561"/>
                    <a:pt x="9250633" y="19925"/>
                  </a:cubicBezTo>
                  <a:cubicBezTo>
                    <a:pt x="9255957" y="17289"/>
                    <a:pt x="9261331" y="14348"/>
                    <a:pt x="9266756" y="11103"/>
                  </a:cubicBezTo>
                  <a:cubicBezTo>
                    <a:pt x="9272181" y="7859"/>
                    <a:pt x="9277783" y="4157"/>
                    <a:pt x="9283563" y="0"/>
                  </a:cubicBezTo>
                  <a:close/>
                  <a:moveTo>
                    <a:pt x="8893772" y="0"/>
                  </a:moveTo>
                  <a:lnTo>
                    <a:pt x="8908678" y="0"/>
                  </a:lnTo>
                  <a:lnTo>
                    <a:pt x="8908678" y="222980"/>
                  </a:lnTo>
                  <a:lnTo>
                    <a:pt x="8873390" y="222980"/>
                  </a:lnTo>
                  <a:lnTo>
                    <a:pt x="8873390" y="43196"/>
                  </a:lnTo>
                  <a:cubicBezTo>
                    <a:pt x="8867002" y="47760"/>
                    <a:pt x="8860132" y="51638"/>
                    <a:pt x="8852781" y="54832"/>
                  </a:cubicBezTo>
                  <a:cubicBezTo>
                    <a:pt x="8845429" y="58027"/>
                    <a:pt x="8837038" y="60840"/>
                    <a:pt x="8827608" y="63274"/>
                  </a:cubicBezTo>
                  <a:lnTo>
                    <a:pt x="8827608" y="33158"/>
                  </a:lnTo>
                  <a:cubicBezTo>
                    <a:pt x="8833489" y="31232"/>
                    <a:pt x="8839168" y="29203"/>
                    <a:pt x="8844643" y="27074"/>
                  </a:cubicBezTo>
                  <a:cubicBezTo>
                    <a:pt x="8850119" y="24945"/>
                    <a:pt x="8855519" y="22561"/>
                    <a:pt x="8860842" y="19925"/>
                  </a:cubicBezTo>
                  <a:cubicBezTo>
                    <a:pt x="8866166" y="17289"/>
                    <a:pt x="8871540" y="14348"/>
                    <a:pt x="8876965" y="11103"/>
                  </a:cubicBezTo>
                  <a:cubicBezTo>
                    <a:pt x="8882390" y="7859"/>
                    <a:pt x="8887992" y="4157"/>
                    <a:pt x="8893772" y="0"/>
                  </a:cubicBezTo>
                  <a:close/>
                  <a:moveTo>
                    <a:pt x="8750164" y="0"/>
                  </a:moveTo>
                  <a:lnTo>
                    <a:pt x="8765070" y="0"/>
                  </a:lnTo>
                  <a:lnTo>
                    <a:pt x="8765070" y="222980"/>
                  </a:lnTo>
                  <a:lnTo>
                    <a:pt x="8729782" y="222980"/>
                  </a:lnTo>
                  <a:lnTo>
                    <a:pt x="8729782" y="43196"/>
                  </a:lnTo>
                  <a:cubicBezTo>
                    <a:pt x="8723394" y="47760"/>
                    <a:pt x="8716524" y="51638"/>
                    <a:pt x="8709173" y="54832"/>
                  </a:cubicBezTo>
                  <a:cubicBezTo>
                    <a:pt x="8701821" y="58027"/>
                    <a:pt x="8693430" y="60840"/>
                    <a:pt x="8684000" y="63274"/>
                  </a:cubicBezTo>
                  <a:lnTo>
                    <a:pt x="8684000" y="33158"/>
                  </a:lnTo>
                  <a:cubicBezTo>
                    <a:pt x="8689881" y="31232"/>
                    <a:pt x="8695560" y="29203"/>
                    <a:pt x="8701035" y="27074"/>
                  </a:cubicBezTo>
                  <a:cubicBezTo>
                    <a:pt x="8706511" y="24945"/>
                    <a:pt x="8711911" y="22561"/>
                    <a:pt x="8717234" y="19925"/>
                  </a:cubicBezTo>
                  <a:cubicBezTo>
                    <a:pt x="8722558" y="17289"/>
                    <a:pt x="8727932" y="14348"/>
                    <a:pt x="8733357" y="11103"/>
                  </a:cubicBezTo>
                  <a:cubicBezTo>
                    <a:pt x="8738782" y="7859"/>
                    <a:pt x="8744384" y="4157"/>
                    <a:pt x="8750164" y="0"/>
                  </a:cubicBezTo>
                  <a:close/>
                  <a:moveTo>
                    <a:pt x="8606556" y="0"/>
                  </a:moveTo>
                  <a:lnTo>
                    <a:pt x="8621462" y="0"/>
                  </a:lnTo>
                  <a:lnTo>
                    <a:pt x="8621462" y="222980"/>
                  </a:lnTo>
                  <a:lnTo>
                    <a:pt x="8586174" y="222980"/>
                  </a:lnTo>
                  <a:lnTo>
                    <a:pt x="8586174" y="43196"/>
                  </a:lnTo>
                  <a:cubicBezTo>
                    <a:pt x="8579786" y="47760"/>
                    <a:pt x="8572916" y="51638"/>
                    <a:pt x="8565565" y="54832"/>
                  </a:cubicBezTo>
                  <a:cubicBezTo>
                    <a:pt x="8558213" y="58027"/>
                    <a:pt x="8549822" y="60840"/>
                    <a:pt x="8540392" y="63274"/>
                  </a:cubicBezTo>
                  <a:lnTo>
                    <a:pt x="8540392" y="33158"/>
                  </a:lnTo>
                  <a:cubicBezTo>
                    <a:pt x="8546273" y="31232"/>
                    <a:pt x="8551952" y="29203"/>
                    <a:pt x="8557427" y="27074"/>
                  </a:cubicBezTo>
                  <a:cubicBezTo>
                    <a:pt x="8562903" y="24945"/>
                    <a:pt x="8568303" y="22561"/>
                    <a:pt x="8573626" y="19925"/>
                  </a:cubicBezTo>
                  <a:cubicBezTo>
                    <a:pt x="8578950" y="17289"/>
                    <a:pt x="8584324" y="14348"/>
                    <a:pt x="8589749" y="11103"/>
                  </a:cubicBezTo>
                  <a:cubicBezTo>
                    <a:pt x="8595174" y="7859"/>
                    <a:pt x="8600776" y="4157"/>
                    <a:pt x="8606556" y="0"/>
                  </a:cubicBezTo>
                  <a:close/>
                  <a:moveTo>
                    <a:pt x="7844555" y="0"/>
                  </a:moveTo>
                  <a:lnTo>
                    <a:pt x="7859462" y="0"/>
                  </a:lnTo>
                  <a:lnTo>
                    <a:pt x="7859462" y="222980"/>
                  </a:lnTo>
                  <a:lnTo>
                    <a:pt x="7824174" y="222980"/>
                  </a:lnTo>
                  <a:lnTo>
                    <a:pt x="7824174" y="43196"/>
                  </a:lnTo>
                  <a:cubicBezTo>
                    <a:pt x="7817786" y="47760"/>
                    <a:pt x="7810916" y="51638"/>
                    <a:pt x="7803564" y="54832"/>
                  </a:cubicBezTo>
                  <a:cubicBezTo>
                    <a:pt x="7796213" y="58027"/>
                    <a:pt x="7787822" y="60840"/>
                    <a:pt x="7778392" y="63274"/>
                  </a:cubicBezTo>
                  <a:lnTo>
                    <a:pt x="7778392" y="33158"/>
                  </a:lnTo>
                  <a:cubicBezTo>
                    <a:pt x="7784273" y="31232"/>
                    <a:pt x="7789951" y="29203"/>
                    <a:pt x="7795427" y="27074"/>
                  </a:cubicBezTo>
                  <a:cubicBezTo>
                    <a:pt x="7800903" y="24945"/>
                    <a:pt x="7806302" y="22561"/>
                    <a:pt x="7811626" y="19925"/>
                  </a:cubicBezTo>
                  <a:cubicBezTo>
                    <a:pt x="7816949" y="17289"/>
                    <a:pt x="7822324" y="14348"/>
                    <a:pt x="7827748" y="11103"/>
                  </a:cubicBezTo>
                  <a:cubicBezTo>
                    <a:pt x="7833174" y="7859"/>
                    <a:pt x="7838776" y="4157"/>
                    <a:pt x="7844555" y="0"/>
                  </a:cubicBezTo>
                  <a:close/>
                  <a:moveTo>
                    <a:pt x="7700947" y="0"/>
                  </a:moveTo>
                  <a:lnTo>
                    <a:pt x="7715854" y="0"/>
                  </a:lnTo>
                  <a:lnTo>
                    <a:pt x="7715854" y="222980"/>
                  </a:lnTo>
                  <a:lnTo>
                    <a:pt x="7680566" y="222980"/>
                  </a:lnTo>
                  <a:lnTo>
                    <a:pt x="7680566" y="43196"/>
                  </a:lnTo>
                  <a:cubicBezTo>
                    <a:pt x="7674178" y="47760"/>
                    <a:pt x="7667308" y="51638"/>
                    <a:pt x="7659956" y="54832"/>
                  </a:cubicBezTo>
                  <a:cubicBezTo>
                    <a:pt x="7652605" y="58027"/>
                    <a:pt x="7644214" y="60840"/>
                    <a:pt x="7634784" y="63274"/>
                  </a:cubicBezTo>
                  <a:lnTo>
                    <a:pt x="7634784" y="33158"/>
                  </a:lnTo>
                  <a:cubicBezTo>
                    <a:pt x="7640665" y="31232"/>
                    <a:pt x="7646343" y="29203"/>
                    <a:pt x="7651819" y="27074"/>
                  </a:cubicBezTo>
                  <a:cubicBezTo>
                    <a:pt x="7657295" y="24945"/>
                    <a:pt x="7662694" y="22561"/>
                    <a:pt x="7668018" y="19925"/>
                  </a:cubicBezTo>
                  <a:cubicBezTo>
                    <a:pt x="7673341" y="17289"/>
                    <a:pt x="7678716" y="14348"/>
                    <a:pt x="7684140" y="11103"/>
                  </a:cubicBezTo>
                  <a:cubicBezTo>
                    <a:pt x="7689566" y="7859"/>
                    <a:pt x="7695168" y="4157"/>
                    <a:pt x="7700947" y="0"/>
                  </a:cubicBezTo>
                  <a:close/>
                  <a:moveTo>
                    <a:pt x="7413731" y="0"/>
                  </a:moveTo>
                  <a:lnTo>
                    <a:pt x="7428638" y="0"/>
                  </a:lnTo>
                  <a:lnTo>
                    <a:pt x="7428638" y="222980"/>
                  </a:lnTo>
                  <a:lnTo>
                    <a:pt x="7393350" y="222980"/>
                  </a:lnTo>
                  <a:lnTo>
                    <a:pt x="7393350" y="43196"/>
                  </a:lnTo>
                  <a:cubicBezTo>
                    <a:pt x="7386962" y="47760"/>
                    <a:pt x="7380092" y="51638"/>
                    <a:pt x="7372740" y="54832"/>
                  </a:cubicBezTo>
                  <a:cubicBezTo>
                    <a:pt x="7365389" y="58027"/>
                    <a:pt x="7356998" y="60840"/>
                    <a:pt x="7347568" y="63274"/>
                  </a:cubicBezTo>
                  <a:lnTo>
                    <a:pt x="7347568" y="33158"/>
                  </a:lnTo>
                  <a:cubicBezTo>
                    <a:pt x="7353449" y="31232"/>
                    <a:pt x="7359127" y="29203"/>
                    <a:pt x="7364603" y="27074"/>
                  </a:cubicBezTo>
                  <a:cubicBezTo>
                    <a:pt x="7370079" y="24945"/>
                    <a:pt x="7375478" y="22561"/>
                    <a:pt x="7380802" y="19925"/>
                  </a:cubicBezTo>
                  <a:cubicBezTo>
                    <a:pt x="7386125" y="17289"/>
                    <a:pt x="7391500" y="14348"/>
                    <a:pt x="7396924" y="11103"/>
                  </a:cubicBezTo>
                  <a:cubicBezTo>
                    <a:pt x="7402350" y="7859"/>
                    <a:pt x="7407952" y="4157"/>
                    <a:pt x="7413731" y="0"/>
                  </a:cubicBezTo>
                  <a:close/>
                  <a:moveTo>
                    <a:pt x="7015147" y="0"/>
                  </a:moveTo>
                  <a:lnTo>
                    <a:pt x="7030053" y="0"/>
                  </a:lnTo>
                  <a:lnTo>
                    <a:pt x="7030053" y="222980"/>
                  </a:lnTo>
                  <a:lnTo>
                    <a:pt x="6994765" y="222980"/>
                  </a:lnTo>
                  <a:lnTo>
                    <a:pt x="6994765" y="43196"/>
                  </a:lnTo>
                  <a:cubicBezTo>
                    <a:pt x="6988377" y="47760"/>
                    <a:pt x="6981508" y="51638"/>
                    <a:pt x="6974156" y="54832"/>
                  </a:cubicBezTo>
                  <a:cubicBezTo>
                    <a:pt x="6966804" y="58027"/>
                    <a:pt x="6958414" y="60840"/>
                    <a:pt x="6948983" y="63274"/>
                  </a:cubicBezTo>
                  <a:lnTo>
                    <a:pt x="6948983" y="33158"/>
                  </a:lnTo>
                  <a:cubicBezTo>
                    <a:pt x="6954864" y="31232"/>
                    <a:pt x="6960543" y="29203"/>
                    <a:pt x="6966018" y="27074"/>
                  </a:cubicBezTo>
                  <a:cubicBezTo>
                    <a:pt x="6971494" y="24945"/>
                    <a:pt x="6976894" y="22561"/>
                    <a:pt x="6982217" y="19925"/>
                  </a:cubicBezTo>
                  <a:cubicBezTo>
                    <a:pt x="6987541" y="17289"/>
                    <a:pt x="6992915" y="14348"/>
                    <a:pt x="6998340" y="11103"/>
                  </a:cubicBezTo>
                  <a:cubicBezTo>
                    <a:pt x="7003765" y="7859"/>
                    <a:pt x="7009367" y="4157"/>
                    <a:pt x="7015147" y="0"/>
                  </a:cubicBezTo>
                  <a:close/>
                  <a:moveTo>
                    <a:pt x="6871539" y="0"/>
                  </a:moveTo>
                  <a:lnTo>
                    <a:pt x="6886445" y="0"/>
                  </a:lnTo>
                  <a:lnTo>
                    <a:pt x="6886445" y="222980"/>
                  </a:lnTo>
                  <a:lnTo>
                    <a:pt x="6851157" y="222980"/>
                  </a:lnTo>
                  <a:lnTo>
                    <a:pt x="6851157" y="43196"/>
                  </a:lnTo>
                  <a:cubicBezTo>
                    <a:pt x="6844769" y="47760"/>
                    <a:pt x="6837900" y="51638"/>
                    <a:pt x="6830548" y="54832"/>
                  </a:cubicBezTo>
                  <a:cubicBezTo>
                    <a:pt x="6823196" y="58027"/>
                    <a:pt x="6814806" y="60840"/>
                    <a:pt x="6805375" y="63274"/>
                  </a:cubicBezTo>
                  <a:lnTo>
                    <a:pt x="6805375" y="33158"/>
                  </a:lnTo>
                  <a:cubicBezTo>
                    <a:pt x="6811256" y="31232"/>
                    <a:pt x="6816935" y="29203"/>
                    <a:pt x="6822410" y="27074"/>
                  </a:cubicBezTo>
                  <a:cubicBezTo>
                    <a:pt x="6827886" y="24945"/>
                    <a:pt x="6833286" y="22561"/>
                    <a:pt x="6838609" y="19925"/>
                  </a:cubicBezTo>
                  <a:cubicBezTo>
                    <a:pt x="6843933" y="17289"/>
                    <a:pt x="6849307" y="14348"/>
                    <a:pt x="6854732" y="11103"/>
                  </a:cubicBezTo>
                  <a:cubicBezTo>
                    <a:pt x="6860157" y="7859"/>
                    <a:pt x="6865759" y="4157"/>
                    <a:pt x="6871539" y="0"/>
                  </a:cubicBezTo>
                  <a:close/>
                  <a:moveTo>
                    <a:pt x="6727931" y="0"/>
                  </a:moveTo>
                  <a:lnTo>
                    <a:pt x="6742837" y="0"/>
                  </a:lnTo>
                  <a:lnTo>
                    <a:pt x="6742837" y="222980"/>
                  </a:lnTo>
                  <a:lnTo>
                    <a:pt x="6707549" y="222980"/>
                  </a:lnTo>
                  <a:lnTo>
                    <a:pt x="6707549" y="43196"/>
                  </a:lnTo>
                  <a:cubicBezTo>
                    <a:pt x="6701161" y="47760"/>
                    <a:pt x="6694292" y="51638"/>
                    <a:pt x="6686940" y="54832"/>
                  </a:cubicBezTo>
                  <a:cubicBezTo>
                    <a:pt x="6679588" y="58027"/>
                    <a:pt x="6671198" y="60840"/>
                    <a:pt x="6661767" y="63274"/>
                  </a:cubicBezTo>
                  <a:lnTo>
                    <a:pt x="6661767" y="33158"/>
                  </a:lnTo>
                  <a:cubicBezTo>
                    <a:pt x="6667648" y="31232"/>
                    <a:pt x="6673327" y="29203"/>
                    <a:pt x="6678802" y="27074"/>
                  </a:cubicBezTo>
                  <a:cubicBezTo>
                    <a:pt x="6684278" y="24945"/>
                    <a:pt x="6689678" y="22561"/>
                    <a:pt x="6695001" y="19925"/>
                  </a:cubicBezTo>
                  <a:cubicBezTo>
                    <a:pt x="6700325" y="17289"/>
                    <a:pt x="6705699" y="14348"/>
                    <a:pt x="6711124" y="11103"/>
                  </a:cubicBezTo>
                  <a:cubicBezTo>
                    <a:pt x="6716549" y="7859"/>
                    <a:pt x="6722151" y="4157"/>
                    <a:pt x="6727931" y="0"/>
                  </a:cubicBezTo>
                  <a:close/>
                  <a:moveTo>
                    <a:pt x="6584323" y="0"/>
                  </a:moveTo>
                  <a:lnTo>
                    <a:pt x="6599229" y="0"/>
                  </a:lnTo>
                  <a:lnTo>
                    <a:pt x="6599229" y="222980"/>
                  </a:lnTo>
                  <a:lnTo>
                    <a:pt x="6563941" y="222980"/>
                  </a:lnTo>
                  <a:lnTo>
                    <a:pt x="6563941" y="43196"/>
                  </a:lnTo>
                  <a:cubicBezTo>
                    <a:pt x="6557553" y="47760"/>
                    <a:pt x="6550684" y="51638"/>
                    <a:pt x="6543332" y="54832"/>
                  </a:cubicBezTo>
                  <a:cubicBezTo>
                    <a:pt x="6535980" y="58027"/>
                    <a:pt x="6527590" y="60840"/>
                    <a:pt x="6518159" y="63274"/>
                  </a:cubicBezTo>
                  <a:lnTo>
                    <a:pt x="6518159" y="33158"/>
                  </a:lnTo>
                  <a:cubicBezTo>
                    <a:pt x="6524040" y="31232"/>
                    <a:pt x="6529719" y="29203"/>
                    <a:pt x="6535194" y="27074"/>
                  </a:cubicBezTo>
                  <a:cubicBezTo>
                    <a:pt x="6540670" y="24945"/>
                    <a:pt x="6546070" y="22561"/>
                    <a:pt x="6551393" y="19925"/>
                  </a:cubicBezTo>
                  <a:cubicBezTo>
                    <a:pt x="6556717" y="17289"/>
                    <a:pt x="6562091" y="14348"/>
                    <a:pt x="6567516" y="11103"/>
                  </a:cubicBezTo>
                  <a:cubicBezTo>
                    <a:pt x="6572941" y="7859"/>
                    <a:pt x="6578543" y="4157"/>
                    <a:pt x="6584323" y="0"/>
                  </a:cubicBezTo>
                  <a:close/>
                  <a:moveTo>
                    <a:pt x="6383121" y="0"/>
                  </a:moveTo>
                  <a:cubicBezTo>
                    <a:pt x="6430566" y="0"/>
                    <a:pt x="6454288" y="36862"/>
                    <a:pt x="6454288" y="110587"/>
                  </a:cubicBezTo>
                  <a:cubicBezTo>
                    <a:pt x="6454288" y="147099"/>
                    <a:pt x="6447593" y="174959"/>
                    <a:pt x="6434202" y="194167"/>
                  </a:cubicBezTo>
                  <a:cubicBezTo>
                    <a:pt x="6420811" y="213375"/>
                    <a:pt x="6402079" y="222980"/>
                    <a:pt x="6378005" y="222980"/>
                  </a:cubicBezTo>
                  <a:cubicBezTo>
                    <a:pt x="6355537" y="222980"/>
                    <a:pt x="6338008" y="213802"/>
                    <a:pt x="6325420" y="195446"/>
                  </a:cubicBezTo>
                  <a:cubicBezTo>
                    <a:pt x="6312831" y="177090"/>
                    <a:pt x="6306537" y="150559"/>
                    <a:pt x="6306537" y="115854"/>
                  </a:cubicBezTo>
                  <a:cubicBezTo>
                    <a:pt x="6306537" y="77737"/>
                    <a:pt x="6313107" y="48899"/>
                    <a:pt x="6326247" y="29339"/>
                  </a:cubicBezTo>
                  <a:cubicBezTo>
                    <a:pt x="6339388" y="9780"/>
                    <a:pt x="6358345" y="0"/>
                    <a:pt x="6383121" y="0"/>
                  </a:cubicBezTo>
                  <a:close/>
                  <a:moveTo>
                    <a:pt x="6047993" y="0"/>
                  </a:moveTo>
                  <a:lnTo>
                    <a:pt x="6062899" y="0"/>
                  </a:lnTo>
                  <a:lnTo>
                    <a:pt x="6062899" y="222980"/>
                  </a:lnTo>
                  <a:lnTo>
                    <a:pt x="6027612" y="222980"/>
                  </a:lnTo>
                  <a:lnTo>
                    <a:pt x="6027612" y="43196"/>
                  </a:lnTo>
                  <a:cubicBezTo>
                    <a:pt x="6021223" y="47760"/>
                    <a:pt x="6014354" y="51638"/>
                    <a:pt x="6007002" y="54832"/>
                  </a:cubicBezTo>
                  <a:cubicBezTo>
                    <a:pt x="5999651" y="58027"/>
                    <a:pt x="5991260" y="60840"/>
                    <a:pt x="5981830" y="63274"/>
                  </a:cubicBezTo>
                  <a:lnTo>
                    <a:pt x="5981830" y="33158"/>
                  </a:lnTo>
                  <a:cubicBezTo>
                    <a:pt x="5987711" y="31232"/>
                    <a:pt x="5993390" y="29203"/>
                    <a:pt x="5998864" y="27074"/>
                  </a:cubicBezTo>
                  <a:cubicBezTo>
                    <a:pt x="6004341" y="24945"/>
                    <a:pt x="6009740" y="22561"/>
                    <a:pt x="6015063" y="19925"/>
                  </a:cubicBezTo>
                  <a:cubicBezTo>
                    <a:pt x="6020387" y="17289"/>
                    <a:pt x="6025761" y="14348"/>
                    <a:pt x="6031186" y="11103"/>
                  </a:cubicBezTo>
                  <a:cubicBezTo>
                    <a:pt x="6036611" y="7859"/>
                    <a:pt x="6042214" y="4157"/>
                    <a:pt x="6047993" y="0"/>
                  </a:cubicBezTo>
                  <a:close/>
                  <a:moveTo>
                    <a:pt x="5848035" y="0"/>
                  </a:moveTo>
                  <a:cubicBezTo>
                    <a:pt x="5895480" y="0"/>
                    <a:pt x="5919202" y="36862"/>
                    <a:pt x="5919202" y="110587"/>
                  </a:cubicBezTo>
                  <a:cubicBezTo>
                    <a:pt x="5919202" y="147099"/>
                    <a:pt x="5912507" y="174959"/>
                    <a:pt x="5899116" y="194167"/>
                  </a:cubicBezTo>
                  <a:cubicBezTo>
                    <a:pt x="5885725" y="213375"/>
                    <a:pt x="5866993" y="222980"/>
                    <a:pt x="5842919" y="222980"/>
                  </a:cubicBezTo>
                  <a:cubicBezTo>
                    <a:pt x="5820451" y="222980"/>
                    <a:pt x="5802922" y="213802"/>
                    <a:pt x="5790334" y="195446"/>
                  </a:cubicBezTo>
                  <a:cubicBezTo>
                    <a:pt x="5777745" y="177090"/>
                    <a:pt x="5771452" y="150559"/>
                    <a:pt x="5771452" y="115854"/>
                  </a:cubicBezTo>
                  <a:cubicBezTo>
                    <a:pt x="5771452" y="77737"/>
                    <a:pt x="5778021" y="48899"/>
                    <a:pt x="5791162" y="29339"/>
                  </a:cubicBezTo>
                  <a:cubicBezTo>
                    <a:pt x="5804303" y="9780"/>
                    <a:pt x="5823259" y="0"/>
                    <a:pt x="5848035" y="0"/>
                  </a:cubicBezTo>
                  <a:close/>
                  <a:moveTo>
                    <a:pt x="5150385" y="0"/>
                  </a:moveTo>
                  <a:cubicBezTo>
                    <a:pt x="5197830" y="0"/>
                    <a:pt x="5221552" y="36862"/>
                    <a:pt x="5221552" y="110587"/>
                  </a:cubicBezTo>
                  <a:cubicBezTo>
                    <a:pt x="5221552" y="147099"/>
                    <a:pt x="5214857" y="174959"/>
                    <a:pt x="5201466" y="194167"/>
                  </a:cubicBezTo>
                  <a:cubicBezTo>
                    <a:pt x="5188075" y="213375"/>
                    <a:pt x="5169343" y="222980"/>
                    <a:pt x="5145269" y="222980"/>
                  </a:cubicBezTo>
                  <a:cubicBezTo>
                    <a:pt x="5122801" y="222980"/>
                    <a:pt x="5105272" y="213802"/>
                    <a:pt x="5092684" y="195446"/>
                  </a:cubicBezTo>
                  <a:cubicBezTo>
                    <a:pt x="5080095" y="177090"/>
                    <a:pt x="5073801" y="150559"/>
                    <a:pt x="5073801" y="115854"/>
                  </a:cubicBezTo>
                  <a:cubicBezTo>
                    <a:pt x="5073801" y="77737"/>
                    <a:pt x="5080371" y="48899"/>
                    <a:pt x="5093512" y="29339"/>
                  </a:cubicBezTo>
                  <a:cubicBezTo>
                    <a:pt x="5106653" y="9780"/>
                    <a:pt x="5125610" y="0"/>
                    <a:pt x="5150385" y="0"/>
                  </a:cubicBezTo>
                  <a:close/>
                  <a:moveTo>
                    <a:pt x="4776040" y="0"/>
                  </a:moveTo>
                  <a:lnTo>
                    <a:pt x="4790946" y="0"/>
                  </a:lnTo>
                  <a:lnTo>
                    <a:pt x="4790946" y="222980"/>
                  </a:lnTo>
                  <a:lnTo>
                    <a:pt x="4755658" y="222980"/>
                  </a:lnTo>
                  <a:lnTo>
                    <a:pt x="4755658" y="43196"/>
                  </a:lnTo>
                  <a:cubicBezTo>
                    <a:pt x="4749270" y="47760"/>
                    <a:pt x="4742401" y="51638"/>
                    <a:pt x="4735049" y="54832"/>
                  </a:cubicBezTo>
                  <a:cubicBezTo>
                    <a:pt x="4727697" y="58027"/>
                    <a:pt x="4719307" y="60840"/>
                    <a:pt x="4709876" y="63274"/>
                  </a:cubicBezTo>
                  <a:lnTo>
                    <a:pt x="4709876" y="33158"/>
                  </a:lnTo>
                  <a:cubicBezTo>
                    <a:pt x="4715757" y="31232"/>
                    <a:pt x="4721436" y="29203"/>
                    <a:pt x="4726911" y="27074"/>
                  </a:cubicBezTo>
                  <a:cubicBezTo>
                    <a:pt x="4732387" y="24945"/>
                    <a:pt x="4737787" y="22561"/>
                    <a:pt x="4743110" y="19925"/>
                  </a:cubicBezTo>
                  <a:cubicBezTo>
                    <a:pt x="4748435" y="17289"/>
                    <a:pt x="4753808" y="14348"/>
                    <a:pt x="4759233" y="11103"/>
                  </a:cubicBezTo>
                  <a:cubicBezTo>
                    <a:pt x="4764658" y="7859"/>
                    <a:pt x="4770260" y="4157"/>
                    <a:pt x="4776040" y="0"/>
                  </a:cubicBezTo>
                  <a:close/>
                  <a:moveTo>
                    <a:pt x="4406756" y="0"/>
                  </a:moveTo>
                  <a:lnTo>
                    <a:pt x="4421663" y="0"/>
                  </a:lnTo>
                  <a:lnTo>
                    <a:pt x="4421663" y="222980"/>
                  </a:lnTo>
                  <a:lnTo>
                    <a:pt x="4386375" y="222980"/>
                  </a:lnTo>
                  <a:lnTo>
                    <a:pt x="4386375" y="43196"/>
                  </a:lnTo>
                  <a:cubicBezTo>
                    <a:pt x="4379987" y="47760"/>
                    <a:pt x="4373117" y="51638"/>
                    <a:pt x="4365765" y="54832"/>
                  </a:cubicBezTo>
                  <a:cubicBezTo>
                    <a:pt x="4358414" y="58027"/>
                    <a:pt x="4350023" y="60840"/>
                    <a:pt x="4340593" y="63274"/>
                  </a:cubicBezTo>
                  <a:lnTo>
                    <a:pt x="4340593" y="33158"/>
                  </a:lnTo>
                  <a:cubicBezTo>
                    <a:pt x="4346474" y="31232"/>
                    <a:pt x="4352152" y="29203"/>
                    <a:pt x="4357628" y="27074"/>
                  </a:cubicBezTo>
                  <a:cubicBezTo>
                    <a:pt x="4363104" y="24945"/>
                    <a:pt x="4368503" y="22561"/>
                    <a:pt x="4373827" y="19925"/>
                  </a:cubicBezTo>
                  <a:cubicBezTo>
                    <a:pt x="4379150" y="17289"/>
                    <a:pt x="4384525" y="14348"/>
                    <a:pt x="4389949" y="11103"/>
                  </a:cubicBezTo>
                  <a:cubicBezTo>
                    <a:pt x="4395375" y="7859"/>
                    <a:pt x="4400977" y="4157"/>
                    <a:pt x="4406756" y="0"/>
                  </a:cubicBezTo>
                  <a:close/>
                  <a:moveTo>
                    <a:pt x="4106219" y="0"/>
                  </a:moveTo>
                  <a:lnTo>
                    <a:pt x="4121125" y="0"/>
                  </a:lnTo>
                  <a:lnTo>
                    <a:pt x="4121125" y="222980"/>
                  </a:lnTo>
                  <a:lnTo>
                    <a:pt x="4085837" y="222980"/>
                  </a:lnTo>
                  <a:lnTo>
                    <a:pt x="4085837" y="43196"/>
                  </a:lnTo>
                  <a:cubicBezTo>
                    <a:pt x="4079449" y="47760"/>
                    <a:pt x="4072579" y="51638"/>
                    <a:pt x="4065228" y="54832"/>
                  </a:cubicBezTo>
                  <a:cubicBezTo>
                    <a:pt x="4057876" y="58027"/>
                    <a:pt x="4049485" y="60840"/>
                    <a:pt x="4040055" y="63274"/>
                  </a:cubicBezTo>
                  <a:lnTo>
                    <a:pt x="4040055" y="33158"/>
                  </a:lnTo>
                  <a:cubicBezTo>
                    <a:pt x="4045936" y="31232"/>
                    <a:pt x="4051615" y="29203"/>
                    <a:pt x="4057090" y="27074"/>
                  </a:cubicBezTo>
                  <a:cubicBezTo>
                    <a:pt x="4062566" y="24945"/>
                    <a:pt x="4067965" y="22561"/>
                    <a:pt x="4073289" y="19925"/>
                  </a:cubicBezTo>
                  <a:cubicBezTo>
                    <a:pt x="4078613" y="17289"/>
                    <a:pt x="4083987" y="14348"/>
                    <a:pt x="4089411" y="11103"/>
                  </a:cubicBezTo>
                  <a:cubicBezTo>
                    <a:pt x="4094837" y="7859"/>
                    <a:pt x="4100439" y="4157"/>
                    <a:pt x="4106219" y="0"/>
                  </a:cubicBezTo>
                  <a:close/>
                  <a:moveTo>
                    <a:pt x="3898647" y="0"/>
                  </a:moveTo>
                  <a:cubicBezTo>
                    <a:pt x="3946092" y="0"/>
                    <a:pt x="3969815" y="36862"/>
                    <a:pt x="3969815" y="110587"/>
                  </a:cubicBezTo>
                  <a:cubicBezTo>
                    <a:pt x="3969815" y="147099"/>
                    <a:pt x="3963119" y="174959"/>
                    <a:pt x="3949729" y="194167"/>
                  </a:cubicBezTo>
                  <a:cubicBezTo>
                    <a:pt x="3936338" y="213375"/>
                    <a:pt x="3917605" y="222980"/>
                    <a:pt x="3893532" y="222980"/>
                  </a:cubicBezTo>
                  <a:cubicBezTo>
                    <a:pt x="3871063" y="222980"/>
                    <a:pt x="3853535" y="213802"/>
                    <a:pt x="3840947" y="195446"/>
                  </a:cubicBezTo>
                  <a:cubicBezTo>
                    <a:pt x="3828358" y="177090"/>
                    <a:pt x="3822064" y="150559"/>
                    <a:pt x="3822064" y="115854"/>
                  </a:cubicBezTo>
                  <a:cubicBezTo>
                    <a:pt x="3822064" y="77737"/>
                    <a:pt x="3828634" y="48899"/>
                    <a:pt x="3841774" y="29339"/>
                  </a:cubicBezTo>
                  <a:cubicBezTo>
                    <a:pt x="3854914" y="9780"/>
                    <a:pt x="3873872" y="0"/>
                    <a:pt x="3898647" y="0"/>
                  </a:cubicBezTo>
                  <a:close/>
                  <a:moveTo>
                    <a:pt x="3673983" y="0"/>
                  </a:moveTo>
                  <a:cubicBezTo>
                    <a:pt x="3721428" y="0"/>
                    <a:pt x="3745151" y="36862"/>
                    <a:pt x="3745151" y="110587"/>
                  </a:cubicBezTo>
                  <a:cubicBezTo>
                    <a:pt x="3745151" y="147099"/>
                    <a:pt x="3738455" y="174959"/>
                    <a:pt x="3725065" y="194167"/>
                  </a:cubicBezTo>
                  <a:cubicBezTo>
                    <a:pt x="3711674" y="213375"/>
                    <a:pt x="3692941" y="222980"/>
                    <a:pt x="3668868" y="222980"/>
                  </a:cubicBezTo>
                  <a:cubicBezTo>
                    <a:pt x="3646399" y="222980"/>
                    <a:pt x="3628871" y="213802"/>
                    <a:pt x="3616283" y="195446"/>
                  </a:cubicBezTo>
                  <a:cubicBezTo>
                    <a:pt x="3603694" y="177090"/>
                    <a:pt x="3597400" y="150559"/>
                    <a:pt x="3597400" y="115854"/>
                  </a:cubicBezTo>
                  <a:cubicBezTo>
                    <a:pt x="3597400" y="77737"/>
                    <a:pt x="3603970" y="48899"/>
                    <a:pt x="3617110" y="29339"/>
                  </a:cubicBezTo>
                  <a:cubicBezTo>
                    <a:pt x="3630250" y="9780"/>
                    <a:pt x="3649208" y="0"/>
                    <a:pt x="3673983" y="0"/>
                  </a:cubicBezTo>
                  <a:close/>
                  <a:moveTo>
                    <a:pt x="3527532" y="0"/>
                  </a:moveTo>
                  <a:lnTo>
                    <a:pt x="3542438" y="0"/>
                  </a:lnTo>
                  <a:lnTo>
                    <a:pt x="3542438" y="222980"/>
                  </a:lnTo>
                  <a:lnTo>
                    <a:pt x="3507150" y="222980"/>
                  </a:lnTo>
                  <a:lnTo>
                    <a:pt x="3507150" y="43196"/>
                  </a:lnTo>
                  <a:cubicBezTo>
                    <a:pt x="3500762" y="47760"/>
                    <a:pt x="3493892" y="51638"/>
                    <a:pt x="3486541" y="54832"/>
                  </a:cubicBezTo>
                  <a:cubicBezTo>
                    <a:pt x="3479189" y="58027"/>
                    <a:pt x="3470798" y="60840"/>
                    <a:pt x="3461368" y="63274"/>
                  </a:cubicBezTo>
                  <a:lnTo>
                    <a:pt x="3461368" y="33158"/>
                  </a:lnTo>
                  <a:cubicBezTo>
                    <a:pt x="3467249" y="31232"/>
                    <a:pt x="3472928" y="29203"/>
                    <a:pt x="3478403" y="27074"/>
                  </a:cubicBezTo>
                  <a:cubicBezTo>
                    <a:pt x="3483879" y="24945"/>
                    <a:pt x="3489278" y="22561"/>
                    <a:pt x="3494602" y="19925"/>
                  </a:cubicBezTo>
                  <a:cubicBezTo>
                    <a:pt x="3499926" y="17289"/>
                    <a:pt x="3505300" y="14348"/>
                    <a:pt x="3510724" y="11103"/>
                  </a:cubicBezTo>
                  <a:cubicBezTo>
                    <a:pt x="3516150" y="7859"/>
                    <a:pt x="3521752" y="4157"/>
                    <a:pt x="3527532" y="0"/>
                  </a:cubicBezTo>
                  <a:close/>
                  <a:moveTo>
                    <a:pt x="3222732" y="0"/>
                  </a:moveTo>
                  <a:lnTo>
                    <a:pt x="3237638" y="0"/>
                  </a:lnTo>
                  <a:lnTo>
                    <a:pt x="3237638" y="222980"/>
                  </a:lnTo>
                  <a:lnTo>
                    <a:pt x="3202350" y="222980"/>
                  </a:lnTo>
                  <a:lnTo>
                    <a:pt x="3202350" y="43196"/>
                  </a:lnTo>
                  <a:cubicBezTo>
                    <a:pt x="3195962" y="47760"/>
                    <a:pt x="3189092" y="51638"/>
                    <a:pt x="3181741" y="54832"/>
                  </a:cubicBezTo>
                  <a:cubicBezTo>
                    <a:pt x="3174389" y="58027"/>
                    <a:pt x="3165998" y="60840"/>
                    <a:pt x="3156568" y="63274"/>
                  </a:cubicBezTo>
                  <a:lnTo>
                    <a:pt x="3156568" y="33158"/>
                  </a:lnTo>
                  <a:cubicBezTo>
                    <a:pt x="3162449" y="31232"/>
                    <a:pt x="3168128" y="29203"/>
                    <a:pt x="3173603" y="27074"/>
                  </a:cubicBezTo>
                  <a:cubicBezTo>
                    <a:pt x="3179079" y="24945"/>
                    <a:pt x="3184478" y="22561"/>
                    <a:pt x="3189802" y="19925"/>
                  </a:cubicBezTo>
                  <a:cubicBezTo>
                    <a:pt x="3195126" y="17289"/>
                    <a:pt x="3200500" y="14348"/>
                    <a:pt x="3205924" y="11103"/>
                  </a:cubicBezTo>
                  <a:cubicBezTo>
                    <a:pt x="3211350" y="7859"/>
                    <a:pt x="3216952" y="4157"/>
                    <a:pt x="3222732" y="0"/>
                  </a:cubicBezTo>
                  <a:close/>
                  <a:moveTo>
                    <a:pt x="2828037" y="0"/>
                  </a:moveTo>
                  <a:lnTo>
                    <a:pt x="2842943" y="0"/>
                  </a:lnTo>
                  <a:lnTo>
                    <a:pt x="2842943" y="222980"/>
                  </a:lnTo>
                  <a:lnTo>
                    <a:pt x="2807655" y="222980"/>
                  </a:lnTo>
                  <a:lnTo>
                    <a:pt x="2807655" y="43196"/>
                  </a:lnTo>
                  <a:cubicBezTo>
                    <a:pt x="2801267" y="47760"/>
                    <a:pt x="2794397" y="51638"/>
                    <a:pt x="2787046" y="54832"/>
                  </a:cubicBezTo>
                  <a:cubicBezTo>
                    <a:pt x="2779694" y="58027"/>
                    <a:pt x="2771303" y="60840"/>
                    <a:pt x="2761873" y="63274"/>
                  </a:cubicBezTo>
                  <a:lnTo>
                    <a:pt x="2761873" y="33158"/>
                  </a:lnTo>
                  <a:cubicBezTo>
                    <a:pt x="2767754" y="31232"/>
                    <a:pt x="2773433" y="29203"/>
                    <a:pt x="2778908" y="27074"/>
                  </a:cubicBezTo>
                  <a:cubicBezTo>
                    <a:pt x="2784384" y="24945"/>
                    <a:pt x="2789783" y="22561"/>
                    <a:pt x="2795107" y="19925"/>
                  </a:cubicBezTo>
                  <a:cubicBezTo>
                    <a:pt x="2800431" y="17289"/>
                    <a:pt x="2805805" y="14348"/>
                    <a:pt x="2811229" y="11103"/>
                  </a:cubicBezTo>
                  <a:cubicBezTo>
                    <a:pt x="2816655" y="7859"/>
                    <a:pt x="2822257" y="4157"/>
                    <a:pt x="2828037" y="0"/>
                  </a:cubicBezTo>
                  <a:close/>
                  <a:moveTo>
                    <a:pt x="2677443" y="0"/>
                  </a:moveTo>
                  <a:lnTo>
                    <a:pt x="2692349" y="0"/>
                  </a:lnTo>
                  <a:lnTo>
                    <a:pt x="2692349" y="222980"/>
                  </a:lnTo>
                  <a:lnTo>
                    <a:pt x="2657061" y="222980"/>
                  </a:lnTo>
                  <a:lnTo>
                    <a:pt x="2657061" y="43196"/>
                  </a:lnTo>
                  <a:cubicBezTo>
                    <a:pt x="2650673" y="47760"/>
                    <a:pt x="2643803" y="51638"/>
                    <a:pt x="2636452" y="54832"/>
                  </a:cubicBezTo>
                  <a:cubicBezTo>
                    <a:pt x="2629100" y="58027"/>
                    <a:pt x="2620709" y="60840"/>
                    <a:pt x="2611279" y="63274"/>
                  </a:cubicBezTo>
                  <a:lnTo>
                    <a:pt x="2611279" y="33158"/>
                  </a:lnTo>
                  <a:cubicBezTo>
                    <a:pt x="2617160" y="31232"/>
                    <a:pt x="2622839" y="29203"/>
                    <a:pt x="2628314" y="27074"/>
                  </a:cubicBezTo>
                  <a:cubicBezTo>
                    <a:pt x="2633790" y="24945"/>
                    <a:pt x="2639189" y="22561"/>
                    <a:pt x="2644513" y="19925"/>
                  </a:cubicBezTo>
                  <a:cubicBezTo>
                    <a:pt x="2649837" y="17289"/>
                    <a:pt x="2655211" y="14348"/>
                    <a:pt x="2660635" y="11103"/>
                  </a:cubicBezTo>
                  <a:cubicBezTo>
                    <a:pt x="2666061" y="7859"/>
                    <a:pt x="2671663" y="4157"/>
                    <a:pt x="2677443" y="0"/>
                  </a:cubicBezTo>
                  <a:close/>
                  <a:moveTo>
                    <a:pt x="2544118" y="0"/>
                  </a:moveTo>
                  <a:lnTo>
                    <a:pt x="2559024" y="0"/>
                  </a:lnTo>
                  <a:lnTo>
                    <a:pt x="2559024" y="222980"/>
                  </a:lnTo>
                  <a:lnTo>
                    <a:pt x="2523736" y="222980"/>
                  </a:lnTo>
                  <a:lnTo>
                    <a:pt x="2523736" y="43196"/>
                  </a:lnTo>
                  <a:cubicBezTo>
                    <a:pt x="2517348" y="47760"/>
                    <a:pt x="2510478" y="51638"/>
                    <a:pt x="2503127" y="54832"/>
                  </a:cubicBezTo>
                  <a:cubicBezTo>
                    <a:pt x="2495775" y="58027"/>
                    <a:pt x="2487384" y="60840"/>
                    <a:pt x="2477954" y="63274"/>
                  </a:cubicBezTo>
                  <a:lnTo>
                    <a:pt x="2477954" y="33158"/>
                  </a:lnTo>
                  <a:cubicBezTo>
                    <a:pt x="2483835" y="31232"/>
                    <a:pt x="2489514" y="29203"/>
                    <a:pt x="2494989" y="27074"/>
                  </a:cubicBezTo>
                  <a:cubicBezTo>
                    <a:pt x="2500465" y="24945"/>
                    <a:pt x="2505864" y="22561"/>
                    <a:pt x="2511188" y="19925"/>
                  </a:cubicBezTo>
                  <a:cubicBezTo>
                    <a:pt x="2516512" y="17289"/>
                    <a:pt x="2521886" y="14348"/>
                    <a:pt x="2527310" y="11103"/>
                  </a:cubicBezTo>
                  <a:cubicBezTo>
                    <a:pt x="2532736" y="7859"/>
                    <a:pt x="2538338" y="4157"/>
                    <a:pt x="2544118" y="0"/>
                  </a:cubicBezTo>
                  <a:close/>
                  <a:moveTo>
                    <a:pt x="1790454" y="0"/>
                  </a:moveTo>
                  <a:lnTo>
                    <a:pt x="1805360" y="0"/>
                  </a:lnTo>
                  <a:lnTo>
                    <a:pt x="1805360" y="222980"/>
                  </a:lnTo>
                  <a:lnTo>
                    <a:pt x="1770072" y="222980"/>
                  </a:lnTo>
                  <a:lnTo>
                    <a:pt x="1770072" y="43196"/>
                  </a:lnTo>
                  <a:cubicBezTo>
                    <a:pt x="1763685" y="47760"/>
                    <a:pt x="1756814" y="51638"/>
                    <a:pt x="1749463" y="54832"/>
                  </a:cubicBezTo>
                  <a:cubicBezTo>
                    <a:pt x="1742111" y="58027"/>
                    <a:pt x="1733720" y="60840"/>
                    <a:pt x="1724290" y="63274"/>
                  </a:cubicBezTo>
                  <a:lnTo>
                    <a:pt x="1724290" y="33158"/>
                  </a:lnTo>
                  <a:cubicBezTo>
                    <a:pt x="1730171" y="31232"/>
                    <a:pt x="1735850" y="29203"/>
                    <a:pt x="1741325" y="27074"/>
                  </a:cubicBezTo>
                  <a:cubicBezTo>
                    <a:pt x="1746801" y="24945"/>
                    <a:pt x="1752201" y="22561"/>
                    <a:pt x="1757524" y="19925"/>
                  </a:cubicBezTo>
                  <a:cubicBezTo>
                    <a:pt x="1762848" y="17289"/>
                    <a:pt x="1768222" y="14348"/>
                    <a:pt x="1773647" y="11103"/>
                  </a:cubicBezTo>
                  <a:cubicBezTo>
                    <a:pt x="1779072" y="7859"/>
                    <a:pt x="1784674" y="4157"/>
                    <a:pt x="1790454" y="0"/>
                  </a:cubicBezTo>
                  <a:close/>
                  <a:moveTo>
                    <a:pt x="1637062" y="0"/>
                  </a:moveTo>
                  <a:lnTo>
                    <a:pt x="1651968" y="0"/>
                  </a:lnTo>
                  <a:lnTo>
                    <a:pt x="1651968" y="222980"/>
                  </a:lnTo>
                  <a:lnTo>
                    <a:pt x="1616680" y="222980"/>
                  </a:lnTo>
                  <a:lnTo>
                    <a:pt x="1616680" y="43196"/>
                  </a:lnTo>
                  <a:cubicBezTo>
                    <a:pt x="1610292" y="47760"/>
                    <a:pt x="1603422" y="51638"/>
                    <a:pt x="1596071" y="54832"/>
                  </a:cubicBezTo>
                  <a:cubicBezTo>
                    <a:pt x="1588719" y="58027"/>
                    <a:pt x="1580328" y="60840"/>
                    <a:pt x="1570898" y="63274"/>
                  </a:cubicBezTo>
                  <a:lnTo>
                    <a:pt x="1570898" y="33158"/>
                  </a:lnTo>
                  <a:cubicBezTo>
                    <a:pt x="1576779" y="31232"/>
                    <a:pt x="1582458" y="29203"/>
                    <a:pt x="1587933" y="27074"/>
                  </a:cubicBezTo>
                  <a:cubicBezTo>
                    <a:pt x="1593409" y="24945"/>
                    <a:pt x="1598809" y="22561"/>
                    <a:pt x="1604132" y="19925"/>
                  </a:cubicBezTo>
                  <a:cubicBezTo>
                    <a:pt x="1609456" y="17289"/>
                    <a:pt x="1614830" y="14348"/>
                    <a:pt x="1620255" y="11103"/>
                  </a:cubicBezTo>
                  <a:cubicBezTo>
                    <a:pt x="1625680" y="7859"/>
                    <a:pt x="1631282" y="4157"/>
                    <a:pt x="1637062" y="0"/>
                  </a:cubicBezTo>
                  <a:close/>
                  <a:moveTo>
                    <a:pt x="1342993" y="0"/>
                  </a:moveTo>
                  <a:lnTo>
                    <a:pt x="1357899" y="0"/>
                  </a:lnTo>
                  <a:lnTo>
                    <a:pt x="1357899" y="222980"/>
                  </a:lnTo>
                  <a:lnTo>
                    <a:pt x="1322611" y="222980"/>
                  </a:lnTo>
                  <a:lnTo>
                    <a:pt x="1322611" y="43196"/>
                  </a:lnTo>
                  <a:cubicBezTo>
                    <a:pt x="1316223" y="47760"/>
                    <a:pt x="1309353" y="51638"/>
                    <a:pt x="1302002" y="54832"/>
                  </a:cubicBezTo>
                  <a:cubicBezTo>
                    <a:pt x="1294650" y="58027"/>
                    <a:pt x="1286259" y="60840"/>
                    <a:pt x="1276829" y="63274"/>
                  </a:cubicBezTo>
                  <a:lnTo>
                    <a:pt x="1276829" y="33158"/>
                  </a:lnTo>
                  <a:cubicBezTo>
                    <a:pt x="1282710" y="31232"/>
                    <a:pt x="1288389" y="29203"/>
                    <a:pt x="1293864" y="27074"/>
                  </a:cubicBezTo>
                  <a:cubicBezTo>
                    <a:pt x="1299340" y="24945"/>
                    <a:pt x="1304740" y="22561"/>
                    <a:pt x="1310063" y="19925"/>
                  </a:cubicBezTo>
                  <a:cubicBezTo>
                    <a:pt x="1315387" y="17289"/>
                    <a:pt x="1320761" y="14348"/>
                    <a:pt x="1326186" y="11103"/>
                  </a:cubicBezTo>
                  <a:cubicBezTo>
                    <a:pt x="1331611" y="7859"/>
                    <a:pt x="1337213" y="4157"/>
                    <a:pt x="1342993" y="0"/>
                  </a:cubicBezTo>
                  <a:close/>
                  <a:moveTo>
                    <a:pt x="967854" y="0"/>
                  </a:moveTo>
                  <a:lnTo>
                    <a:pt x="982760" y="0"/>
                  </a:lnTo>
                  <a:lnTo>
                    <a:pt x="982760" y="222980"/>
                  </a:lnTo>
                  <a:lnTo>
                    <a:pt x="947472" y="222980"/>
                  </a:lnTo>
                  <a:lnTo>
                    <a:pt x="947472" y="43196"/>
                  </a:lnTo>
                  <a:cubicBezTo>
                    <a:pt x="941084" y="47760"/>
                    <a:pt x="934214" y="51638"/>
                    <a:pt x="926863" y="54832"/>
                  </a:cubicBezTo>
                  <a:cubicBezTo>
                    <a:pt x="919511" y="58027"/>
                    <a:pt x="911120" y="60840"/>
                    <a:pt x="901690" y="63274"/>
                  </a:cubicBezTo>
                  <a:lnTo>
                    <a:pt x="901690" y="33158"/>
                  </a:lnTo>
                  <a:cubicBezTo>
                    <a:pt x="907571" y="31232"/>
                    <a:pt x="913250" y="29203"/>
                    <a:pt x="918725" y="27074"/>
                  </a:cubicBezTo>
                  <a:cubicBezTo>
                    <a:pt x="924201" y="24945"/>
                    <a:pt x="929601" y="22561"/>
                    <a:pt x="934924" y="19925"/>
                  </a:cubicBezTo>
                  <a:cubicBezTo>
                    <a:pt x="940248" y="17289"/>
                    <a:pt x="945622" y="14348"/>
                    <a:pt x="951047" y="11103"/>
                  </a:cubicBezTo>
                  <a:cubicBezTo>
                    <a:pt x="956472" y="7859"/>
                    <a:pt x="962074" y="4157"/>
                    <a:pt x="967854" y="0"/>
                  </a:cubicBezTo>
                  <a:close/>
                  <a:moveTo>
                    <a:pt x="818997" y="0"/>
                  </a:moveTo>
                  <a:lnTo>
                    <a:pt x="833903" y="0"/>
                  </a:lnTo>
                  <a:lnTo>
                    <a:pt x="833903" y="222980"/>
                  </a:lnTo>
                  <a:lnTo>
                    <a:pt x="798615" y="222980"/>
                  </a:lnTo>
                  <a:lnTo>
                    <a:pt x="798615" y="43196"/>
                  </a:lnTo>
                  <a:cubicBezTo>
                    <a:pt x="792227" y="47760"/>
                    <a:pt x="785357" y="51638"/>
                    <a:pt x="778006" y="54832"/>
                  </a:cubicBezTo>
                  <a:cubicBezTo>
                    <a:pt x="770654" y="58027"/>
                    <a:pt x="762263" y="60840"/>
                    <a:pt x="752833" y="63274"/>
                  </a:cubicBezTo>
                  <a:lnTo>
                    <a:pt x="752833" y="33158"/>
                  </a:lnTo>
                  <a:cubicBezTo>
                    <a:pt x="758714" y="31232"/>
                    <a:pt x="764393" y="29203"/>
                    <a:pt x="769868" y="27074"/>
                  </a:cubicBezTo>
                  <a:cubicBezTo>
                    <a:pt x="775344" y="24945"/>
                    <a:pt x="780744" y="22561"/>
                    <a:pt x="786067" y="19925"/>
                  </a:cubicBezTo>
                  <a:cubicBezTo>
                    <a:pt x="791391" y="17289"/>
                    <a:pt x="796765" y="14348"/>
                    <a:pt x="802190" y="11103"/>
                  </a:cubicBezTo>
                  <a:cubicBezTo>
                    <a:pt x="807615" y="7859"/>
                    <a:pt x="813217" y="4157"/>
                    <a:pt x="818997" y="0"/>
                  </a:cubicBezTo>
                  <a:close/>
                  <a:moveTo>
                    <a:pt x="670140" y="0"/>
                  </a:moveTo>
                  <a:lnTo>
                    <a:pt x="685046" y="0"/>
                  </a:lnTo>
                  <a:lnTo>
                    <a:pt x="685046" y="222980"/>
                  </a:lnTo>
                  <a:lnTo>
                    <a:pt x="649758" y="222980"/>
                  </a:lnTo>
                  <a:lnTo>
                    <a:pt x="649758" y="43196"/>
                  </a:lnTo>
                  <a:cubicBezTo>
                    <a:pt x="643370" y="47760"/>
                    <a:pt x="636500" y="51638"/>
                    <a:pt x="629149" y="54832"/>
                  </a:cubicBezTo>
                  <a:cubicBezTo>
                    <a:pt x="621797" y="58027"/>
                    <a:pt x="613406" y="60840"/>
                    <a:pt x="603976" y="63274"/>
                  </a:cubicBezTo>
                  <a:lnTo>
                    <a:pt x="603976" y="33158"/>
                  </a:lnTo>
                  <a:cubicBezTo>
                    <a:pt x="609857" y="31232"/>
                    <a:pt x="615536" y="29203"/>
                    <a:pt x="621011" y="27074"/>
                  </a:cubicBezTo>
                  <a:cubicBezTo>
                    <a:pt x="626487" y="24945"/>
                    <a:pt x="631887" y="22561"/>
                    <a:pt x="637210" y="19925"/>
                  </a:cubicBezTo>
                  <a:cubicBezTo>
                    <a:pt x="642534" y="17289"/>
                    <a:pt x="647908" y="14348"/>
                    <a:pt x="653333" y="11103"/>
                  </a:cubicBezTo>
                  <a:cubicBezTo>
                    <a:pt x="658758" y="7859"/>
                    <a:pt x="664360" y="4157"/>
                    <a:pt x="670140" y="0"/>
                  </a:cubicBezTo>
                  <a:close/>
                  <a:moveTo>
                    <a:pt x="521283" y="0"/>
                  </a:moveTo>
                  <a:lnTo>
                    <a:pt x="536189" y="0"/>
                  </a:lnTo>
                  <a:lnTo>
                    <a:pt x="536189" y="222980"/>
                  </a:lnTo>
                  <a:lnTo>
                    <a:pt x="500901" y="222980"/>
                  </a:lnTo>
                  <a:lnTo>
                    <a:pt x="500901" y="43196"/>
                  </a:lnTo>
                  <a:cubicBezTo>
                    <a:pt x="494513" y="47760"/>
                    <a:pt x="487643" y="51638"/>
                    <a:pt x="480292" y="54832"/>
                  </a:cubicBezTo>
                  <a:cubicBezTo>
                    <a:pt x="472940" y="58027"/>
                    <a:pt x="464549" y="60840"/>
                    <a:pt x="455119" y="63274"/>
                  </a:cubicBezTo>
                  <a:lnTo>
                    <a:pt x="455119" y="33158"/>
                  </a:lnTo>
                  <a:cubicBezTo>
                    <a:pt x="461000" y="31232"/>
                    <a:pt x="466679" y="29203"/>
                    <a:pt x="472154" y="27074"/>
                  </a:cubicBezTo>
                  <a:cubicBezTo>
                    <a:pt x="477630" y="24945"/>
                    <a:pt x="483030" y="22561"/>
                    <a:pt x="488353" y="19925"/>
                  </a:cubicBezTo>
                  <a:cubicBezTo>
                    <a:pt x="493677" y="17289"/>
                    <a:pt x="499051" y="14348"/>
                    <a:pt x="504476" y="11103"/>
                  </a:cubicBezTo>
                  <a:cubicBezTo>
                    <a:pt x="509901" y="7859"/>
                    <a:pt x="515503" y="4157"/>
                    <a:pt x="521283" y="0"/>
                  </a:cubicBezTo>
                  <a:close/>
                  <a:moveTo>
                    <a:pt x="311869" y="0"/>
                  </a:moveTo>
                  <a:cubicBezTo>
                    <a:pt x="359313" y="0"/>
                    <a:pt x="383036" y="36862"/>
                    <a:pt x="383036" y="110587"/>
                  </a:cubicBezTo>
                  <a:cubicBezTo>
                    <a:pt x="383036" y="147099"/>
                    <a:pt x="376341" y="174959"/>
                    <a:pt x="362950" y="194167"/>
                  </a:cubicBezTo>
                  <a:cubicBezTo>
                    <a:pt x="349559" y="213375"/>
                    <a:pt x="330827" y="222980"/>
                    <a:pt x="306753" y="222980"/>
                  </a:cubicBezTo>
                  <a:cubicBezTo>
                    <a:pt x="284285" y="222980"/>
                    <a:pt x="266756" y="213802"/>
                    <a:pt x="254168" y="195446"/>
                  </a:cubicBezTo>
                  <a:cubicBezTo>
                    <a:pt x="241579" y="177090"/>
                    <a:pt x="235285" y="150559"/>
                    <a:pt x="235285" y="115854"/>
                  </a:cubicBezTo>
                  <a:cubicBezTo>
                    <a:pt x="235285" y="77737"/>
                    <a:pt x="241855" y="48899"/>
                    <a:pt x="254995" y="29339"/>
                  </a:cubicBezTo>
                  <a:cubicBezTo>
                    <a:pt x="268136" y="9780"/>
                    <a:pt x="287093" y="0"/>
                    <a:pt x="311869" y="0"/>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7" name="Freeform 26"/>
            <p:cNvSpPr/>
            <p:nvPr/>
          </p:nvSpPr>
          <p:spPr>
            <a:xfrm>
              <a:off x="257711" y="68248"/>
              <a:ext cx="11685910" cy="6078415"/>
            </a:xfrm>
            <a:custGeom>
              <a:avLst/>
              <a:gdLst>
                <a:gd name="connsiteX0" fmla="*/ 8150891 w 11685910"/>
                <a:gd name="connsiteY0" fmla="*/ 5855435 h 6078415"/>
                <a:gd name="connsiteX1" fmla="*/ 8195740 w 11685910"/>
                <a:gd name="connsiteY1" fmla="*/ 5894457 h 6078415"/>
                <a:gd name="connsiteX2" fmla="*/ 8195740 w 11685910"/>
                <a:gd name="connsiteY2" fmla="*/ 5930817 h 6078415"/>
                <a:gd name="connsiteX3" fmla="*/ 8215378 w 11685910"/>
                <a:gd name="connsiteY3" fmla="*/ 5957677 h 6078415"/>
                <a:gd name="connsiteX4" fmla="*/ 8215378 w 11685910"/>
                <a:gd name="connsiteY4" fmla="*/ 5976174 h 6078415"/>
                <a:gd name="connsiteX5" fmla="*/ 8195740 w 11685910"/>
                <a:gd name="connsiteY5" fmla="*/ 6002526 h 6078415"/>
                <a:gd name="connsiteX6" fmla="*/ 8195740 w 11685910"/>
                <a:gd name="connsiteY6" fmla="*/ 6039901 h 6078415"/>
                <a:gd name="connsiteX7" fmla="*/ 8150891 w 11685910"/>
                <a:gd name="connsiteY7" fmla="*/ 6078415 h 6078415"/>
                <a:gd name="connsiteX8" fmla="*/ 8150891 w 11685910"/>
                <a:gd name="connsiteY8" fmla="*/ 6058905 h 6078415"/>
                <a:gd name="connsiteX9" fmla="*/ 8166538 w 11685910"/>
                <a:gd name="connsiteY9" fmla="*/ 6052823 h 6078415"/>
                <a:gd name="connsiteX10" fmla="*/ 8171162 w 11685910"/>
                <a:gd name="connsiteY10" fmla="*/ 6033566 h 6078415"/>
                <a:gd name="connsiteX11" fmla="*/ 8171162 w 11685910"/>
                <a:gd name="connsiteY11" fmla="*/ 5998219 h 6078415"/>
                <a:gd name="connsiteX12" fmla="*/ 8196121 w 11685910"/>
                <a:gd name="connsiteY12" fmla="*/ 5966925 h 6078415"/>
                <a:gd name="connsiteX13" fmla="*/ 8196121 w 11685910"/>
                <a:gd name="connsiteY13" fmla="*/ 5966545 h 6078415"/>
                <a:gd name="connsiteX14" fmla="*/ 8171162 w 11685910"/>
                <a:gd name="connsiteY14" fmla="*/ 5934999 h 6078415"/>
                <a:gd name="connsiteX15" fmla="*/ 8171162 w 11685910"/>
                <a:gd name="connsiteY15" fmla="*/ 5899271 h 6078415"/>
                <a:gd name="connsiteX16" fmla="*/ 8150891 w 11685910"/>
                <a:gd name="connsiteY16" fmla="*/ 5875073 h 6078415"/>
                <a:gd name="connsiteX17" fmla="*/ 8133407 w 11685910"/>
                <a:gd name="connsiteY17" fmla="*/ 5855435 h 6078415"/>
                <a:gd name="connsiteX18" fmla="*/ 8133407 w 11685910"/>
                <a:gd name="connsiteY18" fmla="*/ 5875073 h 6078415"/>
                <a:gd name="connsiteX19" fmla="*/ 8113263 w 11685910"/>
                <a:gd name="connsiteY19" fmla="*/ 5899271 h 6078415"/>
                <a:gd name="connsiteX20" fmla="*/ 8113263 w 11685910"/>
                <a:gd name="connsiteY20" fmla="*/ 5934999 h 6078415"/>
                <a:gd name="connsiteX21" fmla="*/ 8088050 w 11685910"/>
                <a:gd name="connsiteY21" fmla="*/ 5966545 h 6078415"/>
                <a:gd name="connsiteX22" fmla="*/ 8088050 w 11685910"/>
                <a:gd name="connsiteY22" fmla="*/ 5966925 h 6078415"/>
                <a:gd name="connsiteX23" fmla="*/ 8113263 w 11685910"/>
                <a:gd name="connsiteY23" fmla="*/ 5998219 h 6078415"/>
                <a:gd name="connsiteX24" fmla="*/ 8113263 w 11685910"/>
                <a:gd name="connsiteY24" fmla="*/ 6033566 h 6078415"/>
                <a:gd name="connsiteX25" fmla="*/ 8117760 w 11685910"/>
                <a:gd name="connsiteY25" fmla="*/ 6052886 h 6078415"/>
                <a:gd name="connsiteX26" fmla="*/ 8133407 w 11685910"/>
                <a:gd name="connsiteY26" fmla="*/ 6058905 h 6078415"/>
                <a:gd name="connsiteX27" fmla="*/ 8133407 w 11685910"/>
                <a:gd name="connsiteY27" fmla="*/ 6078415 h 6078415"/>
                <a:gd name="connsiteX28" fmla="*/ 8088304 w 11685910"/>
                <a:gd name="connsiteY28" fmla="*/ 6039901 h 6078415"/>
                <a:gd name="connsiteX29" fmla="*/ 8088304 w 11685910"/>
                <a:gd name="connsiteY29" fmla="*/ 6002526 h 6078415"/>
                <a:gd name="connsiteX30" fmla="*/ 8068540 w 11685910"/>
                <a:gd name="connsiteY30" fmla="*/ 5976174 h 6078415"/>
                <a:gd name="connsiteX31" fmla="*/ 8068540 w 11685910"/>
                <a:gd name="connsiteY31" fmla="*/ 5957677 h 6078415"/>
                <a:gd name="connsiteX32" fmla="*/ 8088304 w 11685910"/>
                <a:gd name="connsiteY32" fmla="*/ 5930817 h 6078415"/>
                <a:gd name="connsiteX33" fmla="*/ 8088304 w 11685910"/>
                <a:gd name="connsiteY33" fmla="*/ 5894457 h 6078415"/>
                <a:gd name="connsiteX34" fmla="*/ 8133407 w 11685910"/>
                <a:gd name="connsiteY34" fmla="*/ 5855435 h 6078415"/>
                <a:gd name="connsiteX35" fmla="*/ 11191247 w 11685910"/>
                <a:gd name="connsiteY35" fmla="*/ 5500304 h 6078415"/>
                <a:gd name="connsiteX36" fmla="*/ 11236096 w 11685910"/>
                <a:gd name="connsiteY36" fmla="*/ 5539326 h 6078415"/>
                <a:gd name="connsiteX37" fmla="*/ 11236096 w 11685910"/>
                <a:gd name="connsiteY37" fmla="*/ 5575686 h 6078415"/>
                <a:gd name="connsiteX38" fmla="*/ 11255734 w 11685910"/>
                <a:gd name="connsiteY38" fmla="*/ 5602546 h 6078415"/>
                <a:gd name="connsiteX39" fmla="*/ 11255734 w 11685910"/>
                <a:gd name="connsiteY39" fmla="*/ 5621043 h 6078415"/>
                <a:gd name="connsiteX40" fmla="*/ 11236096 w 11685910"/>
                <a:gd name="connsiteY40" fmla="*/ 5647395 h 6078415"/>
                <a:gd name="connsiteX41" fmla="*/ 11236096 w 11685910"/>
                <a:gd name="connsiteY41" fmla="*/ 5684770 h 6078415"/>
                <a:gd name="connsiteX42" fmla="*/ 11191247 w 11685910"/>
                <a:gd name="connsiteY42" fmla="*/ 5723284 h 6078415"/>
                <a:gd name="connsiteX43" fmla="*/ 11191247 w 11685910"/>
                <a:gd name="connsiteY43" fmla="*/ 5703774 h 6078415"/>
                <a:gd name="connsiteX44" fmla="*/ 11206894 w 11685910"/>
                <a:gd name="connsiteY44" fmla="*/ 5697692 h 6078415"/>
                <a:gd name="connsiteX45" fmla="*/ 11211518 w 11685910"/>
                <a:gd name="connsiteY45" fmla="*/ 5678435 h 6078415"/>
                <a:gd name="connsiteX46" fmla="*/ 11211518 w 11685910"/>
                <a:gd name="connsiteY46" fmla="*/ 5643088 h 6078415"/>
                <a:gd name="connsiteX47" fmla="*/ 11236477 w 11685910"/>
                <a:gd name="connsiteY47" fmla="*/ 5611794 h 6078415"/>
                <a:gd name="connsiteX48" fmla="*/ 11236477 w 11685910"/>
                <a:gd name="connsiteY48" fmla="*/ 5611414 h 6078415"/>
                <a:gd name="connsiteX49" fmla="*/ 11211518 w 11685910"/>
                <a:gd name="connsiteY49" fmla="*/ 5579868 h 6078415"/>
                <a:gd name="connsiteX50" fmla="*/ 11211518 w 11685910"/>
                <a:gd name="connsiteY50" fmla="*/ 5544140 h 6078415"/>
                <a:gd name="connsiteX51" fmla="*/ 11191247 w 11685910"/>
                <a:gd name="connsiteY51" fmla="*/ 5519942 h 6078415"/>
                <a:gd name="connsiteX52" fmla="*/ 11173763 w 11685910"/>
                <a:gd name="connsiteY52" fmla="*/ 5500304 h 6078415"/>
                <a:gd name="connsiteX53" fmla="*/ 11173763 w 11685910"/>
                <a:gd name="connsiteY53" fmla="*/ 5519942 h 6078415"/>
                <a:gd name="connsiteX54" fmla="*/ 11153619 w 11685910"/>
                <a:gd name="connsiteY54" fmla="*/ 5544140 h 6078415"/>
                <a:gd name="connsiteX55" fmla="*/ 11153619 w 11685910"/>
                <a:gd name="connsiteY55" fmla="*/ 5579868 h 6078415"/>
                <a:gd name="connsiteX56" fmla="*/ 11128407 w 11685910"/>
                <a:gd name="connsiteY56" fmla="*/ 5611414 h 6078415"/>
                <a:gd name="connsiteX57" fmla="*/ 11128407 w 11685910"/>
                <a:gd name="connsiteY57" fmla="*/ 5611794 h 6078415"/>
                <a:gd name="connsiteX58" fmla="*/ 11153619 w 11685910"/>
                <a:gd name="connsiteY58" fmla="*/ 5643088 h 6078415"/>
                <a:gd name="connsiteX59" fmla="*/ 11153619 w 11685910"/>
                <a:gd name="connsiteY59" fmla="*/ 5678435 h 6078415"/>
                <a:gd name="connsiteX60" fmla="*/ 11158117 w 11685910"/>
                <a:gd name="connsiteY60" fmla="*/ 5697755 h 6078415"/>
                <a:gd name="connsiteX61" fmla="*/ 11173763 w 11685910"/>
                <a:gd name="connsiteY61" fmla="*/ 5703774 h 6078415"/>
                <a:gd name="connsiteX62" fmla="*/ 11173763 w 11685910"/>
                <a:gd name="connsiteY62" fmla="*/ 5723284 h 6078415"/>
                <a:gd name="connsiteX63" fmla="*/ 11128660 w 11685910"/>
                <a:gd name="connsiteY63" fmla="*/ 5684770 h 6078415"/>
                <a:gd name="connsiteX64" fmla="*/ 11128660 w 11685910"/>
                <a:gd name="connsiteY64" fmla="*/ 5647395 h 6078415"/>
                <a:gd name="connsiteX65" fmla="*/ 11108896 w 11685910"/>
                <a:gd name="connsiteY65" fmla="*/ 5621043 h 6078415"/>
                <a:gd name="connsiteX66" fmla="*/ 11108896 w 11685910"/>
                <a:gd name="connsiteY66" fmla="*/ 5602546 h 6078415"/>
                <a:gd name="connsiteX67" fmla="*/ 11128660 w 11685910"/>
                <a:gd name="connsiteY67" fmla="*/ 5575686 h 6078415"/>
                <a:gd name="connsiteX68" fmla="*/ 11128660 w 11685910"/>
                <a:gd name="connsiteY68" fmla="*/ 5539326 h 6078415"/>
                <a:gd name="connsiteX69" fmla="*/ 11173763 w 11685910"/>
                <a:gd name="connsiteY69" fmla="*/ 5500304 h 6078415"/>
                <a:gd name="connsiteX70" fmla="*/ 8150891 w 11685910"/>
                <a:gd name="connsiteY70" fmla="*/ 5500304 h 6078415"/>
                <a:gd name="connsiteX71" fmla="*/ 8195740 w 11685910"/>
                <a:gd name="connsiteY71" fmla="*/ 5539326 h 6078415"/>
                <a:gd name="connsiteX72" fmla="*/ 8195740 w 11685910"/>
                <a:gd name="connsiteY72" fmla="*/ 5575686 h 6078415"/>
                <a:gd name="connsiteX73" fmla="*/ 8215378 w 11685910"/>
                <a:gd name="connsiteY73" fmla="*/ 5602546 h 6078415"/>
                <a:gd name="connsiteX74" fmla="*/ 8215378 w 11685910"/>
                <a:gd name="connsiteY74" fmla="*/ 5621043 h 6078415"/>
                <a:gd name="connsiteX75" fmla="*/ 8195740 w 11685910"/>
                <a:gd name="connsiteY75" fmla="*/ 5647395 h 6078415"/>
                <a:gd name="connsiteX76" fmla="*/ 8195740 w 11685910"/>
                <a:gd name="connsiteY76" fmla="*/ 5684770 h 6078415"/>
                <a:gd name="connsiteX77" fmla="*/ 8150891 w 11685910"/>
                <a:gd name="connsiteY77" fmla="*/ 5723284 h 6078415"/>
                <a:gd name="connsiteX78" fmla="*/ 8150891 w 11685910"/>
                <a:gd name="connsiteY78" fmla="*/ 5703774 h 6078415"/>
                <a:gd name="connsiteX79" fmla="*/ 8166538 w 11685910"/>
                <a:gd name="connsiteY79" fmla="*/ 5697692 h 6078415"/>
                <a:gd name="connsiteX80" fmla="*/ 8171162 w 11685910"/>
                <a:gd name="connsiteY80" fmla="*/ 5678435 h 6078415"/>
                <a:gd name="connsiteX81" fmla="*/ 8171162 w 11685910"/>
                <a:gd name="connsiteY81" fmla="*/ 5643088 h 6078415"/>
                <a:gd name="connsiteX82" fmla="*/ 8196121 w 11685910"/>
                <a:gd name="connsiteY82" fmla="*/ 5611794 h 6078415"/>
                <a:gd name="connsiteX83" fmla="*/ 8196121 w 11685910"/>
                <a:gd name="connsiteY83" fmla="*/ 5611414 h 6078415"/>
                <a:gd name="connsiteX84" fmla="*/ 8171162 w 11685910"/>
                <a:gd name="connsiteY84" fmla="*/ 5579868 h 6078415"/>
                <a:gd name="connsiteX85" fmla="*/ 8171162 w 11685910"/>
                <a:gd name="connsiteY85" fmla="*/ 5544140 h 6078415"/>
                <a:gd name="connsiteX86" fmla="*/ 8150891 w 11685910"/>
                <a:gd name="connsiteY86" fmla="*/ 5519942 h 6078415"/>
                <a:gd name="connsiteX87" fmla="*/ 8133407 w 11685910"/>
                <a:gd name="connsiteY87" fmla="*/ 5500304 h 6078415"/>
                <a:gd name="connsiteX88" fmla="*/ 8133407 w 11685910"/>
                <a:gd name="connsiteY88" fmla="*/ 5519942 h 6078415"/>
                <a:gd name="connsiteX89" fmla="*/ 8113263 w 11685910"/>
                <a:gd name="connsiteY89" fmla="*/ 5544140 h 6078415"/>
                <a:gd name="connsiteX90" fmla="*/ 8113263 w 11685910"/>
                <a:gd name="connsiteY90" fmla="*/ 5579868 h 6078415"/>
                <a:gd name="connsiteX91" fmla="*/ 8088050 w 11685910"/>
                <a:gd name="connsiteY91" fmla="*/ 5611414 h 6078415"/>
                <a:gd name="connsiteX92" fmla="*/ 8088050 w 11685910"/>
                <a:gd name="connsiteY92" fmla="*/ 5611794 h 6078415"/>
                <a:gd name="connsiteX93" fmla="*/ 8113263 w 11685910"/>
                <a:gd name="connsiteY93" fmla="*/ 5643088 h 6078415"/>
                <a:gd name="connsiteX94" fmla="*/ 8113263 w 11685910"/>
                <a:gd name="connsiteY94" fmla="*/ 5678435 h 6078415"/>
                <a:gd name="connsiteX95" fmla="*/ 8117760 w 11685910"/>
                <a:gd name="connsiteY95" fmla="*/ 5697755 h 6078415"/>
                <a:gd name="connsiteX96" fmla="*/ 8133407 w 11685910"/>
                <a:gd name="connsiteY96" fmla="*/ 5703774 h 6078415"/>
                <a:gd name="connsiteX97" fmla="*/ 8133407 w 11685910"/>
                <a:gd name="connsiteY97" fmla="*/ 5723284 h 6078415"/>
                <a:gd name="connsiteX98" fmla="*/ 8088304 w 11685910"/>
                <a:gd name="connsiteY98" fmla="*/ 5684770 h 6078415"/>
                <a:gd name="connsiteX99" fmla="*/ 8088304 w 11685910"/>
                <a:gd name="connsiteY99" fmla="*/ 5647395 h 6078415"/>
                <a:gd name="connsiteX100" fmla="*/ 8068540 w 11685910"/>
                <a:gd name="connsiteY100" fmla="*/ 5621043 h 6078415"/>
                <a:gd name="connsiteX101" fmla="*/ 8068540 w 11685910"/>
                <a:gd name="connsiteY101" fmla="*/ 5602546 h 6078415"/>
                <a:gd name="connsiteX102" fmla="*/ 8088304 w 11685910"/>
                <a:gd name="connsiteY102" fmla="*/ 5575686 h 6078415"/>
                <a:gd name="connsiteX103" fmla="*/ 8088304 w 11685910"/>
                <a:gd name="connsiteY103" fmla="*/ 5539326 h 6078415"/>
                <a:gd name="connsiteX104" fmla="*/ 8133407 w 11685910"/>
                <a:gd name="connsiteY104" fmla="*/ 5500304 h 6078415"/>
                <a:gd name="connsiteX105" fmla="*/ 11191247 w 11685910"/>
                <a:gd name="connsiteY105" fmla="*/ 5162674 h 6078415"/>
                <a:gd name="connsiteX106" fmla="*/ 11236096 w 11685910"/>
                <a:gd name="connsiteY106" fmla="*/ 5201695 h 6078415"/>
                <a:gd name="connsiteX107" fmla="*/ 11236096 w 11685910"/>
                <a:gd name="connsiteY107" fmla="*/ 5238056 h 6078415"/>
                <a:gd name="connsiteX108" fmla="*/ 11255734 w 11685910"/>
                <a:gd name="connsiteY108" fmla="*/ 5264915 h 6078415"/>
                <a:gd name="connsiteX109" fmla="*/ 11255734 w 11685910"/>
                <a:gd name="connsiteY109" fmla="*/ 5283412 h 6078415"/>
                <a:gd name="connsiteX110" fmla="*/ 11236096 w 11685910"/>
                <a:gd name="connsiteY110" fmla="*/ 5309765 h 6078415"/>
                <a:gd name="connsiteX111" fmla="*/ 11236096 w 11685910"/>
                <a:gd name="connsiteY111" fmla="*/ 5347139 h 6078415"/>
                <a:gd name="connsiteX112" fmla="*/ 11191247 w 11685910"/>
                <a:gd name="connsiteY112" fmla="*/ 5385654 h 6078415"/>
                <a:gd name="connsiteX113" fmla="*/ 11191247 w 11685910"/>
                <a:gd name="connsiteY113" fmla="*/ 5366143 h 6078415"/>
                <a:gd name="connsiteX114" fmla="*/ 11206894 w 11685910"/>
                <a:gd name="connsiteY114" fmla="*/ 5360062 h 6078415"/>
                <a:gd name="connsiteX115" fmla="*/ 11211518 w 11685910"/>
                <a:gd name="connsiteY115" fmla="*/ 5340805 h 6078415"/>
                <a:gd name="connsiteX116" fmla="*/ 11211518 w 11685910"/>
                <a:gd name="connsiteY116" fmla="*/ 5305457 h 6078415"/>
                <a:gd name="connsiteX117" fmla="*/ 11236477 w 11685910"/>
                <a:gd name="connsiteY117" fmla="*/ 5274164 h 6078415"/>
                <a:gd name="connsiteX118" fmla="*/ 11236477 w 11685910"/>
                <a:gd name="connsiteY118" fmla="*/ 5273784 h 6078415"/>
                <a:gd name="connsiteX119" fmla="*/ 11211518 w 11685910"/>
                <a:gd name="connsiteY119" fmla="*/ 5242237 h 6078415"/>
                <a:gd name="connsiteX120" fmla="*/ 11211518 w 11685910"/>
                <a:gd name="connsiteY120" fmla="*/ 5206510 h 6078415"/>
                <a:gd name="connsiteX121" fmla="*/ 11191247 w 11685910"/>
                <a:gd name="connsiteY121" fmla="*/ 5182311 h 6078415"/>
                <a:gd name="connsiteX122" fmla="*/ 11173763 w 11685910"/>
                <a:gd name="connsiteY122" fmla="*/ 5162674 h 6078415"/>
                <a:gd name="connsiteX123" fmla="*/ 11173763 w 11685910"/>
                <a:gd name="connsiteY123" fmla="*/ 5182311 h 6078415"/>
                <a:gd name="connsiteX124" fmla="*/ 11153619 w 11685910"/>
                <a:gd name="connsiteY124" fmla="*/ 5206510 h 6078415"/>
                <a:gd name="connsiteX125" fmla="*/ 11153619 w 11685910"/>
                <a:gd name="connsiteY125" fmla="*/ 5242237 h 6078415"/>
                <a:gd name="connsiteX126" fmla="*/ 11128407 w 11685910"/>
                <a:gd name="connsiteY126" fmla="*/ 5273784 h 6078415"/>
                <a:gd name="connsiteX127" fmla="*/ 11128407 w 11685910"/>
                <a:gd name="connsiteY127" fmla="*/ 5274164 h 6078415"/>
                <a:gd name="connsiteX128" fmla="*/ 11153619 w 11685910"/>
                <a:gd name="connsiteY128" fmla="*/ 5305457 h 6078415"/>
                <a:gd name="connsiteX129" fmla="*/ 11153619 w 11685910"/>
                <a:gd name="connsiteY129" fmla="*/ 5340805 h 6078415"/>
                <a:gd name="connsiteX130" fmla="*/ 11158117 w 11685910"/>
                <a:gd name="connsiteY130" fmla="*/ 5360125 h 6078415"/>
                <a:gd name="connsiteX131" fmla="*/ 11173763 w 11685910"/>
                <a:gd name="connsiteY131" fmla="*/ 5366143 h 6078415"/>
                <a:gd name="connsiteX132" fmla="*/ 11173763 w 11685910"/>
                <a:gd name="connsiteY132" fmla="*/ 5385654 h 6078415"/>
                <a:gd name="connsiteX133" fmla="*/ 11128660 w 11685910"/>
                <a:gd name="connsiteY133" fmla="*/ 5347139 h 6078415"/>
                <a:gd name="connsiteX134" fmla="*/ 11128660 w 11685910"/>
                <a:gd name="connsiteY134" fmla="*/ 5309765 h 6078415"/>
                <a:gd name="connsiteX135" fmla="*/ 11108896 w 11685910"/>
                <a:gd name="connsiteY135" fmla="*/ 5283412 h 6078415"/>
                <a:gd name="connsiteX136" fmla="*/ 11108896 w 11685910"/>
                <a:gd name="connsiteY136" fmla="*/ 5264915 h 6078415"/>
                <a:gd name="connsiteX137" fmla="*/ 11128660 w 11685910"/>
                <a:gd name="connsiteY137" fmla="*/ 5238056 h 6078415"/>
                <a:gd name="connsiteX138" fmla="*/ 11128660 w 11685910"/>
                <a:gd name="connsiteY138" fmla="*/ 5201695 h 6078415"/>
                <a:gd name="connsiteX139" fmla="*/ 11173763 w 11685910"/>
                <a:gd name="connsiteY139" fmla="*/ 5162674 h 6078415"/>
                <a:gd name="connsiteX140" fmla="*/ 8150891 w 11685910"/>
                <a:gd name="connsiteY140" fmla="*/ 5162674 h 6078415"/>
                <a:gd name="connsiteX141" fmla="*/ 8195740 w 11685910"/>
                <a:gd name="connsiteY141" fmla="*/ 5201696 h 6078415"/>
                <a:gd name="connsiteX142" fmla="*/ 8195740 w 11685910"/>
                <a:gd name="connsiteY142" fmla="*/ 5238056 h 6078415"/>
                <a:gd name="connsiteX143" fmla="*/ 8215378 w 11685910"/>
                <a:gd name="connsiteY143" fmla="*/ 5264916 h 6078415"/>
                <a:gd name="connsiteX144" fmla="*/ 8215378 w 11685910"/>
                <a:gd name="connsiteY144" fmla="*/ 5283413 h 6078415"/>
                <a:gd name="connsiteX145" fmla="*/ 8195740 w 11685910"/>
                <a:gd name="connsiteY145" fmla="*/ 5309765 h 6078415"/>
                <a:gd name="connsiteX146" fmla="*/ 8195740 w 11685910"/>
                <a:gd name="connsiteY146" fmla="*/ 5347140 h 6078415"/>
                <a:gd name="connsiteX147" fmla="*/ 8150891 w 11685910"/>
                <a:gd name="connsiteY147" fmla="*/ 5385654 h 6078415"/>
                <a:gd name="connsiteX148" fmla="*/ 8150891 w 11685910"/>
                <a:gd name="connsiteY148" fmla="*/ 5366144 h 6078415"/>
                <a:gd name="connsiteX149" fmla="*/ 8166538 w 11685910"/>
                <a:gd name="connsiteY149" fmla="*/ 5360062 h 6078415"/>
                <a:gd name="connsiteX150" fmla="*/ 8171162 w 11685910"/>
                <a:gd name="connsiteY150" fmla="*/ 5340805 h 6078415"/>
                <a:gd name="connsiteX151" fmla="*/ 8171162 w 11685910"/>
                <a:gd name="connsiteY151" fmla="*/ 5305458 h 6078415"/>
                <a:gd name="connsiteX152" fmla="*/ 8196121 w 11685910"/>
                <a:gd name="connsiteY152" fmla="*/ 5274164 h 6078415"/>
                <a:gd name="connsiteX153" fmla="*/ 8196121 w 11685910"/>
                <a:gd name="connsiteY153" fmla="*/ 5273784 h 6078415"/>
                <a:gd name="connsiteX154" fmla="*/ 8171162 w 11685910"/>
                <a:gd name="connsiteY154" fmla="*/ 5242238 h 6078415"/>
                <a:gd name="connsiteX155" fmla="*/ 8171162 w 11685910"/>
                <a:gd name="connsiteY155" fmla="*/ 5206510 h 6078415"/>
                <a:gd name="connsiteX156" fmla="*/ 8150891 w 11685910"/>
                <a:gd name="connsiteY156" fmla="*/ 5182312 h 6078415"/>
                <a:gd name="connsiteX157" fmla="*/ 8133407 w 11685910"/>
                <a:gd name="connsiteY157" fmla="*/ 5162674 h 6078415"/>
                <a:gd name="connsiteX158" fmla="*/ 8133407 w 11685910"/>
                <a:gd name="connsiteY158" fmla="*/ 5182312 h 6078415"/>
                <a:gd name="connsiteX159" fmla="*/ 8113263 w 11685910"/>
                <a:gd name="connsiteY159" fmla="*/ 5206510 h 6078415"/>
                <a:gd name="connsiteX160" fmla="*/ 8113263 w 11685910"/>
                <a:gd name="connsiteY160" fmla="*/ 5242238 h 6078415"/>
                <a:gd name="connsiteX161" fmla="*/ 8088050 w 11685910"/>
                <a:gd name="connsiteY161" fmla="*/ 5273784 h 6078415"/>
                <a:gd name="connsiteX162" fmla="*/ 8088050 w 11685910"/>
                <a:gd name="connsiteY162" fmla="*/ 5274164 h 6078415"/>
                <a:gd name="connsiteX163" fmla="*/ 8113263 w 11685910"/>
                <a:gd name="connsiteY163" fmla="*/ 5305458 h 6078415"/>
                <a:gd name="connsiteX164" fmla="*/ 8113263 w 11685910"/>
                <a:gd name="connsiteY164" fmla="*/ 5340805 h 6078415"/>
                <a:gd name="connsiteX165" fmla="*/ 8117760 w 11685910"/>
                <a:gd name="connsiteY165" fmla="*/ 5360125 h 6078415"/>
                <a:gd name="connsiteX166" fmla="*/ 8133407 w 11685910"/>
                <a:gd name="connsiteY166" fmla="*/ 5366144 h 6078415"/>
                <a:gd name="connsiteX167" fmla="*/ 8133407 w 11685910"/>
                <a:gd name="connsiteY167" fmla="*/ 5385654 h 6078415"/>
                <a:gd name="connsiteX168" fmla="*/ 8088304 w 11685910"/>
                <a:gd name="connsiteY168" fmla="*/ 5347140 h 6078415"/>
                <a:gd name="connsiteX169" fmla="*/ 8088304 w 11685910"/>
                <a:gd name="connsiteY169" fmla="*/ 5309765 h 6078415"/>
                <a:gd name="connsiteX170" fmla="*/ 8068540 w 11685910"/>
                <a:gd name="connsiteY170" fmla="*/ 5283413 h 6078415"/>
                <a:gd name="connsiteX171" fmla="*/ 8068540 w 11685910"/>
                <a:gd name="connsiteY171" fmla="*/ 5264916 h 6078415"/>
                <a:gd name="connsiteX172" fmla="*/ 8088304 w 11685910"/>
                <a:gd name="connsiteY172" fmla="*/ 5238056 h 6078415"/>
                <a:gd name="connsiteX173" fmla="*/ 8088304 w 11685910"/>
                <a:gd name="connsiteY173" fmla="*/ 5201696 h 6078415"/>
                <a:gd name="connsiteX174" fmla="*/ 8133407 w 11685910"/>
                <a:gd name="connsiteY174" fmla="*/ 5162674 h 6078415"/>
                <a:gd name="connsiteX175" fmla="*/ 5096170 w 11685910"/>
                <a:gd name="connsiteY175" fmla="*/ 5162674 h 6078415"/>
                <a:gd name="connsiteX176" fmla="*/ 5141019 w 11685910"/>
                <a:gd name="connsiteY176" fmla="*/ 5201696 h 6078415"/>
                <a:gd name="connsiteX177" fmla="*/ 5141019 w 11685910"/>
                <a:gd name="connsiteY177" fmla="*/ 5238056 h 6078415"/>
                <a:gd name="connsiteX178" fmla="*/ 5160658 w 11685910"/>
                <a:gd name="connsiteY178" fmla="*/ 5264916 h 6078415"/>
                <a:gd name="connsiteX179" fmla="*/ 5160658 w 11685910"/>
                <a:gd name="connsiteY179" fmla="*/ 5283413 h 6078415"/>
                <a:gd name="connsiteX180" fmla="*/ 5141019 w 11685910"/>
                <a:gd name="connsiteY180" fmla="*/ 5309765 h 6078415"/>
                <a:gd name="connsiteX181" fmla="*/ 5141019 w 11685910"/>
                <a:gd name="connsiteY181" fmla="*/ 5347140 h 6078415"/>
                <a:gd name="connsiteX182" fmla="*/ 5096170 w 11685910"/>
                <a:gd name="connsiteY182" fmla="*/ 5385654 h 6078415"/>
                <a:gd name="connsiteX183" fmla="*/ 5096170 w 11685910"/>
                <a:gd name="connsiteY183" fmla="*/ 5366144 h 6078415"/>
                <a:gd name="connsiteX184" fmla="*/ 5111817 w 11685910"/>
                <a:gd name="connsiteY184" fmla="*/ 5360062 h 6078415"/>
                <a:gd name="connsiteX185" fmla="*/ 5116441 w 11685910"/>
                <a:gd name="connsiteY185" fmla="*/ 5340805 h 6078415"/>
                <a:gd name="connsiteX186" fmla="*/ 5116441 w 11685910"/>
                <a:gd name="connsiteY186" fmla="*/ 5305458 h 6078415"/>
                <a:gd name="connsiteX187" fmla="*/ 5141399 w 11685910"/>
                <a:gd name="connsiteY187" fmla="*/ 5274164 h 6078415"/>
                <a:gd name="connsiteX188" fmla="*/ 5141399 w 11685910"/>
                <a:gd name="connsiteY188" fmla="*/ 5273784 h 6078415"/>
                <a:gd name="connsiteX189" fmla="*/ 5116441 w 11685910"/>
                <a:gd name="connsiteY189" fmla="*/ 5242238 h 6078415"/>
                <a:gd name="connsiteX190" fmla="*/ 5116441 w 11685910"/>
                <a:gd name="connsiteY190" fmla="*/ 5206510 h 6078415"/>
                <a:gd name="connsiteX191" fmla="*/ 5096170 w 11685910"/>
                <a:gd name="connsiteY191" fmla="*/ 5182312 h 6078415"/>
                <a:gd name="connsiteX192" fmla="*/ 5078686 w 11685910"/>
                <a:gd name="connsiteY192" fmla="*/ 5162674 h 6078415"/>
                <a:gd name="connsiteX193" fmla="*/ 5078686 w 11685910"/>
                <a:gd name="connsiteY193" fmla="*/ 5182312 h 6078415"/>
                <a:gd name="connsiteX194" fmla="*/ 5058542 w 11685910"/>
                <a:gd name="connsiteY194" fmla="*/ 5206510 h 6078415"/>
                <a:gd name="connsiteX195" fmla="*/ 5058542 w 11685910"/>
                <a:gd name="connsiteY195" fmla="*/ 5242238 h 6078415"/>
                <a:gd name="connsiteX196" fmla="*/ 5033329 w 11685910"/>
                <a:gd name="connsiteY196" fmla="*/ 5273784 h 6078415"/>
                <a:gd name="connsiteX197" fmla="*/ 5033329 w 11685910"/>
                <a:gd name="connsiteY197" fmla="*/ 5274164 h 6078415"/>
                <a:gd name="connsiteX198" fmla="*/ 5058542 w 11685910"/>
                <a:gd name="connsiteY198" fmla="*/ 5305458 h 6078415"/>
                <a:gd name="connsiteX199" fmla="*/ 5058542 w 11685910"/>
                <a:gd name="connsiteY199" fmla="*/ 5340805 h 6078415"/>
                <a:gd name="connsiteX200" fmla="*/ 5063039 w 11685910"/>
                <a:gd name="connsiteY200" fmla="*/ 5360125 h 6078415"/>
                <a:gd name="connsiteX201" fmla="*/ 5078686 w 11685910"/>
                <a:gd name="connsiteY201" fmla="*/ 5366144 h 6078415"/>
                <a:gd name="connsiteX202" fmla="*/ 5078686 w 11685910"/>
                <a:gd name="connsiteY202" fmla="*/ 5385654 h 6078415"/>
                <a:gd name="connsiteX203" fmla="*/ 5033583 w 11685910"/>
                <a:gd name="connsiteY203" fmla="*/ 5347140 h 6078415"/>
                <a:gd name="connsiteX204" fmla="*/ 5033583 w 11685910"/>
                <a:gd name="connsiteY204" fmla="*/ 5309765 h 6078415"/>
                <a:gd name="connsiteX205" fmla="*/ 5013819 w 11685910"/>
                <a:gd name="connsiteY205" fmla="*/ 5283413 h 6078415"/>
                <a:gd name="connsiteX206" fmla="*/ 5013819 w 11685910"/>
                <a:gd name="connsiteY206" fmla="*/ 5264916 h 6078415"/>
                <a:gd name="connsiteX207" fmla="*/ 5033583 w 11685910"/>
                <a:gd name="connsiteY207" fmla="*/ 5238056 h 6078415"/>
                <a:gd name="connsiteX208" fmla="*/ 5033583 w 11685910"/>
                <a:gd name="connsiteY208" fmla="*/ 5201696 h 6078415"/>
                <a:gd name="connsiteX209" fmla="*/ 5078686 w 11685910"/>
                <a:gd name="connsiteY209" fmla="*/ 5162674 h 6078415"/>
                <a:gd name="connsiteX210" fmla="*/ 11191247 w 11685910"/>
                <a:gd name="connsiteY210" fmla="*/ 4849604 h 6078415"/>
                <a:gd name="connsiteX211" fmla="*/ 11236096 w 11685910"/>
                <a:gd name="connsiteY211" fmla="*/ 4888625 h 6078415"/>
                <a:gd name="connsiteX212" fmla="*/ 11236096 w 11685910"/>
                <a:gd name="connsiteY212" fmla="*/ 4924986 h 6078415"/>
                <a:gd name="connsiteX213" fmla="*/ 11255734 w 11685910"/>
                <a:gd name="connsiteY213" fmla="*/ 4951845 h 6078415"/>
                <a:gd name="connsiteX214" fmla="*/ 11255734 w 11685910"/>
                <a:gd name="connsiteY214" fmla="*/ 4970342 h 6078415"/>
                <a:gd name="connsiteX215" fmla="*/ 11236096 w 11685910"/>
                <a:gd name="connsiteY215" fmla="*/ 4996695 h 6078415"/>
                <a:gd name="connsiteX216" fmla="*/ 11236096 w 11685910"/>
                <a:gd name="connsiteY216" fmla="*/ 5034069 h 6078415"/>
                <a:gd name="connsiteX217" fmla="*/ 11191247 w 11685910"/>
                <a:gd name="connsiteY217" fmla="*/ 5072584 h 6078415"/>
                <a:gd name="connsiteX218" fmla="*/ 11191247 w 11685910"/>
                <a:gd name="connsiteY218" fmla="*/ 5053073 h 6078415"/>
                <a:gd name="connsiteX219" fmla="*/ 11206894 w 11685910"/>
                <a:gd name="connsiteY219" fmla="*/ 5046992 h 6078415"/>
                <a:gd name="connsiteX220" fmla="*/ 11211518 w 11685910"/>
                <a:gd name="connsiteY220" fmla="*/ 5027735 h 6078415"/>
                <a:gd name="connsiteX221" fmla="*/ 11211518 w 11685910"/>
                <a:gd name="connsiteY221" fmla="*/ 4992387 h 6078415"/>
                <a:gd name="connsiteX222" fmla="*/ 11236477 w 11685910"/>
                <a:gd name="connsiteY222" fmla="*/ 4961094 h 6078415"/>
                <a:gd name="connsiteX223" fmla="*/ 11236477 w 11685910"/>
                <a:gd name="connsiteY223" fmla="*/ 4960714 h 6078415"/>
                <a:gd name="connsiteX224" fmla="*/ 11211518 w 11685910"/>
                <a:gd name="connsiteY224" fmla="*/ 4929167 h 6078415"/>
                <a:gd name="connsiteX225" fmla="*/ 11211518 w 11685910"/>
                <a:gd name="connsiteY225" fmla="*/ 4893440 h 6078415"/>
                <a:gd name="connsiteX226" fmla="*/ 11191247 w 11685910"/>
                <a:gd name="connsiteY226" fmla="*/ 4869241 h 6078415"/>
                <a:gd name="connsiteX227" fmla="*/ 11173763 w 11685910"/>
                <a:gd name="connsiteY227" fmla="*/ 4849604 h 6078415"/>
                <a:gd name="connsiteX228" fmla="*/ 11173763 w 11685910"/>
                <a:gd name="connsiteY228" fmla="*/ 4869241 h 6078415"/>
                <a:gd name="connsiteX229" fmla="*/ 11153619 w 11685910"/>
                <a:gd name="connsiteY229" fmla="*/ 4893440 h 6078415"/>
                <a:gd name="connsiteX230" fmla="*/ 11153619 w 11685910"/>
                <a:gd name="connsiteY230" fmla="*/ 4929167 h 6078415"/>
                <a:gd name="connsiteX231" fmla="*/ 11128407 w 11685910"/>
                <a:gd name="connsiteY231" fmla="*/ 4960714 h 6078415"/>
                <a:gd name="connsiteX232" fmla="*/ 11128407 w 11685910"/>
                <a:gd name="connsiteY232" fmla="*/ 4961094 h 6078415"/>
                <a:gd name="connsiteX233" fmla="*/ 11153619 w 11685910"/>
                <a:gd name="connsiteY233" fmla="*/ 4992387 h 6078415"/>
                <a:gd name="connsiteX234" fmla="*/ 11153619 w 11685910"/>
                <a:gd name="connsiteY234" fmla="*/ 5027735 h 6078415"/>
                <a:gd name="connsiteX235" fmla="*/ 11158117 w 11685910"/>
                <a:gd name="connsiteY235" fmla="*/ 5047055 h 6078415"/>
                <a:gd name="connsiteX236" fmla="*/ 11173763 w 11685910"/>
                <a:gd name="connsiteY236" fmla="*/ 5053073 h 6078415"/>
                <a:gd name="connsiteX237" fmla="*/ 11173763 w 11685910"/>
                <a:gd name="connsiteY237" fmla="*/ 5072584 h 6078415"/>
                <a:gd name="connsiteX238" fmla="*/ 11128660 w 11685910"/>
                <a:gd name="connsiteY238" fmla="*/ 5034069 h 6078415"/>
                <a:gd name="connsiteX239" fmla="*/ 11128660 w 11685910"/>
                <a:gd name="connsiteY239" fmla="*/ 4996695 h 6078415"/>
                <a:gd name="connsiteX240" fmla="*/ 11108896 w 11685910"/>
                <a:gd name="connsiteY240" fmla="*/ 4970342 h 6078415"/>
                <a:gd name="connsiteX241" fmla="*/ 11108896 w 11685910"/>
                <a:gd name="connsiteY241" fmla="*/ 4951845 h 6078415"/>
                <a:gd name="connsiteX242" fmla="*/ 11128660 w 11685910"/>
                <a:gd name="connsiteY242" fmla="*/ 4924986 h 6078415"/>
                <a:gd name="connsiteX243" fmla="*/ 11128660 w 11685910"/>
                <a:gd name="connsiteY243" fmla="*/ 4888625 h 6078415"/>
                <a:gd name="connsiteX244" fmla="*/ 11173763 w 11685910"/>
                <a:gd name="connsiteY244" fmla="*/ 4849604 h 6078415"/>
                <a:gd name="connsiteX245" fmla="*/ 8150891 w 11685910"/>
                <a:gd name="connsiteY245" fmla="*/ 4849604 h 6078415"/>
                <a:gd name="connsiteX246" fmla="*/ 8195740 w 11685910"/>
                <a:gd name="connsiteY246" fmla="*/ 4888626 h 6078415"/>
                <a:gd name="connsiteX247" fmla="*/ 8195740 w 11685910"/>
                <a:gd name="connsiteY247" fmla="*/ 4924986 h 6078415"/>
                <a:gd name="connsiteX248" fmla="*/ 8215378 w 11685910"/>
                <a:gd name="connsiteY248" fmla="*/ 4951846 h 6078415"/>
                <a:gd name="connsiteX249" fmla="*/ 8215378 w 11685910"/>
                <a:gd name="connsiteY249" fmla="*/ 4970343 h 6078415"/>
                <a:gd name="connsiteX250" fmla="*/ 8195740 w 11685910"/>
                <a:gd name="connsiteY250" fmla="*/ 4996695 h 6078415"/>
                <a:gd name="connsiteX251" fmla="*/ 8195740 w 11685910"/>
                <a:gd name="connsiteY251" fmla="*/ 5034070 h 6078415"/>
                <a:gd name="connsiteX252" fmla="*/ 8150891 w 11685910"/>
                <a:gd name="connsiteY252" fmla="*/ 5072584 h 6078415"/>
                <a:gd name="connsiteX253" fmla="*/ 8150891 w 11685910"/>
                <a:gd name="connsiteY253" fmla="*/ 5053074 h 6078415"/>
                <a:gd name="connsiteX254" fmla="*/ 8166538 w 11685910"/>
                <a:gd name="connsiteY254" fmla="*/ 5046992 h 6078415"/>
                <a:gd name="connsiteX255" fmla="*/ 8171162 w 11685910"/>
                <a:gd name="connsiteY255" fmla="*/ 5027735 h 6078415"/>
                <a:gd name="connsiteX256" fmla="*/ 8171162 w 11685910"/>
                <a:gd name="connsiteY256" fmla="*/ 4992388 h 6078415"/>
                <a:gd name="connsiteX257" fmla="*/ 8196121 w 11685910"/>
                <a:gd name="connsiteY257" fmla="*/ 4961094 h 6078415"/>
                <a:gd name="connsiteX258" fmla="*/ 8196121 w 11685910"/>
                <a:gd name="connsiteY258" fmla="*/ 4960714 h 6078415"/>
                <a:gd name="connsiteX259" fmla="*/ 8171162 w 11685910"/>
                <a:gd name="connsiteY259" fmla="*/ 4929168 h 6078415"/>
                <a:gd name="connsiteX260" fmla="*/ 8171162 w 11685910"/>
                <a:gd name="connsiteY260" fmla="*/ 4893440 h 6078415"/>
                <a:gd name="connsiteX261" fmla="*/ 8150891 w 11685910"/>
                <a:gd name="connsiteY261" fmla="*/ 4869242 h 6078415"/>
                <a:gd name="connsiteX262" fmla="*/ 8133407 w 11685910"/>
                <a:gd name="connsiteY262" fmla="*/ 4849604 h 6078415"/>
                <a:gd name="connsiteX263" fmla="*/ 8133407 w 11685910"/>
                <a:gd name="connsiteY263" fmla="*/ 4869242 h 6078415"/>
                <a:gd name="connsiteX264" fmla="*/ 8113263 w 11685910"/>
                <a:gd name="connsiteY264" fmla="*/ 4893440 h 6078415"/>
                <a:gd name="connsiteX265" fmla="*/ 8113263 w 11685910"/>
                <a:gd name="connsiteY265" fmla="*/ 4929168 h 6078415"/>
                <a:gd name="connsiteX266" fmla="*/ 8088050 w 11685910"/>
                <a:gd name="connsiteY266" fmla="*/ 4960714 h 6078415"/>
                <a:gd name="connsiteX267" fmla="*/ 8088050 w 11685910"/>
                <a:gd name="connsiteY267" fmla="*/ 4961094 h 6078415"/>
                <a:gd name="connsiteX268" fmla="*/ 8113263 w 11685910"/>
                <a:gd name="connsiteY268" fmla="*/ 4992388 h 6078415"/>
                <a:gd name="connsiteX269" fmla="*/ 8113263 w 11685910"/>
                <a:gd name="connsiteY269" fmla="*/ 5027735 h 6078415"/>
                <a:gd name="connsiteX270" fmla="*/ 8117760 w 11685910"/>
                <a:gd name="connsiteY270" fmla="*/ 5047055 h 6078415"/>
                <a:gd name="connsiteX271" fmla="*/ 8133407 w 11685910"/>
                <a:gd name="connsiteY271" fmla="*/ 5053074 h 6078415"/>
                <a:gd name="connsiteX272" fmla="*/ 8133407 w 11685910"/>
                <a:gd name="connsiteY272" fmla="*/ 5072584 h 6078415"/>
                <a:gd name="connsiteX273" fmla="*/ 8088304 w 11685910"/>
                <a:gd name="connsiteY273" fmla="*/ 5034070 h 6078415"/>
                <a:gd name="connsiteX274" fmla="*/ 8088304 w 11685910"/>
                <a:gd name="connsiteY274" fmla="*/ 4996695 h 6078415"/>
                <a:gd name="connsiteX275" fmla="*/ 8068540 w 11685910"/>
                <a:gd name="connsiteY275" fmla="*/ 4970343 h 6078415"/>
                <a:gd name="connsiteX276" fmla="*/ 8068540 w 11685910"/>
                <a:gd name="connsiteY276" fmla="*/ 4951846 h 6078415"/>
                <a:gd name="connsiteX277" fmla="*/ 8088304 w 11685910"/>
                <a:gd name="connsiteY277" fmla="*/ 4924986 h 6078415"/>
                <a:gd name="connsiteX278" fmla="*/ 8088304 w 11685910"/>
                <a:gd name="connsiteY278" fmla="*/ 4888626 h 6078415"/>
                <a:gd name="connsiteX279" fmla="*/ 8133407 w 11685910"/>
                <a:gd name="connsiteY279" fmla="*/ 4849604 h 6078415"/>
                <a:gd name="connsiteX280" fmla="*/ 5096170 w 11685910"/>
                <a:gd name="connsiteY280" fmla="*/ 4849604 h 6078415"/>
                <a:gd name="connsiteX281" fmla="*/ 5141019 w 11685910"/>
                <a:gd name="connsiteY281" fmla="*/ 4888626 h 6078415"/>
                <a:gd name="connsiteX282" fmla="*/ 5141019 w 11685910"/>
                <a:gd name="connsiteY282" fmla="*/ 4924986 h 6078415"/>
                <a:gd name="connsiteX283" fmla="*/ 5160658 w 11685910"/>
                <a:gd name="connsiteY283" fmla="*/ 4951846 h 6078415"/>
                <a:gd name="connsiteX284" fmla="*/ 5160658 w 11685910"/>
                <a:gd name="connsiteY284" fmla="*/ 4970343 h 6078415"/>
                <a:gd name="connsiteX285" fmla="*/ 5141019 w 11685910"/>
                <a:gd name="connsiteY285" fmla="*/ 4996695 h 6078415"/>
                <a:gd name="connsiteX286" fmla="*/ 5141019 w 11685910"/>
                <a:gd name="connsiteY286" fmla="*/ 5034070 h 6078415"/>
                <a:gd name="connsiteX287" fmla="*/ 5096170 w 11685910"/>
                <a:gd name="connsiteY287" fmla="*/ 5072584 h 6078415"/>
                <a:gd name="connsiteX288" fmla="*/ 5096170 w 11685910"/>
                <a:gd name="connsiteY288" fmla="*/ 5053074 h 6078415"/>
                <a:gd name="connsiteX289" fmla="*/ 5111817 w 11685910"/>
                <a:gd name="connsiteY289" fmla="*/ 5046992 h 6078415"/>
                <a:gd name="connsiteX290" fmla="*/ 5116441 w 11685910"/>
                <a:gd name="connsiteY290" fmla="*/ 5027735 h 6078415"/>
                <a:gd name="connsiteX291" fmla="*/ 5116441 w 11685910"/>
                <a:gd name="connsiteY291" fmla="*/ 4992388 h 6078415"/>
                <a:gd name="connsiteX292" fmla="*/ 5141399 w 11685910"/>
                <a:gd name="connsiteY292" fmla="*/ 4961094 h 6078415"/>
                <a:gd name="connsiteX293" fmla="*/ 5141399 w 11685910"/>
                <a:gd name="connsiteY293" fmla="*/ 4960714 h 6078415"/>
                <a:gd name="connsiteX294" fmla="*/ 5116441 w 11685910"/>
                <a:gd name="connsiteY294" fmla="*/ 4929168 h 6078415"/>
                <a:gd name="connsiteX295" fmla="*/ 5116441 w 11685910"/>
                <a:gd name="connsiteY295" fmla="*/ 4893440 h 6078415"/>
                <a:gd name="connsiteX296" fmla="*/ 5096170 w 11685910"/>
                <a:gd name="connsiteY296" fmla="*/ 4869242 h 6078415"/>
                <a:gd name="connsiteX297" fmla="*/ 5078686 w 11685910"/>
                <a:gd name="connsiteY297" fmla="*/ 4849604 h 6078415"/>
                <a:gd name="connsiteX298" fmla="*/ 5078686 w 11685910"/>
                <a:gd name="connsiteY298" fmla="*/ 4869242 h 6078415"/>
                <a:gd name="connsiteX299" fmla="*/ 5058542 w 11685910"/>
                <a:gd name="connsiteY299" fmla="*/ 4893440 h 6078415"/>
                <a:gd name="connsiteX300" fmla="*/ 5058542 w 11685910"/>
                <a:gd name="connsiteY300" fmla="*/ 4929168 h 6078415"/>
                <a:gd name="connsiteX301" fmla="*/ 5033329 w 11685910"/>
                <a:gd name="connsiteY301" fmla="*/ 4960714 h 6078415"/>
                <a:gd name="connsiteX302" fmla="*/ 5033329 w 11685910"/>
                <a:gd name="connsiteY302" fmla="*/ 4961094 h 6078415"/>
                <a:gd name="connsiteX303" fmla="*/ 5058542 w 11685910"/>
                <a:gd name="connsiteY303" fmla="*/ 4992388 h 6078415"/>
                <a:gd name="connsiteX304" fmla="*/ 5058542 w 11685910"/>
                <a:gd name="connsiteY304" fmla="*/ 5027735 h 6078415"/>
                <a:gd name="connsiteX305" fmla="*/ 5063039 w 11685910"/>
                <a:gd name="connsiteY305" fmla="*/ 5047055 h 6078415"/>
                <a:gd name="connsiteX306" fmla="*/ 5078686 w 11685910"/>
                <a:gd name="connsiteY306" fmla="*/ 5053074 h 6078415"/>
                <a:gd name="connsiteX307" fmla="*/ 5078686 w 11685910"/>
                <a:gd name="connsiteY307" fmla="*/ 5072584 h 6078415"/>
                <a:gd name="connsiteX308" fmla="*/ 5033583 w 11685910"/>
                <a:gd name="connsiteY308" fmla="*/ 5034070 h 6078415"/>
                <a:gd name="connsiteX309" fmla="*/ 5033583 w 11685910"/>
                <a:gd name="connsiteY309" fmla="*/ 4996695 h 6078415"/>
                <a:gd name="connsiteX310" fmla="*/ 5013819 w 11685910"/>
                <a:gd name="connsiteY310" fmla="*/ 4970343 h 6078415"/>
                <a:gd name="connsiteX311" fmla="*/ 5013819 w 11685910"/>
                <a:gd name="connsiteY311" fmla="*/ 4951846 h 6078415"/>
                <a:gd name="connsiteX312" fmla="*/ 5033583 w 11685910"/>
                <a:gd name="connsiteY312" fmla="*/ 4924986 h 6078415"/>
                <a:gd name="connsiteX313" fmla="*/ 5033583 w 11685910"/>
                <a:gd name="connsiteY313" fmla="*/ 4888626 h 6078415"/>
                <a:gd name="connsiteX314" fmla="*/ 5078686 w 11685910"/>
                <a:gd name="connsiteY314" fmla="*/ 4849604 h 6078415"/>
                <a:gd name="connsiteX315" fmla="*/ 2067894 w 11685910"/>
                <a:gd name="connsiteY315" fmla="*/ 4849604 h 6078415"/>
                <a:gd name="connsiteX316" fmla="*/ 2112743 w 11685910"/>
                <a:gd name="connsiteY316" fmla="*/ 4888626 h 6078415"/>
                <a:gd name="connsiteX317" fmla="*/ 2112743 w 11685910"/>
                <a:gd name="connsiteY317" fmla="*/ 4924986 h 6078415"/>
                <a:gd name="connsiteX318" fmla="*/ 2132381 w 11685910"/>
                <a:gd name="connsiteY318" fmla="*/ 4951846 h 6078415"/>
                <a:gd name="connsiteX319" fmla="*/ 2132381 w 11685910"/>
                <a:gd name="connsiteY319" fmla="*/ 4970343 h 6078415"/>
                <a:gd name="connsiteX320" fmla="*/ 2112743 w 11685910"/>
                <a:gd name="connsiteY320" fmla="*/ 4996695 h 6078415"/>
                <a:gd name="connsiteX321" fmla="*/ 2112743 w 11685910"/>
                <a:gd name="connsiteY321" fmla="*/ 5034070 h 6078415"/>
                <a:gd name="connsiteX322" fmla="*/ 2067894 w 11685910"/>
                <a:gd name="connsiteY322" fmla="*/ 5072584 h 6078415"/>
                <a:gd name="connsiteX323" fmla="*/ 2067894 w 11685910"/>
                <a:gd name="connsiteY323" fmla="*/ 5053074 h 6078415"/>
                <a:gd name="connsiteX324" fmla="*/ 2083541 w 11685910"/>
                <a:gd name="connsiteY324" fmla="*/ 5046992 h 6078415"/>
                <a:gd name="connsiteX325" fmla="*/ 2088165 w 11685910"/>
                <a:gd name="connsiteY325" fmla="*/ 5027735 h 6078415"/>
                <a:gd name="connsiteX326" fmla="*/ 2088165 w 11685910"/>
                <a:gd name="connsiteY326" fmla="*/ 4992388 h 6078415"/>
                <a:gd name="connsiteX327" fmla="*/ 2113123 w 11685910"/>
                <a:gd name="connsiteY327" fmla="*/ 4961094 h 6078415"/>
                <a:gd name="connsiteX328" fmla="*/ 2113123 w 11685910"/>
                <a:gd name="connsiteY328" fmla="*/ 4960714 h 6078415"/>
                <a:gd name="connsiteX329" fmla="*/ 2088165 w 11685910"/>
                <a:gd name="connsiteY329" fmla="*/ 4929168 h 6078415"/>
                <a:gd name="connsiteX330" fmla="*/ 2088165 w 11685910"/>
                <a:gd name="connsiteY330" fmla="*/ 4893440 h 6078415"/>
                <a:gd name="connsiteX331" fmla="*/ 2067894 w 11685910"/>
                <a:gd name="connsiteY331" fmla="*/ 4869242 h 6078415"/>
                <a:gd name="connsiteX332" fmla="*/ 2050410 w 11685910"/>
                <a:gd name="connsiteY332" fmla="*/ 4849604 h 6078415"/>
                <a:gd name="connsiteX333" fmla="*/ 2050410 w 11685910"/>
                <a:gd name="connsiteY333" fmla="*/ 4869242 h 6078415"/>
                <a:gd name="connsiteX334" fmla="*/ 2030266 w 11685910"/>
                <a:gd name="connsiteY334" fmla="*/ 4893440 h 6078415"/>
                <a:gd name="connsiteX335" fmla="*/ 2030266 w 11685910"/>
                <a:gd name="connsiteY335" fmla="*/ 4929168 h 6078415"/>
                <a:gd name="connsiteX336" fmla="*/ 2005053 w 11685910"/>
                <a:gd name="connsiteY336" fmla="*/ 4960714 h 6078415"/>
                <a:gd name="connsiteX337" fmla="*/ 2005053 w 11685910"/>
                <a:gd name="connsiteY337" fmla="*/ 4961094 h 6078415"/>
                <a:gd name="connsiteX338" fmla="*/ 2030266 w 11685910"/>
                <a:gd name="connsiteY338" fmla="*/ 4992388 h 6078415"/>
                <a:gd name="connsiteX339" fmla="*/ 2030266 w 11685910"/>
                <a:gd name="connsiteY339" fmla="*/ 5027735 h 6078415"/>
                <a:gd name="connsiteX340" fmla="*/ 2034764 w 11685910"/>
                <a:gd name="connsiteY340" fmla="*/ 5047055 h 6078415"/>
                <a:gd name="connsiteX341" fmla="*/ 2050410 w 11685910"/>
                <a:gd name="connsiteY341" fmla="*/ 5053074 h 6078415"/>
                <a:gd name="connsiteX342" fmla="*/ 2050410 w 11685910"/>
                <a:gd name="connsiteY342" fmla="*/ 5072584 h 6078415"/>
                <a:gd name="connsiteX343" fmla="*/ 2005307 w 11685910"/>
                <a:gd name="connsiteY343" fmla="*/ 5034070 h 6078415"/>
                <a:gd name="connsiteX344" fmla="*/ 2005307 w 11685910"/>
                <a:gd name="connsiteY344" fmla="*/ 4996695 h 6078415"/>
                <a:gd name="connsiteX345" fmla="*/ 1985542 w 11685910"/>
                <a:gd name="connsiteY345" fmla="*/ 4970343 h 6078415"/>
                <a:gd name="connsiteX346" fmla="*/ 1985542 w 11685910"/>
                <a:gd name="connsiteY346" fmla="*/ 4951846 h 6078415"/>
                <a:gd name="connsiteX347" fmla="*/ 2005307 w 11685910"/>
                <a:gd name="connsiteY347" fmla="*/ 4924986 h 6078415"/>
                <a:gd name="connsiteX348" fmla="*/ 2005307 w 11685910"/>
                <a:gd name="connsiteY348" fmla="*/ 4888626 h 6078415"/>
                <a:gd name="connsiteX349" fmla="*/ 2050410 w 11685910"/>
                <a:gd name="connsiteY349" fmla="*/ 4849604 h 6078415"/>
                <a:gd name="connsiteX350" fmla="*/ 11192939 w 11685910"/>
                <a:gd name="connsiteY350" fmla="*/ 4509400 h 6078415"/>
                <a:gd name="connsiteX351" fmla="*/ 11237788 w 11685910"/>
                <a:gd name="connsiteY351" fmla="*/ 4548421 h 6078415"/>
                <a:gd name="connsiteX352" fmla="*/ 11237788 w 11685910"/>
                <a:gd name="connsiteY352" fmla="*/ 4584782 h 6078415"/>
                <a:gd name="connsiteX353" fmla="*/ 11257426 w 11685910"/>
                <a:gd name="connsiteY353" fmla="*/ 4611641 h 6078415"/>
                <a:gd name="connsiteX354" fmla="*/ 11257426 w 11685910"/>
                <a:gd name="connsiteY354" fmla="*/ 4630138 h 6078415"/>
                <a:gd name="connsiteX355" fmla="*/ 11237788 w 11685910"/>
                <a:gd name="connsiteY355" fmla="*/ 4656491 h 6078415"/>
                <a:gd name="connsiteX356" fmla="*/ 11237788 w 11685910"/>
                <a:gd name="connsiteY356" fmla="*/ 4693865 h 6078415"/>
                <a:gd name="connsiteX357" fmla="*/ 11192939 w 11685910"/>
                <a:gd name="connsiteY357" fmla="*/ 4732380 h 6078415"/>
                <a:gd name="connsiteX358" fmla="*/ 11192939 w 11685910"/>
                <a:gd name="connsiteY358" fmla="*/ 4712869 h 6078415"/>
                <a:gd name="connsiteX359" fmla="*/ 11208586 w 11685910"/>
                <a:gd name="connsiteY359" fmla="*/ 4706788 h 6078415"/>
                <a:gd name="connsiteX360" fmla="*/ 11213210 w 11685910"/>
                <a:gd name="connsiteY360" fmla="*/ 4687531 h 6078415"/>
                <a:gd name="connsiteX361" fmla="*/ 11213210 w 11685910"/>
                <a:gd name="connsiteY361" fmla="*/ 4652183 h 6078415"/>
                <a:gd name="connsiteX362" fmla="*/ 11238169 w 11685910"/>
                <a:gd name="connsiteY362" fmla="*/ 4620890 h 6078415"/>
                <a:gd name="connsiteX363" fmla="*/ 11238169 w 11685910"/>
                <a:gd name="connsiteY363" fmla="*/ 4620510 h 6078415"/>
                <a:gd name="connsiteX364" fmla="*/ 11213210 w 11685910"/>
                <a:gd name="connsiteY364" fmla="*/ 4588963 h 6078415"/>
                <a:gd name="connsiteX365" fmla="*/ 11213210 w 11685910"/>
                <a:gd name="connsiteY365" fmla="*/ 4553236 h 6078415"/>
                <a:gd name="connsiteX366" fmla="*/ 11192939 w 11685910"/>
                <a:gd name="connsiteY366" fmla="*/ 4529037 h 6078415"/>
                <a:gd name="connsiteX367" fmla="*/ 11175455 w 11685910"/>
                <a:gd name="connsiteY367" fmla="*/ 4509400 h 6078415"/>
                <a:gd name="connsiteX368" fmla="*/ 11175455 w 11685910"/>
                <a:gd name="connsiteY368" fmla="*/ 4529037 h 6078415"/>
                <a:gd name="connsiteX369" fmla="*/ 11155311 w 11685910"/>
                <a:gd name="connsiteY369" fmla="*/ 4553236 h 6078415"/>
                <a:gd name="connsiteX370" fmla="*/ 11155311 w 11685910"/>
                <a:gd name="connsiteY370" fmla="*/ 4588963 h 6078415"/>
                <a:gd name="connsiteX371" fmla="*/ 11130099 w 11685910"/>
                <a:gd name="connsiteY371" fmla="*/ 4620510 h 6078415"/>
                <a:gd name="connsiteX372" fmla="*/ 11130099 w 11685910"/>
                <a:gd name="connsiteY372" fmla="*/ 4620890 h 6078415"/>
                <a:gd name="connsiteX373" fmla="*/ 11155311 w 11685910"/>
                <a:gd name="connsiteY373" fmla="*/ 4652183 h 6078415"/>
                <a:gd name="connsiteX374" fmla="*/ 11155311 w 11685910"/>
                <a:gd name="connsiteY374" fmla="*/ 4687531 h 6078415"/>
                <a:gd name="connsiteX375" fmla="*/ 11159809 w 11685910"/>
                <a:gd name="connsiteY375" fmla="*/ 4706851 h 6078415"/>
                <a:gd name="connsiteX376" fmla="*/ 11175455 w 11685910"/>
                <a:gd name="connsiteY376" fmla="*/ 4712869 h 6078415"/>
                <a:gd name="connsiteX377" fmla="*/ 11175455 w 11685910"/>
                <a:gd name="connsiteY377" fmla="*/ 4732380 h 6078415"/>
                <a:gd name="connsiteX378" fmla="*/ 11130352 w 11685910"/>
                <a:gd name="connsiteY378" fmla="*/ 4693865 h 6078415"/>
                <a:gd name="connsiteX379" fmla="*/ 11130352 w 11685910"/>
                <a:gd name="connsiteY379" fmla="*/ 4656491 h 6078415"/>
                <a:gd name="connsiteX380" fmla="*/ 11110588 w 11685910"/>
                <a:gd name="connsiteY380" fmla="*/ 4630138 h 6078415"/>
                <a:gd name="connsiteX381" fmla="*/ 11110588 w 11685910"/>
                <a:gd name="connsiteY381" fmla="*/ 4611641 h 6078415"/>
                <a:gd name="connsiteX382" fmla="*/ 11130352 w 11685910"/>
                <a:gd name="connsiteY382" fmla="*/ 4584782 h 6078415"/>
                <a:gd name="connsiteX383" fmla="*/ 11130352 w 11685910"/>
                <a:gd name="connsiteY383" fmla="*/ 4548421 h 6078415"/>
                <a:gd name="connsiteX384" fmla="*/ 11175455 w 11685910"/>
                <a:gd name="connsiteY384" fmla="*/ 4509400 h 6078415"/>
                <a:gd name="connsiteX385" fmla="*/ 8152583 w 11685910"/>
                <a:gd name="connsiteY385" fmla="*/ 4509400 h 6078415"/>
                <a:gd name="connsiteX386" fmla="*/ 8197432 w 11685910"/>
                <a:gd name="connsiteY386" fmla="*/ 4548422 h 6078415"/>
                <a:gd name="connsiteX387" fmla="*/ 8197432 w 11685910"/>
                <a:gd name="connsiteY387" fmla="*/ 4584782 h 6078415"/>
                <a:gd name="connsiteX388" fmla="*/ 8217070 w 11685910"/>
                <a:gd name="connsiteY388" fmla="*/ 4611642 h 6078415"/>
                <a:gd name="connsiteX389" fmla="*/ 8217070 w 11685910"/>
                <a:gd name="connsiteY389" fmla="*/ 4630139 h 6078415"/>
                <a:gd name="connsiteX390" fmla="*/ 8197432 w 11685910"/>
                <a:gd name="connsiteY390" fmla="*/ 4656491 h 6078415"/>
                <a:gd name="connsiteX391" fmla="*/ 8197432 w 11685910"/>
                <a:gd name="connsiteY391" fmla="*/ 4693866 h 6078415"/>
                <a:gd name="connsiteX392" fmla="*/ 8152583 w 11685910"/>
                <a:gd name="connsiteY392" fmla="*/ 4732380 h 6078415"/>
                <a:gd name="connsiteX393" fmla="*/ 8152583 w 11685910"/>
                <a:gd name="connsiteY393" fmla="*/ 4712870 h 6078415"/>
                <a:gd name="connsiteX394" fmla="*/ 8168230 w 11685910"/>
                <a:gd name="connsiteY394" fmla="*/ 4706788 h 6078415"/>
                <a:gd name="connsiteX395" fmla="*/ 8172854 w 11685910"/>
                <a:gd name="connsiteY395" fmla="*/ 4687531 h 6078415"/>
                <a:gd name="connsiteX396" fmla="*/ 8172854 w 11685910"/>
                <a:gd name="connsiteY396" fmla="*/ 4652184 h 6078415"/>
                <a:gd name="connsiteX397" fmla="*/ 8197813 w 11685910"/>
                <a:gd name="connsiteY397" fmla="*/ 4620890 h 6078415"/>
                <a:gd name="connsiteX398" fmla="*/ 8197813 w 11685910"/>
                <a:gd name="connsiteY398" fmla="*/ 4620510 h 6078415"/>
                <a:gd name="connsiteX399" fmla="*/ 8172854 w 11685910"/>
                <a:gd name="connsiteY399" fmla="*/ 4588964 h 6078415"/>
                <a:gd name="connsiteX400" fmla="*/ 8172854 w 11685910"/>
                <a:gd name="connsiteY400" fmla="*/ 4553236 h 6078415"/>
                <a:gd name="connsiteX401" fmla="*/ 8152583 w 11685910"/>
                <a:gd name="connsiteY401" fmla="*/ 4529038 h 6078415"/>
                <a:gd name="connsiteX402" fmla="*/ 8135099 w 11685910"/>
                <a:gd name="connsiteY402" fmla="*/ 4509400 h 6078415"/>
                <a:gd name="connsiteX403" fmla="*/ 8135099 w 11685910"/>
                <a:gd name="connsiteY403" fmla="*/ 4529038 h 6078415"/>
                <a:gd name="connsiteX404" fmla="*/ 8114955 w 11685910"/>
                <a:gd name="connsiteY404" fmla="*/ 4553236 h 6078415"/>
                <a:gd name="connsiteX405" fmla="*/ 8114955 w 11685910"/>
                <a:gd name="connsiteY405" fmla="*/ 4588964 h 6078415"/>
                <a:gd name="connsiteX406" fmla="*/ 8089742 w 11685910"/>
                <a:gd name="connsiteY406" fmla="*/ 4620510 h 6078415"/>
                <a:gd name="connsiteX407" fmla="*/ 8089742 w 11685910"/>
                <a:gd name="connsiteY407" fmla="*/ 4620890 h 6078415"/>
                <a:gd name="connsiteX408" fmla="*/ 8114955 w 11685910"/>
                <a:gd name="connsiteY408" fmla="*/ 4652184 h 6078415"/>
                <a:gd name="connsiteX409" fmla="*/ 8114955 w 11685910"/>
                <a:gd name="connsiteY409" fmla="*/ 4687531 h 6078415"/>
                <a:gd name="connsiteX410" fmla="*/ 8119452 w 11685910"/>
                <a:gd name="connsiteY410" fmla="*/ 4706851 h 6078415"/>
                <a:gd name="connsiteX411" fmla="*/ 8135099 w 11685910"/>
                <a:gd name="connsiteY411" fmla="*/ 4712870 h 6078415"/>
                <a:gd name="connsiteX412" fmla="*/ 8135099 w 11685910"/>
                <a:gd name="connsiteY412" fmla="*/ 4732380 h 6078415"/>
                <a:gd name="connsiteX413" fmla="*/ 8089996 w 11685910"/>
                <a:gd name="connsiteY413" fmla="*/ 4693866 h 6078415"/>
                <a:gd name="connsiteX414" fmla="*/ 8089996 w 11685910"/>
                <a:gd name="connsiteY414" fmla="*/ 4656491 h 6078415"/>
                <a:gd name="connsiteX415" fmla="*/ 8070232 w 11685910"/>
                <a:gd name="connsiteY415" fmla="*/ 4630139 h 6078415"/>
                <a:gd name="connsiteX416" fmla="*/ 8070232 w 11685910"/>
                <a:gd name="connsiteY416" fmla="*/ 4611642 h 6078415"/>
                <a:gd name="connsiteX417" fmla="*/ 8089996 w 11685910"/>
                <a:gd name="connsiteY417" fmla="*/ 4584782 h 6078415"/>
                <a:gd name="connsiteX418" fmla="*/ 8089996 w 11685910"/>
                <a:gd name="connsiteY418" fmla="*/ 4548422 h 6078415"/>
                <a:gd name="connsiteX419" fmla="*/ 8135099 w 11685910"/>
                <a:gd name="connsiteY419" fmla="*/ 4509400 h 6078415"/>
                <a:gd name="connsiteX420" fmla="*/ 5097862 w 11685910"/>
                <a:gd name="connsiteY420" fmla="*/ 4509400 h 6078415"/>
                <a:gd name="connsiteX421" fmla="*/ 5142711 w 11685910"/>
                <a:gd name="connsiteY421" fmla="*/ 4548422 h 6078415"/>
                <a:gd name="connsiteX422" fmla="*/ 5142711 w 11685910"/>
                <a:gd name="connsiteY422" fmla="*/ 4584782 h 6078415"/>
                <a:gd name="connsiteX423" fmla="*/ 5162349 w 11685910"/>
                <a:gd name="connsiteY423" fmla="*/ 4611642 h 6078415"/>
                <a:gd name="connsiteX424" fmla="*/ 5162349 w 11685910"/>
                <a:gd name="connsiteY424" fmla="*/ 4630139 h 6078415"/>
                <a:gd name="connsiteX425" fmla="*/ 5142711 w 11685910"/>
                <a:gd name="connsiteY425" fmla="*/ 4656491 h 6078415"/>
                <a:gd name="connsiteX426" fmla="*/ 5142711 w 11685910"/>
                <a:gd name="connsiteY426" fmla="*/ 4693866 h 6078415"/>
                <a:gd name="connsiteX427" fmla="*/ 5097862 w 11685910"/>
                <a:gd name="connsiteY427" fmla="*/ 4732380 h 6078415"/>
                <a:gd name="connsiteX428" fmla="*/ 5097862 w 11685910"/>
                <a:gd name="connsiteY428" fmla="*/ 4712870 h 6078415"/>
                <a:gd name="connsiteX429" fmla="*/ 5113508 w 11685910"/>
                <a:gd name="connsiteY429" fmla="*/ 4706788 h 6078415"/>
                <a:gd name="connsiteX430" fmla="*/ 5118133 w 11685910"/>
                <a:gd name="connsiteY430" fmla="*/ 4687531 h 6078415"/>
                <a:gd name="connsiteX431" fmla="*/ 5118133 w 11685910"/>
                <a:gd name="connsiteY431" fmla="*/ 4652184 h 6078415"/>
                <a:gd name="connsiteX432" fmla="*/ 5143092 w 11685910"/>
                <a:gd name="connsiteY432" fmla="*/ 4620890 h 6078415"/>
                <a:gd name="connsiteX433" fmla="*/ 5143092 w 11685910"/>
                <a:gd name="connsiteY433" fmla="*/ 4620510 h 6078415"/>
                <a:gd name="connsiteX434" fmla="*/ 5118133 w 11685910"/>
                <a:gd name="connsiteY434" fmla="*/ 4588964 h 6078415"/>
                <a:gd name="connsiteX435" fmla="*/ 5118133 w 11685910"/>
                <a:gd name="connsiteY435" fmla="*/ 4553236 h 6078415"/>
                <a:gd name="connsiteX436" fmla="*/ 5097862 w 11685910"/>
                <a:gd name="connsiteY436" fmla="*/ 4529038 h 6078415"/>
                <a:gd name="connsiteX437" fmla="*/ 5080378 w 11685910"/>
                <a:gd name="connsiteY437" fmla="*/ 4509400 h 6078415"/>
                <a:gd name="connsiteX438" fmla="*/ 5080378 w 11685910"/>
                <a:gd name="connsiteY438" fmla="*/ 4529038 h 6078415"/>
                <a:gd name="connsiteX439" fmla="*/ 5060234 w 11685910"/>
                <a:gd name="connsiteY439" fmla="*/ 4553236 h 6078415"/>
                <a:gd name="connsiteX440" fmla="*/ 5060234 w 11685910"/>
                <a:gd name="connsiteY440" fmla="*/ 4588964 h 6078415"/>
                <a:gd name="connsiteX441" fmla="*/ 5035021 w 11685910"/>
                <a:gd name="connsiteY441" fmla="*/ 4620510 h 6078415"/>
                <a:gd name="connsiteX442" fmla="*/ 5035021 w 11685910"/>
                <a:gd name="connsiteY442" fmla="*/ 4620890 h 6078415"/>
                <a:gd name="connsiteX443" fmla="*/ 5060234 w 11685910"/>
                <a:gd name="connsiteY443" fmla="*/ 4652184 h 6078415"/>
                <a:gd name="connsiteX444" fmla="*/ 5060234 w 11685910"/>
                <a:gd name="connsiteY444" fmla="*/ 4687531 h 6078415"/>
                <a:gd name="connsiteX445" fmla="*/ 5064731 w 11685910"/>
                <a:gd name="connsiteY445" fmla="*/ 4706851 h 6078415"/>
                <a:gd name="connsiteX446" fmla="*/ 5080378 w 11685910"/>
                <a:gd name="connsiteY446" fmla="*/ 4712870 h 6078415"/>
                <a:gd name="connsiteX447" fmla="*/ 5080378 w 11685910"/>
                <a:gd name="connsiteY447" fmla="*/ 4732380 h 6078415"/>
                <a:gd name="connsiteX448" fmla="*/ 5035275 w 11685910"/>
                <a:gd name="connsiteY448" fmla="*/ 4693866 h 6078415"/>
                <a:gd name="connsiteX449" fmla="*/ 5035275 w 11685910"/>
                <a:gd name="connsiteY449" fmla="*/ 4656491 h 6078415"/>
                <a:gd name="connsiteX450" fmla="*/ 5015511 w 11685910"/>
                <a:gd name="connsiteY450" fmla="*/ 4630139 h 6078415"/>
                <a:gd name="connsiteX451" fmla="*/ 5015511 w 11685910"/>
                <a:gd name="connsiteY451" fmla="*/ 4611642 h 6078415"/>
                <a:gd name="connsiteX452" fmla="*/ 5035275 w 11685910"/>
                <a:gd name="connsiteY452" fmla="*/ 4584782 h 6078415"/>
                <a:gd name="connsiteX453" fmla="*/ 5035275 w 11685910"/>
                <a:gd name="connsiteY453" fmla="*/ 4548422 h 6078415"/>
                <a:gd name="connsiteX454" fmla="*/ 5080378 w 11685910"/>
                <a:gd name="connsiteY454" fmla="*/ 4509400 h 6078415"/>
                <a:gd name="connsiteX455" fmla="*/ 2069587 w 11685910"/>
                <a:gd name="connsiteY455" fmla="*/ 4509400 h 6078415"/>
                <a:gd name="connsiteX456" fmla="*/ 2114436 w 11685910"/>
                <a:gd name="connsiteY456" fmla="*/ 4548422 h 6078415"/>
                <a:gd name="connsiteX457" fmla="*/ 2114436 w 11685910"/>
                <a:gd name="connsiteY457" fmla="*/ 4584782 h 6078415"/>
                <a:gd name="connsiteX458" fmla="*/ 2134073 w 11685910"/>
                <a:gd name="connsiteY458" fmla="*/ 4611642 h 6078415"/>
                <a:gd name="connsiteX459" fmla="*/ 2134073 w 11685910"/>
                <a:gd name="connsiteY459" fmla="*/ 4630139 h 6078415"/>
                <a:gd name="connsiteX460" fmla="*/ 2114436 w 11685910"/>
                <a:gd name="connsiteY460" fmla="*/ 4656491 h 6078415"/>
                <a:gd name="connsiteX461" fmla="*/ 2114436 w 11685910"/>
                <a:gd name="connsiteY461" fmla="*/ 4693866 h 6078415"/>
                <a:gd name="connsiteX462" fmla="*/ 2069587 w 11685910"/>
                <a:gd name="connsiteY462" fmla="*/ 4732380 h 6078415"/>
                <a:gd name="connsiteX463" fmla="*/ 2069587 w 11685910"/>
                <a:gd name="connsiteY463" fmla="*/ 4712870 h 6078415"/>
                <a:gd name="connsiteX464" fmla="*/ 2085232 w 11685910"/>
                <a:gd name="connsiteY464" fmla="*/ 4706788 h 6078415"/>
                <a:gd name="connsiteX465" fmla="*/ 2089857 w 11685910"/>
                <a:gd name="connsiteY465" fmla="*/ 4687531 h 6078415"/>
                <a:gd name="connsiteX466" fmla="*/ 2089857 w 11685910"/>
                <a:gd name="connsiteY466" fmla="*/ 4652184 h 6078415"/>
                <a:gd name="connsiteX467" fmla="*/ 2114816 w 11685910"/>
                <a:gd name="connsiteY467" fmla="*/ 4620890 h 6078415"/>
                <a:gd name="connsiteX468" fmla="*/ 2114816 w 11685910"/>
                <a:gd name="connsiteY468" fmla="*/ 4620510 h 6078415"/>
                <a:gd name="connsiteX469" fmla="*/ 2089857 w 11685910"/>
                <a:gd name="connsiteY469" fmla="*/ 4588964 h 6078415"/>
                <a:gd name="connsiteX470" fmla="*/ 2089857 w 11685910"/>
                <a:gd name="connsiteY470" fmla="*/ 4553236 h 6078415"/>
                <a:gd name="connsiteX471" fmla="*/ 2069587 w 11685910"/>
                <a:gd name="connsiteY471" fmla="*/ 4529038 h 6078415"/>
                <a:gd name="connsiteX472" fmla="*/ 2052102 w 11685910"/>
                <a:gd name="connsiteY472" fmla="*/ 4509400 h 6078415"/>
                <a:gd name="connsiteX473" fmla="*/ 2052102 w 11685910"/>
                <a:gd name="connsiteY473" fmla="*/ 4529038 h 6078415"/>
                <a:gd name="connsiteX474" fmla="*/ 2031958 w 11685910"/>
                <a:gd name="connsiteY474" fmla="*/ 4553236 h 6078415"/>
                <a:gd name="connsiteX475" fmla="*/ 2031958 w 11685910"/>
                <a:gd name="connsiteY475" fmla="*/ 4588964 h 6078415"/>
                <a:gd name="connsiteX476" fmla="*/ 2006745 w 11685910"/>
                <a:gd name="connsiteY476" fmla="*/ 4620510 h 6078415"/>
                <a:gd name="connsiteX477" fmla="*/ 2006745 w 11685910"/>
                <a:gd name="connsiteY477" fmla="*/ 4620890 h 6078415"/>
                <a:gd name="connsiteX478" fmla="*/ 2031958 w 11685910"/>
                <a:gd name="connsiteY478" fmla="*/ 4652184 h 6078415"/>
                <a:gd name="connsiteX479" fmla="*/ 2031958 w 11685910"/>
                <a:gd name="connsiteY479" fmla="*/ 4687531 h 6078415"/>
                <a:gd name="connsiteX480" fmla="*/ 2036456 w 11685910"/>
                <a:gd name="connsiteY480" fmla="*/ 4706851 h 6078415"/>
                <a:gd name="connsiteX481" fmla="*/ 2052102 w 11685910"/>
                <a:gd name="connsiteY481" fmla="*/ 4712870 h 6078415"/>
                <a:gd name="connsiteX482" fmla="*/ 2052102 w 11685910"/>
                <a:gd name="connsiteY482" fmla="*/ 4732380 h 6078415"/>
                <a:gd name="connsiteX483" fmla="*/ 2006999 w 11685910"/>
                <a:gd name="connsiteY483" fmla="*/ 4693866 h 6078415"/>
                <a:gd name="connsiteX484" fmla="*/ 2006999 w 11685910"/>
                <a:gd name="connsiteY484" fmla="*/ 4656491 h 6078415"/>
                <a:gd name="connsiteX485" fmla="*/ 1987235 w 11685910"/>
                <a:gd name="connsiteY485" fmla="*/ 4630139 h 6078415"/>
                <a:gd name="connsiteX486" fmla="*/ 1987235 w 11685910"/>
                <a:gd name="connsiteY486" fmla="*/ 4611642 h 6078415"/>
                <a:gd name="connsiteX487" fmla="*/ 2006999 w 11685910"/>
                <a:gd name="connsiteY487" fmla="*/ 4584782 h 6078415"/>
                <a:gd name="connsiteX488" fmla="*/ 2006999 w 11685910"/>
                <a:gd name="connsiteY488" fmla="*/ 4548422 h 6078415"/>
                <a:gd name="connsiteX489" fmla="*/ 2052102 w 11685910"/>
                <a:gd name="connsiteY489" fmla="*/ 4509400 h 6078415"/>
                <a:gd name="connsiteX490" fmla="*/ 11194631 w 11685910"/>
                <a:gd name="connsiteY490" fmla="*/ 4169195 h 6078415"/>
                <a:gd name="connsiteX491" fmla="*/ 11239480 w 11685910"/>
                <a:gd name="connsiteY491" fmla="*/ 4208216 h 6078415"/>
                <a:gd name="connsiteX492" fmla="*/ 11239480 w 11685910"/>
                <a:gd name="connsiteY492" fmla="*/ 4244577 h 6078415"/>
                <a:gd name="connsiteX493" fmla="*/ 11259118 w 11685910"/>
                <a:gd name="connsiteY493" fmla="*/ 4271436 h 6078415"/>
                <a:gd name="connsiteX494" fmla="*/ 11259118 w 11685910"/>
                <a:gd name="connsiteY494" fmla="*/ 4289933 h 6078415"/>
                <a:gd name="connsiteX495" fmla="*/ 11239480 w 11685910"/>
                <a:gd name="connsiteY495" fmla="*/ 4316286 h 6078415"/>
                <a:gd name="connsiteX496" fmla="*/ 11239480 w 11685910"/>
                <a:gd name="connsiteY496" fmla="*/ 4353660 h 6078415"/>
                <a:gd name="connsiteX497" fmla="*/ 11194631 w 11685910"/>
                <a:gd name="connsiteY497" fmla="*/ 4392175 h 6078415"/>
                <a:gd name="connsiteX498" fmla="*/ 11194631 w 11685910"/>
                <a:gd name="connsiteY498" fmla="*/ 4372664 h 6078415"/>
                <a:gd name="connsiteX499" fmla="*/ 11210278 w 11685910"/>
                <a:gd name="connsiteY499" fmla="*/ 4366583 h 6078415"/>
                <a:gd name="connsiteX500" fmla="*/ 11214902 w 11685910"/>
                <a:gd name="connsiteY500" fmla="*/ 4347326 h 6078415"/>
                <a:gd name="connsiteX501" fmla="*/ 11214902 w 11685910"/>
                <a:gd name="connsiteY501" fmla="*/ 4311978 h 6078415"/>
                <a:gd name="connsiteX502" fmla="*/ 11239861 w 11685910"/>
                <a:gd name="connsiteY502" fmla="*/ 4280685 h 6078415"/>
                <a:gd name="connsiteX503" fmla="*/ 11239861 w 11685910"/>
                <a:gd name="connsiteY503" fmla="*/ 4280305 h 6078415"/>
                <a:gd name="connsiteX504" fmla="*/ 11214902 w 11685910"/>
                <a:gd name="connsiteY504" fmla="*/ 4248758 h 6078415"/>
                <a:gd name="connsiteX505" fmla="*/ 11214902 w 11685910"/>
                <a:gd name="connsiteY505" fmla="*/ 4213031 h 6078415"/>
                <a:gd name="connsiteX506" fmla="*/ 11194631 w 11685910"/>
                <a:gd name="connsiteY506" fmla="*/ 4188832 h 6078415"/>
                <a:gd name="connsiteX507" fmla="*/ 11177147 w 11685910"/>
                <a:gd name="connsiteY507" fmla="*/ 4169195 h 6078415"/>
                <a:gd name="connsiteX508" fmla="*/ 11177147 w 11685910"/>
                <a:gd name="connsiteY508" fmla="*/ 4188832 h 6078415"/>
                <a:gd name="connsiteX509" fmla="*/ 11157003 w 11685910"/>
                <a:gd name="connsiteY509" fmla="*/ 4213031 h 6078415"/>
                <a:gd name="connsiteX510" fmla="*/ 11157003 w 11685910"/>
                <a:gd name="connsiteY510" fmla="*/ 4248758 h 6078415"/>
                <a:gd name="connsiteX511" fmla="*/ 11131791 w 11685910"/>
                <a:gd name="connsiteY511" fmla="*/ 4280305 h 6078415"/>
                <a:gd name="connsiteX512" fmla="*/ 11131791 w 11685910"/>
                <a:gd name="connsiteY512" fmla="*/ 4280685 h 6078415"/>
                <a:gd name="connsiteX513" fmla="*/ 11157003 w 11685910"/>
                <a:gd name="connsiteY513" fmla="*/ 4311978 h 6078415"/>
                <a:gd name="connsiteX514" fmla="*/ 11157003 w 11685910"/>
                <a:gd name="connsiteY514" fmla="*/ 4347326 h 6078415"/>
                <a:gd name="connsiteX515" fmla="*/ 11161501 w 11685910"/>
                <a:gd name="connsiteY515" fmla="*/ 4366646 h 6078415"/>
                <a:gd name="connsiteX516" fmla="*/ 11177147 w 11685910"/>
                <a:gd name="connsiteY516" fmla="*/ 4372664 h 6078415"/>
                <a:gd name="connsiteX517" fmla="*/ 11177147 w 11685910"/>
                <a:gd name="connsiteY517" fmla="*/ 4392175 h 6078415"/>
                <a:gd name="connsiteX518" fmla="*/ 11132044 w 11685910"/>
                <a:gd name="connsiteY518" fmla="*/ 4353660 h 6078415"/>
                <a:gd name="connsiteX519" fmla="*/ 11132044 w 11685910"/>
                <a:gd name="connsiteY519" fmla="*/ 4316286 h 6078415"/>
                <a:gd name="connsiteX520" fmla="*/ 11112280 w 11685910"/>
                <a:gd name="connsiteY520" fmla="*/ 4289933 h 6078415"/>
                <a:gd name="connsiteX521" fmla="*/ 11112280 w 11685910"/>
                <a:gd name="connsiteY521" fmla="*/ 4271436 h 6078415"/>
                <a:gd name="connsiteX522" fmla="*/ 11132044 w 11685910"/>
                <a:gd name="connsiteY522" fmla="*/ 4244577 h 6078415"/>
                <a:gd name="connsiteX523" fmla="*/ 11132044 w 11685910"/>
                <a:gd name="connsiteY523" fmla="*/ 4208216 h 6078415"/>
                <a:gd name="connsiteX524" fmla="*/ 11177147 w 11685910"/>
                <a:gd name="connsiteY524" fmla="*/ 4169195 h 6078415"/>
                <a:gd name="connsiteX525" fmla="*/ 8154275 w 11685910"/>
                <a:gd name="connsiteY525" fmla="*/ 4169195 h 6078415"/>
                <a:gd name="connsiteX526" fmla="*/ 8199124 w 11685910"/>
                <a:gd name="connsiteY526" fmla="*/ 4208217 h 6078415"/>
                <a:gd name="connsiteX527" fmla="*/ 8199124 w 11685910"/>
                <a:gd name="connsiteY527" fmla="*/ 4244577 h 6078415"/>
                <a:gd name="connsiteX528" fmla="*/ 8218762 w 11685910"/>
                <a:gd name="connsiteY528" fmla="*/ 4271437 h 6078415"/>
                <a:gd name="connsiteX529" fmla="*/ 8218762 w 11685910"/>
                <a:gd name="connsiteY529" fmla="*/ 4289934 h 6078415"/>
                <a:gd name="connsiteX530" fmla="*/ 8199124 w 11685910"/>
                <a:gd name="connsiteY530" fmla="*/ 4316286 h 6078415"/>
                <a:gd name="connsiteX531" fmla="*/ 8199124 w 11685910"/>
                <a:gd name="connsiteY531" fmla="*/ 4353661 h 6078415"/>
                <a:gd name="connsiteX532" fmla="*/ 8154275 w 11685910"/>
                <a:gd name="connsiteY532" fmla="*/ 4392175 h 6078415"/>
                <a:gd name="connsiteX533" fmla="*/ 8154275 w 11685910"/>
                <a:gd name="connsiteY533" fmla="*/ 4372665 h 6078415"/>
                <a:gd name="connsiteX534" fmla="*/ 8169922 w 11685910"/>
                <a:gd name="connsiteY534" fmla="*/ 4366583 h 6078415"/>
                <a:gd name="connsiteX535" fmla="*/ 8174546 w 11685910"/>
                <a:gd name="connsiteY535" fmla="*/ 4347326 h 6078415"/>
                <a:gd name="connsiteX536" fmla="*/ 8174546 w 11685910"/>
                <a:gd name="connsiteY536" fmla="*/ 4311979 h 6078415"/>
                <a:gd name="connsiteX537" fmla="*/ 8199505 w 11685910"/>
                <a:gd name="connsiteY537" fmla="*/ 4280685 h 6078415"/>
                <a:gd name="connsiteX538" fmla="*/ 8199505 w 11685910"/>
                <a:gd name="connsiteY538" fmla="*/ 4280305 h 6078415"/>
                <a:gd name="connsiteX539" fmla="*/ 8174546 w 11685910"/>
                <a:gd name="connsiteY539" fmla="*/ 4248759 h 6078415"/>
                <a:gd name="connsiteX540" fmla="*/ 8174546 w 11685910"/>
                <a:gd name="connsiteY540" fmla="*/ 4213031 h 6078415"/>
                <a:gd name="connsiteX541" fmla="*/ 8154275 w 11685910"/>
                <a:gd name="connsiteY541" fmla="*/ 4188833 h 6078415"/>
                <a:gd name="connsiteX542" fmla="*/ 8136791 w 11685910"/>
                <a:gd name="connsiteY542" fmla="*/ 4169195 h 6078415"/>
                <a:gd name="connsiteX543" fmla="*/ 8136791 w 11685910"/>
                <a:gd name="connsiteY543" fmla="*/ 4188833 h 6078415"/>
                <a:gd name="connsiteX544" fmla="*/ 8116647 w 11685910"/>
                <a:gd name="connsiteY544" fmla="*/ 4213031 h 6078415"/>
                <a:gd name="connsiteX545" fmla="*/ 8116647 w 11685910"/>
                <a:gd name="connsiteY545" fmla="*/ 4248759 h 6078415"/>
                <a:gd name="connsiteX546" fmla="*/ 8091434 w 11685910"/>
                <a:gd name="connsiteY546" fmla="*/ 4280305 h 6078415"/>
                <a:gd name="connsiteX547" fmla="*/ 8091434 w 11685910"/>
                <a:gd name="connsiteY547" fmla="*/ 4280685 h 6078415"/>
                <a:gd name="connsiteX548" fmla="*/ 8116647 w 11685910"/>
                <a:gd name="connsiteY548" fmla="*/ 4311979 h 6078415"/>
                <a:gd name="connsiteX549" fmla="*/ 8116647 w 11685910"/>
                <a:gd name="connsiteY549" fmla="*/ 4347326 h 6078415"/>
                <a:gd name="connsiteX550" fmla="*/ 8121144 w 11685910"/>
                <a:gd name="connsiteY550" fmla="*/ 4366646 h 6078415"/>
                <a:gd name="connsiteX551" fmla="*/ 8136791 w 11685910"/>
                <a:gd name="connsiteY551" fmla="*/ 4372665 h 6078415"/>
                <a:gd name="connsiteX552" fmla="*/ 8136791 w 11685910"/>
                <a:gd name="connsiteY552" fmla="*/ 4392175 h 6078415"/>
                <a:gd name="connsiteX553" fmla="*/ 8091688 w 11685910"/>
                <a:gd name="connsiteY553" fmla="*/ 4353661 h 6078415"/>
                <a:gd name="connsiteX554" fmla="*/ 8091688 w 11685910"/>
                <a:gd name="connsiteY554" fmla="*/ 4316286 h 6078415"/>
                <a:gd name="connsiteX555" fmla="*/ 8071924 w 11685910"/>
                <a:gd name="connsiteY555" fmla="*/ 4289934 h 6078415"/>
                <a:gd name="connsiteX556" fmla="*/ 8071924 w 11685910"/>
                <a:gd name="connsiteY556" fmla="*/ 4271437 h 6078415"/>
                <a:gd name="connsiteX557" fmla="*/ 8091688 w 11685910"/>
                <a:gd name="connsiteY557" fmla="*/ 4244577 h 6078415"/>
                <a:gd name="connsiteX558" fmla="*/ 8091688 w 11685910"/>
                <a:gd name="connsiteY558" fmla="*/ 4208217 h 6078415"/>
                <a:gd name="connsiteX559" fmla="*/ 8136791 w 11685910"/>
                <a:gd name="connsiteY559" fmla="*/ 4169195 h 6078415"/>
                <a:gd name="connsiteX560" fmla="*/ 5099554 w 11685910"/>
                <a:gd name="connsiteY560" fmla="*/ 4169195 h 6078415"/>
                <a:gd name="connsiteX561" fmla="*/ 5144404 w 11685910"/>
                <a:gd name="connsiteY561" fmla="*/ 4208217 h 6078415"/>
                <a:gd name="connsiteX562" fmla="*/ 5144404 w 11685910"/>
                <a:gd name="connsiteY562" fmla="*/ 4244577 h 6078415"/>
                <a:gd name="connsiteX563" fmla="*/ 5164041 w 11685910"/>
                <a:gd name="connsiteY563" fmla="*/ 4271437 h 6078415"/>
                <a:gd name="connsiteX564" fmla="*/ 5164041 w 11685910"/>
                <a:gd name="connsiteY564" fmla="*/ 4289934 h 6078415"/>
                <a:gd name="connsiteX565" fmla="*/ 5144404 w 11685910"/>
                <a:gd name="connsiteY565" fmla="*/ 4316286 h 6078415"/>
                <a:gd name="connsiteX566" fmla="*/ 5144404 w 11685910"/>
                <a:gd name="connsiteY566" fmla="*/ 4353661 h 6078415"/>
                <a:gd name="connsiteX567" fmla="*/ 5099554 w 11685910"/>
                <a:gd name="connsiteY567" fmla="*/ 4392175 h 6078415"/>
                <a:gd name="connsiteX568" fmla="*/ 5099554 w 11685910"/>
                <a:gd name="connsiteY568" fmla="*/ 4372665 h 6078415"/>
                <a:gd name="connsiteX569" fmla="*/ 5115200 w 11685910"/>
                <a:gd name="connsiteY569" fmla="*/ 4366583 h 6078415"/>
                <a:gd name="connsiteX570" fmla="*/ 5119826 w 11685910"/>
                <a:gd name="connsiteY570" fmla="*/ 4347326 h 6078415"/>
                <a:gd name="connsiteX571" fmla="*/ 5119826 w 11685910"/>
                <a:gd name="connsiteY571" fmla="*/ 4311979 h 6078415"/>
                <a:gd name="connsiteX572" fmla="*/ 5144783 w 11685910"/>
                <a:gd name="connsiteY572" fmla="*/ 4280685 h 6078415"/>
                <a:gd name="connsiteX573" fmla="*/ 5144783 w 11685910"/>
                <a:gd name="connsiteY573" fmla="*/ 4280305 h 6078415"/>
                <a:gd name="connsiteX574" fmla="*/ 5119826 w 11685910"/>
                <a:gd name="connsiteY574" fmla="*/ 4248759 h 6078415"/>
                <a:gd name="connsiteX575" fmla="*/ 5119826 w 11685910"/>
                <a:gd name="connsiteY575" fmla="*/ 4213031 h 6078415"/>
                <a:gd name="connsiteX576" fmla="*/ 5099554 w 11685910"/>
                <a:gd name="connsiteY576" fmla="*/ 4188833 h 6078415"/>
                <a:gd name="connsiteX577" fmla="*/ 5082070 w 11685910"/>
                <a:gd name="connsiteY577" fmla="*/ 4169195 h 6078415"/>
                <a:gd name="connsiteX578" fmla="*/ 5082070 w 11685910"/>
                <a:gd name="connsiteY578" fmla="*/ 4188833 h 6078415"/>
                <a:gd name="connsiteX579" fmla="*/ 5061927 w 11685910"/>
                <a:gd name="connsiteY579" fmla="*/ 4213031 h 6078415"/>
                <a:gd name="connsiteX580" fmla="*/ 5061927 w 11685910"/>
                <a:gd name="connsiteY580" fmla="*/ 4248759 h 6078415"/>
                <a:gd name="connsiteX581" fmla="*/ 5036713 w 11685910"/>
                <a:gd name="connsiteY581" fmla="*/ 4280305 h 6078415"/>
                <a:gd name="connsiteX582" fmla="*/ 5036713 w 11685910"/>
                <a:gd name="connsiteY582" fmla="*/ 4280685 h 6078415"/>
                <a:gd name="connsiteX583" fmla="*/ 5061927 w 11685910"/>
                <a:gd name="connsiteY583" fmla="*/ 4311979 h 6078415"/>
                <a:gd name="connsiteX584" fmla="*/ 5061927 w 11685910"/>
                <a:gd name="connsiteY584" fmla="*/ 4347326 h 6078415"/>
                <a:gd name="connsiteX585" fmla="*/ 5066423 w 11685910"/>
                <a:gd name="connsiteY585" fmla="*/ 4366646 h 6078415"/>
                <a:gd name="connsiteX586" fmla="*/ 5082070 w 11685910"/>
                <a:gd name="connsiteY586" fmla="*/ 4372665 h 6078415"/>
                <a:gd name="connsiteX587" fmla="*/ 5082070 w 11685910"/>
                <a:gd name="connsiteY587" fmla="*/ 4392175 h 6078415"/>
                <a:gd name="connsiteX588" fmla="*/ 5036967 w 11685910"/>
                <a:gd name="connsiteY588" fmla="*/ 4353661 h 6078415"/>
                <a:gd name="connsiteX589" fmla="*/ 5036967 w 11685910"/>
                <a:gd name="connsiteY589" fmla="*/ 4316286 h 6078415"/>
                <a:gd name="connsiteX590" fmla="*/ 5017204 w 11685910"/>
                <a:gd name="connsiteY590" fmla="*/ 4289934 h 6078415"/>
                <a:gd name="connsiteX591" fmla="*/ 5017204 w 11685910"/>
                <a:gd name="connsiteY591" fmla="*/ 4271437 h 6078415"/>
                <a:gd name="connsiteX592" fmla="*/ 5036967 w 11685910"/>
                <a:gd name="connsiteY592" fmla="*/ 4244577 h 6078415"/>
                <a:gd name="connsiteX593" fmla="*/ 5036967 w 11685910"/>
                <a:gd name="connsiteY593" fmla="*/ 4208217 h 6078415"/>
                <a:gd name="connsiteX594" fmla="*/ 5082070 w 11685910"/>
                <a:gd name="connsiteY594" fmla="*/ 4169195 h 6078415"/>
                <a:gd name="connsiteX595" fmla="*/ 2071278 w 11685910"/>
                <a:gd name="connsiteY595" fmla="*/ 4169195 h 6078415"/>
                <a:gd name="connsiteX596" fmla="*/ 2116128 w 11685910"/>
                <a:gd name="connsiteY596" fmla="*/ 4208217 h 6078415"/>
                <a:gd name="connsiteX597" fmla="*/ 2116128 w 11685910"/>
                <a:gd name="connsiteY597" fmla="*/ 4244577 h 6078415"/>
                <a:gd name="connsiteX598" fmla="*/ 2135765 w 11685910"/>
                <a:gd name="connsiteY598" fmla="*/ 4271437 h 6078415"/>
                <a:gd name="connsiteX599" fmla="*/ 2135765 w 11685910"/>
                <a:gd name="connsiteY599" fmla="*/ 4289934 h 6078415"/>
                <a:gd name="connsiteX600" fmla="*/ 2116128 w 11685910"/>
                <a:gd name="connsiteY600" fmla="*/ 4316286 h 6078415"/>
                <a:gd name="connsiteX601" fmla="*/ 2116128 w 11685910"/>
                <a:gd name="connsiteY601" fmla="*/ 4353661 h 6078415"/>
                <a:gd name="connsiteX602" fmla="*/ 2071278 w 11685910"/>
                <a:gd name="connsiteY602" fmla="*/ 4392175 h 6078415"/>
                <a:gd name="connsiteX603" fmla="*/ 2071278 w 11685910"/>
                <a:gd name="connsiteY603" fmla="*/ 4372665 h 6078415"/>
                <a:gd name="connsiteX604" fmla="*/ 2086925 w 11685910"/>
                <a:gd name="connsiteY604" fmla="*/ 4366583 h 6078415"/>
                <a:gd name="connsiteX605" fmla="*/ 2091548 w 11685910"/>
                <a:gd name="connsiteY605" fmla="*/ 4347326 h 6078415"/>
                <a:gd name="connsiteX606" fmla="*/ 2091548 w 11685910"/>
                <a:gd name="connsiteY606" fmla="*/ 4311979 h 6078415"/>
                <a:gd name="connsiteX607" fmla="*/ 2116508 w 11685910"/>
                <a:gd name="connsiteY607" fmla="*/ 4280685 h 6078415"/>
                <a:gd name="connsiteX608" fmla="*/ 2116508 w 11685910"/>
                <a:gd name="connsiteY608" fmla="*/ 4280305 h 6078415"/>
                <a:gd name="connsiteX609" fmla="*/ 2091548 w 11685910"/>
                <a:gd name="connsiteY609" fmla="*/ 4248759 h 6078415"/>
                <a:gd name="connsiteX610" fmla="*/ 2091548 w 11685910"/>
                <a:gd name="connsiteY610" fmla="*/ 4213031 h 6078415"/>
                <a:gd name="connsiteX611" fmla="*/ 2071278 w 11685910"/>
                <a:gd name="connsiteY611" fmla="*/ 4188833 h 6078415"/>
                <a:gd name="connsiteX612" fmla="*/ 2053794 w 11685910"/>
                <a:gd name="connsiteY612" fmla="*/ 4169195 h 6078415"/>
                <a:gd name="connsiteX613" fmla="*/ 2053794 w 11685910"/>
                <a:gd name="connsiteY613" fmla="*/ 4188833 h 6078415"/>
                <a:gd name="connsiteX614" fmla="*/ 2033650 w 11685910"/>
                <a:gd name="connsiteY614" fmla="*/ 4213031 h 6078415"/>
                <a:gd name="connsiteX615" fmla="*/ 2033650 w 11685910"/>
                <a:gd name="connsiteY615" fmla="*/ 4248759 h 6078415"/>
                <a:gd name="connsiteX616" fmla="*/ 2008437 w 11685910"/>
                <a:gd name="connsiteY616" fmla="*/ 4280305 h 6078415"/>
                <a:gd name="connsiteX617" fmla="*/ 2008437 w 11685910"/>
                <a:gd name="connsiteY617" fmla="*/ 4280685 h 6078415"/>
                <a:gd name="connsiteX618" fmla="*/ 2033650 w 11685910"/>
                <a:gd name="connsiteY618" fmla="*/ 4311979 h 6078415"/>
                <a:gd name="connsiteX619" fmla="*/ 2033650 w 11685910"/>
                <a:gd name="connsiteY619" fmla="*/ 4347326 h 6078415"/>
                <a:gd name="connsiteX620" fmla="*/ 2038148 w 11685910"/>
                <a:gd name="connsiteY620" fmla="*/ 4366646 h 6078415"/>
                <a:gd name="connsiteX621" fmla="*/ 2053794 w 11685910"/>
                <a:gd name="connsiteY621" fmla="*/ 4372665 h 6078415"/>
                <a:gd name="connsiteX622" fmla="*/ 2053794 w 11685910"/>
                <a:gd name="connsiteY622" fmla="*/ 4392175 h 6078415"/>
                <a:gd name="connsiteX623" fmla="*/ 2008691 w 11685910"/>
                <a:gd name="connsiteY623" fmla="*/ 4353661 h 6078415"/>
                <a:gd name="connsiteX624" fmla="*/ 2008691 w 11685910"/>
                <a:gd name="connsiteY624" fmla="*/ 4316286 h 6078415"/>
                <a:gd name="connsiteX625" fmla="*/ 1988926 w 11685910"/>
                <a:gd name="connsiteY625" fmla="*/ 4289934 h 6078415"/>
                <a:gd name="connsiteX626" fmla="*/ 1988926 w 11685910"/>
                <a:gd name="connsiteY626" fmla="*/ 4271437 h 6078415"/>
                <a:gd name="connsiteX627" fmla="*/ 2008691 w 11685910"/>
                <a:gd name="connsiteY627" fmla="*/ 4244577 h 6078415"/>
                <a:gd name="connsiteX628" fmla="*/ 2008691 w 11685910"/>
                <a:gd name="connsiteY628" fmla="*/ 4208217 h 6078415"/>
                <a:gd name="connsiteX629" fmla="*/ 2053794 w 11685910"/>
                <a:gd name="connsiteY629" fmla="*/ 4169195 h 6078415"/>
                <a:gd name="connsiteX630" fmla="*/ 11196323 w 11685910"/>
                <a:gd name="connsiteY630" fmla="*/ 3828990 h 6078415"/>
                <a:gd name="connsiteX631" fmla="*/ 11241172 w 11685910"/>
                <a:gd name="connsiteY631" fmla="*/ 3868011 h 6078415"/>
                <a:gd name="connsiteX632" fmla="*/ 11241172 w 11685910"/>
                <a:gd name="connsiteY632" fmla="*/ 3904372 h 6078415"/>
                <a:gd name="connsiteX633" fmla="*/ 11260810 w 11685910"/>
                <a:gd name="connsiteY633" fmla="*/ 3931231 h 6078415"/>
                <a:gd name="connsiteX634" fmla="*/ 11260810 w 11685910"/>
                <a:gd name="connsiteY634" fmla="*/ 3949728 h 6078415"/>
                <a:gd name="connsiteX635" fmla="*/ 11241172 w 11685910"/>
                <a:gd name="connsiteY635" fmla="*/ 3976081 h 6078415"/>
                <a:gd name="connsiteX636" fmla="*/ 11241172 w 11685910"/>
                <a:gd name="connsiteY636" fmla="*/ 4013455 h 6078415"/>
                <a:gd name="connsiteX637" fmla="*/ 11196323 w 11685910"/>
                <a:gd name="connsiteY637" fmla="*/ 4051970 h 6078415"/>
                <a:gd name="connsiteX638" fmla="*/ 11196323 w 11685910"/>
                <a:gd name="connsiteY638" fmla="*/ 4032459 h 6078415"/>
                <a:gd name="connsiteX639" fmla="*/ 11211970 w 11685910"/>
                <a:gd name="connsiteY639" fmla="*/ 4026378 h 6078415"/>
                <a:gd name="connsiteX640" fmla="*/ 11216594 w 11685910"/>
                <a:gd name="connsiteY640" fmla="*/ 4007121 h 6078415"/>
                <a:gd name="connsiteX641" fmla="*/ 11216594 w 11685910"/>
                <a:gd name="connsiteY641" fmla="*/ 3971773 h 6078415"/>
                <a:gd name="connsiteX642" fmla="*/ 11241553 w 11685910"/>
                <a:gd name="connsiteY642" fmla="*/ 3940480 h 6078415"/>
                <a:gd name="connsiteX643" fmla="*/ 11241553 w 11685910"/>
                <a:gd name="connsiteY643" fmla="*/ 3940100 h 6078415"/>
                <a:gd name="connsiteX644" fmla="*/ 11216594 w 11685910"/>
                <a:gd name="connsiteY644" fmla="*/ 3908553 h 6078415"/>
                <a:gd name="connsiteX645" fmla="*/ 11216594 w 11685910"/>
                <a:gd name="connsiteY645" fmla="*/ 3872826 h 6078415"/>
                <a:gd name="connsiteX646" fmla="*/ 11196323 w 11685910"/>
                <a:gd name="connsiteY646" fmla="*/ 3848627 h 6078415"/>
                <a:gd name="connsiteX647" fmla="*/ 11178839 w 11685910"/>
                <a:gd name="connsiteY647" fmla="*/ 3828990 h 6078415"/>
                <a:gd name="connsiteX648" fmla="*/ 11178839 w 11685910"/>
                <a:gd name="connsiteY648" fmla="*/ 3848627 h 6078415"/>
                <a:gd name="connsiteX649" fmla="*/ 11158695 w 11685910"/>
                <a:gd name="connsiteY649" fmla="*/ 3872826 h 6078415"/>
                <a:gd name="connsiteX650" fmla="*/ 11158695 w 11685910"/>
                <a:gd name="connsiteY650" fmla="*/ 3908553 h 6078415"/>
                <a:gd name="connsiteX651" fmla="*/ 11133483 w 11685910"/>
                <a:gd name="connsiteY651" fmla="*/ 3940100 h 6078415"/>
                <a:gd name="connsiteX652" fmla="*/ 11133483 w 11685910"/>
                <a:gd name="connsiteY652" fmla="*/ 3940480 h 6078415"/>
                <a:gd name="connsiteX653" fmla="*/ 11158695 w 11685910"/>
                <a:gd name="connsiteY653" fmla="*/ 3971773 h 6078415"/>
                <a:gd name="connsiteX654" fmla="*/ 11158695 w 11685910"/>
                <a:gd name="connsiteY654" fmla="*/ 4007121 h 6078415"/>
                <a:gd name="connsiteX655" fmla="*/ 11163193 w 11685910"/>
                <a:gd name="connsiteY655" fmla="*/ 4026441 h 6078415"/>
                <a:gd name="connsiteX656" fmla="*/ 11178839 w 11685910"/>
                <a:gd name="connsiteY656" fmla="*/ 4032459 h 6078415"/>
                <a:gd name="connsiteX657" fmla="*/ 11178839 w 11685910"/>
                <a:gd name="connsiteY657" fmla="*/ 4051970 h 6078415"/>
                <a:gd name="connsiteX658" fmla="*/ 11133736 w 11685910"/>
                <a:gd name="connsiteY658" fmla="*/ 4013455 h 6078415"/>
                <a:gd name="connsiteX659" fmla="*/ 11133736 w 11685910"/>
                <a:gd name="connsiteY659" fmla="*/ 3976081 h 6078415"/>
                <a:gd name="connsiteX660" fmla="*/ 11113972 w 11685910"/>
                <a:gd name="connsiteY660" fmla="*/ 3949728 h 6078415"/>
                <a:gd name="connsiteX661" fmla="*/ 11113972 w 11685910"/>
                <a:gd name="connsiteY661" fmla="*/ 3931231 h 6078415"/>
                <a:gd name="connsiteX662" fmla="*/ 11133736 w 11685910"/>
                <a:gd name="connsiteY662" fmla="*/ 3904372 h 6078415"/>
                <a:gd name="connsiteX663" fmla="*/ 11133736 w 11685910"/>
                <a:gd name="connsiteY663" fmla="*/ 3868011 h 6078415"/>
                <a:gd name="connsiteX664" fmla="*/ 11178839 w 11685910"/>
                <a:gd name="connsiteY664" fmla="*/ 3828990 h 6078415"/>
                <a:gd name="connsiteX665" fmla="*/ 8155967 w 11685910"/>
                <a:gd name="connsiteY665" fmla="*/ 3828990 h 6078415"/>
                <a:gd name="connsiteX666" fmla="*/ 8200816 w 11685910"/>
                <a:gd name="connsiteY666" fmla="*/ 3868012 h 6078415"/>
                <a:gd name="connsiteX667" fmla="*/ 8200816 w 11685910"/>
                <a:gd name="connsiteY667" fmla="*/ 3904372 h 6078415"/>
                <a:gd name="connsiteX668" fmla="*/ 8220454 w 11685910"/>
                <a:gd name="connsiteY668" fmla="*/ 3931232 h 6078415"/>
                <a:gd name="connsiteX669" fmla="*/ 8220454 w 11685910"/>
                <a:gd name="connsiteY669" fmla="*/ 3949729 h 6078415"/>
                <a:gd name="connsiteX670" fmla="*/ 8200816 w 11685910"/>
                <a:gd name="connsiteY670" fmla="*/ 3976081 h 6078415"/>
                <a:gd name="connsiteX671" fmla="*/ 8200816 w 11685910"/>
                <a:gd name="connsiteY671" fmla="*/ 4013456 h 6078415"/>
                <a:gd name="connsiteX672" fmla="*/ 8155967 w 11685910"/>
                <a:gd name="connsiteY672" fmla="*/ 4051970 h 6078415"/>
                <a:gd name="connsiteX673" fmla="*/ 8155967 w 11685910"/>
                <a:gd name="connsiteY673" fmla="*/ 4032459 h 6078415"/>
                <a:gd name="connsiteX674" fmla="*/ 8171614 w 11685910"/>
                <a:gd name="connsiteY674" fmla="*/ 4026378 h 6078415"/>
                <a:gd name="connsiteX675" fmla="*/ 8176238 w 11685910"/>
                <a:gd name="connsiteY675" fmla="*/ 4007121 h 6078415"/>
                <a:gd name="connsiteX676" fmla="*/ 8176238 w 11685910"/>
                <a:gd name="connsiteY676" fmla="*/ 3971774 h 6078415"/>
                <a:gd name="connsiteX677" fmla="*/ 8201197 w 11685910"/>
                <a:gd name="connsiteY677" fmla="*/ 3940480 h 6078415"/>
                <a:gd name="connsiteX678" fmla="*/ 8201197 w 11685910"/>
                <a:gd name="connsiteY678" fmla="*/ 3940100 h 6078415"/>
                <a:gd name="connsiteX679" fmla="*/ 8176238 w 11685910"/>
                <a:gd name="connsiteY679" fmla="*/ 3908553 h 6078415"/>
                <a:gd name="connsiteX680" fmla="*/ 8176238 w 11685910"/>
                <a:gd name="connsiteY680" fmla="*/ 3872826 h 6078415"/>
                <a:gd name="connsiteX681" fmla="*/ 8155967 w 11685910"/>
                <a:gd name="connsiteY681" fmla="*/ 3848628 h 6078415"/>
                <a:gd name="connsiteX682" fmla="*/ 8138483 w 11685910"/>
                <a:gd name="connsiteY682" fmla="*/ 3828990 h 6078415"/>
                <a:gd name="connsiteX683" fmla="*/ 8138483 w 11685910"/>
                <a:gd name="connsiteY683" fmla="*/ 3848628 h 6078415"/>
                <a:gd name="connsiteX684" fmla="*/ 8118339 w 11685910"/>
                <a:gd name="connsiteY684" fmla="*/ 3872826 h 6078415"/>
                <a:gd name="connsiteX685" fmla="*/ 8118339 w 11685910"/>
                <a:gd name="connsiteY685" fmla="*/ 3908553 h 6078415"/>
                <a:gd name="connsiteX686" fmla="*/ 8093126 w 11685910"/>
                <a:gd name="connsiteY686" fmla="*/ 3940100 h 6078415"/>
                <a:gd name="connsiteX687" fmla="*/ 8093126 w 11685910"/>
                <a:gd name="connsiteY687" fmla="*/ 3940480 h 6078415"/>
                <a:gd name="connsiteX688" fmla="*/ 8118339 w 11685910"/>
                <a:gd name="connsiteY688" fmla="*/ 3971774 h 6078415"/>
                <a:gd name="connsiteX689" fmla="*/ 8118339 w 11685910"/>
                <a:gd name="connsiteY689" fmla="*/ 4007121 h 6078415"/>
                <a:gd name="connsiteX690" fmla="*/ 8122836 w 11685910"/>
                <a:gd name="connsiteY690" fmla="*/ 4026441 h 6078415"/>
                <a:gd name="connsiteX691" fmla="*/ 8138483 w 11685910"/>
                <a:gd name="connsiteY691" fmla="*/ 4032459 h 6078415"/>
                <a:gd name="connsiteX692" fmla="*/ 8138483 w 11685910"/>
                <a:gd name="connsiteY692" fmla="*/ 4051970 h 6078415"/>
                <a:gd name="connsiteX693" fmla="*/ 8093380 w 11685910"/>
                <a:gd name="connsiteY693" fmla="*/ 4013456 h 6078415"/>
                <a:gd name="connsiteX694" fmla="*/ 8093380 w 11685910"/>
                <a:gd name="connsiteY694" fmla="*/ 3976081 h 6078415"/>
                <a:gd name="connsiteX695" fmla="*/ 8073616 w 11685910"/>
                <a:gd name="connsiteY695" fmla="*/ 3949729 h 6078415"/>
                <a:gd name="connsiteX696" fmla="*/ 8073616 w 11685910"/>
                <a:gd name="connsiteY696" fmla="*/ 3931232 h 6078415"/>
                <a:gd name="connsiteX697" fmla="*/ 8093380 w 11685910"/>
                <a:gd name="connsiteY697" fmla="*/ 3904372 h 6078415"/>
                <a:gd name="connsiteX698" fmla="*/ 8093380 w 11685910"/>
                <a:gd name="connsiteY698" fmla="*/ 3868012 h 6078415"/>
                <a:gd name="connsiteX699" fmla="*/ 8138483 w 11685910"/>
                <a:gd name="connsiteY699" fmla="*/ 3828990 h 6078415"/>
                <a:gd name="connsiteX700" fmla="*/ 5101246 w 11685910"/>
                <a:gd name="connsiteY700" fmla="*/ 3828990 h 6078415"/>
                <a:gd name="connsiteX701" fmla="*/ 5146095 w 11685910"/>
                <a:gd name="connsiteY701" fmla="*/ 3868012 h 6078415"/>
                <a:gd name="connsiteX702" fmla="*/ 5146095 w 11685910"/>
                <a:gd name="connsiteY702" fmla="*/ 3904372 h 6078415"/>
                <a:gd name="connsiteX703" fmla="*/ 5165734 w 11685910"/>
                <a:gd name="connsiteY703" fmla="*/ 3931232 h 6078415"/>
                <a:gd name="connsiteX704" fmla="*/ 5165734 w 11685910"/>
                <a:gd name="connsiteY704" fmla="*/ 3949729 h 6078415"/>
                <a:gd name="connsiteX705" fmla="*/ 5146095 w 11685910"/>
                <a:gd name="connsiteY705" fmla="*/ 3976081 h 6078415"/>
                <a:gd name="connsiteX706" fmla="*/ 5146095 w 11685910"/>
                <a:gd name="connsiteY706" fmla="*/ 4013456 h 6078415"/>
                <a:gd name="connsiteX707" fmla="*/ 5101246 w 11685910"/>
                <a:gd name="connsiteY707" fmla="*/ 4051970 h 6078415"/>
                <a:gd name="connsiteX708" fmla="*/ 5101246 w 11685910"/>
                <a:gd name="connsiteY708" fmla="*/ 4032459 h 6078415"/>
                <a:gd name="connsiteX709" fmla="*/ 5116893 w 11685910"/>
                <a:gd name="connsiteY709" fmla="*/ 4026378 h 6078415"/>
                <a:gd name="connsiteX710" fmla="*/ 5121517 w 11685910"/>
                <a:gd name="connsiteY710" fmla="*/ 4007121 h 6078415"/>
                <a:gd name="connsiteX711" fmla="*/ 5121517 w 11685910"/>
                <a:gd name="connsiteY711" fmla="*/ 3971774 h 6078415"/>
                <a:gd name="connsiteX712" fmla="*/ 5146475 w 11685910"/>
                <a:gd name="connsiteY712" fmla="*/ 3940480 h 6078415"/>
                <a:gd name="connsiteX713" fmla="*/ 5146475 w 11685910"/>
                <a:gd name="connsiteY713" fmla="*/ 3940100 h 6078415"/>
                <a:gd name="connsiteX714" fmla="*/ 5121517 w 11685910"/>
                <a:gd name="connsiteY714" fmla="*/ 3908553 h 6078415"/>
                <a:gd name="connsiteX715" fmla="*/ 5121517 w 11685910"/>
                <a:gd name="connsiteY715" fmla="*/ 3872826 h 6078415"/>
                <a:gd name="connsiteX716" fmla="*/ 5101246 w 11685910"/>
                <a:gd name="connsiteY716" fmla="*/ 3848628 h 6078415"/>
                <a:gd name="connsiteX717" fmla="*/ 5083763 w 11685910"/>
                <a:gd name="connsiteY717" fmla="*/ 3828990 h 6078415"/>
                <a:gd name="connsiteX718" fmla="*/ 5083763 w 11685910"/>
                <a:gd name="connsiteY718" fmla="*/ 3848628 h 6078415"/>
                <a:gd name="connsiteX719" fmla="*/ 5063618 w 11685910"/>
                <a:gd name="connsiteY719" fmla="*/ 3872826 h 6078415"/>
                <a:gd name="connsiteX720" fmla="*/ 5063618 w 11685910"/>
                <a:gd name="connsiteY720" fmla="*/ 3908553 h 6078415"/>
                <a:gd name="connsiteX721" fmla="*/ 5038405 w 11685910"/>
                <a:gd name="connsiteY721" fmla="*/ 3940100 h 6078415"/>
                <a:gd name="connsiteX722" fmla="*/ 5038405 w 11685910"/>
                <a:gd name="connsiteY722" fmla="*/ 3940480 h 6078415"/>
                <a:gd name="connsiteX723" fmla="*/ 5063618 w 11685910"/>
                <a:gd name="connsiteY723" fmla="*/ 3971774 h 6078415"/>
                <a:gd name="connsiteX724" fmla="*/ 5063618 w 11685910"/>
                <a:gd name="connsiteY724" fmla="*/ 4007121 h 6078415"/>
                <a:gd name="connsiteX725" fmla="*/ 5068115 w 11685910"/>
                <a:gd name="connsiteY725" fmla="*/ 4026441 h 6078415"/>
                <a:gd name="connsiteX726" fmla="*/ 5083763 w 11685910"/>
                <a:gd name="connsiteY726" fmla="*/ 4032459 h 6078415"/>
                <a:gd name="connsiteX727" fmla="*/ 5083763 w 11685910"/>
                <a:gd name="connsiteY727" fmla="*/ 4051970 h 6078415"/>
                <a:gd name="connsiteX728" fmla="*/ 5038659 w 11685910"/>
                <a:gd name="connsiteY728" fmla="*/ 4013456 h 6078415"/>
                <a:gd name="connsiteX729" fmla="*/ 5038659 w 11685910"/>
                <a:gd name="connsiteY729" fmla="*/ 3976081 h 6078415"/>
                <a:gd name="connsiteX730" fmla="*/ 5018895 w 11685910"/>
                <a:gd name="connsiteY730" fmla="*/ 3949729 h 6078415"/>
                <a:gd name="connsiteX731" fmla="*/ 5018895 w 11685910"/>
                <a:gd name="connsiteY731" fmla="*/ 3931232 h 6078415"/>
                <a:gd name="connsiteX732" fmla="*/ 5038659 w 11685910"/>
                <a:gd name="connsiteY732" fmla="*/ 3904372 h 6078415"/>
                <a:gd name="connsiteX733" fmla="*/ 5038659 w 11685910"/>
                <a:gd name="connsiteY733" fmla="*/ 3868012 h 6078415"/>
                <a:gd name="connsiteX734" fmla="*/ 5083763 w 11685910"/>
                <a:gd name="connsiteY734" fmla="*/ 3828990 h 6078415"/>
                <a:gd name="connsiteX735" fmla="*/ 2072970 w 11685910"/>
                <a:gd name="connsiteY735" fmla="*/ 3828990 h 6078415"/>
                <a:gd name="connsiteX736" fmla="*/ 2117820 w 11685910"/>
                <a:gd name="connsiteY736" fmla="*/ 3868012 h 6078415"/>
                <a:gd name="connsiteX737" fmla="*/ 2117820 w 11685910"/>
                <a:gd name="connsiteY737" fmla="*/ 3904372 h 6078415"/>
                <a:gd name="connsiteX738" fmla="*/ 2137457 w 11685910"/>
                <a:gd name="connsiteY738" fmla="*/ 3931232 h 6078415"/>
                <a:gd name="connsiteX739" fmla="*/ 2137457 w 11685910"/>
                <a:gd name="connsiteY739" fmla="*/ 3949729 h 6078415"/>
                <a:gd name="connsiteX740" fmla="*/ 2117820 w 11685910"/>
                <a:gd name="connsiteY740" fmla="*/ 3976081 h 6078415"/>
                <a:gd name="connsiteX741" fmla="*/ 2117820 w 11685910"/>
                <a:gd name="connsiteY741" fmla="*/ 4013456 h 6078415"/>
                <a:gd name="connsiteX742" fmla="*/ 2072970 w 11685910"/>
                <a:gd name="connsiteY742" fmla="*/ 4051970 h 6078415"/>
                <a:gd name="connsiteX743" fmla="*/ 2072970 w 11685910"/>
                <a:gd name="connsiteY743" fmla="*/ 4032459 h 6078415"/>
                <a:gd name="connsiteX744" fmla="*/ 2088617 w 11685910"/>
                <a:gd name="connsiteY744" fmla="*/ 4026378 h 6078415"/>
                <a:gd name="connsiteX745" fmla="*/ 2093241 w 11685910"/>
                <a:gd name="connsiteY745" fmla="*/ 4007121 h 6078415"/>
                <a:gd name="connsiteX746" fmla="*/ 2093241 w 11685910"/>
                <a:gd name="connsiteY746" fmla="*/ 3971774 h 6078415"/>
                <a:gd name="connsiteX747" fmla="*/ 2118200 w 11685910"/>
                <a:gd name="connsiteY747" fmla="*/ 3940480 h 6078415"/>
                <a:gd name="connsiteX748" fmla="*/ 2118200 w 11685910"/>
                <a:gd name="connsiteY748" fmla="*/ 3940100 h 6078415"/>
                <a:gd name="connsiteX749" fmla="*/ 2093241 w 11685910"/>
                <a:gd name="connsiteY749" fmla="*/ 3908553 h 6078415"/>
                <a:gd name="connsiteX750" fmla="*/ 2093241 w 11685910"/>
                <a:gd name="connsiteY750" fmla="*/ 3872826 h 6078415"/>
                <a:gd name="connsiteX751" fmla="*/ 2072970 w 11685910"/>
                <a:gd name="connsiteY751" fmla="*/ 3848628 h 6078415"/>
                <a:gd name="connsiteX752" fmla="*/ 2055487 w 11685910"/>
                <a:gd name="connsiteY752" fmla="*/ 3828990 h 6078415"/>
                <a:gd name="connsiteX753" fmla="*/ 2055487 w 11685910"/>
                <a:gd name="connsiteY753" fmla="*/ 3848628 h 6078415"/>
                <a:gd name="connsiteX754" fmla="*/ 2035342 w 11685910"/>
                <a:gd name="connsiteY754" fmla="*/ 3872826 h 6078415"/>
                <a:gd name="connsiteX755" fmla="*/ 2035342 w 11685910"/>
                <a:gd name="connsiteY755" fmla="*/ 3908553 h 6078415"/>
                <a:gd name="connsiteX756" fmla="*/ 2010130 w 11685910"/>
                <a:gd name="connsiteY756" fmla="*/ 3940100 h 6078415"/>
                <a:gd name="connsiteX757" fmla="*/ 2010130 w 11685910"/>
                <a:gd name="connsiteY757" fmla="*/ 3940480 h 6078415"/>
                <a:gd name="connsiteX758" fmla="*/ 2035342 w 11685910"/>
                <a:gd name="connsiteY758" fmla="*/ 3971774 h 6078415"/>
                <a:gd name="connsiteX759" fmla="*/ 2035342 w 11685910"/>
                <a:gd name="connsiteY759" fmla="*/ 4007121 h 6078415"/>
                <a:gd name="connsiteX760" fmla="*/ 2039840 w 11685910"/>
                <a:gd name="connsiteY760" fmla="*/ 4026441 h 6078415"/>
                <a:gd name="connsiteX761" fmla="*/ 2055487 w 11685910"/>
                <a:gd name="connsiteY761" fmla="*/ 4032459 h 6078415"/>
                <a:gd name="connsiteX762" fmla="*/ 2055487 w 11685910"/>
                <a:gd name="connsiteY762" fmla="*/ 4051970 h 6078415"/>
                <a:gd name="connsiteX763" fmla="*/ 2010383 w 11685910"/>
                <a:gd name="connsiteY763" fmla="*/ 4013456 h 6078415"/>
                <a:gd name="connsiteX764" fmla="*/ 2010383 w 11685910"/>
                <a:gd name="connsiteY764" fmla="*/ 3976081 h 6078415"/>
                <a:gd name="connsiteX765" fmla="*/ 1990618 w 11685910"/>
                <a:gd name="connsiteY765" fmla="*/ 3949729 h 6078415"/>
                <a:gd name="connsiteX766" fmla="*/ 1990618 w 11685910"/>
                <a:gd name="connsiteY766" fmla="*/ 3931232 h 6078415"/>
                <a:gd name="connsiteX767" fmla="*/ 2010383 w 11685910"/>
                <a:gd name="connsiteY767" fmla="*/ 3904372 h 6078415"/>
                <a:gd name="connsiteX768" fmla="*/ 2010383 w 11685910"/>
                <a:gd name="connsiteY768" fmla="*/ 3868012 h 6078415"/>
                <a:gd name="connsiteX769" fmla="*/ 2055487 w 11685910"/>
                <a:gd name="connsiteY769" fmla="*/ 3828990 h 6078415"/>
                <a:gd name="connsiteX770" fmla="*/ 11198015 w 11685910"/>
                <a:gd name="connsiteY770" fmla="*/ 3488785 h 6078415"/>
                <a:gd name="connsiteX771" fmla="*/ 11242864 w 11685910"/>
                <a:gd name="connsiteY771" fmla="*/ 3527806 h 6078415"/>
                <a:gd name="connsiteX772" fmla="*/ 11242864 w 11685910"/>
                <a:gd name="connsiteY772" fmla="*/ 3564167 h 6078415"/>
                <a:gd name="connsiteX773" fmla="*/ 11262502 w 11685910"/>
                <a:gd name="connsiteY773" fmla="*/ 3591026 h 6078415"/>
                <a:gd name="connsiteX774" fmla="*/ 11262502 w 11685910"/>
                <a:gd name="connsiteY774" fmla="*/ 3609523 h 6078415"/>
                <a:gd name="connsiteX775" fmla="*/ 11242864 w 11685910"/>
                <a:gd name="connsiteY775" fmla="*/ 3635876 h 6078415"/>
                <a:gd name="connsiteX776" fmla="*/ 11242864 w 11685910"/>
                <a:gd name="connsiteY776" fmla="*/ 3673250 h 6078415"/>
                <a:gd name="connsiteX777" fmla="*/ 11198015 w 11685910"/>
                <a:gd name="connsiteY777" fmla="*/ 3711765 h 6078415"/>
                <a:gd name="connsiteX778" fmla="*/ 11198015 w 11685910"/>
                <a:gd name="connsiteY778" fmla="*/ 3692254 h 6078415"/>
                <a:gd name="connsiteX779" fmla="*/ 11213662 w 11685910"/>
                <a:gd name="connsiteY779" fmla="*/ 3686173 h 6078415"/>
                <a:gd name="connsiteX780" fmla="*/ 11218286 w 11685910"/>
                <a:gd name="connsiteY780" fmla="*/ 3666916 h 6078415"/>
                <a:gd name="connsiteX781" fmla="*/ 11218286 w 11685910"/>
                <a:gd name="connsiteY781" fmla="*/ 3631568 h 6078415"/>
                <a:gd name="connsiteX782" fmla="*/ 11243245 w 11685910"/>
                <a:gd name="connsiteY782" fmla="*/ 3600275 h 6078415"/>
                <a:gd name="connsiteX783" fmla="*/ 11243245 w 11685910"/>
                <a:gd name="connsiteY783" fmla="*/ 3599895 h 6078415"/>
                <a:gd name="connsiteX784" fmla="*/ 11218286 w 11685910"/>
                <a:gd name="connsiteY784" fmla="*/ 3568348 h 6078415"/>
                <a:gd name="connsiteX785" fmla="*/ 11218286 w 11685910"/>
                <a:gd name="connsiteY785" fmla="*/ 3532621 h 6078415"/>
                <a:gd name="connsiteX786" fmla="*/ 11198015 w 11685910"/>
                <a:gd name="connsiteY786" fmla="*/ 3508422 h 6078415"/>
                <a:gd name="connsiteX787" fmla="*/ 11180531 w 11685910"/>
                <a:gd name="connsiteY787" fmla="*/ 3488785 h 6078415"/>
                <a:gd name="connsiteX788" fmla="*/ 11180531 w 11685910"/>
                <a:gd name="connsiteY788" fmla="*/ 3508422 h 6078415"/>
                <a:gd name="connsiteX789" fmla="*/ 11160387 w 11685910"/>
                <a:gd name="connsiteY789" fmla="*/ 3532621 h 6078415"/>
                <a:gd name="connsiteX790" fmla="*/ 11160387 w 11685910"/>
                <a:gd name="connsiteY790" fmla="*/ 3568348 h 6078415"/>
                <a:gd name="connsiteX791" fmla="*/ 11135175 w 11685910"/>
                <a:gd name="connsiteY791" fmla="*/ 3599895 h 6078415"/>
                <a:gd name="connsiteX792" fmla="*/ 11135175 w 11685910"/>
                <a:gd name="connsiteY792" fmla="*/ 3600275 h 6078415"/>
                <a:gd name="connsiteX793" fmla="*/ 11160387 w 11685910"/>
                <a:gd name="connsiteY793" fmla="*/ 3631568 h 6078415"/>
                <a:gd name="connsiteX794" fmla="*/ 11160387 w 11685910"/>
                <a:gd name="connsiteY794" fmla="*/ 3666916 h 6078415"/>
                <a:gd name="connsiteX795" fmla="*/ 11164885 w 11685910"/>
                <a:gd name="connsiteY795" fmla="*/ 3686236 h 6078415"/>
                <a:gd name="connsiteX796" fmla="*/ 11180531 w 11685910"/>
                <a:gd name="connsiteY796" fmla="*/ 3692254 h 6078415"/>
                <a:gd name="connsiteX797" fmla="*/ 11180531 w 11685910"/>
                <a:gd name="connsiteY797" fmla="*/ 3711765 h 6078415"/>
                <a:gd name="connsiteX798" fmla="*/ 11135428 w 11685910"/>
                <a:gd name="connsiteY798" fmla="*/ 3673250 h 6078415"/>
                <a:gd name="connsiteX799" fmla="*/ 11135428 w 11685910"/>
                <a:gd name="connsiteY799" fmla="*/ 3635876 h 6078415"/>
                <a:gd name="connsiteX800" fmla="*/ 11115664 w 11685910"/>
                <a:gd name="connsiteY800" fmla="*/ 3609523 h 6078415"/>
                <a:gd name="connsiteX801" fmla="*/ 11115664 w 11685910"/>
                <a:gd name="connsiteY801" fmla="*/ 3591026 h 6078415"/>
                <a:gd name="connsiteX802" fmla="*/ 11135428 w 11685910"/>
                <a:gd name="connsiteY802" fmla="*/ 3564167 h 6078415"/>
                <a:gd name="connsiteX803" fmla="*/ 11135428 w 11685910"/>
                <a:gd name="connsiteY803" fmla="*/ 3527806 h 6078415"/>
                <a:gd name="connsiteX804" fmla="*/ 11180531 w 11685910"/>
                <a:gd name="connsiteY804" fmla="*/ 3488785 h 6078415"/>
                <a:gd name="connsiteX805" fmla="*/ 8157659 w 11685910"/>
                <a:gd name="connsiteY805" fmla="*/ 3488785 h 6078415"/>
                <a:gd name="connsiteX806" fmla="*/ 8202508 w 11685910"/>
                <a:gd name="connsiteY806" fmla="*/ 3527807 h 6078415"/>
                <a:gd name="connsiteX807" fmla="*/ 8202508 w 11685910"/>
                <a:gd name="connsiteY807" fmla="*/ 3564167 h 6078415"/>
                <a:gd name="connsiteX808" fmla="*/ 8222146 w 11685910"/>
                <a:gd name="connsiteY808" fmla="*/ 3591027 h 6078415"/>
                <a:gd name="connsiteX809" fmla="*/ 8222146 w 11685910"/>
                <a:gd name="connsiteY809" fmla="*/ 3609524 h 6078415"/>
                <a:gd name="connsiteX810" fmla="*/ 8202508 w 11685910"/>
                <a:gd name="connsiteY810" fmla="*/ 3635876 h 6078415"/>
                <a:gd name="connsiteX811" fmla="*/ 8202508 w 11685910"/>
                <a:gd name="connsiteY811" fmla="*/ 3673251 h 6078415"/>
                <a:gd name="connsiteX812" fmla="*/ 8157659 w 11685910"/>
                <a:gd name="connsiteY812" fmla="*/ 3711765 h 6078415"/>
                <a:gd name="connsiteX813" fmla="*/ 8157659 w 11685910"/>
                <a:gd name="connsiteY813" fmla="*/ 3692254 h 6078415"/>
                <a:gd name="connsiteX814" fmla="*/ 8173306 w 11685910"/>
                <a:gd name="connsiteY814" fmla="*/ 3686173 h 6078415"/>
                <a:gd name="connsiteX815" fmla="*/ 8177930 w 11685910"/>
                <a:gd name="connsiteY815" fmla="*/ 3666916 h 6078415"/>
                <a:gd name="connsiteX816" fmla="*/ 8177930 w 11685910"/>
                <a:gd name="connsiteY816" fmla="*/ 3631569 h 6078415"/>
                <a:gd name="connsiteX817" fmla="*/ 8202889 w 11685910"/>
                <a:gd name="connsiteY817" fmla="*/ 3600275 h 6078415"/>
                <a:gd name="connsiteX818" fmla="*/ 8202889 w 11685910"/>
                <a:gd name="connsiteY818" fmla="*/ 3599895 h 6078415"/>
                <a:gd name="connsiteX819" fmla="*/ 8177930 w 11685910"/>
                <a:gd name="connsiteY819" fmla="*/ 3568348 h 6078415"/>
                <a:gd name="connsiteX820" fmla="*/ 8177930 w 11685910"/>
                <a:gd name="connsiteY820" fmla="*/ 3532621 h 6078415"/>
                <a:gd name="connsiteX821" fmla="*/ 8157659 w 11685910"/>
                <a:gd name="connsiteY821" fmla="*/ 3508423 h 6078415"/>
                <a:gd name="connsiteX822" fmla="*/ 8140175 w 11685910"/>
                <a:gd name="connsiteY822" fmla="*/ 3488785 h 6078415"/>
                <a:gd name="connsiteX823" fmla="*/ 8140175 w 11685910"/>
                <a:gd name="connsiteY823" fmla="*/ 3508423 h 6078415"/>
                <a:gd name="connsiteX824" fmla="*/ 8120031 w 11685910"/>
                <a:gd name="connsiteY824" fmla="*/ 3532621 h 6078415"/>
                <a:gd name="connsiteX825" fmla="*/ 8120031 w 11685910"/>
                <a:gd name="connsiteY825" fmla="*/ 3568348 h 6078415"/>
                <a:gd name="connsiteX826" fmla="*/ 8094818 w 11685910"/>
                <a:gd name="connsiteY826" fmla="*/ 3599895 h 6078415"/>
                <a:gd name="connsiteX827" fmla="*/ 8094818 w 11685910"/>
                <a:gd name="connsiteY827" fmla="*/ 3600275 h 6078415"/>
                <a:gd name="connsiteX828" fmla="*/ 8120031 w 11685910"/>
                <a:gd name="connsiteY828" fmla="*/ 3631569 h 6078415"/>
                <a:gd name="connsiteX829" fmla="*/ 8120031 w 11685910"/>
                <a:gd name="connsiteY829" fmla="*/ 3666916 h 6078415"/>
                <a:gd name="connsiteX830" fmla="*/ 8124528 w 11685910"/>
                <a:gd name="connsiteY830" fmla="*/ 3686236 h 6078415"/>
                <a:gd name="connsiteX831" fmla="*/ 8140175 w 11685910"/>
                <a:gd name="connsiteY831" fmla="*/ 3692254 h 6078415"/>
                <a:gd name="connsiteX832" fmla="*/ 8140175 w 11685910"/>
                <a:gd name="connsiteY832" fmla="*/ 3711765 h 6078415"/>
                <a:gd name="connsiteX833" fmla="*/ 8095072 w 11685910"/>
                <a:gd name="connsiteY833" fmla="*/ 3673251 h 6078415"/>
                <a:gd name="connsiteX834" fmla="*/ 8095072 w 11685910"/>
                <a:gd name="connsiteY834" fmla="*/ 3635876 h 6078415"/>
                <a:gd name="connsiteX835" fmla="*/ 8075308 w 11685910"/>
                <a:gd name="connsiteY835" fmla="*/ 3609524 h 6078415"/>
                <a:gd name="connsiteX836" fmla="*/ 8075308 w 11685910"/>
                <a:gd name="connsiteY836" fmla="*/ 3591027 h 6078415"/>
                <a:gd name="connsiteX837" fmla="*/ 8095072 w 11685910"/>
                <a:gd name="connsiteY837" fmla="*/ 3564167 h 6078415"/>
                <a:gd name="connsiteX838" fmla="*/ 8095072 w 11685910"/>
                <a:gd name="connsiteY838" fmla="*/ 3527807 h 6078415"/>
                <a:gd name="connsiteX839" fmla="*/ 8140175 w 11685910"/>
                <a:gd name="connsiteY839" fmla="*/ 3488785 h 6078415"/>
                <a:gd name="connsiteX840" fmla="*/ 5102938 w 11685910"/>
                <a:gd name="connsiteY840" fmla="*/ 3488785 h 6078415"/>
                <a:gd name="connsiteX841" fmla="*/ 5147787 w 11685910"/>
                <a:gd name="connsiteY841" fmla="*/ 3527807 h 6078415"/>
                <a:gd name="connsiteX842" fmla="*/ 5147787 w 11685910"/>
                <a:gd name="connsiteY842" fmla="*/ 3564167 h 6078415"/>
                <a:gd name="connsiteX843" fmla="*/ 5167425 w 11685910"/>
                <a:gd name="connsiteY843" fmla="*/ 3591027 h 6078415"/>
                <a:gd name="connsiteX844" fmla="*/ 5167425 w 11685910"/>
                <a:gd name="connsiteY844" fmla="*/ 3609524 h 6078415"/>
                <a:gd name="connsiteX845" fmla="*/ 5147787 w 11685910"/>
                <a:gd name="connsiteY845" fmla="*/ 3635876 h 6078415"/>
                <a:gd name="connsiteX846" fmla="*/ 5147787 w 11685910"/>
                <a:gd name="connsiteY846" fmla="*/ 3673251 h 6078415"/>
                <a:gd name="connsiteX847" fmla="*/ 5102938 w 11685910"/>
                <a:gd name="connsiteY847" fmla="*/ 3711765 h 6078415"/>
                <a:gd name="connsiteX848" fmla="*/ 5102938 w 11685910"/>
                <a:gd name="connsiteY848" fmla="*/ 3692254 h 6078415"/>
                <a:gd name="connsiteX849" fmla="*/ 5118584 w 11685910"/>
                <a:gd name="connsiteY849" fmla="*/ 3686173 h 6078415"/>
                <a:gd name="connsiteX850" fmla="*/ 5123209 w 11685910"/>
                <a:gd name="connsiteY850" fmla="*/ 3666916 h 6078415"/>
                <a:gd name="connsiteX851" fmla="*/ 5123209 w 11685910"/>
                <a:gd name="connsiteY851" fmla="*/ 3631569 h 6078415"/>
                <a:gd name="connsiteX852" fmla="*/ 5148167 w 11685910"/>
                <a:gd name="connsiteY852" fmla="*/ 3600275 h 6078415"/>
                <a:gd name="connsiteX853" fmla="*/ 5148167 w 11685910"/>
                <a:gd name="connsiteY853" fmla="*/ 3599895 h 6078415"/>
                <a:gd name="connsiteX854" fmla="*/ 5123209 w 11685910"/>
                <a:gd name="connsiteY854" fmla="*/ 3568348 h 6078415"/>
                <a:gd name="connsiteX855" fmla="*/ 5123209 w 11685910"/>
                <a:gd name="connsiteY855" fmla="*/ 3532621 h 6078415"/>
                <a:gd name="connsiteX856" fmla="*/ 5102938 w 11685910"/>
                <a:gd name="connsiteY856" fmla="*/ 3508423 h 6078415"/>
                <a:gd name="connsiteX857" fmla="*/ 5085454 w 11685910"/>
                <a:gd name="connsiteY857" fmla="*/ 3488785 h 6078415"/>
                <a:gd name="connsiteX858" fmla="*/ 5085454 w 11685910"/>
                <a:gd name="connsiteY858" fmla="*/ 3508423 h 6078415"/>
                <a:gd name="connsiteX859" fmla="*/ 5065310 w 11685910"/>
                <a:gd name="connsiteY859" fmla="*/ 3532621 h 6078415"/>
                <a:gd name="connsiteX860" fmla="*/ 5065310 w 11685910"/>
                <a:gd name="connsiteY860" fmla="*/ 3568348 h 6078415"/>
                <a:gd name="connsiteX861" fmla="*/ 5040097 w 11685910"/>
                <a:gd name="connsiteY861" fmla="*/ 3599895 h 6078415"/>
                <a:gd name="connsiteX862" fmla="*/ 5040097 w 11685910"/>
                <a:gd name="connsiteY862" fmla="*/ 3600275 h 6078415"/>
                <a:gd name="connsiteX863" fmla="*/ 5065310 w 11685910"/>
                <a:gd name="connsiteY863" fmla="*/ 3631569 h 6078415"/>
                <a:gd name="connsiteX864" fmla="*/ 5065310 w 11685910"/>
                <a:gd name="connsiteY864" fmla="*/ 3666916 h 6078415"/>
                <a:gd name="connsiteX865" fmla="*/ 5069807 w 11685910"/>
                <a:gd name="connsiteY865" fmla="*/ 3686236 h 6078415"/>
                <a:gd name="connsiteX866" fmla="*/ 5085454 w 11685910"/>
                <a:gd name="connsiteY866" fmla="*/ 3692254 h 6078415"/>
                <a:gd name="connsiteX867" fmla="*/ 5085454 w 11685910"/>
                <a:gd name="connsiteY867" fmla="*/ 3711765 h 6078415"/>
                <a:gd name="connsiteX868" fmla="*/ 5040351 w 11685910"/>
                <a:gd name="connsiteY868" fmla="*/ 3673251 h 6078415"/>
                <a:gd name="connsiteX869" fmla="*/ 5040351 w 11685910"/>
                <a:gd name="connsiteY869" fmla="*/ 3635876 h 6078415"/>
                <a:gd name="connsiteX870" fmla="*/ 5020587 w 11685910"/>
                <a:gd name="connsiteY870" fmla="*/ 3609524 h 6078415"/>
                <a:gd name="connsiteX871" fmla="*/ 5020587 w 11685910"/>
                <a:gd name="connsiteY871" fmla="*/ 3591027 h 6078415"/>
                <a:gd name="connsiteX872" fmla="*/ 5040351 w 11685910"/>
                <a:gd name="connsiteY872" fmla="*/ 3564167 h 6078415"/>
                <a:gd name="connsiteX873" fmla="*/ 5040351 w 11685910"/>
                <a:gd name="connsiteY873" fmla="*/ 3527807 h 6078415"/>
                <a:gd name="connsiteX874" fmla="*/ 5085454 w 11685910"/>
                <a:gd name="connsiteY874" fmla="*/ 3488785 h 6078415"/>
                <a:gd name="connsiteX875" fmla="*/ 2074663 w 11685910"/>
                <a:gd name="connsiteY875" fmla="*/ 3488785 h 6078415"/>
                <a:gd name="connsiteX876" fmla="*/ 2119512 w 11685910"/>
                <a:gd name="connsiteY876" fmla="*/ 3527807 h 6078415"/>
                <a:gd name="connsiteX877" fmla="*/ 2119512 w 11685910"/>
                <a:gd name="connsiteY877" fmla="*/ 3564167 h 6078415"/>
                <a:gd name="connsiteX878" fmla="*/ 2139149 w 11685910"/>
                <a:gd name="connsiteY878" fmla="*/ 3591027 h 6078415"/>
                <a:gd name="connsiteX879" fmla="*/ 2139149 w 11685910"/>
                <a:gd name="connsiteY879" fmla="*/ 3609524 h 6078415"/>
                <a:gd name="connsiteX880" fmla="*/ 2119512 w 11685910"/>
                <a:gd name="connsiteY880" fmla="*/ 3635876 h 6078415"/>
                <a:gd name="connsiteX881" fmla="*/ 2119512 w 11685910"/>
                <a:gd name="connsiteY881" fmla="*/ 3673251 h 6078415"/>
                <a:gd name="connsiteX882" fmla="*/ 2074663 w 11685910"/>
                <a:gd name="connsiteY882" fmla="*/ 3711765 h 6078415"/>
                <a:gd name="connsiteX883" fmla="*/ 2074663 w 11685910"/>
                <a:gd name="connsiteY883" fmla="*/ 3692254 h 6078415"/>
                <a:gd name="connsiteX884" fmla="*/ 2090309 w 11685910"/>
                <a:gd name="connsiteY884" fmla="*/ 3686173 h 6078415"/>
                <a:gd name="connsiteX885" fmla="*/ 2094934 w 11685910"/>
                <a:gd name="connsiteY885" fmla="*/ 3666916 h 6078415"/>
                <a:gd name="connsiteX886" fmla="*/ 2094934 w 11685910"/>
                <a:gd name="connsiteY886" fmla="*/ 3631569 h 6078415"/>
                <a:gd name="connsiteX887" fmla="*/ 2119892 w 11685910"/>
                <a:gd name="connsiteY887" fmla="*/ 3600275 h 6078415"/>
                <a:gd name="connsiteX888" fmla="*/ 2119892 w 11685910"/>
                <a:gd name="connsiteY888" fmla="*/ 3599895 h 6078415"/>
                <a:gd name="connsiteX889" fmla="*/ 2094934 w 11685910"/>
                <a:gd name="connsiteY889" fmla="*/ 3568348 h 6078415"/>
                <a:gd name="connsiteX890" fmla="*/ 2094934 w 11685910"/>
                <a:gd name="connsiteY890" fmla="*/ 3532621 h 6078415"/>
                <a:gd name="connsiteX891" fmla="*/ 2074663 w 11685910"/>
                <a:gd name="connsiteY891" fmla="*/ 3508423 h 6078415"/>
                <a:gd name="connsiteX892" fmla="*/ 2057179 w 11685910"/>
                <a:gd name="connsiteY892" fmla="*/ 3488785 h 6078415"/>
                <a:gd name="connsiteX893" fmla="*/ 2057179 w 11685910"/>
                <a:gd name="connsiteY893" fmla="*/ 3508423 h 6078415"/>
                <a:gd name="connsiteX894" fmla="*/ 2037034 w 11685910"/>
                <a:gd name="connsiteY894" fmla="*/ 3532621 h 6078415"/>
                <a:gd name="connsiteX895" fmla="*/ 2037034 w 11685910"/>
                <a:gd name="connsiteY895" fmla="*/ 3568348 h 6078415"/>
                <a:gd name="connsiteX896" fmla="*/ 2011822 w 11685910"/>
                <a:gd name="connsiteY896" fmla="*/ 3599895 h 6078415"/>
                <a:gd name="connsiteX897" fmla="*/ 2011822 w 11685910"/>
                <a:gd name="connsiteY897" fmla="*/ 3600275 h 6078415"/>
                <a:gd name="connsiteX898" fmla="*/ 2037034 w 11685910"/>
                <a:gd name="connsiteY898" fmla="*/ 3631569 h 6078415"/>
                <a:gd name="connsiteX899" fmla="*/ 2037034 w 11685910"/>
                <a:gd name="connsiteY899" fmla="*/ 3666916 h 6078415"/>
                <a:gd name="connsiteX900" fmla="*/ 2041532 w 11685910"/>
                <a:gd name="connsiteY900" fmla="*/ 3686236 h 6078415"/>
                <a:gd name="connsiteX901" fmla="*/ 2057179 w 11685910"/>
                <a:gd name="connsiteY901" fmla="*/ 3692254 h 6078415"/>
                <a:gd name="connsiteX902" fmla="*/ 2057179 w 11685910"/>
                <a:gd name="connsiteY902" fmla="*/ 3711765 h 6078415"/>
                <a:gd name="connsiteX903" fmla="*/ 2012076 w 11685910"/>
                <a:gd name="connsiteY903" fmla="*/ 3673251 h 6078415"/>
                <a:gd name="connsiteX904" fmla="*/ 2012076 w 11685910"/>
                <a:gd name="connsiteY904" fmla="*/ 3635876 h 6078415"/>
                <a:gd name="connsiteX905" fmla="*/ 1992310 w 11685910"/>
                <a:gd name="connsiteY905" fmla="*/ 3609524 h 6078415"/>
                <a:gd name="connsiteX906" fmla="*/ 1992310 w 11685910"/>
                <a:gd name="connsiteY906" fmla="*/ 3591027 h 6078415"/>
                <a:gd name="connsiteX907" fmla="*/ 2012076 w 11685910"/>
                <a:gd name="connsiteY907" fmla="*/ 3564167 h 6078415"/>
                <a:gd name="connsiteX908" fmla="*/ 2012076 w 11685910"/>
                <a:gd name="connsiteY908" fmla="*/ 3527807 h 6078415"/>
                <a:gd name="connsiteX909" fmla="*/ 2057179 w 11685910"/>
                <a:gd name="connsiteY909" fmla="*/ 3488785 h 6078415"/>
                <a:gd name="connsiteX910" fmla="*/ 11198015 w 11685910"/>
                <a:gd name="connsiteY910" fmla="*/ 3115795 h 6078415"/>
                <a:gd name="connsiteX911" fmla="*/ 11242864 w 11685910"/>
                <a:gd name="connsiteY911" fmla="*/ 3154817 h 6078415"/>
                <a:gd name="connsiteX912" fmla="*/ 11242864 w 11685910"/>
                <a:gd name="connsiteY912" fmla="*/ 3191177 h 6078415"/>
                <a:gd name="connsiteX913" fmla="*/ 11262502 w 11685910"/>
                <a:gd name="connsiteY913" fmla="*/ 3218037 h 6078415"/>
                <a:gd name="connsiteX914" fmla="*/ 11262502 w 11685910"/>
                <a:gd name="connsiteY914" fmla="*/ 3236534 h 6078415"/>
                <a:gd name="connsiteX915" fmla="*/ 11242864 w 11685910"/>
                <a:gd name="connsiteY915" fmla="*/ 3262886 h 6078415"/>
                <a:gd name="connsiteX916" fmla="*/ 11242864 w 11685910"/>
                <a:gd name="connsiteY916" fmla="*/ 3300261 h 6078415"/>
                <a:gd name="connsiteX917" fmla="*/ 11198015 w 11685910"/>
                <a:gd name="connsiteY917" fmla="*/ 3338775 h 6078415"/>
                <a:gd name="connsiteX918" fmla="*/ 11198015 w 11685910"/>
                <a:gd name="connsiteY918" fmla="*/ 3319264 h 6078415"/>
                <a:gd name="connsiteX919" fmla="*/ 11213662 w 11685910"/>
                <a:gd name="connsiteY919" fmla="*/ 3313183 h 6078415"/>
                <a:gd name="connsiteX920" fmla="*/ 11218286 w 11685910"/>
                <a:gd name="connsiteY920" fmla="*/ 3293926 h 6078415"/>
                <a:gd name="connsiteX921" fmla="*/ 11218286 w 11685910"/>
                <a:gd name="connsiteY921" fmla="*/ 3258579 h 6078415"/>
                <a:gd name="connsiteX922" fmla="*/ 11243245 w 11685910"/>
                <a:gd name="connsiteY922" fmla="*/ 3227285 h 6078415"/>
                <a:gd name="connsiteX923" fmla="*/ 11243245 w 11685910"/>
                <a:gd name="connsiteY923" fmla="*/ 3226905 h 6078415"/>
                <a:gd name="connsiteX924" fmla="*/ 11218286 w 11685910"/>
                <a:gd name="connsiteY924" fmla="*/ 3195358 h 6078415"/>
                <a:gd name="connsiteX925" fmla="*/ 11218286 w 11685910"/>
                <a:gd name="connsiteY925" fmla="*/ 3159631 h 6078415"/>
                <a:gd name="connsiteX926" fmla="*/ 11198015 w 11685910"/>
                <a:gd name="connsiteY926" fmla="*/ 3135433 h 6078415"/>
                <a:gd name="connsiteX927" fmla="*/ 11180531 w 11685910"/>
                <a:gd name="connsiteY927" fmla="*/ 3115795 h 6078415"/>
                <a:gd name="connsiteX928" fmla="*/ 11180531 w 11685910"/>
                <a:gd name="connsiteY928" fmla="*/ 3135433 h 6078415"/>
                <a:gd name="connsiteX929" fmla="*/ 11160387 w 11685910"/>
                <a:gd name="connsiteY929" fmla="*/ 3159631 h 6078415"/>
                <a:gd name="connsiteX930" fmla="*/ 11160387 w 11685910"/>
                <a:gd name="connsiteY930" fmla="*/ 3195358 h 6078415"/>
                <a:gd name="connsiteX931" fmla="*/ 11135175 w 11685910"/>
                <a:gd name="connsiteY931" fmla="*/ 3226905 h 6078415"/>
                <a:gd name="connsiteX932" fmla="*/ 11135175 w 11685910"/>
                <a:gd name="connsiteY932" fmla="*/ 3227285 h 6078415"/>
                <a:gd name="connsiteX933" fmla="*/ 11160387 w 11685910"/>
                <a:gd name="connsiteY933" fmla="*/ 3258579 h 6078415"/>
                <a:gd name="connsiteX934" fmla="*/ 11160387 w 11685910"/>
                <a:gd name="connsiteY934" fmla="*/ 3293926 h 6078415"/>
                <a:gd name="connsiteX935" fmla="*/ 11164885 w 11685910"/>
                <a:gd name="connsiteY935" fmla="*/ 3313246 h 6078415"/>
                <a:gd name="connsiteX936" fmla="*/ 11180531 w 11685910"/>
                <a:gd name="connsiteY936" fmla="*/ 3319264 h 6078415"/>
                <a:gd name="connsiteX937" fmla="*/ 11180531 w 11685910"/>
                <a:gd name="connsiteY937" fmla="*/ 3338775 h 6078415"/>
                <a:gd name="connsiteX938" fmla="*/ 11135428 w 11685910"/>
                <a:gd name="connsiteY938" fmla="*/ 3300261 h 6078415"/>
                <a:gd name="connsiteX939" fmla="*/ 11135428 w 11685910"/>
                <a:gd name="connsiteY939" fmla="*/ 3262886 h 6078415"/>
                <a:gd name="connsiteX940" fmla="*/ 11115664 w 11685910"/>
                <a:gd name="connsiteY940" fmla="*/ 3236534 h 6078415"/>
                <a:gd name="connsiteX941" fmla="*/ 11115664 w 11685910"/>
                <a:gd name="connsiteY941" fmla="*/ 3218037 h 6078415"/>
                <a:gd name="connsiteX942" fmla="*/ 11135428 w 11685910"/>
                <a:gd name="connsiteY942" fmla="*/ 3191177 h 6078415"/>
                <a:gd name="connsiteX943" fmla="*/ 11135428 w 11685910"/>
                <a:gd name="connsiteY943" fmla="*/ 3154817 h 6078415"/>
                <a:gd name="connsiteX944" fmla="*/ 11180531 w 11685910"/>
                <a:gd name="connsiteY944" fmla="*/ 3115795 h 6078415"/>
                <a:gd name="connsiteX945" fmla="*/ 8139350 w 11685910"/>
                <a:gd name="connsiteY945" fmla="*/ 3115795 h 6078415"/>
                <a:gd name="connsiteX946" fmla="*/ 8184199 w 11685910"/>
                <a:gd name="connsiteY946" fmla="*/ 3154817 h 6078415"/>
                <a:gd name="connsiteX947" fmla="*/ 8184199 w 11685910"/>
                <a:gd name="connsiteY947" fmla="*/ 3191177 h 6078415"/>
                <a:gd name="connsiteX948" fmla="*/ 8203837 w 11685910"/>
                <a:gd name="connsiteY948" fmla="*/ 3218037 h 6078415"/>
                <a:gd name="connsiteX949" fmla="*/ 8203837 w 11685910"/>
                <a:gd name="connsiteY949" fmla="*/ 3236534 h 6078415"/>
                <a:gd name="connsiteX950" fmla="*/ 8184199 w 11685910"/>
                <a:gd name="connsiteY950" fmla="*/ 3262886 h 6078415"/>
                <a:gd name="connsiteX951" fmla="*/ 8184199 w 11685910"/>
                <a:gd name="connsiteY951" fmla="*/ 3300261 h 6078415"/>
                <a:gd name="connsiteX952" fmla="*/ 8139350 w 11685910"/>
                <a:gd name="connsiteY952" fmla="*/ 3338775 h 6078415"/>
                <a:gd name="connsiteX953" fmla="*/ 8139350 w 11685910"/>
                <a:gd name="connsiteY953" fmla="*/ 3319264 h 6078415"/>
                <a:gd name="connsiteX954" fmla="*/ 8154997 w 11685910"/>
                <a:gd name="connsiteY954" fmla="*/ 3313183 h 6078415"/>
                <a:gd name="connsiteX955" fmla="*/ 8159621 w 11685910"/>
                <a:gd name="connsiteY955" fmla="*/ 3293926 h 6078415"/>
                <a:gd name="connsiteX956" fmla="*/ 8159621 w 11685910"/>
                <a:gd name="connsiteY956" fmla="*/ 3258579 h 6078415"/>
                <a:gd name="connsiteX957" fmla="*/ 8184580 w 11685910"/>
                <a:gd name="connsiteY957" fmla="*/ 3227285 h 6078415"/>
                <a:gd name="connsiteX958" fmla="*/ 8184580 w 11685910"/>
                <a:gd name="connsiteY958" fmla="*/ 3226905 h 6078415"/>
                <a:gd name="connsiteX959" fmla="*/ 8159621 w 11685910"/>
                <a:gd name="connsiteY959" fmla="*/ 3195358 h 6078415"/>
                <a:gd name="connsiteX960" fmla="*/ 8159621 w 11685910"/>
                <a:gd name="connsiteY960" fmla="*/ 3159631 h 6078415"/>
                <a:gd name="connsiteX961" fmla="*/ 8139350 w 11685910"/>
                <a:gd name="connsiteY961" fmla="*/ 3135433 h 6078415"/>
                <a:gd name="connsiteX962" fmla="*/ 8121866 w 11685910"/>
                <a:gd name="connsiteY962" fmla="*/ 3115795 h 6078415"/>
                <a:gd name="connsiteX963" fmla="*/ 8121866 w 11685910"/>
                <a:gd name="connsiteY963" fmla="*/ 3135433 h 6078415"/>
                <a:gd name="connsiteX964" fmla="*/ 8101722 w 11685910"/>
                <a:gd name="connsiteY964" fmla="*/ 3159631 h 6078415"/>
                <a:gd name="connsiteX965" fmla="*/ 8101722 w 11685910"/>
                <a:gd name="connsiteY965" fmla="*/ 3195358 h 6078415"/>
                <a:gd name="connsiteX966" fmla="*/ 8076510 w 11685910"/>
                <a:gd name="connsiteY966" fmla="*/ 3226905 h 6078415"/>
                <a:gd name="connsiteX967" fmla="*/ 8076510 w 11685910"/>
                <a:gd name="connsiteY967" fmla="*/ 3227285 h 6078415"/>
                <a:gd name="connsiteX968" fmla="*/ 8101722 w 11685910"/>
                <a:gd name="connsiteY968" fmla="*/ 3258579 h 6078415"/>
                <a:gd name="connsiteX969" fmla="*/ 8101722 w 11685910"/>
                <a:gd name="connsiteY969" fmla="*/ 3293926 h 6078415"/>
                <a:gd name="connsiteX970" fmla="*/ 8106220 w 11685910"/>
                <a:gd name="connsiteY970" fmla="*/ 3313246 h 6078415"/>
                <a:gd name="connsiteX971" fmla="*/ 8121866 w 11685910"/>
                <a:gd name="connsiteY971" fmla="*/ 3319264 h 6078415"/>
                <a:gd name="connsiteX972" fmla="*/ 8121866 w 11685910"/>
                <a:gd name="connsiteY972" fmla="*/ 3338775 h 6078415"/>
                <a:gd name="connsiteX973" fmla="*/ 8076764 w 11685910"/>
                <a:gd name="connsiteY973" fmla="*/ 3300261 h 6078415"/>
                <a:gd name="connsiteX974" fmla="*/ 8076764 w 11685910"/>
                <a:gd name="connsiteY974" fmla="*/ 3262886 h 6078415"/>
                <a:gd name="connsiteX975" fmla="*/ 8056999 w 11685910"/>
                <a:gd name="connsiteY975" fmla="*/ 3236534 h 6078415"/>
                <a:gd name="connsiteX976" fmla="*/ 8056999 w 11685910"/>
                <a:gd name="connsiteY976" fmla="*/ 3218037 h 6078415"/>
                <a:gd name="connsiteX977" fmla="*/ 8076764 w 11685910"/>
                <a:gd name="connsiteY977" fmla="*/ 3191177 h 6078415"/>
                <a:gd name="connsiteX978" fmla="*/ 8076764 w 11685910"/>
                <a:gd name="connsiteY978" fmla="*/ 3154817 h 6078415"/>
                <a:gd name="connsiteX979" fmla="*/ 8121866 w 11685910"/>
                <a:gd name="connsiteY979" fmla="*/ 3115795 h 6078415"/>
                <a:gd name="connsiteX980" fmla="*/ 5133348 w 11685910"/>
                <a:gd name="connsiteY980" fmla="*/ 3115795 h 6078415"/>
                <a:gd name="connsiteX981" fmla="*/ 5178199 w 11685910"/>
                <a:gd name="connsiteY981" fmla="*/ 3154817 h 6078415"/>
                <a:gd name="connsiteX982" fmla="*/ 5178199 w 11685910"/>
                <a:gd name="connsiteY982" fmla="*/ 3191177 h 6078415"/>
                <a:gd name="connsiteX983" fmla="*/ 5197835 w 11685910"/>
                <a:gd name="connsiteY983" fmla="*/ 3218037 h 6078415"/>
                <a:gd name="connsiteX984" fmla="*/ 5197835 w 11685910"/>
                <a:gd name="connsiteY984" fmla="*/ 3236534 h 6078415"/>
                <a:gd name="connsiteX985" fmla="*/ 5178199 w 11685910"/>
                <a:gd name="connsiteY985" fmla="*/ 3262886 h 6078415"/>
                <a:gd name="connsiteX986" fmla="*/ 5178199 w 11685910"/>
                <a:gd name="connsiteY986" fmla="*/ 3300261 h 6078415"/>
                <a:gd name="connsiteX987" fmla="*/ 5133348 w 11685910"/>
                <a:gd name="connsiteY987" fmla="*/ 3338775 h 6078415"/>
                <a:gd name="connsiteX988" fmla="*/ 5133348 w 11685910"/>
                <a:gd name="connsiteY988" fmla="*/ 3319264 h 6078415"/>
                <a:gd name="connsiteX989" fmla="*/ 5148996 w 11685910"/>
                <a:gd name="connsiteY989" fmla="*/ 3313183 h 6078415"/>
                <a:gd name="connsiteX990" fmla="*/ 5153619 w 11685910"/>
                <a:gd name="connsiteY990" fmla="*/ 3293926 h 6078415"/>
                <a:gd name="connsiteX991" fmla="*/ 5153619 w 11685910"/>
                <a:gd name="connsiteY991" fmla="*/ 3258579 h 6078415"/>
                <a:gd name="connsiteX992" fmla="*/ 5178578 w 11685910"/>
                <a:gd name="connsiteY992" fmla="*/ 3227285 h 6078415"/>
                <a:gd name="connsiteX993" fmla="*/ 5178578 w 11685910"/>
                <a:gd name="connsiteY993" fmla="*/ 3226905 h 6078415"/>
                <a:gd name="connsiteX994" fmla="*/ 5153619 w 11685910"/>
                <a:gd name="connsiteY994" fmla="*/ 3195358 h 6078415"/>
                <a:gd name="connsiteX995" fmla="*/ 5153619 w 11685910"/>
                <a:gd name="connsiteY995" fmla="*/ 3159631 h 6078415"/>
                <a:gd name="connsiteX996" fmla="*/ 5133348 w 11685910"/>
                <a:gd name="connsiteY996" fmla="*/ 3135433 h 6078415"/>
                <a:gd name="connsiteX997" fmla="*/ 5115864 w 11685910"/>
                <a:gd name="connsiteY997" fmla="*/ 3115795 h 6078415"/>
                <a:gd name="connsiteX998" fmla="*/ 5115864 w 11685910"/>
                <a:gd name="connsiteY998" fmla="*/ 3135433 h 6078415"/>
                <a:gd name="connsiteX999" fmla="*/ 5095720 w 11685910"/>
                <a:gd name="connsiteY999" fmla="*/ 3159631 h 6078415"/>
                <a:gd name="connsiteX1000" fmla="*/ 5095720 w 11685910"/>
                <a:gd name="connsiteY1000" fmla="*/ 3195358 h 6078415"/>
                <a:gd name="connsiteX1001" fmla="*/ 5070509 w 11685910"/>
                <a:gd name="connsiteY1001" fmla="*/ 3226905 h 6078415"/>
                <a:gd name="connsiteX1002" fmla="*/ 5070509 w 11685910"/>
                <a:gd name="connsiteY1002" fmla="*/ 3227285 h 6078415"/>
                <a:gd name="connsiteX1003" fmla="*/ 5095720 w 11685910"/>
                <a:gd name="connsiteY1003" fmla="*/ 3258579 h 6078415"/>
                <a:gd name="connsiteX1004" fmla="*/ 5095720 w 11685910"/>
                <a:gd name="connsiteY1004" fmla="*/ 3293926 h 6078415"/>
                <a:gd name="connsiteX1005" fmla="*/ 5100219 w 11685910"/>
                <a:gd name="connsiteY1005" fmla="*/ 3313246 h 6078415"/>
                <a:gd name="connsiteX1006" fmla="*/ 5115864 w 11685910"/>
                <a:gd name="connsiteY1006" fmla="*/ 3319264 h 6078415"/>
                <a:gd name="connsiteX1007" fmla="*/ 5115864 w 11685910"/>
                <a:gd name="connsiteY1007" fmla="*/ 3338775 h 6078415"/>
                <a:gd name="connsiteX1008" fmla="*/ 5070762 w 11685910"/>
                <a:gd name="connsiteY1008" fmla="*/ 3300261 h 6078415"/>
                <a:gd name="connsiteX1009" fmla="*/ 5070762 w 11685910"/>
                <a:gd name="connsiteY1009" fmla="*/ 3262886 h 6078415"/>
                <a:gd name="connsiteX1010" fmla="*/ 5050997 w 11685910"/>
                <a:gd name="connsiteY1010" fmla="*/ 3236534 h 6078415"/>
                <a:gd name="connsiteX1011" fmla="*/ 5050997 w 11685910"/>
                <a:gd name="connsiteY1011" fmla="*/ 3218037 h 6078415"/>
                <a:gd name="connsiteX1012" fmla="*/ 5070762 w 11685910"/>
                <a:gd name="connsiteY1012" fmla="*/ 3191177 h 6078415"/>
                <a:gd name="connsiteX1013" fmla="*/ 5070762 w 11685910"/>
                <a:gd name="connsiteY1013" fmla="*/ 3154817 h 6078415"/>
                <a:gd name="connsiteX1014" fmla="*/ 5115864 w 11685910"/>
                <a:gd name="connsiteY1014" fmla="*/ 3115795 h 6078415"/>
                <a:gd name="connsiteX1015" fmla="*/ 2074662 w 11685910"/>
                <a:gd name="connsiteY1015" fmla="*/ 3115795 h 6078415"/>
                <a:gd name="connsiteX1016" fmla="*/ 2119511 w 11685910"/>
                <a:gd name="connsiteY1016" fmla="*/ 3154817 h 6078415"/>
                <a:gd name="connsiteX1017" fmla="*/ 2119511 w 11685910"/>
                <a:gd name="connsiteY1017" fmla="*/ 3191177 h 6078415"/>
                <a:gd name="connsiteX1018" fmla="*/ 2139149 w 11685910"/>
                <a:gd name="connsiteY1018" fmla="*/ 3218037 h 6078415"/>
                <a:gd name="connsiteX1019" fmla="*/ 2139149 w 11685910"/>
                <a:gd name="connsiteY1019" fmla="*/ 3236534 h 6078415"/>
                <a:gd name="connsiteX1020" fmla="*/ 2119511 w 11685910"/>
                <a:gd name="connsiteY1020" fmla="*/ 3262886 h 6078415"/>
                <a:gd name="connsiteX1021" fmla="*/ 2119511 w 11685910"/>
                <a:gd name="connsiteY1021" fmla="*/ 3300261 h 6078415"/>
                <a:gd name="connsiteX1022" fmla="*/ 2074662 w 11685910"/>
                <a:gd name="connsiteY1022" fmla="*/ 3338775 h 6078415"/>
                <a:gd name="connsiteX1023" fmla="*/ 2074662 w 11685910"/>
                <a:gd name="connsiteY1023" fmla="*/ 3319264 h 6078415"/>
                <a:gd name="connsiteX1024" fmla="*/ 2090309 w 11685910"/>
                <a:gd name="connsiteY1024" fmla="*/ 3313183 h 6078415"/>
                <a:gd name="connsiteX1025" fmla="*/ 2094933 w 11685910"/>
                <a:gd name="connsiteY1025" fmla="*/ 3293926 h 6078415"/>
                <a:gd name="connsiteX1026" fmla="*/ 2094933 w 11685910"/>
                <a:gd name="connsiteY1026" fmla="*/ 3258579 h 6078415"/>
                <a:gd name="connsiteX1027" fmla="*/ 2119891 w 11685910"/>
                <a:gd name="connsiteY1027" fmla="*/ 3227285 h 6078415"/>
                <a:gd name="connsiteX1028" fmla="*/ 2119891 w 11685910"/>
                <a:gd name="connsiteY1028" fmla="*/ 3226905 h 6078415"/>
                <a:gd name="connsiteX1029" fmla="*/ 2094933 w 11685910"/>
                <a:gd name="connsiteY1029" fmla="*/ 3195358 h 6078415"/>
                <a:gd name="connsiteX1030" fmla="*/ 2094933 w 11685910"/>
                <a:gd name="connsiteY1030" fmla="*/ 3159631 h 6078415"/>
                <a:gd name="connsiteX1031" fmla="*/ 2074662 w 11685910"/>
                <a:gd name="connsiteY1031" fmla="*/ 3135433 h 6078415"/>
                <a:gd name="connsiteX1032" fmla="*/ 2057178 w 11685910"/>
                <a:gd name="connsiteY1032" fmla="*/ 3115795 h 6078415"/>
                <a:gd name="connsiteX1033" fmla="*/ 2057178 w 11685910"/>
                <a:gd name="connsiteY1033" fmla="*/ 3135433 h 6078415"/>
                <a:gd name="connsiteX1034" fmla="*/ 2037034 w 11685910"/>
                <a:gd name="connsiteY1034" fmla="*/ 3159631 h 6078415"/>
                <a:gd name="connsiteX1035" fmla="*/ 2037034 w 11685910"/>
                <a:gd name="connsiteY1035" fmla="*/ 3195358 h 6078415"/>
                <a:gd name="connsiteX1036" fmla="*/ 2011822 w 11685910"/>
                <a:gd name="connsiteY1036" fmla="*/ 3226905 h 6078415"/>
                <a:gd name="connsiteX1037" fmla="*/ 2011822 w 11685910"/>
                <a:gd name="connsiteY1037" fmla="*/ 3227285 h 6078415"/>
                <a:gd name="connsiteX1038" fmla="*/ 2037034 w 11685910"/>
                <a:gd name="connsiteY1038" fmla="*/ 3258579 h 6078415"/>
                <a:gd name="connsiteX1039" fmla="*/ 2037034 w 11685910"/>
                <a:gd name="connsiteY1039" fmla="*/ 3293926 h 6078415"/>
                <a:gd name="connsiteX1040" fmla="*/ 2041532 w 11685910"/>
                <a:gd name="connsiteY1040" fmla="*/ 3313246 h 6078415"/>
                <a:gd name="connsiteX1041" fmla="*/ 2057178 w 11685910"/>
                <a:gd name="connsiteY1041" fmla="*/ 3319264 h 6078415"/>
                <a:gd name="connsiteX1042" fmla="*/ 2057178 w 11685910"/>
                <a:gd name="connsiteY1042" fmla="*/ 3338775 h 6078415"/>
                <a:gd name="connsiteX1043" fmla="*/ 2012076 w 11685910"/>
                <a:gd name="connsiteY1043" fmla="*/ 3300261 h 6078415"/>
                <a:gd name="connsiteX1044" fmla="*/ 2012076 w 11685910"/>
                <a:gd name="connsiteY1044" fmla="*/ 3262886 h 6078415"/>
                <a:gd name="connsiteX1045" fmla="*/ 1992310 w 11685910"/>
                <a:gd name="connsiteY1045" fmla="*/ 3236534 h 6078415"/>
                <a:gd name="connsiteX1046" fmla="*/ 1992310 w 11685910"/>
                <a:gd name="connsiteY1046" fmla="*/ 3218037 h 6078415"/>
                <a:gd name="connsiteX1047" fmla="*/ 2012076 w 11685910"/>
                <a:gd name="connsiteY1047" fmla="*/ 3191177 h 6078415"/>
                <a:gd name="connsiteX1048" fmla="*/ 2012076 w 11685910"/>
                <a:gd name="connsiteY1048" fmla="*/ 3154817 h 6078415"/>
                <a:gd name="connsiteX1049" fmla="*/ 2057178 w 11685910"/>
                <a:gd name="connsiteY1049" fmla="*/ 3115795 h 6078415"/>
                <a:gd name="connsiteX1050" fmla="*/ 6225654 w 11685910"/>
                <a:gd name="connsiteY1050" fmla="*/ 2984201 h 6078415"/>
                <a:gd name="connsiteX1051" fmla="*/ 6202463 w 11685910"/>
                <a:gd name="connsiteY1051" fmla="*/ 3023448 h 6078415"/>
                <a:gd name="connsiteX1052" fmla="*/ 6218875 w 11685910"/>
                <a:gd name="connsiteY1052" fmla="*/ 3026838 h 6078415"/>
                <a:gd name="connsiteX1053" fmla="*/ 6235287 w 11685910"/>
                <a:gd name="connsiteY1053" fmla="*/ 3023270 h 6078415"/>
                <a:gd name="connsiteX1054" fmla="*/ 6232344 w 11685910"/>
                <a:gd name="connsiteY1054" fmla="*/ 3013815 h 6078415"/>
                <a:gd name="connsiteX1055" fmla="*/ 6233325 w 11685910"/>
                <a:gd name="connsiteY1055" fmla="*/ 3000614 h 6078415"/>
                <a:gd name="connsiteX1056" fmla="*/ 6225654 w 11685910"/>
                <a:gd name="connsiteY1056" fmla="*/ 2984201 h 6078415"/>
                <a:gd name="connsiteX1057" fmla="*/ 6065633 w 11685910"/>
                <a:gd name="connsiteY1057" fmla="*/ 2967789 h 6078415"/>
                <a:gd name="connsiteX1058" fmla="*/ 6051986 w 11685910"/>
                <a:gd name="connsiteY1058" fmla="*/ 2988037 h 6078415"/>
                <a:gd name="connsiteX1059" fmla="*/ 6073482 w 11685910"/>
                <a:gd name="connsiteY1059" fmla="*/ 3009623 h 6078415"/>
                <a:gd name="connsiteX1060" fmla="*/ 6082402 w 11685910"/>
                <a:gd name="connsiteY1060" fmla="*/ 3002398 h 6078415"/>
                <a:gd name="connsiteX1061" fmla="*/ 6065633 w 11685910"/>
                <a:gd name="connsiteY1061" fmla="*/ 2967789 h 6078415"/>
                <a:gd name="connsiteX1062" fmla="*/ 6049245 w 11685910"/>
                <a:gd name="connsiteY1062" fmla="*/ 2899498 h 6078415"/>
                <a:gd name="connsiteX1063" fmla="*/ 6049044 w 11685910"/>
                <a:gd name="connsiteY1063" fmla="*/ 2901015 h 6078415"/>
                <a:gd name="connsiteX1064" fmla="*/ 6048978 w 11685910"/>
                <a:gd name="connsiteY1064" fmla="*/ 2899755 h 6078415"/>
                <a:gd name="connsiteX1065" fmla="*/ 6251165 w 11685910"/>
                <a:gd name="connsiteY1065" fmla="*/ 2872303 h 6078415"/>
                <a:gd name="connsiteX1066" fmla="*/ 6247173 w 11685910"/>
                <a:gd name="connsiteY1066" fmla="*/ 2875157 h 6078415"/>
                <a:gd name="connsiteX1067" fmla="*/ 6254095 w 11685910"/>
                <a:gd name="connsiteY1067" fmla="*/ 2883528 h 6078415"/>
                <a:gd name="connsiteX1068" fmla="*/ 6260976 w 11685910"/>
                <a:gd name="connsiteY1068" fmla="*/ 2881802 h 6078415"/>
                <a:gd name="connsiteX1069" fmla="*/ 6234752 w 11685910"/>
                <a:gd name="connsiteY1069" fmla="*/ 2900980 h 6078415"/>
                <a:gd name="connsiteX1070" fmla="*/ 6239769 w 11685910"/>
                <a:gd name="connsiteY1070" fmla="*/ 2893357 h 6078415"/>
                <a:gd name="connsiteX1071" fmla="*/ 6231987 w 11685910"/>
                <a:gd name="connsiteY1071" fmla="*/ 2886396 h 6078415"/>
                <a:gd name="connsiteX1072" fmla="*/ 6227170 w 11685910"/>
                <a:gd name="connsiteY1072" fmla="*/ 2890455 h 6078415"/>
                <a:gd name="connsiteX1073" fmla="*/ 6251165 w 11685910"/>
                <a:gd name="connsiteY1073" fmla="*/ 2872303 h 6078415"/>
                <a:gd name="connsiteX1074" fmla="*/ 6224596 w 11685910"/>
                <a:gd name="connsiteY1074" fmla="*/ 2855891 h 6078415"/>
                <a:gd name="connsiteX1075" fmla="*/ 6226880 w 11685910"/>
                <a:gd name="connsiteY1075" fmla="*/ 2855928 h 6078415"/>
                <a:gd name="connsiteX1076" fmla="*/ 6235020 w 11685910"/>
                <a:gd name="connsiteY1076" fmla="*/ 2857184 h 6078415"/>
                <a:gd name="connsiteX1077" fmla="*/ 6216110 w 11685910"/>
                <a:gd name="connsiteY1077" fmla="*/ 2876094 h 6078415"/>
                <a:gd name="connsiteX1078" fmla="*/ 6224596 w 11685910"/>
                <a:gd name="connsiteY1078" fmla="*/ 2855891 h 6078415"/>
                <a:gd name="connsiteX1079" fmla="*/ 6327199 w 11685910"/>
                <a:gd name="connsiteY1079" fmla="*/ 2833814 h 6078415"/>
                <a:gd name="connsiteX1080" fmla="*/ 6319002 w 11685910"/>
                <a:gd name="connsiteY1080" fmla="*/ 2847735 h 6078415"/>
                <a:gd name="connsiteX1081" fmla="*/ 6306826 w 11685910"/>
                <a:gd name="connsiteY1081" fmla="*/ 2849726 h 6078415"/>
                <a:gd name="connsiteX1082" fmla="*/ 6317967 w 11685910"/>
                <a:gd name="connsiteY1082" fmla="*/ 2843097 h 6078415"/>
                <a:gd name="connsiteX1083" fmla="*/ 6327199 w 11685910"/>
                <a:gd name="connsiteY1083" fmla="*/ 2833814 h 6078415"/>
                <a:gd name="connsiteX1084" fmla="*/ 6223262 w 11685910"/>
                <a:gd name="connsiteY1084" fmla="*/ 2814809 h 6078415"/>
                <a:gd name="connsiteX1085" fmla="*/ 6229125 w 11685910"/>
                <a:gd name="connsiteY1085" fmla="*/ 2815323 h 6078415"/>
                <a:gd name="connsiteX1086" fmla="*/ 6272110 w 11685910"/>
                <a:gd name="connsiteY1086" fmla="*/ 2844543 h 6078415"/>
                <a:gd name="connsiteX1087" fmla="*/ 6289981 w 11685910"/>
                <a:gd name="connsiteY1087" fmla="*/ 2865553 h 6078415"/>
                <a:gd name="connsiteX1088" fmla="*/ 6286841 w 11685910"/>
                <a:gd name="connsiteY1088" fmla="*/ 2873280 h 6078415"/>
                <a:gd name="connsiteX1089" fmla="*/ 6299867 w 11685910"/>
                <a:gd name="connsiteY1089" fmla="*/ 2883317 h 6078415"/>
                <a:gd name="connsiteX1090" fmla="*/ 6298191 w 11685910"/>
                <a:gd name="connsiteY1090" fmla="*/ 2846234 h 6078415"/>
                <a:gd name="connsiteX1091" fmla="*/ 6313405 w 11685910"/>
                <a:gd name="connsiteY1091" fmla="*/ 2836574 h 6078415"/>
                <a:gd name="connsiteX1092" fmla="*/ 6325238 w 11685910"/>
                <a:gd name="connsiteY1092" fmla="*/ 2825466 h 6078415"/>
                <a:gd name="connsiteX1093" fmla="*/ 6347938 w 11685910"/>
                <a:gd name="connsiteY1093" fmla="*/ 2887528 h 6078415"/>
                <a:gd name="connsiteX1094" fmla="*/ 6310507 w 11685910"/>
                <a:gd name="connsiteY1094" fmla="*/ 2955387 h 6078415"/>
                <a:gd name="connsiteX1095" fmla="*/ 6278696 w 11685910"/>
                <a:gd name="connsiteY1095" fmla="*/ 2956100 h 6078415"/>
                <a:gd name="connsiteX1096" fmla="*/ 6274716 w 11685910"/>
                <a:gd name="connsiteY1096" fmla="*/ 2954714 h 6078415"/>
                <a:gd name="connsiteX1097" fmla="*/ 6274239 w 11685910"/>
                <a:gd name="connsiteY1097" fmla="*/ 2956975 h 6078415"/>
                <a:gd name="connsiteX1098" fmla="*/ 6249652 w 11685910"/>
                <a:gd name="connsiteY1098" fmla="*/ 2976879 h 6078415"/>
                <a:gd name="connsiteX1099" fmla="*/ 6228159 w 11685910"/>
                <a:gd name="connsiteY1099" fmla="*/ 2967220 h 6078415"/>
                <a:gd name="connsiteX1100" fmla="*/ 6227193 w 11685910"/>
                <a:gd name="connsiteY1100" fmla="*/ 2979777 h 6078415"/>
                <a:gd name="connsiteX1101" fmla="*/ 6236853 w 11685910"/>
                <a:gd name="connsiteY1101" fmla="*/ 3000303 h 6078415"/>
                <a:gd name="connsiteX1102" fmla="*/ 6236370 w 11685910"/>
                <a:gd name="connsiteY1102" fmla="*/ 3011412 h 6078415"/>
                <a:gd name="connsiteX1103" fmla="*/ 6238543 w 11685910"/>
                <a:gd name="connsiteY1103" fmla="*/ 3025177 h 6078415"/>
                <a:gd name="connsiteX1104" fmla="*/ 6222605 w 11685910"/>
                <a:gd name="connsiteY1104" fmla="*/ 3030973 h 6078415"/>
                <a:gd name="connsiteX1105" fmla="*/ 6197731 w 11685910"/>
                <a:gd name="connsiteY1105" fmla="*/ 3025660 h 6078415"/>
                <a:gd name="connsiteX1106" fmla="*/ 6196972 w 11685910"/>
                <a:gd name="connsiteY1106" fmla="*/ 3021206 h 6078415"/>
                <a:gd name="connsiteX1107" fmla="*/ 6196932 w 11685910"/>
                <a:gd name="connsiteY1107" fmla="*/ 3019861 h 6078415"/>
                <a:gd name="connsiteX1108" fmla="*/ 6193193 w 11685910"/>
                <a:gd name="connsiteY1108" fmla="*/ 3023405 h 6078415"/>
                <a:gd name="connsiteX1109" fmla="*/ 6169719 w 11685910"/>
                <a:gd name="connsiteY1109" fmla="*/ 3037734 h 6078415"/>
                <a:gd name="connsiteX1110" fmla="*/ 6146294 w 11685910"/>
                <a:gd name="connsiteY1110" fmla="*/ 3009480 h 6078415"/>
                <a:gd name="connsiteX1111" fmla="*/ 6157161 w 11685910"/>
                <a:gd name="connsiteY1111" fmla="*/ 2997647 h 6078415"/>
                <a:gd name="connsiteX1112" fmla="*/ 6132288 w 11685910"/>
                <a:gd name="connsiteY1112" fmla="*/ 2995232 h 6078415"/>
                <a:gd name="connsiteX1113" fmla="*/ 6131322 w 11685910"/>
                <a:gd name="connsiteY1113" fmla="*/ 3006099 h 6078415"/>
                <a:gd name="connsiteX1114" fmla="*/ 6125043 w 11685910"/>
                <a:gd name="connsiteY1114" fmla="*/ 3016725 h 6078415"/>
                <a:gd name="connsiteX1115" fmla="*/ 6119972 w 11685910"/>
                <a:gd name="connsiteY1115" fmla="*/ 3035802 h 6078415"/>
                <a:gd name="connsiteX1116" fmla="*/ 6079884 w 11685910"/>
                <a:gd name="connsiteY1116" fmla="*/ 3027350 h 6078415"/>
                <a:gd name="connsiteX1117" fmla="*/ 6080850 w 11685910"/>
                <a:gd name="connsiteY1117" fmla="*/ 3013344 h 6078415"/>
                <a:gd name="connsiteX1118" fmla="*/ 6071191 w 11685910"/>
                <a:gd name="connsiteY1118" fmla="*/ 3015276 h 6078415"/>
                <a:gd name="connsiteX1119" fmla="*/ 6046076 w 11685910"/>
                <a:gd name="connsiteY1119" fmla="*/ 2989436 h 6078415"/>
                <a:gd name="connsiteX1120" fmla="*/ 6061290 w 11685910"/>
                <a:gd name="connsiteY1120" fmla="*/ 2962873 h 6078415"/>
                <a:gd name="connsiteX1121" fmla="*/ 6062739 w 11685910"/>
                <a:gd name="connsiteY1121" fmla="*/ 2936309 h 6078415"/>
                <a:gd name="connsiteX1122" fmla="*/ 6047283 w 11685910"/>
                <a:gd name="connsiteY1122" fmla="*/ 2914333 h 6078415"/>
                <a:gd name="connsiteX1123" fmla="*/ 6049044 w 11685910"/>
                <a:gd name="connsiteY1123" fmla="*/ 2901015 h 6078415"/>
                <a:gd name="connsiteX1124" fmla="*/ 6049503 w 11685910"/>
                <a:gd name="connsiteY1124" fmla="*/ 2909735 h 6078415"/>
                <a:gd name="connsiteX1125" fmla="*/ 6050326 w 11685910"/>
                <a:gd name="connsiteY1125" fmla="*/ 2910131 h 6078415"/>
                <a:gd name="connsiteX1126" fmla="*/ 6050449 w 11685910"/>
                <a:gd name="connsiteY1126" fmla="*/ 2911305 h 6078415"/>
                <a:gd name="connsiteX1127" fmla="*/ 6070004 w 11685910"/>
                <a:gd name="connsiteY1127" fmla="*/ 2925152 h 6078415"/>
                <a:gd name="connsiteX1128" fmla="*/ 6088227 w 11685910"/>
                <a:gd name="connsiteY1128" fmla="*/ 2995782 h 6078415"/>
                <a:gd name="connsiteX1129" fmla="*/ 6089189 w 11685910"/>
                <a:gd name="connsiteY1129" fmla="*/ 2997632 h 6078415"/>
                <a:gd name="connsiteX1130" fmla="*/ 6089155 w 11685910"/>
                <a:gd name="connsiteY1130" fmla="*/ 2998499 h 6078415"/>
                <a:gd name="connsiteX1131" fmla="*/ 6087754 w 11685910"/>
                <a:gd name="connsiteY1131" fmla="*/ 3011942 h 6078415"/>
                <a:gd name="connsiteX1132" fmla="*/ 6084454 w 11685910"/>
                <a:gd name="connsiteY1132" fmla="*/ 3023270 h 6078415"/>
                <a:gd name="connsiteX1133" fmla="*/ 6118617 w 11685910"/>
                <a:gd name="connsiteY1133" fmla="*/ 3029871 h 6078415"/>
                <a:gd name="connsiteX1134" fmla="*/ 6119776 w 11685910"/>
                <a:gd name="connsiteY1134" fmla="*/ 3018988 h 6078415"/>
                <a:gd name="connsiteX1135" fmla="*/ 6126377 w 11685910"/>
                <a:gd name="connsiteY1135" fmla="*/ 3004806 h 6078415"/>
                <a:gd name="connsiteX1136" fmla="*/ 6126656 w 11685910"/>
                <a:gd name="connsiteY1136" fmla="*/ 2989698 h 6078415"/>
                <a:gd name="connsiteX1137" fmla="*/ 6126448 w 11685910"/>
                <a:gd name="connsiteY1137" fmla="*/ 2984019 h 6078415"/>
                <a:gd name="connsiteX1138" fmla="*/ 6128036 w 11685910"/>
                <a:gd name="connsiteY1138" fmla="*/ 2985869 h 6078415"/>
                <a:gd name="connsiteX1139" fmla="*/ 6167408 w 11685910"/>
                <a:gd name="connsiteY1139" fmla="*/ 2983666 h 6078415"/>
                <a:gd name="connsiteX1140" fmla="*/ 6168300 w 11685910"/>
                <a:gd name="connsiteY1140" fmla="*/ 2997403 h 6078415"/>
                <a:gd name="connsiteX1141" fmla="*/ 6151263 w 11685910"/>
                <a:gd name="connsiteY1141" fmla="*/ 3010069 h 6078415"/>
                <a:gd name="connsiteX1142" fmla="*/ 6170173 w 11685910"/>
                <a:gd name="connsiteY1142" fmla="*/ 3032992 h 6078415"/>
                <a:gd name="connsiteX1143" fmla="*/ 6205228 w 11685910"/>
                <a:gd name="connsiteY1143" fmla="*/ 3005252 h 6078415"/>
                <a:gd name="connsiteX1144" fmla="*/ 6224316 w 11685910"/>
                <a:gd name="connsiteY1144" fmla="*/ 2963418 h 6078415"/>
                <a:gd name="connsiteX1145" fmla="*/ 6207453 w 11685910"/>
                <a:gd name="connsiteY1145" fmla="*/ 2945155 h 6078415"/>
                <a:gd name="connsiteX1146" fmla="*/ 6207259 w 11685910"/>
                <a:gd name="connsiteY1146" fmla="*/ 2944647 h 6078415"/>
                <a:gd name="connsiteX1147" fmla="*/ 6209877 w 11685910"/>
                <a:gd name="connsiteY1147" fmla="*/ 2946295 h 6078415"/>
                <a:gd name="connsiteX1148" fmla="*/ 6229044 w 11685910"/>
                <a:gd name="connsiteY1148" fmla="*/ 2956907 h 6078415"/>
                <a:gd name="connsiteX1149" fmla="*/ 6250362 w 11685910"/>
                <a:gd name="connsiteY1149" fmla="*/ 2971357 h 6078415"/>
                <a:gd name="connsiteX1150" fmla="*/ 6271323 w 11685910"/>
                <a:gd name="connsiteY1150" fmla="*/ 2952982 h 6078415"/>
                <a:gd name="connsiteX1151" fmla="*/ 6268023 w 11685910"/>
                <a:gd name="connsiteY1151" fmla="*/ 2952715 h 6078415"/>
                <a:gd name="connsiteX1152" fmla="*/ 6240230 w 11685910"/>
                <a:gd name="connsiteY1152" fmla="*/ 2930567 h 6078415"/>
                <a:gd name="connsiteX1153" fmla="*/ 6241155 w 11685910"/>
                <a:gd name="connsiteY1153" fmla="*/ 2925791 h 6078415"/>
                <a:gd name="connsiteX1154" fmla="*/ 6242907 w 11685910"/>
                <a:gd name="connsiteY1154" fmla="*/ 2927701 h 6078415"/>
                <a:gd name="connsiteX1155" fmla="*/ 6314674 w 11685910"/>
                <a:gd name="connsiteY1155" fmla="*/ 2945846 h 6078415"/>
                <a:gd name="connsiteX1156" fmla="*/ 6326537 w 11685910"/>
                <a:gd name="connsiteY1156" fmla="*/ 2828730 h 6078415"/>
                <a:gd name="connsiteX1157" fmla="*/ 6317260 w 11685910"/>
                <a:gd name="connsiteY1157" fmla="*/ 2839434 h 6078415"/>
                <a:gd name="connsiteX1158" fmla="*/ 6303702 w 11685910"/>
                <a:gd name="connsiteY1158" fmla="*/ 2846302 h 6078415"/>
                <a:gd name="connsiteX1159" fmla="*/ 6295225 w 11685910"/>
                <a:gd name="connsiteY1159" fmla="*/ 2907097 h 6078415"/>
                <a:gd name="connsiteX1160" fmla="*/ 6293745 w 11685910"/>
                <a:gd name="connsiteY1160" fmla="*/ 2908265 h 6078415"/>
                <a:gd name="connsiteX1161" fmla="*/ 6294056 w 11685910"/>
                <a:gd name="connsiteY1161" fmla="*/ 2907664 h 6078415"/>
                <a:gd name="connsiteX1162" fmla="*/ 6297280 w 11685910"/>
                <a:gd name="connsiteY1162" fmla="*/ 2888582 h 6078415"/>
                <a:gd name="connsiteX1163" fmla="*/ 6284703 w 11685910"/>
                <a:gd name="connsiteY1163" fmla="*/ 2890990 h 6078415"/>
                <a:gd name="connsiteX1164" fmla="*/ 6286041 w 11685910"/>
                <a:gd name="connsiteY1164" fmla="*/ 2880554 h 6078415"/>
                <a:gd name="connsiteX1165" fmla="*/ 6274267 w 11685910"/>
                <a:gd name="connsiteY1165" fmla="*/ 2880464 h 6078415"/>
                <a:gd name="connsiteX1166" fmla="*/ 6277656 w 11685910"/>
                <a:gd name="connsiteY1166" fmla="*/ 2872704 h 6078415"/>
                <a:gd name="connsiteX1167" fmla="*/ 6270849 w 11685910"/>
                <a:gd name="connsiteY1167" fmla="*/ 2869560 h 6078415"/>
                <a:gd name="connsiteX1168" fmla="*/ 6268963 w 11685910"/>
                <a:gd name="connsiteY1168" fmla="*/ 2869573 h 6078415"/>
                <a:gd name="connsiteX1169" fmla="*/ 6270514 w 11685910"/>
                <a:gd name="connsiteY1169" fmla="*/ 2869016 h 6078415"/>
                <a:gd name="connsiteX1170" fmla="*/ 6272840 w 11685910"/>
                <a:gd name="connsiteY1170" fmla="*/ 2868334 h 6078415"/>
                <a:gd name="connsiteX1171" fmla="*/ 6284079 w 11685910"/>
                <a:gd name="connsiteY1171" fmla="*/ 2865747 h 6078415"/>
                <a:gd name="connsiteX1172" fmla="*/ 6272661 w 11685910"/>
                <a:gd name="connsiteY1172" fmla="*/ 2851208 h 6078415"/>
                <a:gd name="connsiteX1173" fmla="*/ 6260762 w 11685910"/>
                <a:gd name="connsiteY1173" fmla="*/ 2849748 h 6078415"/>
                <a:gd name="connsiteX1174" fmla="*/ 6259663 w 11685910"/>
                <a:gd name="connsiteY1174" fmla="*/ 2849690 h 6078415"/>
                <a:gd name="connsiteX1175" fmla="*/ 6259672 w 11685910"/>
                <a:gd name="connsiteY1175" fmla="*/ 2849666 h 6078415"/>
                <a:gd name="connsiteX1176" fmla="*/ 6267399 w 11685910"/>
                <a:gd name="connsiteY1176" fmla="*/ 2847283 h 6078415"/>
                <a:gd name="connsiteX1177" fmla="*/ 6225030 w 11685910"/>
                <a:gd name="connsiteY1177" fmla="*/ 2821327 h 6078415"/>
                <a:gd name="connsiteX1178" fmla="*/ 6174900 w 11685910"/>
                <a:gd name="connsiteY1178" fmla="*/ 2844786 h 6078415"/>
                <a:gd name="connsiteX1179" fmla="*/ 6189037 w 11685910"/>
                <a:gd name="connsiteY1179" fmla="*/ 2845110 h 6078415"/>
                <a:gd name="connsiteX1180" fmla="*/ 6189610 w 11685910"/>
                <a:gd name="connsiteY1180" fmla="*/ 2845193 h 6078415"/>
                <a:gd name="connsiteX1181" fmla="*/ 6187216 w 11685910"/>
                <a:gd name="connsiteY1181" fmla="*/ 2845844 h 6078415"/>
                <a:gd name="connsiteX1182" fmla="*/ 6162783 w 11685910"/>
                <a:gd name="connsiteY1182" fmla="*/ 2850926 h 6078415"/>
                <a:gd name="connsiteX1183" fmla="*/ 6116620 w 11685910"/>
                <a:gd name="connsiteY1183" fmla="*/ 2910805 h 6078415"/>
                <a:gd name="connsiteX1184" fmla="*/ 6130507 w 11685910"/>
                <a:gd name="connsiteY1184" fmla="*/ 2932769 h 6078415"/>
                <a:gd name="connsiteX1185" fmla="*/ 6144916 w 11685910"/>
                <a:gd name="connsiteY1185" fmla="*/ 2916343 h 6078415"/>
                <a:gd name="connsiteX1186" fmla="*/ 6128058 w 11685910"/>
                <a:gd name="connsiteY1186" fmla="*/ 2951212 h 6078415"/>
                <a:gd name="connsiteX1187" fmla="*/ 6143880 w 11685910"/>
                <a:gd name="connsiteY1187" fmla="*/ 2960530 h 6078415"/>
                <a:gd name="connsiteX1188" fmla="*/ 6170852 w 11685910"/>
                <a:gd name="connsiteY1188" fmla="*/ 2947177 h 6078415"/>
                <a:gd name="connsiteX1189" fmla="*/ 6188143 w 11685910"/>
                <a:gd name="connsiteY1189" fmla="*/ 2945448 h 6078415"/>
                <a:gd name="connsiteX1190" fmla="*/ 6194339 w 11685910"/>
                <a:gd name="connsiteY1190" fmla="*/ 2876862 h 6078415"/>
                <a:gd name="connsiteX1191" fmla="*/ 6195059 w 11685910"/>
                <a:gd name="connsiteY1191" fmla="*/ 2954238 h 6078415"/>
                <a:gd name="connsiteX1192" fmla="*/ 6192966 w 11685910"/>
                <a:gd name="connsiteY1192" fmla="*/ 2953895 h 6078415"/>
                <a:gd name="connsiteX1193" fmla="*/ 6190315 w 11685910"/>
                <a:gd name="connsiteY1193" fmla="*/ 2953217 h 6078415"/>
                <a:gd name="connsiteX1194" fmla="*/ 6187599 w 11685910"/>
                <a:gd name="connsiteY1194" fmla="*/ 2952793 h 6078415"/>
                <a:gd name="connsiteX1195" fmla="*/ 6186838 w 11685910"/>
                <a:gd name="connsiteY1195" fmla="*/ 2952617 h 6078415"/>
                <a:gd name="connsiteX1196" fmla="*/ 6180113 w 11685910"/>
                <a:gd name="connsiteY1196" fmla="*/ 2952389 h 6078415"/>
                <a:gd name="connsiteX1197" fmla="*/ 6179134 w 11685910"/>
                <a:gd name="connsiteY1197" fmla="*/ 2952617 h 6078415"/>
                <a:gd name="connsiteX1198" fmla="*/ 6178542 w 11685910"/>
                <a:gd name="connsiteY1198" fmla="*/ 2952669 h 6078415"/>
                <a:gd name="connsiteX1199" fmla="*/ 6139578 w 11685910"/>
                <a:gd name="connsiteY1199" fmla="*/ 2968503 h 6078415"/>
                <a:gd name="connsiteX1200" fmla="*/ 6117388 w 11685910"/>
                <a:gd name="connsiteY1200" fmla="*/ 2950903 h 6078415"/>
                <a:gd name="connsiteX1201" fmla="*/ 6116933 w 11685910"/>
                <a:gd name="connsiteY1201" fmla="*/ 2950314 h 6078415"/>
                <a:gd name="connsiteX1202" fmla="*/ 6118644 w 11685910"/>
                <a:gd name="connsiteY1202" fmla="*/ 2947455 h 6078415"/>
                <a:gd name="connsiteX1203" fmla="*/ 6124682 w 11685910"/>
                <a:gd name="connsiteY1203" fmla="*/ 2938711 h 6078415"/>
                <a:gd name="connsiteX1204" fmla="*/ 6107734 w 11685910"/>
                <a:gd name="connsiteY1204" fmla="*/ 2911862 h 6078415"/>
                <a:gd name="connsiteX1205" fmla="*/ 6137794 w 11685910"/>
                <a:gd name="connsiteY1205" fmla="*/ 2866014 h 6078415"/>
                <a:gd name="connsiteX1206" fmla="*/ 6058278 w 11685910"/>
                <a:gd name="connsiteY1206" fmla="*/ 2913077 h 6078415"/>
                <a:gd name="connsiteX1207" fmla="*/ 6054677 w 11685910"/>
                <a:gd name="connsiteY1207" fmla="*/ 2909836 h 6078415"/>
                <a:gd name="connsiteX1208" fmla="*/ 6055730 w 11685910"/>
                <a:gd name="connsiteY1208" fmla="*/ 2909245 h 6078415"/>
                <a:gd name="connsiteX1209" fmla="*/ 6059657 w 11685910"/>
                <a:gd name="connsiteY1209" fmla="*/ 2889473 h 6078415"/>
                <a:gd name="connsiteX1210" fmla="*/ 6049245 w 11685910"/>
                <a:gd name="connsiteY1210" fmla="*/ 2899498 h 6078415"/>
                <a:gd name="connsiteX1211" fmla="*/ 6050151 w 11685910"/>
                <a:gd name="connsiteY1211" fmla="*/ 2892645 h 6078415"/>
                <a:gd name="connsiteX1212" fmla="*/ 6063705 w 11685910"/>
                <a:gd name="connsiteY1212" fmla="*/ 2884147 h 6078415"/>
                <a:gd name="connsiteX1213" fmla="*/ 6063705 w 11685910"/>
                <a:gd name="connsiteY1213" fmla="*/ 2907813 h 6078415"/>
                <a:gd name="connsiteX1214" fmla="*/ 6139532 w 11685910"/>
                <a:gd name="connsiteY1214" fmla="*/ 2859757 h 6078415"/>
                <a:gd name="connsiteX1215" fmla="*/ 6161991 w 11685910"/>
                <a:gd name="connsiteY1215" fmla="*/ 2843336 h 6078415"/>
                <a:gd name="connsiteX1216" fmla="*/ 6167986 w 11685910"/>
                <a:gd name="connsiteY1216" fmla="*/ 2842707 h 6078415"/>
                <a:gd name="connsiteX1217" fmla="*/ 6168681 w 11685910"/>
                <a:gd name="connsiteY1217" fmla="*/ 2841220 h 6078415"/>
                <a:gd name="connsiteX1218" fmla="*/ 6187831 w 11685910"/>
                <a:gd name="connsiteY1218" fmla="*/ 2822809 h 6078415"/>
                <a:gd name="connsiteX1219" fmla="*/ 6223262 w 11685910"/>
                <a:gd name="connsiteY1219" fmla="*/ 2814809 h 6078415"/>
                <a:gd name="connsiteX1220" fmla="*/ 11472799 w 11685910"/>
                <a:gd name="connsiteY1220" fmla="*/ 2814763 h 6078415"/>
                <a:gd name="connsiteX1221" fmla="*/ 11517648 w 11685910"/>
                <a:gd name="connsiteY1221" fmla="*/ 2853785 h 6078415"/>
                <a:gd name="connsiteX1222" fmla="*/ 11517648 w 11685910"/>
                <a:gd name="connsiteY1222" fmla="*/ 2890145 h 6078415"/>
                <a:gd name="connsiteX1223" fmla="*/ 11537286 w 11685910"/>
                <a:gd name="connsiteY1223" fmla="*/ 2917005 h 6078415"/>
                <a:gd name="connsiteX1224" fmla="*/ 11537286 w 11685910"/>
                <a:gd name="connsiteY1224" fmla="*/ 2935502 h 6078415"/>
                <a:gd name="connsiteX1225" fmla="*/ 11517648 w 11685910"/>
                <a:gd name="connsiteY1225" fmla="*/ 2961854 h 6078415"/>
                <a:gd name="connsiteX1226" fmla="*/ 11517648 w 11685910"/>
                <a:gd name="connsiteY1226" fmla="*/ 2999229 h 6078415"/>
                <a:gd name="connsiteX1227" fmla="*/ 11472799 w 11685910"/>
                <a:gd name="connsiteY1227" fmla="*/ 3037743 h 6078415"/>
                <a:gd name="connsiteX1228" fmla="*/ 11472799 w 11685910"/>
                <a:gd name="connsiteY1228" fmla="*/ 3018232 h 6078415"/>
                <a:gd name="connsiteX1229" fmla="*/ 11488446 w 11685910"/>
                <a:gd name="connsiteY1229" fmla="*/ 3012151 h 6078415"/>
                <a:gd name="connsiteX1230" fmla="*/ 11493070 w 11685910"/>
                <a:gd name="connsiteY1230" fmla="*/ 2992894 h 6078415"/>
                <a:gd name="connsiteX1231" fmla="*/ 11493070 w 11685910"/>
                <a:gd name="connsiteY1231" fmla="*/ 2957547 h 6078415"/>
                <a:gd name="connsiteX1232" fmla="*/ 11518029 w 11685910"/>
                <a:gd name="connsiteY1232" fmla="*/ 2926253 h 6078415"/>
                <a:gd name="connsiteX1233" fmla="*/ 11518029 w 11685910"/>
                <a:gd name="connsiteY1233" fmla="*/ 2925873 h 6078415"/>
                <a:gd name="connsiteX1234" fmla="*/ 11493070 w 11685910"/>
                <a:gd name="connsiteY1234" fmla="*/ 2894326 h 6078415"/>
                <a:gd name="connsiteX1235" fmla="*/ 11493070 w 11685910"/>
                <a:gd name="connsiteY1235" fmla="*/ 2858599 h 6078415"/>
                <a:gd name="connsiteX1236" fmla="*/ 11472799 w 11685910"/>
                <a:gd name="connsiteY1236" fmla="*/ 2834401 h 6078415"/>
                <a:gd name="connsiteX1237" fmla="*/ 11455315 w 11685910"/>
                <a:gd name="connsiteY1237" fmla="*/ 2814763 h 6078415"/>
                <a:gd name="connsiteX1238" fmla="*/ 11455315 w 11685910"/>
                <a:gd name="connsiteY1238" fmla="*/ 2834401 h 6078415"/>
                <a:gd name="connsiteX1239" fmla="*/ 11435171 w 11685910"/>
                <a:gd name="connsiteY1239" fmla="*/ 2858599 h 6078415"/>
                <a:gd name="connsiteX1240" fmla="*/ 11435171 w 11685910"/>
                <a:gd name="connsiteY1240" fmla="*/ 2894326 h 6078415"/>
                <a:gd name="connsiteX1241" fmla="*/ 11409959 w 11685910"/>
                <a:gd name="connsiteY1241" fmla="*/ 2925873 h 6078415"/>
                <a:gd name="connsiteX1242" fmla="*/ 11409959 w 11685910"/>
                <a:gd name="connsiteY1242" fmla="*/ 2926253 h 6078415"/>
                <a:gd name="connsiteX1243" fmla="*/ 11435171 w 11685910"/>
                <a:gd name="connsiteY1243" fmla="*/ 2957547 h 6078415"/>
                <a:gd name="connsiteX1244" fmla="*/ 11435171 w 11685910"/>
                <a:gd name="connsiteY1244" fmla="*/ 2992894 h 6078415"/>
                <a:gd name="connsiteX1245" fmla="*/ 11439669 w 11685910"/>
                <a:gd name="connsiteY1245" fmla="*/ 3012214 h 6078415"/>
                <a:gd name="connsiteX1246" fmla="*/ 11455315 w 11685910"/>
                <a:gd name="connsiteY1246" fmla="*/ 3018232 h 6078415"/>
                <a:gd name="connsiteX1247" fmla="*/ 11455315 w 11685910"/>
                <a:gd name="connsiteY1247" fmla="*/ 3037743 h 6078415"/>
                <a:gd name="connsiteX1248" fmla="*/ 11410212 w 11685910"/>
                <a:gd name="connsiteY1248" fmla="*/ 2999229 h 6078415"/>
                <a:gd name="connsiteX1249" fmla="*/ 11410212 w 11685910"/>
                <a:gd name="connsiteY1249" fmla="*/ 2961854 h 6078415"/>
                <a:gd name="connsiteX1250" fmla="*/ 11390448 w 11685910"/>
                <a:gd name="connsiteY1250" fmla="*/ 2935502 h 6078415"/>
                <a:gd name="connsiteX1251" fmla="*/ 11390448 w 11685910"/>
                <a:gd name="connsiteY1251" fmla="*/ 2917005 h 6078415"/>
                <a:gd name="connsiteX1252" fmla="*/ 11410212 w 11685910"/>
                <a:gd name="connsiteY1252" fmla="*/ 2890145 h 6078415"/>
                <a:gd name="connsiteX1253" fmla="*/ 11410212 w 11685910"/>
                <a:gd name="connsiteY1253" fmla="*/ 2853785 h 6078415"/>
                <a:gd name="connsiteX1254" fmla="*/ 11455315 w 11685910"/>
                <a:gd name="connsiteY1254" fmla="*/ 2814763 h 6078415"/>
                <a:gd name="connsiteX1255" fmla="*/ 7307218 w 11685910"/>
                <a:gd name="connsiteY1255" fmla="*/ 2814763 h 6078415"/>
                <a:gd name="connsiteX1256" fmla="*/ 7352068 w 11685910"/>
                <a:gd name="connsiteY1256" fmla="*/ 2853785 h 6078415"/>
                <a:gd name="connsiteX1257" fmla="*/ 7352068 w 11685910"/>
                <a:gd name="connsiteY1257" fmla="*/ 2890145 h 6078415"/>
                <a:gd name="connsiteX1258" fmla="*/ 7371705 w 11685910"/>
                <a:gd name="connsiteY1258" fmla="*/ 2917005 h 6078415"/>
                <a:gd name="connsiteX1259" fmla="*/ 7371705 w 11685910"/>
                <a:gd name="connsiteY1259" fmla="*/ 2935502 h 6078415"/>
                <a:gd name="connsiteX1260" fmla="*/ 7352068 w 11685910"/>
                <a:gd name="connsiteY1260" fmla="*/ 2961854 h 6078415"/>
                <a:gd name="connsiteX1261" fmla="*/ 7352068 w 11685910"/>
                <a:gd name="connsiteY1261" fmla="*/ 2999229 h 6078415"/>
                <a:gd name="connsiteX1262" fmla="*/ 7307218 w 11685910"/>
                <a:gd name="connsiteY1262" fmla="*/ 3037743 h 6078415"/>
                <a:gd name="connsiteX1263" fmla="*/ 7307218 w 11685910"/>
                <a:gd name="connsiteY1263" fmla="*/ 3018232 h 6078415"/>
                <a:gd name="connsiteX1264" fmla="*/ 7322865 w 11685910"/>
                <a:gd name="connsiteY1264" fmla="*/ 3012151 h 6078415"/>
                <a:gd name="connsiteX1265" fmla="*/ 7327489 w 11685910"/>
                <a:gd name="connsiteY1265" fmla="*/ 2992894 h 6078415"/>
                <a:gd name="connsiteX1266" fmla="*/ 7327489 w 11685910"/>
                <a:gd name="connsiteY1266" fmla="*/ 2957547 h 6078415"/>
                <a:gd name="connsiteX1267" fmla="*/ 7352448 w 11685910"/>
                <a:gd name="connsiteY1267" fmla="*/ 2926253 h 6078415"/>
                <a:gd name="connsiteX1268" fmla="*/ 7352448 w 11685910"/>
                <a:gd name="connsiteY1268" fmla="*/ 2925873 h 6078415"/>
                <a:gd name="connsiteX1269" fmla="*/ 7327489 w 11685910"/>
                <a:gd name="connsiteY1269" fmla="*/ 2894326 h 6078415"/>
                <a:gd name="connsiteX1270" fmla="*/ 7327489 w 11685910"/>
                <a:gd name="connsiteY1270" fmla="*/ 2858599 h 6078415"/>
                <a:gd name="connsiteX1271" fmla="*/ 7307218 w 11685910"/>
                <a:gd name="connsiteY1271" fmla="*/ 2834401 h 6078415"/>
                <a:gd name="connsiteX1272" fmla="*/ 7289734 w 11685910"/>
                <a:gd name="connsiteY1272" fmla="*/ 2814763 h 6078415"/>
                <a:gd name="connsiteX1273" fmla="*/ 7289734 w 11685910"/>
                <a:gd name="connsiteY1273" fmla="*/ 2834401 h 6078415"/>
                <a:gd name="connsiteX1274" fmla="*/ 7269590 w 11685910"/>
                <a:gd name="connsiteY1274" fmla="*/ 2858599 h 6078415"/>
                <a:gd name="connsiteX1275" fmla="*/ 7269590 w 11685910"/>
                <a:gd name="connsiteY1275" fmla="*/ 2894326 h 6078415"/>
                <a:gd name="connsiteX1276" fmla="*/ 7244378 w 11685910"/>
                <a:gd name="connsiteY1276" fmla="*/ 2925873 h 6078415"/>
                <a:gd name="connsiteX1277" fmla="*/ 7244378 w 11685910"/>
                <a:gd name="connsiteY1277" fmla="*/ 2926253 h 6078415"/>
                <a:gd name="connsiteX1278" fmla="*/ 7269590 w 11685910"/>
                <a:gd name="connsiteY1278" fmla="*/ 2957547 h 6078415"/>
                <a:gd name="connsiteX1279" fmla="*/ 7269590 w 11685910"/>
                <a:gd name="connsiteY1279" fmla="*/ 2992894 h 6078415"/>
                <a:gd name="connsiteX1280" fmla="*/ 7274088 w 11685910"/>
                <a:gd name="connsiteY1280" fmla="*/ 3012214 h 6078415"/>
                <a:gd name="connsiteX1281" fmla="*/ 7289734 w 11685910"/>
                <a:gd name="connsiteY1281" fmla="*/ 3018232 h 6078415"/>
                <a:gd name="connsiteX1282" fmla="*/ 7289734 w 11685910"/>
                <a:gd name="connsiteY1282" fmla="*/ 3037743 h 6078415"/>
                <a:gd name="connsiteX1283" fmla="*/ 7244632 w 11685910"/>
                <a:gd name="connsiteY1283" fmla="*/ 2999229 h 6078415"/>
                <a:gd name="connsiteX1284" fmla="*/ 7244632 w 11685910"/>
                <a:gd name="connsiteY1284" fmla="*/ 2961854 h 6078415"/>
                <a:gd name="connsiteX1285" fmla="*/ 7224867 w 11685910"/>
                <a:gd name="connsiteY1285" fmla="*/ 2935502 h 6078415"/>
                <a:gd name="connsiteX1286" fmla="*/ 7224867 w 11685910"/>
                <a:gd name="connsiteY1286" fmla="*/ 2917005 h 6078415"/>
                <a:gd name="connsiteX1287" fmla="*/ 7244632 w 11685910"/>
                <a:gd name="connsiteY1287" fmla="*/ 2890145 h 6078415"/>
                <a:gd name="connsiteX1288" fmla="*/ 7244632 w 11685910"/>
                <a:gd name="connsiteY1288" fmla="*/ 2853785 h 6078415"/>
                <a:gd name="connsiteX1289" fmla="*/ 7289734 w 11685910"/>
                <a:gd name="connsiteY1289" fmla="*/ 2814763 h 6078415"/>
                <a:gd name="connsiteX1290" fmla="*/ 1251166 w 11685910"/>
                <a:gd name="connsiteY1290" fmla="*/ 2814763 h 6078415"/>
                <a:gd name="connsiteX1291" fmla="*/ 1296015 w 11685910"/>
                <a:gd name="connsiteY1291" fmla="*/ 2853785 h 6078415"/>
                <a:gd name="connsiteX1292" fmla="*/ 1296015 w 11685910"/>
                <a:gd name="connsiteY1292" fmla="*/ 2890145 h 6078415"/>
                <a:gd name="connsiteX1293" fmla="*/ 1315652 w 11685910"/>
                <a:gd name="connsiteY1293" fmla="*/ 2917005 h 6078415"/>
                <a:gd name="connsiteX1294" fmla="*/ 1315652 w 11685910"/>
                <a:gd name="connsiteY1294" fmla="*/ 2935502 h 6078415"/>
                <a:gd name="connsiteX1295" fmla="*/ 1296015 w 11685910"/>
                <a:gd name="connsiteY1295" fmla="*/ 2961854 h 6078415"/>
                <a:gd name="connsiteX1296" fmla="*/ 1296015 w 11685910"/>
                <a:gd name="connsiteY1296" fmla="*/ 2999229 h 6078415"/>
                <a:gd name="connsiteX1297" fmla="*/ 1251166 w 11685910"/>
                <a:gd name="connsiteY1297" fmla="*/ 3037743 h 6078415"/>
                <a:gd name="connsiteX1298" fmla="*/ 1251166 w 11685910"/>
                <a:gd name="connsiteY1298" fmla="*/ 3018232 h 6078415"/>
                <a:gd name="connsiteX1299" fmla="*/ 1266812 w 11685910"/>
                <a:gd name="connsiteY1299" fmla="*/ 3012151 h 6078415"/>
                <a:gd name="connsiteX1300" fmla="*/ 1271436 w 11685910"/>
                <a:gd name="connsiteY1300" fmla="*/ 2992894 h 6078415"/>
                <a:gd name="connsiteX1301" fmla="*/ 1271436 w 11685910"/>
                <a:gd name="connsiteY1301" fmla="*/ 2957547 h 6078415"/>
                <a:gd name="connsiteX1302" fmla="*/ 1296395 w 11685910"/>
                <a:gd name="connsiteY1302" fmla="*/ 2926253 h 6078415"/>
                <a:gd name="connsiteX1303" fmla="*/ 1296395 w 11685910"/>
                <a:gd name="connsiteY1303" fmla="*/ 2925873 h 6078415"/>
                <a:gd name="connsiteX1304" fmla="*/ 1271436 w 11685910"/>
                <a:gd name="connsiteY1304" fmla="*/ 2894326 h 6078415"/>
                <a:gd name="connsiteX1305" fmla="*/ 1271436 w 11685910"/>
                <a:gd name="connsiteY1305" fmla="*/ 2858599 h 6078415"/>
                <a:gd name="connsiteX1306" fmla="*/ 1251166 w 11685910"/>
                <a:gd name="connsiteY1306" fmla="*/ 2834401 h 6078415"/>
                <a:gd name="connsiteX1307" fmla="*/ 1233681 w 11685910"/>
                <a:gd name="connsiteY1307" fmla="*/ 2814763 h 6078415"/>
                <a:gd name="connsiteX1308" fmla="*/ 1233681 w 11685910"/>
                <a:gd name="connsiteY1308" fmla="*/ 2834401 h 6078415"/>
                <a:gd name="connsiteX1309" fmla="*/ 1213537 w 11685910"/>
                <a:gd name="connsiteY1309" fmla="*/ 2858599 h 6078415"/>
                <a:gd name="connsiteX1310" fmla="*/ 1213537 w 11685910"/>
                <a:gd name="connsiteY1310" fmla="*/ 2894326 h 6078415"/>
                <a:gd name="connsiteX1311" fmla="*/ 1188325 w 11685910"/>
                <a:gd name="connsiteY1311" fmla="*/ 2925873 h 6078415"/>
                <a:gd name="connsiteX1312" fmla="*/ 1188325 w 11685910"/>
                <a:gd name="connsiteY1312" fmla="*/ 2926253 h 6078415"/>
                <a:gd name="connsiteX1313" fmla="*/ 1213537 w 11685910"/>
                <a:gd name="connsiteY1313" fmla="*/ 2957547 h 6078415"/>
                <a:gd name="connsiteX1314" fmla="*/ 1213537 w 11685910"/>
                <a:gd name="connsiteY1314" fmla="*/ 2992894 h 6078415"/>
                <a:gd name="connsiteX1315" fmla="*/ 1218035 w 11685910"/>
                <a:gd name="connsiteY1315" fmla="*/ 3012214 h 6078415"/>
                <a:gd name="connsiteX1316" fmla="*/ 1233681 w 11685910"/>
                <a:gd name="connsiteY1316" fmla="*/ 3018232 h 6078415"/>
                <a:gd name="connsiteX1317" fmla="*/ 1233681 w 11685910"/>
                <a:gd name="connsiteY1317" fmla="*/ 3037743 h 6078415"/>
                <a:gd name="connsiteX1318" fmla="*/ 1188579 w 11685910"/>
                <a:gd name="connsiteY1318" fmla="*/ 2999229 h 6078415"/>
                <a:gd name="connsiteX1319" fmla="*/ 1188579 w 11685910"/>
                <a:gd name="connsiteY1319" fmla="*/ 2961854 h 6078415"/>
                <a:gd name="connsiteX1320" fmla="*/ 1168814 w 11685910"/>
                <a:gd name="connsiteY1320" fmla="*/ 2935502 h 6078415"/>
                <a:gd name="connsiteX1321" fmla="*/ 1168814 w 11685910"/>
                <a:gd name="connsiteY1321" fmla="*/ 2917005 h 6078415"/>
                <a:gd name="connsiteX1322" fmla="*/ 1188579 w 11685910"/>
                <a:gd name="connsiteY1322" fmla="*/ 2890145 h 6078415"/>
                <a:gd name="connsiteX1323" fmla="*/ 1188579 w 11685910"/>
                <a:gd name="connsiteY1323" fmla="*/ 2853785 h 6078415"/>
                <a:gd name="connsiteX1324" fmla="*/ 1233681 w 11685910"/>
                <a:gd name="connsiteY1324" fmla="*/ 2814763 h 6078415"/>
                <a:gd name="connsiteX1325" fmla="*/ 11609322 w 11685910"/>
                <a:gd name="connsiteY1325" fmla="*/ 2486370 h 6078415"/>
                <a:gd name="connsiteX1326" fmla="*/ 11654171 w 11685910"/>
                <a:gd name="connsiteY1326" fmla="*/ 2525391 h 6078415"/>
                <a:gd name="connsiteX1327" fmla="*/ 11654171 w 11685910"/>
                <a:gd name="connsiteY1327" fmla="*/ 2561752 h 6078415"/>
                <a:gd name="connsiteX1328" fmla="*/ 11673809 w 11685910"/>
                <a:gd name="connsiteY1328" fmla="*/ 2588613 h 6078415"/>
                <a:gd name="connsiteX1329" fmla="*/ 11673809 w 11685910"/>
                <a:gd name="connsiteY1329" fmla="*/ 2607108 h 6078415"/>
                <a:gd name="connsiteX1330" fmla="*/ 11654171 w 11685910"/>
                <a:gd name="connsiteY1330" fmla="*/ 2633461 h 6078415"/>
                <a:gd name="connsiteX1331" fmla="*/ 11654171 w 11685910"/>
                <a:gd name="connsiteY1331" fmla="*/ 2670836 h 6078415"/>
                <a:gd name="connsiteX1332" fmla="*/ 11609322 w 11685910"/>
                <a:gd name="connsiteY1332" fmla="*/ 2709350 h 6078415"/>
                <a:gd name="connsiteX1333" fmla="*/ 11609322 w 11685910"/>
                <a:gd name="connsiteY1333" fmla="*/ 2689839 h 6078415"/>
                <a:gd name="connsiteX1334" fmla="*/ 11624969 w 11685910"/>
                <a:gd name="connsiteY1334" fmla="*/ 2683758 h 6078415"/>
                <a:gd name="connsiteX1335" fmla="*/ 11629593 w 11685910"/>
                <a:gd name="connsiteY1335" fmla="*/ 2664501 h 6078415"/>
                <a:gd name="connsiteX1336" fmla="*/ 11629593 w 11685910"/>
                <a:gd name="connsiteY1336" fmla="*/ 2629153 h 6078415"/>
                <a:gd name="connsiteX1337" fmla="*/ 11654552 w 11685910"/>
                <a:gd name="connsiteY1337" fmla="*/ 2597860 h 6078415"/>
                <a:gd name="connsiteX1338" fmla="*/ 11654552 w 11685910"/>
                <a:gd name="connsiteY1338" fmla="*/ 2597480 h 6078415"/>
                <a:gd name="connsiteX1339" fmla="*/ 11629593 w 11685910"/>
                <a:gd name="connsiteY1339" fmla="*/ 2565934 h 6078415"/>
                <a:gd name="connsiteX1340" fmla="*/ 11629593 w 11685910"/>
                <a:gd name="connsiteY1340" fmla="*/ 2530206 h 6078415"/>
                <a:gd name="connsiteX1341" fmla="*/ 11609322 w 11685910"/>
                <a:gd name="connsiteY1341" fmla="*/ 2506008 h 6078415"/>
                <a:gd name="connsiteX1342" fmla="*/ 11591838 w 11685910"/>
                <a:gd name="connsiteY1342" fmla="*/ 2486370 h 6078415"/>
                <a:gd name="connsiteX1343" fmla="*/ 11591838 w 11685910"/>
                <a:gd name="connsiteY1343" fmla="*/ 2506008 h 6078415"/>
                <a:gd name="connsiteX1344" fmla="*/ 11571694 w 11685910"/>
                <a:gd name="connsiteY1344" fmla="*/ 2530206 h 6078415"/>
                <a:gd name="connsiteX1345" fmla="*/ 11571694 w 11685910"/>
                <a:gd name="connsiteY1345" fmla="*/ 2565934 h 6078415"/>
                <a:gd name="connsiteX1346" fmla="*/ 11546482 w 11685910"/>
                <a:gd name="connsiteY1346" fmla="*/ 2597480 h 6078415"/>
                <a:gd name="connsiteX1347" fmla="*/ 11546482 w 11685910"/>
                <a:gd name="connsiteY1347" fmla="*/ 2597860 h 6078415"/>
                <a:gd name="connsiteX1348" fmla="*/ 11571694 w 11685910"/>
                <a:gd name="connsiteY1348" fmla="*/ 2629153 h 6078415"/>
                <a:gd name="connsiteX1349" fmla="*/ 11571694 w 11685910"/>
                <a:gd name="connsiteY1349" fmla="*/ 2664501 h 6078415"/>
                <a:gd name="connsiteX1350" fmla="*/ 11576192 w 11685910"/>
                <a:gd name="connsiteY1350" fmla="*/ 2683821 h 6078415"/>
                <a:gd name="connsiteX1351" fmla="*/ 11591838 w 11685910"/>
                <a:gd name="connsiteY1351" fmla="*/ 2689839 h 6078415"/>
                <a:gd name="connsiteX1352" fmla="*/ 11591838 w 11685910"/>
                <a:gd name="connsiteY1352" fmla="*/ 2709350 h 6078415"/>
                <a:gd name="connsiteX1353" fmla="*/ 11546735 w 11685910"/>
                <a:gd name="connsiteY1353" fmla="*/ 2670836 h 6078415"/>
                <a:gd name="connsiteX1354" fmla="*/ 11546735 w 11685910"/>
                <a:gd name="connsiteY1354" fmla="*/ 2633461 h 6078415"/>
                <a:gd name="connsiteX1355" fmla="*/ 11526971 w 11685910"/>
                <a:gd name="connsiteY1355" fmla="*/ 2607108 h 6078415"/>
                <a:gd name="connsiteX1356" fmla="*/ 11526971 w 11685910"/>
                <a:gd name="connsiteY1356" fmla="*/ 2588613 h 6078415"/>
                <a:gd name="connsiteX1357" fmla="*/ 11546735 w 11685910"/>
                <a:gd name="connsiteY1357" fmla="*/ 2561752 h 6078415"/>
                <a:gd name="connsiteX1358" fmla="*/ 11546735 w 11685910"/>
                <a:gd name="connsiteY1358" fmla="*/ 2525391 h 6078415"/>
                <a:gd name="connsiteX1359" fmla="*/ 11591838 w 11685910"/>
                <a:gd name="connsiteY1359" fmla="*/ 2486370 h 6078415"/>
                <a:gd name="connsiteX1360" fmla="*/ 10935299 w 11685910"/>
                <a:gd name="connsiteY1360" fmla="*/ 2486370 h 6078415"/>
                <a:gd name="connsiteX1361" fmla="*/ 10980148 w 11685910"/>
                <a:gd name="connsiteY1361" fmla="*/ 2525391 h 6078415"/>
                <a:gd name="connsiteX1362" fmla="*/ 10980148 w 11685910"/>
                <a:gd name="connsiteY1362" fmla="*/ 2561752 h 6078415"/>
                <a:gd name="connsiteX1363" fmla="*/ 10999786 w 11685910"/>
                <a:gd name="connsiteY1363" fmla="*/ 2588613 h 6078415"/>
                <a:gd name="connsiteX1364" fmla="*/ 10999786 w 11685910"/>
                <a:gd name="connsiteY1364" fmla="*/ 2607108 h 6078415"/>
                <a:gd name="connsiteX1365" fmla="*/ 10980148 w 11685910"/>
                <a:gd name="connsiteY1365" fmla="*/ 2633461 h 6078415"/>
                <a:gd name="connsiteX1366" fmla="*/ 10980148 w 11685910"/>
                <a:gd name="connsiteY1366" fmla="*/ 2670836 h 6078415"/>
                <a:gd name="connsiteX1367" fmla="*/ 10935299 w 11685910"/>
                <a:gd name="connsiteY1367" fmla="*/ 2709350 h 6078415"/>
                <a:gd name="connsiteX1368" fmla="*/ 10935299 w 11685910"/>
                <a:gd name="connsiteY1368" fmla="*/ 2689839 h 6078415"/>
                <a:gd name="connsiteX1369" fmla="*/ 10950946 w 11685910"/>
                <a:gd name="connsiteY1369" fmla="*/ 2683758 h 6078415"/>
                <a:gd name="connsiteX1370" fmla="*/ 10955570 w 11685910"/>
                <a:gd name="connsiteY1370" fmla="*/ 2664501 h 6078415"/>
                <a:gd name="connsiteX1371" fmla="*/ 10955570 w 11685910"/>
                <a:gd name="connsiteY1371" fmla="*/ 2629153 h 6078415"/>
                <a:gd name="connsiteX1372" fmla="*/ 10980529 w 11685910"/>
                <a:gd name="connsiteY1372" fmla="*/ 2597860 h 6078415"/>
                <a:gd name="connsiteX1373" fmla="*/ 10980529 w 11685910"/>
                <a:gd name="connsiteY1373" fmla="*/ 2597480 h 6078415"/>
                <a:gd name="connsiteX1374" fmla="*/ 10955570 w 11685910"/>
                <a:gd name="connsiteY1374" fmla="*/ 2565934 h 6078415"/>
                <a:gd name="connsiteX1375" fmla="*/ 10955570 w 11685910"/>
                <a:gd name="connsiteY1375" fmla="*/ 2530206 h 6078415"/>
                <a:gd name="connsiteX1376" fmla="*/ 10935299 w 11685910"/>
                <a:gd name="connsiteY1376" fmla="*/ 2506008 h 6078415"/>
                <a:gd name="connsiteX1377" fmla="*/ 10917815 w 11685910"/>
                <a:gd name="connsiteY1377" fmla="*/ 2486370 h 6078415"/>
                <a:gd name="connsiteX1378" fmla="*/ 10917815 w 11685910"/>
                <a:gd name="connsiteY1378" fmla="*/ 2506008 h 6078415"/>
                <a:gd name="connsiteX1379" fmla="*/ 10897671 w 11685910"/>
                <a:gd name="connsiteY1379" fmla="*/ 2530206 h 6078415"/>
                <a:gd name="connsiteX1380" fmla="*/ 10897671 w 11685910"/>
                <a:gd name="connsiteY1380" fmla="*/ 2565934 h 6078415"/>
                <a:gd name="connsiteX1381" fmla="*/ 10872459 w 11685910"/>
                <a:gd name="connsiteY1381" fmla="*/ 2597480 h 6078415"/>
                <a:gd name="connsiteX1382" fmla="*/ 10872459 w 11685910"/>
                <a:gd name="connsiteY1382" fmla="*/ 2597860 h 6078415"/>
                <a:gd name="connsiteX1383" fmla="*/ 10897671 w 11685910"/>
                <a:gd name="connsiteY1383" fmla="*/ 2629153 h 6078415"/>
                <a:gd name="connsiteX1384" fmla="*/ 10897671 w 11685910"/>
                <a:gd name="connsiteY1384" fmla="*/ 2664501 h 6078415"/>
                <a:gd name="connsiteX1385" fmla="*/ 10902169 w 11685910"/>
                <a:gd name="connsiteY1385" fmla="*/ 2683821 h 6078415"/>
                <a:gd name="connsiteX1386" fmla="*/ 10917815 w 11685910"/>
                <a:gd name="connsiteY1386" fmla="*/ 2689839 h 6078415"/>
                <a:gd name="connsiteX1387" fmla="*/ 10917815 w 11685910"/>
                <a:gd name="connsiteY1387" fmla="*/ 2709350 h 6078415"/>
                <a:gd name="connsiteX1388" fmla="*/ 10872712 w 11685910"/>
                <a:gd name="connsiteY1388" fmla="*/ 2670836 h 6078415"/>
                <a:gd name="connsiteX1389" fmla="*/ 10872712 w 11685910"/>
                <a:gd name="connsiteY1389" fmla="*/ 2633461 h 6078415"/>
                <a:gd name="connsiteX1390" fmla="*/ 10852948 w 11685910"/>
                <a:gd name="connsiteY1390" fmla="*/ 2607108 h 6078415"/>
                <a:gd name="connsiteX1391" fmla="*/ 10852948 w 11685910"/>
                <a:gd name="connsiteY1391" fmla="*/ 2588613 h 6078415"/>
                <a:gd name="connsiteX1392" fmla="*/ 10872712 w 11685910"/>
                <a:gd name="connsiteY1392" fmla="*/ 2561752 h 6078415"/>
                <a:gd name="connsiteX1393" fmla="*/ 10872712 w 11685910"/>
                <a:gd name="connsiteY1393" fmla="*/ 2525391 h 6078415"/>
                <a:gd name="connsiteX1394" fmla="*/ 10917815 w 11685910"/>
                <a:gd name="connsiteY1394" fmla="*/ 2486370 h 6078415"/>
                <a:gd name="connsiteX1395" fmla="*/ 9736849 w 11685910"/>
                <a:gd name="connsiteY1395" fmla="*/ 2486370 h 6078415"/>
                <a:gd name="connsiteX1396" fmla="*/ 9781698 w 11685910"/>
                <a:gd name="connsiteY1396" fmla="*/ 2525391 h 6078415"/>
                <a:gd name="connsiteX1397" fmla="*/ 9781698 w 11685910"/>
                <a:gd name="connsiteY1397" fmla="*/ 2561752 h 6078415"/>
                <a:gd name="connsiteX1398" fmla="*/ 9801336 w 11685910"/>
                <a:gd name="connsiteY1398" fmla="*/ 2588613 h 6078415"/>
                <a:gd name="connsiteX1399" fmla="*/ 9801336 w 11685910"/>
                <a:gd name="connsiteY1399" fmla="*/ 2607108 h 6078415"/>
                <a:gd name="connsiteX1400" fmla="*/ 9781698 w 11685910"/>
                <a:gd name="connsiteY1400" fmla="*/ 2633461 h 6078415"/>
                <a:gd name="connsiteX1401" fmla="*/ 9781698 w 11685910"/>
                <a:gd name="connsiteY1401" fmla="*/ 2670836 h 6078415"/>
                <a:gd name="connsiteX1402" fmla="*/ 9736849 w 11685910"/>
                <a:gd name="connsiteY1402" fmla="*/ 2709350 h 6078415"/>
                <a:gd name="connsiteX1403" fmla="*/ 9736849 w 11685910"/>
                <a:gd name="connsiteY1403" fmla="*/ 2689839 h 6078415"/>
                <a:gd name="connsiteX1404" fmla="*/ 9752496 w 11685910"/>
                <a:gd name="connsiteY1404" fmla="*/ 2683758 h 6078415"/>
                <a:gd name="connsiteX1405" fmla="*/ 9757120 w 11685910"/>
                <a:gd name="connsiteY1405" fmla="*/ 2664501 h 6078415"/>
                <a:gd name="connsiteX1406" fmla="*/ 9757120 w 11685910"/>
                <a:gd name="connsiteY1406" fmla="*/ 2629153 h 6078415"/>
                <a:gd name="connsiteX1407" fmla="*/ 9782079 w 11685910"/>
                <a:gd name="connsiteY1407" fmla="*/ 2597860 h 6078415"/>
                <a:gd name="connsiteX1408" fmla="*/ 9782079 w 11685910"/>
                <a:gd name="connsiteY1408" fmla="*/ 2597480 h 6078415"/>
                <a:gd name="connsiteX1409" fmla="*/ 9757120 w 11685910"/>
                <a:gd name="connsiteY1409" fmla="*/ 2565934 h 6078415"/>
                <a:gd name="connsiteX1410" fmla="*/ 9757120 w 11685910"/>
                <a:gd name="connsiteY1410" fmla="*/ 2530206 h 6078415"/>
                <a:gd name="connsiteX1411" fmla="*/ 9736849 w 11685910"/>
                <a:gd name="connsiteY1411" fmla="*/ 2506008 h 6078415"/>
                <a:gd name="connsiteX1412" fmla="*/ 9719365 w 11685910"/>
                <a:gd name="connsiteY1412" fmla="*/ 2486370 h 6078415"/>
                <a:gd name="connsiteX1413" fmla="*/ 9719365 w 11685910"/>
                <a:gd name="connsiteY1413" fmla="*/ 2506008 h 6078415"/>
                <a:gd name="connsiteX1414" fmla="*/ 9699221 w 11685910"/>
                <a:gd name="connsiteY1414" fmla="*/ 2530206 h 6078415"/>
                <a:gd name="connsiteX1415" fmla="*/ 9699221 w 11685910"/>
                <a:gd name="connsiteY1415" fmla="*/ 2565934 h 6078415"/>
                <a:gd name="connsiteX1416" fmla="*/ 9674009 w 11685910"/>
                <a:gd name="connsiteY1416" fmla="*/ 2597480 h 6078415"/>
                <a:gd name="connsiteX1417" fmla="*/ 9674009 w 11685910"/>
                <a:gd name="connsiteY1417" fmla="*/ 2597860 h 6078415"/>
                <a:gd name="connsiteX1418" fmla="*/ 9699221 w 11685910"/>
                <a:gd name="connsiteY1418" fmla="*/ 2629153 h 6078415"/>
                <a:gd name="connsiteX1419" fmla="*/ 9699221 w 11685910"/>
                <a:gd name="connsiteY1419" fmla="*/ 2664501 h 6078415"/>
                <a:gd name="connsiteX1420" fmla="*/ 9703719 w 11685910"/>
                <a:gd name="connsiteY1420" fmla="*/ 2683821 h 6078415"/>
                <a:gd name="connsiteX1421" fmla="*/ 9719365 w 11685910"/>
                <a:gd name="connsiteY1421" fmla="*/ 2689839 h 6078415"/>
                <a:gd name="connsiteX1422" fmla="*/ 9719365 w 11685910"/>
                <a:gd name="connsiteY1422" fmla="*/ 2709350 h 6078415"/>
                <a:gd name="connsiteX1423" fmla="*/ 9674262 w 11685910"/>
                <a:gd name="connsiteY1423" fmla="*/ 2670836 h 6078415"/>
                <a:gd name="connsiteX1424" fmla="*/ 9674262 w 11685910"/>
                <a:gd name="connsiteY1424" fmla="*/ 2633461 h 6078415"/>
                <a:gd name="connsiteX1425" fmla="*/ 9654498 w 11685910"/>
                <a:gd name="connsiteY1425" fmla="*/ 2607108 h 6078415"/>
                <a:gd name="connsiteX1426" fmla="*/ 9654498 w 11685910"/>
                <a:gd name="connsiteY1426" fmla="*/ 2588613 h 6078415"/>
                <a:gd name="connsiteX1427" fmla="*/ 9674262 w 11685910"/>
                <a:gd name="connsiteY1427" fmla="*/ 2561752 h 6078415"/>
                <a:gd name="connsiteX1428" fmla="*/ 9674262 w 11685910"/>
                <a:gd name="connsiteY1428" fmla="*/ 2525391 h 6078415"/>
                <a:gd name="connsiteX1429" fmla="*/ 9719365 w 11685910"/>
                <a:gd name="connsiteY1429" fmla="*/ 2486370 h 6078415"/>
                <a:gd name="connsiteX1430" fmla="*/ 8112647 w 11685910"/>
                <a:gd name="connsiteY1430" fmla="*/ 2486370 h 6078415"/>
                <a:gd name="connsiteX1431" fmla="*/ 8157496 w 11685910"/>
                <a:gd name="connsiteY1431" fmla="*/ 2525391 h 6078415"/>
                <a:gd name="connsiteX1432" fmla="*/ 8157496 w 11685910"/>
                <a:gd name="connsiteY1432" fmla="*/ 2561752 h 6078415"/>
                <a:gd name="connsiteX1433" fmla="*/ 8177134 w 11685910"/>
                <a:gd name="connsiteY1433" fmla="*/ 2588613 h 6078415"/>
                <a:gd name="connsiteX1434" fmla="*/ 8177134 w 11685910"/>
                <a:gd name="connsiteY1434" fmla="*/ 2607108 h 6078415"/>
                <a:gd name="connsiteX1435" fmla="*/ 8157496 w 11685910"/>
                <a:gd name="connsiteY1435" fmla="*/ 2633461 h 6078415"/>
                <a:gd name="connsiteX1436" fmla="*/ 8157496 w 11685910"/>
                <a:gd name="connsiteY1436" fmla="*/ 2670836 h 6078415"/>
                <a:gd name="connsiteX1437" fmla="*/ 8112647 w 11685910"/>
                <a:gd name="connsiteY1437" fmla="*/ 2709350 h 6078415"/>
                <a:gd name="connsiteX1438" fmla="*/ 8112647 w 11685910"/>
                <a:gd name="connsiteY1438" fmla="*/ 2689839 h 6078415"/>
                <a:gd name="connsiteX1439" fmla="*/ 8128294 w 11685910"/>
                <a:gd name="connsiteY1439" fmla="*/ 2683758 h 6078415"/>
                <a:gd name="connsiteX1440" fmla="*/ 8132918 w 11685910"/>
                <a:gd name="connsiteY1440" fmla="*/ 2664501 h 6078415"/>
                <a:gd name="connsiteX1441" fmla="*/ 8132918 w 11685910"/>
                <a:gd name="connsiteY1441" fmla="*/ 2629153 h 6078415"/>
                <a:gd name="connsiteX1442" fmla="*/ 8157877 w 11685910"/>
                <a:gd name="connsiteY1442" fmla="*/ 2597860 h 6078415"/>
                <a:gd name="connsiteX1443" fmla="*/ 8157877 w 11685910"/>
                <a:gd name="connsiteY1443" fmla="*/ 2597480 h 6078415"/>
                <a:gd name="connsiteX1444" fmla="*/ 8132918 w 11685910"/>
                <a:gd name="connsiteY1444" fmla="*/ 2565934 h 6078415"/>
                <a:gd name="connsiteX1445" fmla="*/ 8132918 w 11685910"/>
                <a:gd name="connsiteY1445" fmla="*/ 2530206 h 6078415"/>
                <a:gd name="connsiteX1446" fmla="*/ 8112647 w 11685910"/>
                <a:gd name="connsiteY1446" fmla="*/ 2506008 h 6078415"/>
                <a:gd name="connsiteX1447" fmla="*/ 8095163 w 11685910"/>
                <a:gd name="connsiteY1447" fmla="*/ 2486370 h 6078415"/>
                <a:gd name="connsiteX1448" fmla="*/ 8095163 w 11685910"/>
                <a:gd name="connsiteY1448" fmla="*/ 2506008 h 6078415"/>
                <a:gd name="connsiteX1449" fmla="*/ 8075019 w 11685910"/>
                <a:gd name="connsiteY1449" fmla="*/ 2530206 h 6078415"/>
                <a:gd name="connsiteX1450" fmla="*/ 8075019 w 11685910"/>
                <a:gd name="connsiteY1450" fmla="*/ 2565934 h 6078415"/>
                <a:gd name="connsiteX1451" fmla="*/ 8049807 w 11685910"/>
                <a:gd name="connsiteY1451" fmla="*/ 2597480 h 6078415"/>
                <a:gd name="connsiteX1452" fmla="*/ 8049807 w 11685910"/>
                <a:gd name="connsiteY1452" fmla="*/ 2597860 h 6078415"/>
                <a:gd name="connsiteX1453" fmla="*/ 8075019 w 11685910"/>
                <a:gd name="connsiteY1453" fmla="*/ 2629153 h 6078415"/>
                <a:gd name="connsiteX1454" fmla="*/ 8075019 w 11685910"/>
                <a:gd name="connsiteY1454" fmla="*/ 2664501 h 6078415"/>
                <a:gd name="connsiteX1455" fmla="*/ 8079517 w 11685910"/>
                <a:gd name="connsiteY1455" fmla="*/ 2683821 h 6078415"/>
                <a:gd name="connsiteX1456" fmla="*/ 8095163 w 11685910"/>
                <a:gd name="connsiteY1456" fmla="*/ 2689839 h 6078415"/>
                <a:gd name="connsiteX1457" fmla="*/ 8095163 w 11685910"/>
                <a:gd name="connsiteY1457" fmla="*/ 2709350 h 6078415"/>
                <a:gd name="connsiteX1458" fmla="*/ 8050061 w 11685910"/>
                <a:gd name="connsiteY1458" fmla="*/ 2670836 h 6078415"/>
                <a:gd name="connsiteX1459" fmla="*/ 8050061 w 11685910"/>
                <a:gd name="connsiteY1459" fmla="*/ 2633461 h 6078415"/>
                <a:gd name="connsiteX1460" fmla="*/ 8030296 w 11685910"/>
                <a:gd name="connsiteY1460" fmla="*/ 2607108 h 6078415"/>
                <a:gd name="connsiteX1461" fmla="*/ 8030296 w 11685910"/>
                <a:gd name="connsiteY1461" fmla="*/ 2588613 h 6078415"/>
                <a:gd name="connsiteX1462" fmla="*/ 8050061 w 11685910"/>
                <a:gd name="connsiteY1462" fmla="*/ 2561752 h 6078415"/>
                <a:gd name="connsiteX1463" fmla="*/ 8050061 w 11685910"/>
                <a:gd name="connsiteY1463" fmla="*/ 2525391 h 6078415"/>
                <a:gd name="connsiteX1464" fmla="*/ 8095163 w 11685910"/>
                <a:gd name="connsiteY1464" fmla="*/ 2486370 h 6078415"/>
                <a:gd name="connsiteX1465" fmla="*/ 5536938 w 11685910"/>
                <a:gd name="connsiteY1465" fmla="*/ 2486370 h 6078415"/>
                <a:gd name="connsiteX1466" fmla="*/ 5581787 w 11685910"/>
                <a:gd name="connsiteY1466" fmla="*/ 2525391 h 6078415"/>
                <a:gd name="connsiteX1467" fmla="*/ 5581787 w 11685910"/>
                <a:gd name="connsiteY1467" fmla="*/ 2561752 h 6078415"/>
                <a:gd name="connsiteX1468" fmla="*/ 5601425 w 11685910"/>
                <a:gd name="connsiteY1468" fmla="*/ 2588613 h 6078415"/>
                <a:gd name="connsiteX1469" fmla="*/ 5601425 w 11685910"/>
                <a:gd name="connsiteY1469" fmla="*/ 2607108 h 6078415"/>
                <a:gd name="connsiteX1470" fmla="*/ 5581787 w 11685910"/>
                <a:gd name="connsiteY1470" fmla="*/ 2633461 h 6078415"/>
                <a:gd name="connsiteX1471" fmla="*/ 5581787 w 11685910"/>
                <a:gd name="connsiteY1471" fmla="*/ 2670836 h 6078415"/>
                <a:gd name="connsiteX1472" fmla="*/ 5536938 w 11685910"/>
                <a:gd name="connsiteY1472" fmla="*/ 2709350 h 6078415"/>
                <a:gd name="connsiteX1473" fmla="*/ 5536938 w 11685910"/>
                <a:gd name="connsiteY1473" fmla="*/ 2689839 h 6078415"/>
                <a:gd name="connsiteX1474" fmla="*/ 5552584 w 11685910"/>
                <a:gd name="connsiteY1474" fmla="*/ 2683758 h 6078415"/>
                <a:gd name="connsiteX1475" fmla="*/ 5557209 w 11685910"/>
                <a:gd name="connsiteY1475" fmla="*/ 2664501 h 6078415"/>
                <a:gd name="connsiteX1476" fmla="*/ 5557209 w 11685910"/>
                <a:gd name="connsiteY1476" fmla="*/ 2629153 h 6078415"/>
                <a:gd name="connsiteX1477" fmla="*/ 5582167 w 11685910"/>
                <a:gd name="connsiteY1477" fmla="*/ 2597860 h 6078415"/>
                <a:gd name="connsiteX1478" fmla="*/ 5582167 w 11685910"/>
                <a:gd name="connsiteY1478" fmla="*/ 2597480 h 6078415"/>
                <a:gd name="connsiteX1479" fmla="*/ 5557209 w 11685910"/>
                <a:gd name="connsiteY1479" fmla="*/ 2565934 h 6078415"/>
                <a:gd name="connsiteX1480" fmla="*/ 5557209 w 11685910"/>
                <a:gd name="connsiteY1480" fmla="*/ 2530206 h 6078415"/>
                <a:gd name="connsiteX1481" fmla="*/ 5536938 w 11685910"/>
                <a:gd name="connsiteY1481" fmla="*/ 2506008 h 6078415"/>
                <a:gd name="connsiteX1482" fmla="*/ 5519454 w 11685910"/>
                <a:gd name="connsiteY1482" fmla="*/ 2486370 h 6078415"/>
                <a:gd name="connsiteX1483" fmla="*/ 5519454 w 11685910"/>
                <a:gd name="connsiteY1483" fmla="*/ 2506008 h 6078415"/>
                <a:gd name="connsiteX1484" fmla="*/ 5499311 w 11685910"/>
                <a:gd name="connsiteY1484" fmla="*/ 2530206 h 6078415"/>
                <a:gd name="connsiteX1485" fmla="*/ 5499311 w 11685910"/>
                <a:gd name="connsiteY1485" fmla="*/ 2565934 h 6078415"/>
                <a:gd name="connsiteX1486" fmla="*/ 5474097 w 11685910"/>
                <a:gd name="connsiteY1486" fmla="*/ 2597480 h 6078415"/>
                <a:gd name="connsiteX1487" fmla="*/ 5474097 w 11685910"/>
                <a:gd name="connsiteY1487" fmla="*/ 2597860 h 6078415"/>
                <a:gd name="connsiteX1488" fmla="*/ 5499311 w 11685910"/>
                <a:gd name="connsiteY1488" fmla="*/ 2629153 h 6078415"/>
                <a:gd name="connsiteX1489" fmla="*/ 5499311 w 11685910"/>
                <a:gd name="connsiteY1489" fmla="*/ 2664501 h 6078415"/>
                <a:gd name="connsiteX1490" fmla="*/ 5503807 w 11685910"/>
                <a:gd name="connsiteY1490" fmla="*/ 2683821 h 6078415"/>
                <a:gd name="connsiteX1491" fmla="*/ 5519454 w 11685910"/>
                <a:gd name="connsiteY1491" fmla="*/ 2689839 h 6078415"/>
                <a:gd name="connsiteX1492" fmla="*/ 5519454 w 11685910"/>
                <a:gd name="connsiteY1492" fmla="*/ 2709350 h 6078415"/>
                <a:gd name="connsiteX1493" fmla="*/ 5474352 w 11685910"/>
                <a:gd name="connsiteY1493" fmla="*/ 2670836 h 6078415"/>
                <a:gd name="connsiteX1494" fmla="*/ 5474352 w 11685910"/>
                <a:gd name="connsiteY1494" fmla="*/ 2633461 h 6078415"/>
                <a:gd name="connsiteX1495" fmla="*/ 5454588 w 11685910"/>
                <a:gd name="connsiteY1495" fmla="*/ 2607108 h 6078415"/>
                <a:gd name="connsiteX1496" fmla="*/ 5454588 w 11685910"/>
                <a:gd name="connsiteY1496" fmla="*/ 2588613 h 6078415"/>
                <a:gd name="connsiteX1497" fmla="*/ 5474352 w 11685910"/>
                <a:gd name="connsiteY1497" fmla="*/ 2561752 h 6078415"/>
                <a:gd name="connsiteX1498" fmla="*/ 5474352 w 11685910"/>
                <a:gd name="connsiteY1498" fmla="*/ 2525391 h 6078415"/>
                <a:gd name="connsiteX1499" fmla="*/ 5519454 w 11685910"/>
                <a:gd name="connsiteY1499" fmla="*/ 2486370 h 6078415"/>
                <a:gd name="connsiteX1500" fmla="*/ 4870836 w 11685910"/>
                <a:gd name="connsiteY1500" fmla="*/ 2486370 h 6078415"/>
                <a:gd name="connsiteX1501" fmla="*/ 4915686 w 11685910"/>
                <a:gd name="connsiteY1501" fmla="*/ 2525391 h 6078415"/>
                <a:gd name="connsiteX1502" fmla="*/ 4915686 w 11685910"/>
                <a:gd name="connsiteY1502" fmla="*/ 2561752 h 6078415"/>
                <a:gd name="connsiteX1503" fmla="*/ 4935324 w 11685910"/>
                <a:gd name="connsiteY1503" fmla="*/ 2588613 h 6078415"/>
                <a:gd name="connsiteX1504" fmla="*/ 4935324 w 11685910"/>
                <a:gd name="connsiteY1504" fmla="*/ 2607108 h 6078415"/>
                <a:gd name="connsiteX1505" fmla="*/ 4915686 w 11685910"/>
                <a:gd name="connsiteY1505" fmla="*/ 2633461 h 6078415"/>
                <a:gd name="connsiteX1506" fmla="*/ 4915686 w 11685910"/>
                <a:gd name="connsiteY1506" fmla="*/ 2670836 h 6078415"/>
                <a:gd name="connsiteX1507" fmla="*/ 4870836 w 11685910"/>
                <a:gd name="connsiteY1507" fmla="*/ 2709350 h 6078415"/>
                <a:gd name="connsiteX1508" fmla="*/ 4870836 w 11685910"/>
                <a:gd name="connsiteY1508" fmla="*/ 2689839 h 6078415"/>
                <a:gd name="connsiteX1509" fmla="*/ 4886482 w 11685910"/>
                <a:gd name="connsiteY1509" fmla="*/ 2683758 h 6078415"/>
                <a:gd name="connsiteX1510" fmla="*/ 4891108 w 11685910"/>
                <a:gd name="connsiteY1510" fmla="*/ 2664501 h 6078415"/>
                <a:gd name="connsiteX1511" fmla="*/ 4891108 w 11685910"/>
                <a:gd name="connsiteY1511" fmla="*/ 2629153 h 6078415"/>
                <a:gd name="connsiteX1512" fmla="*/ 4916065 w 11685910"/>
                <a:gd name="connsiteY1512" fmla="*/ 2597860 h 6078415"/>
                <a:gd name="connsiteX1513" fmla="*/ 4916065 w 11685910"/>
                <a:gd name="connsiteY1513" fmla="*/ 2597480 h 6078415"/>
                <a:gd name="connsiteX1514" fmla="*/ 4891108 w 11685910"/>
                <a:gd name="connsiteY1514" fmla="*/ 2565934 h 6078415"/>
                <a:gd name="connsiteX1515" fmla="*/ 4891108 w 11685910"/>
                <a:gd name="connsiteY1515" fmla="*/ 2530206 h 6078415"/>
                <a:gd name="connsiteX1516" fmla="*/ 4870836 w 11685910"/>
                <a:gd name="connsiteY1516" fmla="*/ 2506008 h 6078415"/>
                <a:gd name="connsiteX1517" fmla="*/ 4853353 w 11685910"/>
                <a:gd name="connsiteY1517" fmla="*/ 2486370 h 6078415"/>
                <a:gd name="connsiteX1518" fmla="*/ 4853353 w 11685910"/>
                <a:gd name="connsiteY1518" fmla="*/ 2506008 h 6078415"/>
                <a:gd name="connsiteX1519" fmla="*/ 4833208 w 11685910"/>
                <a:gd name="connsiteY1519" fmla="*/ 2530206 h 6078415"/>
                <a:gd name="connsiteX1520" fmla="*/ 4833208 w 11685910"/>
                <a:gd name="connsiteY1520" fmla="*/ 2565934 h 6078415"/>
                <a:gd name="connsiteX1521" fmla="*/ 4807996 w 11685910"/>
                <a:gd name="connsiteY1521" fmla="*/ 2597480 h 6078415"/>
                <a:gd name="connsiteX1522" fmla="*/ 4807996 w 11685910"/>
                <a:gd name="connsiteY1522" fmla="*/ 2597860 h 6078415"/>
                <a:gd name="connsiteX1523" fmla="*/ 4833208 w 11685910"/>
                <a:gd name="connsiteY1523" fmla="*/ 2629153 h 6078415"/>
                <a:gd name="connsiteX1524" fmla="*/ 4833208 w 11685910"/>
                <a:gd name="connsiteY1524" fmla="*/ 2664501 h 6078415"/>
                <a:gd name="connsiteX1525" fmla="*/ 4837705 w 11685910"/>
                <a:gd name="connsiteY1525" fmla="*/ 2683821 h 6078415"/>
                <a:gd name="connsiteX1526" fmla="*/ 4853353 w 11685910"/>
                <a:gd name="connsiteY1526" fmla="*/ 2689839 h 6078415"/>
                <a:gd name="connsiteX1527" fmla="*/ 4853353 w 11685910"/>
                <a:gd name="connsiteY1527" fmla="*/ 2709350 h 6078415"/>
                <a:gd name="connsiteX1528" fmla="*/ 4808250 w 11685910"/>
                <a:gd name="connsiteY1528" fmla="*/ 2670836 h 6078415"/>
                <a:gd name="connsiteX1529" fmla="*/ 4808250 w 11685910"/>
                <a:gd name="connsiteY1529" fmla="*/ 2633461 h 6078415"/>
                <a:gd name="connsiteX1530" fmla="*/ 4788486 w 11685910"/>
                <a:gd name="connsiteY1530" fmla="*/ 2607108 h 6078415"/>
                <a:gd name="connsiteX1531" fmla="*/ 4788486 w 11685910"/>
                <a:gd name="connsiteY1531" fmla="*/ 2588613 h 6078415"/>
                <a:gd name="connsiteX1532" fmla="*/ 4808250 w 11685910"/>
                <a:gd name="connsiteY1532" fmla="*/ 2561752 h 6078415"/>
                <a:gd name="connsiteX1533" fmla="*/ 4808250 w 11685910"/>
                <a:gd name="connsiteY1533" fmla="*/ 2525391 h 6078415"/>
                <a:gd name="connsiteX1534" fmla="*/ 4853353 w 11685910"/>
                <a:gd name="connsiteY1534" fmla="*/ 2486370 h 6078415"/>
                <a:gd name="connsiteX1535" fmla="*/ 2046291 w 11685910"/>
                <a:gd name="connsiteY1535" fmla="*/ 2486370 h 6078415"/>
                <a:gd name="connsiteX1536" fmla="*/ 2091141 w 11685910"/>
                <a:gd name="connsiteY1536" fmla="*/ 2525391 h 6078415"/>
                <a:gd name="connsiteX1537" fmla="*/ 2091141 w 11685910"/>
                <a:gd name="connsiteY1537" fmla="*/ 2561752 h 6078415"/>
                <a:gd name="connsiteX1538" fmla="*/ 2110778 w 11685910"/>
                <a:gd name="connsiteY1538" fmla="*/ 2588613 h 6078415"/>
                <a:gd name="connsiteX1539" fmla="*/ 2110778 w 11685910"/>
                <a:gd name="connsiteY1539" fmla="*/ 2607108 h 6078415"/>
                <a:gd name="connsiteX1540" fmla="*/ 2091141 w 11685910"/>
                <a:gd name="connsiteY1540" fmla="*/ 2633461 h 6078415"/>
                <a:gd name="connsiteX1541" fmla="*/ 2091141 w 11685910"/>
                <a:gd name="connsiteY1541" fmla="*/ 2670836 h 6078415"/>
                <a:gd name="connsiteX1542" fmla="*/ 2046291 w 11685910"/>
                <a:gd name="connsiteY1542" fmla="*/ 2709350 h 6078415"/>
                <a:gd name="connsiteX1543" fmla="*/ 2046291 w 11685910"/>
                <a:gd name="connsiteY1543" fmla="*/ 2689839 h 6078415"/>
                <a:gd name="connsiteX1544" fmla="*/ 2061938 w 11685910"/>
                <a:gd name="connsiteY1544" fmla="*/ 2683758 h 6078415"/>
                <a:gd name="connsiteX1545" fmla="*/ 2066562 w 11685910"/>
                <a:gd name="connsiteY1545" fmla="*/ 2664501 h 6078415"/>
                <a:gd name="connsiteX1546" fmla="*/ 2066562 w 11685910"/>
                <a:gd name="connsiteY1546" fmla="*/ 2629153 h 6078415"/>
                <a:gd name="connsiteX1547" fmla="*/ 2091521 w 11685910"/>
                <a:gd name="connsiteY1547" fmla="*/ 2597860 h 6078415"/>
                <a:gd name="connsiteX1548" fmla="*/ 2091521 w 11685910"/>
                <a:gd name="connsiteY1548" fmla="*/ 2597480 h 6078415"/>
                <a:gd name="connsiteX1549" fmla="*/ 2066562 w 11685910"/>
                <a:gd name="connsiteY1549" fmla="*/ 2565934 h 6078415"/>
                <a:gd name="connsiteX1550" fmla="*/ 2066562 w 11685910"/>
                <a:gd name="connsiteY1550" fmla="*/ 2530206 h 6078415"/>
                <a:gd name="connsiteX1551" fmla="*/ 2046291 w 11685910"/>
                <a:gd name="connsiteY1551" fmla="*/ 2506008 h 6078415"/>
                <a:gd name="connsiteX1552" fmla="*/ 2028807 w 11685910"/>
                <a:gd name="connsiteY1552" fmla="*/ 2486370 h 6078415"/>
                <a:gd name="connsiteX1553" fmla="*/ 2028807 w 11685910"/>
                <a:gd name="connsiteY1553" fmla="*/ 2506008 h 6078415"/>
                <a:gd name="connsiteX1554" fmla="*/ 2008663 w 11685910"/>
                <a:gd name="connsiteY1554" fmla="*/ 2530206 h 6078415"/>
                <a:gd name="connsiteX1555" fmla="*/ 2008663 w 11685910"/>
                <a:gd name="connsiteY1555" fmla="*/ 2565934 h 6078415"/>
                <a:gd name="connsiteX1556" fmla="*/ 1983451 w 11685910"/>
                <a:gd name="connsiteY1556" fmla="*/ 2597480 h 6078415"/>
                <a:gd name="connsiteX1557" fmla="*/ 1983451 w 11685910"/>
                <a:gd name="connsiteY1557" fmla="*/ 2597860 h 6078415"/>
                <a:gd name="connsiteX1558" fmla="*/ 2008663 w 11685910"/>
                <a:gd name="connsiteY1558" fmla="*/ 2629153 h 6078415"/>
                <a:gd name="connsiteX1559" fmla="*/ 2008663 w 11685910"/>
                <a:gd name="connsiteY1559" fmla="*/ 2664501 h 6078415"/>
                <a:gd name="connsiteX1560" fmla="*/ 2013160 w 11685910"/>
                <a:gd name="connsiteY1560" fmla="*/ 2683821 h 6078415"/>
                <a:gd name="connsiteX1561" fmla="*/ 2028807 w 11685910"/>
                <a:gd name="connsiteY1561" fmla="*/ 2689839 h 6078415"/>
                <a:gd name="connsiteX1562" fmla="*/ 2028807 w 11685910"/>
                <a:gd name="connsiteY1562" fmla="*/ 2709350 h 6078415"/>
                <a:gd name="connsiteX1563" fmla="*/ 1983704 w 11685910"/>
                <a:gd name="connsiteY1563" fmla="*/ 2670836 h 6078415"/>
                <a:gd name="connsiteX1564" fmla="*/ 1983704 w 11685910"/>
                <a:gd name="connsiteY1564" fmla="*/ 2633461 h 6078415"/>
                <a:gd name="connsiteX1565" fmla="*/ 1963940 w 11685910"/>
                <a:gd name="connsiteY1565" fmla="*/ 2607108 h 6078415"/>
                <a:gd name="connsiteX1566" fmla="*/ 1963940 w 11685910"/>
                <a:gd name="connsiteY1566" fmla="*/ 2588613 h 6078415"/>
                <a:gd name="connsiteX1567" fmla="*/ 1983704 w 11685910"/>
                <a:gd name="connsiteY1567" fmla="*/ 2561752 h 6078415"/>
                <a:gd name="connsiteX1568" fmla="*/ 1983704 w 11685910"/>
                <a:gd name="connsiteY1568" fmla="*/ 2525391 h 6078415"/>
                <a:gd name="connsiteX1569" fmla="*/ 2028807 w 11685910"/>
                <a:gd name="connsiteY1569" fmla="*/ 2486370 h 6078415"/>
                <a:gd name="connsiteX1570" fmla="*/ 8995951 w 11685910"/>
                <a:gd name="connsiteY1570" fmla="*/ 2346637 h 6078415"/>
                <a:gd name="connsiteX1571" fmla="*/ 8972602 w 11685910"/>
                <a:gd name="connsiteY1571" fmla="*/ 2386149 h 6078415"/>
                <a:gd name="connsiteX1572" fmla="*/ 8989126 w 11685910"/>
                <a:gd name="connsiteY1572" fmla="*/ 2389562 h 6078415"/>
                <a:gd name="connsiteX1573" fmla="*/ 9005649 w 11685910"/>
                <a:gd name="connsiteY1573" fmla="*/ 2385970 h 6078415"/>
                <a:gd name="connsiteX1574" fmla="*/ 9002686 w 11685910"/>
                <a:gd name="connsiteY1574" fmla="*/ 2376451 h 6078415"/>
                <a:gd name="connsiteX1575" fmla="*/ 9003674 w 11685910"/>
                <a:gd name="connsiteY1575" fmla="*/ 2363160 h 6078415"/>
                <a:gd name="connsiteX1576" fmla="*/ 8995951 w 11685910"/>
                <a:gd name="connsiteY1576" fmla="*/ 2346637 h 6078415"/>
                <a:gd name="connsiteX1577" fmla="*/ 2935214 w 11685910"/>
                <a:gd name="connsiteY1577" fmla="*/ 2346637 h 6078415"/>
                <a:gd name="connsiteX1578" fmla="*/ 2911865 w 11685910"/>
                <a:gd name="connsiteY1578" fmla="*/ 2386149 h 6078415"/>
                <a:gd name="connsiteX1579" fmla="*/ 2928389 w 11685910"/>
                <a:gd name="connsiteY1579" fmla="*/ 2389562 h 6078415"/>
                <a:gd name="connsiteX1580" fmla="*/ 2944912 w 11685910"/>
                <a:gd name="connsiteY1580" fmla="*/ 2385970 h 6078415"/>
                <a:gd name="connsiteX1581" fmla="*/ 2941949 w 11685910"/>
                <a:gd name="connsiteY1581" fmla="*/ 2376451 h 6078415"/>
                <a:gd name="connsiteX1582" fmla="*/ 2942937 w 11685910"/>
                <a:gd name="connsiteY1582" fmla="*/ 2363160 h 6078415"/>
                <a:gd name="connsiteX1583" fmla="*/ 2935214 w 11685910"/>
                <a:gd name="connsiteY1583" fmla="*/ 2346637 h 6078415"/>
                <a:gd name="connsiteX1584" fmla="*/ 8834846 w 11685910"/>
                <a:gd name="connsiteY1584" fmla="*/ 2330113 h 6078415"/>
                <a:gd name="connsiteX1585" fmla="*/ 8821107 w 11685910"/>
                <a:gd name="connsiteY1585" fmla="*/ 2350498 h 6078415"/>
                <a:gd name="connsiteX1586" fmla="*/ 8842749 w 11685910"/>
                <a:gd name="connsiteY1586" fmla="*/ 2372230 h 6078415"/>
                <a:gd name="connsiteX1587" fmla="*/ 8851729 w 11685910"/>
                <a:gd name="connsiteY1587" fmla="*/ 2364956 h 6078415"/>
                <a:gd name="connsiteX1588" fmla="*/ 8834846 w 11685910"/>
                <a:gd name="connsiteY1588" fmla="*/ 2330113 h 6078415"/>
                <a:gd name="connsiteX1589" fmla="*/ 2774110 w 11685910"/>
                <a:gd name="connsiteY1589" fmla="*/ 2330113 h 6078415"/>
                <a:gd name="connsiteX1590" fmla="*/ 2760370 w 11685910"/>
                <a:gd name="connsiteY1590" fmla="*/ 2350498 h 6078415"/>
                <a:gd name="connsiteX1591" fmla="*/ 2782012 w 11685910"/>
                <a:gd name="connsiteY1591" fmla="*/ 2372230 h 6078415"/>
                <a:gd name="connsiteX1592" fmla="*/ 2790992 w 11685910"/>
                <a:gd name="connsiteY1592" fmla="*/ 2364956 h 6078415"/>
                <a:gd name="connsiteX1593" fmla="*/ 2774110 w 11685910"/>
                <a:gd name="connsiteY1593" fmla="*/ 2330113 h 6078415"/>
                <a:gd name="connsiteX1594" fmla="*/ 8818347 w 11685910"/>
                <a:gd name="connsiteY1594" fmla="*/ 2261360 h 6078415"/>
                <a:gd name="connsiteX1595" fmla="*/ 8818145 w 11685910"/>
                <a:gd name="connsiteY1595" fmla="*/ 2262886 h 6078415"/>
                <a:gd name="connsiteX1596" fmla="*/ 8818078 w 11685910"/>
                <a:gd name="connsiteY1596" fmla="*/ 2261618 h 6078415"/>
                <a:gd name="connsiteX1597" fmla="*/ 2757610 w 11685910"/>
                <a:gd name="connsiteY1597" fmla="*/ 2261359 h 6078415"/>
                <a:gd name="connsiteX1598" fmla="*/ 2757408 w 11685910"/>
                <a:gd name="connsiteY1598" fmla="*/ 2262887 h 6078415"/>
                <a:gd name="connsiteX1599" fmla="*/ 2757342 w 11685910"/>
                <a:gd name="connsiteY1599" fmla="*/ 2261618 h 6078415"/>
                <a:gd name="connsiteX1600" fmla="*/ 9021634 w 11685910"/>
                <a:gd name="connsiteY1600" fmla="*/ 2233980 h 6078415"/>
                <a:gd name="connsiteX1601" fmla="*/ 9017615 w 11685910"/>
                <a:gd name="connsiteY1601" fmla="*/ 2236854 h 6078415"/>
                <a:gd name="connsiteX1602" fmla="*/ 9024585 w 11685910"/>
                <a:gd name="connsiteY1602" fmla="*/ 2245282 h 6078415"/>
                <a:gd name="connsiteX1603" fmla="*/ 9031512 w 11685910"/>
                <a:gd name="connsiteY1603" fmla="*/ 2243544 h 6078415"/>
                <a:gd name="connsiteX1604" fmla="*/ 9005111 w 11685910"/>
                <a:gd name="connsiteY1604" fmla="*/ 2262852 h 6078415"/>
                <a:gd name="connsiteX1605" fmla="*/ 9010161 w 11685910"/>
                <a:gd name="connsiteY1605" fmla="*/ 2255177 h 6078415"/>
                <a:gd name="connsiteX1606" fmla="*/ 9002327 w 11685910"/>
                <a:gd name="connsiteY1606" fmla="*/ 2248169 h 6078415"/>
                <a:gd name="connsiteX1607" fmla="*/ 8997477 w 11685910"/>
                <a:gd name="connsiteY1607" fmla="*/ 2252255 h 6078415"/>
                <a:gd name="connsiteX1608" fmla="*/ 9021634 w 11685910"/>
                <a:gd name="connsiteY1608" fmla="*/ 2233980 h 6078415"/>
                <a:gd name="connsiteX1609" fmla="*/ 2960897 w 11685910"/>
                <a:gd name="connsiteY1609" fmla="*/ 2233980 h 6078415"/>
                <a:gd name="connsiteX1610" fmla="*/ 2956879 w 11685910"/>
                <a:gd name="connsiteY1610" fmla="*/ 2236854 h 6078415"/>
                <a:gd name="connsiteX1611" fmla="*/ 2963848 w 11685910"/>
                <a:gd name="connsiteY1611" fmla="*/ 2245282 h 6078415"/>
                <a:gd name="connsiteX1612" fmla="*/ 2970776 w 11685910"/>
                <a:gd name="connsiteY1612" fmla="*/ 2243544 h 6078415"/>
                <a:gd name="connsiteX1613" fmla="*/ 2944374 w 11685910"/>
                <a:gd name="connsiteY1613" fmla="*/ 2262852 h 6078415"/>
                <a:gd name="connsiteX1614" fmla="*/ 2949424 w 11685910"/>
                <a:gd name="connsiteY1614" fmla="*/ 2255177 h 6078415"/>
                <a:gd name="connsiteX1615" fmla="*/ 2941590 w 11685910"/>
                <a:gd name="connsiteY1615" fmla="*/ 2248169 h 6078415"/>
                <a:gd name="connsiteX1616" fmla="*/ 2936741 w 11685910"/>
                <a:gd name="connsiteY1616" fmla="*/ 2252255 h 6078415"/>
                <a:gd name="connsiteX1617" fmla="*/ 2960897 w 11685910"/>
                <a:gd name="connsiteY1617" fmla="*/ 2233980 h 6078415"/>
                <a:gd name="connsiteX1618" fmla="*/ 8994885 w 11685910"/>
                <a:gd name="connsiteY1618" fmla="*/ 2217458 h 6078415"/>
                <a:gd name="connsiteX1619" fmla="*/ 8997186 w 11685910"/>
                <a:gd name="connsiteY1619" fmla="*/ 2217495 h 6078415"/>
                <a:gd name="connsiteX1620" fmla="*/ 9005380 w 11685910"/>
                <a:gd name="connsiteY1620" fmla="*/ 2218759 h 6078415"/>
                <a:gd name="connsiteX1621" fmla="*/ 8986342 w 11685910"/>
                <a:gd name="connsiteY1621" fmla="*/ 2237797 h 6078415"/>
                <a:gd name="connsiteX1622" fmla="*/ 8994885 w 11685910"/>
                <a:gd name="connsiteY1622" fmla="*/ 2217458 h 6078415"/>
                <a:gd name="connsiteX1623" fmla="*/ 2934148 w 11685910"/>
                <a:gd name="connsiteY1623" fmla="*/ 2217458 h 6078415"/>
                <a:gd name="connsiteX1624" fmla="*/ 2936449 w 11685910"/>
                <a:gd name="connsiteY1624" fmla="*/ 2217495 h 6078415"/>
                <a:gd name="connsiteX1625" fmla="*/ 2944643 w 11685910"/>
                <a:gd name="connsiteY1625" fmla="*/ 2218759 h 6078415"/>
                <a:gd name="connsiteX1626" fmla="*/ 2925605 w 11685910"/>
                <a:gd name="connsiteY1626" fmla="*/ 2237797 h 6078415"/>
                <a:gd name="connsiteX1627" fmla="*/ 2934148 w 11685910"/>
                <a:gd name="connsiteY1627" fmla="*/ 2217458 h 6078415"/>
                <a:gd name="connsiteX1628" fmla="*/ 9098183 w 11685910"/>
                <a:gd name="connsiteY1628" fmla="*/ 2195230 h 6078415"/>
                <a:gd name="connsiteX1629" fmla="*/ 9089930 w 11685910"/>
                <a:gd name="connsiteY1629" fmla="*/ 2209246 h 6078415"/>
                <a:gd name="connsiteX1630" fmla="*/ 9077672 w 11685910"/>
                <a:gd name="connsiteY1630" fmla="*/ 2211251 h 6078415"/>
                <a:gd name="connsiteX1631" fmla="*/ 9088889 w 11685910"/>
                <a:gd name="connsiteY1631" fmla="*/ 2204577 h 6078415"/>
                <a:gd name="connsiteX1632" fmla="*/ 9098183 w 11685910"/>
                <a:gd name="connsiteY1632" fmla="*/ 2195230 h 6078415"/>
                <a:gd name="connsiteX1633" fmla="*/ 3037447 w 11685910"/>
                <a:gd name="connsiteY1633" fmla="*/ 2195230 h 6078415"/>
                <a:gd name="connsiteX1634" fmla="*/ 3029193 w 11685910"/>
                <a:gd name="connsiteY1634" fmla="*/ 2209246 h 6078415"/>
                <a:gd name="connsiteX1635" fmla="*/ 3016935 w 11685910"/>
                <a:gd name="connsiteY1635" fmla="*/ 2211251 h 6078415"/>
                <a:gd name="connsiteX1636" fmla="*/ 3028152 w 11685910"/>
                <a:gd name="connsiteY1636" fmla="*/ 2204577 h 6078415"/>
                <a:gd name="connsiteX1637" fmla="*/ 3037447 w 11685910"/>
                <a:gd name="connsiteY1637" fmla="*/ 2195230 h 6078415"/>
                <a:gd name="connsiteX1638" fmla="*/ 10078877 w 11685910"/>
                <a:gd name="connsiteY1638" fmla="*/ 2178594 h 6078415"/>
                <a:gd name="connsiteX1639" fmla="*/ 10133563 w 11685910"/>
                <a:gd name="connsiteY1639" fmla="*/ 2217615 h 6078415"/>
                <a:gd name="connsiteX1640" fmla="*/ 10133563 w 11685910"/>
                <a:gd name="connsiteY1640" fmla="*/ 2253976 h 6078415"/>
                <a:gd name="connsiteX1641" fmla="*/ 10157507 w 11685910"/>
                <a:gd name="connsiteY1641" fmla="*/ 2280836 h 6078415"/>
                <a:gd name="connsiteX1642" fmla="*/ 10157507 w 11685910"/>
                <a:gd name="connsiteY1642" fmla="*/ 2299332 h 6078415"/>
                <a:gd name="connsiteX1643" fmla="*/ 10133563 w 11685910"/>
                <a:gd name="connsiteY1643" fmla="*/ 2325685 h 6078415"/>
                <a:gd name="connsiteX1644" fmla="*/ 10133563 w 11685910"/>
                <a:gd name="connsiteY1644" fmla="*/ 2363060 h 6078415"/>
                <a:gd name="connsiteX1645" fmla="*/ 10078877 w 11685910"/>
                <a:gd name="connsiteY1645" fmla="*/ 2401574 h 6078415"/>
                <a:gd name="connsiteX1646" fmla="*/ 10078877 w 11685910"/>
                <a:gd name="connsiteY1646" fmla="*/ 2382063 h 6078415"/>
                <a:gd name="connsiteX1647" fmla="*/ 10097955 w 11685910"/>
                <a:gd name="connsiteY1647" fmla="*/ 2375982 h 6078415"/>
                <a:gd name="connsiteX1648" fmla="*/ 10103594 w 11685910"/>
                <a:gd name="connsiteY1648" fmla="*/ 2356725 h 6078415"/>
                <a:gd name="connsiteX1649" fmla="*/ 10103594 w 11685910"/>
                <a:gd name="connsiteY1649" fmla="*/ 2321377 h 6078415"/>
                <a:gd name="connsiteX1650" fmla="*/ 10134026 w 11685910"/>
                <a:gd name="connsiteY1650" fmla="*/ 2290084 h 6078415"/>
                <a:gd name="connsiteX1651" fmla="*/ 10134026 w 11685910"/>
                <a:gd name="connsiteY1651" fmla="*/ 2289704 h 6078415"/>
                <a:gd name="connsiteX1652" fmla="*/ 10103594 w 11685910"/>
                <a:gd name="connsiteY1652" fmla="*/ 2258157 h 6078415"/>
                <a:gd name="connsiteX1653" fmla="*/ 10103594 w 11685910"/>
                <a:gd name="connsiteY1653" fmla="*/ 2222430 h 6078415"/>
                <a:gd name="connsiteX1654" fmla="*/ 10078877 w 11685910"/>
                <a:gd name="connsiteY1654" fmla="*/ 2198232 h 6078415"/>
                <a:gd name="connsiteX1655" fmla="*/ 10057558 w 11685910"/>
                <a:gd name="connsiteY1655" fmla="*/ 2178594 h 6078415"/>
                <a:gd name="connsiteX1656" fmla="*/ 10057558 w 11685910"/>
                <a:gd name="connsiteY1656" fmla="*/ 2198232 h 6078415"/>
                <a:gd name="connsiteX1657" fmla="*/ 10032996 w 11685910"/>
                <a:gd name="connsiteY1657" fmla="*/ 2222430 h 6078415"/>
                <a:gd name="connsiteX1658" fmla="*/ 10032996 w 11685910"/>
                <a:gd name="connsiteY1658" fmla="*/ 2258157 h 6078415"/>
                <a:gd name="connsiteX1659" fmla="*/ 10002255 w 11685910"/>
                <a:gd name="connsiteY1659" fmla="*/ 2289704 h 6078415"/>
                <a:gd name="connsiteX1660" fmla="*/ 10002255 w 11685910"/>
                <a:gd name="connsiteY1660" fmla="*/ 2290084 h 6078415"/>
                <a:gd name="connsiteX1661" fmla="*/ 10032996 w 11685910"/>
                <a:gd name="connsiteY1661" fmla="*/ 2321377 h 6078415"/>
                <a:gd name="connsiteX1662" fmla="*/ 10032996 w 11685910"/>
                <a:gd name="connsiteY1662" fmla="*/ 2356725 h 6078415"/>
                <a:gd name="connsiteX1663" fmla="*/ 10038480 w 11685910"/>
                <a:gd name="connsiteY1663" fmla="*/ 2376045 h 6078415"/>
                <a:gd name="connsiteX1664" fmla="*/ 10057558 w 11685910"/>
                <a:gd name="connsiteY1664" fmla="*/ 2382063 h 6078415"/>
                <a:gd name="connsiteX1665" fmla="*/ 10057558 w 11685910"/>
                <a:gd name="connsiteY1665" fmla="*/ 2401574 h 6078415"/>
                <a:gd name="connsiteX1666" fmla="*/ 10002564 w 11685910"/>
                <a:gd name="connsiteY1666" fmla="*/ 2363060 h 6078415"/>
                <a:gd name="connsiteX1667" fmla="*/ 10002564 w 11685910"/>
                <a:gd name="connsiteY1667" fmla="*/ 2325685 h 6078415"/>
                <a:gd name="connsiteX1668" fmla="*/ 9978465 w 11685910"/>
                <a:gd name="connsiteY1668" fmla="*/ 2299332 h 6078415"/>
                <a:gd name="connsiteX1669" fmla="*/ 9978465 w 11685910"/>
                <a:gd name="connsiteY1669" fmla="*/ 2280836 h 6078415"/>
                <a:gd name="connsiteX1670" fmla="*/ 10002564 w 11685910"/>
                <a:gd name="connsiteY1670" fmla="*/ 2253976 h 6078415"/>
                <a:gd name="connsiteX1671" fmla="*/ 10002564 w 11685910"/>
                <a:gd name="connsiteY1671" fmla="*/ 2217615 h 6078415"/>
                <a:gd name="connsiteX1672" fmla="*/ 10057558 w 11685910"/>
                <a:gd name="connsiteY1672" fmla="*/ 2178594 h 6078415"/>
                <a:gd name="connsiteX1673" fmla="*/ 4015651 w 11685910"/>
                <a:gd name="connsiteY1673" fmla="*/ 2178594 h 6078415"/>
                <a:gd name="connsiteX1674" fmla="*/ 4070337 w 11685910"/>
                <a:gd name="connsiteY1674" fmla="*/ 2217615 h 6078415"/>
                <a:gd name="connsiteX1675" fmla="*/ 4070337 w 11685910"/>
                <a:gd name="connsiteY1675" fmla="*/ 2253976 h 6078415"/>
                <a:gd name="connsiteX1676" fmla="*/ 4094281 w 11685910"/>
                <a:gd name="connsiteY1676" fmla="*/ 2280836 h 6078415"/>
                <a:gd name="connsiteX1677" fmla="*/ 4094281 w 11685910"/>
                <a:gd name="connsiteY1677" fmla="*/ 2299332 h 6078415"/>
                <a:gd name="connsiteX1678" fmla="*/ 4070337 w 11685910"/>
                <a:gd name="connsiteY1678" fmla="*/ 2325685 h 6078415"/>
                <a:gd name="connsiteX1679" fmla="*/ 4070337 w 11685910"/>
                <a:gd name="connsiteY1679" fmla="*/ 2363060 h 6078415"/>
                <a:gd name="connsiteX1680" fmla="*/ 4015651 w 11685910"/>
                <a:gd name="connsiteY1680" fmla="*/ 2401574 h 6078415"/>
                <a:gd name="connsiteX1681" fmla="*/ 4015651 w 11685910"/>
                <a:gd name="connsiteY1681" fmla="*/ 2382063 h 6078415"/>
                <a:gd name="connsiteX1682" fmla="*/ 4034729 w 11685910"/>
                <a:gd name="connsiteY1682" fmla="*/ 2375982 h 6078415"/>
                <a:gd name="connsiteX1683" fmla="*/ 4040368 w 11685910"/>
                <a:gd name="connsiteY1683" fmla="*/ 2356725 h 6078415"/>
                <a:gd name="connsiteX1684" fmla="*/ 4040368 w 11685910"/>
                <a:gd name="connsiteY1684" fmla="*/ 2321377 h 6078415"/>
                <a:gd name="connsiteX1685" fmla="*/ 4070800 w 11685910"/>
                <a:gd name="connsiteY1685" fmla="*/ 2290084 h 6078415"/>
                <a:gd name="connsiteX1686" fmla="*/ 4070800 w 11685910"/>
                <a:gd name="connsiteY1686" fmla="*/ 2289704 h 6078415"/>
                <a:gd name="connsiteX1687" fmla="*/ 4040368 w 11685910"/>
                <a:gd name="connsiteY1687" fmla="*/ 2258157 h 6078415"/>
                <a:gd name="connsiteX1688" fmla="*/ 4040368 w 11685910"/>
                <a:gd name="connsiteY1688" fmla="*/ 2222430 h 6078415"/>
                <a:gd name="connsiteX1689" fmla="*/ 4015651 w 11685910"/>
                <a:gd name="connsiteY1689" fmla="*/ 2198232 h 6078415"/>
                <a:gd name="connsiteX1690" fmla="*/ 3994333 w 11685910"/>
                <a:gd name="connsiteY1690" fmla="*/ 2178594 h 6078415"/>
                <a:gd name="connsiteX1691" fmla="*/ 3994333 w 11685910"/>
                <a:gd name="connsiteY1691" fmla="*/ 2198232 h 6078415"/>
                <a:gd name="connsiteX1692" fmla="*/ 3969771 w 11685910"/>
                <a:gd name="connsiteY1692" fmla="*/ 2222430 h 6078415"/>
                <a:gd name="connsiteX1693" fmla="*/ 3969771 w 11685910"/>
                <a:gd name="connsiteY1693" fmla="*/ 2258157 h 6078415"/>
                <a:gd name="connsiteX1694" fmla="*/ 3939029 w 11685910"/>
                <a:gd name="connsiteY1694" fmla="*/ 2289704 h 6078415"/>
                <a:gd name="connsiteX1695" fmla="*/ 3939029 w 11685910"/>
                <a:gd name="connsiteY1695" fmla="*/ 2290084 h 6078415"/>
                <a:gd name="connsiteX1696" fmla="*/ 3969771 w 11685910"/>
                <a:gd name="connsiteY1696" fmla="*/ 2321377 h 6078415"/>
                <a:gd name="connsiteX1697" fmla="*/ 3969771 w 11685910"/>
                <a:gd name="connsiteY1697" fmla="*/ 2356725 h 6078415"/>
                <a:gd name="connsiteX1698" fmla="*/ 3975255 w 11685910"/>
                <a:gd name="connsiteY1698" fmla="*/ 2376045 h 6078415"/>
                <a:gd name="connsiteX1699" fmla="*/ 3994333 w 11685910"/>
                <a:gd name="connsiteY1699" fmla="*/ 2382063 h 6078415"/>
                <a:gd name="connsiteX1700" fmla="*/ 3994333 w 11685910"/>
                <a:gd name="connsiteY1700" fmla="*/ 2401574 h 6078415"/>
                <a:gd name="connsiteX1701" fmla="*/ 3939338 w 11685910"/>
                <a:gd name="connsiteY1701" fmla="*/ 2363060 h 6078415"/>
                <a:gd name="connsiteX1702" fmla="*/ 3939338 w 11685910"/>
                <a:gd name="connsiteY1702" fmla="*/ 2325685 h 6078415"/>
                <a:gd name="connsiteX1703" fmla="*/ 3915239 w 11685910"/>
                <a:gd name="connsiteY1703" fmla="*/ 2299332 h 6078415"/>
                <a:gd name="connsiteX1704" fmla="*/ 3915239 w 11685910"/>
                <a:gd name="connsiteY1704" fmla="*/ 2280836 h 6078415"/>
                <a:gd name="connsiteX1705" fmla="*/ 3939338 w 11685910"/>
                <a:gd name="connsiteY1705" fmla="*/ 2253976 h 6078415"/>
                <a:gd name="connsiteX1706" fmla="*/ 3939338 w 11685910"/>
                <a:gd name="connsiteY1706" fmla="*/ 2217615 h 6078415"/>
                <a:gd name="connsiteX1707" fmla="*/ 3994333 w 11685910"/>
                <a:gd name="connsiteY1707" fmla="*/ 2178594 h 6078415"/>
                <a:gd name="connsiteX1708" fmla="*/ 8993542 w 11685910"/>
                <a:gd name="connsiteY1708" fmla="*/ 2176097 h 6078415"/>
                <a:gd name="connsiteX1709" fmla="*/ 8999446 w 11685910"/>
                <a:gd name="connsiteY1709" fmla="*/ 2176614 h 6078415"/>
                <a:gd name="connsiteX1710" fmla="*/ 9042722 w 11685910"/>
                <a:gd name="connsiteY1710" fmla="*/ 2206032 h 6078415"/>
                <a:gd name="connsiteX1711" fmla="*/ 9060713 w 11685910"/>
                <a:gd name="connsiteY1711" fmla="*/ 2227184 h 6078415"/>
                <a:gd name="connsiteX1712" fmla="*/ 9057552 w 11685910"/>
                <a:gd name="connsiteY1712" fmla="*/ 2234964 h 6078415"/>
                <a:gd name="connsiteX1713" fmla="*/ 9070666 w 11685910"/>
                <a:gd name="connsiteY1713" fmla="*/ 2245069 h 6078415"/>
                <a:gd name="connsiteX1714" fmla="*/ 9068979 w 11685910"/>
                <a:gd name="connsiteY1714" fmla="*/ 2207735 h 6078415"/>
                <a:gd name="connsiteX1715" fmla="*/ 9084296 w 11685910"/>
                <a:gd name="connsiteY1715" fmla="*/ 2198010 h 6078415"/>
                <a:gd name="connsiteX1716" fmla="*/ 9096209 w 11685910"/>
                <a:gd name="connsiteY1716" fmla="*/ 2186826 h 6078415"/>
                <a:gd name="connsiteX1717" fmla="*/ 9119063 w 11685910"/>
                <a:gd name="connsiteY1717" fmla="*/ 2249309 h 6078415"/>
                <a:gd name="connsiteX1718" fmla="*/ 9081379 w 11685910"/>
                <a:gd name="connsiteY1718" fmla="*/ 2317627 h 6078415"/>
                <a:gd name="connsiteX1719" fmla="*/ 9049352 w 11685910"/>
                <a:gd name="connsiteY1719" fmla="*/ 2318345 h 6078415"/>
                <a:gd name="connsiteX1720" fmla="*/ 9045345 w 11685910"/>
                <a:gd name="connsiteY1720" fmla="*/ 2316950 h 6078415"/>
                <a:gd name="connsiteX1721" fmla="*/ 9044865 w 11685910"/>
                <a:gd name="connsiteY1721" fmla="*/ 2319226 h 6078415"/>
                <a:gd name="connsiteX1722" fmla="*/ 9020111 w 11685910"/>
                <a:gd name="connsiteY1722" fmla="*/ 2339265 h 6078415"/>
                <a:gd name="connsiteX1723" fmla="*/ 8998473 w 11685910"/>
                <a:gd name="connsiteY1723" fmla="*/ 2329540 h 6078415"/>
                <a:gd name="connsiteX1724" fmla="*/ 8997500 w 11685910"/>
                <a:gd name="connsiteY1724" fmla="*/ 2342182 h 6078415"/>
                <a:gd name="connsiteX1725" fmla="*/ 9007225 w 11685910"/>
                <a:gd name="connsiteY1725" fmla="*/ 2362848 h 6078415"/>
                <a:gd name="connsiteX1726" fmla="*/ 9006739 w 11685910"/>
                <a:gd name="connsiteY1726" fmla="*/ 2374032 h 6078415"/>
                <a:gd name="connsiteX1727" fmla="*/ 9008927 w 11685910"/>
                <a:gd name="connsiteY1727" fmla="*/ 2387890 h 6078415"/>
                <a:gd name="connsiteX1728" fmla="*/ 8992881 w 11685910"/>
                <a:gd name="connsiteY1728" fmla="*/ 2393725 h 6078415"/>
                <a:gd name="connsiteX1729" fmla="*/ 8967839 w 11685910"/>
                <a:gd name="connsiteY1729" fmla="*/ 2388376 h 6078415"/>
                <a:gd name="connsiteX1730" fmla="*/ 8967075 w 11685910"/>
                <a:gd name="connsiteY1730" fmla="*/ 2383892 h 6078415"/>
                <a:gd name="connsiteX1731" fmla="*/ 8967035 w 11685910"/>
                <a:gd name="connsiteY1731" fmla="*/ 2382538 h 6078415"/>
                <a:gd name="connsiteX1732" fmla="*/ 8963270 w 11685910"/>
                <a:gd name="connsiteY1732" fmla="*/ 2386106 h 6078415"/>
                <a:gd name="connsiteX1733" fmla="*/ 8939637 w 11685910"/>
                <a:gd name="connsiteY1733" fmla="*/ 2400532 h 6078415"/>
                <a:gd name="connsiteX1734" fmla="*/ 8916054 w 11685910"/>
                <a:gd name="connsiteY1734" fmla="*/ 2372087 h 6078415"/>
                <a:gd name="connsiteX1735" fmla="*/ 8926994 w 11685910"/>
                <a:gd name="connsiteY1735" fmla="*/ 2360173 h 6078415"/>
                <a:gd name="connsiteX1736" fmla="*/ 8901952 w 11685910"/>
                <a:gd name="connsiteY1736" fmla="*/ 2357742 h 6078415"/>
                <a:gd name="connsiteX1737" fmla="*/ 8900980 w 11685910"/>
                <a:gd name="connsiteY1737" fmla="*/ 2368683 h 6078415"/>
                <a:gd name="connsiteX1738" fmla="*/ 8894658 w 11685910"/>
                <a:gd name="connsiteY1738" fmla="*/ 2379380 h 6078415"/>
                <a:gd name="connsiteX1739" fmla="*/ 8889553 w 11685910"/>
                <a:gd name="connsiteY1739" fmla="*/ 2398587 h 6078415"/>
                <a:gd name="connsiteX1740" fmla="*/ 8849194 w 11685910"/>
                <a:gd name="connsiteY1740" fmla="*/ 2390078 h 6078415"/>
                <a:gd name="connsiteX1741" fmla="*/ 8850167 w 11685910"/>
                <a:gd name="connsiteY1741" fmla="*/ 2375977 h 6078415"/>
                <a:gd name="connsiteX1742" fmla="*/ 8840442 w 11685910"/>
                <a:gd name="connsiteY1742" fmla="*/ 2377922 h 6078415"/>
                <a:gd name="connsiteX1743" fmla="*/ 8815157 w 11685910"/>
                <a:gd name="connsiteY1743" fmla="*/ 2351907 h 6078415"/>
                <a:gd name="connsiteX1744" fmla="*/ 8830474 w 11685910"/>
                <a:gd name="connsiteY1744" fmla="*/ 2325163 h 6078415"/>
                <a:gd name="connsiteX1745" fmla="*/ 8831932 w 11685910"/>
                <a:gd name="connsiteY1745" fmla="*/ 2298420 h 6078415"/>
                <a:gd name="connsiteX1746" fmla="*/ 8816372 w 11685910"/>
                <a:gd name="connsiteY1746" fmla="*/ 2276296 h 6078415"/>
                <a:gd name="connsiteX1747" fmla="*/ 8818145 w 11685910"/>
                <a:gd name="connsiteY1747" fmla="*/ 2262886 h 6078415"/>
                <a:gd name="connsiteX1748" fmla="*/ 8818607 w 11685910"/>
                <a:gd name="connsiteY1748" fmla="*/ 2271666 h 6078415"/>
                <a:gd name="connsiteX1749" fmla="*/ 8819436 w 11685910"/>
                <a:gd name="connsiteY1749" fmla="*/ 2272064 h 6078415"/>
                <a:gd name="connsiteX1750" fmla="*/ 8819559 w 11685910"/>
                <a:gd name="connsiteY1750" fmla="*/ 2273246 h 6078415"/>
                <a:gd name="connsiteX1751" fmla="*/ 8839247 w 11685910"/>
                <a:gd name="connsiteY1751" fmla="*/ 2287188 h 6078415"/>
                <a:gd name="connsiteX1752" fmla="*/ 8857593 w 11685910"/>
                <a:gd name="connsiteY1752" fmla="*/ 2358296 h 6078415"/>
                <a:gd name="connsiteX1753" fmla="*/ 8858561 w 11685910"/>
                <a:gd name="connsiteY1753" fmla="*/ 2360158 h 6078415"/>
                <a:gd name="connsiteX1754" fmla="*/ 8858527 w 11685910"/>
                <a:gd name="connsiteY1754" fmla="*/ 2361032 h 6078415"/>
                <a:gd name="connsiteX1755" fmla="*/ 8857117 w 11685910"/>
                <a:gd name="connsiteY1755" fmla="*/ 2374565 h 6078415"/>
                <a:gd name="connsiteX1756" fmla="*/ 8853795 w 11685910"/>
                <a:gd name="connsiteY1756" fmla="*/ 2385970 h 6078415"/>
                <a:gd name="connsiteX1757" fmla="*/ 8888189 w 11685910"/>
                <a:gd name="connsiteY1757" fmla="*/ 2392615 h 6078415"/>
                <a:gd name="connsiteX1758" fmla="*/ 8889356 w 11685910"/>
                <a:gd name="connsiteY1758" fmla="*/ 2381659 h 6078415"/>
                <a:gd name="connsiteX1759" fmla="*/ 8896001 w 11685910"/>
                <a:gd name="connsiteY1759" fmla="*/ 2367381 h 6078415"/>
                <a:gd name="connsiteX1760" fmla="*/ 8896282 w 11685910"/>
                <a:gd name="connsiteY1760" fmla="*/ 2352171 h 6078415"/>
                <a:gd name="connsiteX1761" fmla="*/ 8896072 w 11685910"/>
                <a:gd name="connsiteY1761" fmla="*/ 2346453 h 6078415"/>
                <a:gd name="connsiteX1762" fmla="*/ 8897672 w 11685910"/>
                <a:gd name="connsiteY1762" fmla="*/ 2348315 h 6078415"/>
                <a:gd name="connsiteX1763" fmla="*/ 8937310 w 11685910"/>
                <a:gd name="connsiteY1763" fmla="*/ 2346098 h 6078415"/>
                <a:gd name="connsiteX1764" fmla="*/ 8938208 w 11685910"/>
                <a:gd name="connsiteY1764" fmla="*/ 2359927 h 6078415"/>
                <a:gd name="connsiteX1765" fmla="*/ 8921056 w 11685910"/>
                <a:gd name="connsiteY1765" fmla="*/ 2372679 h 6078415"/>
                <a:gd name="connsiteX1766" fmla="*/ 8940094 w 11685910"/>
                <a:gd name="connsiteY1766" fmla="*/ 2395758 h 6078415"/>
                <a:gd name="connsiteX1767" fmla="*/ 8975386 w 11685910"/>
                <a:gd name="connsiteY1767" fmla="*/ 2367830 h 6078415"/>
                <a:gd name="connsiteX1768" fmla="*/ 8994604 w 11685910"/>
                <a:gd name="connsiteY1768" fmla="*/ 2325713 h 6078415"/>
                <a:gd name="connsiteX1769" fmla="*/ 8977626 w 11685910"/>
                <a:gd name="connsiteY1769" fmla="*/ 2307326 h 6078415"/>
                <a:gd name="connsiteX1770" fmla="*/ 8977431 w 11685910"/>
                <a:gd name="connsiteY1770" fmla="*/ 2306814 h 6078415"/>
                <a:gd name="connsiteX1771" fmla="*/ 8980067 w 11685910"/>
                <a:gd name="connsiteY1771" fmla="*/ 2308474 h 6078415"/>
                <a:gd name="connsiteX1772" fmla="*/ 8999363 w 11685910"/>
                <a:gd name="connsiteY1772" fmla="*/ 2319157 h 6078415"/>
                <a:gd name="connsiteX1773" fmla="*/ 9020826 w 11685910"/>
                <a:gd name="connsiteY1773" fmla="*/ 2333705 h 6078415"/>
                <a:gd name="connsiteX1774" fmla="*/ 9041929 w 11685910"/>
                <a:gd name="connsiteY1774" fmla="*/ 2315206 h 6078415"/>
                <a:gd name="connsiteX1775" fmla="*/ 9038607 w 11685910"/>
                <a:gd name="connsiteY1775" fmla="*/ 2314937 h 6078415"/>
                <a:gd name="connsiteX1776" fmla="*/ 9010626 w 11685910"/>
                <a:gd name="connsiteY1776" fmla="*/ 2292639 h 6078415"/>
                <a:gd name="connsiteX1777" fmla="*/ 9011556 w 11685910"/>
                <a:gd name="connsiteY1777" fmla="*/ 2287831 h 6078415"/>
                <a:gd name="connsiteX1778" fmla="*/ 9013320 w 11685910"/>
                <a:gd name="connsiteY1778" fmla="*/ 2289753 h 6078415"/>
                <a:gd name="connsiteX1779" fmla="*/ 9085573 w 11685910"/>
                <a:gd name="connsiteY1779" fmla="*/ 2308022 h 6078415"/>
                <a:gd name="connsiteX1780" fmla="*/ 9097517 w 11685910"/>
                <a:gd name="connsiteY1780" fmla="*/ 2190112 h 6078415"/>
                <a:gd name="connsiteX1781" fmla="*/ 9088177 w 11685910"/>
                <a:gd name="connsiteY1781" fmla="*/ 2200889 h 6078415"/>
                <a:gd name="connsiteX1782" fmla="*/ 9074527 w 11685910"/>
                <a:gd name="connsiteY1782" fmla="*/ 2207803 h 6078415"/>
                <a:gd name="connsiteX1783" fmla="*/ 9065993 w 11685910"/>
                <a:gd name="connsiteY1783" fmla="*/ 2269010 h 6078415"/>
                <a:gd name="connsiteX1784" fmla="*/ 9064502 w 11685910"/>
                <a:gd name="connsiteY1784" fmla="*/ 2270186 h 6078415"/>
                <a:gd name="connsiteX1785" fmla="*/ 9064816 w 11685910"/>
                <a:gd name="connsiteY1785" fmla="*/ 2269581 h 6078415"/>
                <a:gd name="connsiteX1786" fmla="*/ 9068062 w 11685910"/>
                <a:gd name="connsiteY1786" fmla="*/ 2250369 h 6078415"/>
                <a:gd name="connsiteX1787" fmla="*/ 9055400 w 11685910"/>
                <a:gd name="connsiteY1787" fmla="*/ 2252794 h 6078415"/>
                <a:gd name="connsiteX1788" fmla="*/ 9056747 w 11685910"/>
                <a:gd name="connsiteY1788" fmla="*/ 2242287 h 6078415"/>
                <a:gd name="connsiteX1789" fmla="*/ 9044893 w 11685910"/>
                <a:gd name="connsiteY1789" fmla="*/ 2242197 h 6078415"/>
                <a:gd name="connsiteX1790" fmla="*/ 9048305 w 11685910"/>
                <a:gd name="connsiteY1790" fmla="*/ 2234385 h 6078415"/>
                <a:gd name="connsiteX1791" fmla="*/ 9041452 w 11685910"/>
                <a:gd name="connsiteY1791" fmla="*/ 2231219 h 6078415"/>
                <a:gd name="connsiteX1792" fmla="*/ 9039553 w 11685910"/>
                <a:gd name="connsiteY1792" fmla="*/ 2231232 h 6078415"/>
                <a:gd name="connsiteX1793" fmla="*/ 9041115 w 11685910"/>
                <a:gd name="connsiteY1793" fmla="*/ 2230671 h 6078415"/>
                <a:gd name="connsiteX1794" fmla="*/ 9043456 w 11685910"/>
                <a:gd name="connsiteY1794" fmla="*/ 2229984 h 6078415"/>
                <a:gd name="connsiteX1795" fmla="*/ 9054771 w 11685910"/>
                <a:gd name="connsiteY1795" fmla="*/ 2227380 h 6078415"/>
                <a:gd name="connsiteX1796" fmla="*/ 9043276 w 11685910"/>
                <a:gd name="connsiteY1796" fmla="*/ 2212742 h 6078415"/>
                <a:gd name="connsiteX1797" fmla="*/ 9031296 w 11685910"/>
                <a:gd name="connsiteY1797" fmla="*/ 2211273 h 6078415"/>
                <a:gd name="connsiteX1798" fmla="*/ 9030190 w 11685910"/>
                <a:gd name="connsiteY1798" fmla="*/ 2211214 h 6078415"/>
                <a:gd name="connsiteX1799" fmla="*/ 9030199 w 11685910"/>
                <a:gd name="connsiteY1799" fmla="*/ 2211191 h 6078415"/>
                <a:gd name="connsiteX1800" fmla="*/ 9037978 w 11685910"/>
                <a:gd name="connsiteY1800" fmla="*/ 2208791 h 6078415"/>
                <a:gd name="connsiteX1801" fmla="*/ 8995322 w 11685910"/>
                <a:gd name="connsiteY1801" fmla="*/ 2182659 h 6078415"/>
                <a:gd name="connsiteX1802" fmla="*/ 8944854 w 11685910"/>
                <a:gd name="connsiteY1802" fmla="*/ 2206277 h 6078415"/>
                <a:gd name="connsiteX1803" fmla="*/ 8959086 w 11685910"/>
                <a:gd name="connsiteY1803" fmla="*/ 2206604 h 6078415"/>
                <a:gd name="connsiteX1804" fmla="*/ 8959663 w 11685910"/>
                <a:gd name="connsiteY1804" fmla="*/ 2206687 h 6078415"/>
                <a:gd name="connsiteX1805" fmla="*/ 8957253 w 11685910"/>
                <a:gd name="connsiteY1805" fmla="*/ 2207342 h 6078415"/>
                <a:gd name="connsiteX1806" fmla="*/ 8932654 w 11685910"/>
                <a:gd name="connsiteY1806" fmla="*/ 2212459 h 6078415"/>
                <a:gd name="connsiteX1807" fmla="*/ 8886178 w 11685910"/>
                <a:gd name="connsiteY1807" fmla="*/ 2272744 h 6078415"/>
                <a:gd name="connsiteX1808" fmla="*/ 8900160 w 11685910"/>
                <a:gd name="connsiteY1808" fmla="*/ 2294856 h 6078415"/>
                <a:gd name="connsiteX1809" fmla="*/ 8914666 w 11685910"/>
                <a:gd name="connsiteY1809" fmla="*/ 2278318 h 6078415"/>
                <a:gd name="connsiteX1810" fmla="*/ 8897694 w 11685910"/>
                <a:gd name="connsiteY1810" fmla="*/ 2313424 h 6078415"/>
                <a:gd name="connsiteX1811" fmla="*/ 8913623 w 11685910"/>
                <a:gd name="connsiteY1811" fmla="*/ 2322805 h 6078415"/>
                <a:gd name="connsiteX1812" fmla="*/ 8940778 w 11685910"/>
                <a:gd name="connsiteY1812" fmla="*/ 2309362 h 6078415"/>
                <a:gd name="connsiteX1813" fmla="*/ 8958186 w 11685910"/>
                <a:gd name="connsiteY1813" fmla="*/ 2307621 h 6078415"/>
                <a:gd name="connsiteX1814" fmla="*/ 8964423 w 11685910"/>
                <a:gd name="connsiteY1814" fmla="*/ 2238571 h 6078415"/>
                <a:gd name="connsiteX1815" fmla="*/ 8965149 w 11685910"/>
                <a:gd name="connsiteY1815" fmla="*/ 2316470 h 6078415"/>
                <a:gd name="connsiteX1816" fmla="*/ 8963041 w 11685910"/>
                <a:gd name="connsiteY1816" fmla="*/ 2316125 h 6078415"/>
                <a:gd name="connsiteX1817" fmla="*/ 8960372 w 11685910"/>
                <a:gd name="connsiteY1817" fmla="*/ 2315442 h 6078415"/>
                <a:gd name="connsiteX1818" fmla="*/ 8957638 w 11685910"/>
                <a:gd name="connsiteY1818" fmla="*/ 2315016 h 6078415"/>
                <a:gd name="connsiteX1819" fmla="*/ 8956872 w 11685910"/>
                <a:gd name="connsiteY1819" fmla="*/ 2314838 h 6078415"/>
                <a:gd name="connsiteX1820" fmla="*/ 8950101 w 11685910"/>
                <a:gd name="connsiteY1820" fmla="*/ 2314609 h 6078415"/>
                <a:gd name="connsiteX1821" fmla="*/ 8949115 w 11685910"/>
                <a:gd name="connsiteY1821" fmla="*/ 2314839 h 6078415"/>
                <a:gd name="connsiteX1822" fmla="*/ 8948520 w 11685910"/>
                <a:gd name="connsiteY1822" fmla="*/ 2314890 h 6078415"/>
                <a:gd name="connsiteX1823" fmla="*/ 8909292 w 11685910"/>
                <a:gd name="connsiteY1823" fmla="*/ 2330832 h 6078415"/>
                <a:gd name="connsiteX1824" fmla="*/ 8886952 w 11685910"/>
                <a:gd name="connsiteY1824" fmla="*/ 2313113 h 6078415"/>
                <a:gd name="connsiteX1825" fmla="*/ 8886494 w 11685910"/>
                <a:gd name="connsiteY1825" fmla="*/ 2312519 h 6078415"/>
                <a:gd name="connsiteX1826" fmla="*/ 8888216 w 11685910"/>
                <a:gd name="connsiteY1826" fmla="*/ 2309642 h 6078415"/>
                <a:gd name="connsiteX1827" fmla="*/ 8894295 w 11685910"/>
                <a:gd name="connsiteY1827" fmla="*/ 2300838 h 6078415"/>
                <a:gd name="connsiteX1828" fmla="*/ 8877233 w 11685910"/>
                <a:gd name="connsiteY1828" fmla="*/ 2273807 h 6078415"/>
                <a:gd name="connsiteX1829" fmla="*/ 8907496 w 11685910"/>
                <a:gd name="connsiteY1829" fmla="*/ 2227649 h 6078415"/>
                <a:gd name="connsiteX1830" fmla="*/ 8827441 w 11685910"/>
                <a:gd name="connsiteY1830" fmla="*/ 2275031 h 6078415"/>
                <a:gd name="connsiteX1831" fmla="*/ 8823816 w 11685910"/>
                <a:gd name="connsiteY1831" fmla="*/ 2271768 h 6078415"/>
                <a:gd name="connsiteX1832" fmla="*/ 8824876 w 11685910"/>
                <a:gd name="connsiteY1832" fmla="*/ 2271173 h 6078415"/>
                <a:gd name="connsiteX1833" fmla="*/ 8828830 w 11685910"/>
                <a:gd name="connsiteY1833" fmla="*/ 2251267 h 6078415"/>
                <a:gd name="connsiteX1834" fmla="*/ 8818347 w 11685910"/>
                <a:gd name="connsiteY1834" fmla="*/ 2261360 h 6078415"/>
                <a:gd name="connsiteX1835" fmla="*/ 8819259 w 11685910"/>
                <a:gd name="connsiteY1835" fmla="*/ 2254460 h 6078415"/>
                <a:gd name="connsiteX1836" fmla="*/ 8832905 w 11685910"/>
                <a:gd name="connsiteY1836" fmla="*/ 2245905 h 6078415"/>
                <a:gd name="connsiteX1837" fmla="*/ 8832905 w 11685910"/>
                <a:gd name="connsiteY1837" fmla="*/ 2269731 h 6078415"/>
                <a:gd name="connsiteX1838" fmla="*/ 8909246 w 11685910"/>
                <a:gd name="connsiteY1838" fmla="*/ 2221349 h 6078415"/>
                <a:gd name="connsiteX1839" fmla="*/ 8931857 w 11685910"/>
                <a:gd name="connsiteY1839" fmla="*/ 2204817 h 6078415"/>
                <a:gd name="connsiteX1840" fmla="*/ 8937893 w 11685910"/>
                <a:gd name="connsiteY1840" fmla="*/ 2204184 h 6078415"/>
                <a:gd name="connsiteX1841" fmla="*/ 8938592 w 11685910"/>
                <a:gd name="connsiteY1841" fmla="*/ 2202687 h 6078415"/>
                <a:gd name="connsiteX1842" fmla="*/ 8957871 w 11685910"/>
                <a:gd name="connsiteY1842" fmla="*/ 2184151 h 6078415"/>
                <a:gd name="connsiteX1843" fmla="*/ 8993542 w 11685910"/>
                <a:gd name="connsiteY1843" fmla="*/ 2176097 h 6078415"/>
                <a:gd name="connsiteX1844" fmla="*/ 2932806 w 11685910"/>
                <a:gd name="connsiteY1844" fmla="*/ 2176097 h 6078415"/>
                <a:gd name="connsiteX1845" fmla="*/ 2938709 w 11685910"/>
                <a:gd name="connsiteY1845" fmla="*/ 2176614 h 6078415"/>
                <a:gd name="connsiteX1846" fmla="*/ 2981985 w 11685910"/>
                <a:gd name="connsiteY1846" fmla="*/ 2206032 h 6078415"/>
                <a:gd name="connsiteX1847" fmla="*/ 2999976 w 11685910"/>
                <a:gd name="connsiteY1847" fmla="*/ 2227184 h 6078415"/>
                <a:gd name="connsiteX1848" fmla="*/ 2996816 w 11685910"/>
                <a:gd name="connsiteY1848" fmla="*/ 2234964 h 6078415"/>
                <a:gd name="connsiteX1849" fmla="*/ 3009929 w 11685910"/>
                <a:gd name="connsiteY1849" fmla="*/ 2245069 h 6078415"/>
                <a:gd name="connsiteX1850" fmla="*/ 3008243 w 11685910"/>
                <a:gd name="connsiteY1850" fmla="*/ 2207735 h 6078415"/>
                <a:gd name="connsiteX1851" fmla="*/ 3023559 w 11685910"/>
                <a:gd name="connsiteY1851" fmla="*/ 2198010 h 6078415"/>
                <a:gd name="connsiteX1852" fmla="*/ 3035473 w 11685910"/>
                <a:gd name="connsiteY1852" fmla="*/ 2186826 h 6078415"/>
                <a:gd name="connsiteX1853" fmla="*/ 3058326 w 11685910"/>
                <a:gd name="connsiteY1853" fmla="*/ 2249309 h 6078415"/>
                <a:gd name="connsiteX1854" fmla="*/ 3020642 w 11685910"/>
                <a:gd name="connsiteY1854" fmla="*/ 2317627 h 6078415"/>
                <a:gd name="connsiteX1855" fmla="*/ 2988615 w 11685910"/>
                <a:gd name="connsiteY1855" fmla="*/ 2318345 h 6078415"/>
                <a:gd name="connsiteX1856" fmla="*/ 2984609 w 11685910"/>
                <a:gd name="connsiteY1856" fmla="*/ 2316950 h 6078415"/>
                <a:gd name="connsiteX1857" fmla="*/ 2984128 w 11685910"/>
                <a:gd name="connsiteY1857" fmla="*/ 2319226 h 6078415"/>
                <a:gd name="connsiteX1858" fmla="*/ 2959374 w 11685910"/>
                <a:gd name="connsiteY1858" fmla="*/ 2339265 h 6078415"/>
                <a:gd name="connsiteX1859" fmla="*/ 2937736 w 11685910"/>
                <a:gd name="connsiteY1859" fmla="*/ 2329540 h 6078415"/>
                <a:gd name="connsiteX1860" fmla="*/ 2936763 w 11685910"/>
                <a:gd name="connsiteY1860" fmla="*/ 2342182 h 6078415"/>
                <a:gd name="connsiteX1861" fmla="*/ 2946489 w 11685910"/>
                <a:gd name="connsiteY1861" fmla="*/ 2362848 h 6078415"/>
                <a:gd name="connsiteX1862" fmla="*/ 2946002 w 11685910"/>
                <a:gd name="connsiteY1862" fmla="*/ 2374032 h 6078415"/>
                <a:gd name="connsiteX1863" fmla="*/ 2948190 w 11685910"/>
                <a:gd name="connsiteY1863" fmla="*/ 2387890 h 6078415"/>
                <a:gd name="connsiteX1864" fmla="*/ 2932144 w 11685910"/>
                <a:gd name="connsiteY1864" fmla="*/ 2393725 h 6078415"/>
                <a:gd name="connsiteX1865" fmla="*/ 2907102 w 11685910"/>
                <a:gd name="connsiteY1865" fmla="*/ 2388376 h 6078415"/>
                <a:gd name="connsiteX1866" fmla="*/ 2906338 w 11685910"/>
                <a:gd name="connsiteY1866" fmla="*/ 2383892 h 6078415"/>
                <a:gd name="connsiteX1867" fmla="*/ 2906298 w 11685910"/>
                <a:gd name="connsiteY1867" fmla="*/ 2382538 h 6078415"/>
                <a:gd name="connsiteX1868" fmla="*/ 2902533 w 11685910"/>
                <a:gd name="connsiteY1868" fmla="*/ 2386106 h 6078415"/>
                <a:gd name="connsiteX1869" fmla="*/ 2878900 w 11685910"/>
                <a:gd name="connsiteY1869" fmla="*/ 2400532 h 6078415"/>
                <a:gd name="connsiteX1870" fmla="*/ 2855317 w 11685910"/>
                <a:gd name="connsiteY1870" fmla="*/ 2372087 h 6078415"/>
                <a:gd name="connsiteX1871" fmla="*/ 2866257 w 11685910"/>
                <a:gd name="connsiteY1871" fmla="*/ 2360173 h 6078415"/>
                <a:gd name="connsiteX1872" fmla="*/ 2841215 w 11685910"/>
                <a:gd name="connsiteY1872" fmla="*/ 2357742 h 6078415"/>
                <a:gd name="connsiteX1873" fmla="*/ 2840243 w 11685910"/>
                <a:gd name="connsiteY1873" fmla="*/ 2368683 h 6078415"/>
                <a:gd name="connsiteX1874" fmla="*/ 2833922 w 11685910"/>
                <a:gd name="connsiteY1874" fmla="*/ 2379380 h 6078415"/>
                <a:gd name="connsiteX1875" fmla="*/ 2828816 w 11685910"/>
                <a:gd name="connsiteY1875" fmla="*/ 2398587 h 6078415"/>
                <a:gd name="connsiteX1876" fmla="*/ 2788458 w 11685910"/>
                <a:gd name="connsiteY1876" fmla="*/ 2390078 h 6078415"/>
                <a:gd name="connsiteX1877" fmla="*/ 2789430 w 11685910"/>
                <a:gd name="connsiteY1877" fmla="*/ 2375977 h 6078415"/>
                <a:gd name="connsiteX1878" fmla="*/ 2779705 w 11685910"/>
                <a:gd name="connsiteY1878" fmla="*/ 2377922 h 6078415"/>
                <a:gd name="connsiteX1879" fmla="*/ 2754420 w 11685910"/>
                <a:gd name="connsiteY1879" fmla="*/ 2351907 h 6078415"/>
                <a:gd name="connsiteX1880" fmla="*/ 2769737 w 11685910"/>
                <a:gd name="connsiteY1880" fmla="*/ 2325163 h 6078415"/>
                <a:gd name="connsiteX1881" fmla="*/ 2771195 w 11685910"/>
                <a:gd name="connsiteY1881" fmla="*/ 2298420 h 6078415"/>
                <a:gd name="connsiteX1882" fmla="*/ 2755635 w 11685910"/>
                <a:gd name="connsiteY1882" fmla="*/ 2276296 h 6078415"/>
                <a:gd name="connsiteX1883" fmla="*/ 2757408 w 11685910"/>
                <a:gd name="connsiteY1883" fmla="*/ 2262887 h 6078415"/>
                <a:gd name="connsiteX1884" fmla="*/ 2757870 w 11685910"/>
                <a:gd name="connsiteY1884" fmla="*/ 2271666 h 6078415"/>
                <a:gd name="connsiteX1885" fmla="*/ 2758699 w 11685910"/>
                <a:gd name="connsiteY1885" fmla="*/ 2272064 h 6078415"/>
                <a:gd name="connsiteX1886" fmla="*/ 2758822 w 11685910"/>
                <a:gd name="connsiteY1886" fmla="*/ 2273246 h 6078415"/>
                <a:gd name="connsiteX1887" fmla="*/ 2778510 w 11685910"/>
                <a:gd name="connsiteY1887" fmla="*/ 2287188 h 6078415"/>
                <a:gd name="connsiteX1888" fmla="*/ 2796856 w 11685910"/>
                <a:gd name="connsiteY1888" fmla="*/ 2358296 h 6078415"/>
                <a:gd name="connsiteX1889" fmla="*/ 2797825 w 11685910"/>
                <a:gd name="connsiteY1889" fmla="*/ 2360158 h 6078415"/>
                <a:gd name="connsiteX1890" fmla="*/ 2797791 w 11685910"/>
                <a:gd name="connsiteY1890" fmla="*/ 2361032 h 6078415"/>
                <a:gd name="connsiteX1891" fmla="*/ 2796380 w 11685910"/>
                <a:gd name="connsiteY1891" fmla="*/ 2374565 h 6078415"/>
                <a:gd name="connsiteX1892" fmla="*/ 2793058 w 11685910"/>
                <a:gd name="connsiteY1892" fmla="*/ 2385970 h 6078415"/>
                <a:gd name="connsiteX1893" fmla="*/ 2827452 w 11685910"/>
                <a:gd name="connsiteY1893" fmla="*/ 2392615 h 6078415"/>
                <a:gd name="connsiteX1894" fmla="*/ 2828619 w 11685910"/>
                <a:gd name="connsiteY1894" fmla="*/ 2381659 h 6078415"/>
                <a:gd name="connsiteX1895" fmla="*/ 2835265 w 11685910"/>
                <a:gd name="connsiteY1895" fmla="*/ 2367381 h 6078415"/>
                <a:gd name="connsiteX1896" fmla="*/ 2835545 w 11685910"/>
                <a:gd name="connsiteY1896" fmla="*/ 2352171 h 6078415"/>
                <a:gd name="connsiteX1897" fmla="*/ 2835336 w 11685910"/>
                <a:gd name="connsiteY1897" fmla="*/ 2346453 h 6078415"/>
                <a:gd name="connsiteX1898" fmla="*/ 2836935 w 11685910"/>
                <a:gd name="connsiteY1898" fmla="*/ 2348315 h 6078415"/>
                <a:gd name="connsiteX1899" fmla="*/ 2876573 w 11685910"/>
                <a:gd name="connsiteY1899" fmla="*/ 2346098 h 6078415"/>
                <a:gd name="connsiteX1900" fmla="*/ 2877471 w 11685910"/>
                <a:gd name="connsiteY1900" fmla="*/ 2359927 h 6078415"/>
                <a:gd name="connsiteX1901" fmla="*/ 2860319 w 11685910"/>
                <a:gd name="connsiteY1901" fmla="*/ 2372679 h 6078415"/>
                <a:gd name="connsiteX1902" fmla="*/ 2879358 w 11685910"/>
                <a:gd name="connsiteY1902" fmla="*/ 2395758 h 6078415"/>
                <a:gd name="connsiteX1903" fmla="*/ 2914649 w 11685910"/>
                <a:gd name="connsiteY1903" fmla="*/ 2367830 h 6078415"/>
                <a:gd name="connsiteX1904" fmla="*/ 2933867 w 11685910"/>
                <a:gd name="connsiteY1904" fmla="*/ 2325713 h 6078415"/>
                <a:gd name="connsiteX1905" fmla="*/ 2916889 w 11685910"/>
                <a:gd name="connsiteY1905" fmla="*/ 2307326 h 6078415"/>
                <a:gd name="connsiteX1906" fmla="*/ 2916694 w 11685910"/>
                <a:gd name="connsiteY1906" fmla="*/ 2306814 h 6078415"/>
                <a:gd name="connsiteX1907" fmla="*/ 2919331 w 11685910"/>
                <a:gd name="connsiteY1907" fmla="*/ 2308474 h 6078415"/>
                <a:gd name="connsiteX1908" fmla="*/ 2938626 w 11685910"/>
                <a:gd name="connsiteY1908" fmla="*/ 2319157 h 6078415"/>
                <a:gd name="connsiteX1909" fmla="*/ 2960089 w 11685910"/>
                <a:gd name="connsiteY1909" fmla="*/ 2333705 h 6078415"/>
                <a:gd name="connsiteX1910" fmla="*/ 2981193 w 11685910"/>
                <a:gd name="connsiteY1910" fmla="*/ 2315206 h 6078415"/>
                <a:gd name="connsiteX1911" fmla="*/ 2977870 w 11685910"/>
                <a:gd name="connsiteY1911" fmla="*/ 2314937 h 6078415"/>
                <a:gd name="connsiteX1912" fmla="*/ 2949889 w 11685910"/>
                <a:gd name="connsiteY1912" fmla="*/ 2292639 h 6078415"/>
                <a:gd name="connsiteX1913" fmla="*/ 2950820 w 11685910"/>
                <a:gd name="connsiteY1913" fmla="*/ 2287831 h 6078415"/>
                <a:gd name="connsiteX1914" fmla="*/ 2952584 w 11685910"/>
                <a:gd name="connsiteY1914" fmla="*/ 2289753 h 6078415"/>
                <a:gd name="connsiteX1915" fmla="*/ 3024836 w 11685910"/>
                <a:gd name="connsiteY1915" fmla="*/ 2308022 h 6078415"/>
                <a:gd name="connsiteX1916" fmla="*/ 3036780 w 11685910"/>
                <a:gd name="connsiteY1916" fmla="*/ 2190112 h 6078415"/>
                <a:gd name="connsiteX1917" fmla="*/ 3027441 w 11685910"/>
                <a:gd name="connsiteY1917" fmla="*/ 2200889 h 6078415"/>
                <a:gd name="connsiteX1918" fmla="*/ 3013791 w 11685910"/>
                <a:gd name="connsiteY1918" fmla="*/ 2207803 h 6078415"/>
                <a:gd name="connsiteX1919" fmla="*/ 3005256 w 11685910"/>
                <a:gd name="connsiteY1919" fmla="*/ 2269010 h 6078415"/>
                <a:gd name="connsiteX1920" fmla="*/ 3003766 w 11685910"/>
                <a:gd name="connsiteY1920" fmla="*/ 2270186 h 6078415"/>
                <a:gd name="connsiteX1921" fmla="*/ 3004079 w 11685910"/>
                <a:gd name="connsiteY1921" fmla="*/ 2269581 h 6078415"/>
                <a:gd name="connsiteX1922" fmla="*/ 3007325 w 11685910"/>
                <a:gd name="connsiteY1922" fmla="*/ 2250369 h 6078415"/>
                <a:gd name="connsiteX1923" fmla="*/ 2994663 w 11685910"/>
                <a:gd name="connsiteY1923" fmla="*/ 2252794 h 6078415"/>
                <a:gd name="connsiteX1924" fmla="*/ 2996010 w 11685910"/>
                <a:gd name="connsiteY1924" fmla="*/ 2242287 h 6078415"/>
                <a:gd name="connsiteX1925" fmla="*/ 2984156 w 11685910"/>
                <a:gd name="connsiteY1925" fmla="*/ 2242197 h 6078415"/>
                <a:gd name="connsiteX1926" fmla="*/ 2987569 w 11685910"/>
                <a:gd name="connsiteY1926" fmla="*/ 2234385 h 6078415"/>
                <a:gd name="connsiteX1927" fmla="*/ 2980716 w 11685910"/>
                <a:gd name="connsiteY1927" fmla="*/ 2231219 h 6078415"/>
                <a:gd name="connsiteX1928" fmla="*/ 2978816 w 11685910"/>
                <a:gd name="connsiteY1928" fmla="*/ 2231232 h 6078415"/>
                <a:gd name="connsiteX1929" fmla="*/ 2980378 w 11685910"/>
                <a:gd name="connsiteY1929" fmla="*/ 2230671 h 6078415"/>
                <a:gd name="connsiteX1930" fmla="*/ 2982719 w 11685910"/>
                <a:gd name="connsiteY1930" fmla="*/ 2229984 h 6078415"/>
                <a:gd name="connsiteX1931" fmla="*/ 2994034 w 11685910"/>
                <a:gd name="connsiteY1931" fmla="*/ 2227380 h 6078415"/>
                <a:gd name="connsiteX1932" fmla="*/ 2982539 w 11685910"/>
                <a:gd name="connsiteY1932" fmla="*/ 2212742 h 6078415"/>
                <a:gd name="connsiteX1933" fmla="*/ 2970559 w 11685910"/>
                <a:gd name="connsiteY1933" fmla="*/ 2211273 h 6078415"/>
                <a:gd name="connsiteX1934" fmla="*/ 2969453 w 11685910"/>
                <a:gd name="connsiteY1934" fmla="*/ 2211214 h 6078415"/>
                <a:gd name="connsiteX1935" fmla="*/ 2969462 w 11685910"/>
                <a:gd name="connsiteY1935" fmla="*/ 2211191 h 6078415"/>
                <a:gd name="connsiteX1936" fmla="*/ 2977242 w 11685910"/>
                <a:gd name="connsiteY1936" fmla="*/ 2208791 h 6078415"/>
                <a:gd name="connsiteX1937" fmla="*/ 2934585 w 11685910"/>
                <a:gd name="connsiteY1937" fmla="*/ 2182659 h 6078415"/>
                <a:gd name="connsiteX1938" fmla="*/ 2884117 w 11685910"/>
                <a:gd name="connsiteY1938" fmla="*/ 2206277 h 6078415"/>
                <a:gd name="connsiteX1939" fmla="*/ 2898349 w 11685910"/>
                <a:gd name="connsiteY1939" fmla="*/ 2206604 h 6078415"/>
                <a:gd name="connsiteX1940" fmla="*/ 2898926 w 11685910"/>
                <a:gd name="connsiteY1940" fmla="*/ 2206687 h 6078415"/>
                <a:gd name="connsiteX1941" fmla="*/ 2896516 w 11685910"/>
                <a:gd name="connsiteY1941" fmla="*/ 2207342 h 6078415"/>
                <a:gd name="connsiteX1942" fmla="*/ 2871918 w 11685910"/>
                <a:gd name="connsiteY1942" fmla="*/ 2212459 h 6078415"/>
                <a:gd name="connsiteX1943" fmla="*/ 2825442 w 11685910"/>
                <a:gd name="connsiteY1943" fmla="*/ 2272744 h 6078415"/>
                <a:gd name="connsiteX1944" fmla="*/ 2839423 w 11685910"/>
                <a:gd name="connsiteY1944" fmla="*/ 2294856 h 6078415"/>
                <a:gd name="connsiteX1945" fmla="*/ 2853929 w 11685910"/>
                <a:gd name="connsiteY1945" fmla="*/ 2278318 h 6078415"/>
                <a:gd name="connsiteX1946" fmla="*/ 2836957 w 11685910"/>
                <a:gd name="connsiteY1946" fmla="*/ 2313424 h 6078415"/>
                <a:gd name="connsiteX1947" fmla="*/ 2852886 w 11685910"/>
                <a:gd name="connsiteY1947" fmla="*/ 2322805 h 6078415"/>
                <a:gd name="connsiteX1948" fmla="*/ 2880041 w 11685910"/>
                <a:gd name="connsiteY1948" fmla="*/ 2309362 h 6078415"/>
                <a:gd name="connsiteX1949" fmla="*/ 2897449 w 11685910"/>
                <a:gd name="connsiteY1949" fmla="*/ 2307621 h 6078415"/>
                <a:gd name="connsiteX1950" fmla="*/ 2903687 w 11685910"/>
                <a:gd name="connsiteY1950" fmla="*/ 2238571 h 6078415"/>
                <a:gd name="connsiteX1951" fmla="*/ 2904412 w 11685910"/>
                <a:gd name="connsiteY1951" fmla="*/ 2316470 h 6078415"/>
                <a:gd name="connsiteX1952" fmla="*/ 2902304 w 11685910"/>
                <a:gd name="connsiteY1952" fmla="*/ 2316125 h 6078415"/>
                <a:gd name="connsiteX1953" fmla="*/ 2899635 w 11685910"/>
                <a:gd name="connsiteY1953" fmla="*/ 2315442 h 6078415"/>
                <a:gd name="connsiteX1954" fmla="*/ 2896902 w 11685910"/>
                <a:gd name="connsiteY1954" fmla="*/ 2315016 h 6078415"/>
                <a:gd name="connsiteX1955" fmla="*/ 2896135 w 11685910"/>
                <a:gd name="connsiteY1955" fmla="*/ 2314838 h 6078415"/>
                <a:gd name="connsiteX1956" fmla="*/ 2889365 w 11685910"/>
                <a:gd name="connsiteY1956" fmla="*/ 2314609 h 6078415"/>
                <a:gd name="connsiteX1957" fmla="*/ 2888379 w 11685910"/>
                <a:gd name="connsiteY1957" fmla="*/ 2314839 h 6078415"/>
                <a:gd name="connsiteX1958" fmla="*/ 2887783 w 11685910"/>
                <a:gd name="connsiteY1958" fmla="*/ 2314890 h 6078415"/>
                <a:gd name="connsiteX1959" fmla="*/ 2848555 w 11685910"/>
                <a:gd name="connsiteY1959" fmla="*/ 2330832 h 6078415"/>
                <a:gd name="connsiteX1960" fmla="*/ 2826215 w 11685910"/>
                <a:gd name="connsiteY1960" fmla="*/ 2313113 h 6078415"/>
                <a:gd name="connsiteX1961" fmla="*/ 2825757 w 11685910"/>
                <a:gd name="connsiteY1961" fmla="*/ 2312519 h 6078415"/>
                <a:gd name="connsiteX1962" fmla="*/ 2827479 w 11685910"/>
                <a:gd name="connsiteY1962" fmla="*/ 2309642 h 6078415"/>
                <a:gd name="connsiteX1963" fmla="*/ 2833558 w 11685910"/>
                <a:gd name="connsiteY1963" fmla="*/ 2300838 h 6078415"/>
                <a:gd name="connsiteX1964" fmla="*/ 2816496 w 11685910"/>
                <a:gd name="connsiteY1964" fmla="*/ 2273807 h 6078415"/>
                <a:gd name="connsiteX1965" fmla="*/ 2846759 w 11685910"/>
                <a:gd name="connsiteY1965" fmla="*/ 2227649 h 6078415"/>
                <a:gd name="connsiteX1966" fmla="*/ 2766704 w 11685910"/>
                <a:gd name="connsiteY1966" fmla="*/ 2275031 h 6078415"/>
                <a:gd name="connsiteX1967" fmla="*/ 2763080 w 11685910"/>
                <a:gd name="connsiteY1967" fmla="*/ 2271768 h 6078415"/>
                <a:gd name="connsiteX1968" fmla="*/ 2764140 w 11685910"/>
                <a:gd name="connsiteY1968" fmla="*/ 2271173 h 6078415"/>
                <a:gd name="connsiteX1969" fmla="*/ 2768093 w 11685910"/>
                <a:gd name="connsiteY1969" fmla="*/ 2251267 h 6078415"/>
                <a:gd name="connsiteX1970" fmla="*/ 2757610 w 11685910"/>
                <a:gd name="connsiteY1970" fmla="*/ 2261359 h 6078415"/>
                <a:gd name="connsiteX1971" fmla="*/ 2758523 w 11685910"/>
                <a:gd name="connsiteY1971" fmla="*/ 2254460 h 6078415"/>
                <a:gd name="connsiteX1972" fmla="*/ 2772168 w 11685910"/>
                <a:gd name="connsiteY1972" fmla="*/ 2245905 h 6078415"/>
                <a:gd name="connsiteX1973" fmla="*/ 2772168 w 11685910"/>
                <a:gd name="connsiteY1973" fmla="*/ 2269731 h 6078415"/>
                <a:gd name="connsiteX1974" fmla="*/ 2848509 w 11685910"/>
                <a:gd name="connsiteY1974" fmla="*/ 2221349 h 6078415"/>
                <a:gd name="connsiteX1975" fmla="*/ 2871120 w 11685910"/>
                <a:gd name="connsiteY1975" fmla="*/ 2204817 h 6078415"/>
                <a:gd name="connsiteX1976" fmla="*/ 2877156 w 11685910"/>
                <a:gd name="connsiteY1976" fmla="*/ 2204184 h 6078415"/>
                <a:gd name="connsiteX1977" fmla="*/ 2877855 w 11685910"/>
                <a:gd name="connsiteY1977" fmla="*/ 2202687 h 6078415"/>
                <a:gd name="connsiteX1978" fmla="*/ 2897135 w 11685910"/>
                <a:gd name="connsiteY1978" fmla="*/ 2184151 h 6078415"/>
                <a:gd name="connsiteX1979" fmla="*/ 2932806 w 11685910"/>
                <a:gd name="connsiteY1979" fmla="*/ 2176097 h 6078415"/>
                <a:gd name="connsiteX1980" fmla="*/ 11424848 w 11685910"/>
                <a:gd name="connsiteY1980" fmla="*/ 1933898 h 6078415"/>
                <a:gd name="connsiteX1981" fmla="*/ 11414386 w 11685910"/>
                <a:gd name="connsiteY1981" fmla="*/ 1982027 h 6078415"/>
                <a:gd name="connsiteX1982" fmla="*/ 11457109 w 11685910"/>
                <a:gd name="connsiteY1982" fmla="*/ 1982027 h 6078415"/>
                <a:gd name="connsiteX1983" fmla="*/ 11467397 w 11685910"/>
                <a:gd name="connsiteY1983" fmla="*/ 1933898 h 6078415"/>
                <a:gd name="connsiteX1984" fmla="*/ 5360511 w 11685910"/>
                <a:gd name="connsiteY1984" fmla="*/ 1933898 h 6078415"/>
                <a:gd name="connsiteX1985" fmla="*/ 5350048 w 11685910"/>
                <a:gd name="connsiteY1985" fmla="*/ 1982027 h 6078415"/>
                <a:gd name="connsiteX1986" fmla="*/ 5392771 w 11685910"/>
                <a:gd name="connsiteY1986" fmla="*/ 1982027 h 6078415"/>
                <a:gd name="connsiteX1987" fmla="*/ 5403060 w 11685910"/>
                <a:gd name="connsiteY1987" fmla="*/ 1933898 h 6078415"/>
                <a:gd name="connsiteX1988" fmla="*/ 11211940 w 11685910"/>
                <a:gd name="connsiteY1988" fmla="*/ 1847981 h 6078415"/>
                <a:gd name="connsiteX1989" fmla="*/ 11266626 w 11685910"/>
                <a:gd name="connsiteY1989" fmla="*/ 1887002 h 6078415"/>
                <a:gd name="connsiteX1990" fmla="*/ 11266626 w 11685910"/>
                <a:gd name="connsiteY1990" fmla="*/ 1923363 h 6078415"/>
                <a:gd name="connsiteX1991" fmla="*/ 11290570 w 11685910"/>
                <a:gd name="connsiteY1991" fmla="*/ 1950223 h 6078415"/>
                <a:gd name="connsiteX1992" fmla="*/ 11290570 w 11685910"/>
                <a:gd name="connsiteY1992" fmla="*/ 1968719 h 6078415"/>
                <a:gd name="connsiteX1993" fmla="*/ 11266626 w 11685910"/>
                <a:gd name="connsiteY1993" fmla="*/ 1995072 h 6078415"/>
                <a:gd name="connsiteX1994" fmla="*/ 11266626 w 11685910"/>
                <a:gd name="connsiteY1994" fmla="*/ 2032446 h 6078415"/>
                <a:gd name="connsiteX1995" fmla="*/ 11211940 w 11685910"/>
                <a:gd name="connsiteY1995" fmla="*/ 2070961 h 6078415"/>
                <a:gd name="connsiteX1996" fmla="*/ 11211940 w 11685910"/>
                <a:gd name="connsiteY1996" fmla="*/ 2051450 h 6078415"/>
                <a:gd name="connsiteX1997" fmla="*/ 11231018 w 11685910"/>
                <a:gd name="connsiteY1997" fmla="*/ 2045369 h 6078415"/>
                <a:gd name="connsiteX1998" fmla="*/ 11236657 w 11685910"/>
                <a:gd name="connsiteY1998" fmla="*/ 2026112 h 6078415"/>
                <a:gd name="connsiteX1999" fmla="*/ 11236657 w 11685910"/>
                <a:gd name="connsiteY1999" fmla="*/ 1990764 h 6078415"/>
                <a:gd name="connsiteX2000" fmla="*/ 11267089 w 11685910"/>
                <a:gd name="connsiteY2000" fmla="*/ 1959471 h 6078415"/>
                <a:gd name="connsiteX2001" fmla="*/ 11267089 w 11685910"/>
                <a:gd name="connsiteY2001" fmla="*/ 1959091 h 6078415"/>
                <a:gd name="connsiteX2002" fmla="*/ 11236657 w 11685910"/>
                <a:gd name="connsiteY2002" fmla="*/ 1927544 h 6078415"/>
                <a:gd name="connsiteX2003" fmla="*/ 11236657 w 11685910"/>
                <a:gd name="connsiteY2003" fmla="*/ 1891817 h 6078415"/>
                <a:gd name="connsiteX2004" fmla="*/ 11211940 w 11685910"/>
                <a:gd name="connsiteY2004" fmla="*/ 1867619 h 6078415"/>
                <a:gd name="connsiteX2005" fmla="*/ 11190621 w 11685910"/>
                <a:gd name="connsiteY2005" fmla="*/ 1847981 h 6078415"/>
                <a:gd name="connsiteX2006" fmla="*/ 11190621 w 11685910"/>
                <a:gd name="connsiteY2006" fmla="*/ 1867619 h 6078415"/>
                <a:gd name="connsiteX2007" fmla="*/ 11166059 w 11685910"/>
                <a:gd name="connsiteY2007" fmla="*/ 1891817 h 6078415"/>
                <a:gd name="connsiteX2008" fmla="*/ 11166059 w 11685910"/>
                <a:gd name="connsiteY2008" fmla="*/ 1927544 h 6078415"/>
                <a:gd name="connsiteX2009" fmla="*/ 11135318 w 11685910"/>
                <a:gd name="connsiteY2009" fmla="*/ 1959091 h 6078415"/>
                <a:gd name="connsiteX2010" fmla="*/ 11135318 w 11685910"/>
                <a:gd name="connsiteY2010" fmla="*/ 1959471 h 6078415"/>
                <a:gd name="connsiteX2011" fmla="*/ 11166059 w 11685910"/>
                <a:gd name="connsiteY2011" fmla="*/ 1990764 h 6078415"/>
                <a:gd name="connsiteX2012" fmla="*/ 11166059 w 11685910"/>
                <a:gd name="connsiteY2012" fmla="*/ 2026112 h 6078415"/>
                <a:gd name="connsiteX2013" fmla="*/ 11171543 w 11685910"/>
                <a:gd name="connsiteY2013" fmla="*/ 2045433 h 6078415"/>
                <a:gd name="connsiteX2014" fmla="*/ 11190621 w 11685910"/>
                <a:gd name="connsiteY2014" fmla="*/ 2051450 h 6078415"/>
                <a:gd name="connsiteX2015" fmla="*/ 11190621 w 11685910"/>
                <a:gd name="connsiteY2015" fmla="*/ 2070961 h 6078415"/>
                <a:gd name="connsiteX2016" fmla="*/ 11135627 w 11685910"/>
                <a:gd name="connsiteY2016" fmla="*/ 2032446 h 6078415"/>
                <a:gd name="connsiteX2017" fmla="*/ 11135627 w 11685910"/>
                <a:gd name="connsiteY2017" fmla="*/ 1995072 h 6078415"/>
                <a:gd name="connsiteX2018" fmla="*/ 11111528 w 11685910"/>
                <a:gd name="connsiteY2018" fmla="*/ 1968719 h 6078415"/>
                <a:gd name="connsiteX2019" fmla="*/ 11111528 w 11685910"/>
                <a:gd name="connsiteY2019" fmla="*/ 1950223 h 6078415"/>
                <a:gd name="connsiteX2020" fmla="*/ 11135627 w 11685910"/>
                <a:gd name="connsiteY2020" fmla="*/ 1923363 h 6078415"/>
                <a:gd name="connsiteX2021" fmla="*/ 11135627 w 11685910"/>
                <a:gd name="connsiteY2021" fmla="*/ 1887002 h 6078415"/>
                <a:gd name="connsiteX2022" fmla="*/ 11190621 w 11685910"/>
                <a:gd name="connsiteY2022" fmla="*/ 1847981 h 6078415"/>
                <a:gd name="connsiteX2023" fmla="*/ 8161190 w 11685910"/>
                <a:gd name="connsiteY2023" fmla="*/ 1847981 h 6078415"/>
                <a:gd name="connsiteX2024" fmla="*/ 8215876 w 11685910"/>
                <a:gd name="connsiteY2024" fmla="*/ 1887002 h 6078415"/>
                <a:gd name="connsiteX2025" fmla="*/ 8215876 w 11685910"/>
                <a:gd name="connsiteY2025" fmla="*/ 1923363 h 6078415"/>
                <a:gd name="connsiteX2026" fmla="*/ 8239820 w 11685910"/>
                <a:gd name="connsiteY2026" fmla="*/ 1950223 h 6078415"/>
                <a:gd name="connsiteX2027" fmla="*/ 8239820 w 11685910"/>
                <a:gd name="connsiteY2027" fmla="*/ 1968719 h 6078415"/>
                <a:gd name="connsiteX2028" fmla="*/ 8215876 w 11685910"/>
                <a:gd name="connsiteY2028" fmla="*/ 1995072 h 6078415"/>
                <a:gd name="connsiteX2029" fmla="*/ 8215876 w 11685910"/>
                <a:gd name="connsiteY2029" fmla="*/ 2032446 h 6078415"/>
                <a:gd name="connsiteX2030" fmla="*/ 8161190 w 11685910"/>
                <a:gd name="connsiteY2030" fmla="*/ 2070961 h 6078415"/>
                <a:gd name="connsiteX2031" fmla="*/ 8161190 w 11685910"/>
                <a:gd name="connsiteY2031" fmla="*/ 2051450 h 6078415"/>
                <a:gd name="connsiteX2032" fmla="*/ 8180268 w 11685910"/>
                <a:gd name="connsiteY2032" fmla="*/ 2045369 h 6078415"/>
                <a:gd name="connsiteX2033" fmla="*/ 8185907 w 11685910"/>
                <a:gd name="connsiteY2033" fmla="*/ 2026112 h 6078415"/>
                <a:gd name="connsiteX2034" fmla="*/ 8185907 w 11685910"/>
                <a:gd name="connsiteY2034" fmla="*/ 1990764 h 6078415"/>
                <a:gd name="connsiteX2035" fmla="*/ 8216339 w 11685910"/>
                <a:gd name="connsiteY2035" fmla="*/ 1959471 h 6078415"/>
                <a:gd name="connsiteX2036" fmla="*/ 8216339 w 11685910"/>
                <a:gd name="connsiteY2036" fmla="*/ 1959091 h 6078415"/>
                <a:gd name="connsiteX2037" fmla="*/ 8185907 w 11685910"/>
                <a:gd name="connsiteY2037" fmla="*/ 1927544 h 6078415"/>
                <a:gd name="connsiteX2038" fmla="*/ 8185907 w 11685910"/>
                <a:gd name="connsiteY2038" fmla="*/ 1891817 h 6078415"/>
                <a:gd name="connsiteX2039" fmla="*/ 8161190 w 11685910"/>
                <a:gd name="connsiteY2039" fmla="*/ 1867619 h 6078415"/>
                <a:gd name="connsiteX2040" fmla="*/ 8139871 w 11685910"/>
                <a:gd name="connsiteY2040" fmla="*/ 1847981 h 6078415"/>
                <a:gd name="connsiteX2041" fmla="*/ 8139871 w 11685910"/>
                <a:gd name="connsiteY2041" fmla="*/ 1867619 h 6078415"/>
                <a:gd name="connsiteX2042" fmla="*/ 8115310 w 11685910"/>
                <a:gd name="connsiteY2042" fmla="*/ 1891817 h 6078415"/>
                <a:gd name="connsiteX2043" fmla="*/ 8115310 w 11685910"/>
                <a:gd name="connsiteY2043" fmla="*/ 1927544 h 6078415"/>
                <a:gd name="connsiteX2044" fmla="*/ 8084568 w 11685910"/>
                <a:gd name="connsiteY2044" fmla="*/ 1959091 h 6078415"/>
                <a:gd name="connsiteX2045" fmla="*/ 8084568 w 11685910"/>
                <a:gd name="connsiteY2045" fmla="*/ 1959471 h 6078415"/>
                <a:gd name="connsiteX2046" fmla="*/ 8115310 w 11685910"/>
                <a:gd name="connsiteY2046" fmla="*/ 1990764 h 6078415"/>
                <a:gd name="connsiteX2047" fmla="*/ 8115310 w 11685910"/>
                <a:gd name="connsiteY2047" fmla="*/ 2026112 h 6078415"/>
                <a:gd name="connsiteX2048" fmla="*/ 8120793 w 11685910"/>
                <a:gd name="connsiteY2048" fmla="*/ 2045433 h 6078415"/>
                <a:gd name="connsiteX2049" fmla="*/ 8139871 w 11685910"/>
                <a:gd name="connsiteY2049" fmla="*/ 2051450 h 6078415"/>
                <a:gd name="connsiteX2050" fmla="*/ 8139871 w 11685910"/>
                <a:gd name="connsiteY2050" fmla="*/ 2070961 h 6078415"/>
                <a:gd name="connsiteX2051" fmla="*/ 8084877 w 11685910"/>
                <a:gd name="connsiteY2051" fmla="*/ 2032446 h 6078415"/>
                <a:gd name="connsiteX2052" fmla="*/ 8084877 w 11685910"/>
                <a:gd name="connsiteY2052" fmla="*/ 1995072 h 6078415"/>
                <a:gd name="connsiteX2053" fmla="*/ 8060778 w 11685910"/>
                <a:gd name="connsiteY2053" fmla="*/ 1968719 h 6078415"/>
                <a:gd name="connsiteX2054" fmla="*/ 8060778 w 11685910"/>
                <a:gd name="connsiteY2054" fmla="*/ 1950223 h 6078415"/>
                <a:gd name="connsiteX2055" fmla="*/ 8084877 w 11685910"/>
                <a:gd name="connsiteY2055" fmla="*/ 1923363 h 6078415"/>
                <a:gd name="connsiteX2056" fmla="*/ 8084877 w 11685910"/>
                <a:gd name="connsiteY2056" fmla="*/ 1887002 h 6078415"/>
                <a:gd name="connsiteX2057" fmla="*/ 8139871 w 11685910"/>
                <a:gd name="connsiteY2057" fmla="*/ 1847981 h 6078415"/>
                <a:gd name="connsiteX2058" fmla="*/ 5151280 w 11685910"/>
                <a:gd name="connsiteY2058" fmla="*/ 1847981 h 6078415"/>
                <a:gd name="connsiteX2059" fmla="*/ 5205966 w 11685910"/>
                <a:gd name="connsiteY2059" fmla="*/ 1887002 h 6078415"/>
                <a:gd name="connsiteX2060" fmla="*/ 5205966 w 11685910"/>
                <a:gd name="connsiteY2060" fmla="*/ 1923363 h 6078415"/>
                <a:gd name="connsiteX2061" fmla="*/ 5229911 w 11685910"/>
                <a:gd name="connsiteY2061" fmla="*/ 1950223 h 6078415"/>
                <a:gd name="connsiteX2062" fmla="*/ 5229911 w 11685910"/>
                <a:gd name="connsiteY2062" fmla="*/ 1968719 h 6078415"/>
                <a:gd name="connsiteX2063" fmla="*/ 5205966 w 11685910"/>
                <a:gd name="connsiteY2063" fmla="*/ 1995072 h 6078415"/>
                <a:gd name="connsiteX2064" fmla="*/ 5205966 w 11685910"/>
                <a:gd name="connsiteY2064" fmla="*/ 2032446 h 6078415"/>
                <a:gd name="connsiteX2065" fmla="*/ 5151280 w 11685910"/>
                <a:gd name="connsiteY2065" fmla="*/ 2070961 h 6078415"/>
                <a:gd name="connsiteX2066" fmla="*/ 5151280 w 11685910"/>
                <a:gd name="connsiteY2066" fmla="*/ 2051450 h 6078415"/>
                <a:gd name="connsiteX2067" fmla="*/ 5170358 w 11685910"/>
                <a:gd name="connsiteY2067" fmla="*/ 2045369 h 6078415"/>
                <a:gd name="connsiteX2068" fmla="*/ 5175999 w 11685910"/>
                <a:gd name="connsiteY2068" fmla="*/ 2026112 h 6078415"/>
                <a:gd name="connsiteX2069" fmla="*/ 5175999 w 11685910"/>
                <a:gd name="connsiteY2069" fmla="*/ 1990764 h 6078415"/>
                <a:gd name="connsiteX2070" fmla="*/ 5206429 w 11685910"/>
                <a:gd name="connsiteY2070" fmla="*/ 1959471 h 6078415"/>
                <a:gd name="connsiteX2071" fmla="*/ 5206429 w 11685910"/>
                <a:gd name="connsiteY2071" fmla="*/ 1959091 h 6078415"/>
                <a:gd name="connsiteX2072" fmla="*/ 5175999 w 11685910"/>
                <a:gd name="connsiteY2072" fmla="*/ 1927544 h 6078415"/>
                <a:gd name="connsiteX2073" fmla="*/ 5175999 w 11685910"/>
                <a:gd name="connsiteY2073" fmla="*/ 1891817 h 6078415"/>
                <a:gd name="connsiteX2074" fmla="*/ 5151280 w 11685910"/>
                <a:gd name="connsiteY2074" fmla="*/ 1867619 h 6078415"/>
                <a:gd name="connsiteX2075" fmla="*/ 5129963 w 11685910"/>
                <a:gd name="connsiteY2075" fmla="*/ 1847981 h 6078415"/>
                <a:gd name="connsiteX2076" fmla="*/ 5129963 w 11685910"/>
                <a:gd name="connsiteY2076" fmla="*/ 1867619 h 6078415"/>
                <a:gd name="connsiteX2077" fmla="*/ 5105400 w 11685910"/>
                <a:gd name="connsiteY2077" fmla="*/ 1891817 h 6078415"/>
                <a:gd name="connsiteX2078" fmla="*/ 5105400 w 11685910"/>
                <a:gd name="connsiteY2078" fmla="*/ 1927544 h 6078415"/>
                <a:gd name="connsiteX2079" fmla="*/ 5074658 w 11685910"/>
                <a:gd name="connsiteY2079" fmla="*/ 1959091 h 6078415"/>
                <a:gd name="connsiteX2080" fmla="*/ 5074658 w 11685910"/>
                <a:gd name="connsiteY2080" fmla="*/ 1959471 h 6078415"/>
                <a:gd name="connsiteX2081" fmla="*/ 5105400 w 11685910"/>
                <a:gd name="connsiteY2081" fmla="*/ 1990764 h 6078415"/>
                <a:gd name="connsiteX2082" fmla="*/ 5105400 w 11685910"/>
                <a:gd name="connsiteY2082" fmla="*/ 2026112 h 6078415"/>
                <a:gd name="connsiteX2083" fmla="*/ 5110885 w 11685910"/>
                <a:gd name="connsiteY2083" fmla="*/ 2045433 h 6078415"/>
                <a:gd name="connsiteX2084" fmla="*/ 5129963 w 11685910"/>
                <a:gd name="connsiteY2084" fmla="*/ 2051450 h 6078415"/>
                <a:gd name="connsiteX2085" fmla="*/ 5129963 w 11685910"/>
                <a:gd name="connsiteY2085" fmla="*/ 2070961 h 6078415"/>
                <a:gd name="connsiteX2086" fmla="*/ 5074967 w 11685910"/>
                <a:gd name="connsiteY2086" fmla="*/ 2032446 h 6078415"/>
                <a:gd name="connsiteX2087" fmla="*/ 5074967 w 11685910"/>
                <a:gd name="connsiteY2087" fmla="*/ 1995072 h 6078415"/>
                <a:gd name="connsiteX2088" fmla="*/ 5050869 w 11685910"/>
                <a:gd name="connsiteY2088" fmla="*/ 1968719 h 6078415"/>
                <a:gd name="connsiteX2089" fmla="*/ 5050869 w 11685910"/>
                <a:gd name="connsiteY2089" fmla="*/ 1950223 h 6078415"/>
                <a:gd name="connsiteX2090" fmla="*/ 5074967 w 11685910"/>
                <a:gd name="connsiteY2090" fmla="*/ 1923363 h 6078415"/>
                <a:gd name="connsiteX2091" fmla="*/ 5074967 w 11685910"/>
                <a:gd name="connsiteY2091" fmla="*/ 1887002 h 6078415"/>
                <a:gd name="connsiteX2092" fmla="*/ 5129963 w 11685910"/>
                <a:gd name="connsiteY2092" fmla="*/ 1847981 h 6078415"/>
                <a:gd name="connsiteX2093" fmla="*/ 2097668 w 11685910"/>
                <a:gd name="connsiteY2093" fmla="*/ 1847981 h 6078415"/>
                <a:gd name="connsiteX2094" fmla="*/ 2152352 w 11685910"/>
                <a:gd name="connsiteY2094" fmla="*/ 1887002 h 6078415"/>
                <a:gd name="connsiteX2095" fmla="*/ 2152352 w 11685910"/>
                <a:gd name="connsiteY2095" fmla="*/ 1923363 h 6078415"/>
                <a:gd name="connsiteX2096" fmla="*/ 2176297 w 11685910"/>
                <a:gd name="connsiteY2096" fmla="*/ 1950223 h 6078415"/>
                <a:gd name="connsiteX2097" fmla="*/ 2176297 w 11685910"/>
                <a:gd name="connsiteY2097" fmla="*/ 1968719 h 6078415"/>
                <a:gd name="connsiteX2098" fmla="*/ 2152352 w 11685910"/>
                <a:gd name="connsiteY2098" fmla="*/ 1995072 h 6078415"/>
                <a:gd name="connsiteX2099" fmla="*/ 2152352 w 11685910"/>
                <a:gd name="connsiteY2099" fmla="*/ 2032446 h 6078415"/>
                <a:gd name="connsiteX2100" fmla="*/ 2097668 w 11685910"/>
                <a:gd name="connsiteY2100" fmla="*/ 2070961 h 6078415"/>
                <a:gd name="connsiteX2101" fmla="*/ 2097668 w 11685910"/>
                <a:gd name="connsiteY2101" fmla="*/ 2051450 h 6078415"/>
                <a:gd name="connsiteX2102" fmla="*/ 2116745 w 11685910"/>
                <a:gd name="connsiteY2102" fmla="*/ 2045369 h 6078415"/>
                <a:gd name="connsiteX2103" fmla="*/ 2122383 w 11685910"/>
                <a:gd name="connsiteY2103" fmla="*/ 2026112 h 6078415"/>
                <a:gd name="connsiteX2104" fmla="*/ 2122383 w 11685910"/>
                <a:gd name="connsiteY2104" fmla="*/ 1990764 h 6078415"/>
                <a:gd name="connsiteX2105" fmla="*/ 2152815 w 11685910"/>
                <a:gd name="connsiteY2105" fmla="*/ 1959471 h 6078415"/>
                <a:gd name="connsiteX2106" fmla="*/ 2152815 w 11685910"/>
                <a:gd name="connsiteY2106" fmla="*/ 1959091 h 6078415"/>
                <a:gd name="connsiteX2107" fmla="*/ 2122383 w 11685910"/>
                <a:gd name="connsiteY2107" fmla="*/ 1927544 h 6078415"/>
                <a:gd name="connsiteX2108" fmla="*/ 2122383 w 11685910"/>
                <a:gd name="connsiteY2108" fmla="*/ 1891817 h 6078415"/>
                <a:gd name="connsiteX2109" fmla="*/ 2097668 w 11685910"/>
                <a:gd name="connsiteY2109" fmla="*/ 1867619 h 6078415"/>
                <a:gd name="connsiteX2110" fmla="*/ 2076347 w 11685910"/>
                <a:gd name="connsiteY2110" fmla="*/ 1847981 h 6078415"/>
                <a:gd name="connsiteX2111" fmla="*/ 2076347 w 11685910"/>
                <a:gd name="connsiteY2111" fmla="*/ 1867619 h 6078415"/>
                <a:gd name="connsiteX2112" fmla="*/ 2051785 w 11685910"/>
                <a:gd name="connsiteY2112" fmla="*/ 1891817 h 6078415"/>
                <a:gd name="connsiteX2113" fmla="*/ 2051785 w 11685910"/>
                <a:gd name="connsiteY2113" fmla="*/ 1927544 h 6078415"/>
                <a:gd name="connsiteX2114" fmla="*/ 2021044 w 11685910"/>
                <a:gd name="connsiteY2114" fmla="*/ 1959091 h 6078415"/>
                <a:gd name="connsiteX2115" fmla="*/ 2021044 w 11685910"/>
                <a:gd name="connsiteY2115" fmla="*/ 1959471 h 6078415"/>
                <a:gd name="connsiteX2116" fmla="*/ 2051785 w 11685910"/>
                <a:gd name="connsiteY2116" fmla="*/ 1990764 h 6078415"/>
                <a:gd name="connsiteX2117" fmla="*/ 2051785 w 11685910"/>
                <a:gd name="connsiteY2117" fmla="*/ 2026112 h 6078415"/>
                <a:gd name="connsiteX2118" fmla="*/ 2057270 w 11685910"/>
                <a:gd name="connsiteY2118" fmla="*/ 2045433 h 6078415"/>
                <a:gd name="connsiteX2119" fmla="*/ 2076347 w 11685910"/>
                <a:gd name="connsiteY2119" fmla="*/ 2051450 h 6078415"/>
                <a:gd name="connsiteX2120" fmla="*/ 2076347 w 11685910"/>
                <a:gd name="connsiteY2120" fmla="*/ 2070961 h 6078415"/>
                <a:gd name="connsiteX2121" fmla="*/ 2021353 w 11685910"/>
                <a:gd name="connsiteY2121" fmla="*/ 2032446 h 6078415"/>
                <a:gd name="connsiteX2122" fmla="*/ 2021353 w 11685910"/>
                <a:gd name="connsiteY2122" fmla="*/ 1995072 h 6078415"/>
                <a:gd name="connsiteX2123" fmla="*/ 1997254 w 11685910"/>
                <a:gd name="connsiteY2123" fmla="*/ 1968719 h 6078415"/>
                <a:gd name="connsiteX2124" fmla="*/ 1997254 w 11685910"/>
                <a:gd name="connsiteY2124" fmla="*/ 1950223 h 6078415"/>
                <a:gd name="connsiteX2125" fmla="*/ 2021353 w 11685910"/>
                <a:gd name="connsiteY2125" fmla="*/ 1923363 h 6078415"/>
                <a:gd name="connsiteX2126" fmla="*/ 2021353 w 11685910"/>
                <a:gd name="connsiteY2126" fmla="*/ 1887002 h 6078415"/>
                <a:gd name="connsiteX2127" fmla="*/ 2076347 w 11685910"/>
                <a:gd name="connsiteY2127" fmla="*/ 1847981 h 6078415"/>
                <a:gd name="connsiteX2128" fmla="*/ 11415781 w 11685910"/>
                <a:gd name="connsiteY2128" fmla="*/ 1842347 h 6078415"/>
                <a:gd name="connsiteX2129" fmla="*/ 11443856 w 11685910"/>
                <a:gd name="connsiteY2129" fmla="*/ 1842347 h 6078415"/>
                <a:gd name="connsiteX2130" fmla="*/ 11430080 w 11685910"/>
                <a:gd name="connsiteY2130" fmla="*/ 1909484 h 6078415"/>
                <a:gd name="connsiteX2131" fmla="*/ 11472280 w 11685910"/>
                <a:gd name="connsiteY2131" fmla="*/ 1909484 h 6078415"/>
                <a:gd name="connsiteX2132" fmla="*/ 11486579 w 11685910"/>
                <a:gd name="connsiteY2132" fmla="*/ 1842347 h 6078415"/>
                <a:gd name="connsiteX2133" fmla="*/ 11514132 w 11685910"/>
                <a:gd name="connsiteY2133" fmla="*/ 1842347 h 6078415"/>
                <a:gd name="connsiteX2134" fmla="*/ 11500181 w 11685910"/>
                <a:gd name="connsiteY2134" fmla="*/ 1909484 h 6078415"/>
                <a:gd name="connsiteX2135" fmla="*/ 11539940 w 11685910"/>
                <a:gd name="connsiteY2135" fmla="*/ 1909484 h 6078415"/>
                <a:gd name="connsiteX2136" fmla="*/ 11534534 w 11685910"/>
                <a:gd name="connsiteY2136" fmla="*/ 1933898 h 6078415"/>
                <a:gd name="connsiteX2137" fmla="*/ 11494950 w 11685910"/>
                <a:gd name="connsiteY2137" fmla="*/ 1933898 h 6078415"/>
                <a:gd name="connsiteX2138" fmla="*/ 11484836 w 11685910"/>
                <a:gd name="connsiteY2138" fmla="*/ 1982027 h 6078415"/>
                <a:gd name="connsiteX2139" fmla="*/ 11528082 w 11685910"/>
                <a:gd name="connsiteY2139" fmla="*/ 1982027 h 6078415"/>
                <a:gd name="connsiteX2140" fmla="*/ 11521978 w 11685910"/>
                <a:gd name="connsiteY2140" fmla="*/ 2006440 h 6078415"/>
                <a:gd name="connsiteX2141" fmla="*/ 11479779 w 11685910"/>
                <a:gd name="connsiteY2141" fmla="*/ 2006440 h 6078415"/>
                <a:gd name="connsiteX2142" fmla="*/ 11465479 w 11685910"/>
                <a:gd name="connsiteY2142" fmla="*/ 2070961 h 6078415"/>
                <a:gd name="connsiteX2143" fmla="*/ 11437752 w 11685910"/>
                <a:gd name="connsiteY2143" fmla="*/ 2070961 h 6078415"/>
                <a:gd name="connsiteX2144" fmla="*/ 11451703 w 11685910"/>
                <a:gd name="connsiteY2144" fmla="*/ 2006440 h 6078415"/>
                <a:gd name="connsiteX2145" fmla="*/ 11409503 w 11685910"/>
                <a:gd name="connsiteY2145" fmla="*/ 2006440 h 6078415"/>
                <a:gd name="connsiteX2146" fmla="*/ 11395901 w 11685910"/>
                <a:gd name="connsiteY2146" fmla="*/ 2070961 h 6078415"/>
                <a:gd name="connsiteX2147" fmla="*/ 11368175 w 11685910"/>
                <a:gd name="connsiteY2147" fmla="*/ 2070961 h 6078415"/>
                <a:gd name="connsiteX2148" fmla="*/ 11381776 w 11685910"/>
                <a:gd name="connsiteY2148" fmla="*/ 2006440 h 6078415"/>
                <a:gd name="connsiteX2149" fmla="*/ 11341843 w 11685910"/>
                <a:gd name="connsiteY2149" fmla="*/ 2006440 h 6078415"/>
                <a:gd name="connsiteX2150" fmla="*/ 11346725 w 11685910"/>
                <a:gd name="connsiteY2150" fmla="*/ 1982027 h 6078415"/>
                <a:gd name="connsiteX2151" fmla="*/ 11387182 w 11685910"/>
                <a:gd name="connsiteY2151" fmla="*/ 1982027 h 6078415"/>
                <a:gd name="connsiteX2152" fmla="*/ 11396773 w 11685910"/>
                <a:gd name="connsiteY2152" fmla="*/ 1933898 h 6078415"/>
                <a:gd name="connsiteX2153" fmla="*/ 11354224 w 11685910"/>
                <a:gd name="connsiteY2153" fmla="*/ 1933898 h 6078415"/>
                <a:gd name="connsiteX2154" fmla="*/ 11359281 w 11685910"/>
                <a:gd name="connsiteY2154" fmla="*/ 1909484 h 6078415"/>
                <a:gd name="connsiteX2155" fmla="*/ 11401830 w 11685910"/>
                <a:gd name="connsiteY2155" fmla="*/ 1909484 h 6078415"/>
                <a:gd name="connsiteX2156" fmla="*/ 5351443 w 11685910"/>
                <a:gd name="connsiteY2156" fmla="*/ 1842347 h 6078415"/>
                <a:gd name="connsiteX2157" fmla="*/ 5379518 w 11685910"/>
                <a:gd name="connsiteY2157" fmla="*/ 1842347 h 6078415"/>
                <a:gd name="connsiteX2158" fmla="*/ 5365742 w 11685910"/>
                <a:gd name="connsiteY2158" fmla="*/ 1909484 h 6078415"/>
                <a:gd name="connsiteX2159" fmla="*/ 5407943 w 11685910"/>
                <a:gd name="connsiteY2159" fmla="*/ 1909484 h 6078415"/>
                <a:gd name="connsiteX2160" fmla="*/ 5422241 w 11685910"/>
                <a:gd name="connsiteY2160" fmla="*/ 1842347 h 6078415"/>
                <a:gd name="connsiteX2161" fmla="*/ 5449794 w 11685910"/>
                <a:gd name="connsiteY2161" fmla="*/ 1842347 h 6078415"/>
                <a:gd name="connsiteX2162" fmla="*/ 5435844 w 11685910"/>
                <a:gd name="connsiteY2162" fmla="*/ 1909484 h 6078415"/>
                <a:gd name="connsiteX2163" fmla="*/ 5475602 w 11685910"/>
                <a:gd name="connsiteY2163" fmla="*/ 1909484 h 6078415"/>
                <a:gd name="connsiteX2164" fmla="*/ 5470197 w 11685910"/>
                <a:gd name="connsiteY2164" fmla="*/ 1933898 h 6078415"/>
                <a:gd name="connsiteX2165" fmla="*/ 5430612 w 11685910"/>
                <a:gd name="connsiteY2165" fmla="*/ 1933898 h 6078415"/>
                <a:gd name="connsiteX2166" fmla="*/ 5420499 w 11685910"/>
                <a:gd name="connsiteY2166" fmla="*/ 1982027 h 6078415"/>
                <a:gd name="connsiteX2167" fmla="*/ 5463745 w 11685910"/>
                <a:gd name="connsiteY2167" fmla="*/ 1982027 h 6078415"/>
                <a:gd name="connsiteX2168" fmla="*/ 5457641 w 11685910"/>
                <a:gd name="connsiteY2168" fmla="*/ 2006440 h 6078415"/>
                <a:gd name="connsiteX2169" fmla="*/ 5415441 w 11685910"/>
                <a:gd name="connsiteY2169" fmla="*/ 2006440 h 6078415"/>
                <a:gd name="connsiteX2170" fmla="*/ 5401143 w 11685910"/>
                <a:gd name="connsiteY2170" fmla="*/ 2070961 h 6078415"/>
                <a:gd name="connsiteX2171" fmla="*/ 5373415 w 11685910"/>
                <a:gd name="connsiteY2171" fmla="*/ 2070961 h 6078415"/>
                <a:gd name="connsiteX2172" fmla="*/ 5387365 w 11685910"/>
                <a:gd name="connsiteY2172" fmla="*/ 2006440 h 6078415"/>
                <a:gd name="connsiteX2173" fmla="*/ 5345166 w 11685910"/>
                <a:gd name="connsiteY2173" fmla="*/ 2006440 h 6078415"/>
                <a:gd name="connsiteX2174" fmla="*/ 5331563 w 11685910"/>
                <a:gd name="connsiteY2174" fmla="*/ 2070961 h 6078415"/>
                <a:gd name="connsiteX2175" fmla="*/ 5303838 w 11685910"/>
                <a:gd name="connsiteY2175" fmla="*/ 2070961 h 6078415"/>
                <a:gd name="connsiteX2176" fmla="*/ 5317438 w 11685910"/>
                <a:gd name="connsiteY2176" fmla="*/ 2006440 h 6078415"/>
                <a:gd name="connsiteX2177" fmla="*/ 5277506 w 11685910"/>
                <a:gd name="connsiteY2177" fmla="*/ 2006440 h 6078415"/>
                <a:gd name="connsiteX2178" fmla="*/ 5282388 w 11685910"/>
                <a:gd name="connsiteY2178" fmla="*/ 1982027 h 6078415"/>
                <a:gd name="connsiteX2179" fmla="*/ 5322844 w 11685910"/>
                <a:gd name="connsiteY2179" fmla="*/ 1982027 h 6078415"/>
                <a:gd name="connsiteX2180" fmla="*/ 5332435 w 11685910"/>
                <a:gd name="connsiteY2180" fmla="*/ 1933898 h 6078415"/>
                <a:gd name="connsiteX2181" fmla="*/ 5289887 w 11685910"/>
                <a:gd name="connsiteY2181" fmla="*/ 1933898 h 6078415"/>
                <a:gd name="connsiteX2182" fmla="*/ 5294944 w 11685910"/>
                <a:gd name="connsiteY2182" fmla="*/ 1909484 h 6078415"/>
                <a:gd name="connsiteX2183" fmla="*/ 5337492 w 11685910"/>
                <a:gd name="connsiteY2183" fmla="*/ 1909484 h 6078415"/>
                <a:gd name="connsiteX2184" fmla="*/ 6225654 w 11685910"/>
                <a:gd name="connsiteY2184" fmla="*/ 1697074 h 6078415"/>
                <a:gd name="connsiteX2185" fmla="*/ 6202463 w 11685910"/>
                <a:gd name="connsiteY2185" fmla="*/ 1736321 h 6078415"/>
                <a:gd name="connsiteX2186" fmla="*/ 6218875 w 11685910"/>
                <a:gd name="connsiteY2186" fmla="*/ 1739711 h 6078415"/>
                <a:gd name="connsiteX2187" fmla="*/ 6235287 w 11685910"/>
                <a:gd name="connsiteY2187" fmla="*/ 1736143 h 6078415"/>
                <a:gd name="connsiteX2188" fmla="*/ 6232344 w 11685910"/>
                <a:gd name="connsiteY2188" fmla="*/ 1726688 h 6078415"/>
                <a:gd name="connsiteX2189" fmla="*/ 6233325 w 11685910"/>
                <a:gd name="connsiteY2189" fmla="*/ 1713487 h 6078415"/>
                <a:gd name="connsiteX2190" fmla="*/ 6225654 w 11685910"/>
                <a:gd name="connsiteY2190" fmla="*/ 1697074 h 6078415"/>
                <a:gd name="connsiteX2191" fmla="*/ 179757 w 11685910"/>
                <a:gd name="connsiteY2191" fmla="*/ 1697074 h 6078415"/>
                <a:gd name="connsiteX2192" fmla="*/ 156566 w 11685910"/>
                <a:gd name="connsiteY2192" fmla="*/ 1736321 h 6078415"/>
                <a:gd name="connsiteX2193" fmla="*/ 172978 w 11685910"/>
                <a:gd name="connsiteY2193" fmla="*/ 1739711 h 6078415"/>
                <a:gd name="connsiteX2194" fmla="*/ 189390 w 11685910"/>
                <a:gd name="connsiteY2194" fmla="*/ 1736143 h 6078415"/>
                <a:gd name="connsiteX2195" fmla="*/ 186447 w 11685910"/>
                <a:gd name="connsiteY2195" fmla="*/ 1726688 h 6078415"/>
                <a:gd name="connsiteX2196" fmla="*/ 187428 w 11685910"/>
                <a:gd name="connsiteY2196" fmla="*/ 1713487 h 6078415"/>
                <a:gd name="connsiteX2197" fmla="*/ 179757 w 11685910"/>
                <a:gd name="connsiteY2197" fmla="*/ 1697074 h 6078415"/>
                <a:gd name="connsiteX2198" fmla="*/ 6065633 w 11685910"/>
                <a:gd name="connsiteY2198" fmla="*/ 1680662 h 6078415"/>
                <a:gd name="connsiteX2199" fmla="*/ 6051986 w 11685910"/>
                <a:gd name="connsiteY2199" fmla="*/ 1700910 h 6078415"/>
                <a:gd name="connsiteX2200" fmla="*/ 6073482 w 11685910"/>
                <a:gd name="connsiteY2200" fmla="*/ 1722496 h 6078415"/>
                <a:gd name="connsiteX2201" fmla="*/ 6082402 w 11685910"/>
                <a:gd name="connsiteY2201" fmla="*/ 1715271 h 6078415"/>
                <a:gd name="connsiteX2202" fmla="*/ 6065633 w 11685910"/>
                <a:gd name="connsiteY2202" fmla="*/ 1680662 h 6078415"/>
                <a:gd name="connsiteX2203" fmla="*/ 19736 w 11685910"/>
                <a:gd name="connsiteY2203" fmla="*/ 1680662 h 6078415"/>
                <a:gd name="connsiteX2204" fmla="*/ 6089 w 11685910"/>
                <a:gd name="connsiteY2204" fmla="*/ 1700910 h 6078415"/>
                <a:gd name="connsiteX2205" fmla="*/ 27585 w 11685910"/>
                <a:gd name="connsiteY2205" fmla="*/ 1722496 h 6078415"/>
                <a:gd name="connsiteX2206" fmla="*/ 36505 w 11685910"/>
                <a:gd name="connsiteY2206" fmla="*/ 1715271 h 6078415"/>
                <a:gd name="connsiteX2207" fmla="*/ 19736 w 11685910"/>
                <a:gd name="connsiteY2207" fmla="*/ 1680662 h 6078415"/>
                <a:gd name="connsiteX2208" fmla="*/ 6049245 w 11685910"/>
                <a:gd name="connsiteY2208" fmla="*/ 1612371 h 6078415"/>
                <a:gd name="connsiteX2209" fmla="*/ 6049044 w 11685910"/>
                <a:gd name="connsiteY2209" fmla="*/ 1613888 h 6078415"/>
                <a:gd name="connsiteX2210" fmla="*/ 6048978 w 11685910"/>
                <a:gd name="connsiteY2210" fmla="*/ 1612628 h 6078415"/>
                <a:gd name="connsiteX2211" fmla="*/ 3348 w 11685910"/>
                <a:gd name="connsiteY2211" fmla="*/ 1612371 h 6078415"/>
                <a:gd name="connsiteX2212" fmla="*/ 3147 w 11685910"/>
                <a:gd name="connsiteY2212" fmla="*/ 1613888 h 6078415"/>
                <a:gd name="connsiteX2213" fmla="*/ 3081 w 11685910"/>
                <a:gd name="connsiteY2213" fmla="*/ 1612628 h 6078415"/>
                <a:gd name="connsiteX2214" fmla="*/ 6251165 w 11685910"/>
                <a:gd name="connsiteY2214" fmla="*/ 1585177 h 6078415"/>
                <a:gd name="connsiteX2215" fmla="*/ 6247173 w 11685910"/>
                <a:gd name="connsiteY2215" fmla="*/ 1588031 h 6078415"/>
                <a:gd name="connsiteX2216" fmla="*/ 6254095 w 11685910"/>
                <a:gd name="connsiteY2216" fmla="*/ 1596401 h 6078415"/>
                <a:gd name="connsiteX2217" fmla="*/ 6260976 w 11685910"/>
                <a:gd name="connsiteY2217" fmla="*/ 1594675 h 6078415"/>
                <a:gd name="connsiteX2218" fmla="*/ 6234752 w 11685910"/>
                <a:gd name="connsiteY2218" fmla="*/ 1613853 h 6078415"/>
                <a:gd name="connsiteX2219" fmla="*/ 6239769 w 11685910"/>
                <a:gd name="connsiteY2219" fmla="*/ 1606230 h 6078415"/>
                <a:gd name="connsiteX2220" fmla="*/ 6231987 w 11685910"/>
                <a:gd name="connsiteY2220" fmla="*/ 1599269 h 6078415"/>
                <a:gd name="connsiteX2221" fmla="*/ 6227170 w 11685910"/>
                <a:gd name="connsiteY2221" fmla="*/ 1603328 h 6078415"/>
                <a:gd name="connsiteX2222" fmla="*/ 6251165 w 11685910"/>
                <a:gd name="connsiteY2222" fmla="*/ 1585177 h 6078415"/>
                <a:gd name="connsiteX2223" fmla="*/ 205268 w 11685910"/>
                <a:gd name="connsiteY2223" fmla="*/ 1585177 h 6078415"/>
                <a:gd name="connsiteX2224" fmla="*/ 201276 w 11685910"/>
                <a:gd name="connsiteY2224" fmla="*/ 1588031 h 6078415"/>
                <a:gd name="connsiteX2225" fmla="*/ 208198 w 11685910"/>
                <a:gd name="connsiteY2225" fmla="*/ 1596401 h 6078415"/>
                <a:gd name="connsiteX2226" fmla="*/ 215079 w 11685910"/>
                <a:gd name="connsiteY2226" fmla="*/ 1594675 h 6078415"/>
                <a:gd name="connsiteX2227" fmla="*/ 188855 w 11685910"/>
                <a:gd name="connsiteY2227" fmla="*/ 1613853 h 6078415"/>
                <a:gd name="connsiteX2228" fmla="*/ 193872 w 11685910"/>
                <a:gd name="connsiteY2228" fmla="*/ 1606230 h 6078415"/>
                <a:gd name="connsiteX2229" fmla="*/ 186090 w 11685910"/>
                <a:gd name="connsiteY2229" fmla="*/ 1599269 h 6078415"/>
                <a:gd name="connsiteX2230" fmla="*/ 181273 w 11685910"/>
                <a:gd name="connsiteY2230" fmla="*/ 1603328 h 6078415"/>
                <a:gd name="connsiteX2231" fmla="*/ 205268 w 11685910"/>
                <a:gd name="connsiteY2231" fmla="*/ 1585177 h 6078415"/>
                <a:gd name="connsiteX2232" fmla="*/ 6224596 w 11685910"/>
                <a:gd name="connsiteY2232" fmla="*/ 1568764 h 6078415"/>
                <a:gd name="connsiteX2233" fmla="*/ 6226880 w 11685910"/>
                <a:gd name="connsiteY2233" fmla="*/ 1568802 h 6078415"/>
                <a:gd name="connsiteX2234" fmla="*/ 6235020 w 11685910"/>
                <a:gd name="connsiteY2234" fmla="*/ 1570057 h 6078415"/>
                <a:gd name="connsiteX2235" fmla="*/ 6216110 w 11685910"/>
                <a:gd name="connsiteY2235" fmla="*/ 1588967 h 6078415"/>
                <a:gd name="connsiteX2236" fmla="*/ 6224596 w 11685910"/>
                <a:gd name="connsiteY2236" fmla="*/ 1568764 h 6078415"/>
                <a:gd name="connsiteX2237" fmla="*/ 178699 w 11685910"/>
                <a:gd name="connsiteY2237" fmla="*/ 1568764 h 6078415"/>
                <a:gd name="connsiteX2238" fmla="*/ 180983 w 11685910"/>
                <a:gd name="connsiteY2238" fmla="*/ 1568802 h 6078415"/>
                <a:gd name="connsiteX2239" fmla="*/ 189123 w 11685910"/>
                <a:gd name="connsiteY2239" fmla="*/ 1570057 h 6078415"/>
                <a:gd name="connsiteX2240" fmla="*/ 170213 w 11685910"/>
                <a:gd name="connsiteY2240" fmla="*/ 1588967 h 6078415"/>
                <a:gd name="connsiteX2241" fmla="*/ 178699 w 11685910"/>
                <a:gd name="connsiteY2241" fmla="*/ 1568764 h 6078415"/>
                <a:gd name="connsiteX2242" fmla="*/ 6327199 w 11685910"/>
                <a:gd name="connsiteY2242" fmla="*/ 1546688 h 6078415"/>
                <a:gd name="connsiteX2243" fmla="*/ 6319002 w 11685910"/>
                <a:gd name="connsiteY2243" fmla="*/ 1560609 h 6078415"/>
                <a:gd name="connsiteX2244" fmla="*/ 6306826 w 11685910"/>
                <a:gd name="connsiteY2244" fmla="*/ 1562599 h 6078415"/>
                <a:gd name="connsiteX2245" fmla="*/ 6317967 w 11685910"/>
                <a:gd name="connsiteY2245" fmla="*/ 1555970 h 6078415"/>
                <a:gd name="connsiteX2246" fmla="*/ 6327199 w 11685910"/>
                <a:gd name="connsiteY2246" fmla="*/ 1546688 h 6078415"/>
                <a:gd name="connsiteX2247" fmla="*/ 281302 w 11685910"/>
                <a:gd name="connsiteY2247" fmla="*/ 1546688 h 6078415"/>
                <a:gd name="connsiteX2248" fmla="*/ 273104 w 11685910"/>
                <a:gd name="connsiteY2248" fmla="*/ 1560609 h 6078415"/>
                <a:gd name="connsiteX2249" fmla="*/ 260929 w 11685910"/>
                <a:gd name="connsiteY2249" fmla="*/ 1562599 h 6078415"/>
                <a:gd name="connsiteX2250" fmla="*/ 272070 w 11685910"/>
                <a:gd name="connsiteY2250" fmla="*/ 1555970 h 6078415"/>
                <a:gd name="connsiteX2251" fmla="*/ 281302 w 11685910"/>
                <a:gd name="connsiteY2251" fmla="*/ 1546688 h 6078415"/>
                <a:gd name="connsiteX2252" fmla="*/ 6223262 w 11685910"/>
                <a:gd name="connsiteY2252" fmla="*/ 1527682 h 6078415"/>
                <a:gd name="connsiteX2253" fmla="*/ 6229125 w 11685910"/>
                <a:gd name="connsiteY2253" fmla="*/ 1528196 h 6078415"/>
                <a:gd name="connsiteX2254" fmla="*/ 6272110 w 11685910"/>
                <a:gd name="connsiteY2254" fmla="*/ 1557416 h 6078415"/>
                <a:gd name="connsiteX2255" fmla="*/ 6289981 w 11685910"/>
                <a:gd name="connsiteY2255" fmla="*/ 1578426 h 6078415"/>
                <a:gd name="connsiteX2256" fmla="*/ 6286841 w 11685910"/>
                <a:gd name="connsiteY2256" fmla="*/ 1586153 h 6078415"/>
                <a:gd name="connsiteX2257" fmla="*/ 6299867 w 11685910"/>
                <a:gd name="connsiteY2257" fmla="*/ 1596190 h 6078415"/>
                <a:gd name="connsiteX2258" fmla="*/ 6298191 w 11685910"/>
                <a:gd name="connsiteY2258" fmla="*/ 1559107 h 6078415"/>
                <a:gd name="connsiteX2259" fmla="*/ 6313405 w 11685910"/>
                <a:gd name="connsiteY2259" fmla="*/ 1549447 h 6078415"/>
                <a:gd name="connsiteX2260" fmla="*/ 6325238 w 11685910"/>
                <a:gd name="connsiteY2260" fmla="*/ 1538338 h 6078415"/>
                <a:gd name="connsiteX2261" fmla="*/ 6347938 w 11685910"/>
                <a:gd name="connsiteY2261" fmla="*/ 1600401 h 6078415"/>
                <a:gd name="connsiteX2262" fmla="*/ 6310507 w 11685910"/>
                <a:gd name="connsiteY2262" fmla="*/ 1668260 h 6078415"/>
                <a:gd name="connsiteX2263" fmla="*/ 6278696 w 11685910"/>
                <a:gd name="connsiteY2263" fmla="*/ 1668973 h 6078415"/>
                <a:gd name="connsiteX2264" fmla="*/ 6274716 w 11685910"/>
                <a:gd name="connsiteY2264" fmla="*/ 1667587 h 6078415"/>
                <a:gd name="connsiteX2265" fmla="*/ 6274239 w 11685910"/>
                <a:gd name="connsiteY2265" fmla="*/ 1669848 h 6078415"/>
                <a:gd name="connsiteX2266" fmla="*/ 6249652 w 11685910"/>
                <a:gd name="connsiteY2266" fmla="*/ 1689752 h 6078415"/>
                <a:gd name="connsiteX2267" fmla="*/ 6228159 w 11685910"/>
                <a:gd name="connsiteY2267" fmla="*/ 1680092 h 6078415"/>
                <a:gd name="connsiteX2268" fmla="*/ 6227193 w 11685910"/>
                <a:gd name="connsiteY2268" fmla="*/ 1692650 h 6078415"/>
                <a:gd name="connsiteX2269" fmla="*/ 6236853 w 11685910"/>
                <a:gd name="connsiteY2269" fmla="*/ 1713176 h 6078415"/>
                <a:gd name="connsiteX2270" fmla="*/ 6236370 w 11685910"/>
                <a:gd name="connsiteY2270" fmla="*/ 1724285 h 6078415"/>
                <a:gd name="connsiteX2271" fmla="*/ 6238543 w 11685910"/>
                <a:gd name="connsiteY2271" fmla="*/ 1738050 h 6078415"/>
                <a:gd name="connsiteX2272" fmla="*/ 6222605 w 11685910"/>
                <a:gd name="connsiteY2272" fmla="*/ 1743846 h 6078415"/>
                <a:gd name="connsiteX2273" fmla="*/ 6197731 w 11685910"/>
                <a:gd name="connsiteY2273" fmla="*/ 1738533 h 6078415"/>
                <a:gd name="connsiteX2274" fmla="*/ 6196972 w 11685910"/>
                <a:gd name="connsiteY2274" fmla="*/ 1734079 h 6078415"/>
                <a:gd name="connsiteX2275" fmla="*/ 6196932 w 11685910"/>
                <a:gd name="connsiteY2275" fmla="*/ 1732734 h 6078415"/>
                <a:gd name="connsiteX2276" fmla="*/ 6193193 w 11685910"/>
                <a:gd name="connsiteY2276" fmla="*/ 1736278 h 6078415"/>
                <a:gd name="connsiteX2277" fmla="*/ 6169719 w 11685910"/>
                <a:gd name="connsiteY2277" fmla="*/ 1750607 h 6078415"/>
                <a:gd name="connsiteX2278" fmla="*/ 6146294 w 11685910"/>
                <a:gd name="connsiteY2278" fmla="*/ 1722353 h 6078415"/>
                <a:gd name="connsiteX2279" fmla="*/ 6157161 w 11685910"/>
                <a:gd name="connsiteY2279" fmla="*/ 1710520 h 6078415"/>
                <a:gd name="connsiteX2280" fmla="*/ 6132288 w 11685910"/>
                <a:gd name="connsiteY2280" fmla="*/ 1708105 h 6078415"/>
                <a:gd name="connsiteX2281" fmla="*/ 6131322 w 11685910"/>
                <a:gd name="connsiteY2281" fmla="*/ 1718972 h 6078415"/>
                <a:gd name="connsiteX2282" fmla="*/ 6125043 w 11685910"/>
                <a:gd name="connsiteY2282" fmla="*/ 1729598 h 6078415"/>
                <a:gd name="connsiteX2283" fmla="*/ 6119972 w 11685910"/>
                <a:gd name="connsiteY2283" fmla="*/ 1748675 h 6078415"/>
                <a:gd name="connsiteX2284" fmla="*/ 6079884 w 11685910"/>
                <a:gd name="connsiteY2284" fmla="*/ 1740223 h 6078415"/>
                <a:gd name="connsiteX2285" fmla="*/ 6080850 w 11685910"/>
                <a:gd name="connsiteY2285" fmla="*/ 1726217 h 6078415"/>
                <a:gd name="connsiteX2286" fmla="*/ 6071191 w 11685910"/>
                <a:gd name="connsiteY2286" fmla="*/ 1728149 h 6078415"/>
                <a:gd name="connsiteX2287" fmla="*/ 6046076 w 11685910"/>
                <a:gd name="connsiteY2287" fmla="*/ 1702309 h 6078415"/>
                <a:gd name="connsiteX2288" fmla="*/ 6061290 w 11685910"/>
                <a:gd name="connsiteY2288" fmla="*/ 1675746 h 6078415"/>
                <a:gd name="connsiteX2289" fmla="*/ 6062739 w 11685910"/>
                <a:gd name="connsiteY2289" fmla="*/ 1649182 h 6078415"/>
                <a:gd name="connsiteX2290" fmla="*/ 6047283 w 11685910"/>
                <a:gd name="connsiteY2290" fmla="*/ 1627206 h 6078415"/>
                <a:gd name="connsiteX2291" fmla="*/ 6049044 w 11685910"/>
                <a:gd name="connsiteY2291" fmla="*/ 1613888 h 6078415"/>
                <a:gd name="connsiteX2292" fmla="*/ 6049503 w 11685910"/>
                <a:gd name="connsiteY2292" fmla="*/ 1622608 h 6078415"/>
                <a:gd name="connsiteX2293" fmla="*/ 6050326 w 11685910"/>
                <a:gd name="connsiteY2293" fmla="*/ 1623003 h 6078415"/>
                <a:gd name="connsiteX2294" fmla="*/ 6050449 w 11685910"/>
                <a:gd name="connsiteY2294" fmla="*/ 1624178 h 6078415"/>
                <a:gd name="connsiteX2295" fmla="*/ 6070004 w 11685910"/>
                <a:gd name="connsiteY2295" fmla="*/ 1638025 h 6078415"/>
                <a:gd name="connsiteX2296" fmla="*/ 6088227 w 11685910"/>
                <a:gd name="connsiteY2296" fmla="*/ 1708655 h 6078415"/>
                <a:gd name="connsiteX2297" fmla="*/ 6089189 w 11685910"/>
                <a:gd name="connsiteY2297" fmla="*/ 1710504 h 6078415"/>
                <a:gd name="connsiteX2298" fmla="*/ 6089155 w 11685910"/>
                <a:gd name="connsiteY2298" fmla="*/ 1711372 h 6078415"/>
                <a:gd name="connsiteX2299" fmla="*/ 6087754 w 11685910"/>
                <a:gd name="connsiteY2299" fmla="*/ 1724815 h 6078415"/>
                <a:gd name="connsiteX2300" fmla="*/ 6084454 w 11685910"/>
                <a:gd name="connsiteY2300" fmla="*/ 1736143 h 6078415"/>
                <a:gd name="connsiteX2301" fmla="*/ 6118617 w 11685910"/>
                <a:gd name="connsiteY2301" fmla="*/ 1742743 h 6078415"/>
                <a:gd name="connsiteX2302" fmla="*/ 6119776 w 11685910"/>
                <a:gd name="connsiteY2302" fmla="*/ 1731861 h 6078415"/>
                <a:gd name="connsiteX2303" fmla="*/ 6126377 w 11685910"/>
                <a:gd name="connsiteY2303" fmla="*/ 1717679 h 6078415"/>
                <a:gd name="connsiteX2304" fmla="*/ 6126656 w 11685910"/>
                <a:gd name="connsiteY2304" fmla="*/ 1702571 h 6078415"/>
                <a:gd name="connsiteX2305" fmla="*/ 6126448 w 11685910"/>
                <a:gd name="connsiteY2305" fmla="*/ 1696892 h 6078415"/>
                <a:gd name="connsiteX2306" fmla="*/ 6128036 w 11685910"/>
                <a:gd name="connsiteY2306" fmla="*/ 1698741 h 6078415"/>
                <a:gd name="connsiteX2307" fmla="*/ 6167408 w 11685910"/>
                <a:gd name="connsiteY2307" fmla="*/ 1696539 h 6078415"/>
                <a:gd name="connsiteX2308" fmla="*/ 6168300 w 11685910"/>
                <a:gd name="connsiteY2308" fmla="*/ 1710276 h 6078415"/>
                <a:gd name="connsiteX2309" fmla="*/ 6151263 w 11685910"/>
                <a:gd name="connsiteY2309" fmla="*/ 1722942 h 6078415"/>
                <a:gd name="connsiteX2310" fmla="*/ 6170173 w 11685910"/>
                <a:gd name="connsiteY2310" fmla="*/ 1745865 h 6078415"/>
                <a:gd name="connsiteX2311" fmla="*/ 6205228 w 11685910"/>
                <a:gd name="connsiteY2311" fmla="*/ 1718125 h 6078415"/>
                <a:gd name="connsiteX2312" fmla="*/ 6224316 w 11685910"/>
                <a:gd name="connsiteY2312" fmla="*/ 1676291 h 6078415"/>
                <a:gd name="connsiteX2313" fmla="*/ 6207453 w 11685910"/>
                <a:gd name="connsiteY2313" fmla="*/ 1658029 h 6078415"/>
                <a:gd name="connsiteX2314" fmla="*/ 6207259 w 11685910"/>
                <a:gd name="connsiteY2314" fmla="*/ 1657520 h 6078415"/>
                <a:gd name="connsiteX2315" fmla="*/ 6209877 w 11685910"/>
                <a:gd name="connsiteY2315" fmla="*/ 1659168 h 6078415"/>
                <a:gd name="connsiteX2316" fmla="*/ 6229044 w 11685910"/>
                <a:gd name="connsiteY2316" fmla="*/ 1669780 h 6078415"/>
                <a:gd name="connsiteX2317" fmla="*/ 6250362 w 11685910"/>
                <a:gd name="connsiteY2317" fmla="*/ 1684230 h 6078415"/>
                <a:gd name="connsiteX2318" fmla="*/ 6271323 w 11685910"/>
                <a:gd name="connsiteY2318" fmla="*/ 1665855 h 6078415"/>
                <a:gd name="connsiteX2319" fmla="*/ 6268023 w 11685910"/>
                <a:gd name="connsiteY2319" fmla="*/ 1665588 h 6078415"/>
                <a:gd name="connsiteX2320" fmla="*/ 6240230 w 11685910"/>
                <a:gd name="connsiteY2320" fmla="*/ 1643440 h 6078415"/>
                <a:gd name="connsiteX2321" fmla="*/ 6241155 w 11685910"/>
                <a:gd name="connsiteY2321" fmla="*/ 1638664 h 6078415"/>
                <a:gd name="connsiteX2322" fmla="*/ 6242907 w 11685910"/>
                <a:gd name="connsiteY2322" fmla="*/ 1640573 h 6078415"/>
                <a:gd name="connsiteX2323" fmla="*/ 6314674 w 11685910"/>
                <a:gd name="connsiteY2323" fmla="*/ 1658720 h 6078415"/>
                <a:gd name="connsiteX2324" fmla="*/ 6326537 w 11685910"/>
                <a:gd name="connsiteY2324" fmla="*/ 1541603 h 6078415"/>
                <a:gd name="connsiteX2325" fmla="*/ 6317260 w 11685910"/>
                <a:gd name="connsiteY2325" fmla="*/ 1552307 h 6078415"/>
                <a:gd name="connsiteX2326" fmla="*/ 6303702 w 11685910"/>
                <a:gd name="connsiteY2326" fmla="*/ 1559175 h 6078415"/>
                <a:gd name="connsiteX2327" fmla="*/ 6295225 w 11685910"/>
                <a:gd name="connsiteY2327" fmla="*/ 1619971 h 6078415"/>
                <a:gd name="connsiteX2328" fmla="*/ 6293745 w 11685910"/>
                <a:gd name="connsiteY2328" fmla="*/ 1621138 h 6078415"/>
                <a:gd name="connsiteX2329" fmla="*/ 6294056 w 11685910"/>
                <a:gd name="connsiteY2329" fmla="*/ 1620537 h 6078415"/>
                <a:gd name="connsiteX2330" fmla="*/ 6297280 w 11685910"/>
                <a:gd name="connsiteY2330" fmla="*/ 1601454 h 6078415"/>
                <a:gd name="connsiteX2331" fmla="*/ 6284703 w 11685910"/>
                <a:gd name="connsiteY2331" fmla="*/ 1603863 h 6078415"/>
                <a:gd name="connsiteX2332" fmla="*/ 6286041 w 11685910"/>
                <a:gd name="connsiteY2332" fmla="*/ 1593427 h 6078415"/>
                <a:gd name="connsiteX2333" fmla="*/ 6274267 w 11685910"/>
                <a:gd name="connsiteY2333" fmla="*/ 1593337 h 6078415"/>
                <a:gd name="connsiteX2334" fmla="*/ 6277656 w 11685910"/>
                <a:gd name="connsiteY2334" fmla="*/ 1585577 h 6078415"/>
                <a:gd name="connsiteX2335" fmla="*/ 6270849 w 11685910"/>
                <a:gd name="connsiteY2335" fmla="*/ 1582433 h 6078415"/>
                <a:gd name="connsiteX2336" fmla="*/ 6268963 w 11685910"/>
                <a:gd name="connsiteY2336" fmla="*/ 1582446 h 6078415"/>
                <a:gd name="connsiteX2337" fmla="*/ 6270514 w 11685910"/>
                <a:gd name="connsiteY2337" fmla="*/ 1581889 h 6078415"/>
                <a:gd name="connsiteX2338" fmla="*/ 6272840 w 11685910"/>
                <a:gd name="connsiteY2338" fmla="*/ 1581207 h 6078415"/>
                <a:gd name="connsiteX2339" fmla="*/ 6284079 w 11685910"/>
                <a:gd name="connsiteY2339" fmla="*/ 1578620 h 6078415"/>
                <a:gd name="connsiteX2340" fmla="*/ 6272661 w 11685910"/>
                <a:gd name="connsiteY2340" fmla="*/ 1564081 h 6078415"/>
                <a:gd name="connsiteX2341" fmla="*/ 6260762 w 11685910"/>
                <a:gd name="connsiteY2341" fmla="*/ 1562621 h 6078415"/>
                <a:gd name="connsiteX2342" fmla="*/ 6259663 w 11685910"/>
                <a:gd name="connsiteY2342" fmla="*/ 1562563 h 6078415"/>
                <a:gd name="connsiteX2343" fmla="*/ 6259672 w 11685910"/>
                <a:gd name="connsiteY2343" fmla="*/ 1562539 h 6078415"/>
                <a:gd name="connsiteX2344" fmla="*/ 6267399 w 11685910"/>
                <a:gd name="connsiteY2344" fmla="*/ 1560156 h 6078415"/>
                <a:gd name="connsiteX2345" fmla="*/ 6225030 w 11685910"/>
                <a:gd name="connsiteY2345" fmla="*/ 1534200 h 6078415"/>
                <a:gd name="connsiteX2346" fmla="*/ 6174900 w 11685910"/>
                <a:gd name="connsiteY2346" fmla="*/ 1557658 h 6078415"/>
                <a:gd name="connsiteX2347" fmla="*/ 6189037 w 11685910"/>
                <a:gd name="connsiteY2347" fmla="*/ 1557983 h 6078415"/>
                <a:gd name="connsiteX2348" fmla="*/ 6189610 w 11685910"/>
                <a:gd name="connsiteY2348" fmla="*/ 1558067 h 6078415"/>
                <a:gd name="connsiteX2349" fmla="*/ 6187216 w 11685910"/>
                <a:gd name="connsiteY2349" fmla="*/ 1558718 h 6078415"/>
                <a:gd name="connsiteX2350" fmla="*/ 6162783 w 11685910"/>
                <a:gd name="connsiteY2350" fmla="*/ 1563799 h 6078415"/>
                <a:gd name="connsiteX2351" fmla="*/ 6116620 w 11685910"/>
                <a:gd name="connsiteY2351" fmla="*/ 1623678 h 6078415"/>
                <a:gd name="connsiteX2352" fmla="*/ 6130507 w 11685910"/>
                <a:gd name="connsiteY2352" fmla="*/ 1645641 h 6078415"/>
                <a:gd name="connsiteX2353" fmla="*/ 6144916 w 11685910"/>
                <a:gd name="connsiteY2353" fmla="*/ 1629215 h 6078415"/>
                <a:gd name="connsiteX2354" fmla="*/ 6128058 w 11685910"/>
                <a:gd name="connsiteY2354" fmla="*/ 1664085 h 6078415"/>
                <a:gd name="connsiteX2355" fmla="*/ 6143880 w 11685910"/>
                <a:gd name="connsiteY2355" fmla="*/ 1673403 h 6078415"/>
                <a:gd name="connsiteX2356" fmla="*/ 6170852 w 11685910"/>
                <a:gd name="connsiteY2356" fmla="*/ 1660051 h 6078415"/>
                <a:gd name="connsiteX2357" fmla="*/ 6188143 w 11685910"/>
                <a:gd name="connsiteY2357" fmla="*/ 1658321 h 6078415"/>
                <a:gd name="connsiteX2358" fmla="*/ 6194339 w 11685910"/>
                <a:gd name="connsiteY2358" fmla="*/ 1589735 h 6078415"/>
                <a:gd name="connsiteX2359" fmla="*/ 6195059 w 11685910"/>
                <a:gd name="connsiteY2359" fmla="*/ 1667111 h 6078415"/>
                <a:gd name="connsiteX2360" fmla="*/ 6192966 w 11685910"/>
                <a:gd name="connsiteY2360" fmla="*/ 1666768 h 6078415"/>
                <a:gd name="connsiteX2361" fmla="*/ 6190315 w 11685910"/>
                <a:gd name="connsiteY2361" fmla="*/ 1666090 h 6078415"/>
                <a:gd name="connsiteX2362" fmla="*/ 6187599 w 11685910"/>
                <a:gd name="connsiteY2362" fmla="*/ 1665666 h 6078415"/>
                <a:gd name="connsiteX2363" fmla="*/ 6186838 w 11685910"/>
                <a:gd name="connsiteY2363" fmla="*/ 1665490 h 6078415"/>
                <a:gd name="connsiteX2364" fmla="*/ 6180113 w 11685910"/>
                <a:gd name="connsiteY2364" fmla="*/ 1665262 h 6078415"/>
                <a:gd name="connsiteX2365" fmla="*/ 6179134 w 11685910"/>
                <a:gd name="connsiteY2365" fmla="*/ 1665490 h 6078415"/>
                <a:gd name="connsiteX2366" fmla="*/ 6178542 w 11685910"/>
                <a:gd name="connsiteY2366" fmla="*/ 1665541 h 6078415"/>
                <a:gd name="connsiteX2367" fmla="*/ 6139578 w 11685910"/>
                <a:gd name="connsiteY2367" fmla="*/ 1681375 h 6078415"/>
                <a:gd name="connsiteX2368" fmla="*/ 6117388 w 11685910"/>
                <a:gd name="connsiteY2368" fmla="*/ 1663777 h 6078415"/>
                <a:gd name="connsiteX2369" fmla="*/ 6116933 w 11685910"/>
                <a:gd name="connsiteY2369" fmla="*/ 1663187 h 6078415"/>
                <a:gd name="connsiteX2370" fmla="*/ 6118644 w 11685910"/>
                <a:gd name="connsiteY2370" fmla="*/ 1660328 h 6078415"/>
                <a:gd name="connsiteX2371" fmla="*/ 6124682 w 11685910"/>
                <a:gd name="connsiteY2371" fmla="*/ 1651583 h 6078415"/>
                <a:gd name="connsiteX2372" fmla="*/ 6107734 w 11685910"/>
                <a:gd name="connsiteY2372" fmla="*/ 1624735 h 6078415"/>
                <a:gd name="connsiteX2373" fmla="*/ 6137794 w 11685910"/>
                <a:gd name="connsiteY2373" fmla="*/ 1578887 h 6078415"/>
                <a:gd name="connsiteX2374" fmla="*/ 6058278 w 11685910"/>
                <a:gd name="connsiteY2374" fmla="*/ 1625950 h 6078415"/>
                <a:gd name="connsiteX2375" fmla="*/ 6054677 w 11685910"/>
                <a:gd name="connsiteY2375" fmla="*/ 1622709 h 6078415"/>
                <a:gd name="connsiteX2376" fmla="*/ 6055730 w 11685910"/>
                <a:gd name="connsiteY2376" fmla="*/ 1622118 h 6078415"/>
                <a:gd name="connsiteX2377" fmla="*/ 6059657 w 11685910"/>
                <a:gd name="connsiteY2377" fmla="*/ 1602346 h 6078415"/>
                <a:gd name="connsiteX2378" fmla="*/ 6049245 w 11685910"/>
                <a:gd name="connsiteY2378" fmla="*/ 1612371 h 6078415"/>
                <a:gd name="connsiteX2379" fmla="*/ 6050151 w 11685910"/>
                <a:gd name="connsiteY2379" fmla="*/ 1605518 h 6078415"/>
                <a:gd name="connsiteX2380" fmla="*/ 6063705 w 11685910"/>
                <a:gd name="connsiteY2380" fmla="*/ 1597020 h 6078415"/>
                <a:gd name="connsiteX2381" fmla="*/ 6063705 w 11685910"/>
                <a:gd name="connsiteY2381" fmla="*/ 1620686 h 6078415"/>
                <a:gd name="connsiteX2382" fmla="*/ 6139532 w 11685910"/>
                <a:gd name="connsiteY2382" fmla="*/ 1572630 h 6078415"/>
                <a:gd name="connsiteX2383" fmla="*/ 6161991 w 11685910"/>
                <a:gd name="connsiteY2383" fmla="*/ 1556208 h 6078415"/>
                <a:gd name="connsiteX2384" fmla="*/ 6167986 w 11685910"/>
                <a:gd name="connsiteY2384" fmla="*/ 1555580 h 6078415"/>
                <a:gd name="connsiteX2385" fmla="*/ 6168681 w 11685910"/>
                <a:gd name="connsiteY2385" fmla="*/ 1554093 h 6078415"/>
                <a:gd name="connsiteX2386" fmla="*/ 6187831 w 11685910"/>
                <a:gd name="connsiteY2386" fmla="*/ 1535682 h 6078415"/>
                <a:gd name="connsiteX2387" fmla="*/ 6223262 w 11685910"/>
                <a:gd name="connsiteY2387" fmla="*/ 1527682 h 6078415"/>
                <a:gd name="connsiteX2388" fmla="*/ 177365 w 11685910"/>
                <a:gd name="connsiteY2388" fmla="*/ 1527682 h 6078415"/>
                <a:gd name="connsiteX2389" fmla="*/ 183228 w 11685910"/>
                <a:gd name="connsiteY2389" fmla="*/ 1528196 h 6078415"/>
                <a:gd name="connsiteX2390" fmla="*/ 226214 w 11685910"/>
                <a:gd name="connsiteY2390" fmla="*/ 1557416 h 6078415"/>
                <a:gd name="connsiteX2391" fmla="*/ 244084 w 11685910"/>
                <a:gd name="connsiteY2391" fmla="*/ 1578426 h 6078415"/>
                <a:gd name="connsiteX2392" fmla="*/ 240944 w 11685910"/>
                <a:gd name="connsiteY2392" fmla="*/ 1586153 h 6078415"/>
                <a:gd name="connsiteX2393" fmla="*/ 253970 w 11685910"/>
                <a:gd name="connsiteY2393" fmla="*/ 1596190 h 6078415"/>
                <a:gd name="connsiteX2394" fmla="*/ 252294 w 11685910"/>
                <a:gd name="connsiteY2394" fmla="*/ 1559107 h 6078415"/>
                <a:gd name="connsiteX2395" fmla="*/ 267508 w 11685910"/>
                <a:gd name="connsiteY2395" fmla="*/ 1549447 h 6078415"/>
                <a:gd name="connsiteX2396" fmla="*/ 279341 w 11685910"/>
                <a:gd name="connsiteY2396" fmla="*/ 1538338 h 6078415"/>
                <a:gd name="connsiteX2397" fmla="*/ 302041 w 11685910"/>
                <a:gd name="connsiteY2397" fmla="*/ 1600401 h 6078415"/>
                <a:gd name="connsiteX2398" fmla="*/ 264610 w 11685910"/>
                <a:gd name="connsiteY2398" fmla="*/ 1668260 h 6078415"/>
                <a:gd name="connsiteX2399" fmla="*/ 232799 w 11685910"/>
                <a:gd name="connsiteY2399" fmla="*/ 1668973 h 6078415"/>
                <a:gd name="connsiteX2400" fmla="*/ 228819 w 11685910"/>
                <a:gd name="connsiteY2400" fmla="*/ 1667587 h 6078415"/>
                <a:gd name="connsiteX2401" fmla="*/ 228342 w 11685910"/>
                <a:gd name="connsiteY2401" fmla="*/ 1669848 h 6078415"/>
                <a:gd name="connsiteX2402" fmla="*/ 203755 w 11685910"/>
                <a:gd name="connsiteY2402" fmla="*/ 1689752 h 6078415"/>
                <a:gd name="connsiteX2403" fmla="*/ 182262 w 11685910"/>
                <a:gd name="connsiteY2403" fmla="*/ 1680092 h 6078415"/>
                <a:gd name="connsiteX2404" fmla="*/ 181296 w 11685910"/>
                <a:gd name="connsiteY2404" fmla="*/ 1692650 h 6078415"/>
                <a:gd name="connsiteX2405" fmla="*/ 190956 w 11685910"/>
                <a:gd name="connsiteY2405" fmla="*/ 1713176 h 6078415"/>
                <a:gd name="connsiteX2406" fmla="*/ 190473 w 11685910"/>
                <a:gd name="connsiteY2406" fmla="*/ 1724285 h 6078415"/>
                <a:gd name="connsiteX2407" fmla="*/ 192646 w 11685910"/>
                <a:gd name="connsiteY2407" fmla="*/ 1738050 h 6078415"/>
                <a:gd name="connsiteX2408" fmla="*/ 176708 w 11685910"/>
                <a:gd name="connsiteY2408" fmla="*/ 1743846 h 6078415"/>
                <a:gd name="connsiteX2409" fmla="*/ 151834 w 11685910"/>
                <a:gd name="connsiteY2409" fmla="*/ 1738533 h 6078415"/>
                <a:gd name="connsiteX2410" fmla="*/ 151075 w 11685910"/>
                <a:gd name="connsiteY2410" fmla="*/ 1734079 h 6078415"/>
                <a:gd name="connsiteX2411" fmla="*/ 151035 w 11685910"/>
                <a:gd name="connsiteY2411" fmla="*/ 1732734 h 6078415"/>
                <a:gd name="connsiteX2412" fmla="*/ 147296 w 11685910"/>
                <a:gd name="connsiteY2412" fmla="*/ 1736278 h 6078415"/>
                <a:gd name="connsiteX2413" fmla="*/ 123822 w 11685910"/>
                <a:gd name="connsiteY2413" fmla="*/ 1750607 h 6078415"/>
                <a:gd name="connsiteX2414" fmla="*/ 100397 w 11685910"/>
                <a:gd name="connsiteY2414" fmla="*/ 1722353 h 6078415"/>
                <a:gd name="connsiteX2415" fmla="*/ 111264 w 11685910"/>
                <a:gd name="connsiteY2415" fmla="*/ 1710520 h 6078415"/>
                <a:gd name="connsiteX2416" fmla="*/ 86391 w 11685910"/>
                <a:gd name="connsiteY2416" fmla="*/ 1708105 h 6078415"/>
                <a:gd name="connsiteX2417" fmla="*/ 85425 w 11685910"/>
                <a:gd name="connsiteY2417" fmla="*/ 1718972 h 6078415"/>
                <a:gd name="connsiteX2418" fmla="*/ 79146 w 11685910"/>
                <a:gd name="connsiteY2418" fmla="*/ 1729598 h 6078415"/>
                <a:gd name="connsiteX2419" fmla="*/ 74075 w 11685910"/>
                <a:gd name="connsiteY2419" fmla="*/ 1748675 h 6078415"/>
                <a:gd name="connsiteX2420" fmla="*/ 33987 w 11685910"/>
                <a:gd name="connsiteY2420" fmla="*/ 1740223 h 6078415"/>
                <a:gd name="connsiteX2421" fmla="*/ 34953 w 11685910"/>
                <a:gd name="connsiteY2421" fmla="*/ 1726217 h 6078415"/>
                <a:gd name="connsiteX2422" fmla="*/ 25294 w 11685910"/>
                <a:gd name="connsiteY2422" fmla="*/ 1728149 h 6078415"/>
                <a:gd name="connsiteX2423" fmla="*/ 179 w 11685910"/>
                <a:gd name="connsiteY2423" fmla="*/ 1702309 h 6078415"/>
                <a:gd name="connsiteX2424" fmla="*/ 15393 w 11685910"/>
                <a:gd name="connsiteY2424" fmla="*/ 1675746 h 6078415"/>
                <a:gd name="connsiteX2425" fmla="*/ 16842 w 11685910"/>
                <a:gd name="connsiteY2425" fmla="*/ 1649182 h 6078415"/>
                <a:gd name="connsiteX2426" fmla="*/ 1386 w 11685910"/>
                <a:gd name="connsiteY2426" fmla="*/ 1627206 h 6078415"/>
                <a:gd name="connsiteX2427" fmla="*/ 3147 w 11685910"/>
                <a:gd name="connsiteY2427" fmla="*/ 1613888 h 6078415"/>
                <a:gd name="connsiteX2428" fmla="*/ 3606 w 11685910"/>
                <a:gd name="connsiteY2428" fmla="*/ 1622608 h 6078415"/>
                <a:gd name="connsiteX2429" fmla="*/ 4429 w 11685910"/>
                <a:gd name="connsiteY2429" fmla="*/ 1623003 h 6078415"/>
                <a:gd name="connsiteX2430" fmla="*/ 4552 w 11685910"/>
                <a:gd name="connsiteY2430" fmla="*/ 1624178 h 6078415"/>
                <a:gd name="connsiteX2431" fmla="*/ 24107 w 11685910"/>
                <a:gd name="connsiteY2431" fmla="*/ 1638025 h 6078415"/>
                <a:gd name="connsiteX2432" fmla="*/ 42330 w 11685910"/>
                <a:gd name="connsiteY2432" fmla="*/ 1708655 h 6078415"/>
                <a:gd name="connsiteX2433" fmla="*/ 43292 w 11685910"/>
                <a:gd name="connsiteY2433" fmla="*/ 1710504 h 6078415"/>
                <a:gd name="connsiteX2434" fmla="*/ 43258 w 11685910"/>
                <a:gd name="connsiteY2434" fmla="*/ 1711372 h 6078415"/>
                <a:gd name="connsiteX2435" fmla="*/ 41857 w 11685910"/>
                <a:gd name="connsiteY2435" fmla="*/ 1724815 h 6078415"/>
                <a:gd name="connsiteX2436" fmla="*/ 38557 w 11685910"/>
                <a:gd name="connsiteY2436" fmla="*/ 1736143 h 6078415"/>
                <a:gd name="connsiteX2437" fmla="*/ 72720 w 11685910"/>
                <a:gd name="connsiteY2437" fmla="*/ 1742743 h 6078415"/>
                <a:gd name="connsiteX2438" fmla="*/ 73879 w 11685910"/>
                <a:gd name="connsiteY2438" fmla="*/ 1731861 h 6078415"/>
                <a:gd name="connsiteX2439" fmla="*/ 80480 w 11685910"/>
                <a:gd name="connsiteY2439" fmla="*/ 1717679 h 6078415"/>
                <a:gd name="connsiteX2440" fmla="*/ 80759 w 11685910"/>
                <a:gd name="connsiteY2440" fmla="*/ 1702571 h 6078415"/>
                <a:gd name="connsiteX2441" fmla="*/ 80551 w 11685910"/>
                <a:gd name="connsiteY2441" fmla="*/ 1696892 h 6078415"/>
                <a:gd name="connsiteX2442" fmla="*/ 82139 w 11685910"/>
                <a:gd name="connsiteY2442" fmla="*/ 1698741 h 6078415"/>
                <a:gd name="connsiteX2443" fmla="*/ 121511 w 11685910"/>
                <a:gd name="connsiteY2443" fmla="*/ 1696539 h 6078415"/>
                <a:gd name="connsiteX2444" fmla="*/ 122403 w 11685910"/>
                <a:gd name="connsiteY2444" fmla="*/ 1710276 h 6078415"/>
                <a:gd name="connsiteX2445" fmla="*/ 105366 w 11685910"/>
                <a:gd name="connsiteY2445" fmla="*/ 1722942 h 6078415"/>
                <a:gd name="connsiteX2446" fmla="*/ 124276 w 11685910"/>
                <a:gd name="connsiteY2446" fmla="*/ 1745865 h 6078415"/>
                <a:gd name="connsiteX2447" fmla="*/ 159331 w 11685910"/>
                <a:gd name="connsiteY2447" fmla="*/ 1718125 h 6078415"/>
                <a:gd name="connsiteX2448" fmla="*/ 178419 w 11685910"/>
                <a:gd name="connsiteY2448" fmla="*/ 1676291 h 6078415"/>
                <a:gd name="connsiteX2449" fmla="*/ 161556 w 11685910"/>
                <a:gd name="connsiteY2449" fmla="*/ 1658029 h 6078415"/>
                <a:gd name="connsiteX2450" fmla="*/ 161362 w 11685910"/>
                <a:gd name="connsiteY2450" fmla="*/ 1657520 h 6078415"/>
                <a:gd name="connsiteX2451" fmla="*/ 163980 w 11685910"/>
                <a:gd name="connsiteY2451" fmla="*/ 1659168 h 6078415"/>
                <a:gd name="connsiteX2452" fmla="*/ 183147 w 11685910"/>
                <a:gd name="connsiteY2452" fmla="*/ 1669780 h 6078415"/>
                <a:gd name="connsiteX2453" fmla="*/ 204465 w 11685910"/>
                <a:gd name="connsiteY2453" fmla="*/ 1684230 h 6078415"/>
                <a:gd name="connsiteX2454" fmla="*/ 225426 w 11685910"/>
                <a:gd name="connsiteY2454" fmla="*/ 1665855 h 6078415"/>
                <a:gd name="connsiteX2455" fmla="*/ 222126 w 11685910"/>
                <a:gd name="connsiteY2455" fmla="*/ 1665588 h 6078415"/>
                <a:gd name="connsiteX2456" fmla="*/ 194333 w 11685910"/>
                <a:gd name="connsiteY2456" fmla="*/ 1643440 h 6078415"/>
                <a:gd name="connsiteX2457" fmla="*/ 195257 w 11685910"/>
                <a:gd name="connsiteY2457" fmla="*/ 1638664 h 6078415"/>
                <a:gd name="connsiteX2458" fmla="*/ 197010 w 11685910"/>
                <a:gd name="connsiteY2458" fmla="*/ 1640573 h 6078415"/>
                <a:gd name="connsiteX2459" fmla="*/ 268777 w 11685910"/>
                <a:gd name="connsiteY2459" fmla="*/ 1658720 h 6078415"/>
                <a:gd name="connsiteX2460" fmla="*/ 280640 w 11685910"/>
                <a:gd name="connsiteY2460" fmla="*/ 1541603 h 6078415"/>
                <a:gd name="connsiteX2461" fmla="*/ 271363 w 11685910"/>
                <a:gd name="connsiteY2461" fmla="*/ 1552307 h 6078415"/>
                <a:gd name="connsiteX2462" fmla="*/ 257805 w 11685910"/>
                <a:gd name="connsiteY2462" fmla="*/ 1559175 h 6078415"/>
                <a:gd name="connsiteX2463" fmla="*/ 249328 w 11685910"/>
                <a:gd name="connsiteY2463" fmla="*/ 1619971 h 6078415"/>
                <a:gd name="connsiteX2464" fmla="*/ 247848 w 11685910"/>
                <a:gd name="connsiteY2464" fmla="*/ 1621138 h 6078415"/>
                <a:gd name="connsiteX2465" fmla="*/ 248159 w 11685910"/>
                <a:gd name="connsiteY2465" fmla="*/ 1620537 h 6078415"/>
                <a:gd name="connsiteX2466" fmla="*/ 251383 w 11685910"/>
                <a:gd name="connsiteY2466" fmla="*/ 1601454 h 6078415"/>
                <a:gd name="connsiteX2467" fmla="*/ 238806 w 11685910"/>
                <a:gd name="connsiteY2467" fmla="*/ 1603863 h 6078415"/>
                <a:gd name="connsiteX2468" fmla="*/ 240144 w 11685910"/>
                <a:gd name="connsiteY2468" fmla="*/ 1593427 h 6078415"/>
                <a:gd name="connsiteX2469" fmla="*/ 228370 w 11685910"/>
                <a:gd name="connsiteY2469" fmla="*/ 1593337 h 6078415"/>
                <a:gd name="connsiteX2470" fmla="*/ 231759 w 11685910"/>
                <a:gd name="connsiteY2470" fmla="*/ 1585577 h 6078415"/>
                <a:gd name="connsiteX2471" fmla="*/ 224953 w 11685910"/>
                <a:gd name="connsiteY2471" fmla="*/ 1582433 h 6078415"/>
                <a:gd name="connsiteX2472" fmla="*/ 223066 w 11685910"/>
                <a:gd name="connsiteY2472" fmla="*/ 1582446 h 6078415"/>
                <a:gd name="connsiteX2473" fmla="*/ 224617 w 11685910"/>
                <a:gd name="connsiteY2473" fmla="*/ 1581889 h 6078415"/>
                <a:gd name="connsiteX2474" fmla="*/ 226943 w 11685910"/>
                <a:gd name="connsiteY2474" fmla="*/ 1581207 h 6078415"/>
                <a:gd name="connsiteX2475" fmla="*/ 238182 w 11685910"/>
                <a:gd name="connsiteY2475" fmla="*/ 1578620 h 6078415"/>
                <a:gd name="connsiteX2476" fmla="*/ 226764 w 11685910"/>
                <a:gd name="connsiteY2476" fmla="*/ 1564081 h 6078415"/>
                <a:gd name="connsiteX2477" fmla="*/ 214865 w 11685910"/>
                <a:gd name="connsiteY2477" fmla="*/ 1562621 h 6078415"/>
                <a:gd name="connsiteX2478" fmla="*/ 213766 w 11685910"/>
                <a:gd name="connsiteY2478" fmla="*/ 1562563 h 6078415"/>
                <a:gd name="connsiteX2479" fmla="*/ 213775 w 11685910"/>
                <a:gd name="connsiteY2479" fmla="*/ 1562539 h 6078415"/>
                <a:gd name="connsiteX2480" fmla="*/ 221502 w 11685910"/>
                <a:gd name="connsiteY2480" fmla="*/ 1560156 h 6078415"/>
                <a:gd name="connsiteX2481" fmla="*/ 179133 w 11685910"/>
                <a:gd name="connsiteY2481" fmla="*/ 1534200 h 6078415"/>
                <a:gd name="connsiteX2482" fmla="*/ 129003 w 11685910"/>
                <a:gd name="connsiteY2482" fmla="*/ 1557658 h 6078415"/>
                <a:gd name="connsiteX2483" fmla="*/ 143140 w 11685910"/>
                <a:gd name="connsiteY2483" fmla="*/ 1557983 h 6078415"/>
                <a:gd name="connsiteX2484" fmla="*/ 143713 w 11685910"/>
                <a:gd name="connsiteY2484" fmla="*/ 1558067 h 6078415"/>
                <a:gd name="connsiteX2485" fmla="*/ 141319 w 11685910"/>
                <a:gd name="connsiteY2485" fmla="*/ 1558718 h 6078415"/>
                <a:gd name="connsiteX2486" fmla="*/ 116886 w 11685910"/>
                <a:gd name="connsiteY2486" fmla="*/ 1563799 h 6078415"/>
                <a:gd name="connsiteX2487" fmla="*/ 70723 w 11685910"/>
                <a:gd name="connsiteY2487" fmla="*/ 1623678 h 6078415"/>
                <a:gd name="connsiteX2488" fmla="*/ 84610 w 11685910"/>
                <a:gd name="connsiteY2488" fmla="*/ 1645641 h 6078415"/>
                <a:gd name="connsiteX2489" fmla="*/ 99019 w 11685910"/>
                <a:gd name="connsiteY2489" fmla="*/ 1629215 h 6078415"/>
                <a:gd name="connsiteX2490" fmla="*/ 82161 w 11685910"/>
                <a:gd name="connsiteY2490" fmla="*/ 1664085 h 6078415"/>
                <a:gd name="connsiteX2491" fmla="*/ 97983 w 11685910"/>
                <a:gd name="connsiteY2491" fmla="*/ 1673403 h 6078415"/>
                <a:gd name="connsiteX2492" fmla="*/ 124955 w 11685910"/>
                <a:gd name="connsiteY2492" fmla="*/ 1660051 h 6078415"/>
                <a:gd name="connsiteX2493" fmla="*/ 142246 w 11685910"/>
                <a:gd name="connsiteY2493" fmla="*/ 1658321 h 6078415"/>
                <a:gd name="connsiteX2494" fmla="*/ 148442 w 11685910"/>
                <a:gd name="connsiteY2494" fmla="*/ 1589735 h 6078415"/>
                <a:gd name="connsiteX2495" fmla="*/ 149162 w 11685910"/>
                <a:gd name="connsiteY2495" fmla="*/ 1667111 h 6078415"/>
                <a:gd name="connsiteX2496" fmla="*/ 147069 w 11685910"/>
                <a:gd name="connsiteY2496" fmla="*/ 1666768 h 6078415"/>
                <a:gd name="connsiteX2497" fmla="*/ 144418 w 11685910"/>
                <a:gd name="connsiteY2497" fmla="*/ 1666090 h 6078415"/>
                <a:gd name="connsiteX2498" fmla="*/ 141702 w 11685910"/>
                <a:gd name="connsiteY2498" fmla="*/ 1665666 h 6078415"/>
                <a:gd name="connsiteX2499" fmla="*/ 140941 w 11685910"/>
                <a:gd name="connsiteY2499" fmla="*/ 1665490 h 6078415"/>
                <a:gd name="connsiteX2500" fmla="*/ 134216 w 11685910"/>
                <a:gd name="connsiteY2500" fmla="*/ 1665262 h 6078415"/>
                <a:gd name="connsiteX2501" fmla="*/ 133237 w 11685910"/>
                <a:gd name="connsiteY2501" fmla="*/ 1665490 h 6078415"/>
                <a:gd name="connsiteX2502" fmla="*/ 132645 w 11685910"/>
                <a:gd name="connsiteY2502" fmla="*/ 1665541 h 6078415"/>
                <a:gd name="connsiteX2503" fmla="*/ 93681 w 11685910"/>
                <a:gd name="connsiteY2503" fmla="*/ 1681375 h 6078415"/>
                <a:gd name="connsiteX2504" fmla="*/ 71491 w 11685910"/>
                <a:gd name="connsiteY2504" fmla="*/ 1663777 h 6078415"/>
                <a:gd name="connsiteX2505" fmla="*/ 71036 w 11685910"/>
                <a:gd name="connsiteY2505" fmla="*/ 1663187 h 6078415"/>
                <a:gd name="connsiteX2506" fmla="*/ 72747 w 11685910"/>
                <a:gd name="connsiteY2506" fmla="*/ 1660328 h 6078415"/>
                <a:gd name="connsiteX2507" fmla="*/ 78785 w 11685910"/>
                <a:gd name="connsiteY2507" fmla="*/ 1651583 h 6078415"/>
                <a:gd name="connsiteX2508" fmla="*/ 61837 w 11685910"/>
                <a:gd name="connsiteY2508" fmla="*/ 1624735 h 6078415"/>
                <a:gd name="connsiteX2509" fmla="*/ 91897 w 11685910"/>
                <a:gd name="connsiteY2509" fmla="*/ 1578887 h 6078415"/>
                <a:gd name="connsiteX2510" fmla="*/ 12381 w 11685910"/>
                <a:gd name="connsiteY2510" fmla="*/ 1625950 h 6078415"/>
                <a:gd name="connsiteX2511" fmla="*/ 8780 w 11685910"/>
                <a:gd name="connsiteY2511" fmla="*/ 1622709 h 6078415"/>
                <a:gd name="connsiteX2512" fmla="*/ 9833 w 11685910"/>
                <a:gd name="connsiteY2512" fmla="*/ 1622118 h 6078415"/>
                <a:gd name="connsiteX2513" fmla="*/ 13760 w 11685910"/>
                <a:gd name="connsiteY2513" fmla="*/ 1602346 h 6078415"/>
                <a:gd name="connsiteX2514" fmla="*/ 3348 w 11685910"/>
                <a:gd name="connsiteY2514" fmla="*/ 1612371 h 6078415"/>
                <a:gd name="connsiteX2515" fmla="*/ 4254 w 11685910"/>
                <a:gd name="connsiteY2515" fmla="*/ 1605518 h 6078415"/>
                <a:gd name="connsiteX2516" fmla="*/ 17808 w 11685910"/>
                <a:gd name="connsiteY2516" fmla="*/ 1597020 h 6078415"/>
                <a:gd name="connsiteX2517" fmla="*/ 17808 w 11685910"/>
                <a:gd name="connsiteY2517" fmla="*/ 1620686 h 6078415"/>
                <a:gd name="connsiteX2518" fmla="*/ 93636 w 11685910"/>
                <a:gd name="connsiteY2518" fmla="*/ 1572630 h 6078415"/>
                <a:gd name="connsiteX2519" fmla="*/ 116094 w 11685910"/>
                <a:gd name="connsiteY2519" fmla="*/ 1556208 h 6078415"/>
                <a:gd name="connsiteX2520" fmla="*/ 122089 w 11685910"/>
                <a:gd name="connsiteY2520" fmla="*/ 1555580 h 6078415"/>
                <a:gd name="connsiteX2521" fmla="*/ 122784 w 11685910"/>
                <a:gd name="connsiteY2521" fmla="*/ 1554093 h 6078415"/>
                <a:gd name="connsiteX2522" fmla="*/ 141934 w 11685910"/>
                <a:gd name="connsiteY2522" fmla="*/ 1535682 h 6078415"/>
                <a:gd name="connsiteX2523" fmla="*/ 177365 w 11685910"/>
                <a:gd name="connsiteY2523" fmla="*/ 1527682 h 6078415"/>
                <a:gd name="connsiteX2524" fmla="*/ 7307218 w 11685910"/>
                <a:gd name="connsiteY2524" fmla="*/ 1527636 h 6078415"/>
                <a:gd name="connsiteX2525" fmla="*/ 7352068 w 11685910"/>
                <a:gd name="connsiteY2525" fmla="*/ 1566659 h 6078415"/>
                <a:gd name="connsiteX2526" fmla="*/ 7352068 w 11685910"/>
                <a:gd name="connsiteY2526" fmla="*/ 1603018 h 6078415"/>
                <a:gd name="connsiteX2527" fmla="*/ 7371705 w 11685910"/>
                <a:gd name="connsiteY2527" fmla="*/ 1629878 h 6078415"/>
                <a:gd name="connsiteX2528" fmla="*/ 7371705 w 11685910"/>
                <a:gd name="connsiteY2528" fmla="*/ 1648374 h 6078415"/>
                <a:gd name="connsiteX2529" fmla="*/ 7352068 w 11685910"/>
                <a:gd name="connsiteY2529" fmla="*/ 1674727 h 6078415"/>
                <a:gd name="connsiteX2530" fmla="*/ 7352068 w 11685910"/>
                <a:gd name="connsiteY2530" fmla="*/ 1712102 h 6078415"/>
                <a:gd name="connsiteX2531" fmla="*/ 7307218 w 11685910"/>
                <a:gd name="connsiteY2531" fmla="*/ 1750616 h 6078415"/>
                <a:gd name="connsiteX2532" fmla="*/ 7307218 w 11685910"/>
                <a:gd name="connsiteY2532" fmla="*/ 1731105 h 6078415"/>
                <a:gd name="connsiteX2533" fmla="*/ 7322865 w 11685910"/>
                <a:gd name="connsiteY2533" fmla="*/ 1725024 h 6078415"/>
                <a:gd name="connsiteX2534" fmla="*/ 7327489 w 11685910"/>
                <a:gd name="connsiteY2534" fmla="*/ 1705767 h 6078415"/>
                <a:gd name="connsiteX2535" fmla="*/ 7327489 w 11685910"/>
                <a:gd name="connsiteY2535" fmla="*/ 1670419 h 6078415"/>
                <a:gd name="connsiteX2536" fmla="*/ 7352448 w 11685910"/>
                <a:gd name="connsiteY2536" fmla="*/ 1639126 h 6078415"/>
                <a:gd name="connsiteX2537" fmla="*/ 7352448 w 11685910"/>
                <a:gd name="connsiteY2537" fmla="*/ 1638746 h 6078415"/>
                <a:gd name="connsiteX2538" fmla="*/ 7327489 w 11685910"/>
                <a:gd name="connsiteY2538" fmla="*/ 1607199 h 6078415"/>
                <a:gd name="connsiteX2539" fmla="*/ 7327489 w 11685910"/>
                <a:gd name="connsiteY2539" fmla="*/ 1571472 h 6078415"/>
                <a:gd name="connsiteX2540" fmla="*/ 7307218 w 11685910"/>
                <a:gd name="connsiteY2540" fmla="*/ 1547274 h 6078415"/>
                <a:gd name="connsiteX2541" fmla="*/ 7289734 w 11685910"/>
                <a:gd name="connsiteY2541" fmla="*/ 1527636 h 6078415"/>
                <a:gd name="connsiteX2542" fmla="*/ 7289734 w 11685910"/>
                <a:gd name="connsiteY2542" fmla="*/ 1547274 h 6078415"/>
                <a:gd name="connsiteX2543" fmla="*/ 7269590 w 11685910"/>
                <a:gd name="connsiteY2543" fmla="*/ 1571472 h 6078415"/>
                <a:gd name="connsiteX2544" fmla="*/ 7269590 w 11685910"/>
                <a:gd name="connsiteY2544" fmla="*/ 1607199 h 6078415"/>
                <a:gd name="connsiteX2545" fmla="*/ 7244378 w 11685910"/>
                <a:gd name="connsiteY2545" fmla="*/ 1638746 h 6078415"/>
                <a:gd name="connsiteX2546" fmla="*/ 7244378 w 11685910"/>
                <a:gd name="connsiteY2546" fmla="*/ 1639126 h 6078415"/>
                <a:gd name="connsiteX2547" fmla="*/ 7269590 w 11685910"/>
                <a:gd name="connsiteY2547" fmla="*/ 1670419 h 6078415"/>
                <a:gd name="connsiteX2548" fmla="*/ 7269590 w 11685910"/>
                <a:gd name="connsiteY2548" fmla="*/ 1705767 h 6078415"/>
                <a:gd name="connsiteX2549" fmla="*/ 7274088 w 11685910"/>
                <a:gd name="connsiteY2549" fmla="*/ 1725087 h 6078415"/>
                <a:gd name="connsiteX2550" fmla="*/ 7289734 w 11685910"/>
                <a:gd name="connsiteY2550" fmla="*/ 1731105 h 6078415"/>
                <a:gd name="connsiteX2551" fmla="*/ 7289734 w 11685910"/>
                <a:gd name="connsiteY2551" fmla="*/ 1750616 h 6078415"/>
                <a:gd name="connsiteX2552" fmla="*/ 7244632 w 11685910"/>
                <a:gd name="connsiteY2552" fmla="*/ 1712102 h 6078415"/>
                <a:gd name="connsiteX2553" fmla="*/ 7244632 w 11685910"/>
                <a:gd name="connsiteY2553" fmla="*/ 1674727 h 6078415"/>
                <a:gd name="connsiteX2554" fmla="*/ 7224867 w 11685910"/>
                <a:gd name="connsiteY2554" fmla="*/ 1648374 h 6078415"/>
                <a:gd name="connsiteX2555" fmla="*/ 7224867 w 11685910"/>
                <a:gd name="connsiteY2555" fmla="*/ 1629878 h 6078415"/>
                <a:gd name="connsiteX2556" fmla="*/ 7244632 w 11685910"/>
                <a:gd name="connsiteY2556" fmla="*/ 1603018 h 6078415"/>
                <a:gd name="connsiteX2557" fmla="*/ 7244632 w 11685910"/>
                <a:gd name="connsiteY2557" fmla="*/ 1566659 h 6078415"/>
                <a:gd name="connsiteX2558" fmla="*/ 7289734 w 11685910"/>
                <a:gd name="connsiteY2558" fmla="*/ 1527636 h 6078415"/>
                <a:gd name="connsiteX2559" fmla="*/ 1251166 w 11685910"/>
                <a:gd name="connsiteY2559" fmla="*/ 1527636 h 6078415"/>
                <a:gd name="connsiteX2560" fmla="*/ 1296016 w 11685910"/>
                <a:gd name="connsiteY2560" fmla="*/ 1566659 h 6078415"/>
                <a:gd name="connsiteX2561" fmla="*/ 1296016 w 11685910"/>
                <a:gd name="connsiteY2561" fmla="*/ 1603018 h 6078415"/>
                <a:gd name="connsiteX2562" fmla="*/ 1315653 w 11685910"/>
                <a:gd name="connsiteY2562" fmla="*/ 1629878 h 6078415"/>
                <a:gd name="connsiteX2563" fmla="*/ 1315653 w 11685910"/>
                <a:gd name="connsiteY2563" fmla="*/ 1648374 h 6078415"/>
                <a:gd name="connsiteX2564" fmla="*/ 1296016 w 11685910"/>
                <a:gd name="connsiteY2564" fmla="*/ 1674727 h 6078415"/>
                <a:gd name="connsiteX2565" fmla="*/ 1296016 w 11685910"/>
                <a:gd name="connsiteY2565" fmla="*/ 1712102 h 6078415"/>
                <a:gd name="connsiteX2566" fmla="*/ 1251166 w 11685910"/>
                <a:gd name="connsiteY2566" fmla="*/ 1750616 h 6078415"/>
                <a:gd name="connsiteX2567" fmla="*/ 1251166 w 11685910"/>
                <a:gd name="connsiteY2567" fmla="*/ 1731105 h 6078415"/>
                <a:gd name="connsiteX2568" fmla="*/ 1266813 w 11685910"/>
                <a:gd name="connsiteY2568" fmla="*/ 1725024 h 6078415"/>
                <a:gd name="connsiteX2569" fmla="*/ 1271437 w 11685910"/>
                <a:gd name="connsiteY2569" fmla="*/ 1705767 h 6078415"/>
                <a:gd name="connsiteX2570" fmla="*/ 1271437 w 11685910"/>
                <a:gd name="connsiteY2570" fmla="*/ 1670419 h 6078415"/>
                <a:gd name="connsiteX2571" fmla="*/ 1296396 w 11685910"/>
                <a:gd name="connsiteY2571" fmla="*/ 1639126 h 6078415"/>
                <a:gd name="connsiteX2572" fmla="*/ 1296396 w 11685910"/>
                <a:gd name="connsiteY2572" fmla="*/ 1638746 h 6078415"/>
                <a:gd name="connsiteX2573" fmla="*/ 1271437 w 11685910"/>
                <a:gd name="connsiteY2573" fmla="*/ 1607199 h 6078415"/>
                <a:gd name="connsiteX2574" fmla="*/ 1271437 w 11685910"/>
                <a:gd name="connsiteY2574" fmla="*/ 1571472 h 6078415"/>
                <a:gd name="connsiteX2575" fmla="*/ 1251166 w 11685910"/>
                <a:gd name="connsiteY2575" fmla="*/ 1547274 h 6078415"/>
                <a:gd name="connsiteX2576" fmla="*/ 1233682 w 11685910"/>
                <a:gd name="connsiteY2576" fmla="*/ 1527636 h 6078415"/>
                <a:gd name="connsiteX2577" fmla="*/ 1233682 w 11685910"/>
                <a:gd name="connsiteY2577" fmla="*/ 1547274 h 6078415"/>
                <a:gd name="connsiteX2578" fmla="*/ 1213538 w 11685910"/>
                <a:gd name="connsiteY2578" fmla="*/ 1571472 h 6078415"/>
                <a:gd name="connsiteX2579" fmla="*/ 1213538 w 11685910"/>
                <a:gd name="connsiteY2579" fmla="*/ 1607199 h 6078415"/>
                <a:gd name="connsiteX2580" fmla="*/ 1188326 w 11685910"/>
                <a:gd name="connsiteY2580" fmla="*/ 1638746 h 6078415"/>
                <a:gd name="connsiteX2581" fmla="*/ 1188326 w 11685910"/>
                <a:gd name="connsiteY2581" fmla="*/ 1639126 h 6078415"/>
                <a:gd name="connsiteX2582" fmla="*/ 1213538 w 11685910"/>
                <a:gd name="connsiteY2582" fmla="*/ 1670419 h 6078415"/>
                <a:gd name="connsiteX2583" fmla="*/ 1213538 w 11685910"/>
                <a:gd name="connsiteY2583" fmla="*/ 1705767 h 6078415"/>
                <a:gd name="connsiteX2584" fmla="*/ 1218036 w 11685910"/>
                <a:gd name="connsiteY2584" fmla="*/ 1725087 h 6078415"/>
                <a:gd name="connsiteX2585" fmla="*/ 1233682 w 11685910"/>
                <a:gd name="connsiteY2585" fmla="*/ 1731105 h 6078415"/>
                <a:gd name="connsiteX2586" fmla="*/ 1233682 w 11685910"/>
                <a:gd name="connsiteY2586" fmla="*/ 1750616 h 6078415"/>
                <a:gd name="connsiteX2587" fmla="*/ 1188580 w 11685910"/>
                <a:gd name="connsiteY2587" fmla="*/ 1712102 h 6078415"/>
                <a:gd name="connsiteX2588" fmla="*/ 1188580 w 11685910"/>
                <a:gd name="connsiteY2588" fmla="*/ 1674727 h 6078415"/>
                <a:gd name="connsiteX2589" fmla="*/ 1168815 w 11685910"/>
                <a:gd name="connsiteY2589" fmla="*/ 1648374 h 6078415"/>
                <a:gd name="connsiteX2590" fmla="*/ 1168815 w 11685910"/>
                <a:gd name="connsiteY2590" fmla="*/ 1629878 h 6078415"/>
                <a:gd name="connsiteX2591" fmla="*/ 1188580 w 11685910"/>
                <a:gd name="connsiteY2591" fmla="*/ 1603018 h 6078415"/>
                <a:gd name="connsiteX2592" fmla="*/ 1188580 w 11685910"/>
                <a:gd name="connsiteY2592" fmla="*/ 1566659 h 6078415"/>
                <a:gd name="connsiteX2593" fmla="*/ 1233682 w 11685910"/>
                <a:gd name="connsiteY2593" fmla="*/ 1527636 h 6078415"/>
                <a:gd name="connsiteX2594" fmla="*/ 11615831 w 11685910"/>
                <a:gd name="connsiteY2594" fmla="*/ 1214333 h 6078415"/>
                <a:gd name="connsiteX2595" fmla="*/ 11660680 w 11685910"/>
                <a:gd name="connsiteY2595" fmla="*/ 1253354 h 6078415"/>
                <a:gd name="connsiteX2596" fmla="*/ 11660680 w 11685910"/>
                <a:gd name="connsiteY2596" fmla="*/ 1289715 h 6078415"/>
                <a:gd name="connsiteX2597" fmla="*/ 11680318 w 11685910"/>
                <a:gd name="connsiteY2597" fmla="*/ 1316575 h 6078415"/>
                <a:gd name="connsiteX2598" fmla="*/ 11680318 w 11685910"/>
                <a:gd name="connsiteY2598" fmla="*/ 1335071 h 6078415"/>
                <a:gd name="connsiteX2599" fmla="*/ 11660680 w 11685910"/>
                <a:gd name="connsiteY2599" fmla="*/ 1361425 h 6078415"/>
                <a:gd name="connsiteX2600" fmla="*/ 11660680 w 11685910"/>
                <a:gd name="connsiteY2600" fmla="*/ 1398799 h 6078415"/>
                <a:gd name="connsiteX2601" fmla="*/ 11615831 w 11685910"/>
                <a:gd name="connsiteY2601" fmla="*/ 1437313 h 6078415"/>
                <a:gd name="connsiteX2602" fmla="*/ 11615831 w 11685910"/>
                <a:gd name="connsiteY2602" fmla="*/ 1417802 h 6078415"/>
                <a:gd name="connsiteX2603" fmla="*/ 11631478 w 11685910"/>
                <a:gd name="connsiteY2603" fmla="*/ 1411722 h 6078415"/>
                <a:gd name="connsiteX2604" fmla="*/ 11636102 w 11685910"/>
                <a:gd name="connsiteY2604" fmla="*/ 1392464 h 6078415"/>
                <a:gd name="connsiteX2605" fmla="*/ 11636102 w 11685910"/>
                <a:gd name="connsiteY2605" fmla="*/ 1357116 h 6078415"/>
                <a:gd name="connsiteX2606" fmla="*/ 11661061 w 11685910"/>
                <a:gd name="connsiteY2606" fmla="*/ 1325823 h 6078415"/>
                <a:gd name="connsiteX2607" fmla="*/ 11661061 w 11685910"/>
                <a:gd name="connsiteY2607" fmla="*/ 1325443 h 6078415"/>
                <a:gd name="connsiteX2608" fmla="*/ 11636102 w 11685910"/>
                <a:gd name="connsiteY2608" fmla="*/ 1293896 h 6078415"/>
                <a:gd name="connsiteX2609" fmla="*/ 11636102 w 11685910"/>
                <a:gd name="connsiteY2609" fmla="*/ 1258169 h 6078415"/>
                <a:gd name="connsiteX2610" fmla="*/ 11615831 w 11685910"/>
                <a:gd name="connsiteY2610" fmla="*/ 1233971 h 6078415"/>
                <a:gd name="connsiteX2611" fmla="*/ 11598347 w 11685910"/>
                <a:gd name="connsiteY2611" fmla="*/ 1214333 h 6078415"/>
                <a:gd name="connsiteX2612" fmla="*/ 11598347 w 11685910"/>
                <a:gd name="connsiteY2612" fmla="*/ 1233971 h 6078415"/>
                <a:gd name="connsiteX2613" fmla="*/ 11578203 w 11685910"/>
                <a:gd name="connsiteY2613" fmla="*/ 1258169 h 6078415"/>
                <a:gd name="connsiteX2614" fmla="*/ 11578203 w 11685910"/>
                <a:gd name="connsiteY2614" fmla="*/ 1293896 h 6078415"/>
                <a:gd name="connsiteX2615" fmla="*/ 11552991 w 11685910"/>
                <a:gd name="connsiteY2615" fmla="*/ 1325443 h 6078415"/>
                <a:gd name="connsiteX2616" fmla="*/ 11552991 w 11685910"/>
                <a:gd name="connsiteY2616" fmla="*/ 1325823 h 6078415"/>
                <a:gd name="connsiteX2617" fmla="*/ 11578203 w 11685910"/>
                <a:gd name="connsiteY2617" fmla="*/ 1357116 h 6078415"/>
                <a:gd name="connsiteX2618" fmla="*/ 11578203 w 11685910"/>
                <a:gd name="connsiteY2618" fmla="*/ 1392464 h 6078415"/>
                <a:gd name="connsiteX2619" fmla="*/ 11582701 w 11685910"/>
                <a:gd name="connsiteY2619" fmla="*/ 1411784 h 6078415"/>
                <a:gd name="connsiteX2620" fmla="*/ 11598347 w 11685910"/>
                <a:gd name="connsiteY2620" fmla="*/ 1417802 h 6078415"/>
                <a:gd name="connsiteX2621" fmla="*/ 11598347 w 11685910"/>
                <a:gd name="connsiteY2621" fmla="*/ 1437313 h 6078415"/>
                <a:gd name="connsiteX2622" fmla="*/ 11553244 w 11685910"/>
                <a:gd name="connsiteY2622" fmla="*/ 1398799 h 6078415"/>
                <a:gd name="connsiteX2623" fmla="*/ 11553244 w 11685910"/>
                <a:gd name="connsiteY2623" fmla="*/ 1361425 h 6078415"/>
                <a:gd name="connsiteX2624" fmla="*/ 11533480 w 11685910"/>
                <a:gd name="connsiteY2624" fmla="*/ 1335071 h 6078415"/>
                <a:gd name="connsiteX2625" fmla="*/ 11533480 w 11685910"/>
                <a:gd name="connsiteY2625" fmla="*/ 1316575 h 6078415"/>
                <a:gd name="connsiteX2626" fmla="*/ 11553244 w 11685910"/>
                <a:gd name="connsiteY2626" fmla="*/ 1289715 h 6078415"/>
                <a:gd name="connsiteX2627" fmla="*/ 11553244 w 11685910"/>
                <a:gd name="connsiteY2627" fmla="*/ 1253354 h 6078415"/>
                <a:gd name="connsiteX2628" fmla="*/ 11598347 w 11685910"/>
                <a:gd name="connsiteY2628" fmla="*/ 1214333 h 6078415"/>
                <a:gd name="connsiteX2629" fmla="*/ 10941808 w 11685910"/>
                <a:gd name="connsiteY2629" fmla="*/ 1214333 h 6078415"/>
                <a:gd name="connsiteX2630" fmla="*/ 10986657 w 11685910"/>
                <a:gd name="connsiteY2630" fmla="*/ 1253354 h 6078415"/>
                <a:gd name="connsiteX2631" fmla="*/ 10986657 w 11685910"/>
                <a:gd name="connsiteY2631" fmla="*/ 1289715 h 6078415"/>
                <a:gd name="connsiteX2632" fmla="*/ 11006295 w 11685910"/>
                <a:gd name="connsiteY2632" fmla="*/ 1316575 h 6078415"/>
                <a:gd name="connsiteX2633" fmla="*/ 11006295 w 11685910"/>
                <a:gd name="connsiteY2633" fmla="*/ 1335071 h 6078415"/>
                <a:gd name="connsiteX2634" fmla="*/ 10986657 w 11685910"/>
                <a:gd name="connsiteY2634" fmla="*/ 1361425 h 6078415"/>
                <a:gd name="connsiteX2635" fmla="*/ 10986657 w 11685910"/>
                <a:gd name="connsiteY2635" fmla="*/ 1398799 h 6078415"/>
                <a:gd name="connsiteX2636" fmla="*/ 10941808 w 11685910"/>
                <a:gd name="connsiteY2636" fmla="*/ 1437313 h 6078415"/>
                <a:gd name="connsiteX2637" fmla="*/ 10941808 w 11685910"/>
                <a:gd name="connsiteY2637" fmla="*/ 1417802 h 6078415"/>
                <a:gd name="connsiteX2638" fmla="*/ 10957455 w 11685910"/>
                <a:gd name="connsiteY2638" fmla="*/ 1411722 h 6078415"/>
                <a:gd name="connsiteX2639" fmla="*/ 10962079 w 11685910"/>
                <a:gd name="connsiteY2639" fmla="*/ 1392464 h 6078415"/>
                <a:gd name="connsiteX2640" fmla="*/ 10962079 w 11685910"/>
                <a:gd name="connsiteY2640" fmla="*/ 1357116 h 6078415"/>
                <a:gd name="connsiteX2641" fmla="*/ 10987038 w 11685910"/>
                <a:gd name="connsiteY2641" fmla="*/ 1325823 h 6078415"/>
                <a:gd name="connsiteX2642" fmla="*/ 10987038 w 11685910"/>
                <a:gd name="connsiteY2642" fmla="*/ 1325443 h 6078415"/>
                <a:gd name="connsiteX2643" fmla="*/ 10962079 w 11685910"/>
                <a:gd name="connsiteY2643" fmla="*/ 1293896 h 6078415"/>
                <a:gd name="connsiteX2644" fmla="*/ 10962079 w 11685910"/>
                <a:gd name="connsiteY2644" fmla="*/ 1258169 h 6078415"/>
                <a:gd name="connsiteX2645" fmla="*/ 10941808 w 11685910"/>
                <a:gd name="connsiteY2645" fmla="*/ 1233971 h 6078415"/>
                <a:gd name="connsiteX2646" fmla="*/ 10924324 w 11685910"/>
                <a:gd name="connsiteY2646" fmla="*/ 1214333 h 6078415"/>
                <a:gd name="connsiteX2647" fmla="*/ 10924324 w 11685910"/>
                <a:gd name="connsiteY2647" fmla="*/ 1233971 h 6078415"/>
                <a:gd name="connsiteX2648" fmla="*/ 10904180 w 11685910"/>
                <a:gd name="connsiteY2648" fmla="*/ 1258169 h 6078415"/>
                <a:gd name="connsiteX2649" fmla="*/ 10904180 w 11685910"/>
                <a:gd name="connsiteY2649" fmla="*/ 1293896 h 6078415"/>
                <a:gd name="connsiteX2650" fmla="*/ 10878968 w 11685910"/>
                <a:gd name="connsiteY2650" fmla="*/ 1325443 h 6078415"/>
                <a:gd name="connsiteX2651" fmla="*/ 10878968 w 11685910"/>
                <a:gd name="connsiteY2651" fmla="*/ 1325823 h 6078415"/>
                <a:gd name="connsiteX2652" fmla="*/ 10904180 w 11685910"/>
                <a:gd name="connsiteY2652" fmla="*/ 1357116 h 6078415"/>
                <a:gd name="connsiteX2653" fmla="*/ 10904180 w 11685910"/>
                <a:gd name="connsiteY2653" fmla="*/ 1392464 h 6078415"/>
                <a:gd name="connsiteX2654" fmla="*/ 10908678 w 11685910"/>
                <a:gd name="connsiteY2654" fmla="*/ 1411784 h 6078415"/>
                <a:gd name="connsiteX2655" fmla="*/ 10924324 w 11685910"/>
                <a:gd name="connsiteY2655" fmla="*/ 1417802 h 6078415"/>
                <a:gd name="connsiteX2656" fmla="*/ 10924324 w 11685910"/>
                <a:gd name="connsiteY2656" fmla="*/ 1437313 h 6078415"/>
                <a:gd name="connsiteX2657" fmla="*/ 10879221 w 11685910"/>
                <a:gd name="connsiteY2657" fmla="*/ 1398799 h 6078415"/>
                <a:gd name="connsiteX2658" fmla="*/ 10879221 w 11685910"/>
                <a:gd name="connsiteY2658" fmla="*/ 1361425 h 6078415"/>
                <a:gd name="connsiteX2659" fmla="*/ 10859457 w 11685910"/>
                <a:gd name="connsiteY2659" fmla="*/ 1335071 h 6078415"/>
                <a:gd name="connsiteX2660" fmla="*/ 10859457 w 11685910"/>
                <a:gd name="connsiteY2660" fmla="*/ 1316575 h 6078415"/>
                <a:gd name="connsiteX2661" fmla="*/ 10879221 w 11685910"/>
                <a:gd name="connsiteY2661" fmla="*/ 1289715 h 6078415"/>
                <a:gd name="connsiteX2662" fmla="*/ 10879221 w 11685910"/>
                <a:gd name="connsiteY2662" fmla="*/ 1253354 h 6078415"/>
                <a:gd name="connsiteX2663" fmla="*/ 10924324 w 11685910"/>
                <a:gd name="connsiteY2663" fmla="*/ 1214333 h 6078415"/>
                <a:gd name="connsiteX2664" fmla="*/ 9743358 w 11685910"/>
                <a:gd name="connsiteY2664" fmla="*/ 1214333 h 6078415"/>
                <a:gd name="connsiteX2665" fmla="*/ 9788207 w 11685910"/>
                <a:gd name="connsiteY2665" fmla="*/ 1253354 h 6078415"/>
                <a:gd name="connsiteX2666" fmla="*/ 9788207 w 11685910"/>
                <a:gd name="connsiteY2666" fmla="*/ 1289715 h 6078415"/>
                <a:gd name="connsiteX2667" fmla="*/ 9807845 w 11685910"/>
                <a:gd name="connsiteY2667" fmla="*/ 1316575 h 6078415"/>
                <a:gd name="connsiteX2668" fmla="*/ 9807845 w 11685910"/>
                <a:gd name="connsiteY2668" fmla="*/ 1335071 h 6078415"/>
                <a:gd name="connsiteX2669" fmla="*/ 9788207 w 11685910"/>
                <a:gd name="connsiteY2669" fmla="*/ 1361425 h 6078415"/>
                <a:gd name="connsiteX2670" fmla="*/ 9788207 w 11685910"/>
                <a:gd name="connsiteY2670" fmla="*/ 1398799 h 6078415"/>
                <a:gd name="connsiteX2671" fmla="*/ 9743358 w 11685910"/>
                <a:gd name="connsiteY2671" fmla="*/ 1437313 h 6078415"/>
                <a:gd name="connsiteX2672" fmla="*/ 9743358 w 11685910"/>
                <a:gd name="connsiteY2672" fmla="*/ 1417802 h 6078415"/>
                <a:gd name="connsiteX2673" fmla="*/ 9759005 w 11685910"/>
                <a:gd name="connsiteY2673" fmla="*/ 1411722 h 6078415"/>
                <a:gd name="connsiteX2674" fmla="*/ 9763629 w 11685910"/>
                <a:gd name="connsiteY2674" fmla="*/ 1392464 h 6078415"/>
                <a:gd name="connsiteX2675" fmla="*/ 9763629 w 11685910"/>
                <a:gd name="connsiteY2675" fmla="*/ 1357116 h 6078415"/>
                <a:gd name="connsiteX2676" fmla="*/ 9788588 w 11685910"/>
                <a:gd name="connsiteY2676" fmla="*/ 1325823 h 6078415"/>
                <a:gd name="connsiteX2677" fmla="*/ 9788588 w 11685910"/>
                <a:gd name="connsiteY2677" fmla="*/ 1325443 h 6078415"/>
                <a:gd name="connsiteX2678" fmla="*/ 9763629 w 11685910"/>
                <a:gd name="connsiteY2678" fmla="*/ 1293896 h 6078415"/>
                <a:gd name="connsiteX2679" fmla="*/ 9763629 w 11685910"/>
                <a:gd name="connsiteY2679" fmla="*/ 1258169 h 6078415"/>
                <a:gd name="connsiteX2680" fmla="*/ 9743358 w 11685910"/>
                <a:gd name="connsiteY2680" fmla="*/ 1233971 h 6078415"/>
                <a:gd name="connsiteX2681" fmla="*/ 9725874 w 11685910"/>
                <a:gd name="connsiteY2681" fmla="*/ 1214333 h 6078415"/>
                <a:gd name="connsiteX2682" fmla="*/ 9725874 w 11685910"/>
                <a:gd name="connsiteY2682" fmla="*/ 1233971 h 6078415"/>
                <a:gd name="connsiteX2683" fmla="*/ 9705730 w 11685910"/>
                <a:gd name="connsiteY2683" fmla="*/ 1258169 h 6078415"/>
                <a:gd name="connsiteX2684" fmla="*/ 9705730 w 11685910"/>
                <a:gd name="connsiteY2684" fmla="*/ 1293896 h 6078415"/>
                <a:gd name="connsiteX2685" fmla="*/ 9680518 w 11685910"/>
                <a:gd name="connsiteY2685" fmla="*/ 1325443 h 6078415"/>
                <a:gd name="connsiteX2686" fmla="*/ 9680518 w 11685910"/>
                <a:gd name="connsiteY2686" fmla="*/ 1325823 h 6078415"/>
                <a:gd name="connsiteX2687" fmla="*/ 9705730 w 11685910"/>
                <a:gd name="connsiteY2687" fmla="*/ 1357116 h 6078415"/>
                <a:gd name="connsiteX2688" fmla="*/ 9705730 w 11685910"/>
                <a:gd name="connsiteY2688" fmla="*/ 1392464 h 6078415"/>
                <a:gd name="connsiteX2689" fmla="*/ 9710228 w 11685910"/>
                <a:gd name="connsiteY2689" fmla="*/ 1411784 h 6078415"/>
                <a:gd name="connsiteX2690" fmla="*/ 9725874 w 11685910"/>
                <a:gd name="connsiteY2690" fmla="*/ 1417802 h 6078415"/>
                <a:gd name="connsiteX2691" fmla="*/ 9725874 w 11685910"/>
                <a:gd name="connsiteY2691" fmla="*/ 1437313 h 6078415"/>
                <a:gd name="connsiteX2692" fmla="*/ 9680771 w 11685910"/>
                <a:gd name="connsiteY2692" fmla="*/ 1398799 h 6078415"/>
                <a:gd name="connsiteX2693" fmla="*/ 9680771 w 11685910"/>
                <a:gd name="connsiteY2693" fmla="*/ 1361425 h 6078415"/>
                <a:gd name="connsiteX2694" fmla="*/ 9661007 w 11685910"/>
                <a:gd name="connsiteY2694" fmla="*/ 1335071 h 6078415"/>
                <a:gd name="connsiteX2695" fmla="*/ 9661007 w 11685910"/>
                <a:gd name="connsiteY2695" fmla="*/ 1316575 h 6078415"/>
                <a:gd name="connsiteX2696" fmla="*/ 9680771 w 11685910"/>
                <a:gd name="connsiteY2696" fmla="*/ 1289715 h 6078415"/>
                <a:gd name="connsiteX2697" fmla="*/ 9680771 w 11685910"/>
                <a:gd name="connsiteY2697" fmla="*/ 1253354 h 6078415"/>
                <a:gd name="connsiteX2698" fmla="*/ 9725874 w 11685910"/>
                <a:gd name="connsiteY2698" fmla="*/ 1214333 h 6078415"/>
                <a:gd name="connsiteX2699" fmla="*/ 8119156 w 11685910"/>
                <a:gd name="connsiteY2699" fmla="*/ 1214333 h 6078415"/>
                <a:gd name="connsiteX2700" fmla="*/ 8164005 w 11685910"/>
                <a:gd name="connsiteY2700" fmla="*/ 1253354 h 6078415"/>
                <a:gd name="connsiteX2701" fmla="*/ 8164005 w 11685910"/>
                <a:gd name="connsiteY2701" fmla="*/ 1289715 h 6078415"/>
                <a:gd name="connsiteX2702" fmla="*/ 8183643 w 11685910"/>
                <a:gd name="connsiteY2702" fmla="*/ 1316575 h 6078415"/>
                <a:gd name="connsiteX2703" fmla="*/ 8183643 w 11685910"/>
                <a:gd name="connsiteY2703" fmla="*/ 1335071 h 6078415"/>
                <a:gd name="connsiteX2704" fmla="*/ 8164005 w 11685910"/>
                <a:gd name="connsiteY2704" fmla="*/ 1361425 h 6078415"/>
                <a:gd name="connsiteX2705" fmla="*/ 8164005 w 11685910"/>
                <a:gd name="connsiteY2705" fmla="*/ 1398799 h 6078415"/>
                <a:gd name="connsiteX2706" fmla="*/ 8119156 w 11685910"/>
                <a:gd name="connsiteY2706" fmla="*/ 1437313 h 6078415"/>
                <a:gd name="connsiteX2707" fmla="*/ 8119156 w 11685910"/>
                <a:gd name="connsiteY2707" fmla="*/ 1417802 h 6078415"/>
                <a:gd name="connsiteX2708" fmla="*/ 8134803 w 11685910"/>
                <a:gd name="connsiteY2708" fmla="*/ 1411722 h 6078415"/>
                <a:gd name="connsiteX2709" fmla="*/ 8139427 w 11685910"/>
                <a:gd name="connsiteY2709" fmla="*/ 1392464 h 6078415"/>
                <a:gd name="connsiteX2710" fmla="*/ 8139427 w 11685910"/>
                <a:gd name="connsiteY2710" fmla="*/ 1357116 h 6078415"/>
                <a:gd name="connsiteX2711" fmla="*/ 8164386 w 11685910"/>
                <a:gd name="connsiteY2711" fmla="*/ 1325823 h 6078415"/>
                <a:gd name="connsiteX2712" fmla="*/ 8164386 w 11685910"/>
                <a:gd name="connsiteY2712" fmla="*/ 1325443 h 6078415"/>
                <a:gd name="connsiteX2713" fmla="*/ 8139427 w 11685910"/>
                <a:gd name="connsiteY2713" fmla="*/ 1293896 h 6078415"/>
                <a:gd name="connsiteX2714" fmla="*/ 8139427 w 11685910"/>
                <a:gd name="connsiteY2714" fmla="*/ 1258169 h 6078415"/>
                <a:gd name="connsiteX2715" fmla="*/ 8119156 w 11685910"/>
                <a:gd name="connsiteY2715" fmla="*/ 1233971 h 6078415"/>
                <a:gd name="connsiteX2716" fmla="*/ 8101672 w 11685910"/>
                <a:gd name="connsiteY2716" fmla="*/ 1214333 h 6078415"/>
                <a:gd name="connsiteX2717" fmla="*/ 8101672 w 11685910"/>
                <a:gd name="connsiteY2717" fmla="*/ 1233971 h 6078415"/>
                <a:gd name="connsiteX2718" fmla="*/ 8081528 w 11685910"/>
                <a:gd name="connsiteY2718" fmla="*/ 1258169 h 6078415"/>
                <a:gd name="connsiteX2719" fmla="*/ 8081528 w 11685910"/>
                <a:gd name="connsiteY2719" fmla="*/ 1293896 h 6078415"/>
                <a:gd name="connsiteX2720" fmla="*/ 8056316 w 11685910"/>
                <a:gd name="connsiteY2720" fmla="*/ 1325443 h 6078415"/>
                <a:gd name="connsiteX2721" fmla="*/ 8056316 w 11685910"/>
                <a:gd name="connsiteY2721" fmla="*/ 1325823 h 6078415"/>
                <a:gd name="connsiteX2722" fmla="*/ 8081528 w 11685910"/>
                <a:gd name="connsiteY2722" fmla="*/ 1357116 h 6078415"/>
                <a:gd name="connsiteX2723" fmla="*/ 8081528 w 11685910"/>
                <a:gd name="connsiteY2723" fmla="*/ 1392464 h 6078415"/>
                <a:gd name="connsiteX2724" fmla="*/ 8086026 w 11685910"/>
                <a:gd name="connsiteY2724" fmla="*/ 1411784 h 6078415"/>
                <a:gd name="connsiteX2725" fmla="*/ 8101672 w 11685910"/>
                <a:gd name="connsiteY2725" fmla="*/ 1417802 h 6078415"/>
                <a:gd name="connsiteX2726" fmla="*/ 8101672 w 11685910"/>
                <a:gd name="connsiteY2726" fmla="*/ 1437313 h 6078415"/>
                <a:gd name="connsiteX2727" fmla="*/ 8056570 w 11685910"/>
                <a:gd name="connsiteY2727" fmla="*/ 1398799 h 6078415"/>
                <a:gd name="connsiteX2728" fmla="*/ 8056570 w 11685910"/>
                <a:gd name="connsiteY2728" fmla="*/ 1361425 h 6078415"/>
                <a:gd name="connsiteX2729" fmla="*/ 8036805 w 11685910"/>
                <a:gd name="connsiteY2729" fmla="*/ 1335071 h 6078415"/>
                <a:gd name="connsiteX2730" fmla="*/ 8036805 w 11685910"/>
                <a:gd name="connsiteY2730" fmla="*/ 1316575 h 6078415"/>
                <a:gd name="connsiteX2731" fmla="*/ 8056570 w 11685910"/>
                <a:gd name="connsiteY2731" fmla="*/ 1289715 h 6078415"/>
                <a:gd name="connsiteX2732" fmla="*/ 8056570 w 11685910"/>
                <a:gd name="connsiteY2732" fmla="*/ 1253354 h 6078415"/>
                <a:gd name="connsiteX2733" fmla="*/ 8101672 w 11685910"/>
                <a:gd name="connsiteY2733" fmla="*/ 1214333 h 6078415"/>
                <a:gd name="connsiteX2734" fmla="*/ 5543447 w 11685910"/>
                <a:gd name="connsiteY2734" fmla="*/ 1214333 h 6078415"/>
                <a:gd name="connsiteX2735" fmla="*/ 5588296 w 11685910"/>
                <a:gd name="connsiteY2735" fmla="*/ 1253354 h 6078415"/>
                <a:gd name="connsiteX2736" fmla="*/ 5588296 w 11685910"/>
                <a:gd name="connsiteY2736" fmla="*/ 1289715 h 6078415"/>
                <a:gd name="connsiteX2737" fmla="*/ 5607934 w 11685910"/>
                <a:gd name="connsiteY2737" fmla="*/ 1316575 h 6078415"/>
                <a:gd name="connsiteX2738" fmla="*/ 5607934 w 11685910"/>
                <a:gd name="connsiteY2738" fmla="*/ 1335071 h 6078415"/>
                <a:gd name="connsiteX2739" fmla="*/ 5588296 w 11685910"/>
                <a:gd name="connsiteY2739" fmla="*/ 1361425 h 6078415"/>
                <a:gd name="connsiteX2740" fmla="*/ 5588296 w 11685910"/>
                <a:gd name="connsiteY2740" fmla="*/ 1398799 h 6078415"/>
                <a:gd name="connsiteX2741" fmla="*/ 5543447 w 11685910"/>
                <a:gd name="connsiteY2741" fmla="*/ 1437313 h 6078415"/>
                <a:gd name="connsiteX2742" fmla="*/ 5543447 w 11685910"/>
                <a:gd name="connsiteY2742" fmla="*/ 1417802 h 6078415"/>
                <a:gd name="connsiteX2743" fmla="*/ 5559093 w 11685910"/>
                <a:gd name="connsiteY2743" fmla="*/ 1411722 h 6078415"/>
                <a:gd name="connsiteX2744" fmla="*/ 5563718 w 11685910"/>
                <a:gd name="connsiteY2744" fmla="*/ 1392464 h 6078415"/>
                <a:gd name="connsiteX2745" fmla="*/ 5563718 w 11685910"/>
                <a:gd name="connsiteY2745" fmla="*/ 1357116 h 6078415"/>
                <a:gd name="connsiteX2746" fmla="*/ 5588677 w 11685910"/>
                <a:gd name="connsiteY2746" fmla="*/ 1325823 h 6078415"/>
                <a:gd name="connsiteX2747" fmla="*/ 5588677 w 11685910"/>
                <a:gd name="connsiteY2747" fmla="*/ 1325443 h 6078415"/>
                <a:gd name="connsiteX2748" fmla="*/ 5563718 w 11685910"/>
                <a:gd name="connsiteY2748" fmla="*/ 1293896 h 6078415"/>
                <a:gd name="connsiteX2749" fmla="*/ 5563718 w 11685910"/>
                <a:gd name="connsiteY2749" fmla="*/ 1258169 h 6078415"/>
                <a:gd name="connsiteX2750" fmla="*/ 5543447 w 11685910"/>
                <a:gd name="connsiteY2750" fmla="*/ 1233971 h 6078415"/>
                <a:gd name="connsiteX2751" fmla="*/ 5525964 w 11685910"/>
                <a:gd name="connsiteY2751" fmla="*/ 1214333 h 6078415"/>
                <a:gd name="connsiteX2752" fmla="*/ 5525964 w 11685910"/>
                <a:gd name="connsiteY2752" fmla="*/ 1233971 h 6078415"/>
                <a:gd name="connsiteX2753" fmla="*/ 5505819 w 11685910"/>
                <a:gd name="connsiteY2753" fmla="*/ 1258169 h 6078415"/>
                <a:gd name="connsiteX2754" fmla="*/ 5505819 w 11685910"/>
                <a:gd name="connsiteY2754" fmla="*/ 1293896 h 6078415"/>
                <a:gd name="connsiteX2755" fmla="*/ 5480606 w 11685910"/>
                <a:gd name="connsiteY2755" fmla="*/ 1325443 h 6078415"/>
                <a:gd name="connsiteX2756" fmla="*/ 5480606 w 11685910"/>
                <a:gd name="connsiteY2756" fmla="*/ 1325823 h 6078415"/>
                <a:gd name="connsiteX2757" fmla="*/ 5505819 w 11685910"/>
                <a:gd name="connsiteY2757" fmla="*/ 1357116 h 6078415"/>
                <a:gd name="connsiteX2758" fmla="*/ 5505819 w 11685910"/>
                <a:gd name="connsiteY2758" fmla="*/ 1392464 h 6078415"/>
                <a:gd name="connsiteX2759" fmla="*/ 5510316 w 11685910"/>
                <a:gd name="connsiteY2759" fmla="*/ 1411784 h 6078415"/>
                <a:gd name="connsiteX2760" fmla="*/ 5525964 w 11685910"/>
                <a:gd name="connsiteY2760" fmla="*/ 1417802 h 6078415"/>
                <a:gd name="connsiteX2761" fmla="*/ 5525964 w 11685910"/>
                <a:gd name="connsiteY2761" fmla="*/ 1437313 h 6078415"/>
                <a:gd name="connsiteX2762" fmla="*/ 5480860 w 11685910"/>
                <a:gd name="connsiteY2762" fmla="*/ 1398799 h 6078415"/>
                <a:gd name="connsiteX2763" fmla="*/ 5480860 w 11685910"/>
                <a:gd name="connsiteY2763" fmla="*/ 1361425 h 6078415"/>
                <a:gd name="connsiteX2764" fmla="*/ 5461096 w 11685910"/>
                <a:gd name="connsiteY2764" fmla="*/ 1335071 h 6078415"/>
                <a:gd name="connsiteX2765" fmla="*/ 5461096 w 11685910"/>
                <a:gd name="connsiteY2765" fmla="*/ 1316575 h 6078415"/>
                <a:gd name="connsiteX2766" fmla="*/ 5480860 w 11685910"/>
                <a:gd name="connsiteY2766" fmla="*/ 1289715 h 6078415"/>
                <a:gd name="connsiteX2767" fmla="*/ 5480860 w 11685910"/>
                <a:gd name="connsiteY2767" fmla="*/ 1253354 h 6078415"/>
                <a:gd name="connsiteX2768" fmla="*/ 5525964 w 11685910"/>
                <a:gd name="connsiteY2768" fmla="*/ 1214333 h 6078415"/>
                <a:gd name="connsiteX2769" fmla="*/ 4877346 w 11685910"/>
                <a:gd name="connsiteY2769" fmla="*/ 1214333 h 6078415"/>
                <a:gd name="connsiteX2770" fmla="*/ 4922195 w 11685910"/>
                <a:gd name="connsiteY2770" fmla="*/ 1253354 h 6078415"/>
                <a:gd name="connsiteX2771" fmla="*/ 4922195 w 11685910"/>
                <a:gd name="connsiteY2771" fmla="*/ 1289715 h 6078415"/>
                <a:gd name="connsiteX2772" fmla="*/ 4941832 w 11685910"/>
                <a:gd name="connsiteY2772" fmla="*/ 1316575 h 6078415"/>
                <a:gd name="connsiteX2773" fmla="*/ 4941832 w 11685910"/>
                <a:gd name="connsiteY2773" fmla="*/ 1335071 h 6078415"/>
                <a:gd name="connsiteX2774" fmla="*/ 4922195 w 11685910"/>
                <a:gd name="connsiteY2774" fmla="*/ 1361425 h 6078415"/>
                <a:gd name="connsiteX2775" fmla="*/ 4922195 w 11685910"/>
                <a:gd name="connsiteY2775" fmla="*/ 1398799 h 6078415"/>
                <a:gd name="connsiteX2776" fmla="*/ 4877346 w 11685910"/>
                <a:gd name="connsiteY2776" fmla="*/ 1437313 h 6078415"/>
                <a:gd name="connsiteX2777" fmla="*/ 4877346 w 11685910"/>
                <a:gd name="connsiteY2777" fmla="*/ 1417802 h 6078415"/>
                <a:gd name="connsiteX2778" fmla="*/ 4892991 w 11685910"/>
                <a:gd name="connsiteY2778" fmla="*/ 1411722 h 6078415"/>
                <a:gd name="connsiteX2779" fmla="*/ 4897617 w 11685910"/>
                <a:gd name="connsiteY2779" fmla="*/ 1392464 h 6078415"/>
                <a:gd name="connsiteX2780" fmla="*/ 4897617 w 11685910"/>
                <a:gd name="connsiteY2780" fmla="*/ 1357116 h 6078415"/>
                <a:gd name="connsiteX2781" fmla="*/ 4922575 w 11685910"/>
                <a:gd name="connsiteY2781" fmla="*/ 1325823 h 6078415"/>
                <a:gd name="connsiteX2782" fmla="*/ 4922575 w 11685910"/>
                <a:gd name="connsiteY2782" fmla="*/ 1325443 h 6078415"/>
                <a:gd name="connsiteX2783" fmla="*/ 4897617 w 11685910"/>
                <a:gd name="connsiteY2783" fmla="*/ 1293896 h 6078415"/>
                <a:gd name="connsiteX2784" fmla="*/ 4897617 w 11685910"/>
                <a:gd name="connsiteY2784" fmla="*/ 1258169 h 6078415"/>
                <a:gd name="connsiteX2785" fmla="*/ 4877346 w 11685910"/>
                <a:gd name="connsiteY2785" fmla="*/ 1233971 h 6078415"/>
                <a:gd name="connsiteX2786" fmla="*/ 4859861 w 11685910"/>
                <a:gd name="connsiteY2786" fmla="*/ 1214333 h 6078415"/>
                <a:gd name="connsiteX2787" fmla="*/ 4859861 w 11685910"/>
                <a:gd name="connsiteY2787" fmla="*/ 1233971 h 6078415"/>
                <a:gd name="connsiteX2788" fmla="*/ 4839717 w 11685910"/>
                <a:gd name="connsiteY2788" fmla="*/ 1258169 h 6078415"/>
                <a:gd name="connsiteX2789" fmla="*/ 4839717 w 11685910"/>
                <a:gd name="connsiteY2789" fmla="*/ 1293896 h 6078415"/>
                <a:gd name="connsiteX2790" fmla="*/ 4814505 w 11685910"/>
                <a:gd name="connsiteY2790" fmla="*/ 1325443 h 6078415"/>
                <a:gd name="connsiteX2791" fmla="*/ 4814505 w 11685910"/>
                <a:gd name="connsiteY2791" fmla="*/ 1325823 h 6078415"/>
                <a:gd name="connsiteX2792" fmla="*/ 4839717 w 11685910"/>
                <a:gd name="connsiteY2792" fmla="*/ 1357116 h 6078415"/>
                <a:gd name="connsiteX2793" fmla="*/ 4839717 w 11685910"/>
                <a:gd name="connsiteY2793" fmla="*/ 1392464 h 6078415"/>
                <a:gd name="connsiteX2794" fmla="*/ 4844214 w 11685910"/>
                <a:gd name="connsiteY2794" fmla="*/ 1411784 h 6078415"/>
                <a:gd name="connsiteX2795" fmla="*/ 4859861 w 11685910"/>
                <a:gd name="connsiteY2795" fmla="*/ 1417802 h 6078415"/>
                <a:gd name="connsiteX2796" fmla="*/ 4859861 w 11685910"/>
                <a:gd name="connsiteY2796" fmla="*/ 1437313 h 6078415"/>
                <a:gd name="connsiteX2797" fmla="*/ 4814758 w 11685910"/>
                <a:gd name="connsiteY2797" fmla="*/ 1398799 h 6078415"/>
                <a:gd name="connsiteX2798" fmla="*/ 4814758 w 11685910"/>
                <a:gd name="connsiteY2798" fmla="*/ 1361425 h 6078415"/>
                <a:gd name="connsiteX2799" fmla="*/ 4794994 w 11685910"/>
                <a:gd name="connsiteY2799" fmla="*/ 1335071 h 6078415"/>
                <a:gd name="connsiteX2800" fmla="*/ 4794994 w 11685910"/>
                <a:gd name="connsiteY2800" fmla="*/ 1316575 h 6078415"/>
                <a:gd name="connsiteX2801" fmla="*/ 4814758 w 11685910"/>
                <a:gd name="connsiteY2801" fmla="*/ 1289715 h 6078415"/>
                <a:gd name="connsiteX2802" fmla="*/ 4814758 w 11685910"/>
                <a:gd name="connsiteY2802" fmla="*/ 1253354 h 6078415"/>
                <a:gd name="connsiteX2803" fmla="*/ 4859861 w 11685910"/>
                <a:gd name="connsiteY2803" fmla="*/ 1214333 h 6078415"/>
                <a:gd name="connsiteX2804" fmla="*/ 2052800 w 11685910"/>
                <a:gd name="connsiteY2804" fmla="*/ 1214333 h 6078415"/>
                <a:gd name="connsiteX2805" fmla="*/ 2097651 w 11685910"/>
                <a:gd name="connsiteY2805" fmla="*/ 1253354 h 6078415"/>
                <a:gd name="connsiteX2806" fmla="*/ 2097651 w 11685910"/>
                <a:gd name="connsiteY2806" fmla="*/ 1289715 h 6078415"/>
                <a:gd name="connsiteX2807" fmla="*/ 2117288 w 11685910"/>
                <a:gd name="connsiteY2807" fmla="*/ 1316575 h 6078415"/>
                <a:gd name="connsiteX2808" fmla="*/ 2117288 w 11685910"/>
                <a:gd name="connsiteY2808" fmla="*/ 1335071 h 6078415"/>
                <a:gd name="connsiteX2809" fmla="*/ 2097651 w 11685910"/>
                <a:gd name="connsiteY2809" fmla="*/ 1361425 h 6078415"/>
                <a:gd name="connsiteX2810" fmla="*/ 2097651 w 11685910"/>
                <a:gd name="connsiteY2810" fmla="*/ 1398799 h 6078415"/>
                <a:gd name="connsiteX2811" fmla="*/ 2052800 w 11685910"/>
                <a:gd name="connsiteY2811" fmla="*/ 1437313 h 6078415"/>
                <a:gd name="connsiteX2812" fmla="*/ 2052800 w 11685910"/>
                <a:gd name="connsiteY2812" fmla="*/ 1417802 h 6078415"/>
                <a:gd name="connsiteX2813" fmla="*/ 2068447 w 11685910"/>
                <a:gd name="connsiteY2813" fmla="*/ 1411722 h 6078415"/>
                <a:gd name="connsiteX2814" fmla="*/ 2073072 w 11685910"/>
                <a:gd name="connsiteY2814" fmla="*/ 1392464 h 6078415"/>
                <a:gd name="connsiteX2815" fmla="*/ 2073072 w 11685910"/>
                <a:gd name="connsiteY2815" fmla="*/ 1357116 h 6078415"/>
                <a:gd name="connsiteX2816" fmla="*/ 2098031 w 11685910"/>
                <a:gd name="connsiteY2816" fmla="*/ 1325823 h 6078415"/>
                <a:gd name="connsiteX2817" fmla="*/ 2098031 w 11685910"/>
                <a:gd name="connsiteY2817" fmla="*/ 1325443 h 6078415"/>
                <a:gd name="connsiteX2818" fmla="*/ 2073072 w 11685910"/>
                <a:gd name="connsiteY2818" fmla="*/ 1293896 h 6078415"/>
                <a:gd name="connsiteX2819" fmla="*/ 2073072 w 11685910"/>
                <a:gd name="connsiteY2819" fmla="*/ 1258169 h 6078415"/>
                <a:gd name="connsiteX2820" fmla="*/ 2052800 w 11685910"/>
                <a:gd name="connsiteY2820" fmla="*/ 1233971 h 6078415"/>
                <a:gd name="connsiteX2821" fmla="*/ 2035316 w 11685910"/>
                <a:gd name="connsiteY2821" fmla="*/ 1214333 h 6078415"/>
                <a:gd name="connsiteX2822" fmla="*/ 2035316 w 11685910"/>
                <a:gd name="connsiteY2822" fmla="*/ 1233971 h 6078415"/>
                <a:gd name="connsiteX2823" fmla="*/ 2015173 w 11685910"/>
                <a:gd name="connsiteY2823" fmla="*/ 1258169 h 6078415"/>
                <a:gd name="connsiteX2824" fmla="*/ 2015173 w 11685910"/>
                <a:gd name="connsiteY2824" fmla="*/ 1293896 h 6078415"/>
                <a:gd name="connsiteX2825" fmla="*/ 1989960 w 11685910"/>
                <a:gd name="connsiteY2825" fmla="*/ 1325443 h 6078415"/>
                <a:gd name="connsiteX2826" fmla="*/ 1989960 w 11685910"/>
                <a:gd name="connsiteY2826" fmla="*/ 1325823 h 6078415"/>
                <a:gd name="connsiteX2827" fmla="*/ 2015173 w 11685910"/>
                <a:gd name="connsiteY2827" fmla="*/ 1357116 h 6078415"/>
                <a:gd name="connsiteX2828" fmla="*/ 2015173 w 11685910"/>
                <a:gd name="connsiteY2828" fmla="*/ 1392464 h 6078415"/>
                <a:gd name="connsiteX2829" fmla="*/ 2019670 w 11685910"/>
                <a:gd name="connsiteY2829" fmla="*/ 1411784 h 6078415"/>
                <a:gd name="connsiteX2830" fmla="*/ 2035316 w 11685910"/>
                <a:gd name="connsiteY2830" fmla="*/ 1417802 h 6078415"/>
                <a:gd name="connsiteX2831" fmla="*/ 2035316 w 11685910"/>
                <a:gd name="connsiteY2831" fmla="*/ 1437313 h 6078415"/>
                <a:gd name="connsiteX2832" fmla="*/ 1990214 w 11685910"/>
                <a:gd name="connsiteY2832" fmla="*/ 1398799 h 6078415"/>
                <a:gd name="connsiteX2833" fmla="*/ 1990214 w 11685910"/>
                <a:gd name="connsiteY2833" fmla="*/ 1361425 h 6078415"/>
                <a:gd name="connsiteX2834" fmla="*/ 1970449 w 11685910"/>
                <a:gd name="connsiteY2834" fmla="*/ 1335071 h 6078415"/>
                <a:gd name="connsiteX2835" fmla="*/ 1970449 w 11685910"/>
                <a:gd name="connsiteY2835" fmla="*/ 1316575 h 6078415"/>
                <a:gd name="connsiteX2836" fmla="*/ 1990214 w 11685910"/>
                <a:gd name="connsiteY2836" fmla="*/ 1289715 h 6078415"/>
                <a:gd name="connsiteX2837" fmla="*/ 1990214 w 11685910"/>
                <a:gd name="connsiteY2837" fmla="*/ 1253354 h 6078415"/>
                <a:gd name="connsiteX2838" fmla="*/ 2035316 w 11685910"/>
                <a:gd name="connsiteY2838" fmla="*/ 1214333 h 6078415"/>
                <a:gd name="connsiteX2839" fmla="*/ 8998507 w 11685910"/>
                <a:gd name="connsiteY2839" fmla="*/ 1084932 h 6078415"/>
                <a:gd name="connsiteX2840" fmla="*/ 8975158 w 11685910"/>
                <a:gd name="connsiteY2840" fmla="*/ 1124444 h 6078415"/>
                <a:gd name="connsiteX2841" fmla="*/ 8991682 w 11685910"/>
                <a:gd name="connsiteY2841" fmla="*/ 1127857 h 6078415"/>
                <a:gd name="connsiteX2842" fmla="*/ 9008205 w 11685910"/>
                <a:gd name="connsiteY2842" fmla="*/ 1124265 h 6078415"/>
                <a:gd name="connsiteX2843" fmla="*/ 9005242 w 11685910"/>
                <a:gd name="connsiteY2843" fmla="*/ 1114746 h 6078415"/>
                <a:gd name="connsiteX2844" fmla="*/ 9006230 w 11685910"/>
                <a:gd name="connsiteY2844" fmla="*/ 1101455 h 6078415"/>
                <a:gd name="connsiteX2845" fmla="*/ 8998507 w 11685910"/>
                <a:gd name="connsiteY2845" fmla="*/ 1084932 h 6078415"/>
                <a:gd name="connsiteX2846" fmla="*/ 2937770 w 11685910"/>
                <a:gd name="connsiteY2846" fmla="*/ 1084932 h 6078415"/>
                <a:gd name="connsiteX2847" fmla="*/ 2914421 w 11685910"/>
                <a:gd name="connsiteY2847" fmla="*/ 1124444 h 6078415"/>
                <a:gd name="connsiteX2848" fmla="*/ 2930946 w 11685910"/>
                <a:gd name="connsiteY2848" fmla="*/ 1127857 h 6078415"/>
                <a:gd name="connsiteX2849" fmla="*/ 2947468 w 11685910"/>
                <a:gd name="connsiteY2849" fmla="*/ 1124265 h 6078415"/>
                <a:gd name="connsiteX2850" fmla="*/ 2944505 w 11685910"/>
                <a:gd name="connsiteY2850" fmla="*/ 1114746 h 6078415"/>
                <a:gd name="connsiteX2851" fmla="*/ 2945494 w 11685910"/>
                <a:gd name="connsiteY2851" fmla="*/ 1101455 h 6078415"/>
                <a:gd name="connsiteX2852" fmla="*/ 2937770 w 11685910"/>
                <a:gd name="connsiteY2852" fmla="*/ 1084932 h 6078415"/>
                <a:gd name="connsiteX2853" fmla="*/ 8837402 w 11685910"/>
                <a:gd name="connsiteY2853" fmla="*/ 1068408 h 6078415"/>
                <a:gd name="connsiteX2854" fmla="*/ 8823663 w 11685910"/>
                <a:gd name="connsiteY2854" fmla="*/ 1088793 h 6078415"/>
                <a:gd name="connsiteX2855" fmla="*/ 8845305 w 11685910"/>
                <a:gd name="connsiteY2855" fmla="*/ 1110525 h 6078415"/>
                <a:gd name="connsiteX2856" fmla="*/ 8854285 w 11685910"/>
                <a:gd name="connsiteY2856" fmla="*/ 1103251 h 6078415"/>
                <a:gd name="connsiteX2857" fmla="*/ 8837402 w 11685910"/>
                <a:gd name="connsiteY2857" fmla="*/ 1068408 h 6078415"/>
                <a:gd name="connsiteX2858" fmla="*/ 2776666 w 11685910"/>
                <a:gd name="connsiteY2858" fmla="*/ 1068408 h 6078415"/>
                <a:gd name="connsiteX2859" fmla="*/ 2762926 w 11685910"/>
                <a:gd name="connsiteY2859" fmla="*/ 1088793 h 6078415"/>
                <a:gd name="connsiteX2860" fmla="*/ 2784568 w 11685910"/>
                <a:gd name="connsiteY2860" fmla="*/ 1110525 h 6078415"/>
                <a:gd name="connsiteX2861" fmla="*/ 2793548 w 11685910"/>
                <a:gd name="connsiteY2861" fmla="*/ 1103251 h 6078415"/>
                <a:gd name="connsiteX2862" fmla="*/ 2776666 w 11685910"/>
                <a:gd name="connsiteY2862" fmla="*/ 1068408 h 6078415"/>
                <a:gd name="connsiteX2863" fmla="*/ 8820903 w 11685910"/>
                <a:gd name="connsiteY2863" fmla="*/ 999655 h 6078415"/>
                <a:gd name="connsiteX2864" fmla="*/ 8820701 w 11685910"/>
                <a:gd name="connsiteY2864" fmla="*/ 1001181 h 6078415"/>
                <a:gd name="connsiteX2865" fmla="*/ 8820634 w 11685910"/>
                <a:gd name="connsiteY2865" fmla="*/ 999913 h 6078415"/>
                <a:gd name="connsiteX2866" fmla="*/ 2760166 w 11685910"/>
                <a:gd name="connsiteY2866" fmla="*/ 999654 h 6078415"/>
                <a:gd name="connsiteX2867" fmla="*/ 2759965 w 11685910"/>
                <a:gd name="connsiteY2867" fmla="*/ 1001182 h 6078415"/>
                <a:gd name="connsiteX2868" fmla="*/ 2759898 w 11685910"/>
                <a:gd name="connsiteY2868" fmla="*/ 999913 h 6078415"/>
                <a:gd name="connsiteX2869" fmla="*/ 9024190 w 11685910"/>
                <a:gd name="connsiteY2869" fmla="*/ 972275 h 6078415"/>
                <a:gd name="connsiteX2870" fmla="*/ 9020171 w 11685910"/>
                <a:gd name="connsiteY2870" fmla="*/ 975149 h 6078415"/>
                <a:gd name="connsiteX2871" fmla="*/ 9027141 w 11685910"/>
                <a:gd name="connsiteY2871" fmla="*/ 983577 h 6078415"/>
                <a:gd name="connsiteX2872" fmla="*/ 9034068 w 11685910"/>
                <a:gd name="connsiteY2872" fmla="*/ 981839 h 6078415"/>
                <a:gd name="connsiteX2873" fmla="*/ 9007667 w 11685910"/>
                <a:gd name="connsiteY2873" fmla="*/ 1001147 h 6078415"/>
                <a:gd name="connsiteX2874" fmla="*/ 9012717 w 11685910"/>
                <a:gd name="connsiteY2874" fmla="*/ 993472 h 6078415"/>
                <a:gd name="connsiteX2875" fmla="*/ 9004883 w 11685910"/>
                <a:gd name="connsiteY2875" fmla="*/ 986464 h 6078415"/>
                <a:gd name="connsiteX2876" fmla="*/ 9000033 w 11685910"/>
                <a:gd name="connsiteY2876" fmla="*/ 990550 h 6078415"/>
                <a:gd name="connsiteX2877" fmla="*/ 9024190 w 11685910"/>
                <a:gd name="connsiteY2877" fmla="*/ 972275 h 6078415"/>
                <a:gd name="connsiteX2878" fmla="*/ 2963453 w 11685910"/>
                <a:gd name="connsiteY2878" fmla="*/ 972275 h 6078415"/>
                <a:gd name="connsiteX2879" fmla="*/ 2959436 w 11685910"/>
                <a:gd name="connsiteY2879" fmla="*/ 975149 h 6078415"/>
                <a:gd name="connsiteX2880" fmla="*/ 2966404 w 11685910"/>
                <a:gd name="connsiteY2880" fmla="*/ 983577 h 6078415"/>
                <a:gd name="connsiteX2881" fmla="*/ 2973332 w 11685910"/>
                <a:gd name="connsiteY2881" fmla="*/ 981839 h 6078415"/>
                <a:gd name="connsiteX2882" fmla="*/ 2946930 w 11685910"/>
                <a:gd name="connsiteY2882" fmla="*/ 1001147 h 6078415"/>
                <a:gd name="connsiteX2883" fmla="*/ 2951980 w 11685910"/>
                <a:gd name="connsiteY2883" fmla="*/ 993472 h 6078415"/>
                <a:gd name="connsiteX2884" fmla="*/ 2944146 w 11685910"/>
                <a:gd name="connsiteY2884" fmla="*/ 986464 h 6078415"/>
                <a:gd name="connsiteX2885" fmla="*/ 2939297 w 11685910"/>
                <a:gd name="connsiteY2885" fmla="*/ 990550 h 6078415"/>
                <a:gd name="connsiteX2886" fmla="*/ 2963453 w 11685910"/>
                <a:gd name="connsiteY2886" fmla="*/ 972275 h 6078415"/>
                <a:gd name="connsiteX2887" fmla="*/ 8997441 w 11685910"/>
                <a:gd name="connsiteY2887" fmla="*/ 955753 h 6078415"/>
                <a:gd name="connsiteX2888" fmla="*/ 8999742 w 11685910"/>
                <a:gd name="connsiteY2888" fmla="*/ 955790 h 6078415"/>
                <a:gd name="connsiteX2889" fmla="*/ 9007936 w 11685910"/>
                <a:gd name="connsiteY2889" fmla="*/ 957054 h 6078415"/>
                <a:gd name="connsiteX2890" fmla="*/ 8988898 w 11685910"/>
                <a:gd name="connsiteY2890" fmla="*/ 976092 h 6078415"/>
                <a:gd name="connsiteX2891" fmla="*/ 8997441 w 11685910"/>
                <a:gd name="connsiteY2891" fmla="*/ 955753 h 6078415"/>
                <a:gd name="connsiteX2892" fmla="*/ 2936704 w 11685910"/>
                <a:gd name="connsiteY2892" fmla="*/ 955753 h 6078415"/>
                <a:gd name="connsiteX2893" fmla="*/ 2939005 w 11685910"/>
                <a:gd name="connsiteY2893" fmla="*/ 955790 h 6078415"/>
                <a:gd name="connsiteX2894" fmla="*/ 2947199 w 11685910"/>
                <a:gd name="connsiteY2894" fmla="*/ 957054 h 6078415"/>
                <a:gd name="connsiteX2895" fmla="*/ 2928161 w 11685910"/>
                <a:gd name="connsiteY2895" fmla="*/ 976092 h 6078415"/>
                <a:gd name="connsiteX2896" fmla="*/ 2936704 w 11685910"/>
                <a:gd name="connsiteY2896" fmla="*/ 955753 h 6078415"/>
                <a:gd name="connsiteX2897" fmla="*/ 9100739 w 11685910"/>
                <a:gd name="connsiteY2897" fmla="*/ 933525 h 6078415"/>
                <a:gd name="connsiteX2898" fmla="*/ 9092486 w 11685910"/>
                <a:gd name="connsiteY2898" fmla="*/ 947541 h 6078415"/>
                <a:gd name="connsiteX2899" fmla="*/ 9080228 w 11685910"/>
                <a:gd name="connsiteY2899" fmla="*/ 949546 h 6078415"/>
                <a:gd name="connsiteX2900" fmla="*/ 9091445 w 11685910"/>
                <a:gd name="connsiteY2900" fmla="*/ 942872 h 6078415"/>
                <a:gd name="connsiteX2901" fmla="*/ 9100739 w 11685910"/>
                <a:gd name="connsiteY2901" fmla="*/ 933525 h 6078415"/>
                <a:gd name="connsiteX2902" fmla="*/ 3040003 w 11685910"/>
                <a:gd name="connsiteY2902" fmla="*/ 933525 h 6078415"/>
                <a:gd name="connsiteX2903" fmla="*/ 3031749 w 11685910"/>
                <a:gd name="connsiteY2903" fmla="*/ 947541 h 6078415"/>
                <a:gd name="connsiteX2904" fmla="*/ 3019491 w 11685910"/>
                <a:gd name="connsiteY2904" fmla="*/ 949546 h 6078415"/>
                <a:gd name="connsiteX2905" fmla="*/ 3030708 w 11685910"/>
                <a:gd name="connsiteY2905" fmla="*/ 942872 h 6078415"/>
                <a:gd name="connsiteX2906" fmla="*/ 3040003 w 11685910"/>
                <a:gd name="connsiteY2906" fmla="*/ 933525 h 6078415"/>
                <a:gd name="connsiteX2907" fmla="*/ 10081433 w 11685910"/>
                <a:gd name="connsiteY2907" fmla="*/ 916889 h 6078415"/>
                <a:gd name="connsiteX2908" fmla="*/ 10136119 w 11685910"/>
                <a:gd name="connsiteY2908" fmla="*/ 955910 h 6078415"/>
                <a:gd name="connsiteX2909" fmla="*/ 10136119 w 11685910"/>
                <a:gd name="connsiteY2909" fmla="*/ 992271 h 6078415"/>
                <a:gd name="connsiteX2910" fmla="*/ 10160063 w 11685910"/>
                <a:gd name="connsiteY2910" fmla="*/ 1019131 h 6078415"/>
                <a:gd name="connsiteX2911" fmla="*/ 10160063 w 11685910"/>
                <a:gd name="connsiteY2911" fmla="*/ 1037627 h 6078415"/>
                <a:gd name="connsiteX2912" fmla="*/ 10136119 w 11685910"/>
                <a:gd name="connsiteY2912" fmla="*/ 1063980 h 6078415"/>
                <a:gd name="connsiteX2913" fmla="*/ 10136119 w 11685910"/>
                <a:gd name="connsiteY2913" fmla="*/ 1101355 h 6078415"/>
                <a:gd name="connsiteX2914" fmla="*/ 10081433 w 11685910"/>
                <a:gd name="connsiteY2914" fmla="*/ 1139869 h 6078415"/>
                <a:gd name="connsiteX2915" fmla="*/ 10081433 w 11685910"/>
                <a:gd name="connsiteY2915" fmla="*/ 1120358 h 6078415"/>
                <a:gd name="connsiteX2916" fmla="*/ 10100511 w 11685910"/>
                <a:gd name="connsiteY2916" fmla="*/ 1114277 h 6078415"/>
                <a:gd name="connsiteX2917" fmla="*/ 10106150 w 11685910"/>
                <a:gd name="connsiteY2917" fmla="*/ 1095020 h 6078415"/>
                <a:gd name="connsiteX2918" fmla="*/ 10106150 w 11685910"/>
                <a:gd name="connsiteY2918" fmla="*/ 1059672 h 6078415"/>
                <a:gd name="connsiteX2919" fmla="*/ 10136582 w 11685910"/>
                <a:gd name="connsiteY2919" fmla="*/ 1028379 h 6078415"/>
                <a:gd name="connsiteX2920" fmla="*/ 10136582 w 11685910"/>
                <a:gd name="connsiteY2920" fmla="*/ 1027999 h 6078415"/>
                <a:gd name="connsiteX2921" fmla="*/ 10106150 w 11685910"/>
                <a:gd name="connsiteY2921" fmla="*/ 996452 h 6078415"/>
                <a:gd name="connsiteX2922" fmla="*/ 10106150 w 11685910"/>
                <a:gd name="connsiteY2922" fmla="*/ 960725 h 6078415"/>
                <a:gd name="connsiteX2923" fmla="*/ 10081433 w 11685910"/>
                <a:gd name="connsiteY2923" fmla="*/ 936527 h 6078415"/>
                <a:gd name="connsiteX2924" fmla="*/ 10060114 w 11685910"/>
                <a:gd name="connsiteY2924" fmla="*/ 916889 h 6078415"/>
                <a:gd name="connsiteX2925" fmla="*/ 10060114 w 11685910"/>
                <a:gd name="connsiteY2925" fmla="*/ 936527 h 6078415"/>
                <a:gd name="connsiteX2926" fmla="*/ 10035552 w 11685910"/>
                <a:gd name="connsiteY2926" fmla="*/ 960725 h 6078415"/>
                <a:gd name="connsiteX2927" fmla="*/ 10035552 w 11685910"/>
                <a:gd name="connsiteY2927" fmla="*/ 996452 h 6078415"/>
                <a:gd name="connsiteX2928" fmla="*/ 10004811 w 11685910"/>
                <a:gd name="connsiteY2928" fmla="*/ 1027999 h 6078415"/>
                <a:gd name="connsiteX2929" fmla="*/ 10004811 w 11685910"/>
                <a:gd name="connsiteY2929" fmla="*/ 1028379 h 6078415"/>
                <a:gd name="connsiteX2930" fmla="*/ 10035552 w 11685910"/>
                <a:gd name="connsiteY2930" fmla="*/ 1059672 h 6078415"/>
                <a:gd name="connsiteX2931" fmla="*/ 10035552 w 11685910"/>
                <a:gd name="connsiteY2931" fmla="*/ 1095020 h 6078415"/>
                <a:gd name="connsiteX2932" fmla="*/ 10041036 w 11685910"/>
                <a:gd name="connsiteY2932" fmla="*/ 1114340 h 6078415"/>
                <a:gd name="connsiteX2933" fmla="*/ 10060114 w 11685910"/>
                <a:gd name="connsiteY2933" fmla="*/ 1120358 h 6078415"/>
                <a:gd name="connsiteX2934" fmla="*/ 10060114 w 11685910"/>
                <a:gd name="connsiteY2934" fmla="*/ 1139869 h 6078415"/>
                <a:gd name="connsiteX2935" fmla="*/ 10005120 w 11685910"/>
                <a:gd name="connsiteY2935" fmla="*/ 1101355 h 6078415"/>
                <a:gd name="connsiteX2936" fmla="*/ 10005120 w 11685910"/>
                <a:gd name="connsiteY2936" fmla="*/ 1063980 h 6078415"/>
                <a:gd name="connsiteX2937" fmla="*/ 9981021 w 11685910"/>
                <a:gd name="connsiteY2937" fmla="*/ 1037627 h 6078415"/>
                <a:gd name="connsiteX2938" fmla="*/ 9981021 w 11685910"/>
                <a:gd name="connsiteY2938" fmla="*/ 1019131 h 6078415"/>
                <a:gd name="connsiteX2939" fmla="*/ 10005120 w 11685910"/>
                <a:gd name="connsiteY2939" fmla="*/ 992271 h 6078415"/>
                <a:gd name="connsiteX2940" fmla="*/ 10005120 w 11685910"/>
                <a:gd name="connsiteY2940" fmla="*/ 955910 h 6078415"/>
                <a:gd name="connsiteX2941" fmla="*/ 10060114 w 11685910"/>
                <a:gd name="connsiteY2941" fmla="*/ 916889 h 6078415"/>
                <a:gd name="connsiteX2942" fmla="*/ 4018207 w 11685910"/>
                <a:gd name="connsiteY2942" fmla="*/ 916889 h 6078415"/>
                <a:gd name="connsiteX2943" fmla="*/ 4072893 w 11685910"/>
                <a:gd name="connsiteY2943" fmla="*/ 955910 h 6078415"/>
                <a:gd name="connsiteX2944" fmla="*/ 4072893 w 11685910"/>
                <a:gd name="connsiteY2944" fmla="*/ 992271 h 6078415"/>
                <a:gd name="connsiteX2945" fmla="*/ 4096837 w 11685910"/>
                <a:gd name="connsiteY2945" fmla="*/ 1019131 h 6078415"/>
                <a:gd name="connsiteX2946" fmla="*/ 4096837 w 11685910"/>
                <a:gd name="connsiteY2946" fmla="*/ 1037627 h 6078415"/>
                <a:gd name="connsiteX2947" fmla="*/ 4072893 w 11685910"/>
                <a:gd name="connsiteY2947" fmla="*/ 1063980 h 6078415"/>
                <a:gd name="connsiteX2948" fmla="*/ 4072893 w 11685910"/>
                <a:gd name="connsiteY2948" fmla="*/ 1101355 h 6078415"/>
                <a:gd name="connsiteX2949" fmla="*/ 4018207 w 11685910"/>
                <a:gd name="connsiteY2949" fmla="*/ 1139869 h 6078415"/>
                <a:gd name="connsiteX2950" fmla="*/ 4018207 w 11685910"/>
                <a:gd name="connsiteY2950" fmla="*/ 1120358 h 6078415"/>
                <a:gd name="connsiteX2951" fmla="*/ 4037285 w 11685910"/>
                <a:gd name="connsiteY2951" fmla="*/ 1114277 h 6078415"/>
                <a:gd name="connsiteX2952" fmla="*/ 4042924 w 11685910"/>
                <a:gd name="connsiteY2952" fmla="*/ 1095020 h 6078415"/>
                <a:gd name="connsiteX2953" fmla="*/ 4042924 w 11685910"/>
                <a:gd name="connsiteY2953" fmla="*/ 1059672 h 6078415"/>
                <a:gd name="connsiteX2954" fmla="*/ 4073356 w 11685910"/>
                <a:gd name="connsiteY2954" fmla="*/ 1028379 h 6078415"/>
                <a:gd name="connsiteX2955" fmla="*/ 4073356 w 11685910"/>
                <a:gd name="connsiteY2955" fmla="*/ 1027999 h 6078415"/>
                <a:gd name="connsiteX2956" fmla="*/ 4042924 w 11685910"/>
                <a:gd name="connsiteY2956" fmla="*/ 996452 h 6078415"/>
                <a:gd name="connsiteX2957" fmla="*/ 4042924 w 11685910"/>
                <a:gd name="connsiteY2957" fmla="*/ 960725 h 6078415"/>
                <a:gd name="connsiteX2958" fmla="*/ 4018207 w 11685910"/>
                <a:gd name="connsiteY2958" fmla="*/ 936527 h 6078415"/>
                <a:gd name="connsiteX2959" fmla="*/ 3996889 w 11685910"/>
                <a:gd name="connsiteY2959" fmla="*/ 916889 h 6078415"/>
                <a:gd name="connsiteX2960" fmla="*/ 3996889 w 11685910"/>
                <a:gd name="connsiteY2960" fmla="*/ 936527 h 6078415"/>
                <a:gd name="connsiteX2961" fmla="*/ 3972327 w 11685910"/>
                <a:gd name="connsiteY2961" fmla="*/ 960725 h 6078415"/>
                <a:gd name="connsiteX2962" fmla="*/ 3972327 w 11685910"/>
                <a:gd name="connsiteY2962" fmla="*/ 996452 h 6078415"/>
                <a:gd name="connsiteX2963" fmla="*/ 3941585 w 11685910"/>
                <a:gd name="connsiteY2963" fmla="*/ 1027999 h 6078415"/>
                <a:gd name="connsiteX2964" fmla="*/ 3941585 w 11685910"/>
                <a:gd name="connsiteY2964" fmla="*/ 1028379 h 6078415"/>
                <a:gd name="connsiteX2965" fmla="*/ 3972327 w 11685910"/>
                <a:gd name="connsiteY2965" fmla="*/ 1059672 h 6078415"/>
                <a:gd name="connsiteX2966" fmla="*/ 3972327 w 11685910"/>
                <a:gd name="connsiteY2966" fmla="*/ 1095020 h 6078415"/>
                <a:gd name="connsiteX2967" fmla="*/ 3977811 w 11685910"/>
                <a:gd name="connsiteY2967" fmla="*/ 1114340 h 6078415"/>
                <a:gd name="connsiteX2968" fmla="*/ 3996889 w 11685910"/>
                <a:gd name="connsiteY2968" fmla="*/ 1120358 h 6078415"/>
                <a:gd name="connsiteX2969" fmla="*/ 3996889 w 11685910"/>
                <a:gd name="connsiteY2969" fmla="*/ 1139869 h 6078415"/>
                <a:gd name="connsiteX2970" fmla="*/ 3941894 w 11685910"/>
                <a:gd name="connsiteY2970" fmla="*/ 1101355 h 6078415"/>
                <a:gd name="connsiteX2971" fmla="*/ 3941894 w 11685910"/>
                <a:gd name="connsiteY2971" fmla="*/ 1063980 h 6078415"/>
                <a:gd name="connsiteX2972" fmla="*/ 3917795 w 11685910"/>
                <a:gd name="connsiteY2972" fmla="*/ 1037627 h 6078415"/>
                <a:gd name="connsiteX2973" fmla="*/ 3917795 w 11685910"/>
                <a:gd name="connsiteY2973" fmla="*/ 1019131 h 6078415"/>
                <a:gd name="connsiteX2974" fmla="*/ 3941894 w 11685910"/>
                <a:gd name="connsiteY2974" fmla="*/ 992271 h 6078415"/>
                <a:gd name="connsiteX2975" fmla="*/ 3941894 w 11685910"/>
                <a:gd name="connsiteY2975" fmla="*/ 955910 h 6078415"/>
                <a:gd name="connsiteX2976" fmla="*/ 3996889 w 11685910"/>
                <a:gd name="connsiteY2976" fmla="*/ 916889 h 6078415"/>
                <a:gd name="connsiteX2977" fmla="*/ 8996098 w 11685910"/>
                <a:gd name="connsiteY2977" fmla="*/ 914392 h 6078415"/>
                <a:gd name="connsiteX2978" fmla="*/ 9002002 w 11685910"/>
                <a:gd name="connsiteY2978" fmla="*/ 914909 h 6078415"/>
                <a:gd name="connsiteX2979" fmla="*/ 9045278 w 11685910"/>
                <a:gd name="connsiteY2979" fmla="*/ 944327 h 6078415"/>
                <a:gd name="connsiteX2980" fmla="*/ 9063269 w 11685910"/>
                <a:gd name="connsiteY2980" fmla="*/ 965479 h 6078415"/>
                <a:gd name="connsiteX2981" fmla="*/ 9060108 w 11685910"/>
                <a:gd name="connsiteY2981" fmla="*/ 973259 h 6078415"/>
                <a:gd name="connsiteX2982" fmla="*/ 9073222 w 11685910"/>
                <a:gd name="connsiteY2982" fmla="*/ 983364 h 6078415"/>
                <a:gd name="connsiteX2983" fmla="*/ 9071535 w 11685910"/>
                <a:gd name="connsiteY2983" fmla="*/ 946030 h 6078415"/>
                <a:gd name="connsiteX2984" fmla="*/ 9086852 w 11685910"/>
                <a:gd name="connsiteY2984" fmla="*/ 936305 h 6078415"/>
                <a:gd name="connsiteX2985" fmla="*/ 9098765 w 11685910"/>
                <a:gd name="connsiteY2985" fmla="*/ 925121 h 6078415"/>
                <a:gd name="connsiteX2986" fmla="*/ 9121619 w 11685910"/>
                <a:gd name="connsiteY2986" fmla="*/ 987604 h 6078415"/>
                <a:gd name="connsiteX2987" fmla="*/ 9083935 w 11685910"/>
                <a:gd name="connsiteY2987" fmla="*/ 1055922 h 6078415"/>
                <a:gd name="connsiteX2988" fmla="*/ 9051908 w 11685910"/>
                <a:gd name="connsiteY2988" fmla="*/ 1056640 h 6078415"/>
                <a:gd name="connsiteX2989" fmla="*/ 9047901 w 11685910"/>
                <a:gd name="connsiteY2989" fmla="*/ 1055245 h 6078415"/>
                <a:gd name="connsiteX2990" fmla="*/ 9047421 w 11685910"/>
                <a:gd name="connsiteY2990" fmla="*/ 1057521 h 6078415"/>
                <a:gd name="connsiteX2991" fmla="*/ 9022667 w 11685910"/>
                <a:gd name="connsiteY2991" fmla="*/ 1077560 h 6078415"/>
                <a:gd name="connsiteX2992" fmla="*/ 9001029 w 11685910"/>
                <a:gd name="connsiteY2992" fmla="*/ 1067835 h 6078415"/>
                <a:gd name="connsiteX2993" fmla="*/ 9000056 w 11685910"/>
                <a:gd name="connsiteY2993" fmla="*/ 1080477 h 6078415"/>
                <a:gd name="connsiteX2994" fmla="*/ 9009781 w 11685910"/>
                <a:gd name="connsiteY2994" fmla="*/ 1101143 h 6078415"/>
                <a:gd name="connsiteX2995" fmla="*/ 9009295 w 11685910"/>
                <a:gd name="connsiteY2995" fmla="*/ 1112327 h 6078415"/>
                <a:gd name="connsiteX2996" fmla="*/ 9011483 w 11685910"/>
                <a:gd name="connsiteY2996" fmla="*/ 1126185 h 6078415"/>
                <a:gd name="connsiteX2997" fmla="*/ 8995437 w 11685910"/>
                <a:gd name="connsiteY2997" fmla="*/ 1132020 h 6078415"/>
                <a:gd name="connsiteX2998" fmla="*/ 8970395 w 11685910"/>
                <a:gd name="connsiteY2998" fmla="*/ 1126671 h 6078415"/>
                <a:gd name="connsiteX2999" fmla="*/ 8969631 w 11685910"/>
                <a:gd name="connsiteY2999" fmla="*/ 1122187 h 6078415"/>
                <a:gd name="connsiteX3000" fmla="*/ 8969591 w 11685910"/>
                <a:gd name="connsiteY3000" fmla="*/ 1120833 h 6078415"/>
                <a:gd name="connsiteX3001" fmla="*/ 8965826 w 11685910"/>
                <a:gd name="connsiteY3001" fmla="*/ 1124401 h 6078415"/>
                <a:gd name="connsiteX3002" fmla="*/ 8942193 w 11685910"/>
                <a:gd name="connsiteY3002" fmla="*/ 1138827 h 6078415"/>
                <a:gd name="connsiteX3003" fmla="*/ 8918610 w 11685910"/>
                <a:gd name="connsiteY3003" fmla="*/ 1110382 h 6078415"/>
                <a:gd name="connsiteX3004" fmla="*/ 8929550 w 11685910"/>
                <a:gd name="connsiteY3004" fmla="*/ 1098468 h 6078415"/>
                <a:gd name="connsiteX3005" fmla="*/ 8904508 w 11685910"/>
                <a:gd name="connsiteY3005" fmla="*/ 1096037 h 6078415"/>
                <a:gd name="connsiteX3006" fmla="*/ 8903536 w 11685910"/>
                <a:gd name="connsiteY3006" fmla="*/ 1106978 h 6078415"/>
                <a:gd name="connsiteX3007" fmla="*/ 8897214 w 11685910"/>
                <a:gd name="connsiteY3007" fmla="*/ 1117675 h 6078415"/>
                <a:gd name="connsiteX3008" fmla="*/ 8892109 w 11685910"/>
                <a:gd name="connsiteY3008" fmla="*/ 1136882 h 6078415"/>
                <a:gd name="connsiteX3009" fmla="*/ 8851750 w 11685910"/>
                <a:gd name="connsiteY3009" fmla="*/ 1128373 h 6078415"/>
                <a:gd name="connsiteX3010" fmla="*/ 8852723 w 11685910"/>
                <a:gd name="connsiteY3010" fmla="*/ 1114272 h 6078415"/>
                <a:gd name="connsiteX3011" fmla="*/ 8842998 w 11685910"/>
                <a:gd name="connsiteY3011" fmla="*/ 1116217 h 6078415"/>
                <a:gd name="connsiteX3012" fmla="*/ 8817713 w 11685910"/>
                <a:gd name="connsiteY3012" fmla="*/ 1090202 h 6078415"/>
                <a:gd name="connsiteX3013" fmla="*/ 8833030 w 11685910"/>
                <a:gd name="connsiteY3013" fmla="*/ 1063458 h 6078415"/>
                <a:gd name="connsiteX3014" fmla="*/ 8834488 w 11685910"/>
                <a:gd name="connsiteY3014" fmla="*/ 1036715 h 6078415"/>
                <a:gd name="connsiteX3015" fmla="*/ 8818928 w 11685910"/>
                <a:gd name="connsiteY3015" fmla="*/ 1014591 h 6078415"/>
                <a:gd name="connsiteX3016" fmla="*/ 8820701 w 11685910"/>
                <a:gd name="connsiteY3016" fmla="*/ 1001181 h 6078415"/>
                <a:gd name="connsiteX3017" fmla="*/ 8821163 w 11685910"/>
                <a:gd name="connsiteY3017" fmla="*/ 1009961 h 6078415"/>
                <a:gd name="connsiteX3018" fmla="*/ 8821992 w 11685910"/>
                <a:gd name="connsiteY3018" fmla="*/ 1010359 h 6078415"/>
                <a:gd name="connsiteX3019" fmla="*/ 8822115 w 11685910"/>
                <a:gd name="connsiteY3019" fmla="*/ 1011541 h 6078415"/>
                <a:gd name="connsiteX3020" fmla="*/ 8841803 w 11685910"/>
                <a:gd name="connsiteY3020" fmla="*/ 1025483 h 6078415"/>
                <a:gd name="connsiteX3021" fmla="*/ 8860149 w 11685910"/>
                <a:gd name="connsiteY3021" fmla="*/ 1096591 h 6078415"/>
                <a:gd name="connsiteX3022" fmla="*/ 8861117 w 11685910"/>
                <a:gd name="connsiteY3022" fmla="*/ 1098453 h 6078415"/>
                <a:gd name="connsiteX3023" fmla="*/ 8861083 w 11685910"/>
                <a:gd name="connsiteY3023" fmla="*/ 1099327 h 6078415"/>
                <a:gd name="connsiteX3024" fmla="*/ 8859673 w 11685910"/>
                <a:gd name="connsiteY3024" fmla="*/ 1112860 h 6078415"/>
                <a:gd name="connsiteX3025" fmla="*/ 8856351 w 11685910"/>
                <a:gd name="connsiteY3025" fmla="*/ 1124265 h 6078415"/>
                <a:gd name="connsiteX3026" fmla="*/ 8890745 w 11685910"/>
                <a:gd name="connsiteY3026" fmla="*/ 1130910 h 6078415"/>
                <a:gd name="connsiteX3027" fmla="*/ 8891912 w 11685910"/>
                <a:gd name="connsiteY3027" fmla="*/ 1119954 h 6078415"/>
                <a:gd name="connsiteX3028" fmla="*/ 8898557 w 11685910"/>
                <a:gd name="connsiteY3028" fmla="*/ 1105676 h 6078415"/>
                <a:gd name="connsiteX3029" fmla="*/ 8898838 w 11685910"/>
                <a:gd name="connsiteY3029" fmla="*/ 1090466 h 6078415"/>
                <a:gd name="connsiteX3030" fmla="*/ 8898628 w 11685910"/>
                <a:gd name="connsiteY3030" fmla="*/ 1084748 h 6078415"/>
                <a:gd name="connsiteX3031" fmla="*/ 8900228 w 11685910"/>
                <a:gd name="connsiteY3031" fmla="*/ 1086610 h 6078415"/>
                <a:gd name="connsiteX3032" fmla="*/ 8939866 w 11685910"/>
                <a:gd name="connsiteY3032" fmla="*/ 1084393 h 6078415"/>
                <a:gd name="connsiteX3033" fmla="*/ 8940764 w 11685910"/>
                <a:gd name="connsiteY3033" fmla="*/ 1098222 h 6078415"/>
                <a:gd name="connsiteX3034" fmla="*/ 8923612 w 11685910"/>
                <a:gd name="connsiteY3034" fmla="*/ 1110974 h 6078415"/>
                <a:gd name="connsiteX3035" fmla="*/ 8942650 w 11685910"/>
                <a:gd name="connsiteY3035" fmla="*/ 1134053 h 6078415"/>
                <a:gd name="connsiteX3036" fmla="*/ 8977942 w 11685910"/>
                <a:gd name="connsiteY3036" fmla="*/ 1106125 h 6078415"/>
                <a:gd name="connsiteX3037" fmla="*/ 8997160 w 11685910"/>
                <a:gd name="connsiteY3037" fmla="*/ 1064008 h 6078415"/>
                <a:gd name="connsiteX3038" fmla="*/ 8980182 w 11685910"/>
                <a:gd name="connsiteY3038" fmla="*/ 1045621 h 6078415"/>
                <a:gd name="connsiteX3039" fmla="*/ 8979987 w 11685910"/>
                <a:gd name="connsiteY3039" fmla="*/ 1045109 h 6078415"/>
                <a:gd name="connsiteX3040" fmla="*/ 8982623 w 11685910"/>
                <a:gd name="connsiteY3040" fmla="*/ 1046769 h 6078415"/>
                <a:gd name="connsiteX3041" fmla="*/ 9001919 w 11685910"/>
                <a:gd name="connsiteY3041" fmla="*/ 1057452 h 6078415"/>
                <a:gd name="connsiteX3042" fmla="*/ 9023382 w 11685910"/>
                <a:gd name="connsiteY3042" fmla="*/ 1072000 h 6078415"/>
                <a:gd name="connsiteX3043" fmla="*/ 9044485 w 11685910"/>
                <a:gd name="connsiteY3043" fmla="*/ 1053501 h 6078415"/>
                <a:gd name="connsiteX3044" fmla="*/ 9041163 w 11685910"/>
                <a:gd name="connsiteY3044" fmla="*/ 1053232 h 6078415"/>
                <a:gd name="connsiteX3045" fmla="*/ 9013182 w 11685910"/>
                <a:gd name="connsiteY3045" fmla="*/ 1030934 h 6078415"/>
                <a:gd name="connsiteX3046" fmla="*/ 9014112 w 11685910"/>
                <a:gd name="connsiteY3046" fmla="*/ 1026126 h 6078415"/>
                <a:gd name="connsiteX3047" fmla="*/ 9015876 w 11685910"/>
                <a:gd name="connsiteY3047" fmla="*/ 1028048 h 6078415"/>
                <a:gd name="connsiteX3048" fmla="*/ 9088129 w 11685910"/>
                <a:gd name="connsiteY3048" fmla="*/ 1046317 h 6078415"/>
                <a:gd name="connsiteX3049" fmla="*/ 9100073 w 11685910"/>
                <a:gd name="connsiteY3049" fmla="*/ 928407 h 6078415"/>
                <a:gd name="connsiteX3050" fmla="*/ 9090733 w 11685910"/>
                <a:gd name="connsiteY3050" fmla="*/ 939184 h 6078415"/>
                <a:gd name="connsiteX3051" fmla="*/ 9077083 w 11685910"/>
                <a:gd name="connsiteY3051" fmla="*/ 946098 h 6078415"/>
                <a:gd name="connsiteX3052" fmla="*/ 9068549 w 11685910"/>
                <a:gd name="connsiteY3052" fmla="*/ 1007305 h 6078415"/>
                <a:gd name="connsiteX3053" fmla="*/ 9067058 w 11685910"/>
                <a:gd name="connsiteY3053" fmla="*/ 1008481 h 6078415"/>
                <a:gd name="connsiteX3054" fmla="*/ 9067372 w 11685910"/>
                <a:gd name="connsiteY3054" fmla="*/ 1007876 h 6078415"/>
                <a:gd name="connsiteX3055" fmla="*/ 9070618 w 11685910"/>
                <a:gd name="connsiteY3055" fmla="*/ 988664 h 6078415"/>
                <a:gd name="connsiteX3056" fmla="*/ 9057956 w 11685910"/>
                <a:gd name="connsiteY3056" fmla="*/ 991089 h 6078415"/>
                <a:gd name="connsiteX3057" fmla="*/ 9059303 w 11685910"/>
                <a:gd name="connsiteY3057" fmla="*/ 980582 h 6078415"/>
                <a:gd name="connsiteX3058" fmla="*/ 9047449 w 11685910"/>
                <a:gd name="connsiteY3058" fmla="*/ 980492 h 6078415"/>
                <a:gd name="connsiteX3059" fmla="*/ 9050861 w 11685910"/>
                <a:gd name="connsiteY3059" fmla="*/ 972680 h 6078415"/>
                <a:gd name="connsiteX3060" fmla="*/ 9044008 w 11685910"/>
                <a:gd name="connsiteY3060" fmla="*/ 969514 h 6078415"/>
                <a:gd name="connsiteX3061" fmla="*/ 9042109 w 11685910"/>
                <a:gd name="connsiteY3061" fmla="*/ 969527 h 6078415"/>
                <a:gd name="connsiteX3062" fmla="*/ 9043671 w 11685910"/>
                <a:gd name="connsiteY3062" fmla="*/ 968966 h 6078415"/>
                <a:gd name="connsiteX3063" fmla="*/ 9046012 w 11685910"/>
                <a:gd name="connsiteY3063" fmla="*/ 968279 h 6078415"/>
                <a:gd name="connsiteX3064" fmla="*/ 9057327 w 11685910"/>
                <a:gd name="connsiteY3064" fmla="*/ 965675 h 6078415"/>
                <a:gd name="connsiteX3065" fmla="*/ 9045832 w 11685910"/>
                <a:gd name="connsiteY3065" fmla="*/ 951037 h 6078415"/>
                <a:gd name="connsiteX3066" fmla="*/ 9033852 w 11685910"/>
                <a:gd name="connsiteY3066" fmla="*/ 949568 h 6078415"/>
                <a:gd name="connsiteX3067" fmla="*/ 9032746 w 11685910"/>
                <a:gd name="connsiteY3067" fmla="*/ 949509 h 6078415"/>
                <a:gd name="connsiteX3068" fmla="*/ 9032755 w 11685910"/>
                <a:gd name="connsiteY3068" fmla="*/ 949486 h 6078415"/>
                <a:gd name="connsiteX3069" fmla="*/ 9040534 w 11685910"/>
                <a:gd name="connsiteY3069" fmla="*/ 947086 h 6078415"/>
                <a:gd name="connsiteX3070" fmla="*/ 8997878 w 11685910"/>
                <a:gd name="connsiteY3070" fmla="*/ 920954 h 6078415"/>
                <a:gd name="connsiteX3071" fmla="*/ 8947410 w 11685910"/>
                <a:gd name="connsiteY3071" fmla="*/ 944572 h 6078415"/>
                <a:gd name="connsiteX3072" fmla="*/ 8961642 w 11685910"/>
                <a:gd name="connsiteY3072" fmla="*/ 944899 h 6078415"/>
                <a:gd name="connsiteX3073" fmla="*/ 8962219 w 11685910"/>
                <a:gd name="connsiteY3073" fmla="*/ 944982 h 6078415"/>
                <a:gd name="connsiteX3074" fmla="*/ 8959809 w 11685910"/>
                <a:gd name="connsiteY3074" fmla="*/ 945637 h 6078415"/>
                <a:gd name="connsiteX3075" fmla="*/ 8935210 w 11685910"/>
                <a:gd name="connsiteY3075" fmla="*/ 950754 h 6078415"/>
                <a:gd name="connsiteX3076" fmla="*/ 8888734 w 11685910"/>
                <a:gd name="connsiteY3076" fmla="*/ 1011039 h 6078415"/>
                <a:gd name="connsiteX3077" fmla="*/ 8902716 w 11685910"/>
                <a:gd name="connsiteY3077" fmla="*/ 1033151 h 6078415"/>
                <a:gd name="connsiteX3078" fmla="*/ 8917222 w 11685910"/>
                <a:gd name="connsiteY3078" fmla="*/ 1016613 h 6078415"/>
                <a:gd name="connsiteX3079" fmla="*/ 8900250 w 11685910"/>
                <a:gd name="connsiteY3079" fmla="*/ 1051719 h 6078415"/>
                <a:gd name="connsiteX3080" fmla="*/ 8916179 w 11685910"/>
                <a:gd name="connsiteY3080" fmla="*/ 1061100 h 6078415"/>
                <a:gd name="connsiteX3081" fmla="*/ 8943334 w 11685910"/>
                <a:gd name="connsiteY3081" fmla="*/ 1047657 h 6078415"/>
                <a:gd name="connsiteX3082" fmla="*/ 8960742 w 11685910"/>
                <a:gd name="connsiteY3082" fmla="*/ 1045916 h 6078415"/>
                <a:gd name="connsiteX3083" fmla="*/ 8966979 w 11685910"/>
                <a:gd name="connsiteY3083" fmla="*/ 976866 h 6078415"/>
                <a:gd name="connsiteX3084" fmla="*/ 8967705 w 11685910"/>
                <a:gd name="connsiteY3084" fmla="*/ 1054765 h 6078415"/>
                <a:gd name="connsiteX3085" fmla="*/ 8965597 w 11685910"/>
                <a:gd name="connsiteY3085" fmla="*/ 1054420 h 6078415"/>
                <a:gd name="connsiteX3086" fmla="*/ 8962928 w 11685910"/>
                <a:gd name="connsiteY3086" fmla="*/ 1053737 h 6078415"/>
                <a:gd name="connsiteX3087" fmla="*/ 8960194 w 11685910"/>
                <a:gd name="connsiteY3087" fmla="*/ 1053311 h 6078415"/>
                <a:gd name="connsiteX3088" fmla="*/ 8959428 w 11685910"/>
                <a:gd name="connsiteY3088" fmla="*/ 1053133 h 6078415"/>
                <a:gd name="connsiteX3089" fmla="*/ 8952657 w 11685910"/>
                <a:gd name="connsiteY3089" fmla="*/ 1052904 h 6078415"/>
                <a:gd name="connsiteX3090" fmla="*/ 8951671 w 11685910"/>
                <a:gd name="connsiteY3090" fmla="*/ 1053134 h 6078415"/>
                <a:gd name="connsiteX3091" fmla="*/ 8951076 w 11685910"/>
                <a:gd name="connsiteY3091" fmla="*/ 1053185 h 6078415"/>
                <a:gd name="connsiteX3092" fmla="*/ 8911848 w 11685910"/>
                <a:gd name="connsiteY3092" fmla="*/ 1069127 h 6078415"/>
                <a:gd name="connsiteX3093" fmla="*/ 8889508 w 11685910"/>
                <a:gd name="connsiteY3093" fmla="*/ 1051408 h 6078415"/>
                <a:gd name="connsiteX3094" fmla="*/ 8889050 w 11685910"/>
                <a:gd name="connsiteY3094" fmla="*/ 1050814 h 6078415"/>
                <a:gd name="connsiteX3095" fmla="*/ 8890772 w 11685910"/>
                <a:gd name="connsiteY3095" fmla="*/ 1047937 h 6078415"/>
                <a:gd name="connsiteX3096" fmla="*/ 8896851 w 11685910"/>
                <a:gd name="connsiteY3096" fmla="*/ 1039133 h 6078415"/>
                <a:gd name="connsiteX3097" fmla="*/ 8879789 w 11685910"/>
                <a:gd name="connsiteY3097" fmla="*/ 1012102 h 6078415"/>
                <a:gd name="connsiteX3098" fmla="*/ 8910052 w 11685910"/>
                <a:gd name="connsiteY3098" fmla="*/ 965944 h 6078415"/>
                <a:gd name="connsiteX3099" fmla="*/ 8829997 w 11685910"/>
                <a:gd name="connsiteY3099" fmla="*/ 1013326 h 6078415"/>
                <a:gd name="connsiteX3100" fmla="*/ 8826372 w 11685910"/>
                <a:gd name="connsiteY3100" fmla="*/ 1010063 h 6078415"/>
                <a:gd name="connsiteX3101" fmla="*/ 8827432 w 11685910"/>
                <a:gd name="connsiteY3101" fmla="*/ 1009468 h 6078415"/>
                <a:gd name="connsiteX3102" fmla="*/ 8831386 w 11685910"/>
                <a:gd name="connsiteY3102" fmla="*/ 989562 h 6078415"/>
                <a:gd name="connsiteX3103" fmla="*/ 8820903 w 11685910"/>
                <a:gd name="connsiteY3103" fmla="*/ 999655 h 6078415"/>
                <a:gd name="connsiteX3104" fmla="*/ 8821815 w 11685910"/>
                <a:gd name="connsiteY3104" fmla="*/ 992755 h 6078415"/>
                <a:gd name="connsiteX3105" fmla="*/ 8835461 w 11685910"/>
                <a:gd name="connsiteY3105" fmla="*/ 984200 h 6078415"/>
                <a:gd name="connsiteX3106" fmla="*/ 8835461 w 11685910"/>
                <a:gd name="connsiteY3106" fmla="*/ 1008026 h 6078415"/>
                <a:gd name="connsiteX3107" fmla="*/ 8911802 w 11685910"/>
                <a:gd name="connsiteY3107" fmla="*/ 959644 h 6078415"/>
                <a:gd name="connsiteX3108" fmla="*/ 8934413 w 11685910"/>
                <a:gd name="connsiteY3108" fmla="*/ 943112 h 6078415"/>
                <a:gd name="connsiteX3109" fmla="*/ 8940449 w 11685910"/>
                <a:gd name="connsiteY3109" fmla="*/ 942479 h 6078415"/>
                <a:gd name="connsiteX3110" fmla="*/ 8941148 w 11685910"/>
                <a:gd name="connsiteY3110" fmla="*/ 940982 h 6078415"/>
                <a:gd name="connsiteX3111" fmla="*/ 8960427 w 11685910"/>
                <a:gd name="connsiteY3111" fmla="*/ 922446 h 6078415"/>
                <a:gd name="connsiteX3112" fmla="*/ 8996098 w 11685910"/>
                <a:gd name="connsiteY3112" fmla="*/ 914392 h 6078415"/>
                <a:gd name="connsiteX3113" fmla="*/ 2935363 w 11685910"/>
                <a:gd name="connsiteY3113" fmla="*/ 914392 h 6078415"/>
                <a:gd name="connsiteX3114" fmla="*/ 2941265 w 11685910"/>
                <a:gd name="connsiteY3114" fmla="*/ 914909 h 6078415"/>
                <a:gd name="connsiteX3115" fmla="*/ 2984542 w 11685910"/>
                <a:gd name="connsiteY3115" fmla="*/ 944327 h 6078415"/>
                <a:gd name="connsiteX3116" fmla="*/ 3002532 w 11685910"/>
                <a:gd name="connsiteY3116" fmla="*/ 965479 h 6078415"/>
                <a:gd name="connsiteX3117" fmla="*/ 2999373 w 11685910"/>
                <a:gd name="connsiteY3117" fmla="*/ 973259 h 6078415"/>
                <a:gd name="connsiteX3118" fmla="*/ 3012485 w 11685910"/>
                <a:gd name="connsiteY3118" fmla="*/ 983364 h 6078415"/>
                <a:gd name="connsiteX3119" fmla="*/ 3010799 w 11685910"/>
                <a:gd name="connsiteY3119" fmla="*/ 946030 h 6078415"/>
                <a:gd name="connsiteX3120" fmla="*/ 3026115 w 11685910"/>
                <a:gd name="connsiteY3120" fmla="*/ 936305 h 6078415"/>
                <a:gd name="connsiteX3121" fmla="*/ 3038029 w 11685910"/>
                <a:gd name="connsiteY3121" fmla="*/ 925121 h 6078415"/>
                <a:gd name="connsiteX3122" fmla="*/ 3060882 w 11685910"/>
                <a:gd name="connsiteY3122" fmla="*/ 987604 h 6078415"/>
                <a:gd name="connsiteX3123" fmla="*/ 3023198 w 11685910"/>
                <a:gd name="connsiteY3123" fmla="*/ 1055922 h 6078415"/>
                <a:gd name="connsiteX3124" fmla="*/ 2991171 w 11685910"/>
                <a:gd name="connsiteY3124" fmla="*/ 1056640 h 6078415"/>
                <a:gd name="connsiteX3125" fmla="*/ 2987165 w 11685910"/>
                <a:gd name="connsiteY3125" fmla="*/ 1055245 h 6078415"/>
                <a:gd name="connsiteX3126" fmla="*/ 2986685 w 11685910"/>
                <a:gd name="connsiteY3126" fmla="*/ 1057521 h 6078415"/>
                <a:gd name="connsiteX3127" fmla="*/ 2961930 w 11685910"/>
                <a:gd name="connsiteY3127" fmla="*/ 1077560 h 6078415"/>
                <a:gd name="connsiteX3128" fmla="*/ 2940292 w 11685910"/>
                <a:gd name="connsiteY3128" fmla="*/ 1067835 h 6078415"/>
                <a:gd name="connsiteX3129" fmla="*/ 2939319 w 11685910"/>
                <a:gd name="connsiteY3129" fmla="*/ 1080477 h 6078415"/>
                <a:gd name="connsiteX3130" fmla="*/ 2949045 w 11685910"/>
                <a:gd name="connsiteY3130" fmla="*/ 1101143 h 6078415"/>
                <a:gd name="connsiteX3131" fmla="*/ 2948558 w 11685910"/>
                <a:gd name="connsiteY3131" fmla="*/ 1112327 h 6078415"/>
                <a:gd name="connsiteX3132" fmla="*/ 2950746 w 11685910"/>
                <a:gd name="connsiteY3132" fmla="*/ 1126185 h 6078415"/>
                <a:gd name="connsiteX3133" fmla="*/ 2934701 w 11685910"/>
                <a:gd name="connsiteY3133" fmla="*/ 1132020 h 6078415"/>
                <a:gd name="connsiteX3134" fmla="*/ 2909658 w 11685910"/>
                <a:gd name="connsiteY3134" fmla="*/ 1126671 h 6078415"/>
                <a:gd name="connsiteX3135" fmla="*/ 2908894 w 11685910"/>
                <a:gd name="connsiteY3135" fmla="*/ 1122187 h 6078415"/>
                <a:gd name="connsiteX3136" fmla="*/ 2908854 w 11685910"/>
                <a:gd name="connsiteY3136" fmla="*/ 1120833 h 6078415"/>
                <a:gd name="connsiteX3137" fmla="*/ 2905089 w 11685910"/>
                <a:gd name="connsiteY3137" fmla="*/ 1124401 h 6078415"/>
                <a:gd name="connsiteX3138" fmla="*/ 2881456 w 11685910"/>
                <a:gd name="connsiteY3138" fmla="*/ 1138827 h 6078415"/>
                <a:gd name="connsiteX3139" fmla="*/ 2857873 w 11685910"/>
                <a:gd name="connsiteY3139" fmla="*/ 1110382 h 6078415"/>
                <a:gd name="connsiteX3140" fmla="*/ 2868814 w 11685910"/>
                <a:gd name="connsiteY3140" fmla="*/ 1098468 h 6078415"/>
                <a:gd name="connsiteX3141" fmla="*/ 2843771 w 11685910"/>
                <a:gd name="connsiteY3141" fmla="*/ 1096037 h 6078415"/>
                <a:gd name="connsiteX3142" fmla="*/ 2842800 w 11685910"/>
                <a:gd name="connsiteY3142" fmla="*/ 1106978 h 6078415"/>
                <a:gd name="connsiteX3143" fmla="*/ 2836479 w 11685910"/>
                <a:gd name="connsiteY3143" fmla="*/ 1117675 h 6078415"/>
                <a:gd name="connsiteX3144" fmla="*/ 2831372 w 11685910"/>
                <a:gd name="connsiteY3144" fmla="*/ 1136882 h 6078415"/>
                <a:gd name="connsiteX3145" fmla="*/ 2791015 w 11685910"/>
                <a:gd name="connsiteY3145" fmla="*/ 1128373 h 6078415"/>
                <a:gd name="connsiteX3146" fmla="*/ 2791986 w 11685910"/>
                <a:gd name="connsiteY3146" fmla="*/ 1114272 h 6078415"/>
                <a:gd name="connsiteX3147" fmla="*/ 2782262 w 11685910"/>
                <a:gd name="connsiteY3147" fmla="*/ 1116217 h 6078415"/>
                <a:gd name="connsiteX3148" fmla="*/ 2756976 w 11685910"/>
                <a:gd name="connsiteY3148" fmla="*/ 1090202 h 6078415"/>
                <a:gd name="connsiteX3149" fmla="*/ 2772294 w 11685910"/>
                <a:gd name="connsiteY3149" fmla="*/ 1063458 h 6078415"/>
                <a:gd name="connsiteX3150" fmla="*/ 2773751 w 11685910"/>
                <a:gd name="connsiteY3150" fmla="*/ 1036715 h 6078415"/>
                <a:gd name="connsiteX3151" fmla="*/ 2758192 w 11685910"/>
                <a:gd name="connsiteY3151" fmla="*/ 1014591 h 6078415"/>
                <a:gd name="connsiteX3152" fmla="*/ 2759965 w 11685910"/>
                <a:gd name="connsiteY3152" fmla="*/ 1001182 h 6078415"/>
                <a:gd name="connsiteX3153" fmla="*/ 2760426 w 11685910"/>
                <a:gd name="connsiteY3153" fmla="*/ 1009961 h 6078415"/>
                <a:gd name="connsiteX3154" fmla="*/ 2761256 w 11685910"/>
                <a:gd name="connsiteY3154" fmla="*/ 1010359 h 6078415"/>
                <a:gd name="connsiteX3155" fmla="*/ 2761379 w 11685910"/>
                <a:gd name="connsiteY3155" fmla="*/ 1011541 h 6078415"/>
                <a:gd name="connsiteX3156" fmla="*/ 2781066 w 11685910"/>
                <a:gd name="connsiteY3156" fmla="*/ 1025483 h 6078415"/>
                <a:gd name="connsiteX3157" fmla="*/ 2799412 w 11685910"/>
                <a:gd name="connsiteY3157" fmla="*/ 1096591 h 6078415"/>
                <a:gd name="connsiteX3158" fmla="*/ 2800381 w 11685910"/>
                <a:gd name="connsiteY3158" fmla="*/ 1098453 h 6078415"/>
                <a:gd name="connsiteX3159" fmla="*/ 2800347 w 11685910"/>
                <a:gd name="connsiteY3159" fmla="*/ 1099327 h 6078415"/>
                <a:gd name="connsiteX3160" fmla="*/ 2798937 w 11685910"/>
                <a:gd name="connsiteY3160" fmla="*/ 1112860 h 6078415"/>
                <a:gd name="connsiteX3161" fmla="*/ 2795614 w 11685910"/>
                <a:gd name="connsiteY3161" fmla="*/ 1124265 h 6078415"/>
                <a:gd name="connsiteX3162" fmla="*/ 2830008 w 11685910"/>
                <a:gd name="connsiteY3162" fmla="*/ 1130910 h 6078415"/>
                <a:gd name="connsiteX3163" fmla="*/ 2831175 w 11685910"/>
                <a:gd name="connsiteY3163" fmla="*/ 1119954 h 6078415"/>
                <a:gd name="connsiteX3164" fmla="*/ 2837821 w 11685910"/>
                <a:gd name="connsiteY3164" fmla="*/ 1105676 h 6078415"/>
                <a:gd name="connsiteX3165" fmla="*/ 2838101 w 11685910"/>
                <a:gd name="connsiteY3165" fmla="*/ 1090466 h 6078415"/>
                <a:gd name="connsiteX3166" fmla="*/ 2837893 w 11685910"/>
                <a:gd name="connsiteY3166" fmla="*/ 1084748 h 6078415"/>
                <a:gd name="connsiteX3167" fmla="*/ 2839491 w 11685910"/>
                <a:gd name="connsiteY3167" fmla="*/ 1086610 h 6078415"/>
                <a:gd name="connsiteX3168" fmla="*/ 2879129 w 11685910"/>
                <a:gd name="connsiteY3168" fmla="*/ 1084393 h 6078415"/>
                <a:gd name="connsiteX3169" fmla="*/ 2880027 w 11685910"/>
                <a:gd name="connsiteY3169" fmla="*/ 1098222 h 6078415"/>
                <a:gd name="connsiteX3170" fmla="*/ 2862875 w 11685910"/>
                <a:gd name="connsiteY3170" fmla="*/ 1110974 h 6078415"/>
                <a:gd name="connsiteX3171" fmla="*/ 2881915 w 11685910"/>
                <a:gd name="connsiteY3171" fmla="*/ 1134053 h 6078415"/>
                <a:gd name="connsiteX3172" fmla="*/ 2917206 w 11685910"/>
                <a:gd name="connsiteY3172" fmla="*/ 1106125 h 6078415"/>
                <a:gd name="connsiteX3173" fmla="*/ 2936424 w 11685910"/>
                <a:gd name="connsiteY3173" fmla="*/ 1064008 h 6078415"/>
                <a:gd name="connsiteX3174" fmla="*/ 2919445 w 11685910"/>
                <a:gd name="connsiteY3174" fmla="*/ 1045621 h 6078415"/>
                <a:gd name="connsiteX3175" fmla="*/ 2919250 w 11685910"/>
                <a:gd name="connsiteY3175" fmla="*/ 1045109 h 6078415"/>
                <a:gd name="connsiteX3176" fmla="*/ 2921887 w 11685910"/>
                <a:gd name="connsiteY3176" fmla="*/ 1046769 h 6078415"/>
                <a:gd name="connsiteX3177" fmla="*/ 2941183 w 11685910"/>
                <a:gd name="connsiteY3177" fmla="*/ 1057452 h 6078415"/>
                <a:gd name="connsiteX3178" fmla="*/ 2962645 w 11685910"/>
                <a:gd name="connsiteY3178" fmla="*/ 1072000 h 6078415"/>
                <a:gd name="connsiteX3179" fmla="*/ 2983749 w 11685910"/>
                <a:gd name="connsiteY3179" fmla="*/ 1053501 h 6078415"/>
                <a:gd name="connsiteX3180" fmla="*/ 2980427 w 11685910"/>
                <a:gd name="connsiteY3180" fmla="*/ 1053232 h 6078415"/>
                <a:gd name="connsiteX3181" fmla="*/ 2952445 w 11685910"/>
                <a:gd name="connsiteY3181" fmla="*/ 1030934 h 6078415"/>
                <a:gd name="connsiteX3182" fmla="*/ 2953376 w 11685910"/>
                <a:gd name="connsiteY3182" fmla="*/ 1026126 h 6078415"/>
                <a:gd name="connsiteX3183" fmla="*/ 2955141 w 11685910"/>
                <a:gd name="connsiteY3183" fmla="*/ 1028048 h 6078415"/>
                <a:gd name="connsiteX3184" fmla="*/ 3027392 w 11685910"/>
                <a:gd name="connsiteY3184" fmla="*/ 1046317 h 6078415"/>
                <a:gd name="connsiteX3185" fmla="*/ 3039336 w 11685910"/>
                <a:gd name="connsiteY3185" fmla="*/ 928407 h 6078415"/>
                <a:gd name="connsiteX3186" fmla="*/ 3029997 w 11685910"/>
                <a:gd name="connsiteY3186" fmla="*/ 939184 h 6078415"/>
                <a:gd name="connsiteX3187" fmla="*/ 3016347 w 11685910"/>
                <a:gd name="connsiteY3187" fmla="*/ 946098 h 6078415"/>
                <a:gd name="connsiteX3188" fmla="*/ 3007812 w 11685910"/>
                <a:gd name="connsiteY3188" fmla="*/ 1007305 h 6078415"/>
                <a:gd name="connsiteX3189" fmla="*/ 3006322 w 11685910"/>
                <a:gd name="connsiteY3189" fmla="*/ 1008481 h 6078415"/>
                <a:gd name="connsiteX3190" fmla="*/ 3006635 w 11685910"/>
                <a:gd name="connsiteY3190" fmla="*/ 1007876 h 6078415"/>
                <a:gd name="connsiteX3191" fmla="*/ 3009881 w 11685910"/>
                <a:gd name="connsiteY3191" fmla="*/ 988664 h 6078415"/>
                <a:gd name="connsiteX3192" fmla="*/ 2997219 w 11685910"/>
                <a:gd name="connsiteY3192" fmla="*/ 991089 h 6078415"/>
                <a:gd name="connsiteX3193" fmla="*/ 2998567 w 11685910"/>
                <a:gd name="connsiteY3193" fmla="*/ 980582 h 6078415"/>
                <a:gd name="connsiteX3194" fmla="*/ 2986712 w 11685910"/>
                <a:gd name="connsiteY3194" fmla="*/ 980492 h 6078415"/>
                <a:gd name="connsiteX3195" fmla="*/ 2990126 w 11685910"/>
                <a:gd name="connsiteY3195" fmla="*/ 972680 h 6078415"/>
                <a:gd name="connsiteX3196" fmla="*/ 2983272 w 11685910"/>
                <a:gd name="connsiteY3196" fmla="*/ 969514 h 6078415"/>
                <a:gd name="connsiteX3197" fmla="*/ 2981373 w 11685910"/>
                <a:gd name="connsiteY3197" fmla="*/ 969527 h 6078415"/>
                <a:gd name="connsiteX3198" fmla="*/ 2982934 w 11685910"/>
                <a:gd name="connsiteY3198" fmla="*/ 968966 h 6078415"/>
                <a:gd name="connsiteX3199" fmla="*/ 2985276 w 11685910"/>
                <a:gd name="connsiteY3199" fmla="*/ 968279 h 6078415"/>
                <a:gd name="connsiteX3200" fmla="*/ 2996590 w 11685910"/>
                <a:gd name="connsiteY3200" fmla="*/ 965675 h 6078415"/>
                <a:gd name="connsiteX3201" fmla="*/ 2985096 w 11685910"/>
                <a:gd name="connsiteY3201" fmla="*/ 951037 h 6078415"/>
                <a:gd name="connsiteX3202" fmla="*/ 2973115 w 11685910"/>
                <a:gd name="connsiteY3202" fmla="*/ 949568 h 6078415"/>
                <a:gd name="connsiteX3203" fmla="*/ 2972009 w 11685910"/>
                <a:gd name="connsiteY3203" fmla="*/ 949509 h 6078415"/>
                <a:gd name="connsiteX3204" fmla="*/ 2972018 w 11685910"/>
                <a:gd name="connsiteY3204" fmla="*/ 949486 h 6078415"/>
                <a:gd name="connsiteX3205" fmla="*/ 2979799 w 11685910"/>
                <a:gd name="connsiteY3205" fmla="*/ 947086 h 6078415"/>
                <a:gd name="connsiteX3206" fmla="*/ 2937141 w 11685910"/>
                <a:gd name="connsiteY3206" fmla="*/ 920954 h 6078415"/>
                <a:gd name="connsiteX3207" fmla="*/ 2886673 w 11685910"/>
                <a:gd name="connsiteY3207" fmla="*/ 944572 h 6078415"/>
                <a:gd name="connsiteX3208" fmla="*/ 2900905 w 11685910"/>
                <a:gd name="connsiteY3208" fmla="*/ 944899 h 6078415"/>
                <a:gd name="connsiteX3209" fmla="*/ 2901482 w 11685910"/>
                <a:gd name="connsiteY3209" fmla="*/ 944982 h 6078415"/>
                <a:gd name="connsiteX3210" fmla="*/ 2899072 w 11685910"/>
                <a:gd name="connsiteY3210" fmla="*/ 945637 h 6078415"/>
                <a:gd name="connsiteX3211" fmla="*/ 2874475 w 11685910"/>
                <a:gd name="connsiteY3211" fmla="*/ 950754 h 6078415"/>
                <a:gd name="connsiteX3212" fmla="*/ 2827999 w 11685910"/>
                <a:gd name="connsiteY3212" fmla="*/ 1011039 h 6078415"/>
                <a:gd name="connsiteX3213" fmla="*/ 2841979 w 11685910"/>
                <a:gd name="connsiteY3213" fmla="*/ 1033151 h 6078415"/>
                <a:gd name="connsiteX3214" fmla="*/ 2856485 w 11685910"/>
                <a:gd name="connsiteY3214" fmla="*/ 1016613 h 6078415"/>
                <a:gd name="connsiteX3215" fmla="*/ 2839513 w 11685910"/>
                <a:gd name="connsiteY3215" fmla="*/ 1051719 h 6078415"/>
                <a:gd name="connsiteX3216" fmla="*/ 2855442 w 11685910"/>
                <a:gd name="connsiteY3216" fmla="*/ 1061100 h 6078415"/>
                <a:gd name="connsiteX3217" fmla="*/ 2882598 w 11685910"/>
                <a:gd name="connsiteY3217" fmla="*/ 1047657 h 6078415"/>
                <a:gd name="connsiteX3218" fmla="*/ 2900005 w 11685910"/>
                <a:gd name="connsiteY3218" fmla="*/ 1045916 h 6078415"/>
                <a:gd name="connsiteX3219" fmla="*/ 2906243 w 11685910"/>
                <a:gd name="connsiteY3219" fmla="*/ 976866 h 6078415"/>
                <a:gd name="connsiteX3220" fmla="*/ 2906969 w 11685910"/>
                <a:gd name="connsiteY3220" fmla="*/ 1054765 h 6078415"/>
                <a:gd name="connsiteX3221" fmla="*/ 2904860 w 11685910"/>
                <a:gd name="connsiteY3221" fmla="*/ 1054420 h 6078415"/>
                <a:gd name="connsiteX3222" fmla="*/ 2902192 w 11685910"/>
                <a:gd name="connsiteY3222" fmla="*/ 1053737 h 6078415"/>
                <a:gd name="connsiteX3223" fmla="*/ 2899458 w 11685910"/>
                <a:gd name="connsiteY3223" fmla="*/ 1053311 h 6078415"/>
                <a:gd name="connsiteX3224" fmla="*/ 2898691 w 11685910"/>
                <a:gd name="connsiteY3224" fmla="*/ 1053133 h 6078415"/>
                <a:gd name="connsiteX3225" fmla="*/ 2891922 w 11685910"/>
                <a:gd name="connsiteY3225" fmla="*/ 1052904 h 6078415"/>
                <a:gd name="connsiteX3226" fmla="*/ 2890936 w 11685910"/>
                <a:gd name="connsiteY3226" fmla="*/ 1053134 h 6078415"/>
                <a:gd name="connsiteX3227" fmla="*/ 2890339 w 11685910"/>
                <a:gd name="connsiteY3227" fmla="*/ 1053185 h 6078415"/>
                <a:gd name="connsiteX3228" fmla="*/ 2851111 w 11685910"/>
                <a:gd name="connsiteY3228" fmla="*/ 1069127 h 6078415"/>
                <a:gd name="connsiteX3229" fmla="*/ 2828772 w 11685910"/>
                <a:gd name="connsiteY3229" fmla="*/ 1051408 h 6078415"/>
                <a:gd name="connsiteX3230" fmla="*/ 2828313 w 11685910"/>
                <a:gd name="connsiteY3230" fmla="*/ 1050814 h 6078415"/>
                <a:gd name="connsiteX3231" fmla="*/ 2830035 w 11685910"/>
                <a:gd name="connsiteY3231" fmla="*/ 1047937 h 6078415"/>
                <a:gd name="connsiteX3232" fmla="*/ 2836114 w 11685910"/>
                <a:gd name="connsiteY3232" fmla="*/ 1039133 h 6078415"/>
                <a:gd name="connsiteX3233" fmla="*/ 2819053 w 11685910"/>
                <a:gd name="connsiteY3233" fmla="*/ 1012102 h 6078415"/>
                <a:gd name="connsiteX3234" fmla="*/ 2849315 w 11685910"/>
                <a:gd name="connsiteY3234" fmla="*/ 965944 h 6078415"/>
                <a:gd name="connsiteX3235" fmla="*/ 2769260 w 11685910"/>
                <a:gd name="connsiteY3235" fmla="*/ 1013326 h 6078415"/>
                <a:gd name="connsiteX3236" fmla="*/ 2765636 w 11685910"/>
                <a:gd name="connsiteY3236" fmla="*/ 1010063 h 6078415"/>
                <a:gd name="connsiteX3237" fmla="*/ 2766697 w 11685910"/>
                <a:gd name="connsiteY3237" fmla="*/ 1009468 h 6078415"/>
                <a:gd name="connsiteX3238" fmla="*/ 2770650 w 11685910"/>
                <a:gd name="connsiteY3238" fmla="*/ 989562 h 6078415"/>
                <a:gd name="connsiteX3239" fmla="*/ 2760166 w 11685910"/>
                <a:gd name="connsiteY3239" fmla="*/ 999654 h 6078415"/>
                <a:gd name="connsiteX3240" fmla="*/ 2761079 w 11685910"/>
                <a:gd name="connsiteY3240" fmla="*/ 992755 h 6078415"/>
                <a:gd name="connsiteX3241" fmla="*/ 2774724 w 11685910"/>
                <a:gd name="connsiteY3241" fmla="*/ 984200 h 6078415"/>
                <a:gd name="connsiteX3242" fmla="*/ 2774724 w 11685910"/>
                <a:gd name="connsiteY3242" fmla="*/ 1008026 h 6078415"/>
                <a:gd name="connsiteX3243" fmla="*/ 2851066 w 11685910"/>
                <a:gd name="connsiteY3243" fmla="*/ 959644 h 6078415"/>
                <a:gd name="connsiteX3244" fmla="*/ 2873676 w 11685910"/>
                <a:gd name="connsiteY3244" fmla="*/ 943112 h 6078415"/>
                <a:gd name="connsiteX3245" fmla="*/ 2879712 w 11685910"/>
                <a:gd name="connsiteY3245" fmla="*/ 942479 h 6078415"/>
                <a:gd name="connsiteX3246" fmla="*/ 2880412 w 11685910"/>
                <a:gd name="connsiteY3246" fmla="*/ 940982 h 6078415"/>
                <a:gd name="connsiteX3247" fmla="*/ 2899691 w 11685910"/>
                <a:gd name="connsiteY3247" fmla="*/ 922446 h 6078415"/>
                <a:gd name="connsiteX3248" fmla="*/ 2935363 w 11685910"/>
                <a:gd name="connsiteY3248" fmla="*/ 914392 h 6078415"/>
                <a:gd name="connsiteX3249" fmla="*/ 11621423 w 11685910"/>
                <a:gd name="connsiteY3249" fmla="*/ 638389 h 6078415"/>
                <a:gd name="connsiteX3250" fmla="*/ 11666272 w 11685910"/>
                <a:gd name="connsiteY3250" fmla="*/ 677411 h 6078415"/>
                <a:gd name="connsiteX3251" fmla="*/ 11666272 w 11685910"/>
                <a:gd name="connsiteY3251" fmla="*/ 713771 h 6078415"/>
                <a:gd name="connsiteX3252" fmla="*/ 11685910 w 11685910"/>
                <a:gd name="connsiteY3252" fmla="*/ 740631 h 6078415"/>
                <a:gd name="connsiteX3253" fmla="*/ 11685910 w 11685910"/>
                <a:gd name="connsiteY3253" fmla="*/ 759127 h 6078415"/>
                <a:gd name="connsiteX3254" fmla="*/ 11666272 w 11685910"/>
                <a:gd name="connsiteY3254" fmla="*/ 785480 h 6078415"/>
                <a:gd name="connsiteX3255" fmla="*/ 11666272 w 11685910"/>
                <a:gd name="connsiteY3255" fmla="*/ 822855 h 6078415"/>
                <a:gd name="connsiteX3256" fmla="*/ 11621423 w 11685910"/>
                <a:gd name="connsiteY3256" fmla="*/ 861369 h 6078415"/>
                <a:gd name="connsiteX3257" fmla="*/ 11621423 w 11685910"/>
                <a:gd name="connsiteY3257" fmla="*/ 841858 h 6078415"/>
                <a:gd name="connsiteX3258" fmla="*/ 11637070 w 11685910"/>
                <a:gd name="connsiteY3258" fmla="*/ 835777 h 6078415"/>
                <a:gd name="connsiteX3259" fmla="*/ 11641694 w 11685910"/>
                <a:gd name="connsiteY3259" fmla="*/ 816520 h 6078415"/>
                <a:gd name="connsiteX3260" fmla="*/ 11641694 w 11685910"/>
                <a:gd name="connsiteY3260" fmla="*/ 781173 h 6078415"/>
                <a:gd name="connsiteX3261" fmla="*/ 11666653 w 11685910"/>
                <a:gd name="connsiteY3261" fmla="*/ 749879 h 6078415"/>
                <a:gd name="connsiteX3262" fmla="*/ 11666653 w 11685910"/>
                <a:gd name="connsiteY3262" fmla="*/ 749500 h 6078415"/>
                <a:gd name="connsiteX3263" fmla="*/ 11641694 w 11685910"/>
                <a:gd name="connsiteY3263" fmla="*/ 717952 h 6078415"/>
                <a:gd name="connsiteX3264" fmla="*/ 11641694 w 11685910"/>
                <a:gd name="connsiteY3264" fmla="*/ 682226 h 6078415"/>
                <a:gd name="connsiteX3265" fmla="*/ 11621423 w 11685910"/>
                <a:gd name="connsiteY3265" fmla="*/ 658027 h 6078415"/>
                <a:gd name="connsiteX3266" fmla="*/ 11603939 w 11685910"/>
                <a:gd name="connsiteY3266" fmla="*/ 638389 h 6078415"/>
                <a:gd name="connsiteX3267" fmla="*/ 11603939 w 11685910"/>
                <a:gd name="connsiteY3267" fmla="*/ 658027 h 6078415"/>
                <a:gd name="connsiteX3268" fmla="*/ 11583795 w 11685910"/>
                <a:gd name="connsiteY3268" fmla="*/ 682226 h 6078415"/>
                <a:gd name="connsiteX3269" fmla="*/ 11583795 w 11685910"/>
                <a:gd name="connsiteY3269" fmla="*/ 717952 h 6078415"/>
                <a:gd name="connsiteX3270" fmla="*/ 11558583 w 11685910"/>
                <a:gd name="connsiteY3270" fmla="*/ 749500 h 6078415"/>
                <a:gd name="connsiteX3271" fmla="*/ 11558583 w 11685910"/>
                <a:gd name="connsiteY3271" fmla="*/ 749879 h 6078415"/>
                <a:gd name="connsiteX3272" fmla="*/ 11583795 w 11685910"/>
                <a:gd name="connsiteY3272" fmla="*/ 781173 h 6078415"/>
                <a:gd name="connsiteX3273" fmla="*/ 11583795 w 11685910"/>
                <a:gd name="connsiteY3273" fmla="*/ 816520 h 6078415"/>
                <a:gd name="connsiteX3274" fmla="*/ 11588293 w 11685910"/>
                <a:gd name="connsiteY3274" fmla="*/ 835840 h 6078415"/>
                <a:gd name="connsiteX3275" fmla="*/ 11603939 w 11685910"/>
                <a:gd name="connsiteY3275" fmla="*/ 841858 h 6078415"/>
                <a:gd name="connsiteX3276" fmla="*/ 11603939 w 11685910"/>
                <a:gd name="connsiteY3276" fmla="*/ 861369 h 6078415"/>
                <a:gd name="connsiteX3277" fmla="*/ 11558836 w 11685910"/>
                <a:gd name="connsiteY3277" fmla="*/ 822855 h 6078415"/>
                <a:gd name="connsiteX3278" fmla="*/ 11558836 w 11685910"/>
                <a:gd name="connsiteY3278" fmla="*/ 785480 h 6078415"/>
                <a:gd name="connsiteX3279" fmla="*/ 11539072 w 11685910"/>
                <a:gd name="connsiteY3279" fmla="*/ 759127 h 6078415"/>
                <a:gd name="connsiteX3280" fmla="*/ 11539072 w 11685910"/>
                <a:gd name="connsiteY3280" fmla="*/ 740631 h 6078415"/>
                <a:gd name="connsiteX3281" fmla="*/ 11558836 w 11685910"/>
                <a:gd name="connsiteY3281" fmla="*/ 713771 h 6078415"/>
                <a:gd name="connsiteX3282" fmla="*/ 11558836 w 11685910"/>
                <a:gd name="connsiteY3282" fmla="*/ 677411 h 6078415"/>
                <a:gd name="connsiteX3283" fmla="*/ 11603939 w 11685910"/>
                <a:gd name="connsiteY3283" fmla="*/ 638389 h 6078415"/>
                <a:gd name="connsiteX3284" fmla="*/ 10947400 w 11685910"/>
                <a:gd name="connsiteY3284" fmla="*/ 638389 h 6078415"/>
                <a:gd name="connsiteX3285" fmla="*/ 10992249 w 11685910"/>
                <a:gd name="connsiteY3285" fmla="*/ 677411 h 6078415"/>
                <a:gd name="connsiteX3286" fmla="*/ 10992249 w 11685910"/>
                <a:gd name="connsiteY3286" fmla="*/ 713771 h 6078415"/>
                <a:gd name="connsiteX3287" fmla="*/ 11011887 w 11685910"/>
                <a:gd name="connsiteY3287" fmla="*/ 740631 h 6078415"/>
                <a:gd name="connsiteX3288" fmla="*/ 11011887 w 11685910"/>
                <a:gd name="connsiteY3288" fmla="*/ 759127 h 6078415"/>
                <a:gd name="connsiteX3289" fmla="*/ 10992249 w 11685910"/>
                <a:gd name="connsiteY3289" fmla="*/ 785480 h 6078415"/>
                <a:gd name="connsiteX3290" fmla="*/ 10992249 w 11685910"/>
                <a:gd name="connsiteY3290" fmla="*/ 822855 h 6078415"/>
                <a:gd name="connsiteX3291" fmla="*/ 10947400 w 11685910"/>
                <a:gd name="connsiteY3291" fmla="*/ 861369 h 6078415"/>
                <a:gd name="connsiteX3292" fmla="*/ 10947400 w 11685910"/>
                <a:gd name="connsiteY3292" fmla="*/ 841858 h 6078415"/>
                <a:gd name="connsiteX3293" fmla="*/ 10963047 w 11685910"/>
                <a:gd name="connsiteY3293" fmla="*/ 835777 h 6078415"/>
                <a:gd name="connsiteX3294" fmla="*/ 10967671 w 11685910"/>
                <a:gd name="connsiteY3294" fmla="*/ 816520 h 6078415"/>
                <a:gd name="connsiteX3295" fmla="*/ 10967671 w 11685910"/>
                <a:gd name="connsiteY3295" fmla="*/ 781173 h 6078415"/>
                <a:gd name="connsiteX3296" fmla="*/ 10992630 w 11685910"/>
                <a:gd name="connsiteY3296" fmla="*/ 749879 h 6078415"/>
                <a:gd name="connsiteX3297" fmla="*/ 10992630 w 11685910"/>
                <a:gd name="connsiteY3297" fmla="*/ 749500 h 6078415"/>
                <a:gd name="connsiteX3298" fmla="*/ 10967671 w 11685910"/>
                <a:gd name="connsiteY3298" fmla="*/ 717952 h 6078415"/>
                <a:gd name="connsiteX3299" fmla="*/ 10967671 w 11685910"/>
                <a:gd name="connsiteY3299" fmla="*/ 682226 h 6078415"/>
                <a:gd name="connsiteX3300" fmla="*/ 10947400 w 11685910"/>
                <a:gd name="connsiteY3300" fmla="*/ 658027 h 6078415"/>
                <a:gd name="connsiteX3301" fmla="*/ 10929916 w 11685910"/>
                <a:gd name="connsiteY3301" fmla="*/ 638389 h 6078415"/>
                <a:gd name="connsiteX3302" fmla="*/ 10929916 w 11685910"/>
                <a:gd name="connsiteY3302" fmla="*/ 658027 h 6078415"/>
                <a:gd name="connsiteX3303" fmla="*/ 10909772 w 11685910"/>
                <a:gd name="connsiteY3303" fmla="*/ 682226 h 6078415"/>
                <a:gd name="connsiteX3304" fmla="*/ 10909772 w 11685910"/>
                <a:gd name="connsiteY3304" fmla="*/ 717952 h 6078415"/>
                <a:gd name="connsiteX3305" fmla="*/ 10884560 w 11685910"/>
                <a:gd name="connsiteY3305" fmla="*/ 749500 h 6078415"/>
                <a:gd name="connsiteX3306" fmla="*/ 10884560 w 11685910"/>
                <a:gd name="connsiteY3306" fmla="*/ 749879 h 6078415"/>
                <a:gd name="connsiteX3307" fmla="*/ 10909772 w 11685910"/>
                <a:gd name="connsiteY3307" fmla="*/ 781173 h 6078415"/>
                <a:gd name="connsiteX3308" fmla="*/ 10909772 w 11685910"/>
                <a:gd name="connsiteY3308" fmla="*/ 816520 h 6078415"/>
                <a:gd name="connsiteX3309" fmla="*/ 10914270 w 11685910"/>
                <a:gd name="connsiteY3309" fmla="*/ 835840 h 6078415"/>
                <a:gd name="connsiteX3310" fmla="*/ 10929916 w 11685910"/>
                <a:gd name="connsiteY3310" fmla="*/ 841858 h 6078415"/>
                <a:gd name="connsiteX3311" fmla="*/ 10929916 w 11685910"/>
                <a:gd name="connsiteY3311" fmla="*/ 861369 h 6078415"/>
                <a:gd name="connsiteX3312" fmla="*/ 10884813 w 11685910"/>
                <a:gd name="connsiteY3312" fmla="*/ 822855 h 6078415"/>
                <a:gd name="connsiteX3313" fmla="*/ 10884813 w 11685910"/>
                <a:gd name="connsiteY3313" fmla="*/ 785480 h 6078415"/>
                <a:gd name="connsiteX3314" fmla="*/ 10865049 w 11685910"/>
                <a:gd name="connsiteY3314" fmla="*/ 759127 h 6078415"/>
                <a:gd name="connsiteX3315" fmla="*/ 10865049 w 11685910"/>
                <a:gd name="connsiteY3315" fmla="*/ 740631 h 6078415"/>
                <a:gd name="connsiteX3316" fmla="*/ 10884813 w 11685910"/>
                <a:gd name="connsiteY3316" fmla="*/ 713771 h 6078415"/>
                <a:gd name="connsiteX3317" fmla="*/ 10884813 w 11685910"/>
                <a:gd name="connsiteY3317" fmla="*/ 677411 h 6078415"/>
                <a:gd name="connsiteX3318" fmla="*/ 10929916 w 11685910"/>
                <a:gd name="connsiteY3318" fmla="*/ 638389 h 6078415"/>
                <a:gd name="connsiteX3319" fmla="*/ 9748950 w 11685910"/>
                <a:gd name="connsiteY3319" fmla="*/ 638389 h 6078415"/>
                <a:gd name="connsiteX3320" fmla="*/ 9793799 w 11685910"/>
                <a:gd name="connsiteY3320" fmla="*/ 677411 h 6078415"/>
                <a:gd name="connsiteX3321" fmla="*/ 9793799 w 11685910"/>
                <a:gd name="connsiteY3321" fmla="*/ 713771 h 6078415"/>
                <a:gd name="connsiteX3322" fmla="*/ 9813437 w 11685910"/>
                <a:gd name="connsiteY3322" fmla="*/ 740631 h 6078415"/>
                <a:gd name="connsiteX3323" fmla="*/ 9813437 w 11685910"/>
                <a:gd name="connsiteY3323" fmla="*/ 759127 h 6078415"/>
                <a:gd name="connsiteX3324" fmla="*/ 9793799 w 11685910"/>
                <a:gd name="connsiteY3324" fmla="*/ 785480 h 6078415"/>
                <a:gd name="connsiteX3325" fmla="*/ 9793799 w 11685910"/>
                <a:gd name="connsiteY3325" fmla="*/ 822855 h 6078415"/>
                <a:gd name="connsiteX3326" fmla="*/ 9748950 w 11685910"/>
                <a:gd name="connsiteY3326" fmla="*/ 861369 h 6078415"/>
                <a:gd name="connsiteX3327" fmla="*/ 9748950 w 11685910"/>
                <a:gd name="connsiteY3327" fmla="*/ 841858 h 6078415"/>
                <a:gd name="connsiteX3328" fmla="*/ 9764597 w 11685910"/>
                <a:gd name="connsiteY3328" fmla="*/ 835777 h 6078415"/>
                <a:gd name="connsiteX3329" fmla="*/ 9769221 w 11685910"/>
                <a:gd name="connsiteY3329" fmla="*/ 816520 h 6078415"/>
                <a:gd name="connsiteX3330" fmla="*/ 9769221 w 11685910"/>
                <a:gd name="connsiteY3330" fmla="*/ 781173 h 6078415"/>
                <a:gd name="connsiteX3331" fmla="*/ 9794180 w 11685910"/>
                <a:gd name="connsiteY3331" fmla="*/ 749879 h 6078415"/>
                <a:gd name="connsiteX3332" fmla="*/ 9794180 w 11685910"/>
                <a:gd name="connsiteY3332" fmla="*/ 749500 h 6078415"/>
                <a:gd name="connsiteX3333" fmla="*/ 9769221 w 11685910"/>
                <a:gd name="connsiteY3333" fmla="*/ 717952 h 6078415"/>
                <a:gd name="connsiteX3334" fmla="*/ 9769221 w 11685910"/>
                <a:gd name="connsiteY3334" fmla="*/ 682226 h 6078415"/>
                <a:gd name="connsiteX3335" fmla="*/ 9748950 w 11685910"/>
                <a:gd name="connsiteY3335" fmla="*/ 658027 h 6078415"/>
                <a:gd name="connsiteX3336" fmla="*/ 9731466 w 11685910"/>
                <a:gd name="connsiteY3336" fmla="*/ 638389 h 6078415"/>
                <a:gd name="connsiteX3337" fmla="*/ 9731466 w 11685910"/>
                <a:gd name="connsiteY3337" fmla="*/ 658027 h 6078415"/>
                <a:gd name="connsiteX3338" fmla="*/ 9711322 w 11685910"/>
                <a:gd name="connsiteY3338" fmla="*/ 682226 h 6078415"/>
                <a:gd name="connsiteX3339" fmla="*/ 9711322 w 11685910"/>
                <a:gd name="connsiteY3339" fmla="*/ 717952 h 6078415"/>
                <a:gd name="connsiteX3340" fmla="*/ 9686110 w 11685910"/>
                <a:gd name="connsiteY3340" fmla="*/ 749500 h 6078415"/>
                <a:gd name="connsiteX3341" fmla="*/ 9686110 w 11685910"/>
                <a:gd name="connsiteY3341" fmla="*/ 749879 h 6078415"/>
                <a:gd name="connsiteX3342" fmla="*/ 9711322 w 11685910"/>
                <a:gd name="connsiteY3342" fmla="*/ 781173 h 6078415"/>
                <a:gd name="connsiteX3343" fmla="*/ 9711322 w 11685910"/>
                <a:gd name="connsiteY3343" fmla="*/ 816520 h 6078415"/>
                <a:gd name="connsiteX3344" fmla="*/ 9715820 w 11685910"/>
                <a:gd name="connsiteY3344" fmla="*/ 835840 h 6078415"/>
                <a:gd name="connsiteX3345" fmla="*/ 9731466 w 11685910"/>
                <a:gd name="connsiteY3345" fmla="*/ 841858 h 6078415"/>
                <a:gd name="connsiteX3346" fmla="*/ 9731466 w 11685910"/>
                <a:gd name="connsiteY3346" fmla="*/ 861369 h 6078415"/>
                <a:gd name="connsiteX3347" fmla="*/ 9686363 w 11685910"/>
                <a:gd name="connsiteY3347" fmla="*/ 822855 h 6078415"/>
                <a:gd name="connsiteX3348" fmla="*/ 9686363 w 11685910"/>
                <a:gd name="connsiteY3348" fmla="*/ 785480 h 6078415"/>
                <a:gd name="connsiteX3349" fmla="*/ 9666599 w 11685910"/>
                <a:gd name="connsiteY3349" fmla="*/ 759127 h 6078415"/>
                <a:gd name="connsiteX3350" fmla="*/ 9666599 w 11685910"/>
                <a:gd name="connsiteY3350" fmla="*/ 740631 h 6078415"/>
                <a:gd name="connsiteX3351" fmla="*/ 9686363 w 11685910"/>
                <a:gd name="connsiteY3351" fmla="*/ 713771 h 6078415"/>
                <a:gd name="connsiteX3352" fmla="*/ 9686363 w 11685910"/>
                <a:gd name="connsiteY3352" fmla="*/ 677411 h 6078415"/>
                <a:gd name="connsiteX3353" fmla="*/ 9731466 w 11685910"/>
                <a:gd name="connsiteY3353" fmla="*/ 638389 h 6078415"/>
                <a:gd name="connsiteX3354" fmla="*/ 8124748 w 11685910"/>
                <a:gd name="connsiteY3354" fmla="*/ 638389 h 6078415"/>
                <a:gd name="connsiteX3355" fmla="*/ 8169597 w 11685910"/>
                <a:gd name="connsiteY3355" fmla="*/ 677411 h 6078415"/>
                <a:gd name="connsiteX3356" fmla="*/ 8169597 w 11685910"/>
                <a:gd name="connsiteY3356" fmla="*/ 713771 h 6078415"/>
                <a:gd name="connsiteX3357" fmla="*/ 8189235 w 11685910"/>
                <a:gd name="connsiteY3357" fmla="*/ 740631 h 6078415"/>
                <a:gd name="connsiteX3358" fmla="*/ 8189235 w 11685910"/>
                <a:gd name="connsiteY3358" fmla="*/ 759127 h 6078415"/>
                <a:gd name="connsiteX3359" fmla="*/ 8169597 w 11685910"/>
                <a:gd name="connsiteY3359" fmla="*/ 785480 h 6078415"/>
                <a:gd name="connsiteX3360" fmla="*/ 8169597 w 11685910"/>
                <a:gd name="connsiteY3360" fmla="*/ 822855 h 6078415"/>
                <a:gd name="connsiteX3361" fmla="*/ 8124748 w 11685910"/>
                <a:gd name="connsiteY3361" fmla="*/ 861369 h 6078415"/>
                <a:gd name="connsiteX3362" fmla="*/ 8124748 w 11685910"/>
                <a:gd name="connsiteY3362" fmla="*/ 841858 h 6078415"/>
                <a:gd name="connsiteX3363" fmla="*/ 8140395 w 11685910"/>
                <a:gd name="connsiteY3363" fmla="*/ 835777 h 6078415"/>
                <a:gd name="connsiteX3364" fmla="*/ 8145019 w 11685910"/>
                <a:gd name="connsiteY3364" fmla="*/ 816520 h 6078415"/>
                <a:gd name="connsiteX3365" fmla="*/ 8145019 w 11685910"/>
                <a:gd name="connsiteY3365" fmla="*/ 781173 h 6078415"/>
                <a:gd name="connsiteX3366" fmla="*/ 8169978 w 11685910"/>
                <a:gd name="connsiteY3366" fmla="*/ 749879 h 6078415"/>
                <a:gd name="connsiteX3367" fmla="*/ 8169978 w 11685910"/>
                <a:gd name="connsiteY3367" fmla="*/ 749500 h 6078415"/>
                <a:gd name="connsiteX3368" fmla="*/ 8145019 w 11685910"/>
                <a:gd name="connsiteY3368" fmla="*/ 717952 h 6078415"/>
                <a:gd name="connsiteX3369" fmla="*/ 8145019 w 11685910"/>
                <a:gd name="connsiteY3369" fmla="*/ 682226 h 6078415"/>
                <a:gd name="connsiteX3370" fmla="*/ 8124748 w 11685910"/>
                <a:gd name="connsiteY3370" fmla="*/ 658027 h 6078415"/>
                <a:gd name="connsiteX3371" fmla="*/ 8107264 w 11685910"/>
                <a:gd name="connsiteY3371" fmla="*/ 638389 h 6078415"/>
                <a:gd name="connsiteX3372" fmla="*/ 8107264 w 11685910"/>
                <a:gd name="connsiteY3372" fmla="*/ 658027 h 6078415"/>
                <a:gd name="connsiteX3373" fmla="*/ 8087120 w 11685910"/>
                <a:gd name="connsiteY3373" fmla="*/ 682226 h 6078415"/>
                <a:gd name="connsiteX3374" fmla="*/ 8087120 w 11685910"/>
                <a:gd name="connsiteY3374" fmla="*/ 717952 h 6078415"/>
                <a:gd name="connsiteX3375" fmla="*/ 8061908 w 11685910"/>
                <a:gd name="connsiteY3375" fmla="*/ 749500 h 6078415"/>
                <a:gd name="connsiteX3376" fmla="*/ 8061908 w 11685910"/>
                <a:gd name="connsiteY3376" fmla="*/ 749879 h 6078415"/>
                <a:gd name="connsiteX3377" fmla="*/ 8087120 w 11685910"/>
                <a:gd name="connsiteY3377" fmla="*/ 781173 h 6078415"/>
                <a:gd name="connsiteX3378" fmla="*/ 8087120 w 11685910"/>
                <a:gd name="connsiteY3378" fmla="*/ 816520 h 6078415"/>
                <a:gd name="connsiteX3379" fmla="*/ 8091618 w 11685910"/>
                <a:gd name="connsiteY3379" fmla="*/ 835840 h 6078415"/>
                <a:gd name="connsiteX3380" fmla="*/ 8107264 w 11685910"/>
                <a:gd name="connsiteY3380" fmla="*/ 841858 h 6078415"/>
                <a:gd name="connsiteX3381" fmla="*/ 8107264 w 11685910"/>
                <a:gd name="connsiteY3381" fmla="*/ 861369 h 6078415"/>
                <a:gd name="connsiteX3382" fmla="*/ 8062162 w 11685910"/>
                <a:gd name="connsiteY3382" fmla="*/ 822855 h 6078415"/>
                <a:gd name="connsiteX3383" fmla="*/ 8062162 w 11685910"/>
                <a:gd name="connsiteY3383" fmla="*/ 785480 h 6078415"/>
                <a:gd name="connsiteX3384" fmla="*/ 8042397 w 11685910"/>
                <a:gd name="connsiteY3384" fmla="*/ 759127 h 6078415"/>
                <a:gd name="connsiteX3385" fmla="*/ 8042397 w 11685910"/>
                <a:gd name="connsiteY3385" fmla="*/ 740631 h 6078415"/>
                <a:gd name="connsiteX3386" fmla="*/ 8062162 w 11685910"/>
                <a:gd name="connsiteY3386" fmla="*/ 713771 h 6078415"/>
                <a:gd name="connsiteX3387" fmla="*/ 8062162 w 11685910"/>
                <a:gd name="connsiteY3387" fmla="*/ 677411 h 6078415"/>
                <a:gd name="connsiteX3388" fmla="*/ 8107264 w 11685910"/>
                <a:gd name="connsiteY3388" fmla="*/ 638389 h 6078415"/>
                <a:gd name="connsiteX3389" fmla="*/ 5549040 w 11685910"/>
                <a:gd name="connsiteY3389" fmla="*/ 638389 h 6078415"/>
                <a:gd name="connsiteX3390" fmla="*/ 5593889 w 11685910"/>
                <a:gd name="connsiteY3390" fmla="*/ 677411 h 6078415"/>
                <a:gd name="connsiteX3391" fmla="*/ 5593889 w 11685910"/>
                <a:gd name="connsiteY3391" fmla="*/ 713771 h 6078415"/>
                <a:gd name="connsiteX3392" fmla="*/ 5613526 w 11685910"/>
                <a:gd name="connsiteY3392" fmla="*/ 740631 h 6078415"/>
                <a:gd name="connsiteX3393" fmla="*/ 5613526 w 11685910"/>
                <a:gd name="connsiteY3393" fmla="*/ 759127 h 6078415"/>
                <a:gd name="connsiteX3394" fmla="*/ 5593889 w 11685910"/>
                <a:gd name="connsiteY3394" fmla="*/ 785480 h 6078415"/>
                <a:gd name="connsiteX3395" fmla="*/ 5593889 w 11685910"/>
                <a:gd name="connsiteY3395" fmla="*/ 822855 h 6078415"/>
                <a:gd name="connsiteX3396" fmla="*/ 5549040 w 11685910"/>
                <a:gd name="connsiteY3396" fmla="*/ 861369 h 6078415"/>
                <a:gd name="connsiteX3397" fmla="*/ 5549040 w 11685910"/>
                <a:gd name="connsiteY3397" fmla="*/ 841858 h 6078415"/>
                <a:gd name="connsiteX3398" fmla="*/ 5564686 w 11685910"/>
                <a:gd name="connsiteY3398" fmla="*/ 835777 h 6078415"/>
                <a:gd name="connsiteX3399" fmla="*/ 5569311 w 11685910"/>
                <a:gd name="connsiteY3399" fmla="*/ 816520 h 6078415"/>
                <a:gd name="connsiteX3400" fmla="*/ 5569311 w 11685910"/>
                <a:gd name="connsiteY3400" fmla="*/ 781173 h 6078415"/>
                <a:gd name="connsiteX3401" fmla="*/ 5594268 w 11685910"/>
                <a:gd name="connsiteY3401" fmla="*/ 749879 h 6078415"/>
                <a:gd name="connsiteX3402" fmla="*/ 5594268 w 11685910"/>
                <a:gd name="connsiteY3402" fmla="*/ 749500 h 6078415"/>
                <a:gd name="connsiteX3403" fmla="*/ 5569311 w 11685910"/>
                <a:gd name="connsiteY3403" fmla="*/ 717952 h 6078415"/>
                <a:gd name="connsiteX3404" fmla="*/ 5569311 w 11685910"/>
                <a:gd name="connsiteY3404" fmla="*/ 682226 h 6078415"/>
                <a:gd name="connsiteX3405" fmla="*/ 5549040 w 11685910"/>
                <a:gd name="connsiteY3405" fmla="*/ 658027 h 6078415"/>
                <a:gd name="connsiteX3406" fmla="*/ 5531555 w 11685910"/>
                <a:gd name="connsiteY3406" fmla="*/ 638389 h 6078415"/>
                <a:gd name="connsiteX3407" fmla="*/ 5531555 w 11685910"/>
                <a:gd name="connsiteY3407" fmla="*/ 658027 h 6078415"/>
                <a:gd name="connsiteX3408" fmla="*/ 5511412 w 11685910"/>
                <a:gd name="connsiteY3408" fmla="*/ 682226 h 6078415"/>
                <a:gd name="connsiteX3409" fmla="*/ 5511412 w 11685910"/>
                <a:gd name="connsiteY3409" fmla="*/ 717952 h 6078415"/>
                <a:gd name="connsiteX3410" fmla="*/ 5486199 w 11685910"/>
                <a:gd name="connsiteY3410" fmla="*/ 749500 h 6078415"/>
                <a:gd name="connsiteX3411" fmla="*/ 5486199 w 11685910"/>
                <a:gd name="connsiteY3411" fmla="*/ 749879 h 6078415"/>
                <a:gd name="connsiteX3412" fmla="*/ 5511412 w 11685910"/>
                <a:gd name="connsiteY3412" fmla="*/ 781173 h 6078415"/>
                <a:gd name="connsiteX3413" fmla="*/ 5511412 w 11685910"/>
                <a:gd name="connsiteY3413" fmla="*/ 816520 h 6078415"/>
                <a:gd name="connsiteX3414" fmla="*/ 5515909 w 11685910"/>
                <a:gd name="connsiteY3414" fmla="*/ 835840 h 6078415"/>
                <a:gd name="connsiteX3415" fmla="*/ 5531555 w 11685910"/>
                <a:gd name="connsiteY3415" fmla="*/ 841858 h 6078415"/>
                <a:gd name="connsiteX3416" fmla="*/ 5531555 w 11685910"/>
                <a:gd name="connsiteY3416" fmla="*/ 861369 h 6078415"/>
                <a:gd name="connsiteX3417" fmla="*/ 5486453 w 11685910"/>
                <a:gd name="connsiteY3417" fmla="*/ 822855 h 6078415"/>
                <a:gd name="connsiteX3418" fmla="*/ 5486453 w 11685910"/>
                <a:gd name="connsiteY3418" fmla="*/ 785480 h 6078415"/>
                <a:gd name="connsiteX3419" fmla="*/ 5466689 w 11685910"/>
                <a:gd name="connsiteY3419" fmla="*/ 759127 h 6078415"/>
                <a:gd name="connsiteX3420" fmla="*/ 5466689 w 11685910"/>
                <a:gd name="connsiteY3420" fmla="*/ 740631 h 6078415"/>
                <a:gd name="connsiteX3421" fmla="*/ 5486453 w 11685910"/>
                <a:gd name="connsiteY3421" fmla="*/ 713771 h 6078415"/>
                <a:gd name="connsiteX3422" fmla="*/ 5486453 w 11685910"/>
                <a:gd name="connsiteY3422" fmla="*/ 677411 h 6078415"/>
                <a:gd name="connsiteX3423" fmla="*/ 5531555 w 11685910"/>
                <a:gd name="connsiteY3423" fmla="*/ 638389 h 6078415"/>
                <a:gd name="connsiteX3424" fmla="*/ 4882938 w 11685910"/>
                <a:gd name="connsiteY3424" fmla="*/ 638389 h 6078415"/>
                <a:gd name="connsiteX3425" fmla="*/ 4927787 w 11685910"/>
                <a:gd name="connsiteY3425" fmla="*/ 677411 h 6078415"/>
                <a:gd name="connsiteX3426" fmla="*/ 4927787 w 11685910"/>
                <a:gd name="connsiteY3426" fmla="*/ 713771 h 6078415"/>
                <a:gd name="connsiteX3427" fmla="*/ 4947424 w 11685910"/>
                <a:gd name="connsiteY3427" fmla="*/ 740631 h 6078415"/>
                <a:gd name="connsiteX3428" fmla="*/ 4947424 w 11685910"/>
                <a:gd name="connsiteY3428" fmla="*/ 759127 h 6078415"/>
                <a:gd name="connsiteX3429" fmla="*/ 4927787 w 11685910"/>
                <a:gd name="connsiteY3429" fmla="*/ 785480 h 6078415"/>
                <a:gd name="connsiteX3430" fmla="*/ 4927787 w 11685910"/>
                <a:gd name="connsiteY3430" fmla="*/ 822855 h 6078415"/>
                <a:gd name="connsiteX3431" fmla="*/ 4882938 w 11685910"/>
                <a:gd name="connsiteY3431" fmla="*/ 861369 h 6078415"/>
                <a:gd name="connsiteX3432" fmla="*/ 4882938 w 11685910"/>
                <a:gd name="connsiteY3432" fmla="*/ 841858 h 6078415"/>
                <a:gd name="connsiteX3433" fmla="*/ 4898583 w 11685910"/>
                <a:gd name="connsiteY3433" fmla="*/ 835777 h 6078415"/>
                <a:gd name="connsiteX3434" fmla="*/ 4903208 w 11685910"/>
                <a:gd name="connsiteY3434" fmla="*/ 816520 h 6078415"/>
                <a:gd name="connsiteX3435" fmla="*/ 4903208 w 11685910"/>
                <a:gd name="connsiteY3435" fmla="*/ 781173 h 6078415"/>
                <a:gd name="connsiteX3436" fmla="*/ 4928167 w 11685910"/>
                <a:gd name="connsiteY3436" fmla="*/ 749879 h 6078415"/>
                <a:gd name="connsiteX3437" fmla="*/ 4928167 w 11685910"/>
                <a:gd name="connsiteY3437" fmla="*/ 749500 h 6078415"/>
                <a:gd name="connsiteX3438" fmla="*/ 4903208 w 11685910"/>
                <a:gd name="connsiteY3438" fmla="*/ 717952 h 6078415"/>
                <a:gd name="connsiteX3439" fmla="*/ 4903208 w 11685910"/>
                <a:gd name="connsiteY3439" fmla="*/ 682226 h 6078415"/>
                <a:gd name="connsiteX3440" fmla="*/ 4882938 w 11685910"/>
                <a:gd name="connsiteY3440" fmla="*/ 658027 h 6078415"/>
                <a:gd name="connsiteX3441" fmla="*/ 4865453 w 11685910"/>
                <a:gd name="connsiteY3441" fmla="*/ 638389 h 6078415"/>
                <a:gd name="connsiteX3442" fmla="*/ 4865453 w 11685910"/>
                <a:gd name="connsiteY3442" fmla="*/ 658027 h 6078415"/>
                <a:gd name="connsiteX3443" fmla="*/ 4845309 w 11685910"/>
                <a:gd name="connsiteY3443" fmla="*/ 682226 h 6078415"/>
                <a:gd name="connsiteX3444" fmla="*/ 4845309 w 11685910"/>
                <a:gd name="connsiteY3444" fmla="*/ 717952 h 6078415"/>
                <a:gd name="connsiteX3445" fmla="*/ 4820097 w 11685910"/>
                <a:gd name="connsiteY3445" fmla="*/ 749500 h 6078415"/>
                <a:gd name="connsiteX3446" fmla="*/ 4820097 w 11685910"/>
                <a:gd name="connsiteY3446" fmla="*/ 749879 h 6078415"/>
                <a:gd name="connsiteX3447" fmla="*/ 4845309 w 11685910"/>
                <a:gd name="connsiteY3447" fmla="*/ 781173 h 6078415"/>
                <a:gd name="connsiteX3448" fmla="*/ 4845309 w 11685910"/>
                <a:gd name="connsiteY3448" fmla="*/ 816520 h 6078415"/>
                <a:gd name="connsiteX3449" fmla="*/ 4849806 w 11685910"/>
                <a:gd name="connsiteY3449" fmla="*/ 835840 h 6078415"/>
                <a:gd name="connsiteX3450" fmla="*/ 4865453 w 11685910"/>
                <a:gd name="connsiteY3450" fmla="*/ 841858 h 6078415"/>
                <a:gd name="connsiteX3451" fmla="*/ 4865453 w 11685910"/>
                <a:gd name="connsiteY3451" fmla="*/ 861369 h 6078415"/>
                <a:gd name="connsiteX3452" fmla="*/ 4820350 w 11685910"/>
                <a:gd name="connsiteY3452" fmla="*/ 822855 h 6078415"/>
                <a:gd name="connsiteX3453" fmla="*/ 4820350 w 11685910"/>
                <a:gd name="connsiteY3453" fmla="*/ 785480 h 6078415"/>
                <a:gd name="connsiteX3454" fmla="*/ 4800586 w 11685910"/>
                <a:gd name="connsiteY3454" fmla="*/ 759127 h 6078415"/>
                <a:gd name="connsiteX3455" fmla="*/ 4800586 w 11685910"/>
                <a:gd name="connsiteY3455" fmla="*/ 740631 h 6078415"/>
                <a:gd name="connsiteX3456" fmla="*/ 4820350 w 11685910"/>
                <a:gd name="connsiteY3456" fmla="*/ 713771 h 6078415"/>
                <a:gd name="connsiteX3457" fmla="*/ 4820350 w 11685910"/>
                <a:gd name="connsiteY3457" fmla="*/ 677411 h 6078415"/>
                <a:gd name="connsiteX3458" fmla="*/ 4865453 w 11685910"/>
                <a:gd name="connsiteY3458" fmla="*/ 638389 h 6078415"/>
                <a:gd name="connsiteX3459" fmla="*/ 2058393 w 11685910"/>
                <a:gd name="connsiteY3459" fmla="*/ 638389 h 6078415"/>
                <a:gd name="connsiteX3460" fmla="*/ 2103243 w 11685910"/>
                <a:gd name="connsiteY3460" fmla="*/ 677411 h 6078415"/>
                <a:gd name="connsiteX3461" fmla="*/ 2103243 w 11685910"/>
                <a:gd name="connsiteY3461" fmla="*/ 713771 h 6078415"/>
                <a:gd name="connsiteX3462" fmla="*/ 2122880 w 11685910"/>
                <a:gd name="connsiteY3462" fmla="*/ 740631 h 6078415"/>
                <a:gd name="connsiteX3463" fmla="*/ 2122880 w 11685910"/>
                <a:gd name="connsiteY3463" fmla="*/ 759127 h 6078415"/>
                <a:gd name="connsiteX3464" fmla="*/ 2103243 w 11685910"/>
                <a:gd name="connsiteY3464" fmla="*/ 785480 h 6078415"/>
                <a:gd name="connsiteX3465" fmla="*/ 2103243 w 11685910"/>
                <a:gd name="connsiteY3465" fmla="*/ 822855 h 6078415"/>
                <a:gd name="connsiteX3466" fmla="*/ 2058393 w 11685910"/>
                <a:gd name="connsiteY3466" fmla="*/ 861369 h 6078415"/>
                <a:gd name="connsiteX3467" fmla="*/ 2058393 w 11685910"/>
                <a:gd name="connsiteY3467" fmla="*/ 841858 h 6078415"/>
                <a:gd name="connsiteX3468" fmla="*/ 2074040 w 11685910"/>
                <a:gd name="connsiteY3468" fmla="*/ 835777 h 6078415"/>
                <a:gd name="connsiteX3469" fmla="*/ 2078664 w 11685910"/>
                <a:gd name="connsiteY3469" fmla="*/ 816520 h 6078415"/>
                <a:gd name="connsiteX3470" fmla="*/ 2078664 w 11685910"/>
                <a:gd name="connsiteY3470" fmla="*/ 781173 h 6078415"/>
                <a:gd name="connsiteX3471" fmla="*/ 2103623 w 11685910"/>
                <a:gd name="connsiteY3471" fmla="*/ 749879 h 6078415"/>
                <a:gd name="connsiteX3472" fmla="*/ 2103623 w 11685910"/>
                <a:gd name="connsiteY3472" fmla="*/ 749500 h 6078415"/>
                <a:gd name="connsiteX3473" fmla="*/ 2078664 w 11685910"/>
                <a:gd name="connsiteY3473" fmla="*/ 717952 h 6078415"/>
                <a:gd name="connsiteX3474" fmla="*/ 2078664 w 11685910"/>
                <a:gd name="connsiteY3474" fmla="*/ 682226 h 6078415"/>
                <a:gd name="connsiteX3475" fmla="*/ 2058393 w 11685910"/>
                <a:gd name="connsiteY3475" fmla="*/ 658027 h 6078415"/>
                <a:gd name="connsiteX3476" fmla="*/ 2040908 w 11685910"/>
                <a:gd name="connsiteY3476" fmla="*/ 638389 h 6078415"/>
                <a:gd name="connsiteX3477" fmla="*/ 2040908 w 11685910"/>
                <a:gd name="connsiteY3477" fmla="*/ 658027 h 6078415"/>
                <a:gd name="connsiteX3478" fmla="*/ 2020765 w 11685910"/>
                <a:gd name="connsiteY3478" fmla="*/ 682226 h 6078415"/>
                <a:gd name="connsiteX3479" fmla="*/ 2020765 w 11685910"/>
                <a:gd name="connsiteY3479" fmla="*/ 717952 h 6078415"/>
                <a:gd name="connsiteX3480" fmla="*/ 1995553 w 11685910"/>
                <a:gd name="connsiteY3480" fmla="*/ 749500 h 6078415"/>
                <a:gd name="connsiteX3481" fmla="*/ 1995553 w 11685910"/>
                <a:gd name="connsiteY3481" fmla="*/ 749879 h 6078415"/>
                <a:gd name="connsiteX3482" fmla="*/ 2020765 w 11685910"/>
                <a:gd name="connsiteY3482" fmla="*/ 781173 h 6078415"/>
                <a:gd name="connsiteX3483" fmla="*/ 2020765 w 11685910"/>
                <a:gd name="connsiteY3483" fmla="*/ 816520 h 6078415"/>
                <a:gd name="connsiteX3484" fmla="*/ 2025262 w 11685910"/>
                <a:gd name="connsiteY3484" fmla="*/ 835840 h 6078415"/>
                <a:gd name="connsiteX3485" fmla="*/ 2040908 w 11685910"/>
                <a:gd name="connsiteY3485" fmla="*/ 841858 h 6078415"/>
                <a:gd name="connsiteX3486" fmla="*/ 2040908 w 11685910"/>
                <a:gd name="connsiteY3486" fmla="*/ 861369 h 6078415"/>
                <a:gd name="connsiteX3487" fmla="*/ 1995806 w 11685910"/>
                <a:gd name="connsiteY3487" fmla="*/ 822855 h 6078415"/>
                <a:gd name="connsiteX3488" fmla="*/ 1995806 w 11685910"/>
                <a:gd name="connsiteY3488" fmla="*/ 785480 h 6078415"/>
                <a:gd name="connsiteX3489" fmla="*/ 1976041 w 11685910"/>
                <a:gd name="connsiteY3489" fmla="*/ 759127 h 6078415"/>
                <a:gd name="connsiteX3490" fmla="*/ 1976041 w 11685910"/>
                <a:gd name="connsiteY3490" fmla="*/ 740631 h 6078415"/>
                <a:gd name="connsiteX3491" fmla="*/ 1995806 w 11685910"/>
                <a:gd name="connsiteY3491" fmla="*/ 713771 h 6078415"/>
                <a:gd name="connsiteX3492" fmla="*/ 1995806 w 11685910"/>
                <a:gd name="connsiteY3492" fmla="*/ 677411 h 6078415"/>
                <a:gd name="connsiteX3493" fmla="*/ 2040908 w 11685910"/>
                <a:gd name="connsiteY3493" fmla="*/ 638389 h 6078415"/>
                <a:gd name="connsiteX3494" fmla="*/ 9005765 w 11685910"/>
                <a:gd name="connsiteY3494" fmla="*/ 498119 h 6078415"/>
                <a:gd name="connsiteX3495" fmla="*/ 8982416 w 11685910"/>
                <a:gd name="connsiteY3495" fmla="*/ 537631 h 6078415"/>
                <a:gd name="connsiteX3496" fmla="*/ 8998940 w 11685910"/>
                <a:gd name="connsiteY3496" fmla="*/ 541044 h 6078415"/>
                <a:gd name="connsiteX3497" fmla="*/ 9015463 w 11685910"/>
                <a:gd name="connsiteY3497" fmla="*/ 537452 h 6078415"/>
                <a:gd name="connsiteX3498" fmla="*/ 9012500 w 11685910"/>
                <a:gd name="connsiteY3498" fmla="*/ 527933 h 6078415"/>
                <a:gd name="connsiteX3499" fmla="*/ 9013488 w 11685910"/>
                <a:gd name="connsiteY3499" fmla="*/ 514642 h 6078415"/>
                <a:gd name="connsiteX3500" fmla="*/ 9005765 w 11685910"/>
                <a:gd name="connsiteY3500" fmla="*/ 498119 h 6078415"/>
                <a:gd name="connsiteX3501" fmla="*/ 2945029 w 11685910"/>
                <a:gd name="connsiteY3501" fmla="*/ 498119 h 6078415"/>
                <a:gd name="connsiteX3502" fmla="*/ 2921680 w 11685910"/>
                <a:gd name="connsiteY3502" fmla="*/ 537631 h 6078415"/>
                <a:gd name="connsiteX3503" fmla="*/ 2938203 w 11685910"/>
                <a:gd name="connsiteY3503" fmla="*/ 541044 h 6078415"/>
                <a:gd name="connsiteX3504" fmla="*/ 2954726 w 11685910"/>
                <a:gd name="connsiteY3504" fmla="*/ 537452 h 6078415"/>
                <a:gd name="connsiteX3505" fmla="*/ 2951763 w 11685910"/>
                <a:gd name="connsiteY3505" fmla="*/ 527933 h 6078415"/>
                <a:gd name="connsiteX3506" fmla="*/ 2952751 w 11685910"/>
                <a:gd name="connsiteY3506" fmla="*/ 514642 h 6078415"/>
                <a:gd name="connsiteX3507" fmla="*/ 2945029 w 11685910"/>
                <a:gd name="connsiteY3507" fmla="*/ 498119 h 6078415"/>
                <a:gd name="connsiteX3508" fmla="*/ 8844660 w 11685910"/>
                <a:gd name="connsiteY3508" fmla="*/ 481595 h 6078415"/>
                <a:gd name="connsiteX3509" fmla="*/ 8830921 w 11685910"/>
                <a:gd name="connsiteY3509" fmla="*/ 501980 h 6078415"/>
                <a:gd name="connsiteX3510" fmla="*/ 8852563 w 11685910"/>
                <a:gd name="connsiteY3510" fmla="*/ 523712 h 6078415"/>
                <a:gd name="connsiteX3511" fmla="*/ 8861543 w 11685910"/>
                <a:gd name="connsiteY3511" fmla="*/ 516438 h 6078415"/>
                <a:gd name="connsiteX3512" fmla="*/ 8844660 w 11685910"/>
                <a:gd name="connsiteY3512" fmla="*/ 481595 h 6078415"/>
                <a:gd name="connsiteX3513" fmla="*/ 2783925 w 11685910"/>
                <a:gd name="connsiteY3513" fmla="*/ 481595 h 6078415"/>
                <a:gd name="connsiteX3514" fmla="*/ 2770185 w 11685910"/>
                <a:gd name="connsiteY3514" fmla="*/ 501980 h 6078415"/>
                <a:gd name="connsiteX3515" fmla="*/ 2791826 w 11685910"/>
                <a:gd name="connsiteY3515" fmla="*/ 523712 h 6078415"/>
                <a:gd name="connsiteX3516" fmla="*/ 2800806 w 11685910"/>
                <a:gd name="connsiteY3516" fmla="*/ 516438 h 6078415"/>
                <a:gd name="connsiteX3517" fmla="*/ 2783925 w 11685910"/>
                <a:gd name="connsiteY3517" fmla="*/ 481595 h 6078415"/>
                <a:gd name="connsiteX3518" fmla="*/ 8828161 w 11685910"/>
                <a:gd name="connsiteY3518" fmla="*/ 412842 h 6078415"/>
                <a:gd name="connsiteX3519" fmla="*/ 8827959 w 11685910"/>
                <a:gd name="connsiteY3519" fmla="*/ 414368 h 6078415"/>
                <a:gd name="connsiteX3520" fmla="*/ 8827892 w 11685910"/>
                <a:gd name="connsiteY3520" fmla="*/ 413100 h 6078415"/>
                <a:gd name="connsiteX3521" fmla="*/ 2767424 w 11685910"/>
                <a:gd name="connsiteY3521" fmla="*/ 412841 h 6078415"/>
                <a:gd name="connsiteX3522" fmla="*/ 2767222 w 11685910"/>
                <a:gd name="connsiteY3522" fmla="*/ 414369 h 6078415"/>
                <a:gd name="connsiteX3523" fmla="*/ 2767156 w 11685910"/>
                <a:gd name="connsiteY3523" fmla="*/ 413100 h 6078415"/>
                <a:gd name="connsiteX3524" fmla="*/ 9031448 w 11685910"/>
                <a:gd name="connsiteY3524" fmla="*/ 385462 h 6078415"/>
                <a:gd name="connsiteX3525" fmla="*/ 9027429 w 11685910"/>
                <a:gd name="connsiteY3525" fmla="*/ 388336 h 6078415"/>
                <a:gd name="connsiteX3526" fmla="*/ 9034399 w 11685910"/>
                <a:gd name="connsiteY3526" fmla="*/ 396764 h 6078415"/>
                <a:gd name="connsiteX3527" fmla="*/ 9041326 w 11685910"/>
                <a:gd name="connsiteY3527" fmla="*/ 395026 h 6078415"/>
                <a:gd name="connsiteX3528" fmla="*/ 9014925 w 11685910"/>
                <a:gd name="connsiteY3528" fmla="*/ 414334 h 6078415"/>
                <a:gd name="connsiteX3529" fmla="*/ 9019975 w 11685910"/>
                <a:gd name="connsiteY3529" fmla="*/ 406659 h 6078415"/>
                <a:gd name="connsiteX3530" fmla="*/ 9012141 w 11685910"/>
                <a:gd name="connsiteY3530" fmla="*/ 399651 h 6078415"/>
                <a:gd name="connsiteX3531" fmla="*/ 9007291 w 11685910"/>
                <a:gd name="connsiteY3531" fmla="*/ 403737 h 6078415"/>
                <a:gd name="connsiteX3532" fmla="*/ 9031448 w 11685910"/>
                <a:gd name="connsiteY3532" fmla="*/ 385462 h 6078415"/>
                <a:gd name="connsiteX3533" fmla="*/ 2970711 w 11685910"/>
                <a:gd name="connsiteY3533" fmla="*/ 385462 h 6078415"/>
                <a:gd name="connsiteX3534" fmla="*/ 2966693 w 11685910"/>
                <a:gd name="connsiteY3534" fmla="*/ 388336 h 6078415"/>
                <a:gd name="connsiteX3535" fmla="*/ 2973663 w 11685910"/>
                <a:gd name="connsiteY3535" fmla="*/ 396764 h 6078415"/>
                <a:gd name="connsiteX3536" fmla="*/ 2980590 w 11685910"/>
                <a:gd name="connsiteY3536" fmla="*/ 395026 h 6078415"/>
                <a:gd name="connsiteX3537" fmla="*/ 2954189 w 11685910"/>
                <a:gd name="connsiteY3537" fmla="*/ 414334 h 6078415"/>
                <a:gd name="connsiteX3538" fmla="*/ 2959239 w 11685910"/>
                <a:gd name="connsiteY3538" fmla="*/ 406659 h 6078415"/>
                <a:gd name="connsiteX3539" fmla="*/ 2951404 w 11685910"/>
                <a:gd name="connsiteY3539" fmla="*/ 399651 h 6078415"/>
                <a:gd name="connsiteX3540" fmla="*/ 2946555 w 11685910"/>
                <a:gd name="connsiteY3540" fmla="*/ 403737 h 6078415"/>
                <a:gd name="connsiteX3541" fmla="*/ 2970711 w 11685910"/>
                <a:gd name="connsiteY3541" fmla="*/ 385462 h 6078415"/>
                <a:gd name="connsiteX3542" fmla="*/ 9004699 w 11685910"/>
                <a:gd name="connsiteY3542" fmla="*/ 368940 h 6078415"/>
                <a:gd name="connsiteX3543" fmla="*/ 9007000 w 11685910"/>
                <a:gd name="connsiteY3543" fmla="*/ 368977 h 6078415"/>
                <a:gd name="connsiteX3544" fmla="*/ 9015194 w 11685910"/>
                <a:gd name="connsiteY3544" fmla="*/ 370241 h 6078415"/>
                <a:gd name="connsiteX3545" fmla="*/ 8996156 w 11685910"/>
                <a:gd name="connsiteY3545" fmla="*/ 389279 h 6078415"/>
                <a:gd name="connsiteX3546" fmla="*/ 9004699 w 11685910"/>
                <a:gd name="connsiteY3546" fmla="*/ 368940 h 6078415"/>
                <a:gd name="connsiteX3547" fmla="*/ 2943962 w 11685910"/>
                <a:gd name="connsiteY3547" fmla="*/ 368940 h 6078415"/>
                <a:gd name="connsiteX3548" fmla="*/ 2946264 w 11685910"/>
                <a:gd name="connsiteY3548" fmla="*/ 368977 h 6078415"/>
                <a:gd name="connsiteX3549" fmla="*/ 2954458 w 11685910"/>
                <a:gd name="connsiteY3549" fmla="*/ 370241 h 6078415"/>
                <a:gd name="connsiteX3550" fmla="*/ 2935420 w 11685910"/>
                <a:gd name="connsiteY3550" fmla="*/ 389279 h 6078415"/>
                <a:gd name="connsiteX3551" fmla="*/ 2943962 w 11685910"/>
                <a:gd name="connsiteY3551" fmla="*/ 368940 h 6078415"/>
                <a:gd name="connsiteX3552" fmla="*/ 9107997 w 11685910"/>
                <a:gd name="connsiteY3552" fmla="*/ 346712 h 6078415"/>
                <a:gd name="connsiteX3553" fmla="*/ 9099744 w 11685910"/>
                <a:gd name="connsiteY3553" fmla="*/ 360728 h 6078415"/>
                <a:gd name="connsiteX3554" fmla="*/ 9087486 w 11685910"/>
                <a:gd name="connsiteY3554" fmla="*/ 362733 h 6078415"/>
                <a:gd name="connsiteX3555" fmla="*/ 9098703 w 11685910"/>
                <a:gd name="connsiteY3555" fmla="*/ 356059 h 6078415"/>
                <a:gd name="connsiteX3556" fmla="*/ 9107997 w 11685910"/>
                <a:gd name="connsiteY3556" fmla="*/ 346712 h 6078415"/>
                <a:gd name="connsiteX3557" fmla="*/ 3047262 w 11685910"/>
                <a:gd name="connsiteY3557" fmla="*/ 346712 h 6078415"/>
                <a:gd name="connsiteX3558" fmla="*/ 3039007 w 11685910"/>
                <a:gd name="connsiteY3558" fmla="*/ 360728 h 6078415"/>
                <a:gd name="connsiteX3559" fmla="*/ 3026750 w 11685910"/>
                <a:gd name="connsiteY3559" fmla="*/ 362733 h 6078415"/>
                <a:gd name="connsiteX3560" fmla="*/ 3037966 w 11685910"/>
                <a:gd name="connsiteY3560" fmla="*/ 356059 h 6078415"/>
                <a:gd name="connsiteX3561" fmla="*/ 3047262 w 11685910"/>
                <a:gd name="connsiteY3561" fmla="*/ 346712 h 6078415"/>
                <a:gd name="connsiteX3562" fmla="*/ 10088691 w 11685910"/>
                <a:gd name="connsiteY3562" fmla="*/ 330076 h 6078415"/>
                <a:gd name="connsiteX3563" fmla="*/ 10143377 w 11685910"/>
                <a:gd name="connsiteY3563" fmla="*/ 369097 h 6078415"/>
                <a:gd name="connsiteX3564" fmla="*/ 10143377 w 11685910"/>
                <a:gd name="connsiteY3564" fmla="*/ 405458 h 6078415"/>
                <a:gd name="connsiteX3565" fmla="*/ 10167321 w 11685910"/>
                <a:gd name="connsiteY3565" fmla="*/ 432318 h 6078415"/>
                <a:gd name="connsiteX3566" fmla="*/ 10167321 w 11685910"/>
                <a:gd name="connsiteY3566" fmla="*/ 450814 h 6078415"/>
                <a:gd name="connsiteX3567" fmla="*/ 10143377 w 11685910"/>
                <a:gd name="connsiteY3567" fmla="*/ 477167 h 6078415"/>
                <a:gd name="connsiteX3568" fmla="*/ 10143377 w 11685910"/>
                <a:gd name="connsiteY3568" fmla="*/ 514542 h 6078415"/>
                <a:gd name="connsiteX3569" fmla="*/ 10088691 w 11685910"/>
                <a:gd name="connsiteY3569" fmla="*/ 553056 h 6078415"/>
                <a:gd name="connsiteX3570" fmla="*/ 10088691 w 11685910"/>
                <a:gd name="connsiteY3570" fmla="*/ 533545 h 6078415"/>
                <a:gd name="connsiteX3571" fmla="*/ 10107769 w 11685910"/>
                <a:gd name="connsiteY3571" fmla="*/ 527464 h 6078415"/>
                <a:gd name="connsiteX3572" fmla="*/ 10113408 w 11685910"/>
                <a:gd name="connsiteY3572" fmla="*/ 508207 h 6078415"/>
                <a:gd name="connsiteX3573" fmla="*/ 10113408 w 11685910"/>
                <a:gd name="connsiteY3573" fmla="*/ 472859 h 6078415"/>
                <a:gd name="connsiteX3574" fmla="*/ 10143840 w 11685910"/>
                <a:gd name="connsiteY3574" fmla="*/ 441566 h 6078415"/>
                <a:gd name="connsiteX3575" fmla="*/ 10143840 w 11685910"/>
                <a:gd name="connsiteY3575" fmla="*/ 441186 h 6078415"/>
                <a:gd name="connsiteX3576" fmla="*/ 10113408 w 11685910"/>
                <a:gd name="connsiteY3576" fmla="*/ 409639 h 6078415"/>
                <a:gd name="connsiteX3577" fmla="*/ 10113408 w 11685910"/>
                <a:gd name="connsiteY3577" fmla="*/ 373912 h 6078415"/>
                <a:gd name="connsiteX3578" fmla="*/ 10088691 w 11685910"/>
                <a:gd name="connsiteY3578" fmla="*/ 349714 h 6078415"/>
                <a:gd name="connsiteX3579" fmla="*/ 10067372 w 11685910"/>
                <a:gd name="connsiteY3579" fmla="*/ 330076 h 6078415"/>
                <a:gd name="connsiteX3580" fmla="*/ 10067372 w 11685910"/>
                <a:gd name="connsiteY3580" fmla="*/ 349714 h 6078415"/>
                <a:gd name="connsiteX3581" fmla="*/ 10042810 w 11685910"/>
                <a:gd name="connsiteY3581" fmla="*/ 373912 h 6078415"/>
                <a:gd name="connsiteX3582" fmla="*/ 10042810 w 11685910"/>
                <a:gd name="connsiteY3582" fmla="*/ 409639 h 6078415"/>
                <a:gd name="connsiteX3583" fmla="*/ 10012069 w 11685910"/>
                <a:gd name="connsiteY3583" fmla="*/ 441186 h 6078415"/>
                <a:gd name="connsiteX3584" fmla="*/ 10012069 w 11685910"/>
                <a:gd name="connsiteY3584" fmla="*/ 441566 h 6078415"/>
                <a:gd name="connsiteX3585" fmla="*/ 10042810 w 11685910"/>
                <a:gd name="connsiteY3585" fmla="*/ 472859 h 6078415"/>
                <a:gd name="connsiteX3586" fmla="*/ 10042810 w 11685910"/>
                <a:gd name="connsiteY3586" fmla="*/ 508207 h 6078415"/>
                <a:gd name="connsiteX3587" fmla="*/ 10048294 w 11685910"/>
                <a:gd name="connsiteY3587" fmla="*/ 527527 h 6078415"/>
                <a:gd name="connsiteX3588" fmla="*/ 10067372 w 11685910"/>
                <a:gd name="connsiteY3588" fmla="*/ 533545 h 6078415"/>
                <a:gd name="connsiteX3589" fmla="*/ 10067372 w 11685910"/>
                <a:gd name="connsiteY3589" fmla="*/ 553056 h 6078415"/>
                <a:gd name="connsiteX3590" fmla="*/ 10012378 w 11685910"/>
                <a:gd name="connsiteY3590" fmla="*/ 514542 h 6078415"/>
                <a:gd name="connsiteX3591" fmla="*/ 10012378 w 11685910"/>
                <a:gd name="connsiteY3591" fmla="*/ 477167 h 6078415"/>
                <a:gd name="connsiteX3592" fmla="*/ 9988279 w 11685910"/>
                <a:gd name="connsiteY3592" fmla="*/ 450814 h 6078415"/>
                <a:gd name="connsiteX3593" fmla="*/ 9988279 w 11685910"/>
                <a:gd name="connsiteY3593" fmla="*/ 432318 h 6078415"/>
                <a:gd name="connsiteX3594" fmla="*/ 10012378 w 11685910"/>
                <a:gd name="connsiteY3594" fmla="*/ 405458 h 6078415"/>
                <a:gd name="connsiteX3595" fmla="*/ 10012378 w 11685910"/>
                <a:gd name="connsiteY3595" fmla="*/ 369097 h 6078415"/>
                <a:gd name="connsiteX3596" fmla="*/ 10067372 w 11685910"/>
                <a:gd name="connsiteY3596" fmla="*/ 330076 h 6078415"/>
                <a:gd name="connsiteX3597" fmla="*/ 4025465 w 11685910"/>
                <a:gd name="connsiteY3597" fmla="*/ 330076 h 6078415"/>
                <a:gd name="connsiteX3598" fmla="*/ 4080151 w 11685910"/>
                <a:gd name="connsiteY3598" fmla="*/ 369097 h 6078415"/>
                <a:gd name="connsiteX3599" fmla="*/ 4080151 w 11685910"/>
                <a:gd name="connsiteY3599" fmla="*/ 405458 h 6078415"/>
                <a:gd name="connsiteX3600" fmla="*/ 4104095 w 11685910"/>
                <a:gd name="connsiteY3600" fmla="*/ 432318 h 6078415"/>
                <a:gd name="connsiteX3601" fmla="*/ 4104095 w 11685910"/>
                <a:gd name="connsiteY3601" fmla="*/ 450814 h 6078415"/>
                <a:gd name="connsiteX3602" fmla="*/ 4080151 w 11685910"/>
                <a:gd name="connsiteY3602" fmla="*/ 477167 h 6078415"/>
                <a:gd name="connsiteX3603" fmla="*/ 4080151 w 11685910"/>
                <a:gd name="connsiteY3603" fmla="*/ 514542 h 6078415"/>
                <a:gd name="connsiteX3604" fmla="*/ 4025465 w 11685910"/>
                <a:gd name="connsiteY3604" fmla="*/ 553056 h 6078415"/>
                <a:gd name="connsiteX3605" fmla="*/ 4025465 w 11685910"/>
                <a:gd name="connsiteY3605" fmla="*/ 533545 h 6078415"/>
                <a:gd name="connsiteX3606" fmla="*/ 4044543 w 11685910"/>
                <a:gd name="connsiteY3606" fmla="*/ 527464 h 6078415"/>
                <a:gd name="connsiteX3607" fmla="*/ 4050182 w 11685910"/>
                <a:gd name="connsiteY3607" fmla="*/ 508207 h 6078415"/>
                <a:gd name="connsiteX3608" fmla="*/ 4050182 w 11685910"/>
                <a:gd name="connsiteY3608" fmla="*/ 472859 h 6078415"/>
                <a:gd name="connsiteX3609" fmla="*/ 4080614 w 11685910"/>
                <a:gd name="connsiteY3609" fmla="*/ 441566 h 6078415"/>
                <a:gd name="connsiteX3610" fmla="*/ 4080614 w 11685910"/>
                <a:gd name="connsiteY3610" fmla="*/ 441186 h 6078415"/>
                <a:gd name="connsiteX3611" fmla="*/ 4050182 w 11685910"/>
                <a:gd name="connsiteY3611" fmla="*/ 409639 h 6078415"/>
                <a:gd name="connsiteX3612" fmla="*/ 4050182 w 11685910"/>
                <a:gd name="connsiteY3612" fmla="*/ 373912 h 6078415"/>
                <a:gd name="connsiteX3613" fmla="*/ 4025465 w 11685910"/>
                <a:gd name="connsiteY3613" fmla="*/ 349714 h 6078415"/>
                <a:gd name="connsiteX3614" fmla="*/ 4004147 w 11685910"/>
                <a:gd name="connsiteY3614" fmla="*/ 330076 h 6078415"/>
                <a:gd name="connsiteX3615" fmla="*/ 4004147 w 11685910"/>
                <a:gd name="connsiteY3615" fmla="*/ 349714 h 6078415"/>
                <a:gd name="connsiteX3616" fmla="*/ 3979585 w 11685910"/>
                <a:gd name="connsiteY3616" fmla="*/ 373912 h 6078415"/>
                <a:gd name="connsiteX3617" fmla="*/ 3979585 w 11685910"/>
                <a:gd name="connsiteY3617" fmla="*/ 409639 h 6078415"/>
                <a:gd name="connsiteX3618" fmla="*/ 3948843 w 11685910"/>
                <a:gd name="connsiteY3618" fmla="*/ 441186 h 6078415"/>
                <a:gd name="connsiteX3619" fmla="*/ 3948843 w 11685910"/>
                <a:gd name="connsiteY3619" fmla="*/ 441566 h 6078415"/>
                <a:gd name="connsiteX3620" fmla="*/ 3979585 w 11685910"/>
                <a:gd name="connsiteY3620" fmla="*/ 472859 h 6078415"/>
                <a:gd name="connsiteX3621" fmla="*/ 3979585 w 11685910"/>
                <a:gd name="connsiteY3621" fmla="*/ 508207 h 6078415"/>
                <a:gd name="connsiteX3622" fmla="*/ 3985069 w 11685910"/>
                <a:gd name="connsiteY3622" fmla="*/ 527527 h 6078415"/>
                <a:gd name="connsiteX3623" fmla="*/ 4004147 w 11685910"/>
                <a:gd name="connsiteY3623" fmla="*/ 533545 h 6078415"/>
                <a:gd name="connsiteX3624" fmla="*/ 4004147 w 11685910"/>
                <a:gd name="connsiteY3624" fmla="*/ 553056 h 6078415"/>
                <a:gd name="connsiteX3625" fmla="*/ 3949152 w 11685910"/>
                <a:gd name="connsiteY3625" fmla="*/ 514542 h 6078415"/>
                <a:gd name="connsiteX3626" fmla="*/ 3949152 w 11685910"/>
                <a:gd name="connsiteY3626" fmla="*/ 477167 h 6078415"/>
                <a:gd name="connsiteX3627" fmla="*/ 3925053 w 11685910"/>
                <a:gd name="connsiteY3627" fmla="*/ 450814 h 6078415"/>
                <a:gd name="connsiteX3628" fmla="*/ 3925053 w 11685910"/>
                <a:gd name="connsiteY3628" fmla="*/ 432318 h 6078415"/>
                <a:gd name="connsiteX3629" fmla="*/ 3949152 w 11685910"/>
                <a:gd name="connsiteY3629" fmla="*/ 405458 h 6078415"/>
                <a:gd name="connsiteX3630" fmla="*/ 3949152 w 11685910"/>
                <a:gd name="connsiteY3630" fmla="*/ 369097 h 6078415"/>
                <a:gd name="connsiteX3631" fmla="*/ 4004147 w 11685910"/>
                <a:gd name="connsiteY3631" fmla="*/ 330076 h 6078415"/>
                <a:gd name="connsiteX3632" fmla="*/ 9003356 w 11685910"/>
                <a:gd name="connsiteY3632" fmla="*/ 327579 h 6078415"/>
                <a:gd name="connsiteX3633" fmla="*/ 9009260 w 11685910"/>
                <a:gd name="connsiteY3633" fmla="*/ 328096 h 6078415"/>
                <a:gd name="connsiteX3634" fmla="*/ 9052536 w 11685910"/>
                <a:gd name="connsiteY3634" fmla="*/ 357514 h 6078415"/>
                <a:gd name="connsiteX3635" fmla="*/ 9070527 w 11685910"/>
                <a:gd name="connsiteY3635" fmla="*/ 378666 h 6078415"/>
                <a:gd name="connsiteX3636" fmla="*/ 9067366 w 11685910"/>
                <a:gd name="connsiteY3636" fmla="*/ 386446 h 6078415"/>
                <a:gd name="connsiteX3637" fmla="*/ 9080480 w 11685910"/>
                <a:gd name="connsiteY3637" fmla="*/ 396551 h 6078415"/>
                <a:gd name="connsiteX3638" fmla="*/ 9078793 w 11685910"/>
                <a:gd name="connsiteY3638" fmla="*/ 359217 h 6078415"/>
                <a:gd name="connsiteX3639" fmla="*/ 9094110 w 11685910"/>
                <a:gd name="connsiteY3639" fmla="*/ 349492 h 6078415"/>
                <a:gd name="connsiteX3640" fmla="*/ 9106023 w 11685910"/>
                <a:gd name="connsiteY3640" fmla="*/ 338308 h 6078415"/>
                <a:gd name="connsiteX3641" fmla="*/ 9128877 w 11685910"/>
                <a:gd name="connsiteY3641" fmla="*/ 400791 h 6078415"/>
                <a:gd name="connsiteX3642" fmla="*/ 9091193 w 11685910"/>
                <a:gd name="connsiteY3642" fmla="*/ 469109 h 6078415"/>
                <a:gd name="connsiteX3643" fmla="*/ 9059166 w 11685910"/>
                <a:gd name="connsiteY3643" fmla="*/ 469827 h 6078415"/>
                <a:gd name="connsiteX3644" fmla="*/ 9055159 w 11685910"/>
                <a:gd name="connsiteY3644" fmla="*/ 468432 h 6078415"/>
                <a:gd name="connsiteX3645" fmla="*/ 9054679 w 11685910"/>
                <a:gd name="connsiteY3645" fmla="*/ 470708 h 6078415"/>
                <a:gd name="connsiteX3646" fmla="*/ 9029925 w 11685910"/>
                <a:gd name="connsiteY3646" fmla="*/ 490747 h 6078415"/>
                <a:gd name="connsiteX3647" fmla="*/ 9008287 w 11685910"/>
                <a:gd name="connsiteY3647" fmla="*/ 481022 h 6078415"/>
                <a:gd name="connsiteX3648" fmla="*/ 9007314 w 11685910"/>
                <a:gd name="connsiteY3648" fmla="*/ 493664 h 6078415"/>
                <a:gd name="connsiteX3649" fmla="*/ 9017039 w 11685910"/>
                <a:gd name="connsiteY3649" fmla="*/ 514330 h 6078415"/>
                <a:gd name="connsiteX3650" fmla="*/ 9016553 w 11685910"/>
                <a:gd name="connsiteY3650" fmla="*/ 525514 h 6078415"/>
                <a:gd name="connsiteX3651" fmla="*/ 9018741 w 11685910"/>
                <a:gd name="connsiteY3651" fmla="*/ 539372 h 6078415"/>
                <a:gd name="connsiteX3652" fmla="*/ 9002695 w 11685910"/>
                <a:gd name="connsiteY3652" fmla="*/ 545207 h 6078415"/>
                <a:gd name="connsiteX3653" fmla="*/ 8977653 w 11685910"/>
                <a:gd name="connsiteY3653" fmla="*/ 539858 h 6078415"/>
                <a:gd name="connsiteX3654" fmla="*/ 8976889 w 11685910"/>
                <a:gd name="connsiteY3654" fmla="*/ 535374 h 6078415"/>
                <a:gd name="connsiteX3655" fmla="*/ 8976849 w 11685910"/>
                <a:gd name="connsiteY3655" fmla="*/ 534020 h 6078415"/>
                <a:gd name="connsiteX3656" fmla="*/ 8973084 w 11685910"/>
                <a:gd name="connsiteY3656" fmla="*/ 537588 h 6078415"/>
                <a:gd name="connsiteX3657" fmla="*/ 8949451 w 11685910"/>
                <a:gd name="connsiteY3657" fmla="*/ 552014 h 6078415"/>
                <a:gd name="connsiteX3658" fmla="*/ 8925868 w 11685910"/>
                <a:gd name="connsiteY3658" fmla="*/ 523569 h 6078415"/>
                <a:gd name="connsiteX3659" fmla="*/ 8936808 w 11685910"/>
                <a:gd name="connsiteY3659" fmla="*/ 511655 h 6078415"/>
                <a:gd name="connsiteX3660" fmla="*/ 8911766 w 11685910"/>
                <a:gd name="connsiteY3660" fmla="*/ 509224 h 6078415"/>
                <a:gd name="connsiteX3661" fmla="*/ 8910794 w 11685910"/>
                <a:gd name="connsiteY3661" fmla="*/ 520165 h 6078415"/>
                <a:gd name="connsiteX3662" fmla="*/ 8904472 w 11685910"/>
                <a:gd name="connsiteY3662" fmla="*/ 530862 h 6078415"/>
                <a:gd name="connsiteX3663" fmla="*/ 8899367 w 11685910"/>
                <a:gd name="connsiteY3663" fmla="*/ 550069 h 6078415"/>
                <a:gd name="connsiteX3664" fmla="*/ 8859008 w 11685910"/>
                <a:gd name="connsiteY3664" fmla="*/ 541560 h 6078415"/>
                <a:gd name="connsiteX3665" fmla="*/ 8859981 w 11685910"/>
                <a:gd name="connsiteY3665" fmla="*/ 527459 h 6078415"/>
                <a:gd name="connsiteX3666" fmla="*/ 8850256 w 11685910"/>
                <a:gd name="connsiteY3666" fmla="*/ 529404 h 6078415"/>
                <a:gd name="connsiteX3667" fmla="*/ 8824971 w 11685910"/>
                <a:gd name="connsiteY3667" fmla="*/ 503389 h 6078415"/>
                <a:gd name="connsiteX3668" fmla="*/ 8840288 w 11685910"/>
                <a:gd name="connsiteY3668" fmla="*/ 476645 h 6078415"/>
                <a:gd name="connsiteX3669" fmla="*/ 8841746 w 11685910"/>
                <a:gd name="connsiteY3669" fmla="*/ 449902 h 6078415"/>
                <a:gd name="connsiteX3670" fmla="*/ 8826186 w 11685910"/>
                <a:gd name="connsiteY3670" fmla="*/ 427778 h 6078415"/>
                <a:gd name="connsiteX3671" fmla="*/ 8827959 w 11685910"/>
                <a:gd name="connsiteY3671" fmla="*/ 414368 h 6078415"/>
                <a:gd name="connsiteX3672" fmla="*/ 8828421 w 11685910"/>
                <a:gd name="connsiteY3672" fmla="*/ 423148 h 6078415"/>
                <a:gd name="connsiteX3673" fmla="*/ 8829250 w 11685910"/>
                <a:gd name="connsiteY3673" fmla="*/ 423546 h 6078415"/>
                <a:gd name="connsiteX3674" fmla="*/ 8829373 w 11685910"/>
                <a:gd name="connsiteY3674" fmla="*/ 424728 h 6078415"/>
                <a:gd name="connsiteX3675" fmla="*/ 8849061 w 11685910"/>
                <a:gd name="connsiteY3675" fmla="*/ 438670 h 6078415"/>
                <a:gd name="connsiteX3676" fmla="*/ 8867407 w 11685910"/>
                <a:gd name="connsiteY3676" fmla="*/ 509778 h 6078415"/>
                <a:gd name="connsiteX3677" fmla="*/ 8868375 w 11685910"/>
                <a:gd name="connsiteY3677" fmla="*/ 511640 h 6078415"/>
                <a:gd name="connsiteX3678" fmla="*/ 8868341 w 11685910"/>
                <a:gd name="connsiteY3678" fmla="*/ 512514 h 6078415"/>
                <a:gd name="connsiteX3679" fmla="*/ 8866931 w 11685910"/>
                <a:gd name="connsiteY3679" fmla="*/ 526047 h 6078415"/>
                <a:gd name="connsiteX3680" fmla="*/ 8863609 w 11685910"/>
                <a:gd name="connsiteY3680" fmla="*/ 537452 h 6078415"/>
                <a:gd name="connsiteX3681" fmla="*/ 8898003 w 11685910"/>
                <a:gd name="connsiteY3681" fmla="*/ 544097 h 6078415"/>
                <a:gd name="connsiteX3682" fmla="*/ 8899170 w 11685910"/>
                <a:gd name="connsiteY3682" fmla="*/ 533141 h 6078415"/>
                <a:gd name="connsiteX3683" fmla="*/ 8905815 w 11685910"/>
                <a:gd name="connsiteY3683" fmla="*/ 518863 h 6078415"/>
                <a:gd name="connsiteX3684" fmla="*/ 8906096 w 11685910"/>
                <a:gd name="connsiteY3684" fmla="*/ 503653 h 6078415"/>
                <a:gd name="connsiteX3685" fmla="*/ 8905886 w 11685910"/>
                <a:gd name="connsiteY3685" fmla="*/ 497935 h 6078415"/>
                <a:gd name="connsiteX3686" fmla="*/ 8907486 w 11685910"/>
                <a:gd name="connsiteY3686" fmla="*/ 499797 h 6078415"/>
                <a:gd name="connsiteX3687" fmla="*/ 8947124 w 11685910"/>
                <a:gd name="connsiteY3687" fmla="*/ 497580 h 6078415"/>
                <a:gd name="connsiteX3688" fmla="*/ 8948022 w 11685910"/>
                <a:gd name="connsiteY3688" fmla="*/ 511409 h 6078415"/>
                <a:gd name="connsiteX3689" fmla="*/ 8930870 w 11685910"/>
                <a:gd name="connsiteY3689" fmla="*/ 524161 h 6078415"/>
                <a:gd name="connsiteX3690" fmla="*/ 8949908 w 11685910"/>
                <a:gd name="connsiteY3690" fmla="*/ 547240 h 6078415"/>
                <a:gd name="connsiteX3691" fmla="*/ 8985200 w 11685910"/>
                <a:gd name="connsiteY3691" fmla="*/ 519312 h 6078415"/>
                <a:gd name="connsiteX3692" fmla="*/ 9004418 w 11685910"/>
                <a:gd name="connsiteY3692" fmla="*/ 477195 h 6078415"/>
                <a:gd name="connsiteX3693" fmla="*/ 8987440 w 11685910"/>
                <a:gd name="connsiteY3693" fmla="*/ 458808 h 6078415"/>
                <a:gd name="connsiteX3694" fmla="*/ 8987245 w 11685910"/>
                <a:gd name="connsiteY3694" fmla="*/ 458296 h 6078415"/>
                <a:gd name="connsiteX3695" fmla="*/ 8989881 w 11685910"/>
                <a:gd name="connsiteY3695" fmla="*/ 459956 h 6078415"/>
                <a:gd name="connsiteX3696" fmla="*/ 9009177 w 11685910"/>
                <a:gd name="connsiteY3696" fmla="*/ 470639 h 6078415"/>
                <a:gd name="connsiteX3697" fmla="*/ 9030640 w 11685910"/>
                <a:gd name="connsiteY3697" fmla="*/ 485187 h 6078415"/>
                <a:gd name="connsiteX3698" fmla="*/ 9051743 w 11685910"/>
                <a:gd name="connsiteY3698" fmla="*/ 466688 h 6078415"/>
                <a:gd name="connsiteX3699" fmla="*/ 9048421 w 11685910"/>
                <a:gd name="connsiteY3699" fmla="*/ 466419 h 6078415"/>
                <a:gd name="connsiteX3700" fmla="*/ 9020440 w 11685910"/>
                <a:gd name="connsiteY3700" fmla="*/ 444121 h 6078415"/>
                <a:gd name="connsiteX3701" fmla="*/ 9021370 w 11685910"/>
                <a:gd name="connsiteY3701" fmla="*/ 439313 h 6078415"/>
                <a:gd name="connsiteX3702" fmla="*/ 9023134 w 11685910"/>
                <a:gd name="connsiteY3702" fmla="*/ 441235 h 6078415"/>
                <a:gd name="connsiteX3703" fmla="*/ 9095387 w 11685910"/>
                <a:gd name="connsiteY3703" fmla="*/ 459504 h 6078415"/>
                <a:gd name="connsiteX3704" fmla="*/ 9107331 w 11685910"/>
                <a:gd name="connsiteY3704" fmla="*/ 341594 h 6078415"/>
                <a:gd name="connsiteX3705" fmla="*/ 9097991 w 11685910"/>
                <a:gd name="connsiteY3705" fmla="*/ 352371 h 6078415"/>
                <a:gd name="connsiteX3706" fmla="*/ 9084341 w 11685910"/>
                <a:gd name="connsiteY3706" fmla="*/ 359285 h 6078415"/>
                <a:gd name="connsiteX3707" fmla="*/ 9075807 w 11685910"/>
                <a:gd name="connsiteY3707" fmla="*/ 420492 h 6078415"/>
                <a:gd name="connsiteX3708" fmla="*/ 9074316 w 11685910"/>
                <a:gd name="connsiteY3708" fmla="*/ 421668 h 6078415"/>
                <a:gd name="connsiteX3709" fmla="*/ 9074630 w 11685910"/>
                <a:gd name="connsiteY3709" fmla="*/ 421063 h 6078415"/>
                <a:gd name="connsiteX3710" fmla="*/ 9077876 w 11685910"/>
                <a:gd name="connsiteY3710" fmla="*/ 401851 h 6078415"/>
                <a:gd name="connsiteX3711" fmla="*/ 9065214 w 11685910"/>
                <a:gd name="connsiteY3711" fmla="*/ 404276 h 6078415"/>
                <a:gd name="connsiteX3712" fmla="*/ 9066561 w 11685910"/>
                <a:gd name="connsiteY3712" fmla="*/ 393769 h 6078415"/>
                <a:gd name="connsiteX3713" fmla="*/ 9054707 w 11685910"/>
                <a:gd name="connsiteY3713" fmla="*/ 393679 h 6078415"/>
                <a:gd name="connsiteX3714" fmla="*/ 9058119 w 11685910"/>
                <a:gd name="connsiteY3714" fmla="*/ 385867 h 6078415"/>
                <a:gd name="connsiteX3715" fmla="*/ 9051266 w 11685910"/>
                <a:gd name="connsiteY3715" fmla="*/ 382701 h 6078415"/>
                <a:gd name="connsiteX3716" fmla="*/ 9049367 w 11685910"/>
                <a:gd name="connsiteY3716" fmla="*/ 382714 h 6078415"/>
                <a:gd name="connsiteX3717" fmla="*/ 9050929 w 11685910"/>
                <a:gd name="connsiteY3717" fmla="*/ 382153 h 6078415"/>
                <a:gd name="connsiteX3718" fmla="*/ 9053270 w 11685910"/>
                <a:gd name="connsiteY3718" fmla="*/ 381466 h 6078415"/>
                <a:gd name="connsiteX3719" fmla="*/ 9064585 w 11685910"/>
                <a:gd name="connsiteY3719" fmla="*/ 378862 h 6078415"/>
                <a:gd name="connsiteX3720" fmla="*/ 9053090 w 11685910"/>
                <a:gd name="connsiteY3720" fmla="*/ 364224 h 6078415"/>
                <a:gd name="connsiteX3721" fmla="*/ 9041110 w 11685910"/>
                <a:gd name="connsiteY3721" fmla="*/ 362755 h 6078415"/>
                <a:gd name="connsiteX3722" fmla="*/ 9040004 w 11685910"/>
                <a:gd name="connsiteY3722" fmla="*/ 362696 h 6078415"/>
                <a:gd name="connsiteX3723" fmla="*/ 9040013 w 11685910"/>
                <a:gd name="connsiteY3723" fmla="*/ 362673 h 6078415"/>
                <a:gd name="connsiteX3724" fmla="*/ 9047792 w 11685910"/>
                <a:gd name="connsiteY3724" fmla="*/ 360273 h 6078415"/>
                <a:gd name="connsiteX3725" fmla="*/ 9005136 w 11685910"/>
                <a:gd name="connsiteY3725" fmla="*/ 334141 h 6078415"/>
                <a:gd name="connsiteX3726" fmla="*/ 8954668 w 11685910"/>
                <a:gd name="connsiteY3726" fmla="*/ 357759 h 6078415"/>
                <a:gd name="connsiteX3727" fmla="*/ 8968900 w 11685910"/>
                <a:gd name="connsiteY3727" fmla="*/ 358086 h 6078415"/>
                <a:gd name="connsiteX3728" fmla="*/ 8969477 w 11685910"/>
                <a:gd name="connsiteY3728" fmla="*/ 358169 h 6078415"/>
                <a:gd name="connsiteX3729" fmla="*/ 8967067 w 11685910"/>
                <a:gd name="connsiteY3729" fmla="*/ 358824 h 6078415"/>
                <a:gd name="connsiteX3730" fmla="*/ 8942468 w 11685910"/>
                <a:gd name="connsiteY3730" fmla="*/ 363941 h 6078415"/>
                <a:gd name="connsiteX3731" fmla="*/ 8895992 w 11685910"/>
                <a:gd name="connsiteY3731" fmla="*/ 424226 h 6078415"/>
                <a:gd name="connsiteX3732" fmla="*/ 8909974 w 11685910"/>
                <a:gd name="connsiteY3732" fmla="*/ 446338 h 6078415"/>
                <a:gd name="connsiteX3733" fmla="*/ 8924480 w 11685910"/>
                <a:gd name="connsiteY3733" fmla="*/ 429800 h 6078415"/>
                <a:gd name="connsiteX3734" fmla="*/ 8907508 w 11685910"/>
                <a:gd name="connsiteY3734" fmla="*/ 464906 h 6078415"/>
                <a:gd name="connsiteX3735" fmla="*/ 8923437 w 11685910"/>
                <a:gd name="connsiteY3735" fmla="*/ 474287 h 6078415"/>
                <a:gd name="connsiteX3736" fmla="*/ 8950592 w 11685910"/>
                <a:gd name="connsiteY3736" fmla="*/ 460844 h 6078415"/>
                <a:gd name="connsiteX3737" fmla="*/ 8968000 w 11685910"/>
                <a:gd name="connsiteY3737" fmla="*/ 459103 h 6078415"/>
                <a:gd name="connsiteX3738" fmla="*/ 8974237 w 11685910"/>
                <a:gd name="connsiteY3738" fmla="*/ 390053 h 6078415"/>
                <a:gd name="connsiteX3739" fmla="*/ 8974963 w 11685910"/>
                <a:gd name="connsiteY3739" fmla="*/ 467952 h 6078415"/>
                <a:gd name="connsiteX3740" fmla="*/ 8972855 w 11685910"/>
                <a:gd name="connsiteY3740" fmla="*/ 467607 h 6078415"/>
                <a:gd name="connsiteX3741" fmla="*/ 8970186 w 11685910"/>
                <a:gd name="connsiteY3741" fmla="*/ 466924 h 6078415"/>
                <a:gd name="connsiteX3742" fmla="*/ 8967452 w 11685910"/>
                <a:gd name="connsiteY3742" fmla="*/ 466498 h 6078415"/>
                <a:gd name="connsiteX3743" fmla="*/ 8966686 w 11685910"/>
                <a:gd name="connsiteY3743" fmla="*/ 466320 h 6078415"/>
                <a:gd name="connsiteX3744" fmla="*/ 8959915 w 11685910"/>
                <a:gd name="connsiteY3744" fmla="*/ 466091 h 6078415"/>
                <a:gd name="connsiteX3745" fmla="*/ 8958929 w 11685910"/>
                <a:gd name="connsiteY3745" fmla="*/ 466321 h 6078415"/>
                <a:gd name="connsiteX3746" fmla="*/ 8958334 w 11685910"/>
                <a:gd name="connsiteY3746" fmla="*/ 466372 h 6078415"/>
                <a:gd name="connsiteX3747" fmla="*/ 8919106 w 11685910"/>
                <a:gd name="connsiteY3747" fmla="*/ 482314 h 6078415"/>
                <a:gd name="connsiteX3748" fmla="*/ 8896766 w 11685910"/>
                <a:gd name="connsiteY3748" fmla="*/ 464595 h 6078415"/>
                <a:gd name="connsiteX3749" fmla="*/ 8896308 w 11685910"/>
                <a:gd name="connsiteY3749" fmla="*/ 464001 h 6078415"/>
                <a:gd name="connsiteX3750" fmla="*/ 8898030 w 11685910"/>
                <a:gd name="connsiteY3750" fmla="*/ 461124 h 6078415"/>
                <a:gd name="connsiteX3751" fmla="*/ 8904109 w 11685910"/>
                <a:gd name="connsiteY3751" fmla="*/ 452320 h 6078415"/>
                <a:gd name="connsiteX3752" fmla="*/ 8887047 w 11685910"/>
                <a:gd name="connsiteY3752" fmla="*/ 425289 h 6078415"/>
                <a:gd name="connsiteX3753" fmla="*/ 8917310 w 11685910"/>
                <a:gd name="connsiteY3753" fmla="*/ 379131 h 6078415"/>
                <a:gd name="connsiteX3754" fmla="*/ 8837255 w 11685910"/>
                <a:gd name="connsiteY3754" fmla="*/ 426513 h 6078415"/>
                <a:gd name="connsiteX3755" fmla="*/ 8833630 w 11685910"/>
                <a:gd name="connsiteY3755" fmla="*/ 423250 h 6078415"/>
                <a:gd name="connsiteX3756" fmla="*/ 8834690 w 11685910"/>
                <a:gd name="connsiteY3756" fmla="*/ 422655 h 6078415"/>
                <a:gd name="connsiteX3757" fmla="*/ 8838644 w 11685910"/>
                <a:gd name="connsiteY3757" fmla="*/ 402749 h 6078415"/>
                <a:gd name="connsiteX3758" fmla="*/ 8828161 w 11685910"/>
                <a:gd name="connsiteY3758" fmla="*/ 412842 h 6078415"/>
                <a:gd name="connsiteX3759" fmla="*/ 8829073 w 11685910"/>
                <a:gd name="connsiteY3759" fmla="*/ 405942 h 6078415"/>
                <a:gd name="connsiteX3760" fmla="*/ 8842719 w 11685910"/>
                <a:gd name="connsiteY3760" fmla="*/ 397387 h 6078415"/>
                <a:gd name="connsiteX3761" fmla="*/ 8842719 w 11685910"/>
                <a:gd name="connsiteY3761" fmla="*/ 421213 h 6078415"/>
                <a:gd name="connsiteX3762" fmla="*/ 8919060 w 11685910"/>
                <a:gd name="connsiteY3762" fmla="*/ 372831 h 6078415"/>
                <a:gd name="connsiteX3763" fmla="*/ 8941671 w 11685910"/>
                <a:gd name="connsiteY3763" fmla="*/ 356299 h 6078415"/>
                <a:gd name="connsiteX3764" fmla="*/ 8947707 w 11685910"/>
                <a:gd name="connsiteY3764" fmla="*/ 355666 h 6078415"/>
                <a:gd name="connsiteX3765" fmla="*/ 8948406 w 11685910"/>
                <a:gd name="connsiteY3765" fmla="*/ 354169 h 6078415"/>
                <a:gd name="connsiteX3766" fmla="*/ 8967685 w 11685910"/>
                <a:gd name="connsiteY3766" fmla="*/ 335633 h 6078415"/>
                <a:gd name="connsiteX3767" fmla="*/ 9003356 w 11685910"/>
                <a:gd name="connsiteY3767" fmla="*/ 327579 h 6078415"/>
                <a:gd name="connsiteX3768" fmla="*/ 2942620 w 11685910"/>
                <a:gd name="connsiteY3768" fmla="*/ 327579 h 6078415"/>
                <a:gd name="connsiteX3769" fmla="*/ 2948523 w 11685910"/>
                <a:gd name="connsiteY3769" fmla="*/ 328096 h 6078415"/>
                <a:gd name="connsiteX3770" fmla="*/ 2991799 w 11685910"/>
                <a:gd name="connsiteY3770" fmla="*/ 357514 h 6078415"/>
                <a:gd name="connsiteX3771" fmla="*/ 3009790 w 11685910"/>
                <a:gd name="connsiteY3771" fmla="*/ 378666 h 6078415"/>
                <a:gd name="connsiteX3772" fmla="*/ 3006630 w 11685910"/>
                <a:gd name="connsiteY3772" fmla="*/ 386446 h 6078415"/>
                <a:gd name="connsiteX3773" fmla="*/ 3019743 w 11685910"/>
                <a:gd name="connsiteY3773" fmla="*/ 396551 h 6078415"/>
                <a:gd name="connsiteX3774" fmla="*/ 3018057 w 11685910"/>
                <a:gd name="connsiteY3774" fmla="*/ 359217 h 6078415"/>
                <a:gd name="connsiteX3775" fmla="*/ 3033374 w 11685910"/>
                <a:gd name="connsiteY3775" fmla="*/ 349492 h 6078415"/>
                <a:gd name="connsiteX3776" fmla="*/ 3045288 w 11685910"/>
                <a:gd name="connsiteY3776" fmla="*/ 338308 h 6078415"/>
                <a:gd name="connsiteX3777" fmla="*/ 3068141 w 11685910"/>
                <a:gd name="connsiteY3777" fmla="*/ 400791 h 6078415"/>
                <a:gd name="connsiteX3778" fmla="*/ 3030456 w 11685910"/>
                <a:gd name="connsiteY3778" fmla="*/ 469109 h 6078415"/>
                <a:gd name="connsiteX3779" fmla="*/ 2998429 w 11685910"/>
                <a:gd name="connsiteY3779" fmla="*/ 469827 h 6078415"/>
                <a:gd name="connsiteX3780" fmla="*/ 2994423 w 11685910"/>
                <a:gd name="connsiteY3780" fmla="*/ 468432 h 6078415"/>
                <a:gd name="connsiteX3781" fmla="*/ 2993942 w 11685910"/>
                <a:gd name="connsiteY3781" fmla="*/ 470708 h 6078415"/>
                <a:gd name="connsiteX3782" fmla="*/ 2969189 w 11685910"/>
                <a:gd name="connsiteY3782" fmla="*/ 490747 h 6078415"/>
                <a:gd name="connsiteX3783" fmla="*/ 2947551 w 11685910"/>
                <a:gd name="connsiteY3783" fmla="*/ 481022 h 6078415"/>
                <a:gd name="connsiteX3784" fmla="*/ 2946577 w 11685910"/>
                <a:gd name="connsiteY3784" fmla="*/ 493664 h 6078415"/>
                <a:gd name="connsiteX3785" fmla="*/ 2956304 w 11685910"/>
                <a:gd name="connsiteY3785" fmla="*/ 514330 h 6078415"/>
                <a:gd name="connsiteX3786" fmla="*/ 2955817 w 11685910"/>
                <a:gd name="connsiteY3786" fmla="*/ 525514 h 6078415"/>
                <a:gd name="connsiteX3787" fmla="*/ 2958005 w 11685910"/>
                <a:gd name="connsiteY3787" fmla="*/ 539372 h 6078415"/>
                <a:gd name="connsiteX3788" fmla="*/ 2941958 w 11685910"/>
                <a:gd name="connsiteY3788" fmla="*/ 545207 h 6078415"/>
                <a:gd name="connsiteX3789" fmla="*/ 2916916 w 11685910"/>
                <a:gd name="connsiteY3789" fmla="*/ 539858 h 6078415"/>
                <a:gd name="connsiteX3790" fmla="*/ 2916152 w 11685910"/>
                <a:gd name="connsiteY3790" fmla="*/ 535374 h 6078415"/>
                <a:gd name="connsiteX3791" fmla="*/ 2916113 w 11685910"/>
                <a:gd name="connsiteY3791" fmla="*/ 534020 h 6078415"/>
                <a:gd name="connsiteX3792" fmla="*/ 2912347 w 11685910"/>
                <a:gd name="connsiteY3792" fmla="*/ 537588 h 6078415"/>
                <a:gd name="connsiteX3793" fmla="*/ 2888714 w 11685910"/>
                <a:gd name="connsiteY3793" fmla="*/ 552014 h 6078415"/>
                <a:gd name="connsiteX3794" fmla="*/ 2865132 w 11685910"/>
                <a:gd name="connsiteY3794" fmla="*/ 523569 h 6078415"/>
                <a:gd name="connsiteX3795" fmla="*/ 2876071 w 11685910"/>
                <a:gd name="connsiteY3795" fmla="*/ 511655 h 6078415"/>
                <a:gd name="connsiteX3796" fmla="*/ 2851030 w 11685910"/>
                <a:gd name="connsiteY3796" fmla="*/ 509224 h 6078415"/>
                <a:gd name="connsiteX3797" fmla="*/ 2850057 w 11685910"/>
                <a:gd name="connsiteY3797" fmla="*/ 520165 h 6078415"/>
                <a:gd name="connsiteX3798" fmla="*/ 2843736 w 11685910"/>
                <a:gd name="connsiteY3798" fmla="*/ 530862 h 6078415"/>
                <a:gd name="connsiteX3799" fmla="*/ 2838631 w 11685910"/>
                <a:gd name="connsiteY3799" fmla="*/ 550069 h 6078415"/>
                <a:gd name="connsiteX3800" fmla="*/ 2798272 w 11685910"/>
                <a:gd name="connsiteY3800" fmla="*/ 541560 h 6078415"/>
                <a:gd name="connsiteX3801" fmla="*/ 2799245 w 11685910"/>
                <a:gd name="connsiteY3801" fmla="*/ 527459 h 6078415"/>
                <a:gd name="connsiteX3802" fmla="*/ 2789519 w 11685910"/>
                <a:gd name="connsiteY3802" fmla="*/ 529404 h 6078415"/>
                <a:gd name="connsiteX3803" fmla="*/ 2764234 w 11685910"/>
                <a:gd name="connsiteY3803" fmla="*/ 503389 h 6078415"/>
                <a:gd name="connsiteX3804" fmla="*/ 2779551 w 11685910"/>
                <a:gd name="connsiteY3804" fmla="*/ 476645 h 6078415"/>
                <a:gd name="connsiteX3805" fmla="*/ 2781010 w 11685910"/>
                <a:gd name="connsiteY3805" fmla="*/ 449902 h 6078415"/>
                <a:gd name="connsiteX3806" fmla="*/ 2765449 w 11685910"/>
                <a:gd name="connsiteY3806" fmla="*/ 427778 h 6078415"/>
                <a:gd name="connsiteX3807" fmla="*/ 2767222 w 11685910"/>
                <a:gd name="connsiteY3807" fmla="*/ 414369 h 6078415"/>
                <a:gd name="connsiteX3808" fmla="*/ 2767684 w 11685910"/>
                <a:gd name="connsiteY3808" fmla="*/ 423148 h 6078415"/>
                <a:gd name="connsiteX3809" fmla="*/ 2768513 w 11685910"/>
                <a:gd name="connsiteY3809" fmla="*/ 423546 h 6078415"/>
                <a:gd name="connsiteX3810" fmla="*/ 2768636 w 11685910"/>
                <a:gd name="connsiteY3810" fmla="*/ 424728 h 6078415"/>
                <a:gd name="connsiteX3811" fmla="*/ 2788324 w 11685910"/>
                <a:gd name="connsiteY3811" fmla="*/ 438670 h 6078415"/>
                <a:gd name="connsiteX3812" fmla="*/ 2806671 w 11685910"/>
                <a:gd name="connsiteY3812" fmla="*/ 509778 h 6078415"/>
                <a:gd name="connsiteX3813" fmla="*/ 2807639 w 11685910"/>
                <a:gd name="connsiteY3813" fmla="*/ 511640 h 6078415"/>
                <a:gd name="connsiteX3814" fmla="*/ 2807605 w 11685910"/>
                <a:gd name="connsiteY3814" fmla="*/ 512514 h 6078415"/>
                <a:gd name="connsiteX3815" fmla="*/ 2806194 w 11685910"/>
                <a:gd name="connsiteY3815" fmla="*/ 526047 h 6078415"/>
                <a:gd name="connsiteX3816" fmla="*/ 2802872 w 11685910"/>
                <a:gd name="connsiteY3816" fmla="*/ 537452 h 6078415"/>
                <a:gd name="connsiteX3817" fmla="*/ 2837267 w 11685910"/>
                <a:gd name="connsiteY3817" fmla="*/ 544097 h 6078415"/>
                <a:gd name="connsiteX3818" fmla="*/ 2838434 w 11685910"/>
                <a:gd name="connsiteY3818" fmla="*/ 533141 h 6078415"/>
                <a:gd name="connsiteX3819" fmla="*/ 2845079 w 11685910"/>
                <a:gd name="connsiteY3819" fmla="*/ 518863 h 6078415"/>
                <a:gd name="connsiteX3820" fmla="*/ 2845360 w 11685910"/>
                <a:gd name="connsiteY3820" fmla="*/ 503653 h 6078415"/>
                <a:gd name="connsiteX3821" fmla="*/ 2845150 w 11685910"/>
                <a:gd name="connsiteY3821" fmla="*/ 497935 h 6078415"/>
                <a:gd name="connsiteX3822" fmla="*/ 2846749 w 11685910"/>
                <a:gd name="connsiteY3822" fmla="*/ 499797 h 6078415"/>
                <a:gd name="connsiteX3823" fmla="*/ 2886388 w 11685910"/>
                <a:gd name="connsiteY3823" fmla="*/ 497580 h 6078415"/>
                <a:gd name="connsiteX3824" fmla="*/ 2887286 w 11685910"/>
                <a:gd name="connsiteY3824" fmla="*/ 511409 h 6078415"/>
                <a:gd name="connsiteX3825" fmla="*/ 2870133 w 11685910"/>
                <a:gd name="connsiteY3825" fmla="*/ 524161 h 6078415"/>
                <a:gd name="connsiteX3826" fmla="*/ 2889172 w 11685910"/>
                <a:gd name="connsiteY3826" fmla="*/ 547240 h 6078415"/>
                <a:gd name="connsiteX3827" fmla="*/ 2924463 w 11685910"/>
                <a:gd name="connsiteY3827" fmla="*/ 519312 h 6078415"/>
                <a:gd name="connsiteX3828" fmla="*/ 2943681 w 11685910"/>
                <a:gd name="connsiteY3828" fmla="*/ 477195 h 6078415"/>
                <a:gd name="connsiteX3829" fmla="*/ 2926703 w 11685910"/>
                <a:gd name="connsiteY3829" fmla="*/ 458808 h 6078415"/>
                <a:gd name="connsiteX3830" fmla="*/ 2926509 w 11685910"/>
                <a:gd name="connsiteY3830" fmla="*/ 458296 h 6078415"/>
                <a:gd name="connsiteX3831" fmla="*/ 2929145 w 11685910"/>
                <a:gd name="connsiteY3831" fmla="*/ 459956 h 6078415"/>
                <a:gd name="connsiteX3832" fmla="*/ 2948440 w 11685910"/>
                <a:gd name="connsiteY3832" fmla="*/ 470639 h 6078415"/>
                <a:gd name="connsiteX3833" fmla="*/ 2969904 w 11685910"/>
                <a:gd name="connsiteY3833" fmla="*/ 485187 h 6078415"/>
                <a:gd name="connsiteX3834" fmla="*/ 2991007 w 11685910"/>
                <a:gd name="connsiteY3834" fmla="*/ 466688 h 6078415"/>
                <a:gd name="connsiteX3835" fmla="*/ 2987684 w 11685910"/>
                <a:gd name="connsiteY3835" fmla="*/ 466419 h 6078415"/>
                <a:gd name="connsiteX3836" fmla="*/ 2959704 w 11685910"/>
                <a:gd name="connsiteY3836" fmla="*/ 444121 h 6078415"/>
                <a:gd name="connsiteX3837" fmla="*/ 2960634 w 11685910"/>
                <a:gd name="connsiteY3837" fmla="*/ 439313 h 6078415"/>
                <a:gd name="connsiteX3838" fmla="*/ 2962398 w 11685910"/>
                <a:gd name="connsiteY3838" fmla="*/ 441235 h 6078415"/>
                <a:gd name="connsiteX3839" fmla="*/ 3034650 w 11685910"/>
                <a:gd name="connsiteY3839" fmla="*/ 459504 h 6078415"/>
                <a:gd name="connsiteX3840" fmla="*/ 3046595 w 11685910"/>
                <a:gd name="connsiteY3840" fmla="*/ 341594 h 6078415"/>
                <a:gd name="connsiteX3841" fmla="*/ 3037256 w 11685910"/>
                <a:gd name="connsiteY3841" fmla="*/ 352371 h 6078415"/>
                <a:gd name="connsiteX3842" fmla="*/ 3023606 w 11685910"/>
                <a:gd name="connsiteY3842" fmla="*/ 359285 h 6078415"/>
                <a:gd name="connsiteX3843" fmla="*/ 3015070 w 11685910"/>
                <a:gd name="connsiteY3843" fmla="*/ 420492 h 6078415"/>
                <a:gd name="connsiteX3844" fmla="*/ 3013581 w 11685910"/>
                <a:gd name="connsiteY3844" fmla="*/ 421668 h 6078415"/>
                <a:gd name="connsiteX3845" fmla="*/ 3013893 w 11685910"/>
                <a:gd name="connsiteY3845" fmla="*/ 421063 h 6078415"/>
                <a:gd name="connsiteX3846" fmla="*/ 3017139 w 11685910"/>
                <a:gd name="connsiteY3846" fmla="*/ 401851 h 6078415"/>
                <a:gd name="connsiteX3847" fmla="*/ 3004477 w 11685910"/>
                <a:gd name="connsiteY3847" fmla="*/ 404276 h 6078415"/>
                <a:gd name="connsiteX3848" fmla="*/ 3005824 w 11685910"/>
                <a:gd name="connsiteY3848" fmla="*/ 393769 h 6078415"/>
                <a:gd name="connsiteX3849" fmla="*/ 2993971 w 11685910"/>
                <a:gd name="connsiteY3849" fmla="*/ 393679 h 6078415"/>
                <a:gd name="connsiteX3850" fmla="*/ 2997383 w 11685910"/>
                <a:gd name="connsiteY3850" fmla="*/ 385867 h 6078415"/>
                <a:gd name="connsiteX3851" fmla="*/ 2990530 w 11685910"/>
                <a:gd name="connsiteY3851" fmla="*/ 382701 h 6078415"/>
                <a:gd name="connsiteX3852" fmla="*/ 2988630 w 11685910"/>
                <a:gd name="connsiteY3852" fmla="*/ 382714 h 6078415"/>
                <a:gd name="connsiteX3853" fmla="*/ 2990193 w 11685910"/>
                <a:gd name="connsiteY3853" fmla="*/ 382153 h 6078415"/>
                <a:gd name="connsiteX3854" fmla="*/ 2992533 w 11685910"/>
                <a:gd name="connsiteY3854" fmla="*/ 381466 h 6078415"/>
                <a:gd name="connsiteX3855" fmla="*/ 3003849 w 11685910"/>
                <a:gd name="connsiteY3855" fmla="*/ 378862 h 6078415"/>
                <a:gd name="connsiteX3856" fmla="*/ 2992353 w 11685910"/>
                <a:gd name="connsiteY3856" fmla="*/ 364224 h 6078415"/>
                <a:gd name="connsiteX3857" fmla="*/ 2980373 w 11685910"/>
                <a:gd name="connsiteY3857" fmla="*/ 362755 h 6078415"/>
                <a:gd name="connsiteX3858" fmla="*/ 2979267 w 11685910"/>
                <a:gd name="connsiteY3858" fmla="*/ 362696 h 6078415"/>
                <a:gd name="connsiteX3859" fmla="*/ 2979277 w 11685910"/>
                <a:gd name="connsiteY3859" fmla="*/ 362673 h 6078415"/>
                <a:gd name="connsiteX3860" fmla="*/ 2987056 w 11685910"/>
                <a:gd name="connsiteY3860" fmla="*/ 360273 h 6078415"/>
                <a:gd name="connsiteX3861" fmla="*/ 2944399 w 11685910"/>
                <a:gd name="connsiteY3861" fmla="*/ 334141 h 6078415"/>
                <a:gd name="connsiteX3862" fmla="*/ 2893931 w 11685910"/>
                <a:gd name="connsiteY3862" fmla="*/ 357759 h 6078415"/>
                <a:gd name="connsiteX3863" fmla="*/ 2908163 w 11685910"/>
                <a:gd name="connsiteY3863" fmla="*/ 358086 h 6078415"/>
                <a:gd name="connsiteX3864" fmla="*/ 2908741 w 11685910"/>
                <a:gd name="connsiteY3864" fmla="*/ 358169 h 6078415"/>
                <a:gd name="connsiteX3865" fmla="*/ 2906330 w 11685910"/>
                <a:gd name="connsiteY3865" fmla="*/ 358824 h 6078415"/>
                <a:gd name="connsiteX3866" fmla="*/ 2881732 w 11685910"/>
                <a:gd name="connsiteY3866" fmla="*/ 363941 h 6078415"/>
                <a:gd name="connsiteX3867" fmla="*/ 2835256 w 11685910"/>
                <a:gd name="connsiteY3867" fmla="*/ 424226 h 6078415"/>
                <a:gd name="connsiteX3868" fmla="*/ 2849238 w 11685910"/>
                <a:gd name="connsiteY3868" fmla="*/ 446338 h 6078415"/>
                <a:gd name="connsiteX3869" fmla="*/ 2863743 w 11685910"/>
                <a:gd name="connsiteY3869" fmla="*/ 429800 h 6078415"/>
                <a:gd name="connsiteX3870" fmla="*/ 2846772 w 11685910"/>
                <a:gd name="connsiteY3870" fmla="*/ 464906 h 6078415"/>
                <a:gd name="connsiteX3871" fmla="*/ 2862700 w 11685910"/>
                <a:gd name="connsiteY3871" fmla="*/ 474287 h 6078415"/>
                <a:gd name="connsiteX3872" fmla="*/ 2889855 w 11685910"/>
                <a:gd name="connsiteY3872" fmla="*/ 460844 h 6078415"/>
                <a:gd name="connsiteX3873" fmla="*/ 2907263 w 11685910"/>
                <a:gd name="connsiteY3873" fmla="*/ 459103 h 6078415"/>
                <a:gd name="connsiteX3874" fmla="*/ 2913502 w 11685910"/>
                <a:gd name="connsiteY3874" fmla="*/ 390053 h 6078415"/>
                <a:gd name="connsiteX3875" fmla="*/ 2914226 w 11685910"/>
                <a:gd name="connsiteY3875" fmla="*/ 467952 h 6078415"/>
                <a:gd name="connsiteX3876" fmla="*/ 2912119 w 11685910"/>
                <a:gd name="connsiteY3876" fmla="*/ 467607 h 6078415"/>
                <a:gd name="connsiteX3877" fmla="*/ 2909449 w 11685910"/>
                <a:gd name="connsiteY3877" fmla="*/ 466924 h 6078415"/>
                <a:gd name="connsiteX3878" fmla="*/ 2906717 w 11685910"/>
                <a:gd name="connsiteY3878" fmla="*/ 466498 h 6078415"/>
                <a:gd name="connsiteX3879" fmla="*/ 2905950 w 11685910"/>
                <a:gd name="connsiteY3879" fmla="*/ 466320 h 6078415"/>
                <a:gd name="connsiteX3880" fmla="*/ 2899179 w 11685910"/>
                <a:gd name="connsiteY3880" fmla="*/ 466091 h 6078415"/>
                <a:gd name="connsiteX3881" fmla="*/ 2898193 w 11685910"/>
                <a:gd name="connsiteY3881" fmla="*/ 466321 h 6078415"/>
                <a:gd name="connsiteX3882" fmla="*/ 2897597 w 11685910"/>
                <a:gd name="connsiteY3882" fmla="*/ 466372 h 6078415"/>
                <a:gd name="connsiteX3883" fmla="*/ 2858370 w 11685910"/>
                <a:gd name="connsiteY3883" fmla="*/ 482314 h 6078415"/>
                <a:gd name="connsiteX3884" fmla="*/ 2836029 w 11685910"/>
                <a:gd name="connsiteY3884" fmla="*/ 464595 h 6078415"/>
                <a:gd name="connsiteX3885" fmla="*/ 2835572 w 11685910"/>
                <a:gd name="connsiteY3885" fmla="*/ 464001 h 6078415"/>
                <a:gd name="connsiteX3886" fmla="*/ 2837293 w 11685910"/>
                <a:gd name="connsiteY3886" fmla="*/ 461124 h 6078415"/>
                <a:gd name="connsiteX3887" fmla="*/ 2843373 w 11685910"/>
                <a:gd name="connsiteY3887" fmla="*/ 452320 h 6078415"/>
                <a:gd name="connsiteX3888" fmla="*/ 2826310 w 11685910"/>
                <a:gd name="connsiteY3888" fmla="*/ 425289 h 6078415"/>
                <a:gd name="connsiteX3889" fmla="*/ 2856573 w 11685910"/>
                <a:gd name="connsiteY3889" fmla="*/ 379131 h 6078415"/>
                <a:gd name="connsiteX3890" fmla="*/ 2776519 w 11685910"/>
                <a:gd name="connsiteY3890" fmla="*/ 426513 h 6078415"/>
                <a:gd name="connsiteX3891" fmla="*/ 2772894 w 11685910"/>
                <a:gd name="connsiteY3891" fmla="*/ 423250 h 6078415"/>
                <a:gd name="connsiteX3892" fmla="*/ 2773954 w 11685910"/>
                <a:gd name="connsiteY3892" fmla="*/ 422655 h 6078415"/>
                <a:gd name="connsiteX3893" fmla="*/ 2777907 w 11685910"/>
                <a:gd name="connsiteY3893" fmla="*/ 402749 h 6078415"/>
                <a:gd name="connsiteX3894" fmla="*/ 2767424 w 11685910"/>
                <a:gd name="connsiteY3894" fmla="*/ 412841 h 6078415"/>
                <a:gd name="connsiteX3895" fmla="*/ 2768337 w 11685910"/>
                <a:gd name="connsiteY3895" fmla="*/ 405942 h 6078415"/>
                <a:gd name="connsiteX3896" fmla="*/ 2781982 w 11685910"/>
                <a:gd name="connsiteY3896" fmla="*/ 397387 h 6078415"/>
                <a:gd name="connsiteX3897" fmla="*/ 2781982 w 11685910"/>
                <a:gd name="connsiteY3897" fmla="*/ 421213 h 6078415"/>
                <a:gd name="connsiteX3898" fmla="*/ 2858323 w 11685910"/>
                <a:gd name="connsiteY3898" fmla="*/ 372831 h 6078415"/>
                <a:gd name="connsiteX3899" fmla="*/ 2880935 w 11685910"/>
                <a:gd name="connsiteY3899" fmla="*/ 356299 h 6078415"/>
                <a:gd name="connsiteX3900" fmla="*/ 2886970 w 11685910"/>
                <a:gd name="connsiteY3900" fmla="*/ 355666 h 6078415"/>
                <a:gd name="connsiteX3901" fmla="*/ 2887669 w 11685910"/>
                <a:gd name="connsiteY3901" fmla="*/ 354169 h 6078415"/>
                <a:gd name="connsiteX3902" fmla="*/ 2906950 w 11685910"/>
                <a:gd name="connsiteY3902" fmla="*/ 335633 h 6078415"/>
                <a:gd name="connsiteX3903" fmla="*/ 2942620 w 11685910"/>
                <a:gd name="connsiteY3903" fmla="*/ 327579 h 6078415"/>
                <a:gd name="connsiteX3904" fmla="*/ 11439364 w 11685910"/>
                <a:gd name="connsiteY3904" fmla="*/ 91551 h 6078415"/>
                <a:gd name="connsiteX3905" fmla="*/ 11428902 w 11685910"/>
                <a:gd name="connsiteY3905" fmla="*/ 139681 h 6078415"/>
                <a:gd name="connsiteX3906" fmla="*/ 11471625 w 11685910"/>
                <a:gd name="connsiteY3906" fmla="*/ 139681 h 6078415"/>
                <a:gd name="connsiteX3907" fmla="*/ 11481913 w 11685910"/>
                <a:gd name="connsiteY3907" fmla="*/ 91551 h 6078415"/>
                <a:gd name="connsiteX3908" fmla="*/ 5375028 w 11685910"/>
                <a:gd name="connsiteY3908" fmla="*/ 91551 h 6078415"/>
                <a:gd name="connsiteX3909" fmla="*/ 5364565 w 11685910"/>
                <a:gd name="connsiteY3909" fmla="*/ 139681 h 6078415"/>
                <a:gd name="connsiteX3910" fmla="*/ 5407288 w 11685910"/>
                <a:gd name="connsiteY3910" fmla="*/ 139681 h 6078415"/>
                <a:gd name="connsiteX3911" fmla="*/ 5417576 w 11685910"/>
                <a:gd name="connsiteY3911" fmla="*/ 91551 h 6078415"/>
                <a:gd name="connsiteX3912" fmla="*/ 11226456 w 11685910"/>
                <a:gd name="connsiteY3912" fmla="*/ 5634 h 6078415"/>
                <a:gd name="connsiteX3913" fmla="*/ 11281142 w 11685910"/>
                <a:gd name="connsiteY3913" fmla="*/ 44655 h 6078415"/>
                <a:gd name="connsiteX3914" fmla="*/ 11281142 w 11685910"/>
                <a:gd name="connsiteY3914" fmla="*/ 81016 h 6078415"/>
                <a:gd name="connsiteX3915" fmla="*/ 11305086 w 11685910"/>
                <a:gd name="connsiteY3915" fmla="*/ 107876 h 6078415"/>
                <a:gd name="connsiteX3916" fmla="*/ 11305086 w 11685910"/>
                <a:gd name="connsiteY3916" fmla="*/ 126372 h 6078415"/>
                <a:gd name="connsiteX3917" fmla="*/ 11281142 w 11685910"/>
                <a:gd name="connsiteY3917" fmla="*/ 152725 h 6078415"/>
                <a:gd name="connsiteX3918" fmla="*/ 11281142 w 11685910"/>
                <a:gd name="connsiteY3918" fmla="*/ 190100 h 6078415"/>
                <a:gd name="connsiteX3919" fmla="*/ 11226456 w 11685910"/>
                <a:gd name="connsiteY3919" fmla="*/ 228614 h 6078415"/>
                <a:gd name="connsiteX3920" fmla="*/ 11226456 w 11685910"/>
                <a:gd name="connsiteY3920" fmla="*/ 209103 h 6078415"/>
                <a:gd name="connsiteX3921" fmla="*/ 11245534 w 11685910"/>
                <a:gd name="connsiteY3921" fmla="*/ 203022 h 6078415"/>
                <a:gd name="connsiteX3922" fmla="*/ 11251173 w 11685910"/>
                <a:gd name="connsiteY3922" fmla="*/ 183765 h 6078415"/>
                <a:gd name="connsiteX3923" fmla="*/ 11251173 w 11685910"/>
                <a:gd name="connsiteY3923" fmla="*/ 148417 h 6078415"/>
                <a:gd name="connsiteX3924" fmla="*/ 11281605 w 11685910"/>
                <a:gd name="connsiteY3924" fmla="*/ 117125 h 6078415"/>
                <a:gd name="connsiteX3925" fmla="*/ 11281605 w 11685910"/>
                <a:gd name="connsiteY3925" fmla="*/ 116744 h 6078415"/>
                <a:gd name="connsiteX3926" fmla="*/ 11251173 w 11685910"/>
                <a:gd name="connsiteY3926" fmla="*/ 85197 h 6078415"/>
                <a:gd name="connsiteX3927" fmla="*/ 11251173 w 11685910"/>
                <a:gd name="connsiteY3927" fmla="*/ 49470 h 6078415"/>
                <a:gd name="connsiteX3928" fmla="*/ 11226456 w 11685910"/>
                <a:gd name="connsiteY3928" fmla="*/ 25273 h 6078415"/>
                <a:gd name="connsiteX3929" fmla="*/ 11205137 w 11685910"/>
                <a:gd name="connsiteY3929" fmla="*/ 5634 h 6078415"/>
                <a:gd name="connsiteX3930" fmla="*/ 11205137 w 11685910"/>
                <a:gd name="connsiteY3930" fmla="*/ 25273 h 6078415"/>
                <a:gd name="connsiteX3931" fmla="*/ 11180575 w 11685910"/>
                <a:gd name="connsiteY3931" fmla="*/ 49470 h 6078415"/>
                <a:gd name="connsiteX3932" fmla="*/ 11180575 w 11685910"/>
                <a:gd name="connsiteY3932" fmla="*/ 85197 h 6078415"/>
                <a:gd name="connsiteX3933" fmla="*/ 11149834 w 11685910"/>
                <a:gd name="connsiteY3933" fmla="*/ 116744 h 6078415"/>
                <a:gd name="connsiteX3934" fmla="*/ 11149834 w 11685910"/>
                <a:gd name="connsiteY3934" fmla="*/ 117125 h 6078415"/>
                <a:gd name="connsiteX3935" fmla="*/ 11180575 w 11685910"/>
                <a:gd name="connsiteY3935" fmla="*/ 148417 h 6078415"/>
                <a:gd name="connsiteX3936" fmla="*/ 11180575 w 11685910"/>
                <a:gd name="connsiteY3936" fmla="*/ 183765 h 6078415"/>
                <a:gd name="connsiteX3937" fmla="*/ 11186059 w 11685910"/>
                <a:gd name="connsiteY3937" fmla="*/ 203086 h 6078415"/>
                <a:gd name="connsiteX3938" fmla="*/ 11205137 w 11685910"/>
                <a:gd name="connsiteY3938" fmla="*/ 209103 h 6078415"/>
                <a:gd name="connsiteX3939" fmla="*/ 11205137 w 11685910"/>
                <a:gd name="connsiteY3939" fmla="*/ 228614 h 6078415"/>
                <a:gd name="connsiteX3940" fmla="*/ 11150143 w 11685910"/>
                <a:gd name="connsiteY3940" fmla="*/ 190100 h 6078415"/>
                <a:gd name="connsiteX3941" fmla="*/ 11150143 w 11685910"/>
                <a:gd name="connsiteY3941" fmla="*/ 152725 h 6078415"/>
                <a:gd name="connsiteX3942" fmla="*/ 11126044 w 11685910"/>
                <a:gd name="connsiteY3942" fmla="*/ 126372 h 6078415"/>
                <a:gd name="connsiteX3943" fmla="*/ 11126044 w 11685910"/>
                <a:gd name="connsiteY3943" fmla="*/ 107876 h 6078415"/>
                <a:gd name="connsiteX3944" fmla="*/ 11150143 w 11685910"/>
                <a:gd name="connsiteY3944" fmla="*/ 81016 h 6078415"/>
                <a:gd name="connsiteX3945" fmla="*/ 11150143 w 11685910"/>
                <a:gd name="connsiteY3945" fmla="*/ 44655 h 6078415"/>
                <a:gd name="connsiteX3946" fmla="*/ 11205137 w 11685910"/>
                <a:gd name="connsiteY3946" fmla="*/ 5634 h 6078415"/>
                <a:gd name="connsiteX3947" fmla="*/ 8175706 w 11685910"/>
                <a:gd name="connsiteY3947" fmla="*/ 5634 h 6078415"/>
                <a:gd name="connsiteX3948" fmla="*/ 8230392 w 11685910"/>
                <a:gd name="connsiteY3948" fmla="*/ 44655 h 6078415"/>
                <a:gd name="connsiteX3949" fmla="*/ 8230392 w 11685910"/>
                <a:gd name="connsiteY3949" fmla="*/ 81016 h 6078415"/>
                <a:gd name="connsiteX3950" fmla="*/ 8254336 w 11685910"/>
                <a:gd name="connsiteY3950" fmla="*/ 107876 h 6078415"/>
                <a:gd name="connsiteX3951" fmla="*/ 8254336 w 11685910"/>
                <a:gd name="connsiteY3951" fmla="*/ 126372 h 6078415"/>
                <a:gd name="connsiteX3952" fmla="*/ 8230392 w 11685910"/>
                <a:gd name="connsiteY3952" fmla="*/ 152725 h 6078415"/>
                <a:gd name="connsiteX3953" fmla="*/ 8230392 w 11685910"/>
                <a:gd name="connsiteY3953" fmla="*/ 190100 h 6078415"/>
                <a:gd name="connsiteX3954" fmla="*/ 8175706 w 11685910"/>
                <a:gd name="connsiteY3954" fmla="*/ 228614 h 6078415"/>
                <a:gd name="connsiteX3955" fmla="*/ 8175706 w 11685910"/>
                <a:gd name="connsiteY3955" fmla="*/ 209103 h 6078415"/>
                <a:gd name="connsiteX3956" fmla="*/ 8194784 w 11685910"/>
                <a:gd name="connsiteY3956" fmla="*/ 203022 h 6078415"/>
                <a:gd name="connsiteX3957" fmla="*/ 8200423 w 11685910"/>
                <a:gd name="connsiteY3957" fmla="*/ 183765 h 6078415"/>
                <a:gd name="connsiteX3958" fmla="*/ 8200423 w 11685910"/>
                <a:gd name="connsiteY3958" fmla="*/ 148417 h 6078415"/>
                <a:gd name="connsiteX3959" fmla="*/ 8230855 w 11685910"/>
                <a:gd name="connsiteY3959" fmla="*/ 117125 h 6078415"/>
                <a:gd name="connsiteX3960" fmla="*/ 8230855 w 11685910"/>
                <a:gd name="connsiteY3960" fmla="*/ 116744 h 6078415"/>
                <a:gd name="connsiteX3961" fmla="*/ 8200423 w 11685910"/>
                <a:gd name="connsiteY3961" fmla="*/ 85197 h 6078415"/>
                <a:gd name="connsiteX3962" fmla="*/ 8200423 w 11685910"/>
                <a:gd name="connsiteY3962" fmla="*/ 49470 h 6078415"/>
                <a:gd name="connsiteX3963" fmla="*/ 8175706 w 11685910"/>
                <a:gd name="connsiteY3963" fmla="*/ 25273 h 6078415"/>
                <a:gd name="connsiteX3964" fmla="*/ 8154387 w 11685910"/>
                <a:gd name="connsiteY3964" fmla="*/ 5634 h 6078415"/>
                <a:gd name="connsiteX3965" fmla="*/ 8154387 w 11685910"/>
                <a:gd name="connsiteY3965" fmla="*/ 25273 h 6078415"/>
                <a:gd name="connsiteX3966" fmla="*/ 8129826 w 11685910"/>
                <a:gd name="connsiteY3966" fmla="*/ 49470 h 6078415"/>
                <a:gd name="connsiteX3967" fmla="*/ 8129826 w 11685910"/>
                <a:gd name="connsiteY3967" fmla="*/ 85197 h 6078415"/>
                <a:gd name="connsiteX3968" fmla="*/ 8099084 w 11685910"/>
                <a:gd name="connsiteY3968" fmla="*/ 116744 h 6078415"/>
                <a:gd name="connsiteX3969" fmla="*/ 8099084 w 11685910"/>
                <a:gd name="connsiteY3969" fmla="*/ 117125 h 6078415"/>
                <a:gd name="connsiteX3970" fmla="*/ 8129826 w 11685910"/>
                <a:gd name="connsiteY3970" fmla="*/ 148417 h 6078415"/>
                <a:gd name="connsiteX3971" fmla="*/ 8129826 w 11685910"/>
                <a:gd name="connsiteY3971" fmla="*/ 183765 h 6078415"/>
                <a:gd name="connsiteX3972" fmla="*/ 8135309 w 11685910"/>
                <a:gd name="connsiteY3972" fmla="*/ 203086 h 6078415"/>
                <a:gd name="connsiteX3973" fmla="*/ 8154387 w 11685910"/>
                <a:gd name="connsiteY3973" fmla="*/ 209103 h 6078415"/>
                <a:gd name="connsiteX3974" fmla="*/ 8154387 w 11685910"/>
                <a:gd name="connsiteY3974" fmla="*/ 228614 h 6078415"/>
                <a:gd name="connsiteX3975" fmla="*/ 8099393 w 11685910"/>
                <a:gd name="connsiteY3975" fmla="*/ 190100 h 6078415"/>
                <a:gd name="connsiteX3976" fmla="*/ 8099393 w 11685910"/>
                <a:gd name="connsiteY3976" fmla="*/ 152725 h 6078415"/>
                <a:gd name="connsiteX3977" fmla="*/ 8075294 w 11685910"/>
                <a:gd name="connsiteY3977" fmla="*/ 126372 h 6078415"/>
                <a:gd name="connsiteX3978" fmla="*/ 8075294 w 11685910"/>
                <a:gd name="connsiteY3978" fmla="*/ 107876 h 6078415"/>
                <a:gd name="connsiteX3979" fmla="*/ 8099393 w 11685910"/>
                <a:gd name="connsiteY3979" fmla="*/ 81016 h 6078415"/>
                <a:gd name="connsiteX3980" fmla="*/ 8099393 w 11685910"/>
                <a:gd name="connsiteY3980" fmla="*/ 44655 h 6078415"/>
                <a:gd name="connsiteX3981" fmla="*/ 8154387 w 11685910"/>
                <a:gd name="connsiteY3981" fmla="*/ 5634 h 6078415"/>
                <a:gd name="connsiteX3982" fmla="*/ 5165797 w 11685910"/>
                <a:gd name="connsiteY3982" fmla="*/ 5634 h 6078415"/>
                <a:gd name="connsiteX3983" fmla="*/ 5220483 w 11685910"/>
                <a:gd name="connsiteY3983" fmla="*/ 44655 h 6078415"/>
                <a:gd name="connsiteX3984" fmla="*/ 5220483 w 11685910"/>
                <a:gd name="connsiteY3984" fmla="*/ 81016 h 6078415"/>
                <a:gd name="connsiteX3985" fmla="*/ 5244426 w 11685910"/>
                <a:gd name="connsiteY3985" fmla="*/ 107876 h 6078415"/>
                <a:gd name="connsiteX3986" fmla="*/ 5244426 w 11685910"/>
                <a:gd name="connsiteY3986" fmla="*/ 126372 h 6078415"/>
                <a:gd name="connsiteX3987" fmla="*/ 5220483 w 11685910"/>
                <a:gd name="connsiteY3987" fmla="*/ 152725 h 6078415"/>
                <a:gd name="connsiteX3988" fmla="*/ 5220483 w 11685910"/>
                <a:gd name="connsiteY3988" fmla="*/ 190100 h 6078415"/>
                <a:gd name="connsiteX3989" fmla="*/ 5165797 w 11685910"/>
                <a:gd name="connsiteY3989" fmla="*/ 228614 h 6078415"/>
                <a:gd name="connsiteX3990" fmla="*/ 5165797 w 11685910"/>
                <a:gd name="connsiteY3990" fmla="*/ 209103 h 6078415"/>
                <a:gd name="connsiteX3991" fmla="*/ 5184875 w 11685910"/>
                <a:gd name="connsiteY3991" fmla="*/ 203022 h 6078415"/>
                <a:gd name="connsiteX3992" fmla="*/ 5190513 w 11685910"/>
                <a:gd name="connsiteY3992" fmla="*/ 183765 h 6078415"/>
                <a:gd name="connsiteX3993" fmla="*/ 5190513 w 11685910"/>
                <a:gd name="connsiteY3993" fmla="*/ 148417 h 6078415"/>
                <a:gd name="connsiteX3994" fmla="*/ 5220946 w 11685910"/>
                <a:gd name="connsiteY3994" fmla="*/ 117125 h 6078415"/>
                <a:gd name="connsiteX3995" fmla="*/ 5220946 w 11685910"/>
                <a:gd name="connsiteY3995" fmla="*/ 116744 h 6078415"/>
                <a:gd name="connsiteX3996" fmla="*/ 5190513 w 11685910"/>
                <a:gd name="connsiteY3996" fmla="*/ 85197 h 6078415"/>
                <a:gd name="connsiteX3997" fmla="*/ 5190513 w 11685910"/>
                <a:gd name="connsiteY3997" fmla="*/ 49470 h 6078415"/>
                <a:gd name="connsiteX3998" fmla="*/ 5165797 w 11685910"/>
                <a:gd name="connsiteY3998" fmla="*/ 25273 h 6078415"/>
                <a:gd name="connsiteX3999" fmla="*/ 5144478 w 11685910"/>
                <a:gd name="connsiteY3999" fmla="*/ 5634 h 6078415"/>
                <a:gd name="connsiteX4000" fmla="*/ 5144478 w 11685910"/>
                <a:gd name="connsiteY4000" fmla="*/ 25273 h 6078415"/>
                <a:gd name="connsiteX4001" fmla="*/ 5119917 w 11685910"/>
                <a:gd name="connsiteY4001" fmla="*/ 49470 h 6078415"/>
                <a:gd name="connsiteX4002" fmla="*/ 5119917 w 11685910"/>
                <a:gd name="connsiteY4002" fmla="*/ 85197 h 6078415"/>
                <a:gd name="connsiteX4003" fmla="*/ 5089175 w 11685910"/>
                <a:gd name="connsiteY4003" fmla="*/ 116744 h 6078415"/>
                <a:gd name="connsiteX4004" fmla="*/ 5089175 w 11685910"/>
                <a:gd name="connsiteY4004" fmla="*/ 117125 h 6078415"/>
                <a:gd name="connsiteX4005" fmla="*/ 5119917 w 11685910"/>
                <a:gd name="connsiteY4005" fmla="*/ 148417 h 6078415"/>
                <a:gd name="connsiteX4006" fmla="*/ 5119917 w 11685910"/>
                <a:gd name="connsiteY4006" fmla="*/ 183765 h 6078415"/>
                <a:gd name="connsiteX4007" fmla="*/ 5125400 w 11685910"/>
                <a:gd name="connsiteY4007" fmla="*/ 203086 h 6078415"/>
                <a:gd name="connsiteX4008" fmla="*/ 5144478 w 11685910"/>
                <a:gd name="connsiteY4008" fmla="*/ 209103 h 6078415"/>
                <a:gd name="connsiteX4009" fmla="*/ 5144478 w 11685910"/>
                <a:gd name="connsiteY4009" fmla="*/ 228614 h 6078415"/>
                <a:gd name="connsiteX4010" fmla="*/ 5089484 w 11685910"/>
                <a:gd name="connsiteY4010" fmla="*/ 190100 h 6078415"/>
                <a:gd name="connsiteX4011" fmla="*/ 5089484 w 11685910"/>
                <a:gd name="connsiteY4011" fmla="*/ 152725 h 6078415"/>
                <a:gd name="connsiteX4012" fmla="*/ 5065386 w 11685910"/>
                <a:gd name="connsiteY4012" fmla="*/ 126372 h 6078415"/>
                <a:gd name="connsiteX4013" fmla="*/ 5065386 w 11685910"/>
                <a:gd name="connsiteY4013" fmla="*/ 107876 h 6078415"/>
                <a:gd name="connsiteX4014" fmla="*/ 5089484 w 11685910"/>
                <a:gd name="connsiteY4014" fmla="*/ 81016 h 6078415"/>
                <a:gd name="connsiteX4015" fmla="*/ 5089484 w 11685910"/>
                <a:gd name="connsiteY4015" fmla="*/ 44655 h 6078415"/>
                <a:gd name="connsiteX4016" fmla="*/ 5144478 w 11685910"/>
                <a:gd name="connsiteY4016" fmla="*/ 5634 h 6078415"/>
                <a:gd name="connsiteX4017" fmla="*/ 2112183 w 11685910"/>
                <a:gd name="connsiteY4017" fmla="*/ 5634 h 6078415"/>
                <a:gd name="connsiteX4018" fmla="*/ 2166869 w 11685910"/>
                <a:gd name="connsiteY4018" fmla="*/ 44655 h 6078415"/>
                <a:gd name="connsiteX4019" fmla="*/ 2166869 w 11685910"/>
                <a:gd name="connsiteY4019" fmla="*/ 81016 h 6078415"/>
                <a:gd name="connsiteX4020" fmla="*/ 2190814 w 11685910"/>
                <a:gd name="connsiteY4020" fmla="*/ 107876 h 6078415"/>
                <a:gd name="connsiteX4021" fmla="*/ 2190814 w 11685910"/>
                <a:gd name="connsiteY4021" fmla="*/ 126372 h 6078415"/>
                <a:gd name="connsiteX4022" fmla="*/ 2166869 w 11685910"/>
                <a:gd name="connsiteY4022" fmla="*/ 152725 h 6078415"/>
                <a:gd name="connsiteX4023" fmla="*/ 2166869 w 11685910"/>
                <a:gd name="connsiteY4023" fmla="*/ 190100 h 6078415"/>
                <a:gd name="connsiteX4024" fmla="*/ 2112183 w 11685910"/>
                <a:gd name="connsiteY4024" fmla="*/ 228614 h 6078415"/>
                <a:gd name="connsiteX4025" fmla="*/ 2112183 w 11685910"/>
                <a:gd name="connsiteY4025" fmla="*/ 209103 h 6078415"/>
                <a:gd name="connsiteX4026" fmla="*/ 2131261 w 11685910"/>
                <a:gd name="connsiteY4026" fmla="*/ 203022 h 6078415"/>
                <a:gd name="connsiteX4027" fmla="*/ 2136900 w 11685910"/>
                <a:gd name="connsiteY4027" fmla="*/ 183765 h 6078415"/>
                <a:gd name="connsiteX4028" fmla="*/ 2136900 w 11685910"/>
                <a:gd name="connsiteY4028" fmla="*/ 148417 h 6078415"/>
                <a:gd name="connsiteX4029" fmla="*/ 2167332 w 11685910"/>
                <a:gd name="connsiteY4029" fmla="*/ 117125 h 6078415"/>
                <a:gd name="connsiteX4030" fmla="*/ 2167332 w 11685910"/>
                <a:gd name="connsiteY4030" fmla="*/ 116744 h 6078415"/>
                <a:gd name="connsiteX4031" fmla="*/ 2136900 w 11685910"/>
                <a:gd name="connsiteY4031" fmla="*/ 85197 h 6078415"/>
                <a:gd name="connsiteX4032" fmla="*/ 2136900 w 11685910"/>
                <a:gd name="connsiteY4032" fmla="*/ 49470 h 6078415"/>
                <a:gd name="connsiteX4033" fmla="*/ 2112183 w 11685910"/>
                <a:gd name="connsiteY4033" fmla="*/ 25273 h 6078415"/>
                <a:gd name="connsiteX4034" fmla="*/ 2090864 w 11685910"/>
                <a:gd name="connsiteY4034" fmla="*/ 5634 h 6078415"/>
                <a:gd name="connsiteX4035" fmla="*/ 2090864 w 11685910"/>
                <a:gd name="connsiteY4035" fmla="*/ 25273 h 6078415"/>
                <a:gd name="connsiteX4036" fmla="*/ 2066302 w 11685910"/>
                <a:gd name="connsiteY4036" fmla="*/ 49470 h 6078415"/>
                <a:gd name="connsiteX4037" fmla="*/ 2066302 w 11685910"/>
                <a:gd name="connsiteY4037" fmla="*/ 85197 h 6078415"/>
                <a:gd name="connsiteX4038" fmla="*/ 2035561 w 11685910"/>
                <a:gd name="connsiteY4038" fmla="*/ 116744 h 6078415"/>
                <a:gd name="connsiteX4039" fmla="*/ 2035561 w 11685910"/>
                <a:gd name="connsiteY4039" fmla="*/ 117125 h 6078415"/>
                <a:gd name="connsiteX4040" fmla="*/ 2066302 w 11685910"/>
                <a:gd name="connsiteY4040" fmla="*/ 148417 h 6078415"/>
                <a:gd name="connsiteX4041" fmla="*/ 2066302 w 11685910"/>
                <a:gd name="connsiteY4041" fmla="*/ 183765 h 6078415"/>
                <a:gd name="connsiteX4042" fmla="*/ 2071786 w 11685910"/>
                <a:gd name="connsiteY4042" fmla="*/ 203086 h 6078415"/>
                <a:gd name="connsiteX4043" fmla="*/ 2090864 w 11685910"/>
                <a:gd name="connsiteY4043" fmla="*/ 209103 h 6078415"/>
                <a:gd name="connsiteX4044" fmla="*/ 2090864 w 11685910"/>
                <a:gd name="connsiteY4044" fmla="*/ 228614 h 6078415"/>
                <a:gd name="connsiteX4045" fmla="*/ 2035870 w 11685910"/>
                <a:gd name="connsiteY4045" fmla="*/ 190100 h 6078415"/>
                <a:gd name="connsiteX4046" fmla="*/ 2035870 w 11685910"/>
                <a:gd name="connsiteY4046" fmla="*/ 152725 h 6078415"/>
                <a:gd name="connsiteX4047" fmla="*/ 2011770 w 11685910"/>
                <a:gd name="connsiteY4047" fmla="*/ 126372 h 6078415"/>
                <a:gd name="connsiteX4048" fmla="*/ 2011770 w 11685910"/>
                <a:gd name="connsiteY4048" fmla="*/ 107876 h 6078415"/>
                <a:gd name="connsiteX4049" fmla="*/ 2035870 w 11685910"/>
                <a:gd name="connsiteY4049" fmla="*/ 81016 h 6078415"/>
                <a:gd name="connsiteX4050" fmla="*/ 2035870 w 11685910"/>
                <a:gd name="connsiteY4050" fmla="*/ 44655 h 6078415"/>
                <a:gd name="connsiteX4051" fmla="*/ 2090864 w 11685910"/>
                <a:gd name="connsiteY4051" fmla="*/ 5634 h 6078415"/>
                <a:gd name="connsiteX4052" fmla="*/ 11430297 w 11685910"/>
                <a:gd name="connsiteY4052" fmla="*/ 0 h 6078415"/>
                <a:gd name="connsiteX4053" fmla="*/ 11458372 w 11685910"/>
                <a:gd name="connsiteY4053" fmla="*/ 0 h 6078415"/>
                <a:gd name="connsiteX4054" fmla="*/ 11444596 w 11685910"/>
                <a:gd name="connsiteY4054" fmla="*/ 67137 h 6078415"/>
                <a:gd name="connsiteX4055" fmla="*/ 11486796 w 11685910"/>
                <a:gd name="connsiteY4055" fmla="*/ 67137 h 6078415"/>
                <a:gd name="connsiteX4056" fmla="*/ 11501095 w 11685910"/>
                <a:gd name="connsiteY4056" fmla="*/ 0 h 6078415"/>
                <a:gd name="connsiteX4057" fmla="*/ 11528648 w 11685910"/>
                <a:gd name="connsiteY4057" fmla="*/ 0 h 6078415"/>
                <a:gd name="connsiteX4058" fmla="*/ 11514697 w 11685910"/>
                <a:gd name="connsiteY4058" fmla="*/ 67137 h 6078415"/>
                <a:gd name="connsiteX4059" fmla="*/ 11554456 w 11685910"/>
                <a:gd name="connsiteY4059" fmla="*/ 67137 h 6078415"/>
                <a:gd name="connsiteX4060" fmla="*/ 11549050 w 11685910"/>
                <a:gd name="connsiteY4060" fmla="*/ 91551 h 6078415"/>
                <a:gd name="connsiteX4061" fmla="*/ 11509466 w 11685910"/>
                <a:gd name="connsiteY4061" fmla="*/ 91551 h 6078415"/>
                <a:gd name="connsiteX4062" fmla="*/ 11499352 w 11685910"/>
                <a:gd name="connsiteY4062" fmla="*/ 139681 h 6078415"/>
                <a:gd name="connsiteX4063" fmla="*/ 11542598 w 11685910"/>
                <a:gd name="connsiteY4063" fmla="*/ 139681 h 6078415"/>
                <a:gd name="connsiteX4064" fmla="*/ 11536494 w 11685910"/>
                <a:gd name="connsiteY4064" fmla="*/ 164093 h 6078415"/>
                <a:gd name="connsiteX4065" fmla="*/ 11494295 w 11685910"/>
                <a:gd name="connsiteY4065" fmla="*/ 164093 h 6078415"/>
                <a:gd name="connsiteX4066" fmla="*/ 11479995 w 11685910"/>
                <a:gd name="connsiteY4066" fmla="*/ 228614 h 6078415"/>
                <a:gd name="connsiteX4067" fmla="*/ 11452268 w 11685910"/>
                <a:gd name="connsiteY4067" fmla="*/ 228614 h 6078415"/>
                <a:gd name="connsiteX4068" fmla="*/ 11466219 w 11685910"/>
                <a:gd name="connsiteY4068" fmla="*/ 164093 h 6078415"/>
                <a:gd name="connsiteX4069" fmla="*/ 11424019 w 11685910"/>
                <a:gd name="connsiteY4069" fmla="*/ 164093 h 6078415"/>
                <a:gd name="connsiteX4070" fmla="*/ 11410417 w 11685910"/>
                <a:gd name="connsiteY4070" fmla="*/ 228614 h 6078415"/>
                <a:gd name="connsiteX4071" fmla="*/ 11382691 w 11685910"/>
                <a:gd name="connsiteY4071" fmla="*/ 228614 h 6078415"/>
                <a:gd name="connsiteX4072" fmla="*/ 11396292 w 11685910"/>
                <a:gd name="connsiteY4072" fmla="*/ 164093 h 6078415"/>
                <a:gd name="connsiteX4073" fmla="*/ 11356359 w 11685910"/>
                <a:gd name="connsiteY4073" fmla="*/ 164093 h 6078415"/>
                <a:gd name="connsiteX4074" fmla="*/ 11361241 w 11685910"/>
                <a:gd name="connsiteY4074" fmla="*/ 139681 h 6078415"/>
                <a:gd name="connsiteX4075" fmla="*/ 11401698 w 11685910"/>
                <a:gd name="connsiteY4075" fmla="*/ 139681 h 6078415"/>
                <a:gd name="connsiteX4076" fmla="*/ 11411289 w 11685910"/>
                <a:gd name="connsiteY4076" fmla="*/ 91551 h 6078415"/>
                <a:gd name="connsiteX4077" fmla="*/ 11368740 w 11685910"/>
                <a:gd name="connsiteY4077" fmla="*/ 91551 h 6078415"/>
                <a:gd name="connsiteX4078" fmla="*/ 11373797 w 11685910"/>
                <a:gd name="connsiteY4078" fmla="*/ 67137 h 6078415"/>
                <a:gd name="connsiteX4079" fmla="*/ 11416346 w 11685910"/>
                <a:gd name="connsiteY4079" fmla="*/ 67137 h 6078415"/>
                <a:gd name="connsiteX4080" fmla="*/ 5365960 w 11685910"/>
                <a:gd name="connsiteY4080" fmla="*/ 0 h 6078415"/>
                <a:gd name="connsiteX4081" fmla="*/ 5394034 w 11685910"/>
                <a:gd name="connsiteY4081" fmla="*/ 0 h 6078415"/>
                <a:gd name="connsiteX4082" fmla="*/ 5380258 w 11685910"/>
                <a:gd name="connsiteY4082" fmla="*/ 67137 h 6078415"/>
                <a:gd name="connsiteX4083" fmla="*/ 5422458 w 11685910"/>
                <a:gd name="connsiteY4083" fmla="*/ 67137 h 6078415"/>
                <a:gd name="connsiteX4084" fmla="*/ 5436757 w 11685910"/>
                <a:gd name="connsiteY4084" fmla="*/ 0 h 6078415"/>
                <a:gd name="connsiteX4085" fmla="*/ 5464310 w 11685910"/>
                <a:gd name="connsiteY4085" fmla="*/ 0 h 6078415"/>
                <a:gd name="connsiteX4086" fmla="*/ 5450359 w 11685910"/>
                <a:gd name="connsiteY4086" fmla="*/ 67137 h 6078415"/>
                <a:gd name="connsiteX4087" fmla="*/ 5490118 w 11685910"/>
                <a:gd name="connsiteY4087" fmla="*/ 67137 h 6078415"/>
                <a:gd name="connsiteX4088" fmla="*/ 5484714 w 11685910"/>
                <a:gd name="connsiteY4088" fmla="*/ 91551 h 6078415"/>
                <a:gd name="connsiteX4089" fmla="*/ 5445128 w 11685910"/>
                <a:gd name="connsiteY4089" fmla="*/ 91551 h 6078415"/>
                <a:gd name="connsiteX4090" fmla="*/ 5435014 w 11685910"/>
                <a:gd name="connsiteY4090" fmla="*/ 139681 h 6078415"/>
                <a:gd name="connsiteX4091" fmla="*/ 5478260 w 11685910"/>
                <a:gd name="connsiteY4091" fmla="*/ 139681 h 6078415"/>
                <a:gd name="connsiteX4092" fmla="*/ 5472158 w 11685910"/>
                <a:gd name="connsiteY4092" fmla="*/ 164093 h 6078415"/>
                <a:gd name="connsiteX4093" fmla="*/ 5429957 w 11685910"/>
                <a:gd name="connsiteY4093" fmla="*/ 164093 h 6078415"/>
                <a:gd name="connsiteX4094" fmla="*/ 5415658 w 11685910"/>
                <a:gd name="connsiteY4094" fmla="*/ 228614 h 6078415"/>
                <a:gd name="connsiteX4095" fmla="*/ 5387930 w 11685910"/>
                <a:gd name="connsiteY4095" fmla="*/ 228614 h 6078415"/>
                <a:gd name="connsiteX4096" fmla="*/ 5401881 w 11685910"/>
                <a:gd name="connsiteY4096" fmla="*/ 164093 h 6078415"/>
                <a:gd name="connsiteX4097" fmla="*/ 5359681 w 11685910"/>
                <a:gd name="connsiteY4097" fmla="*/ 164093 h 6078415"/>
                <a:gd name="connsiteX4098" fmla="*/ 5346079 w 11685910"/>
                <a:gd name="connsiteY4098" fmla="*/ 228614 h 6078415"/>
                <a:gd name="connsiteX4099" fmla="*/ 5318353 w 11685910"/>
                <a:gd name="connsiteY4099" fmla="*/ 228614 h 6078415"/>
                <a:gd name="connsiteX4100" fmla="*/ 5331955 w 11685910"/>
                <a:gd name="connsiteY4100" fmla="*/ 164093 h 6078415"/>
                <a:gd name="connsiteX4101" fmla="*/ 5292021 w 11685910"/>
                <a:gd name="connsiteY4101" fmla="*/ 164093 h 6078415"/>
                <a:gd name="connsiteX4102" fmla="*/ 5296904 w 11685910"/>
                <a:gd name="connsiteY4102" fmla="*/ 139681 h 6078415"/>
                <a:gd name="connsiteX4103" fmla="*/ 5337360 w 11685910"/>
                <a:gd name="connsiteY4103" fmla="*/ 139681 h 6078415"/>
                <a:gd name="connsiteX4104" fmla="*/ 5346952 w 11685910"/>
                <a:gd name="connsiteY4104" fmla="*/ 91551 h 6078415"/>
                <a:gd name="connsiteX4105" fmla="*/ 5304402 w 11685910"/>
                <a:gd name="connsiteY4105" fmla="*/ 91551 h 6078415"/>
                <a:gd name="connsiteX4106" fmla="*/ 5309459 w 11685910"/>
                <a:gd name="connsiteY4106" fmla="*/ 67137 h 6078415"/>
                <a:gd name="connsiteX4107" fmla="*/ 5352009 w 11685910"/>
                <a:gd name="connsiteY4107" fmla="*/ 67137 h 607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Lst>
              <a:rect l="l" t="t" r="r" b="b"/>
              <a:pathLst>
                <a:path w="11685910" h="6078415">
                  <a:moveTo>
                    <a:pt x="8150891" y="5855435"/>
                  </a:moveTo>
                  <a:cubicBezTo>
                    <a:pt x="8180791" y="5855773"/>
                    <a:pt x="8195740" y="5868780"/>
                    <a:pt x="8195740" y="5894457"/>
                  </a:cubicBezTo>
                  <a:lnTo>
                    <a:pt x="8195740" y="5930817"/>
                  </a:lnTo>
                  <a:cubicBezTo>
                    <a:pt x="8195740" y="5947879"/>
                    <a:pt x="8202286" y="5956832"/>
                    <a:pt x="8215378" y="5957677"/>
                  </a:cubicBezTo>
                  <a:lnTo>
                    <a:pt x="8215378" y="5976174"/>
                  </a:lnTo>
                  <a:cubicBezTo>
                    <a:pt x="8202286" y="5977019"/>
                    <a:pt x="8195740" y="5985802"/>
                    <a:pt x="8195740" y="6002526"/>
                  </a:cubicBezTo>
                  <a:lnTo>
                    <a:pt x="8195740" y="6039901"/>
                  </a:lnTo>
                  <a:cubicBezTo>
                    <a:pt x="8195740" y="6065239"/>
                    <a:pt x="8180791" y="6078077"/>
                    <a:pt x="8150891" y="6078415"/>
                  </a:cubicBezTo>
                  <a:lnTo>
                    <a:pt x="8150891" y="6058905"/>
                  </a:lnTo>
                  <a:cubicBezTo>
                    <a:pt x="8158239" y="6058736"/>
                    <a:pt x="8163455" y="6056709"/>
                    <a:pt x="8166538" y="6052823"/>
                  </a:cubicBezTo>
                  <a:cubicBezTo>
                    <a:pt x="8169620" y="6048938"/>
                    <a:pt x="8171162" y="6042519"/>
                    <a:pt x="8171162" y="6033566"/>
                  </a:cubicBezTo>
                  <a:lnTo>
                    <a:pt x="8171162" y="5998219"/>
                  </a:lnTo>
                  <a:cubicBezTo>
                    <a:pt x="8171162" y="5981073"/>
                    <a:pt x="8179482" y="5970642"/>
                    <a:pt x="8196121" y="5966925"/>
                  </a:cubicBezTo>
                  <a:lnTo>
                    <a:pt x="8196121" y="5966545"/>
                  </a:lnTo>
                  <a:cubicBezTo>
                    <a:pt x="8179482" y="5962575"/>
                    <a:pt x="8171162" y="5952060"/>
                    <a:pt x="8171162" y="5934999"/>
                  </a:cubicBezTo>
                  <a:lnTo>
                    <a:pt x="8171162" y="5899271"/>
                  </a:lnTo>
                  <a:cubicBezTo>
                    <a:pt x="8171162" y="5883477"/>
                    <a:pt x="8164405" y="5875410"/>
                    <a:pt x="8150891" y="5875073"/>
                  </a:cubicBezTo>
                  <a:close/>
                  <a:moveTo>
                    <a:pt x="8133407" y="5855435"/>
                  </a:moveTo>
                  <a:lnTo>
                    <a:pt x="8133407" y="5875073"/>
                  </a:lnTo>
                  <a:cubicBezTo>
                    <a:pt x="8119977" y="5875410"/>
                    <a:pt x="8113263" y="5883477"/>
                    <a:pt x="8113263" y="5899271"/>
                  </a:cubicBezTo>
                  <a:lnTo>
                    <a:pt x="8113263" y="5934999"/>
                  </a:lnTo>
                  <a:cubicBezTo>
                    <a:pt x="8113263" y="5952060"/>
                    <a:pt x="8104858" y="5962575"/>
                    <a:pt x="8088050" y="5966545"/>
                  </a:cubicBezTo>
                  <a:lnTo>
                    <a:pt x="8088050" y="5966925"/>
                  </a:lnTo>
                  <a:cubicBezTo>
                    <a:pt x="8104858" y="5970642"/>
                    <a:pt x="8113263" y="5981073"/>
                    <a:pt x="8113263" y="5998219"/>
                  </a:cubicBezTo>
                  <a:lnTo>
                    <a:pt x="8113263" y="6033566"/>
                  </a:lnTo>
                  <a:cubicBezTo>
                    <a:pt x="8113263" y="6042604"/>
                    <a:pt x="8114762" y="6049043"/>
                    <a:pt x="8117760" y="6052886"/>
                  </a:cubicBezTo>
                  <a:cubicBezTo>
                    <a:pt x="8120758" y="6056730"/>
                    <a:pt x="8125974" y="6058736"/>
                    <a:pt x="8133407" y="6058905"/>
                  </a:cubicBezTo>
                  <a:lnTo>
                    <a:pt x="8133407" y="6078415"/>
                  </a:lnTo>
                  <a:cubicBezTo>
                    <a:pt x="8103338" y="6078077"/>
                    <a:pt x="8088304" y="6065239"/>
                    <a:pt x="8088304" y="6039901"/>
                  </a:cubicBezTo>
                  <a:lnTo>
                    <a:pt x="8088304" y="6002526"/>
                  </a:lnTo>
                  <a:cubicBezTo>
                    <a:pt x="8088304" y="5985802"/>
                    <a:pt x="8081716" y="5977019"/>
                    <a:pt x="8068540" y="5976174"/>
                  </a:cubicBezTo>
                  <a:lnTo>
                    <a:pt x="8068540" y="5957677"/>
                  </a:lnTo>
                  <a:cubicBezTo>
                    <a:pt x="8081716" y="5956832"/>
                    <a:pt x="8088304" y="5947879"/>
                    <a:pt x="8088304" y="5930817"/>
                  </a:cubicBezTo>
                  <a:lnTo>
                    <a:pt x="8088304" y="5894457"/>
                  </a:lnTo>
                  <a:cubicBezTo>
                    <a:pt x="8088304" y="5868780"/>
                    <a:pt x="8103338" y="5855773"/>
                    <a:pt x="8133407" y="5855435"/>
                  </a:cubicBezTo>
                  <a:close/>
                  <a:moveTo>
                    <a:pt x="11191247" y="5500304"/>
                  </a:moveTo>
                  <a:cubicBezTo>
                    <a:pt x="11221147" y="5500642"/>
                    <a:pt x="11236096" y="5513649"/>
                    <a:pt x="11236096" y="5539326"/>
                  </a:cubicBezTo>
                  <a:lnTo>
                    <a:pt x="11236096" y="5575686"/>
                  </a:lnTo>
                  <a:cubicBezTo>
                    <a:pt x="11236096" y="5592748"/>
                    <a:pt x="11242642" y="5601701"/>
                    <a:pt x="11255734" y="5602546"/>
                  </a:cubicBezTo>
                  <a:lnTo>
                    <a:pt x="11255734" y="5621043"/>
                  </a:lnTo>
                  <a:cubicBezTo>
                    <a:pt x="11242642" y="5621888"/>
                    <a:pt x="11236096" y="5630671"/>
                    <a:pt x="11236096" y="5647395"/>
                  </a:cubicBezTo>
                  <a:lnTo>
                    <a:pt x="11236096" y="5684770"/>
                  </a:lnTo>
                  <a:cubicBezTo>
                    <a:pt x="11236096" y="5710108"/>
                    <a:pt x="11221147" y="5722946"/>
                    <a:pt x="11191247" y="5723284"/>
                  </a:cubicBezTo>
                  <a:lnTo>
                    <a:pt x="11191247" y="5703774"/>
                  </a:lnTo>
                  <a:cubicBezTo>
                    <a:pt x="11198595" y="5703605"/>
                    <a:pt x="11203811" y="5701578"/>
                    <a:pt x="11206894" y="5697692"/>
                  </a:cubicBezTo>
                  <a:cubicBezTo>
                    <a:pt x="11209976" y="5693807"/>
                    <a:pt x="11211518" y="5687388"/>
                    <a:pt x="11211518" y="5678435"/>
                  </a:cubicBezTo>
                  <a:lnTo>
                    <a:pt x="11211518" y="5643088"/>
                  </a:lnTo>
                  <a:cubicBezTo>
                    <a:pt x="11211518" y="5625942"/>
                    <a:pt x="11219838" y="5615511"/>
                    <a:pt x="11236477" y="5611794"/>
                  </a:cubicBezTo>
                  <a:lnTo>
                    <a:pt x="11236477" y="5611414"/>
                  </a:lnTo>
                  <a:cubicBezTo>
                    <a:pt x="11219838" y="5607444"/>
                    <a:pt x="11211518" y="5596929"/>
                    <a:pt x="11211518" y="5579868"/>
                  </a:cubicBezTo>
                  <a:lnTo>
                    <a:pt x="11211518" y="5544140"/>
                  </a:lnTo>
                  <a:cubicBezTo>
                    <a:pt x="11211518" y="5528346"/>
                    <a:pt x="11204761" y="5520279"/>
                    <a:pt x="11191247" y="5519942"/>
                  </a:cubicBezTo>
                  <a:close/>
                  <a:moveTo>
                    <a:pt x="11173763" y="5500304"/>
                  </a:moveTo>
                  <a:lnTo>
                    <a:pt x="11173763" y="5519942"/>
                  </a:lnTo>
                  <a:cubicBezTo>
                    <a:pt x="11160334" y="5520279"/>
                    <a:pt x="11153619" y="5528346"/>
                    <a:pt x="11153619" y="5544140"/>
                  </a:cubicBezTo>
                  <a:lnTo>
                    <a:pt x="11153619" y="5579868"/>
                  </a:lnTo>
                  <a:cubicBezTo>
                    <a:pt x="11153619" y="5596929"/>
                    <a:pt x="11145215" y="5607444"/>
                    <a:pt x="11128407" y="5611414"/>
                  </a:cubicBezTo>
                  <a:lnTo>
                    <a:pt x="11128407" y="5611794"/>
                  </a:lnTo>
                  <a:cubicBezTo>
                    <a:pt x="11145215" y="5615511"/>
                    <a:pt x="11153619" y="5625942"/>
                    <a:pt x="11153619" y="5643088"/>
                  </a:cubicBezTo>
                  <a:lnTo>
                    <a:pt x="11153619" y="5678435"/>
                  </a:lnTo>
                  <a:cubicBezTo>
                    <a:pt x="11153619" y="5687473"/>
                    <a:pt x="11155118" y="5693912"/>
                    <a:pt x="11158117" y="5697755"/>
                  </a:cubicBezTo>
                  <a:cubicBezTo>
                    <a:pt x="11161115" y="5701599"/>
                    <a:pt x="11166330" y="5703605"/>
                    <a:pt x="11173763" y="5703774"/>
                  </a:cubicBezTo>
                  <a:lnTo>
                    <a:pt x="11173763" y="5723284"/>
                  </a:lnTo>
                  <a:cubicBezTo>
                    <a:pt x="11143694" y="5722946"/>
                    <a:pt x="11128660" y="5710108"/>
                    <a:pt x="11128660" y="5684770"/>
                  </a:cubicBezTo>
                  <a:lnTo>
                    <a:pt x="11128660" y="5647395"/>
                  </a:lnTo>
                  <a:cubicBezTo>
                    <a:pt x="11128660" y="5630671"/>
                    <a:pt x="11122072" y="5621888"/>
                    <a:pt x="11108896" y="5621043"/>
                  </a:cubicBezTo>
                  <a:lnTo>
                    <a:pt x="11108896" y="5602546"/>
                  </a:lnTo>
                  <a:cubicBezTo>
                    <a:pt x="11122072" y="5601701"/>
                    <a:pt x="11128660" y="5592748"/>
                    <a:pt x="11128660" y="5575686"/>
                  </a:cubicBezTo>
                  <a:lnTo>
                    <a:pt x="11128660" y="5539326"/>
                  </a:lnTo>
                  <a:cubicBezTo>
                    <a:pt x="11128660" y="5513649"/>
                    <a:pt x="11143694" y="5500642"/>
                    <a:pt x="11173763" y="5500304"/>
                  </a:cubicBezTo>
                  <a:close/>
                  <a:moveTo>
                    <a:pt x="8150891" y="5500304"/>
                  </a:moveTo>
                  <a:cubicBezTo>
                    <a:pt x="8180791" y="5500642"/>
                    <a:pt x="8195740" y="5513649"/>
                    <a:pt x="8195740" y="5539326"/>
                  </a:cubicBezTo>
                  <a:lnTo>
                    <a:pt x="8195740" y="5575686"/>
                  </a:lnTo>
                  <a:cubicBezTo>
                    <a:pt x="8195740" y="5592748"/>
                    <a:pt x="8202286" y="5601701"/>
                    <a:pt x="8215378" y="5602546"/>
                  </a:cubicBezTo>
                  <a:lnTo>
                    <a:pt x="8215378" y="5621043"/>
                  </a:lnTo>
                  <a:cubicBezTo>
                    <a:pt x="8202286" y="5621888"/>
                    <a:pt x="8195740" y="5630671"/>
                    <a:pt x="8195740" y="5647395"/>
                  </a:cubicBezTo>
                  <a:lnTo>
                    <a:pt x="8195740" y="5684770"/>
                  </a:lnTo>
                  <a:cubicBezTo>
                    <a:pt x="8195740" y="5710108"/>
                    <a:pt x="8180791" y="5722946"/>
                    <a:pt x="8150891" y="5723284"/>
                  </a:cubicBezTo>
                  <a:lnTo>
                    <a:pt x="8150891" y="5703774"/>
                  </a:lnTo>
                  <a:cubicBezTo>
                    <a:pt x="8158239" y="5703605"/>
                    <a:pt x="8163455" y="5701578"/>
                    <a:pt x="8166538" y="5697692"/>
                  </a:cubicBezTo>
                  <a:cubicBezTo>
                    <a:pt x="8169620" y="5693807"/>
                    <a:pt x="8171162" y="5687388"/>
                    <a:pt x="8171162" y="5678435"/>
                  </a:cubicBezTo>
                  <a:lnTo>
                    <a:pt x="8171162" y="5643088"/>
                  </a:lnTo>
                  <a:cubicBezTo>
                    <a:pt x="8171162" y="5625942"/>
                    <a:pt x="8179482" y="5615511"/>
                    <a:pt x="8196121" y="5611794"/>
                  </a:cubicBezTo>
                  <a:lnTo>
                    <a:pt x="8196121" y="5611414"/>
                  </a:lnTo>
                  <a:cubicBezTo>
                    <a:pt x="8179482" y="5607444"/>
                    <a:pt x="8171162" y="5596929"/>
                    <a:pt x="8171162" y="5579868"/>
                  </a:cubicBezTo>
                  <a:lnTo>
                    <a:pt x="8171162" y="5544140"/>
                  </a:lnTo>
                  <a:cubicBezTo>
                    <a:pt x="8171162" y="5528346"/>
                    <a:pt x="8164405" y="5520279"/>
                    <a:pt x="8150891" y="5519942"/>
                  </a:cubicBezTo>
                  <a:close/>
                  <a:moveTo>
                    <a:pt x="8133407" y="5500304"/>
                  </a:moveTo>
                  <a:lnTo>
                    <a:pt x="8133407" y="5519942"/>
                  </a:lnTo>
                  <a:cubicBezTo>
                    <a:pt x="8119977" y="5520279"/>
                    <a:pt x="8113263" y="5528346"/>
                    <a:pt x="8113263" y="5544140"/>
                  </a:cubicBezTo>
                  <a:lnTo>
                    <a:pt x="8113263" y="5579868"/>
                  </a:lnTo>
                  <a:cubicBezTo>
                    <a:pt x="8113263" y="5596929"/>
                    <a:pt x="8104858" y="5607444"/>
                    <a:pt x="8088050" y="5611414"/>
                  </a:cubicBezTo>
                  <a:lnTo>
                    <a:pt x="8088050" y="5611794"/>
                  </a:lnTo>
                  <a:cubicBezTo>
                    <a:pt x="8104858" y="5615511"/>
                    <a:pt x="8113263" y="5625942"/>
                    <a:pt x="8113263" y="5643088"/>
                  </a:cubicBezTo>
                  <a:lnTo>
                    <a:pt x="8113263" y="5678435"/>
                  </a:lnTo>
                  <a:cubicBezTo>
                    <a:pt x="8113263" y="5687473"/>
                    <a:pt x="8114762" y="5693912"/>
                    <a:pt x="8117760" y="5697755"/>
                  </a:cubicBezTo>
                  <a:cubicBezTo>
                    <a:pt x="8120758" y="5701599"/>
                    <a:pt x="8125974" y="5703605"/>
                    <a:pt x="8133407" y="5703774"/>
                  </a:cubicBezTo>
                  <a:lnTo>
                    <a:pt x="8133407" y="5723284"/>
                  </a:lnTo>
                  <a:cubicBezTo>
                    <a:pt x="8103338" y="5722946"/>
                    <a:pt x="8088304" y="5710108"/>
                    <a:pt x="8088304" y="5684770"/>
                  </a:cubicBezTo>
                  <a:lnTo>
                    <a:pt x="8088304" y="5647395"/>
                  </a:lnTo>
                  <a:cubicBezTo>
                    <a:pt x="8088304" y="5630671"/>
                    <a:pt x="8081716" y="5621888"/>
                    <a:pt x="8068540" y="5621043"/>
                  </a:cubicBezTo>
                  <a:lnTo>
                    <a:pt x="8068540" y="5602546"/>
                  </a:lnTo>
                  <a:cubicBezTo>
                    <a:pt x="8081716" y="5601701"/>
                    <a:pt x="8088304" y="5592748"/>
                    <a:pt x="8088304" y="5575686"/>
                  </a:cubicBezTo>
                  <a:lnTo>
                    <a:pt x="8088304" y="5539326"/>
                  </a:lnTo>
                  <a:cubicBezTo>
                    <a:pt x="8088304" y="5513649"/>
                    <a:pt x="8103338" y="5500642"/>
                    <a:pt x="8133407" y="5500304"/>
                  </a:cubicBezTo>
                  <a:close/>
                  <a:moveTo>
                    <a:pt x="11191247" y="5162674"/>
                  </a:moveTo>
                  <a:cubicBezTo>
                    <a:pt x="11221147" y="5163012"/>
                    <a:pt x="11236096" y="5176019"/>
                    <a:pt x="11236096" y="5201695"/>
                  </a:cubicBezTo>
                  <a:lnTo>
                    <a:pt x="11236096" y="5238056"/>
                  </a:lnTo>
                  <a:cubicBezTo>
                    <a:pt x="11236096" y="5255118"/>
                    <a:pt x="11242642" y="5264070"/>
                    <a:pt x="11255734" y="5264915"/>
                  </a:cubicBezTo>
                  <a:lnTo>
                    <a:pt x="11255734" y="5283412"/>
                  </a:lnTo>
                  <a:cubicBezTo>
                    <a:pt x="11242642" y="5284257"/>
                    <a:pt x="11236096" y="5293041"/>
                    <a:pt x="11236096" y="5309765"/>
                  </a:cubicBezTo>
                  <a:lnTo>
                    <a:pt x="11236096" y="5347139"/>
                  </a:lnTo>
                  <a:cubicBezTo>
                    <a:pt x="11236096" y="5372478"/>
                    <a:pt x="11221147" y="5385316"/>
                    <a:pt x="11191247" y="5385654"/>
                  </a:cubicBezTo>
                  <a:lnTo>
                    <a:pt x="11191247" y="5366143"/>
                  </a:lnTo>
                  <a:cubicBezTo>
                    <a:pt x="11198595" y="5365974"/>
                    <a:pt x="11203811" y="5363947"/>
                    <a:pt x="11206894" y="5360062"/>
                  </a:cubicBezTo>
                  <a:cubicBezTo>
                    <a:pt x="11209976" y="5356176"/>
                    <a:pt x="11211518" y="5349757"/>
                    <a:pt x="11211518" y="5340805"/>
                  </a:cubicBezTo>
                  <a:lnTo>
                    <a:pt x="11211518" y="5305457"/>
                  </a:lnTo>
                  <a:cubicBezTo>
                    <a:pt x="11211518" y="5288311"/>
                    <a:pt x="11219838" y="5277880"/>
                    <a:pt x="11236477" y="5274164"/>
                  </a:cubicBezTo>
                  <a:lnTo>
                    <a:pt x="11236477" y="5273784"/>
                  </a:lnTo>
                  <a:cubicBezTo>
                    <a:pt x="11219838" y="5269814"/>
                    <a:pt x="11211518" y="5259299"/>
                    <a:pt x="11211518" y="5242237"/>
                  </a:cubicBezTo>
                  <a:lnTo>
                    <a:pt x="11211518" y="5206510"/>
                  </a:lnTo>
                  <a:cubicBezTo>
                    <a:pt x="11211518" y="5190715"/>
                    <a:pt x="11204761" y="5182649"/>
                    <a:pt x="11191247" y="5182311"/>
                  </a:cubicBezTo>
                  <a:close/>
                  <a:moveTo>
                    <a:pt x="11173763" y="5162674"/>
                  </a:moveTo>
                  <a:lnTo>
                    <a:pt x="11173763" y="5182311"/>
                  </a:lnTo>
                  <a:cubicBezTo>
                    <a:pt x="11160334" y="5182649"/>
                    <a:pt x="11153619" y="5190715"/>
                    <a:pt x="11153619" y="5206510"/>
                  </a:cubicBezTo>
                  <a:lnTo>
                    <a:pt x="11153619" y="5242237"/>
                  </a:lnTo>
                  <a:cubicBezTo>
                    <a:pt x="11153619" y="5259299"/>
                    <a:pt x="11145215" y="5269814"/>
                    <a:pt x="11128407" y="5273784"/>
                  </a:cubicBezTo>
                  <a:lnTo>
                    <a:pt x="11128407" y="5274164"/>
                  </a:lnTo>
                  <a:cubicBezTo>
                    <a:pt x="11145215" y="5277880"/>
                    <a:pt x="11153619" y="5288311"/>
                    <a:pt x="11153619" y="5305457"/>
                  </a:cubicBezTo>
                  <a:lnTo>
                    <a:pt x="11153619" y="5340805"/>
                  </a:lnTo>
                  <a:cubicBezTo>
                    <a:pt x="11153619" y="5349842"/>
                    <a:pt x="11155118" y="5356282"/>
                    <a:pt x="11158117" y="5360125"/>
                  </a:cubicBezTo>
                  <a:cubicBezTo>
                    <a:pt x="11161115" y="5363968"/>
                    <a:pt x="11166330" y="5365974"/>
                    <a:pt x="11173763" y="5366143"/>
                  </a:cubicBezTo>
                  <a:lnTo>
                    <a:pt x="11173763" y="5385654"/>
                  </a:lnTo>
                  <a:cubicBezTo>
                    <a:pt x="11143694" y="5385316"/>
                    <a:pt x="11128660" y="5372478"/>
                    <a:pt x="11128660" y="5347139"/>
                  </a:cubicBezTo>
                  <a:lnTo>
                    <a:pt x="11128660" y="5309765"/>
                  </a:lnTo>
                  <a:cubicBezTo>
                    <a:pt x="11128660" y="5293041"/>
                    <a:pt x="11122072" y="5284257"/>
                    <a:pt x="11108896" y="5283412"/>
                  </a:cubicBezTo>
                  <a:lnTo>
                    <a:pt x="11108896" y="5264915"/>
                  </a:lnTo>
                  <a:cubicBezTo>
                    <a:pt x="11122072" y="5264070"/>
                    <a:pt x="11128660" y="5255118"/>
                    <a:pt x="11128660" y="5238056"/>
                  </a:cubicBezTo>
                  <a:lnTo>
                    <a:pt x="11128660" y="5201695"/>
                  </a:lnTo>
                  <a:cubicBezTo>
                    <a:pt x="11128660" y="5176019"/>
                    <a:pt x="11143694" y="5163012"/>
                    <a:pt x="11173763" y="5162674"/>
                  </a:cubicBezTo>
                  <a:close/>
                  <a:moveTo>
                    <a:pt x="8150891" y="5162674"/>
                  </a:moveTo>
                  <a:cubicBezTo>
                    <a:pt x="8180791" y="5163012"/>
                    <a:pt x="8195740" y="5176019"/>
                    <a:pt x="8195740" y="5201696"/>
                  </a:cubicBezTo>
                  <a:lnTo>
                    <a:pt x="8195740" y="5238056"/>
                  </a:lnTo>
                  <a:cubicBezTo>
                    <a:pt x="8195740" y="5255118"/>
                    <a:pt x="8202286" y="5264071"/>
                    <a:pt x="8215378" y="5264916"/>
                  </a:cubicBezTo>
                  <a:lnTo>
                    <a:pt x="8215378" y="5283413"/>
                  </a:lnTo>
                  <a:cubicBezTo>
                    <a:pt x="8202286" y="5284258"/>
                    <a:pt x="8195740" y="5293041"/>
                    <a:pt x="8195740" y="5309765"/>
                  </a:cubicBezTo>
                  <a:lnTo>
                    <a:pt x="8195740" y="5347140"/>
                  </a:lnTo>
                  <a:cubicBezTo>
                    <a:pt x="8195740" y="5372478"/>
                    <a:pt x="8180791" y="5385316"/>
                    <a:pt x="8150891" y="5385654"/>
                  </a:cubicBezTo>
                  <a:lnTo>
                    <a:pt x="8150891" y="5366144"/>
                  </a:lnTo>
                  <a:cubicBezTo>
                    <a:pt x="8158239" y="5365975"/>
                    <a:pt x="8163455" y="5363948"/>
                    <a:pt x="8166538" y="5360062"/>
                  </a:cubicBezTo>
                  <a:cubicBezTo>
                    <a:pt x="8169620" y="5356177"/>
                    <a:pt x="8171162" y="5349758"/>
                    <a:pt x="8171162" y="5340805"/>
                  </a:cubicBezTo>
                  <a:lnTo>
                    <a:pt x="8171162" y="5305458"/>
                  </a:lnTo>
                  <a:cubicBezTo>
                    <a:pt x="8171162" y="5288312"/>
                    <a:pt x="8179482" y="5277881"/>
                    <a:pt x="8196121" y="5274164"/>
                  </a:cubicBezTo>
                  <a:lnTo>
                    <a:pt x="8196121" y="5273784"/>
                  </a:lnTo>
                  <a:cubicBezTo>
                    <a:pt x="8179482" y="5269814"/>
                    <a:pt x="8171162" y="5259299"/>
                    <a:pt x="8171162" y="5242238"/>
                  </a:cubicBezTo>
                  <a:lnTo>
                    <a:pt x="8171162" y="5206510"/>
                  </a:lnTo>
                  <a:cubicBezTo>
                    <a:pt x="8171162" y="5190716"/>
                    <a:pt x="8164405" y="5182649"/>
                    <a:pt x="8150891" y="5182312"/>
                  </a:cubicBezTo>
                  <a:close/>
                  <a:moveTo>
                    <a:pt x="8133407" y="5162674"/>
                  </a:moveTo>
                  <a:lnTo>
                    <a:pt x="8133407" y="5182312"/>
                  </a:lnTo>
                  <a:cubicBezTo>
                    <a:pt x="8119977" y="5182649"/>
                    <a:pt x="8113263" y="5190716"/>
                    <a:pt x="8113263" y="5206510"/>
                  </a:cubicBezTo>
                  <a:lnTo>
                    <a:pt x="8113263" y="5242238"/>
                  </a:lnTo>
                  <a:cubicBezTo>
                    <a:pt x="8113263" y="5259299"/>
                    <a:pt x="8104858" y="5269814"/>
                    <a:pt x="8088050" y="5273784"/>
                  </a:cubicBezTo>
                  <a:lnTo>
                    <a:pt x="8088050" y="5274164"/>
                  </a:lnTo>
                  <a:cubicBezTo>
                    <a:pt x="8104858" y="5277881"/>
                    <a:pt x="8113263" y="5288312"/>
                    <a:pt x="8113263" y="5305458"/>
                  </a:cubicBezTo>
                  <a:lnTo>
                    <a:pt x="8113263" y="5340805"/>
                  </a:lnTo>
                  <a:cubicBezTo>
                    <a:pt x="8113263" y="5349843"/>
                    <a:pt x="8114762" y="5356282"/>
                    <a:pt x="8117760" y="5360125"/>
                  </a:cubicBezTo>
                  <a:cubicBezTo>
                    <a:pt x="8120758" y="5363969"/>
                    <a:pt x="8125974" y="5365975"/>
                    <a:pt x="8133407" y="5366144"/>
                  </a:cubicBezTo>
                  <a:lnTo>
                    <a:pt x="8133407" y="5385654"/>
                  </a:lnTo>
                  <a:cubicBezTo>
                    <a:pt x="8103338" y="5385316"/>
                    <a:pt x="8088304" y="5372478"/>
                    <a:pt x="8088304" y="5347140"/>
                  </a:cubicBezTo>
                  <a:lnTo>
                    <a:pt x="8088304" y="5309765"/>
                  </a:lnTo>
                  <a:cubicBezTo>
                    <a:pt x="8088304" y="5293041"/>
                    <a:pt x="8081716" y="5284258"/>
                    <a:pt x="8068540" y="5283413"/>
                  </a:cubicBezTo>
                  <a:lnTo>
                    <a:pt x="8068540" y="5264916"/>
                  </a:lnTo>
                  <a:cubicBezTo>
                    <a:pt x="8081716" y="5264071"/>
                    <a:pt x="8088304" y="5255118"/>
                    <a:pt x="8088304" y="5238056"/>
                  </a:cubicBezTo>
                  <a:lnTo>
                    <a:pt x="8088304" y="5201696"/>
                  </a:lnTo>
                  <a:cubicBezTo>
                    <a:pt x="8088304" y="5176019"/>
                    <a:pt x="8103338" y="5163012"/>
                    <a:pt x="8133407" y="5162674"/>
                  </a:cubicBezTo>
                  <a:close/>
                  <a:moveTo>
                    <a:pt x="5096170" y="5162674"/>
                  </a:moveTo>
                  <a:cubicBezTo>
                    <a:pt x="5126070" y="5163012"/>
                    <a:pt x="5141019" y="5176019"/>
                    <a:pt x="5141019" y="5201696"/>
                  </a:cubicBezTo>
                  <a:lnTo>
                    <a:pt x="5141019" y="5238056"/>
                  </a:lnTo>
                  <a:cubicBezTo>
                    <a:pt x="5141019" y="5255118"/>
                    <a:pt x="5147565" y="5264071"/>
                    <a:pt x="5160658" y="5264916"/>
                  </a:cubicBezTo>
                  <a:lnTo>
                    <a:pt x="5160658" y="5283413"/>
                  </a:lnTo>
                  <a:cubicBezTo>
                    <a:pt x="5147565" y="5284258"/>
                    <a:pt x="5141019" y="5293041"/>
                    <a:pt x="5141019" y="5309765"/>
                  </a:cubicBezTo>
                  <a:lnTo>
                    <a:pt x="5141019" y="5347140"/>
                  </a:lnTo>
                  <a:cubicBezTo>
                    <a:pt x="5141019" y="5372478"/>
                    <a:pt x="5126070" y="5385316"/>
                    <a:pt x="5096170" y="5385654"/>
                  </a:cubicBezTo>
                  <a:lnTo>
                    <a:pt x="5096170" y="5366144"/>
                  </a:lnTo>
                  <a:cubicBezTo>
                    <a:pt x="5103519" y="5365975"/>
                    <a:pt x="5108733" y="5363948"/>
                    <a:pt x="5111817" y="5360062"/>
                  </a:cubicBezTo>
                  <a:cubicBezTo>
                    <a:pt x="5114899" y="5356177"/>
                    <a:pt x="5116441" y="5349758"/>
                    <a:pt x="5116441" y="5340805"/>
                  </a:cubicBezTo>
                  <a:lnTo>
                    <a:pt x="5116441" y="5305458"/>
                  </a:lnTo>
                  <a:cubicBezTo>
                    <a:pt x="5116441" y="5288312"/>
                    <a:pt x="5124760" y="5277881"/>
                    <a:pt x="5141399" y="5274164"/>
                  </a:cubicBezTo>
                  <a:lnTo>
                    <a:pt x="5141399" y="5273784"/>
                  </a:lnTo>
                  <a:cubicBezTo>
                    <a:pt x="5124760" y="5269814"/>
                    <a:pt x="5116441" y="5259299"/>
                    <a:pt x="5116441" y="5242238"/>
                  </a:cubicBezTo>
                  <a:lnTo>
                    <a:pt x="5116441" y="5206510"/>
                  </a:lnTo>
                  <a:cubicBezTo>
                    <a:pt x="5116441" y="5190716"/>
                    <a:pt x="5109684" y="5182649"/>
                    <a:pt x="5096170" y="5182312"/>
                  </a:cubicBezTo>
                  <a:close/>
                  <a:moveTo>
                    <a:pt x="5078686" y="5162674"/>
                  </a:moveTo>
                  <a:lnTo>
                    <a:pt x="5078686" y="5182312"/>
                  </a:lnTo>
                  <a:cubicBezTo>
                    <a:pt x="5065256" y="5182649"/>
                    <a:pt x="5058542" y="5190716"/>
                    <a:pt x="5058542" y="5206510"/>
                  </a:cubicBezTo>
                  <a:lnTo>
                    <a:pt x="5058542" y="5242238"/>
                  </a:lnTo>
                  <a:cubicBezTo>
                    <a:pt x="5058542" y="5259299"/>
                    <a:pt x="5050137" y="5269814"/>
                    <a:pt x="5033329" y="5273784"/>
                  </a:cubicBezTo>
                  <a:lnTo>
                    <a:pt x="5033329" y="5274164"/>
                  </a:lnTo>
                  <a:cubicBezTo>
                    <a:pt x="5050137" y="5277881"/>
                    <a:pt x="5058542" y="5288312"/>
                    <a:pt x="5058542" y="5305458"/>
                  </a:cubicBezTo>
                  <a:lnTo>
                    <a:pt x="5058542" y="5340805"/>
                  </a:lnTo>
                  <a:cubicBezTo>
                    <a:pt x="5058542" y="5349843"/>
                    <a:pt x="5060042" y="5356282"/>
                    <a:pt x="5063039" y="5360125"/>
                  </a:cubicBezTo>
                  <a:cubicBezTo>
                    <a:pt x="5066037" y="5363969"/>
                    <a:pt x="5071253" y="5365975"/>
                    <a:pt x="5078686" y="5366144"/>
                  </a:cubicBezTo>
                  <a:lnTo>
                    <a:pt x="5078686" y="5385654"/>
                  </a:lnTo>
                  <a:cubicBezTo>
                    <a:pt x="5048617" y="5385316"/>
                    <a:pt x="5033583" y="5372478"/>
                    <a:pt x="5033583" y="5347140"/>
                  </a:cubicBezTo>
                  <a:lnTo>
                    <a:pt x="5033583" y="5309765"/>
                  </a:lnTo>
                  <a:cubicBezTo>
                    <a:pt x="5033583" y="5293041"/>
                    <a:pt x="5026995" y="5284258"/>
                    <a:pt x="5013819" y="5283413"/>
                  </a:cubicBezTo>
                  <a:lnTo>
                    <a:pt x="5013819" y="5264916"/>
                  </a:lnTo>
                  <a:cubicBezTo>
                    <a:pt x="5026995" y="5264071"/>
                    <a:pt x="5033583" y="5255118"/>
                    <a:pt x="5033583" y="5238056"/>
                  </a:cubicBezTo>
                  <a:lnTo>
                    <a:pt x="5033583" y="5201696"/>
                  </a:lnTo>
                  <a:cubicBezTo>
                    <a:pt x="5033583" y="5176019"/>
                    <a:pt x="5048617" y="5163012"/>
                    <a:pt x="5078686" y="5162674"/>
                  </a:cubicBezTo>
                  <a:close/>
                  <a:moveTo>
                    <a:pt x="11191247" y="4849604"/>
                  </a:moveTo>
                  <a:cubicBezTo>
                    <a:pt x="11221147" y="4849942"/>
                    <a:pt x="11236096" y="4862949"/>
                    <a:pt x="11236096" y="4888625"/>
                  </a:cubicBezTo>
                  <a:lnTo>
                    <a:pt x="11236096" y="4924986"/>
                  </a:lnTo>
                  <a:cubicBezTo>
                    <a:pt x="11236096" y="4942048"/>
                    <a:pt x="11242642" y="4951000"/>
                    <a:pt x="11255734" y="4951845"/>
                  </a:cubicBezTo>
                  <a:lnTo>
                    <a:pt x="11255734" y="4970342"/>
                  </a:lnTo>
                  <a:cubicBezTo>
                    <a:pt x="11242642" y="4971187"/>
                    <a:pt x="11236096" y="4979971"/>
                    <a:pt x="11236096" y="4996695"/>
                  </a:cubicBezTo>
                  <a:lnTo>
                    <a:pt x="11236096" y="5034069"/>
                  </a:lnTo>
                  <a:cubicBezTo>
                    <a:pt x="11236096" y="5059408"/>
                    <a:pt x="11221147" y="5072246"/>
                    <a:pt x="11191247" y="5072584"/>
                  </a:cubicBezTo>
                  <a:lnTo>
                    <a:pt x="11191247" y="5053073"/>
                  </a:lnTo>
                  <a:cubicBezTo>
                    <a:pt x="11198595" y="5052904"/>
                    <a:pt x="11203811" y="5050877"/>
                    <a:pt x="11206894" y="5046992"/>
                  </a:cubicBezTo>
                  <a:cubicBezTo>
                    <a:pt x="11209976" y="5043106"/>
                    <a:pt x="11211518" y="5036687"/>
                    <a:pt x="11211518" y="5027735"/>
                  </a:cubicBezTo>
                  <a:lnTo>
                    <a:pt x="11211518" y="4992387"/>
                  </a:lnTo>
                  <a:cubicBezTo>
                    <a:pt x="11211518" y="4975241"/>
                    <a:pt x="11219838" y="4964810"/>
                    <a:pt x="11236477" y="4961094"/>
                  </a:cubicBezTo>
                  <a:lnTo>
                    <a:pt x="11236477" y="4960714"/>
                  </a:lnTo>
                  <a:cubicBezTo>
                    <a:pt x="11219838" y="4956744"/>
                    <a:pt x="11211518" y="4946229"/>
                    <a:pt x="11211518" y="4929167"/>
                  </a:cubicBezTo>
                  <a:lnTo>
                    <a:pt x="11211518" y="4893440"/>
                  </a:lnTo>
                  <a:cubicBezTo>
                    <a:pt x="11211518" y="4877645"/>
                    <a:pt x="11204761" y="4869579"/>
                    <a:pt x="11191247" y="4869241"/>
                  </a:cubicBezTo>
                  <a:close/>
                  <a:moveTo>
                    <a:pt x="11173763" y="4849604"/>
                  </a:moveTo>
                  <a:lnTo>
                    <a:pt x="11173763" y="4869241"/>
                  </a:lnTo>
                  <a:cubicBezTo>
                    <a:pt x="11160334" y="4869579"/>
                    <a:pt x="11153619" y="4877645"/>
                    <a:pt x="11153619" y="4893440"/>
                  </a:cubicBezTo>
                  <a:lnTo>
                    <a:pt x="11153619" y="4929167"/>
                  </a:lnTo>
                  <a:cubicBezTo>
                    <a:pt x="11153619" y="4946229"/>
                    <a:pt x="11145215" y="4956744"/>
                    <a:pt x="11128407" y="4960714"/>
                  </a:cubicBezTo>
                  <a:lnTo>
                    <a:pt x="11128407" y="4961094"/>
                  </a:lnTo>
                  <a:cubicBezTo>
                    <a:pt x="11145215" y="4964810"/>
                    <a:pt x="11153619" y="4975241"/>
                    <a:pt x="11153619" y="4992387"/>
                  </a:cubicBezTo>
                  <a:lnTo>
                    <a:pt x="11153619" y="5027735"/>
                  </a:lnTo>
                  <a:cubicBezTo>
                    <a:pt x="11153619" y="5036772"/>
                    <a:pt x="11155118" y="5043212"/>
                    <a:pt x="11158117" y="5047055"/>
                  </a:cubicBezTo>
                  <a:cubicBezTo>
                    <a:pt x="11161115" y="5050898"/>
                    <a:pt x="11166330" y="5052904"/>
                    <a:pt x="11173763" y="5053073"/>
                  </a:cubicBezTo>
                  <a:lnTo>
                    <a:pt x="11173763" y="5072584"/>
                  </a:lnTo>
                  <a:cubicBezTo>
                    <a:pt x="11143694" y="5072246"/>
                    <a:pt x="11128660" y="5059408"/>
                    <a:pt x="11128660" y="5034069"/>
                  </a:cubicBezTo>
                  <a:lnTo>
                    <a:pt x="11128660" y="4996695"/>
                  </a:lnTo>
                  <a:cubicBezTo>
                    <a:pt x="11128660" y="4979971"/>
                    <a:pt x="11122072" y="4971187"/>
                    <a:pt x="11108896" y="4970342"/>
                  </a:cubicBezTo>
                  <a:lnTo>
                    <a:pt x="11108896" y="4951845"/>
                  </a:lnTo>
                  <a:cubicBezTo>
                    <a:pt x="11122072" y="4951000"/>
                    <a:pt x="11128660" y="4942048"/>
                    <a:pt x="11128660" y="4924986"/>
                  </a:cubicBezTo>
                  <a:lnTo>
                    <a:pt x="11128660" y="4888625"/>
                  </a:lnTo>
                  <a:cubicBezTo>
                    <a:pt x="11128660" y="4862949"/>
                    <a:pt x="11143694" y="4849942"/>
                    <a:pt x="11173763" y="4849604"/>
                  </a:cubicBezTo>
                  <a:close/>
                  <a:moveTo>
                    <a:pt x="8150891" y="4849604"/>
                  </a:moveTo>
                  <a:cubicBezTo>
                    <a:pt x="8180791" y="4849942"/>
                    <a:pt x="8195740" y="4862949"/>
                    <a:pt x="8195740" y="4888626"/>
                  </a:cubicBezTo>
                  <a:lnTo>
                    <a:pt x="8195740" y="4924986"/>
                  </a:lnTo>
                  <a:cubicBezTo>
                    <a:pt x="8195740" y="4942048"/>
                    <a:pt x="8202286" y="4951001"/>
                    <a:pt x="8215378" y="4951846"/>
                  </a:cubicBezTo>
                  <a:lnTo>
                    <a:pt x="8215378" y="4970343"/>
                  </a:lnTo>
                  <a:cubicBezTo>
                    <a:pt x="8202286" y="4971188"/>
                    <a:pt x="8195740" y="4979971"/>
                    <a:pt x="8195740" y="4996695"/>
                  </a:cubicBezTo>
                  <a:lnTo>
                    <a:pt x="8195740" y="5034070"/>
                  </a:lnTo>
                  <a:cubicBezTo>
                    <a:pt x="8195740" y="5059408"/>
                    <a:pt x="8180791" y="5072246"/>
                    <a:pt x="8150891" y="5072584"/>
                  </a:cubicBezTo>
                  <a:lnTo>
                    <a:pt x="8150891" y="5053074"/>
                  </a:lnTo>
                  <a:cubicBezTo>
                    <a:pt x="8158239" y="5052905"/>
                    <a:pt x="8163455" y="5050878"/>
                    <a:pt x="8166538" y="5046992"/>
                  </a:cubicBezTo>
                  <a:cubicBezTo>
                    <a:pt x="8169620" y="5043107"/>
                    <a:pt x="8171162" y="5036688"/>
                    <a:pt x="8171162" y="5027735"/>
                  </a:cubicBezTo>
                  <a:lnTo>
                    <a:pt x="8171162" y="4992388"/>
                  </a:lnTo>
                  <a:cubicBezTo>
                    <a:pt x="8171162" y="4975242"/>
                    <a:pt x="8179482" y="4964811"/>
                    <a:pt x="8196121" y="4961094"/>
                  </a:cubicBezTo>
                  <a:lnTo>
                    <a:pt x="8196121" y="4960714"/>
                  </a:lnTo>
                  <a:cubicBezTo>
                    <a:pt x="8179482" y="4956744"/>
                    <a:pt x="8171162" y="4946229"/>
                    <a:pt x="8171162" y="4929168"/>
                  </a:cubicBezTo>
                  <a:lnTo>
                    <a:pt x="8171162" y="4893440"/>
                  </a:lnTo>
                  <a:cubicBezTo>
                    <a:pt x="8171162" y="4877646"/>
                    <a:pt x="8164405" y="4869579"/>
                    <a:pt x="8150891" y="4869242"/>
                  </a:cubicBezTo>
                  <a:close/>
                  <a:moveTo>
                    <a:pt x="8133407" y="4849604"/>
                  </a:moveTo>
                  <a:lnTo>
                    <a:pt x="8133407" y="4869242"/>
                  </a:lnTo>
                  <a:cubicBezTo>
                    <a:pt x="8119977" y="4869579"/>
                    <a:pt x="8113263" y="4877646"/>
                    <a:pt x="8113263" y="4893440"/>
                  </a:cubicBezTo>
                  <a:lnTo>
                    <a:pt x="8113263" y="4929168"/>
                  </a:lnTo>
                  <a:cubicBezTo>
                    <a:pt x="8113263" y="4946229"/>
                    <a:pt x="8104858" y="4956744"/>
                    <a:pt x="8088050" y="4960714"/>
                  </a:cubicBezTo>
                  <a:lnTo>
                    <a:pt x="8088050" y="4961094"/>
                  </a:lnTo>
                  <a:cubicBezTo>
                    <a:pt x="8104858" y="4964811"/>
                    <a:pt x="8113263" y="4975242"/>
                    <a:pt x="8113263" y="4992388"/>
                  </a:cubicBezTo>
                  <a:lnTo>
                    <a:pt x="8113263" y="5027735"/>
                  </a:lnTo>
                  <a:cubicBezTo>
                    <a:pt x="8113263" y="5036773"/>
                    <a:pt x="8114762" y="5043212"/>
                    <a:pt x="8117760" y="5047055"/>
                  </a:cubicBezTo>
                  <a:cubicBezTo>
                    <a:pt x="8120758" y="5050899"/>
                    <a:pt x="8125974" y="5052905"/>
                    <a:pt x="8133407" y="5053074"/>
                  </a:cubicBezTo>
                  <a:lnTo>
                    <a:pt x="8133407" y="5072584"/>
                  </a:lnTo>
                  <a:cubicBezTo>
                    <a:pt x="8103338" y="5072246"/>
                    <a:pt x="8088304" y="5059408"/>
                    <a:pt x="8088304" y="5034070"/>
                  </a:cubicBezTo>
                  <a:lnTo>
                    <a:pt x="8088304" y="4996695"/>
                  </a:lnTo>
                  <a:cubicBezTo>
                    <a:pt x="8088304" y="4979971"/>
                    <a:pt x="8081716" y="4971188"/>
                    <a:pt x="8068540" y="4970343"/>
                  </a:cubicBezTo>
                  <a:lnTo>
                    <a:pt x="8068540" y="4951846"/>
                  </a:lnTo>
                  <a:cubicBezTo>
                    <a:pt x="8081716" y="4951001"/>
                    <a:pt x="8088304" y="4942048"/>
                    <a:pt x="8088304" y="4924986"/>
                  </a:cubicBezTo>
                  <a:lnTo>
                    <a:pt x="8088304" y="4888626"/>
                  </a:lnTo>
                  <a:cubicBezTo>
                    <a:pt x="8088304" y="4862949"/>
                    <a:pt x="8103338" y="4849942"/>
                    <a:pt x="8133407" y="4849604"/>
                  </a:cubicBezTo>
                  <a:close/>
                  <a:moveTo>
                    <a:pt x="5096170" y="4849604"/>
                  </a:moveTo>
                  <a:cubicBezTo>
                    <a:pt x="5126070" y="4849942"/>
                    <a:pt x="5141019" y="4862949"/>
                    <a:pt x="5141019" y="4888626"/>
                  </a:cubicBezTo>
                  <a:lnTo>
                    <a:pt x="5141019" y="4924986"/>
                  </a:lnTo>
                  <a:cubicBezTo>
                    <a:pt x="5141019" y="4942048"/>
                    <a:pt x="5147565" y="4951001"/>
                    <a:pt x="5160658" y="4951846"/>
                  </a:cubicBezTo>
                  <a:lnTo>
                    <a:pt x="5160658" y="4970343"/>
                  </a:lnTo>
                  <a:cubicBezTo>
                    <a:pt x="5147565" y="4971188"/>
                    <a:pt x="5141019" y="4979971"/>
                    <a:pt x="5141019" y="4996695"/>
                  </a:cubicBezTo>
                  <a:lnTo>
                    <a:pt x="5141019" y="5034070"/>
                  </a:lnTo>
                  <a:cubicBezTo>
                    <a:pt x="5141019" y="5059408"/>
                    <a:pt x="5126070" y="5072246"/>
                    <a:pt x="5096170" y="5072584"/>
                  </a:cubicBezTo>
                  <a:lnTo>
                    <a:pt x="5096170" y="5053074"/>
                  </a:lnTo>
                  <a:cubicBezTo>
                    <a:pt x="5103519" y="5052905"/>
                    <a:pt x="5108733" y="5050878"/>
                    <a:pt x="5111817" y="5046992"/>
                  </a:cubicBezTo>
                  <a:cubicBezTo>
                    <a:pt x="5114899" y="5043107"/>
                    <a:pt x="5116441" y="5036688"/>
                    <a:pt x="5116441" y="5027735"/>
                  </a:cubicBezTo>
                  <a:lnTo>
                    <a:pt x="5116441" y="4992388"/>
                  </a:lnTo>
                  <a:cubicBezTo>
                    <a:pt x="5116441" y="4975242"/>
                    <a:pt x="5124760" y="4964811"/>
                    <a:pt x="5141399" y="4961094"/>
                  </a:cubicBezTo>
                  <a:lnTo>
                    <a:pt x="5141399" y="4960714"/>
                  </a:lnTo>
                  <a:cubicBezTo>
                    <a:pt x="5124760" y="4956744"/>
                    <a:pt x="5116441" y="4946229"/>
                    <a:pt x="5116441" y="4929168"/>
                  </a:cubicBezTo>
                  <a:lnTo>
                    <a:pt x="5116441" y="4893440"/>
                  </a:lnTo>
                  <a:cubicBezTo>
                    <a:pt x="5116441" y="4877646"/>
                    <a:pt x="5109684" y="4869579"/>
                    <a:pt x="5096170" y="4869242"/>
                  </a:cubicBezTo>
                  <a:close/>
                  <a:moveTo>
                    <a:pt x="5078686" y="4849604"/>
                  </a:moveTo>
                  <a:lnTo>
                    <a:pt x="5078686" y="4869242"/>
                  </a:lnTo>
                  <a:cubicBezTo>
                    <a:pt x="5065256" y="4869579"/>
                    <a:pt x="5058542" y="4877646"/>
                    <a:pt x="5058542" y="4893440"/>
                  </a:cubicBezTo>
                  <a:lnTo>
                    <a:pt x="5058542" y="4929168"/>
                  </a:lnTo>
                  <a:cubicBezTo>
                    <a:pt x="5058542" y="4946229"/>
                    <a:pt x="5050137" y="4956744"/>
                    <a:pt x="5033329" y="4960714"/>
                  </a:cubicBezTo>
                  <a:lnTo>
                    <a:pt x="5033329" y="4961094"/>
                  </a:lnTo>
                  <a:cubicBezTo>
                    <a:pt x="5050137" y="4964811"/>
                    <a:pt x="5058542" y="4975242"/>
                    <a:pt x="5058542" y="4992388"/>
                  </a:cubicBezTo>
                  <a:lnTo>
                    <a:pt x="5058542" y="5027735"/>
                  </a:lnTo>
                  <a:cubicBezTo>
                    <a:pt x="5058542" y="5036773"/>
                    <a:pt x="5060042" y="5043212"/>
                    <a:pt x="5063039" y="5047055"/>
                  </a:cubicBezTo>
                  <a:cubicBezTo>
                    <a:pt x="5066037" y="5050899"/>
                    <a:pt x="5071253" y="5052905"/>
                    <a:pt x="5078686" y="5053074"/>
                  </a:cubicBezTo>
                  <a:lnTo>
                    <a:pt x="5078686" y="5072584"/>
                  </a:lnTo>
                  <a:cubicBezTo>
                    <a:pt x="5048617" y="5072246"/>
                    <a:pt x="5033583" y="5059408"/>
                    <a:pt x="5033583" y="5034070"/>
                  </a:cubicBezTo>
                  <a:lnTo>
                    <a:pt x="5033583" y="4996695"/>
                  </a:lnTo>
                  <a:cubicBezTo>
                    <a:pt x="5033583" y="4979971"/>
                    <a:pt x="5026995" y="4971188"/>
                    <a:pt x="5013819" y="4970343"/>
                  </a:cubicBezTo>
                  <a:lnTo>
                    <a:pt x="5013819" y="4951846"/>
                  </a:lnTo>
                  <a:cubicBezTo>
                    <a:pt x="5026995" y="4951001"/>
                    <a:pt x="5033583" y="4942048"/>
                    <a:pt x="5033583" y="4924986"/>
                  </a:cubicBezTo>
                  <a:lnTo>
                    <a:pt x="5033583" y="4888626"/>
                  </a:lnTo>
                  <a:cubicBezTo>
                    <a:pt x="5033583" y="4862949"/>
                    <a:pt x="5048617" y="4849942"/>
                    <a:pt x="5078686" y="4849604"/>
                  </a:cubicBezTo>
                  <a:close/>
                  <a:moveTo>
                    <a:pt x="2067894" y="4849604"/>
                  </a:moveTo>
                  <a:cubicBezTo>
                    <a:pt x="2097794" y="4849942"/>
                    <a:pt x="2112743" y="4862949"/>
                    <a:pt x="2112743" y="4888626"/>
                  </a:cubicBezTo>
                  <a:lnTo>
                    <a:pt x="2112743" y="4924986"/>
                  </a:lnTo>
                  <a:cubicBezTo>
                    <a:pt x="2112743" y="4942048"/>
                    <a:pt x="2119289" y="4951001"/>
                    <a:pt x="2132381" y="4951846"/>
                  </a:cubicBezTo>
                  <a:lnTo>
                    <a:pt x="2132381" y="4970343"/>
                  </a:lnTo>
                  <a:cubicBezTo>
                    <a:pt x="2119289" y="4971188"/>
                    <a:pt x="2112743" y="4979971"/>
                    <a:pt x="2112743" y="4996695"/>
                  </a:cubicBezTo>
                  <a:lnTo>
                    <a:pt x="2112743" y="5034070"/>
                  </a:lnTo>
                  <a:cubicBezTo>
                    <a:pt x="2112743" y="5059408"/>
                    <a:pt x="2097794" y="5072246"/>
                    <a:pt x="2067894" y="5072584"/>
                  </a:cubicBezTo>
                  <a:lnTo>
                    <a:pt x="2067894" y="5053074"/>
                  </a:lnTo>
                  <a:cubicBezTo>
                    <a:pt x="2075242" y="5052905"/>
                    <a:pt x="2080458" y="5050878"/>
                    <a:pt x="2083541" y="5046992"/>
                  </a:cubicBezTo>
                  <a:cubicBezTo>
                    <a:pt x="2086624" y="5043107"/>
                    <a:pt x="2088165" y="5036688"/>
                    <a:pt x="2088165" y="5027735"/>
                  </a:cubicBezTo>
                  <a:lnTo>
                    <a:pt x="2088165" y="4992388"/>
                  </a:lnTo>
                  <a:cubicBezTo>
                    <a:pt x="2088165" y="4975242"/>
                    <a:pt x="2096485" y="4964811"/>
                    <a:pt x="2113123" y="4961094"/>
                  </a:cubicBezTo>
                  <a:lnTo>
                    <a:pt x="2113123" y="4960714"/>
                  </a:lnTo>
                  <a:cubicBezTo>
                    <a:pt x="2096485" y="4956744"/>
                    <a:pt x="2088165" y="4946229"/>
                    <a:pt x="2088165" y="4929168"/>
                  </a:cubicBezTo>
                  <a:lnTo>
                    <a:pt x="2088165" y="4893440"/>
                  </a:lnTo>
                  <a:cubicBezTo>
                    <a:pt x="2088165" y="4877646"/>
                    <a:pt x="2081408" y="4869579"/>
                    <a:pt x="2067894" y="4869242"/>
                  </a:cubicBezTo>
                  <a:close/>
                  <a:moveTo>
                    <a:pt x="2050410" y="4849604"/>
                  </a:moveTo>
                  <a:lnTo>
                    <a:pt x="2050410" y="4869242"/>
                  </a:lnTo>
                  <a:cubicBezTo>
                    <a:pt x="2036981" y="4869579"/>
                    <a:pt x="2030266" y="4877646"/>
                    <a:pt x="2030266" y="4893440"/>
                  </a:cubicBezTo>
                  <a:lnTo>
                    <a:pt x="2030266" y="4929168"/>
                  </a:lnTo>
                  <a:cubicBezTo>
                    <a:pt x="2030266" y="4946229"/>
                    <a:pt x="2021862" y="4956744"/>
                    <a:pt x="2005053" y="4960714"/>
                  </a:cubicBezTo>
                  <a:lnTo>
                    <a:pt x="2005053" y="4961094"/>
                  </a:lnTo>
                  <a:cubicBezTo>
                    <a:pt x="2021862" y="4964811"/>
                    <a:pt x="2030266" y="4975242"/>
                    <a:pt x="2030266" y="4992388"/>
                  </a:cubicBezTo>
                  <a:lnTo>
                    <a:pt x="2030266" y="5027735"/>
                  </a:lnTo>
                  <a:cubicBezTo>
                    <a:pt x="2030266" y="5036773"/>
                    <a:pt x="2031765" y="5043212"/>
                    <a:pt x="2034764" y="5047055"/>
                  </a:cubicBezTo>
                  <a:cubicBezTo>
                    <a:pt x="2037762" y="5050899"/>
                    <a:pt x="2042978" y="5052905"/>
                    <a:pt x="2050410" y="5053074"/>
                  </a:cubicBezTo>
                  <a:lnTo>
                    <a:pt x="2050410" y="5072584"/>
                  </a:lnTo>
                  <a:cubicBezTo>
                    <a:pt x="2020341" y="5072246"/>
                    <a:pt x="2005307" y="5059408"/>
                    <a:pt x="2005307" y="5034070"/>
                  </a:cubicBezTo>
                  <a:lnTo>
                    <a:pt x="2005307" y="4996695"/>
                  </a:lnTo>
                  <a:cubicBezTo>
                    <a:pt x="2005307" y="4979971"/>
                    <a:pt x="1998718" y="4971188"/>
                    <a:pt x="1985542" y="4970343"/>
                  </a:cubicBezTo>
                  <a:lnTo>
                    <a:pt x="1985542" y="4951846"/>
                  </a:lnTo>
                  <a:cubicBezTo>
                    <a:pt x="1998718" y="4951001"/>
                    <a:pt x="2005307" y="4942048"/>
                    <a:pt x="2005307" y="4924986"/>
                  </a:cubicBezTo>
                  <a:lnTo>
                    <a:pt x="2005307" y="4888626"/>
                  </a:lnTo>
                  <a:cubicBezTo>
                    <a:pt x="2005307" y="4862949"/>
                    <a:pt x="2020341" y="4849942"/>
                    <a:pt x="2050410" y="4849604"/>
                  </a:cubicBezTo>
                  <a:close/>
                  <a:moveTo>
                    <a:pt x="11192939" y="4509400"/>
                  </a:moveTo>
                  <a:cubicBezTo>
                    <a:pt x="11222839" y="4509738"/>
                    <a:pt x="11237788" y="4522745"/>
                    <a:pt x="11237788" y="4548421"/>
                  </a:cubicBezTo>
                  <a:lnTo>
                    <a:pt x="11237788" y="4584782"/>
                  </a:lnTo>
                  <a:cubicBezTo>
                    <a:pt x="11237788" y="4601844"/>
                    <a:pt x="11244334" y="4610796"/>
                    <a:pt x="11257426" y="4611641"/>
                  </a:cubicBezTo>
                  <a:lnTo>
                    <a:pt x="11257426" y="4630138"/>
                  </a:lnTo>
                  <a:cubicBezTo>
                    <a:pt x="11244334" y="4630983"/>
                    <a:pt x="11237788" y="4639767"/>
                    <a:pt x="11237788" y="4656491"/>
                  </a:cubicBezTo>
                  <a:lnTo>
                    <a:pt x="11237788" y="4693865"/>
                  </a:lnTo>
                  <a:cubicBezTo>
                    <a:pt x="11237788" y="4719204"/>
                    <a:pt x="11222839" y="4732042"/>
                    <a:pt x="11192939" y="4732380"/>
                  </a:cubicBezTo>
                  <a:lnTo>
                    <a:pt x="11192939" y="4712869"/>
                  </a:lnTo>
                  <a:cubicBezTo>
                    <a:pt x="11200287" y="4712700"/>
                    <a:pt x="11205503" y="4710673"/>
                    <a:pt x="11208586" y="4706788"/>
                  </a:cubicBezTo>
                  <a:cubicBezTo>
                    <a:pt x="11211668" y="4702902"/>
                    <a:pt x="11213210" y="4696483"/>
                    <a:pt x="11213210" y="4687531"/>
                  </a:cubicBezTo>
                  <a:lnTo>
                    <a:pt x="11213210" y="4652183"/>
                  </a:lnTo>
                  <a:cubicBezTo>
                    <a:pt x="11213210" y="4635037"/>
                    <a:pt x="11221530" y="4624606"/>
                    <a:pt x="11238169" y="4620890"/>
                  </a:cubicBezTo>
                  <a:lnTo>
                    <a:pt x="11238169" y="4620510"/>
                  </a:lnTo>
                  <a:cubicBezTo>
                    <a:pt x="11221530" y="4616540"/>
                    <a:pt x="11213210" y="4606025"/>
                    <a:pt x="11213210" y="4588963"/>
                  </a:cubicBezTo>
                  <a:lnTo>
                    <a:pt x="11213210" y="4553236"/>
                  </a:lnTo>
                  <a:cubicBezTo>
                    <a:pt x="11213210" y="4537441"/>
                    <a:pt x="11206453" y="4529375"/>
                    <a:pt x="11192939" y="4529037"/>
                  </a:cubicBezTo>
                  <a:close/>
                  <a:moveTo>
                    <a:pt x="11175455" y="4509400"/>
                  </a:moveTo>
                  <a:lnTo>
                    <a:pt x="11175455" y="4529037"/>
                  </a:lnTo>
                  <a:cubicBezTo>
                    <a:pt x="11162026" y="4529375"/>
                    <a:pt x="11155311" y="4537441"/>
                    <a:pt x="11155311" y="4553236"/>
                  </a:cubicBezTo>
                  <a:lnTo>
                    <a:pt x="11155311" y="4588963"/>
                  </a:lnTo>
                  <a:cubicBezTo>
                    <a:pt x="11155311" y="4606025"/>
                    <a:pt x="11146907" y="4616540"/>
                    <a:pt x="11130099" y="4620510"/>
                  </a:cubicBezTo>
                  <a:lnTo>
                    <a:pt x="11130099" y="4620890"/>
                  </a:lnTo>
                  <a:cubicBezTo>
                    <a:pt x="11146907" y="4624606"/>
                    <a:pt x="11155311" y="4635037"/>
                    <a:pt x="11155311" y="4652183"/>
                  </a:cubicBezTo>
                  <a:lnTo>
                    <a:pt x="11155311" y="4687531"/>
                  </a:lnTo>
                  <a:cubicBezTo>
                    <a:pt x="11155311" y="4696568"/>
                    <a:pt x="11156810" y="4703008"/>
                    <a:pt x="11159809" y="4706851"/>
                  </a:cubicBezTo>
                  <a:cubicBezTo>
                    <a:pt x="11162807" y="4710694"/>
                    <a:pt x="11168022" y="4712700"/>
                    <a:pt x="11175455" y="4712869"/>
                  </a:cubicBezTo>
                  <a:lnTo>
                    <a:pt x="11175455" y="4732380"/>
                  </a:lnTo>
                  <a:cubicBezTo>
                    <a:pt x="11145386" y="4732042"/>
                    <a:pt x="11130352" y="4719204"/>
                    <a:pt x="11130352" y="4693865"/>
                  </a:cubicBezTo>
                  <a:lnTo>
                    <a:pt x="11130352" y="4656491"/>
                  </a:lnTo>
                  <a:cubicBezTo>
                    <a:pt x="11130352" y="4639767"/>
                    <a:pt x="11123764" y="4630983"/>
                    <a:pt x="11110588" y="4630138"/>
                  </a:cubicBezTo>
                  <a:lnTo>
                    <a:pt x="11110588" y="4611641"/>
                  </a:lnTo>
                  <a:cubicBezTo>
                    <a:pt x="11123764" y="4610796"/>
                    <a:pt x="11130352" y="4601844"/>
                    <a:pt x="11130352" y="4584782"/>
                  </a:cubicBezTo>
                  <a:lnTo>
                    <a:pt x="11130352" y="4548421"/>
                  </a:lnTo>
                  <a:cubicBezTo>
                    <a:pt x="11130352" y="4522745"/>
                    <a:pt x="11145386" y="4509738"/>
                    <a:pt x="11175455" y="4509400"/>
                  </a:cubicBezTo>
                  <a:close/>
                  <a:moveTo>
                    <a:pt x="8152583" y="4509400"/>
                  </a:moveTo>
                  <a:cubicBezTo>
                    <a:pt x="8182483" y="4509738"/>
                    <a:pt x="8197432" y="4522745"/>
                    <a:pt x="8197432" y="4548422"/>
                  </a:cubicBezTo>
                  <a:lnTo>
                    <a:pt x="8197432" y="4584782"/>
                  </a:lnTo>
                  <a:cubicBezTo>
                    <a:pt x="8197432" y="4601844"/>
                    <a:pt x="8203978" y="4610797"/>
                    <a:pt x="8217070" y="4611642"/>
                  </a:cubicBezTo>
                  <a:lnTo>
                    <a:pt x="8217070" y="4630139"/>
                  </a:lnTo>
                  <a:cubicBezTo>
                    <a:pt x="8203978" y="4630984"/>
                    <a:pt x="8197432" y="4639767"/>
                    <a:pt x="8197432" y="4656491"/>
                  </a:cubicBezTo>
                  <a:lnTo>
                    <a:pt x="8197432" y="4693866"/>
                  </a:lnTo>
                  <a:cubicBezTo>
                    <a:pt x="8197432" y="4719204"/>
                    <a:pt x="8182483" y="4732042"/>
                    <a:pt x="8152583" y="4732380"/>
                  </a:cubicBezTo>
                  <a:lnTo>
                    <a:pt x="8152583" y="4712870"/>
                  </a:lnTo>
                  <a:cubicBezTo>
                    <a:pt x="8159931" y="4712701"/>
                    <a:pt x="8165147" y="4710674"/>
                    <a:pt x="8168230" y="4706788"/>
                  </a:cubicBezTo>
                  <a:cubicBezTo>
                    <a:pt x="8171312" y="4702903"/>
                    <a:pt x="8172854" y="4696484"/>
                    <a:pt x="8172854" y="4687531"/>
                  </a:cubicBezTo>
                  <a:lnTo>
                    <a:pt x="8172854" y="4652184"/>
                  </a:lnTo>
                  <a:cubicBezTo>
                    <a:pt x="8172854" y="4635038"/>
                    <a:pt x="8181174" y="4624607"/>
                    <a:pt x="8197813" y="4620890"/>
                  </a:cubicBezTo>
                  <a:lnTo>
                    <a:pt x="8197813" y="4620510"/>
                  </a:lnTo>
                  <a:cubicBezTo>
                    <a:pt x="8181174" y="4616540"/>
                    <a:pt x="8172854" y="4606025"/>
                    <a:pt x="8172854" y="4588964"/>
                  </a:cubicBezTo>
                  <a:lnTo>
                    <a:pt x="8172854" y="4553236"/>
                  </a:lnTo>
                  <a:cubicBezTo>
                    <a:pt x="8172854" y="4537442"/>
                    <a:pt x="8166097" y="4529375"/>
                    <a:pt x="8152583" y="4529038"/>
                  </a:cubicBezTo>
                  <a:close/>
                  <a:moveTo>
                    <a:pt x="8135099" y="4509400"/>
                  </a:moveTo>
                  <a:lnTo>
                    <a:pt x="8135099" y="4529038"/>
                  </a:lnTo>
                  <a:cubicBezTo>
                    <a:pt x="8121669" y="4529375"/>
                    <a:pt x="8114955" y="4537442"/>
                    <a:pt x="8114955" y="4553236"/>
                  </a:cubicBezTo>
                  <a:lnTo>
                    <a:pt x="8114955" y="4588964"/>
                  </a:lnTo>
                  <a:cubicBezTo>
                    <a:pt x="8114955" y="4606025"/>
                    <a:pt x="8106550" y="4616540"/>
                    <a:pt x="8089742" y="4620510"/>
                  </a:cubicBezTo>
                  <a:lnTo>
                    <a:pt x="8089742" y="4620890"/>
                  </a:lnTo>
                  <a:cubicBezTo>
                    <a:pt x="8106550" y="4624607"/>
                    <a:pt x="8114955" y="4635038"/>
                    <a:pt x="8114955" y="4652184"/>
                  </a:cubicBezTo>
                  <a:lnTo>
                    <a:pt x="8114955" y="4687531"/>
                  </a:lnTo>
                  <a:cubicBezTo>
                    <a:pt x="8114955" y="4696569"/>
                    <a:pt x="8116454" y="4703008"/>
                    <a:pt x="8119452" y="4706851"/>
                  </a:cubicBezTo>
                  <a:cubicBezTo>
                    <a:pt x="8122450" y="4710695"/>
                    <a:pt x="8127666" y="4712701"/>
                    <a:pt x="8135099" y="4712870"/>
                  </a:cubicBezTo>
                  <a:lnTo>
                    <a:pt x="8135099" y="4732380"/>
                  </a:lnTo>
                  <a:cubicBezTo>
                    <a:pt x="8105030" y="4732042"/>
                    <a:pt x="8089996" y="4719204"/>
                    <a:pt x="8089996" y="4693866"/>
                  </a:cubicBezTo>
                  <a:lnTo>
                    <a:pt x="8089996" y="4656491"/>
                  </a:lnTo>
                  <a:cubicBezTo>
                    <a:pt x="8089996" y="4639767"/>
                    <a:pt x="8083408" y="4630984"/>
                    <a:pt x="8070232" y="4630139"/>
                  </a:cubicBezTo>
                  <a:lnTo>
                    <a:pt x="8070232" y="4611642"/>
                  </a:lnTo>
                  <a:cubicBezTo>
                    <a:pt x="8083408" y="4610797"/>
                    <a:pt x="8089996" y="4601844"/>
                    <a:pt x="8089996" y="4584782"/>
                  </a:cubicBezTo>
                  <a:lnTo>
                    <a:pt x="8089996" y="4548422"/>
                  </a:lnTo>
                  <a:cubicBezTo>
                    <a:pt x="8089996" y="4522745"/>
                    <a:pt x="8105030" y="4509738"/>
                    <a:pt x="8135099" y="4509400"/>
                  </a:cubicBezTo>
                  <a:close/>
                  <a:moveTo>
                    <a:pt x="5097862" y="4509400"/>
                  </a:moveTo>
                  <a:cubicBezTo>
                    <a:pt x="5127762" y="4509738"/>
                    <a:pt x="5142711" y="4522745"/>
                    <a:pt x="5142711" y="4548422"/>
                  </a:cubicBezTo>
                  <a:lnTo>
                    <a:pt x="5142711" y="4584782"/>
                  </a:lnTo>
                  <a:cubicBezTo>
                    <a:pt x="5142711" y="4601844"/>
                    <a:pt x="5149258" y="4610797"/>
                    <a:pt x="5162349" y="4611642"/>
                  </a:cubicBezTo>
                  <a:lnTo>
                    <a:pt x="5162349" y="4630139"/>
                  </a:lnTo>
                  <a:cubicBezTo>
                    <a:pt x="5149258" y="4630984"/>
                    <a:pt x="5142711" y="4639767"/>
                    <a:pt x="5142711" y="4656491"/>
                  </a:cubicBezTo>
                  <a:lnTo>
                    <a:pt x="5142711" y="4693866"/>
                  </a:lnTo>
                  <a:cubicBezTo>
                    <a:pt x="5142711" y="4719204"/>
                    <a:pt x="5127762" y="4732042"/>
                    <a:pt x="5097862" y="4732380"/>
                  </a:cubicBezTo>
                  <a:lnTo>
                    <a:pt x="5097862" y="4712870"/>
                  </a:lnTo>
                  <a:cubicBezTo>
                    <a:pt x="5105210" y="4712701"/>
                    <a:pt x="5110426" y="4710674"/>
                    <a:pt x="5113508" y="4706788"/>
                  </a:cubicBezTo>
                  <a:cubicBezTo>
                    <a:pt x="5116591" y="4702903"/>
                    <a:pt x="5118133" y="4696484"/>
                    <a:pt x="5118133" y="4687531"/>
                  </a:cubicBezTo>
                  <a:lnTo>
                    <a:pt x="5118133" y="4652184"/>
                  </a:lnTo>
                  <a:cubicBezTo>
                    <a:pt x="5118133" y="4635038"/>
                    <a:pt x="5126452" y="4624607"/>
                    <a:pt x="5143092" y="4620890"/>
                  </a:cubicBezTo>
                  <a:lnTo>
                    <a:pt x="5143092" y="4620510"/>
                  </a:lnTo>
                  <a:cubicBezTo>
                    <a:pt x="5126452" y="4616540"/>
                    <a:pt x="5118133" y="4606025"/>
                    <a:pt x="5118133" y="4588964"/>
                  </a:cubicBezTo>
                  <a:lnTo>
                    <a:pt x="5118133" y="4553236"/>
                  </a:lnTo>
                  <a:cubicBezTo>
                    <a:pt x="5118133" y="4537442"/>
                    <a:pt x="5111376" y="4529375"/>
                    <a:pt x="5097862" y="4529038"/>
                  </a:cubicBezTo>
                  <a:close/>
                  <a:moveTo>
                    <a:pt x="5080378" y="4509400"/>
                  </a:moveTo>
                  <a:lnTo>
                    <a:pt x="5080378" y="4529038"/>
                  </a:lnTo>
                  <a:cubicBezTo>
                    <a:pt x="5066948" y="4529375"/>
                    <a:pt x="5060234" y="4537442"/>
                    <a:pt x="5060234" y="4553236"/>
                  </a:cubicBezTo>
                  <a:lnTo>
                    <a:pt x="5060234" y="4588964"/>
                  </a:lnTo>
                  <a:cubicBezTo>
                    <a:pt x="5060234" y="4606025"/>
                    <a:pt x="5051829" y="4616540"/>
                    <a:pt x="5035021" y="4620510"/>
                  </a:cubicBezTo>
                  <a:lnTo>
                    <a:pt x="5035021" y="4620890"/>
                  </a:lnTo>
                  <a:cubicBezTo>
                    <a:pt x="5051829" y="4624607"/>
                    <a:pt x="5060234" y="4635038"/>
                    <a:pt x="5060234" y="4652184"/>
                  </a:cubicBezTo>
                  <a:lnTo>
                    <a:pt x="5060234" y="4687531"/>
                  </a:lnTo>
                  <a:cubicBezTo>
                    <a:pt x="5060234" y="4696569"/>
                    <a:pt x="5061733" y="4703008"/>
                    <a:pt x="5064731" y="4706851"/>
                  </a:cubicBezTo>
                  <a:cubicBezTo>
                    <a:pt x="5067730" y="4710695"/>
                    <a:pt x="5072946" y="4712701"/>
                    <a:pt x="5080378" y="4712870"/>
                  </a:cubicBezTo>
                  <a:lnTo>
                    <a:pt x="5080378" y="4732380"/>
                  </a:lnTo>
                  <a:cubicBezTo>
                    <a:pt x="5050309" y="4732042"/>
                    <a:pt x="5035275" y="4719204"/>
                    <a:pt x="5035275" y="4693866"/>
                  </a:cubicBezTo>
                  <a:lnTo>
                    <a:pt x="5035275" y="4656491"/>
                  </a:lnTo>
                  <a:cubicBezTo>
                    <a:pt x="5035275" y="4639767"/>
                    <a:pt x="5028687" y="4630984"/>
                    <a:pt x="5015511" y="4630139"/>
                  </a:cubicBezTo>
                  <a:lnTo>
                    <a:pt x="5015511" y="4611642"/>
                  </a:lnTo>
                  <a:cubicBezTo>
                    <a:pt x="5028687" y="4610797"/>
                    <a:pt x="5035275" y="4601844"/>
                    <a:pt x="5035275" y="4584782"/>
                  </a:cubicBezTo>
                  <a:lnTo>
                    <a:pt x="5035275" y="4548422"/>
                  </a:lnTo>
                  <a:cubicBezTo>
                    <a:pt x="5035275" y="4522745"/>
                    <a:pt x="5050309" y="4509738"/>
                    <a:pt x="5080378" y="4509400"/>
                  </a:cubicBezTo>
                  <a:close/>
                  <a:moveTo>
                    <a:pt x="2069587" y="4509400"/>
                  </a:moveTo>
                  <a:cubicBezTo>
                    <a:pt x="2099486" y="4509738"/>
                    <a:pt x="2114436" y="4522745"/>
                    <a:pt x="2114436" y="4548422"/>
                  </a:cubicBezTo>
                  <a:lnTo>
                    <a:pt x="2114436" y="4584782"/>
                  </a:lnTo>
                  <a:cubicBezTo>
                    <a:pt x="2114436" y="4601844"/>
                    <a:pt x="2120981" y="4610797"/>
                    <a:pt x="2134073" y="4611642"/>
                  </a:cubicBezTo>
                  <a:lnTo>
                    <a:pt x="2134073" y="4630139"/>
                  </a:lnTo>
                  <a:cubicBezTo>
                    <a:pt x="2120981" y="4630984"/>
                    <a:pt x="2114436" y="4639767"/>
                    <a:pt x="2114436" y="4656491"/>
                  </a:cubicBezTo>
                  <a:lnTo>
                    <a:pt x="2114436" y="4693866"/>
                  </a:lnTo>
                  <a:cubicBezTo>
                    <a:pt x="2114436" y="4719204"/>
                    <a:pt x="2099486" y="4732042"/>
                    <a:pt x="2069587" y="4732380"/>
                  </a:cubicBezTo>
                  <a:lnTo>
                    <a:pt x="2069587" y="4712870"/>
                  </a:lnTo>
                  <a:cubicBezTo>
                    <a:pt x="2076935" y="4712701"/>
                    <a:pt x="2082150" y="4710674"/>
                    <a:pt x="2085232" y="4706788"/>
                  </a:cubicBezTo>
                  <a:cubicBezTo>
                    <a:pt x="2088316" y="4702903"/>
                    <a:pt x="2089857" y="4696484"/>
                    <a:pt x="2089857" y="4687531"/>
                  </a:cubicBezTo>
                  <a:lnTo>
                    <a:pt x="2089857" y="4652184"/>
                  </a:lnTo>
                  <a:cubicBezTo>
                    <a:pt x="2089857" y="4635038"/>
                    <a:pt x="2098177" y="4624607"/>
                    <a:pt x="2114816" y="4620890"/>
                  </a:cubicBezTo>
                  <a:lnTo>
                    <a:pt x="2114816" y="4620510"/>
                  </a:lnTo>
                  <a:cubicBezTo>
                    <a:pt x="2098177" y="4616540"/>
                    <a:pt x="2089857" y="4606025"/>
                    <a:pt x="2089857" y="4588964"/>
                  </a:cubicBezTo>
                  <a:lnTo>
                    <a:pt x="2089857" y="4553236"/>
                  </a:lnTo>
                  <a:cubicBezTo>
                    <a:pt x="2089857" y="4537442"/>
                    <a:pt x="2083100" y="4529375"/>
                    <a:pt x="2069587" y="4529038"/>
                  </a:cubicBezTo>
                  <a:close/>
                  <a:moveTo>
                    <a:pt x="2052102" y="4509400"/>
                  </a:moveTo>
                  <a:lnTo>
                    <a:pt x="2052102" y="4529038"/>
                  </a:lnTo>
                  <a:cubicBezTo>
                    <a:pt x="2038673" y="4529375"/>
                    <a:pt x="2031958" y="4537442"/>
                    <a:pt x="2031958" y="4553236"/>
                  </a:cubicBezTo>
                  <a:lnTo>
                    <a:pt x="2031958" y="4588964"/>
                  </a:lnTo>
                  <a:cubicBezTo>
                    <a:pt x="2031958" y="4606025"/>
                    <a:pt x="2023554" y="4616540"/>
                    <a:pt x="2006745" y="4620510"/>
                  </a:cubicBezTo>
                  <a:lnTo>
                    <a:pt x="2006745" y="4620890"/>
                  </a:lnTo>
                  <a:cubicBezTo>
                    <a:pt x="2023554" y="4624607"/>
                    <a:pt x="2031958" y="4635038"/>
                    <a:pt x="2031958" y="4652184"/>
                  </a:cubicBezTo>
                  <a:lnTo>
                    <a:pt x="2031958" y="4687531"/>
                  </a:lnTo>
                  <a:cubicBezTo>
                    <a:pt x="2031958" y="4696569"/>
                    <a:pt x="2033457" y="4703008"/>
                    <a:pt x="2036456" y="4706851"/>
                  </a:cubicBezTo>
                  <a:cubicBezTo>
                    <a:pt x="2039454" y="4710695"/>
                    <a:pt x="2044670" y="4712701"/>
                    <a:pt x="2052102" y="4712870"/>
                  </a:cubicBezTo>
                  <a:lnTo>
                    <a:pt x="2052102" y="4732380"/>
                  </a:lnTo>
                  <a:cubicBezTo>
                    <a:pt x="2022033" y="4732042"/>
                    <a:pt x="2006999" y="4719204"/>
                    <a:pt x="2006999" y="4693866"/>
                  </a:cubicBezTo>
                  <a:lnTo>
                    <a:pt x="2006999" y="4656491"/>
                  </a:lnTo>
                  <a:cubicBezTo>
                    <a:pt x="2006999" y="4639767"/>
                    <a:pt x="2000410" y="4630984"/>
                    <a:pt x="1987235" y="4630139"/>
                  </a:cubicBezTo>
                  <a:lnTo>
                    <a:pt x="1987235" y="4611642"/>
                  </a:lnTo>
                  <a:cubicBezTo>
                    <a:pt x="2000410" y="4610797"/>
                    <a:pt x="2006999" y="4601844"/>
                    <a:pt x="2006999" y="4584782"/>
                  </a:cubicBezTo>
                  <a:lnTo>
                    <a:pt x="2006999" y="4548422"/>
                  </a:lnTo>
                  <a:cubicBezTo>
                    <a:pt x="2006999" y="4522745"/>
                    <a:pt x="2022033" y="4509738"/>
                    <a:pt x="2052102" y="4509400"/>
                  </a:cubicBezTo>
                  <a:close/>
                  <a:moveTo>
                    <a:pt x="11194631" y="4169195"/>
                  </a:moveTo>
                  <a:cubicBezTo>
                    <a:pt x="11224531" y="4169533"/>
                    <a:pt x="11239480" y="4182540"/>
                    <a:pt x="11239480" y="4208216"/>
                  </a:cubicBezTo>
                  <a:lnTo>
                    <a:pt x="11239480" y="4244577"/>
                  </a:lnTo>
                  <a:cubicBezTo>
                    <a:pt x="11239480" y="4261639"/>
                    <a:pt x="11246026" y="4270591"/>
                    <a:pt x="11259118" y="4271436"/>
                  </a:cubicBezTo>
                  <a:lnTo>
                    <a:pt x="11259118" y="4289933"/>
                  </a:lnTo>
                  <a:cubicBezTo>
                    <a:pt x="11246026" y="4290778"/>
                    <a:pt x="11239480" y="4299562"/>
                    <a:pt x="11239480" y="4316286"/>
                  </a:cubicBezTo>
                  <a:lnTo>
                    <a:pt x="11239480" y="4353660"/>
                  </a:lnTo>
                  <a:cubicBezTo>
                    <a:pt x="11239480" y="4378999"/>
                    <a:pt x="11224531" y="4391837"/>
                    <a:pt x="11194631" y="4392175"/>
                  </a:cubicBezTo>
                  <a:lnTo>
                    <a:pt x="11194631" y="4372664"/>
                  </a:lnTo>
                  <a:cubicBezTo>
                    <a:pt x="11201979" y="4372495"/>
                    <a:pt x="11207195" y="4370468"/>
                    <a:pt x="11210278" y="4366583"/>
                  </a:cubicBezTo>
                  <a:cubicBezTo>
                    <a:pt x="11213360" y="4362697"/>
                    <a:pt x="11214902" y="4356278"/>
                    <a:pt x="11214902" y="4347326"/>
                  </a:cubicBezTo>
                  <a:lnTo>
                    <a:pt x="11214902" y="4311978"/>
                  </a:lnTo>
                  <a:cubicBezTo>
                    <a:pt x="11214902" y="4294832"/>
                    <a:pt x="11223222" y="4284401"/>
                    <a:pt x="11239861" y="4280685"/>
                  </a:cubicBezTo>
                  <a:lnTo>
                    <a:pt x="11239861" y="4280305"/>
                  </a:lnTo>
                  <a:cubicBezTo>
                    <a:pt x="11223222" y="4276335"/>
                    <a:pt x="11214902" y="4265820"/>
                    <a:pt x="11214902" y="4248758"/>
                  </a:cubicBezTo>
                  <a:lnTo>
                    <a:pt x="11214902" y="4213031"/>
                  </a:lnTo>
                  <a:cubicBezTo>
                    <a:pt x="11214902" y="4197236"/>
                    <a:pt x="11208145" y="4189170"/>
                    <a:pt x="11194631" y="4188832"/>
                  </a:cubicBezTo>
                  <a:close/>
                  <a:moveTo>
                    <a:pt x="11177147" y="4169195"/>
                  </a:moveTo>
                  <a:lnTo>
                    <a:pt x="11177147" y="4188832"/>
                  </a:lnTo>
                  <a:cubicBezTo>
                    <a:pt x="11163718" y="4189170"/>
                    <a:pt x="11157003" y="4197236"/>
                    <a:pt x="11157003" y="4213031"/>
                  </a:cubicBezTo>
                  <a:lnTo>
                    <a:pt x="11157003" y="4248758"/>
                  </a:lnTo>
                  <a:cubicBezTo>
                    <a:pt x="11157003" y="4265820"/>
                    <a:pt x="11148599" y="4276335"/>
                    <a:pt x="11131791" y="4280305"/>
                  </a:cubicBezTo>
                  <a:lnTo>
                    <a:pt x="11131791" y="4280685"/>
                  </a:lnTo>
                  <a:cubicBezTo>
                    <a:pt x="11148599" y="4284401"/>
                    <a:pt x="11157003" y="4294832"/>
                    <a:pt x="11157003" y="4311978"/>
                  </a:cubicBezTo>
                  <a:lnTo>
                    <a:pt x="11157003" y="4347326"/>
                  </a:lnTo>
                  <a:cubicBezTo>
                    <a:pt x="11157003" y="4356363"/>
                    <a:pt x="11158502" y="4362803"/>
                    <a:pt x="11161501" y="4366646"/>
                  </a:cubicBezTo>
                  <a:cubicBezTo>
                    <a:pt x="11164499" y="4370489"/>
                    <a:pt x="11169714" y="4372495"/>
                    <a:pt x="11177147" y="4372664"/>
                  </a:cubicBezTo>
                  <a:lnTo>
                    <a:pt x="11177147" y="4392175"/>
                  </a:lnTo>
                  <a:cubicBezTo>
                    <a:pt x="11147078" y="4391837"/>
                    <a:pt x="11132044" y="4378999"/>
                    <a:pt x="11132044" y="4353660"/>
                  </a:cubicBezTo>
                  <a:lnTo>
                    <a:pt x="11132044" y="4316286"/>
                  </a:lnTo>
                  <a:cubicBezTo>
                    <a:pt x="11132044" y="4299562"/>
                    <a:pt x="11125456" y="4290778"/>
                    <a:pt x="11112280" y="4289933"/>
                  </a:cubicBezTo>
                  <a:lnTo>
                    <a:pt x="11112280" y="4271436"/>
                  </a:lnTo>
                  <a:cubicBezTo>
                    <a:pt x="11125456" y="4270591"/>
                    <a:pt x="11132044" y="4261639"/>
                    <a:pt x="11132044" y="4244577"/>
                  </a:cubicBezTo>
                  <a:lnTo>
                    <a:pt x="11132044" y="4208216"/>
                  </a:lnTo>
                  <a:cubicBezTo>
                    <a:pt x="11132044" y="4182540"/>
                    <a:pt x="11147078" y="4169533"/>
                    <a:pt x="11177147" y="4169195"/>
                  </a:cubicBezTo>
                  <a:close/>
                  <a:moveTo>
                    <a:pt x="8154275" y="4169195"/>
                  </a:moveTo>
                  <a:cubicBezTo>
                    <a:pt x="8184175" y="4169533"/>
                    <a:pt x="8199124" y="4182540"/>
                    <a:pt x="8199124" y="4208217"/>
                  </a:cubicBezTo>
                  <a:lnTo>
                    <a:pt x="8199124" y="4244577"/>
                  </a:lnTo>
                  <a:cubicBezTo>
                    <a:pt x="8199124" y="4261639"/>
                    <a:pt x="8205670" y="4270592"/>
                    <a:pt x="8218762" y="4271437"/>
                  </a:cubicBezTo>
                  <a:lnTo>
                    <a:pt x="8218762" y="4289934"/>
                  </a:lnTo>
                  <a:cubicBezTo>
                    <a:pt x="8205670" y="4290779"/>
                    <a:pt x="8199124" y="4299562"/>
                    <a:pt x="8199124" y="4316286"/>
                  </a:cubicBezTo>
                  <a:lnTo>
                    <a:pt x="8199124" y="4353661"/>
                  </a:lnTo>
                  <a:cubicBezTo>
                    <a:pt x="8199124" y="4378999"/>
                    <a:pt x="8184175" y="4391837"/>
                    <a:pt x="8154275" y="4392175"/>
                  </a:cubicBezTo>
                  <a:lnTo>
                    <a:pt x="8154275" y="4372665"/>
                  </a:lnTo>
                  <a:cubicBezTo>
                    <a:pt x="8161623" y="4372496"/>
                    <a:pt x="8166839" y="4370469"/>
                    <a:pt x="8169922" y="4366583"/>
                  </a:cubicBezTo>
                  <a:cubicBezTo>
                    <a:pt x="8173004" y="4362698"/>
                    <a:pt x="8174546" y="4356279"/>
                    <a:pt x="8174546" y="4347326"/>
                  </a:cubicBezTo>
                  <a:lnTo>
                    <a:pt x="8174546" y="4311979"/>
                  </a:lnTo>
                  <a:cubicBezTo>
                    <a:pt x="8174546" y="4294833"/>
                    <a:pt x="8182866" y="4284402"/>
                    <a:pt x="8199505" y="4280685"/>
                  </a:cubicBezTo>
                  <a:lnTo>
                    <a:pt x="8199505" y="4280305"/>
                  </a:lnTo>
                  <a:cubicBezTo>
                    <a:pt x="8182866" y="4276335"/>
                    <a:pt x="8174546" y="4265820"/>
                    <a:pt x="8174546" y="4248759"/>
                  </a:cubicBezTo>
                  <a:lnTo>
                    <a:pt x="8174546" y="4213031"/>
                  </a:lnTo>
                  <a:cubicBezTo>
                    <a:pt x="8174546" y="4197237"/>
                    <a:pt x="8167789" y="4189170"/>
                    <a:pt x="8154275" y="4188833"/>
                  </a:cubicBezTo>
                  <a:close/>
                  <a:moveTo>
                    <a:pt x="8136791" y="4169195"/>
                  </a:moveTo>
                  <a:lnTo>
                    <a:pt x="8136791" y="4188833"/>
                  </a:lnTo>
                  <a:cubicBezTo>
                    <a:pt x="8123361" y="4189170"/>
                    <a:pt x="8116647" y="4197237"/>
                    <a:pt x="8116647" y="4213031"/>
                  </a:cubicBezTo>
                  <a:lnTo>
                    <a:pt x="8116647" y="4248759"/>
                  </a:lnTo>
                  <a:cubicBezTo>
                    <a:pt x="8116647" y="4265820"/>
                    <a:pt x="8108242" y="4276335"/>
                    <a:pt x="8091434" y="4280305"/>
                  </a:cubicBezTo>
                  <a:lnTo>
                    <a:pt x="8091434" y="4280685"/>
                  </a:lnTo>
                  <a:cubicBezTo>
                    <a:pt x="8108242" y="4284402"/>
                    <a:pt x="8116647" y="4294833"/>
                    <a:pt x="8116647" y="4311979"/>
                  </a:cubicBezTo>
                  <a:lnTo>
                    <a:pt x="8116647" y="4347326"/>
                  </a:lnTo>
                  <a:cubicBezTo>
                    <a:pt x="8116647" y="4356364"/>
                    <a:pt x="8118146" y="4362803"/>
                    <a:pt x="8121144" y="4366646"/>
                  </a:cubicBezTo>
                  <a:cubicBezTo>
                    <a:pt x="8124142" y="4370490"/>
                    <a:pt x="8129358" y="4372496"/>
                    <a:pt x="8136791" y="4372665"/>
                  </a:cubicBezTo>
                  <a:lnTo>
                    <a:pt x="8136791" y="4392175"/>
                  </a:lnTo>
                  <a:cubicBezTo>
                    <a:pt x="8106722" y="4391837"/>
                    <a:pt x="8091688" y="4378999"/>
                    <a:pt x="8091688" y="4353661"/>
                  </a:cubicBezTo>
                  <a:lnTo>
                    <a:pt x="8091688" y="4316286"/>
                  </a:lnTo>
                  <a:cubicBezTo>
                    <a:pt x="8091688" y="4299562"/>
                    <a:pt x="8085100" y="4290779"/>
                    <a:pt x="8071924" y="4289934"/>
                  </a:cubicBezTo>
                  <a:lnTo>
                    <a:pt x="8071924" y="4271437"/>
                  </a:lnTo>
                  <a:cubicBezTo>
                    <a:pt x="8085100" y="4270592"/>
                    <a:pt x="8091688" y="4261639"/>
                    <a:pt x="8091688" y="4244577"/>
                  </a:cubicBezTo>
                  <a:lnTo>
                    <a:pt x="8091688" y="4208217"/>
                  </a:lnTo>
                  <a:cubicBezTo>
                    <a:pt x="8091688" y="4182540"/>
                    <a:pt x="8106722" y="4169533"/>
                    <a:pt x="8136791" y="4169195"/>
                  </a:cubicBezTo>
                  <a:close/>
                  <a:moveTo>
                    <a:pt x="5099554" y="4169195"/>
                  </a:moveTo>
                  <a:cubicBezTo>
                    <a:pt x="5129455" y="4169533"/>
                    <a:pt x="5144404" y="4182540"/>
                    <a:pt x="5144404" y="4208217"/>
                  </a:cubicBezTo>
                  <a:lnTo>
                    <a:pt x="5144404" y="4244577"/>
                  </a:lnTo>
                  <a:cubicBezTo>
                    <a:pt x="5144404" y="4261639"/>
                    <a:pt x="5150949" y="4270592"/>
                    <a:pt x="5164041" y="4271437"/>
                  </a:cubicBezTo>
                  <a:lnTo>
                    <a:pt x="5164041" y="4289934"/>
                  </a:lnTo>
                  <a:cubicBezTo>
                    <a:pt x="5150949" y="4290779"/>
                    <a:pt x="5144404" y="4299562"/>
                    <a:pt x="5144404" y="4316286"/>
                  </a:cubicBezTo>
                  <a:lnTo>
                    <a:pt x="5144404" y="4353661"/>
                  </a:lnTo>
                  <a:cubicBezTo>
                    <a:pt x="5144404" y="4378999"/>
                    <a:pt x="5129455" y="4391837"/>
                    <a:pt x="5099554" y="4392175"/>
                  </a:cubicBezTo>
                  <a:lnTo>
                    <a:pt x="5099554" y="4372665"/>
                  </a:lnTo>
                  <a:cubicBezTo>
                    <a:pt x="5106902" y="4372496"/>
                    <a:pt x="5112117" y="4370469"/>
                    <a:pt x="5115200" y="4366583"/>
                  </a:cubicBezTo>
                  <a:cubicBezTo>
                    <a:pt x="5118283" y="4362698"/>
                    <a:pt x="5119826" y="4356279"/>
                    <a:pt x="5119826" y="4347326"/>
                  </a:cubicBezTo>
                  <a:lnTo>
                    <a:pt x="5119826" y="4311979"/>
                  </a:lnTo>
                  <a:cubicBezTo>
                    <a:pt x="5119826" y="4294833"/>
                    <a:pt x="5128144" y="4284402"/>
                    <a:pt x="5144783" y="4280685"/>
                  </a:cubicBezTo>
                  <a:lnTo>
                    <a:pt x="5144783" y="4280305"/>
                  </a:lnTo>
                  <a:cubicBezTo>
                    <a:pt x="5128144" y="4276335"/>
                    <a:pt x="5119826" y="4265820"/>
                    <a:pt x="5119826" y="4248759"/>
                  </a:cubicBezTo>
                  <a:lnTo>
                    <a:pt x="5119826" y="4213031"/>
                  </a:lnTo>
                  <a:cubicBezTo>
                    <a:pt x="5119826" y="4197237"/>
                    <a:pt x="5113069" y="4189170"/>
                    <a:pt x="5099554" y="4188833"/>
                  </a:cubicBezTo>
                  <a:close/>
                  <a:moveTo>
                    <a:pt x="5082070" y="4169195"/>
                  </a:moveTo>
                  <a:lnTo>
                    <a:pt x="5082070" y="4188833"/>
                  </a:lnTo>
                  <a:cubicBezTo>
                    <a:pt x="5068640" y="4189170"/>
                    <a:pt x="5061927" y="4197237"/>
                    <a:pt x="5061927" y="4213031"/>
                  </a:cubicBezTo>
                  <a:lnTo>
                    <a:pt x="5061927" y="4248759"/>
                  </a:lnTo>
                  <a:cubicBezTo>
                    <a:pt x="5061927" y="4265820"/>
                    <a:pt x="5053522" y="4276335"/>
                    <a:pt x="5036713" y="4280305"/>
                  </a:cubicBezTo>
                  <a:lnTo>
                    <a:pt x="5036713" y="4280685"/>
                  </a:lnTo>
                  <a:cubicBezTo>
                    <a:pt x="5053522" y="4284402"/>
                    <a:pt x="5061927" y="4294833"/>
                    <a:pt x="5061927" y="4311979"/>
                  </a:cubicBezTo>
                  <a:lnTo>
                    <a:pt x="5061927" y="4347326"/>
                  </a:lnTo>
                  <a:cubicBezTo>
                    <a:pt x="5061927" y="4356364"/>
                    <a:pt x="5063425" y="4362803"/>
                    <a:pt x="5066423" y="4366646"/>
                  </a:cubicBezTo>
                  <a:cubicBezTo>
                    <a:pt x="5069421" y="4370490"/>
                    <a:pt x="5074637" y="4372496"/>
                    <a:pt x="5082070" y="4372665"/>
                  </a:cubicBezTo>
                  <a:lnTo>
                    <a:pt x="5082070" y="4392175"/>
                  </a:lnTo>
                  <a:cubicBezTo>
                    <a:pt x="5052001" y="4391837"/>
                    <a:pt x="5036967" y="4378999"/>
                    <a:pt x="5036967" y="4353661"/>
                  </a:cubicBezTo>
                  <a:lnTo>
                    <a:pt x="5036967" y="4316286"/>
                  </a:lnTo>
                  <a:cubicBezTo>
                    <a:pt x="5036967" y="4299562"/>
                    <a:pt x="5030379" y="4290779"/>
                    <a:pt x="5017204" y="4289934"/>
                  </a:cubicBezTo>
                  <a:lnTo>
                    <a:pt x="5017204" y="4271437"/>
                  </a:lnTo>
                  <a:cubicBezTo>
                    <a:pt x="5030379" y="4270592"/>
                    <a:pt x="5036967" y="4261639"/>
                    <a:pt x="5036967" y="4244577"/>
                  </a:cubicBezTo>
                  <a:lnTo>
                    <a:pt x="5036967" y="4208217"/>
                  </a:lnTo>
                  <a:cubicBezTo>
                    <a:pt x="5036967" y="4182540"/>
                    <a:pt x="5052001" y="4169533"/>
                    <a:pt x="5082070" y="4169195"/>
                  </a:cubicBezTo>
                  <a:close/>
                  <a:moveTo>
                    <a:pt x="2071278" y="4169195"/>
                  </a:moveTo>
                  <a:cubicBezTo>
                    <a:pt x="2101178" y="4169533"/>
                    <a:pt x="2116128" y="4182540"/>
                    <a:pt x="2116128" y="4208217"/>
                  </a:cubicBezTo>
                  <a:lnTo>
                    <a:pt x="2116128" y="4244577"/>
                  </a:lnTo>
                  <a:cubicBezTo>
                    <a:pt x="2116128" y="4261639"/>
                    <a:pt x="2122673" y="4270592"/>
                    <a:pt x="2135765" y="4271437"/>
                  </a:cubicBezTo>
                  <a:lnTo>
                    <a:pt x="2135765" y="4289934"/>
                  </a:lnTo>
                  <a:cubicBezTo>
                    <a:pt x="2122673" y="4290779"/>
                    <a:pt x="2116128" y="4299562"/>
                    <a:pt x="2116128" y="4316286"/>
                  </a:cubicBezTo>
                  <a:lnTo>
                    <a:pt x="2116128" y="4353661"/>
                  </a:lnTo>
                  <a:cubicBezTo>
                    <a:pt x="2116128" y="4378999"/>
                    <a:pt x="2101178" y="4391837"/>
                    <a:pt x="2071278" y="4392175"/>
                  </a:cubicBezTo>
                  <a:lnTo>
                    <a:pt x="2071278" y="4372665"/>
                  </a:lnTo>
                  <a:cubicBezTo>
                    <a:pt x="2078626" y="4372496"/>
                    <a:pt x="2083842" y="4370469"/>
                    <a:pt x="2086925" y="4366583"/>
                  </a:cubicBezTo>
                  <a:cubicBezTo>
                    <a:pt x="2090008" y="4362698"/>
                    <a:pt x="2091548" y="4356279"/>
                    <a:pt x="2091548" y="4347326"/>
                  </a:cubicBezTo>
                  <a:lnTo>
                    <a:pt x="2091548" y="4311979"/>
                  </a:lnTo>
                  <a:cubicBezTo>
                    <a:pt x="2091548" y="4294833"/>
                    <a:pt x="2099869" y="4284402"/>
                    <a:pt x="2116508" y="4280685"/>
                  </a:cubicBezTo>
                  <a:lnTo>
                    <a:pt x="2116508" y="4280305"/>
                  </a:lnTo>
                  <a:cubicBezTo>
                    <a:pt x="2099869" y="4276335"/>
                    <a:pt x="2091548" y="4265820"/>
                    <a:pt x="2091548" y="4248759"/>
                  </a:cubicBezTo>
                  <a:lnTo>
                    <a:pt x="2091548" y="4213031"/>
                  </a:lnTo>
                  <a:cubicBezTo>
                    <a:pt x="2091548" y="4197237"/>
                    <a:pt x="2084792" y="4189170"/>
                    <a:pt x="2071278" y="4188833"/>
                  </a:cubicBezTo>
                  <a:close/>
                  <a:moveTo>
                    <a:pt x="2053794" y="4169195"/>
                  </a:moveTo>
                  <a:lnTo>
                    <a:pt x="2053794" y="4188833"/>
                  </a:lnTo>
                  <a:cubicBezTo>
                    <a:pt x="2040365" y="4189170"/>
                    <a:pt x="2033650" y="4197237"/>
                    <a:pt x="2033650" y="4213031"/>
                  </a:cubicBezTo>
                  <a:lnTo>
                    <a:pt x="2033650" y="4248759"/>
                  </a:lnTo>
                  <a:cubicBezTo>
                    <a:pt x="2033650" y="4265820"/>
                    <a:pt x="2025246" y="4276335"/>
                    <a:pt x="2008437" y="4280305"/>
                  </a:cubicBezTo>
                  <a:lnTo>
                    <a:pt x="2008437" y="4280685"/>
                  </a:lnTo>
                  <a:cubicBezTo>
                    <a:pt x="2025246" y="4284402"/>
                    <a:pt x="2033650" y="4294833"/>
                    <a:pt x="2033650" y="4311979"/>
                  </a:cubicBezTo>
                  <a:lnTo>
                    <a:pt x="2033650" y="4347326"/>
                  </a:lnTo>
                  <a:cubicBezTo>
                    <a:pt x="2033650" y="4356364"/>
                    <a:pt x="2035150" y="4362803"/>
                    <a:pt x="2038148" y="4366646"/>
                  </a:cubicBezTo>
                  <a:cubicBezTo>
                    <a:pt x="2041146" y="4370490"/>
                    <a:pt x="2046362" y="4372496"/>
                    <a:pt x="2053794" y="4372665"/>
                  </a:cubicBezTo>
                  <a:lnTo>
                    <a:pt x="2053794" y="4392175"/>
                  </a:lnTo>
                  <a:cubicBezTo>
                    <a:pt x="2023726" y="4391837"/>
                    <a:pt x="2008691" y="4378999"/>
                    <a:pt x="2008691" y="4353661"/>
                  </a:cubicBezTo>
                  <a:lnTo>
                    <a:pt x="2008691" y="4316286"/>
                  </a:lnTo>
                  <a:cubicBezTo>
                    <a:pt x="2008691" y="4299562"/>
                    <a:pt x="2002102" y="4290779"/>
                    <a:pt x="1988926" y="4289934"/>
                  </a:cubicBezTo>
                  <a:lnTo>
                    <a:pt x="1988926" y="4271437"/>
                  </a:lnTo>
                  <a:cubicBezTo>
                    <a:pt x="2002102" y="4270592"/>
                    <a:pt x="2008691" y="4261639"/>
                    <a:pt x="2008691" y="4244577"/>
                  </a:cubicBezTo>
                  <a:lnTo>
                    <a:pt x="2008691" y="4208217"/>
                  </a:lnTo>
                  <a:cubicBezTo>
                    <a:pt x="2008691" y="4182540"/>
                    <a:pt x="2023726" y="4169533"/>
                    <a:pt x="2053794" y="4169195"/>
                  </a:cubicBezTo>
                  <a:close/>
                  <a:moveTo>
                    <a:pt x="11196323" y="3828990"/>
                  </a:moveTo>
                  <a:cubicBezTo>
                    <a:pt x="11226223" y="3829328"/>
                    <a:pt x="11241172" y="3842335"/>
                    <a:pt x="11241172" y="3868011"/>
                  </a:cubicBezTo>
                  <a:lnTo>
                    <a:pt x="11241172" y="3904372"/>
                  </a:lnTo>
                  <a:cubicBezTo>
                    <a:pt x="11241172" y="3921434"/>
                    <a:pt x="11247718" y="3930387"/>
                    <a:pt x="11260810" y="3931231"/>
                  </a:cubicBezTo>
                  <a:lnTo>
                    <a:pt x="11260810" y="3949728"/>
                  </a:lnTo>
                  <a:cubicBezTo>
                    <a:pt x="11247718" y="3950573"/>
                    <a:pt x="11241172" y="3959357"/>
                    <a:pt x="11241172" y="3976081"/>
                  </a:cubicBezTo>
                  <a:lnTo>
                    <a:pt x="11241172" y="4013455"/>
                  </a:lnTo>
                  <a:cubicBezTo>
                    <a:pt x="11241172" y="4038794"/>
                    <a:pt x="11226223" y="4051632"/>
                    <a:pt x="11196323" y="4051970"/>
                  </a:cubicBezTo>
                  <a:lnTo>
                    <a:pt x="11196323" y="4032459"/>
                  </a:lnTo>
                  <a:cubicBezTo>
                    <a:pt x="11203671" y="4032290"/>
                    <a:pt x="11208887" y="4030263"/>
                    <a:pt x="11211970" y="4026378"/>
                  </a:cubicBezTo>
                  <a:cubicBezTo>
                    <a:pt x="11215052" y="4022492"/>
                    <a:pt x="11216594" y="4016073"/>
                    <a:pt x="11216594" y="4007121"/>
                  </a:cubicBezTo>
                  <a:lnTo>
                    <a:pt x="11216594" y="3971773"/>
                  </a:lnTo>
                  <a:cubicBezTo>
                    <a:pt x="11216594" y="3954627"/>
                    <a:pt x="11224914" y="3944196"/>
                    <a:pt x="11241553" y="3940480"/>
                  </a:cubicBezTo>
                  <a:lnTo>
                    <a:pt x="11241553" y="3940100"/>
                  </a:lnTo>
                  <a:cubicBezTo>
                    <a:pt x="11224914" y="3936130"/>
                    <a:pt x="11216594" y="3925615"/>
                    <a:pt x="11216594" y="3908553"/>
                  </a:cubicBezTo>
                  <a:lnTo>
                    <a:pt x="11216594" y="3872826"/>
                  </a:lnTo>
                  <a:cubicBezTo>
                    <a:pt x="11216594" y="3857031"/>
                    <a:pt x="11209837" y="3848965"/>
                    <a:pt x="11196323" y="3848627"/>
                  </a:cubicBezTo>
                  <a:close/>
                  <a:moveTo>
                    <a:pt x="11178839" y="3828990"/>
                  </a:moveTo>
                  <a:lnTo>
                    <a:pt x="11178839" y="3848627"/>
                  </a:lnTo>
                  <a:cubicBezTo>
                    <a:pt x="11165410" y="3848965"/>
                    <a:pt x="11158695" y="3857031"/>
                    <a:pt x="11158695" y="3872826"/>
                  </a:cubicBezTo>
                  <a:lnTo>
                    <a:pt x="11158695" y="3908553"/>
                  </a:lnTo>
                  <a:cubicBezTo>
                    <a:pt x="11158695" y="3925615"/>
                    <a:pt x="11150291" y="3936130"/>
                    <a:pt x="11133483" y="3940100"/>
                  </a:cubicBezTo>
                  <a:lnTo>
                    <a:pt x="11133483" y="3940480"/>
                  </a:lnTo>
                  <a:cubicBezTo>
                    <a:pt x="11150291" y="3944196"/>
                    <a:pt x="11158695" y="3954627"/>
                    <a:pt x="11158695" y="3971773"/>
                  </a:cubicBezTo>
                  <a:lnTo>
                    <a:pt x="11158695" y="4007121"/>
                  </a:lnTo>
                  <a:cubicBezTo>
                    <a:pt x="11158695" y="4016158"/>
                    <a:pt x="11160194" y="4022598"/>
                    <a:pt x="11163193" y="4026441"/>
                  </a:cubicBezTo>
                  <a:cubicBezTo>
                    <a:pt x="11166191" y="4030284"/>
                    <a:pt x="11171406" y="4032290"/>
                    <a:pt x="11178839" y="4032459"/>
                  </a:cubicBezTo>
                  <a:lnTo>
                    <a:pt x="11178839" y="4051970"/>
                  </a:lnTo>
                  <a:cubicBezTo>
                    <a:pt x="11148770" y="4051632"/>
                    <a:pt x="11133736" y="4038794"/>
                    <a:pt x="11133736" y="4013455"/>
                  </a:cubicBezTo>
                  <a:lnTo>
                    <a:pt x="11133736" y="3976081"/>
                  </a:lnTo>
                  <a:cubicBezTo>
                    <a:pt x="11133736" y="3959357"/>
                    <a:pt x="11127148" y="3950573"/>
                    <a:pt x="11113972" y="3949728"/>
                  </a:cubicBezTo>
                  <a:lnTo>
                    <a:pt x="11113972" y="3931231"/>
                  </a:lnTo>
                  <a:cubicBezTo>
                    <a:pt x="11127148" y="3930387"/>
                    <a:pt x="11133736" y="3921434"/>
                    <a:pt x="11133736" y="3904372"/>
                  </a:cubicBezTo>
                  <a:lnTo>
                    <a:pt x="11133736" y="3868011"/>
                  </a:lnTo>
                  <a:cubicBezTo>
                    <a:pt x="11133736" y="3842335"/>
                    <a:pt x="11148770" y="3829328"/>
                    <a:pt x="11178839" y="3828990"/>
                  </a:cubicBezTo>
                  <a:close/>
                  <a:moveTo>
                    <a:pt x="8155967" y="3828990"/>
                  </a:moveTo>
                  <a:cubicBezTo>
                    <a:pt x="8185867" y="3829328"/>
                    <a:pt x="8200816" y="3842335"/>
                    <a:pt x="8200816" y="3868012"/>
                  </a:cubicBezTo>
                  <a:lnTo>
                    <a:pt x="8200816" y="3904372"/>
                  </a:lnTo>
                  <a:cubicBezTo>
                    <a:pt x="8200816" y="3921434"/>
                    <a:pt x="8207362" y="3930387"/>
                    <a:pt x="8220454" y="3931232"/>
                  </a:cubicBezTo>
                  <a:lnTo>
                    <a:pt x="8220454" y="3949729"/>
                  </a:lnTo>
                  <a:cubicBezTo>
                    <a:pt x="8207362" y="3950573"/>
                    <a:pt x="8200816" y="3959357"/>
                    <a:pt x="8200816" y="3976081"/>
                  </a:cubicBezTo>
                  <a:lnTo>
                    <a:pt x="8200816" y="4013456"/>
                  </a:lnTo>
                  <a:cubicBezTo>
                    <a:pt x="8200816" y="4038794"/>
                    <a:pt x="8185867" y="4051632"/>
                    <a:pt x="8155967" y="4051970"/>
                  </a:cubicBezTo>
                  <a:lnTo>
                    <a:pt x="8155967" y="4032459"/>
                  </a:lnTo>
                  <a:cubicBezTo>
                    <a:pt x="8163315" y="4032290"/>
                    <a:pt x="8168531" y="4030264"/>
                    <a:pt x="8171614" y="4026378"/>
                  </a:cubicBezTo>
                  <a:cubicBezTo>
                    <a:pt x="8174696" y="4022493"/>
                    <a:pt x="8176238" y="4016074"/>
                    <a:pt x="8176238" y="4007121"/>
                  </a:cubicBezTo>
                  <a:lnTo>
                    <a:pt x="8176238" y="3971774"/>
                  </a:lnTo>
                  <a:cubicBezTo>
                    <a:pt x="8176238" y="3954628"/>
                    <a:pt x="8184558" y="3944197"/>
                    <a:pt x="8201197" y="3940480"/>
                  </a:cubicBezTo>
                  <a:lnTo>
                    <a:pt x="8201197" y="3940100"/>
                  </a:lnTo>
                  <a:cubicBezTo>
                    <a:pt x="8184558" y="3936130"/>
                    <a:pt x="8176238" y="3925615"/>
                    <a:pt x="8176238" y="3908553"/>
                  </a:cubicBezTo>
                  <a:lnTo>
                    <a:pt x="8176238" y="3872826"/>
                  </a:lnTo>
                  <a:cubicBezTo>
                    <a:pt x="8176238" y="3857031"/>
                    <a:pt x="8169481" y="3848965"/>
                    <a:pt x="8155967" y="3848628"/>
                  </a:cubicBezTo>
                  <a:close/>
                  <a:moveTo>
                    <a:pt x="8138483" y="3828990"/>
                  </a:moveTo>
                  <a:lnTo>
                    <a:pt x="8138483" y="3848628"/>
                  </a:lnTo>
                  <a:cubicBezTo>
                    <a:pt x="8125053" y="3848965"/>
                    <a:pt x="8118339" y="3857031"/>
                    <a:pt x="8118339" y="3872826"/>
                  </a:cubicBezTo>
                  <a:lnTo>
                    <a:pt x="8118339" y="3908553"/>
                  </a:lnTo>
                  <a:cubicBezTo>
                    <a:pt x="8118339" y="3925615"/>
                    <a:pt x="8109934" y="3936130"/>
                    <a:pt x="8093126" y="3940100"/>
                  </a:cubicBezTo>
                  <a:lnTo>
                    <a:pt x="8093126" y="3940480"/>
                  </a:lnTo>
                  <a:cubicBezTo>
                    <a:pt x="8109934" y="3944197"/>
                    <a:pt x="8118339" y="3954628"/>
                    <a:pt x="8118339" y="3971774"/>
                  </a:cubicBezTo>
                  <a:lnTo>
                    <a:pt x="8118339" y="4007121"/>
                  </a:lnTo>
                  <a:cubicBezTo>
                    <a:pt x="8118339" y="4016158"/>
                    <a:pt x="8119838" y="4022598"/>
                    <a:pt x="8122836" y="4026441"/>
                  </a:cubicBezTo>
                  <a:cubicBezTo>
                    <a:pt x="8125834" y="4030284"/>
                    <a:pt x="8131050" y="4032290"/>
                    <a:pt x="8138483" y="4032459"/>
                  </a:cubicBezTo>
                  <a:lnTo>
                    <a:pt x="8138483" y="4051970"/>
                  </a:lnTo>
                  <a:cubicBezTo>
                    <a:pt x="8108414" y="4051632"/>
                    <a:pt x="8093380" y="4038794"/>
                    <a:pt x="8093380" y="4013456"/>
                  </a:cubicBezTo>
                  <a:lnTo>
                    <a:pt x="8093380" y="3976081"/>
                  </a:lnTo>
                  <a:cubicBezTo>
                    <a:pt x="8093380" y="3959357"/>
                    <a:pt x="8086792" y="3950573"/>
                    <a:pt x="8073616" y="3949729"/>
                  </a:cubicBezTo>
                  <a:lnTo>
                    <a:pt x="8073616" y="3931232"/>
                  </a:lnTo>
                  <a:cubicBezTo>
                    <a:pt x="8086792" y="3930387"/>
                    <a:pt x="8093380" y="3921434"/>
                    <a:pt x="8093380" y="3904372"/>
                  </a:cubicBezTo>
                  <a:lnTo>
                    <a:pt x="8093380" y="3868012"/>
                  </a:lnTo>
                  <a:cubicBezTo>
                    <a:pt x="8093380" y="3842335"/>
                    <a:pt x="8108414" y="3829328"/>
                    <a:pt x="8138483" y="3828990"/>
                  </a:cubicBezTo>
                  <a:close/>
                  <a:moveTo>
                    <a:pt x="5101246" y="3828990"/>
                  </a:moveTo>
                  <a:cubicBezTo>
                    <a:pt x="5131146" y="3829328"/>
                    <a:pt x="5146095" y="3842335"/>
                    <a:pt x="5146095" y="3868012"/>
                  </a:cubicBezTo>
                  <a:lnTo>
                    <a:pt x="5146095" y="3904372"/>
                  </a:lnTo>
                  <a:cubicBezTo>
                    <a:pt x="5146095" y="3921434"/>
                    <a:pt x="5152641" y="3930387"/>
                    <a:pt x="5165734" y="3931232"/>
                  </a:cubicBezTo>
                  <a:lnTo>
                    <a:pt x="5165734" y="3949729"/>
                  </a:lnTo>
                  <a:cubicBezTo>
                    <a:pt x="5152641" y="3950573"/>
                    <a:pt x="5146095" y="3959357"/>
                    <a:pt x="5146095" y="3976081"/>
                  </a:cubicBezTo>
                  <a:lnTo>
                    <a:pt x="5146095" y="4013456"/>
                  </a:lnTo>
                  <a:cubicBezTo>
                    <a:pt x="5146095" y="4038794"/>
                    <a:pt x="5131146" y="4051632"/>
                    <a:pt x="5101246" y="4051970"/>
                  </a:cubicBezTo>
                  <a:lnTo>
                    <a:pt x="5101246" y="4032459"/>
                  </a:lnTo>
                  <a:cubicBezTo>
                    <a:pt x="5108595" y="4032290"/>
                    <a:pt x="5113809" y="4030264"/>
                    <a:pt x="5116893" y="4026378"/>
                  </a:cubicBezTo>
                  <a:cubicBezTo>
                    <a:pt x="5119975" y="4022493"/>
                    <a:pt x="5121517" y="4016074"/>
                    <a:pt x="5121517" y="4007121"/>
                  </a:cubicBezTo>
                  <a:lnTo>
                    <a:pt x="5121517" y="3971774"/>
                  </a:lnTo>
                  <a:cubicBezTo>
                    <a:pt x="5121517" y="3954628"/>
                    <a:pt x="5129836" y="3944197"/>
                    <a:pt x="5146475" y="3940480"/>
                  </a:cubicBezTo>
                  <a:lnTo>
                    <a:pt x="5146475" y="3940100"/>
                  </a:lnTo>
                  <a:cubicBezTo>
                    <a:pt x="5129836" y="3936130"/>
                    <a:pt x="5121517" y="3925615"/>
                    <a:pt x="5121517" y="3908553"/>
                  </a:cubicBezTo>
                  <a:lnTo>
                    <a:pt x="5121517" y="3872826"/>
                  </a:lnTo>
                  <a:cubicBezTo>
                    <a:pt x="5121517" y="3857031"/>
                    <a:pt x="5114760" y="3848965"/>
                    <a:pt x="5101246" y="3848628"/>
                  </a:cubicBezTo>
                  <a:close/>
                  <a:moveTo>
                    <a:pt x="5083763" y="3828990"/>
                  </a:moveTo>
                  <a:lnTo>
                    <a:pt x="5083763" y="3848628"/>
                  </a:lnTo>
                  <a:cubicBezTo>
                    <a:pt x="5070332" y="3848965"/>
                    <a:pt x="5063618" y="3857031"/>
                    <a:pt x="5063618" y="3872826"/>
                  </a:cubicBezTo>
                  <a:lnTo>
                    <a:pt x="5063618" y="3908553"/>
                  </a:lnTo>
                  <a:cubicBezTo>
                    <a:pt x="5063618" y="3925615"/>
                    <a:pt x="5055213" y="3936130"/>
                    <a:pt x="5038405" y="3940100"/>
                  </a:cubicBezTo>
                  <a:lnTo>
                    <a:pt x="5038405" y="3940480"/>
                  </a:lnTo>
                  <a:cubicBezTo>
                    <a:pt x="5055213" y="3944197"/>
                    <a:pt x="5063618" y="3954628"/>
                    <a:pt x="5063618" y="3971774"/>
                  </a:cubicBezTo>
                  <a:lnTo>
                    <a:pt x="5063618" y="4007121"/>
                  </a:lnTo>
                  <a:cubicBezTo>
                    <a:pt x="5063618" y="4016158"/>
                    <a:pt x="5065118" y="4022598"/>
                    <a:pt x="5068115" y="4026441"/>
                  </a:cubicBezTo>
                  <a:cubicBezTo>
                    <a:pt x="5071113" y="4030284"/>
                    <a:pt x="5076329" y="4032290"/>
                    <a:pt x="5083763" y="4032459"/>
                  </a:cubicBezTo>
                  <a:lnTo>
                    <a:pt x="5083763" y="4051970"/>
                  </a:lnTo>
                  <a:cubicBezTo>
                    <a:pt x="5053693" y="4051632"/>
                    <a:pt x="5038659" y="4038794"/>
                    <a:pt x="5038659" y="4013456"/>
                  </a:cubicBezTo>
                  <a:lnTo>
                    <a:pt x="5038659" y="3976081"/>
                  </a:lnTo>
                  <a:cubicBezTo>
                    <a:pt x="5038659" y="3959357"/>
                    <a:pt x="5032071" y="3950573"/>
                    <a:pt x="5018895" y="3949729"/>
                  </a:cubicBezTo>
                  <a:lnTo>
                    <a:pt x="5018895" y="3931232"/>
                  </a:lnTo>
                  <a:cubicBezTo>
                    <a:pt x="5032071" y="3930387"/>
                    <a:pt x="5038659" y="3921434"/>
                    <a:pt x="5038659" y="3904372"/>
                  </a:cubicBezTo>
                  <a:lnTo>
                    <a:pt x="5038659" y="3868012"/>
                  </a:lnTo>
                  <a:cubicBezTo>
                    <a:pt x="5038659" y="3842335"/>
                    <a:pt x="5053693" y="3829328"/>
                    <a:pt x="5083763" y="3828990"/>
                  </a:cubicBezTo>
                  <a:close/>
                  <a:moveTo>
                    <a:pt x="2072970" y="3828990"/>
                  </a:moveTo>
                  <a:cubicBezTo>
                    <a:pt x="2102870" y="3829328"/>
                    <a:pt x="2117820" y="3842335"/>
                    <a:pt x="2117820" y="3868012"/>
                  </a:cubicBezTo>
                  <a:lnTo>
                    <a:pt x="2117820" y="3904372"/>
                  </a:lnTo>
                  <a:cubicBezTo>
                    <a:pt x="2117820" y="3921434"/>
                    <a:pt x="2124366" y="3930387"/>
                    <a:pt x="2137457" y="3931232"/>
                  </a:cubicBezTo>
                  <a:lnTo>
                    <a:pt x="2137457" y="3949729"/>
                  </a:lnTo>
                  <a:cubicBezTo>
                    <a:pt x="2124366" y="3950573"/>
                    <a:pt x="2117820" y="3959357"/>
                    <a:pt x="2117820" y="3976081"/>
                  </a:cubicBezTo>
                  <a:lnTo>
                    <a:pt x="2117820" y="4013456"/>
                  </a:lnTo>
                  <a:cubicBezTo>
                    <a:pt x="2117820" y="4038794"/>
                    <a:pt x="2102870" y="4051632"/>
                    <a:pt x="2072970" y="4051970"/>
                  </a:cubicBezTo>
                  <a:lnTo>
                    <a:pt x="2072970" y="4032459"/>
                  </a:lnTo>
                  <a:cubicBezTo>
                    <a:pt x="2080319" y="4032290"/>
                    <a:pt x="2085534" y="4030264"/>
                    <a:pt x="2088617" y="4026378"/>
                  </a:cubicBezTo>
                  <a:cubicBezTo>
                    <a:pt x="2091700" y="4022493"/>
                    <a:pt x="2093241" y="4016074"/>
                    <a:pt x="2093241" y="4007121"/>
                  </a:cubicBezTo>
                  <a:lnTo>
                    <a:pt x="2093241" y="3971774"/>
                  </a:lnTo>
                  <a:cubicBezTo>
                    <a:pt x="2093241" y="3954628"/>
                    <a:pt x="2101561" y="3944197"/>
                    <a:pt x="2118200" y="3940480"/>
                  </a:cubicBezTo>
                  <a:lnTo>
                    <a:pt x="2118200" y="3940100"/>
                  </a:lnTo>
                  <a:cubicBezTo>
                    <a:pt x="2101561" y="3936130"/>
                    <a:pt x="2093241" y="3925615"/>
                    <a:pt x="2093241" y="3908553"/>
                  </a:cubicBezTo>
                  <a:lnTo>
                    <a:pt x="2093241" y="3872826"/>
                  </a:lnTo>
                  <a:cubicBezTo>
                    <a:pt x="2093241" y="3857031"/>
                    <a:pt x="2086485" y="3848965"/>
                    <a:pt x="2072970" y="3848628"/>
                  </a:cubicBezTo>
                  <a:close/>
                  <a:moveTo>
                    <a:pt x="2055487" y="3828990"/>
                  </a:moveTo>
                  <a:lnTo>
                    <a:pt x="2055487" y="3848628"/>
                  </a:lnTo>
                  <a:cubicBezTo>
                    <a:pt x="2042057" y="3848965"/>
                    <a:pt x="2035342" y="3857031"/>
                    <a:pt x="2035342" y="3872826"/>
                  </a:cubicBezTo>
                  <a:lnTo>
                    <a:pt x="2035342" y="3908553"/>
                  </a:lnTo>
                  <a:cubicBezTo>
                    <a:pt x="2035342" y="3925615"/>
                    <a:pt x="2026938" y="3936130"/>
                    <a:pt x="2010130" y="3940100"/>
                  </a:cubicBezTo>
                  <a:lnTo>
                    <a:pt x="2010130" y="3940480"/>
                  </a:lnTo>
                  <a:cubicBezTo>
                    <a:pt x="2026938" y="3944197"/>
                    <a:pt x="2035342" y="3954628"/>
                    <a:pt x="2035342" y="3971774"/>
                  </a:cubicBezTo>
                  <a:lnTo>
                    <a:pt x="2035342" y="4007121"/>
                  </a:lnTo>
                  <a:cubicBezTo>
                    <a:pt x="2035342" y="4016158"/>
                    <a:pt x="2036842" y="4022598"/>
                    <a:pt x="2039840" y="4026441"/>
                  </a:cubicBezTo>
                  <a:cubicBezTo>
                    <a:pt x="2042838" y="4030284"/>
                    <a:pt x="2048054" y="4032290"/>
                    <a:pt x="2055487" y="4032459"/>
                  </a:cubicBezTo>
                  <a:lnTo>
                    <a:pt x="2055487" y="4051970"/>
                  </a:lnTo>
                  <a:cubicBezTo>
                    <a:pt x="2025417" y="4051632"/>
                    <a:pt x="2010383" y="4038794"/>
                    <a:pt x="2010383" y="4013456"/>
                  </a:cubicBezTo>
                  <a:lnTo>
                    <a:pt x="2010383" y="3976081"/>
                  </a:lnTo>
                  <a:cubicBezTo>
                    <a:pt x="2010383" y="3959357"/>
                    <a:pt x="2003794" y="3950573"/>
                    <a:pt x="1990618" y="3949729"/>
                  </a:cubicBezTo>
                  <a:lnTo>
                    <a:pt x="1990618" y="3931232"/>
                  </a:lnTo>
                  <a:cubicBezTo>
                    <a:pt x="2003794" y="3930387"/>
                    <a:pt x="2010383" y="3921434"/>
                    <a:pt x="2010383" y="3904372"/>
                  </a:cubicBezTo>
                  <a:lnTo>
                    <a:pt x="2010383" y="3868012"/>
                  </a:lnTo>
                  <a:cubicBezTo>
                    <a:pt x="2010383" y="3842335"/>
                    <a:pt x="2025417" y="3829328"/>
                    <a:pt x="2055487" y="3828990"/>
                  </a:cubicBezTo>
                  <a:close/>
                  <a:moveTo>
                    <a:pt x="11198015" y="3488785"/>
                  </a:moveTo>
                  <a:cubicBezTo>
                    <a:pt x="11227915" y="3489123"/>
                    <a:pt x="11242864" y="3502130"/>
                    <a:pt x="11242864" y="3527806"/>
                  </a:cubicBezTo>
                  <a:lnTo>
                    <a:pt x="11242864" y="3564167"/>
                  </a:lnTo>
                  <a:cubicBezTo>
                    <a:pt x="11242864" y="3581229"/>
                    <a:pt x="11249410" y="3590182"/>
                    <a:pt x="11262502" y="3591026"/>
                  </a:cubicBezTo>
                  <a:lnTo>
                    <a:pt x="11262502" y="3609523"/>
                  </a:lnTo>
                  <a:cubicBezTo>
                    <a:pt x="11249410" y="3610368"/>
                    <a:pt x="11242864" y="3619152"/>
                    <a:pt x="11242864" y="3635876"/>
                  </a:cubicBezTo>
                  <a:lnTo>
                    <a:pt x="11242864" y="3673250"/>
                  </a:lnTo>
                  <a:cubicBezTo>
                    <a:pt x="11242864" y="3698589"/>
                    <a:pt x="11227915" y="3711427"/>
                    <a:pt x="11198015" y="3711765"/>
                  </a:cubicBezTo>
                  <a:lnTo>
                    <a:pt x="11198015" y="3692254"/>
                  </a:lnTo>
                  <a:cubicBezTo>
                    <a:pt x="11205363" y="3692085"/>
                    <a:pt x="11210579" y="3690058"/>
                    <a:pt x="11213662" y="3686173"/>
                  </a:cubicBezTo>
                  <a:cubicBezTo>
                    <a:pt x="11216744" y="3682287"/>
                    <a:pt x="11218286" y="3675868"/>
                    <a:pt x="11218286" y="3666916"/>
                  </a:cubicBezTo>
                  <a:lnTo>
                    <a:pt x="11218286" y="3631568"/>
                  </a:lnTo>
                  <a:cubicBezTo>
                    <a:pt x="11218286" y="3614422"/>
                    <a:pt x="11226606" y="3603991"/>
                    <a:pt x="11243245" y="3600275"/>
                  </a:cubicBezTo>
                  <a:lnTo>
                    <a:pt x="11243245" y="3599895"/>
                  </a:lnTo>
                  <a:cubicBezTo>
                    <a:pt x="11226606" y="3595925"/>
                    <a:pt x="11218286" y="3585410"/>
                    <a:pt x="11218286" y="3568348"/>
                  </a:cubicBezTo>
                  <a:lnTo>
                    <a:pt x="11218286" y="3532621"/>
                  </a:lnTo>
                  <a:cubicBezTo>
                    <a:pt x="11218286" y="3516826"/>
                    <a:pt x="11211529" y="3508760"/>
                    <a:pt x="11198015" y="3508422"/>
                  </a:cubicBezTo>
                  <a:close/>
                  <a:moveTo>
                    <a:pt x="11180531" y="3488785"/>
                  </a:moveTo>
                  <a:lnTo>
                    <a:pt x="11180531" y="3508422"/>
                  </a:lnTo>
                  <a:cubicBezTo>
                    <a:pt x="11167102" y="3508760"/>
                    <a:pt x="11160387" y="3516826"/>
                    <a:pt x="11160387" y="3532621"/>
                  </a:cubicBezTo>
                  <a:lnTo>
                    <a:pt x="11160387" y="3568348"/>
                  </a:lnTo>
                  <a:cubicBezTo>
                    <a:pt x="11160387" y="3585410"/>
                    <a:pt x="11151983" y="3595925"/>
                    <a:pt x="11135175" y="3599895"/>
                  </a:cubicBezTo>
                  <a:lnTo>
                    <a:pt x="11135175" y="3600275"/>
                  </a:lnTo>
                  <a:cubicBezTo>
                    <a:pt x="11151983" y="3603991"/>
                    <a:pt x="11160387" y="3614422"/>
                    <a:pt x="11160387" y="3631568"/>
                  </a:cubicBezTo>
                  <a:lnTo>
                    <a:pt x="11160387" y="3666916"/>
                  </a:lnTo>
                  <a:cubicBezTo>
                    <a:pt x="11160387" y="3675953"/>
                    <a:pt x="11161886" y="3682393"/>
                    <a:pt x="11164885" y="3686236"/>
                  </a:cubicBezTo>
                  <a:cubicBezTo>
                    <a:pt x="11167883" y="3690079"/>
                    <a:pt x="11173098" y="3692085"/>
                    <a:pt x="11180531" y="3692254"/>
                  </a:cubicBezTo>
                  <a:lnTo>
                    <a:pt x="11180531" y="3711765"/>
                  </a:lnTo>
                  <a:cubicBezTo>
                    <a:pt x="11150462" y="3711427"/>
                    <a:pt x="11135428" y="3698589"/>
                    <a:pt x="11135428" y="3673250"/>
                  </a:cubicBezTo>
                  <a:lnTo>
                    <a:pt x="11135428" y="3635876"/>
                  </a:lnTo>
                  <a:cubicBezTo>
                    <a:pt x="11135428" y="3619152"/>
                    <a:pt x="11128840" y="3610368"/>
                    <a:pt x="11115664" y="3609523"/>
                  </a:cubicBezTo>
                  <a:lnTo>
                    <a:pt x="11115664" y="3591026"/>
                  </a:lnTo>
                  <a:cubicBezTo>
                    <a:pt x="11128840" y="3590182"/>
                    <a:pt x="11135428" y="3581229"/>
                    <a:pt x="11135428" y="3564167"/>
                  </a:cubicBezTo>
                  <a:lnTo>
                    <a:pt x="11135428" y="3527806"/>
                  </a:lnTo>
                  <a:cubicBezTo>
                    <a:pt x="11135428" y="3502130"/>
                    <a:pt x="11150462" y="3489123"/>
                    <a:pt x="11180531" y="3488785"/>
                  </a:cubicBezTo>
                  <a:close/>
                  <a:moveTo>
                    <a:pt x="8157659" y="3488785"/>
                  </a:moveTo>
                  <a:cubicBezTo>
                    <a:pt x="8187559" y="3489123"/>
                    <a:pt x="8202508" y="3502130"/>
                    <a:pt x="8202508" y="3527807"/>
                  </a:cubicBezTo>
                  <a:lnTo>
                    <a:pt x="8202508" y="3564167"/>
                  </a:lnTo>
                  <a:cubicBezTo>
                    <a:pt x="8202508" y="3581229"/>
                    <a:pt x="8209054" y="3590182"/>
                    <a:pt x="8222146" y="3591027"/>
                  </a:cubicBezTo>
                  <a:lnTo>
                    <a:pt x="8222146" y="3609524"/>
                  </a:lnTo>
                  <a:cubicBezTo>
                    <a:pt x="8209054" y="3610368"/>
                    <a:pt x="8202508" y="3619152"/>
                    <a:pt x="8202508" y="3635876"/>
                  </a:cubicBezTo>
                  <a:lnTo>
                    <a:pt x="8202508" y="3673251"/>
                  </a:lnTo>
                  <a:cubicBezTo>
                    <a:pt x="8202508" y="3698589"/>
                    <a:pt x="8187559" y="3711427"/>
                    <a:pt x="8157659" y="3711765"/>
                  </a:cubicBezTo>
                  <a:lnTo>
                    <a:pt x="8157659" y="3692254"/>
                  </a:lnTo>
                  <a:cubicBezTo>
                    <a:pt x="8165007" y="3692085"/>
                    <a:pt x="8170223" y="3690059"/>
                    <a:pt x="8173306" y="3686173"/>
                  </a:cubicBezTo>
                  <a:cubicBezTo>
                    <a:pt x="8176388" y="3682288"/>
                    <a:pt x="8177930" y="3675869"/>
                    <a:pt x="8177930" y="3666916"/>
                  </a:cubicBezTo>
                  <a:lnTo>
                    <a:pt x="8177930" y="3631569"/>
                  </a:lnTo>
                  <a:cubicBezTo>
                    <a:pt x="8177930" y="3614423"/>
                    <a:pt x="8186250" y="3603992"/>
                    <a:pt x="8202889" y="3600275"/>
                  </a:cubicBezTo>
                  <a:lnTo>
                    <a:pt x="8202889" y="3599895"/>
                  </a:lnTo>
                  <a:cubicBezTo>
                    <a:pt x="8186250" y="3595925"/>
                    <a:pt x="8177930" y="3585410"/>
                    <a:pt x="8177930" y="3568348"/>
                  </a:cubicBezTo>
                  <a:lnTo>
                    <a:pt x="8177930" y="3532621"/>
                  </a:lnTo>
                  <a:cubicBezTo>
                    <a:pt x="8177930" y="3516826"/>
                    <a:pt x="8171173" y="3508760"/>
                    <a:pt x="8157659" y="3508423"/>
                  </a:cubicBezTo>
                  <a:close/>
                  <a:moveTo>
                    <a:pt x="8140175" y="3488785"/>
                  </a:moveTo>
                  <a:lnTo>
                    <a:pt x="8140175" y="3508423"/>
                  </a:lnTo>
                  <a:cubicBezTo>
                    <a:pt x="8126745" y="3508760"/>
                    <a:pt x="8120031" y="3516826"/>
                    <a:pt x="8120031" y="3532621"/>
                  </a:cubicBezTo>
                  <a:lnTo>
                    <a:pt x="8120031" y="3568348"/>
                  </a:lnTo>
                  <a:cubicBezTo>
                    <a:pt x="8120031" y="3585410"/>
                    <a:pt x="8111626" y="3595925"/>
                    <a:pt x="8094818" y="3599895"/>
                  </a:cubicBezTo>
                  <a:lnTo>
                    <a:pt x="8094818" y="3600275"/>
                  </a:lnTo>
                  <a:cubicBezTo>
                    <a:pt x="8111626" y="3603992"/>
                    <a:pt x="8120031" y="3614423"/>
                    <a:pt x="8120031" y="3631569"/>
                  </a:cubicBezTo>
                  <a:lnTo>
                    <a:pt x="8120031" y="3666916"/>
                  </a:lnTo>
                  <a:cubicBezTo>
                    <a:pt x="8120031" y="3675953"/>
                    <a:pt x="8121530" y="3682393"/>
                    <a:pt x="8124528" y="3686236"/>
                  </a:cubicBezTo>
                  <a:cubicBezTo>
                    <a:pt x="8127526" y="3690079"/>
                    <a:pt x="8132742" y="3692085"/>
                    <a:pt x="8140175" y="3692254"/>
                  </a:cubicBezTo>
                  <a:lnTo>
                    <a:pt x="8140175" y="3711765"/>
                  </a:lnTo>
                  <a:cubicBezTo>
                    <a:pt x="8110106" y="3711427"/>
                    <a:pt x="8095072" y="3698589"/>
                    <a:pt x="8095072" y="3673251"/>
                  </a:cubicBezTo>
                  <a:lnTo>
                    <a:pt x="8095072" y="3635876"/>
                  </a:lnTo>
                  <a:cubicBezTo>
                    <a:pt x="8095072" y="3619152"/>
                    <a:pt x="8088484" y="3610368"/>
                    <a:pt x="8075308" y="3609524"/>
                  </a:cubicBezTo>
                  <a:lnTo>
                    <a:pt x="8075308" y="3591027"/>
                  </a:lnTo>
                  <a:cubicBezTo>
                    <a:pt x="8088484" y="3590182"/>
                    <a:pt x="8095072" y="3581229"/>
                    <a:pt x="8095072" y="3564167"/>
                  </a:cubicBezTo>
                  <a:lnTo>
                    <a:pt x="8095072" y="3527807"/>
                  </a:lnTo>
                  <a:cubicBezTo>
                    <a:pt x="8095072" y="3502130"/>
                    <a:pt x="8110106" y="3489123"/>
                    <a:pt x="8140175" y="3488785"/>
                  </a:cubicBezTo>
                  <a:close/>
                  <a:moveTo>
                    <a:pt x="5102938" y="3488785"/>
                  </a:moveTo>
                  <a:cubicBezTo>
                    <a:pt x="5132838" y="3489123"/>
                    <a:pt x="5147787" y="3502130"/>
                    <a:pt x="5147787" y="3527807"/>
                  </a:cubicBezTo>
                  <a:lnTo>
                    <a:pt x="5147787" y="3564167"/>
                  </a:lnTo>
                  <a:cubicBezTo>
                    <a:pt x="5147787" y="3581229"/>
                    <a:pt x="5154333" y="3590182"/>
                    <a:pt x="5167425" y="3591027"/>
                  </a:cubicBezTo>
                  <a:lnTo>
                    <a:pt x="5167425" y="3609524"/>
                  </a:lnTo>
                  <a:cubicBezTo>
                    <a:pt x="5154333" y="3610368"/>
                    <a:pt x="5147787" y="3619152"/>
                    <a:pt x="5147787" y="3635876"/>
                  </a:cubicBezTo>
                  <a:lnTo>
                    <a:pt x="5147787" y="3673251"/>
                  </a:lnTo>
                  <a:cubicBezTo>
                    <a:pt x="5147787" y="3698589"/>
                    <a:pt x="5132838" y="3711427"/>
                    <a:pt x="5102938" y="3711765"/>
                  </a:cubicBezTo>
                  <a:lnTo>
                    <a:pt x="5102938" y="3692254"/>
                  </a:lnTo>
                  <a:cubicBezTo>
                    <a:pt x="5110286" y="3692085"/>
                    <a:pt x="5115502" y="3690059"/>
                    <a:pt x="5118584" y="3686173"/>
                  </a:cubicBezTo>
                  <a:cubicBezTo>
                    <a:pt x="5121667" y="3682288"/>
                    <a:pt x="5123209" y="3675869"/>
                    <a:pt x="5123209" y="3666916"/>
                  </a:cubicBezTo>
                  <a:lnTo>
                    <a:pt x="5123209" y="3631569"/>
                  </a:lnTo>
                  <a:cubicBezTo>
                    <a:pt x="5123209" y="3614423"/>
                    <a:pt x="5131529" y="3603992"/>
                    <a:pt x="5148167" y="3600275"/>
                  </a:cubicBezTo>
                  <a:lnTo>
                    <a:pt x="5148167" y="3599895"/>
                  </a:lnTo>
                  <a:cubicBezTo>
                    <a:pt x="5131529" y="3595925"/>
                    <a:pt x="5123209" y="3585410"/>
                    <a:pt x="5123209" y="3568348"/>
                  </a:cubicBezTo>
                  <a:lnTo>
                    <a:pt x="5123209" y="3532621"/>
                  </a:lnTo>
                  <a:cubicBezTo>
                    <a:pt x="5123209" y="3516826"/>
                    <a:pt x="5116452" y="3508760"/>
                    <a:pt x="5102938" y="3508423"/>
                  </a:cubicBezTo>
                  <a:close/>
                  <a:moveTo>
                    <a:pt x="5085454" y="3488785"/>
                  </a:moveTo>
                  <a:lnTo>
                    <a:pt x="5085454" y="3508423"/>
                  </a:lnTo>
                  <a:cubicBezTo>
                    <a:pt x="5072025" y="3508760"/>
                    <a:pt x="5065310" y="3516826"/>
                    <a:pt x="5065310" y="3532621"/>
                  </a:cubicBezTo>
                  <a:lnTo>
                    <a:pt x="5065310" y="3568348"/>
                  </a:lnTo>
                  <a:cubicBezTo>
                    <a:pt x="5065310" y="3585410"/>
                    <a:pt x="5056905" y="3595925"/>
                    <a:pt x="5040097" y="3599895"/>
                  </a:cubicBezTo>
                  <a:lnTo>
                    <a:pt x="5040097" y="3600275"/>
                  </a:lnTo>
                  <a:cubicBezTo>
                    <a:pt x="5056905" y="3603992"/>
                    <a:pt x="5065310" y="3614423"/>
                    <a:pt x="5065310" y="3631569"/>
                  </a:cubicBezTo>
                  <a:lnTo>
                    <a:pt x="5065310" y="3666916"/>
                  </a:lnTo>
                  <a:cubicBezTo>
                    <a:pt x="5065310" y="3675953"/>
                    <a:pt x="5066809" y="3682393"/>
                    <a:pt x="5069807" y="3686236"/>
                  </a:cubicBezTo>
                  <a:cubicBezTo>
                    <a:pt x="5072806" y="3690079"/>
                    <a:pt x="5078022" y="3692085"/>
                    <a:pt x="5085454" y="3692254"/>
                  </a:cubicBezTo>
                  <a:lnTo>
                    <a:pt x="5085454" y="3711765"/>
                  </a:lnTo>
                  <a:cubicBezTo>
                    <a:pt x="5055385" y="3711427"/>
                    <a:pt x="5040351" y="3698589"/>
                    <a:pt x="5040351" y="3673251"/>
                  </a:cubicBezTo>
                  <a:lnTo>
                    <a:pt x="5040351" y="3635876"/>
                  </a:lnTo>
                  <a:cubicBezTo>
                    <a:pt x="5040351" y="3619152"/>
                    <a:pt x="5033763" y="3610368"/>
                    <a:pt x="5020587" y="3609524"/>
                  </a:cubicBezTo>
                  <a:lnTo>
                    <a:pt x="5020587" y="3591027"/>
                  </a:lnTo>
                  <a:cubicBezTo>
                    <a:pt x="5033763" y="3590182"/>
                    <a:pt x="5040351" y="3581229"/>
                    <a:pt x="5040351" y="3564167"/>
                  </a:cubicBezTo>
                  <a:lnTo>
                    <a:pt x="5040351" y="3527807"/>
                  </a:lnTo>
                  <a:cubicBezTo>
                    <a:pt x="5040351" y="3502130"/>
                    <a:pt x="5055385" y="3489123"/>
                    <a:pt x="5085454" y="3488785"/>
                  </a:cubicBezTo>
                  <a:close/>
                  <a:moveTo>
                    <a:pt x="2074663" y="3488785"/>
                  </a:moveTo>
                  <a:cubicBezTo>
                    <a:pt x="2104562" y="3489123"/>
                    <a:pt x="2119512" y="3502130"/>
                    <a:pt x="2119512" y="3527807"/>
                  </a:cubicBezTo>
                  <a:lnTo>
                    <a:pt x="2119512" y="3564167"/>
                  </a:lnTo>
                  <a:cubicBezTo>
                    <a:pt x="2119512" y="3581229"/>
                    <a:pt x="2126058" y="3590182"/>
                    <a:pt x="2139149" y="3591027"/>
                  </a:cubicBezTo>
                  <a:lnTo>
                    <a:pt x="2139149" y="3609524"/>
                  </a:lnTo>
                  <a:cubicBezTo>
                    <a:pt x="2126058" y="3610368"/>
                    <a:pt x="2119512" y="3619152"/>
                    <a:pt x="2119512" y="3635876"/>
                  </a:cubicBezTo>
                  <a:lnTo>
                    <a:pt x="2119512" y="3673251"/>
                  </a:lnTo>
                  <a:cubicBezTo>
                    <a:pt x="2119512" y="3698589"/>
                    <a:pt x="2104562" y="3711427"/>
                    <a:pt x="2074663" y="3711765"/>
                  </a:cubicBezTo>
                  <a:lnTo>
                    <a:pt x="2074663" y="3692254"/>
                  </a:lnTo>
                  <a:cubicBezTo>
                    <a:pt x="2082011" y="3692085"/>
                    <a:pt x="2087226" y="3690059"/>
                    <a:pt x="2090309" y="3686173"/>
                  </a:cubicBezTo>
                  <a:cubicBezTo>
                    <a:pt x="2093391" y="3682288"/>
                    <a:pt x="2094934" y="3675869"/>
                    <a:pt x="2094934" y="3666916"/>
                  </a:cubicBezTo>
                  <a:lnTo>
                    <a:pt x="2094934" y="3631569"/>
                  </a:lnTo>
                  <a:cubicBezTo>
                    <a:pt x="2094934" y="3614423"/>
                    <a:pt x="2103253" y="3603992"/>
                    <a:pt x="2119892" y="3600275"/>
                  </a:cubicBezTo>
                  <a:lnTo>
                    <a:pt x="2119892" y="3599895"/>
                  </a:lnTo>
                  <a:cubicBezTo>
                    <a:pt x="2103253" y="3595925"/>
                    <a:pt x="2094934" y="3585410"/>
                    <a:pt x="2094934" y="3568348"/>
                  </a:cubicBezTo>
                  <a:lnTo>
                    <a:pt x="2094934" y="3532621"/>
                  </a:lnTo>
                  <a:cubicBezTo>
                    <a:pt x="2094934" y="3516826"/>
                    <a:pt x="2088175" y="3508760"/>
                    <a:pt x="2074663" y="3508423"/>
                  </a:cubicBezTo>
                  <a:close/>
                  <a:moveTo>
                    <a:pt x="2057179" y="3488785"/>
                  </a:moveTo>
                  <a:lnTo>
                    <a:pt x="2057179" y="3508423"/>
                  </a:lnTo>
                  <a:cubicBezTo>
                    <a:pt x="2043749" y="3508760"/>
                    <a:pt x="2037034" y="3516826"/>
                    <a:pt x="2037034" y="3532621"/>
                  </a:cubicBezTo>
                  <a:lnTo>
                    <a:pt x="2037034" y="3568348"/>
                  </a:lnTo>
                  <a:cubicBezTo>
                    <a:pt x="2037034" y="3585410"/>
                    <a:pt x="2028630" y="3595925"/>
                    <a:pt x="2011822" y="3599895"/>
                  </a:cubicBezTo>
                  <a:lnTo>
                    <a:pt x="2011822" y="3600275"/>
                  </a:lnTo>
                  <a:cubicBezTo>
                    <a:pt x="2028630" y="3603992"/>
                    <a:pt x="2037034" y="3614423"/>
                    <a:pt x="2037034" y="3631569"/>
                  </a:cubicBezTo>
                  <a:lnTo>
                    <a:pt x="2037034" y="3666916"/>
                  </a:lnTo>
                  <a:cubicBezTo>
                    <a:pt x="2037034" y="3675953"/>
                    <a:pt x="2038534" y="3682393"/>
                    <a:pt x="2041532" y="3686236"/>
                  </a:cubicBezTo>
                  <a:cubicBezTo>
                    <a:pt x="2044530" y="3690079"/>
                    <a:pt x="2049746" y="3692085"/>
                    <a:pt x="2057179" y="3692254"/>
                  </a:cubicBezTo>
                  <a:lnTo>
                    <a:pt x="2057179" y="3711765"/>
                  </a:lnTo>
                  <a:cubicBezTo>
                    <a:pt x="2027110" y="3711427"/>
                    <a:pt x="2012076" y="3698589"/>
                    <a:pt x="2012076" y="3673251"/>
                  </a:cubicBezTo>
                  <a:lnTo>
                    <a:pt x="2012076" y="3635876"/>
                  </a:lnTo>
                  <a:cubicBezTo>
                    <a:pt x="2012076" y="3619152"/>
                    <a:pt x="2005487" y="3610368"/>
                    <a:pt x="1992310" y="3609524"/>
                  </a:cubicBezTo>
                  <a:lnTo>
                    <a:pt x="1992310" y="3591027"/>
                  </a:lnTo>
                  <a:cubicBezTo>
                    <a:pt x="2005487" y="3590182"/>
                    <a:pt x="2012076" y="3581229"/>
                    <a:pt x="2012076" y="3564167"/>
                  </a:cubicBezTo>
                  <a:lnTo>
                    <a:pt x="2012076" y="3527807"/>
                  </a:lnTo>
                  <a:cubicBezTo>
                    <a:pt x="2012076" y="3502130"/>
                    <a:pt x="2027110" y="3489123"/>
                    <a:pt x="2057179" y="3488785"/>
                  </a:cubicBezTo>
                  <a:close/>
                  <a:moveTo>
                    <a:pt x="11198015" y="3115795"/>
                  </a:moveTo>
                  <a:cubicBezTo>
                    <a:pt x="11227915" y="3116133"/>
                    <a:pt x="11242864" y="3129140"/>
                    <a:pt x="11242864" y="3154817"/>
                  </a:cubicBezTo>
                  <a:lnTo>
                    <a:pt x="11242864" y="3191177"/>
                  </a:lnTo>
                  <a:cubicBezTo>
                    <a:pt x="11242864" y="3208239"/>
                    <a:pt x="11249410" y="3217192"/>
                    <a:pt x="11262502" y="3218037"/>
                  </a:cubicBezTo>
                  <a:lnTo>
                    <a:pt x="11262502" y="3236534"/>
                  </a:lnTo>
                  <a:cubicBezTo>
                    <a:pt x="11249410" y="3237378"/>
                    <a:pt x="11242864" y="3246162"/>
                    <a:pt x="11242864" y="3262886"/>
                  </a:cubicBezTo>
                  <a:lnTo>
                    <a:pt x="11242864" y="3300261"/>
                  </a:lnTo>
                  <a:cubicBezTo>
                    <a:pt x="11242864" y="3325599"/>
                    <a:pt x="11227915" y="3338437"/>
                    <a:pt x="11198015" y="3338775"/>
                  </a:cubicBezTo>
                  <a:lnTo>
                    <a:pt x="11198015" y="3319264"/>
                  </a:lnTo>
                  <a:cubicBezTo>
                    <a:pt x="11205363" y="3319095"/>
                    <a:pt x="11210579" y="3317069"/>
                    <a:pt x="11213662" y="3313183"/>
                  </a:cubicBezTo>
                  <a:cubicBezTo>
                    <a:pt x="11216744" y="3309298"/>
                    <a:pt x="11218286" y="3302879"/>
                    <a:pt x="11218286" y="3293926"/>
                  </a:cubicBezTo>
                  <a:lnTo>
                    <a:pt x="11218286" y="3258579"/>
                  </a:lnTo>
                  <a:cubicBezTo>
                    <a:pt x="11218286" y="3241433"/>
                    <a:pt x="11226606" y="3231002"/>
                    <a:pt x="11243245" y="3227285"/>
                  </a:cubicBezTo>
                  <a:lnTo>
                    <a:pt x="11243245" y="3226905"/>
                  </a:lnTo>
                  <a:cubicBezTo>
                    <a:pt x="11226606" y="3222935"/>
                    <a:pt x="11218286" y="3212420"/>
                    <a:pt x="11218286" y="3195358"/>
                  </a:cubicBezTo>
                  <a:lnTo>
                    <a:pt x="11218286" y="3159631"/>
                  </a:lnTo>
                  <a:cubicBezTo>
                    <a:pt x="11218286" y="3143836"/>
                    <a:pt x="11211529" y="3135770"/>
                    <a:pt x="11198015" y="3135433"/>
                  </a:cubicBezTo>
                  <a:close/>
                  <a:moveTo>
                    <a:pt x="11180531" y="3115795"/>
                  </a:moveTo>
                  <a:lnTo>
                    <a:pt x="11180531" y="3135433"/>
                  </a:lnTo>
                  <a:cubicBezTo>
                    <a:pt x="11167102" y="3135770"/>
                    <a:pt x="11160387" y="3143836"/>
                    <a:pt x="11160387" y="3159631"/>
                  </a:cubicBezTo>
                  <a:lnTo>
                    <a:pt x="11160387" y="3195358"/>
                  </a:lnTo>
                  <a:cubicBezTo>
                    <a:pt x="11160387" y="3212420"/>
                    <a:pt x="11151983" y="3222935"/>
                    <a:pt x="11135175" y="3226905"/>
                  </a:cubicBezTo>
                  <a:lnTo>
                    <a:pt x="11135175" y="3227285"/>
                  </a:lnTo>
                  <a:cubicBezTo>
                    <a:pt x="11151983" y="3231002"/>
                    <a:pt x="11160387" y="3241433"/>
                    <a:pt x="11160387" y="3258579"/>
                  </a:cubicBezTo>
                  <a:lnTo>
                    <a:pt x="11160387" y="3293926"/>
                  </a:lnTo>
                  <a:cubicBezTo>
                    <a:pt x="11160387" y="3302963"/>
                    <a:pt x="11161886" y="3309403"/>
                    <a:pt x="11164885" y="3313246"/>
                  </a:cubicBezTo>
                  <a:cubicBezTo>
                    <a:pt x="11167883" y="3317089"/>
                    <a:pt x="11173098" y="3319095"/>
                    <a:pt x="11180531" y="3319264"/>
                  </a:cubicBezTo>
                  <a:lnTo>
                    <a:pt x="11180531" y="3338775"/>
                  </a:lnTo>
                  <a:cubicBezTo>
                    <a:pt x="11150462" y="3338437"/>
                    <a:pt x="11135428" y="3325599"/>
                    <a:pt x="11135428" y="3300261"/>
                  </a:cubicBezTo>
                  <a:lnTo>
                    <a:pt x="11135428" y="3262886"/>
                  </a:lnTo>
                  <a:cubicBezTo>
                    <a:pt x="11135428" y="3246162"/>
                    <a:pt x="11128840" y="3237378"/>
                    <a:pt x="11115664" y="3236534"/>
                  </a:cubicBezTo>
                  <a:lnTo>
                    <a:pt x="11115664" y="3218037"/>
                  </a:lnTo>
                  <a:cubicBezTo>
                    <a:pt x="11128840" y="3217192"/>
                    <a:pt x="11135428" y="3208239"/>
                    <a:pt x="11135428" y="3191177"/>
                  </a:cubicBezTo>
                  <a:lnTo>
                    <a:pt x="11135428" y="3154817"/>
                  </a:lnTo>
                  <a:cubicBezTo>
                    <a:pt x="11135428" y="3129140"/>
                    <a:pt x="11150462" y="3116133"/>
                    <a:pt x="11180531" y="3115795"/>
                  </a:cubicBezTo>
                  <a:close/>
                  <a:moveTo>
                    <a:pt x="8139350" y="3115795"/>
                  </a:moveTo>
                  <a:cubicBezTo>
                    <a:pt x="8169250" y="3116133"/>
                    <a:pt x="8184199" y="3129140"/>
                    <a:pt x="8184199" y="3154817"/>
                  </a:cubicBezTo>
                  <a:lnTo>
                    <a:pt x="8184199" y="3191177"/>
                  </a:lnTo>
                  <a:cubicBezTo>
                    <a:pt x="8184199" y="3208239"/>
                    <a:pt x="8190745" y="3217192"/>
                    <a:pt x="8203837" y="3218037"/>
                  </a:cubicBezTo>
                  <a:lnTo>
                    <a:pt x="8203837" y="3236534"/>
                  </a:lnTo>
                  <a:cubicBezTo>
                    <a:pt x="8190745" y="3237378"/>
                    <a:pt x="8184199" y="3246162"/>
                    <a:pt x="8184199" y="3262886"/>
                  </a:cubicBezTo>
                  <a:lnTo>
                    <a:pt x="8184199" y="3300261"/>
                  </a:lnTo>
                  <a:cubicBezTo>
                    <a:pt x="8184199" y="3325599"/>
                    <a:pt x="8169250" y="3338437"/>
                    <a:pt x="8139350" y="3338775"/>
                  </a:cubicBezTo>
                  <a:lnTo>
                    <a:pt x="8139350" y="3319264"/>
                  </a:lnTo>
                  <a:cubicBezTo>
                    <a:pt x="8146698" y="3319095"/>
                    <a:pt x="8151914" y="3317069"/>
                    <a:pt x="8154997" y="3313183"/>
                  </a:cubicBezTo>
                  <a:cubicBezTo>
                    <a:pt x="8158079" y="3309298"/>
                    <a:pt x="8159621" y="3302879"/>
                    <a:pt x="8159621" y="3293926"/>
                  </a:cubicBezTo>
                  <a:lnTo>
                    <a:pt x="8159621" y="3258579"/>
                  </a:lnTo>
                  <a:cubicBezTo>
                    <a:pt x="8159621" y="3241433"/>
                    <a:pt x="8167941" y="3231002"/>
                    <a:pt x="8184580" y="3227285"/>
                  </a:cubicBezTo>
                  <a:lnTo>
                    <a:pt x="8184580" y="3226905"/>
                  </a:lnTo>
                  <a:cubicBezTo>
                    <a:pt x="8167941" y="3222935"/>
                    <a:pt x="8159621" y="3212420"/>
                    <a:pt x="8159621" y="3195358"/>
                  </a:cubicBezTo>
                  <a:lnTo>
                    <a:pt x="8159621" y="3159631"/>
                  </a:lnTo>
                  <a:cubicBezTo>
                    <a:pt x="8159621" y="3143836"/>
                    <a:pt x="8152864" y="3135770"/>
                    <a:pt x="8139350" y="3135433"/>
                  </a:cubicBezTo>
                  <a:close/>
                  <a:moveTo>
                    <a:pt x="8121866" y="3115795"/>
                  </a:moveTo>
                  <a:lnTo>
                    <a:pt x="8121866" y="3135433"/>
                  </a:lnTo>
                  <a:cubicBezTo>
                    <a:pt x="8108437" y="3135770"/>
                    <a:pt x="8101722" y="3143836"/>
                    <a:pt x="8101722" y="3159631"/>
                  </a:cubicBezTo>
                  <a:lnTo>
                    <a:pt x="8101722" y="3195358"/>
                  </a:lnTo>
                  <a:cubicBezTo>
                    <a:pt x="8101722" y="3212420"/>
                    <a:pt x="8093318" y="3222935"/>
                    <a:pt x="8076510" y="3226905"/>
                  </a:cubicBezTo>
                  <a:lnTo>
                    <a:pt x="8076510" y="3227285"/>
                  </a:lnTo>
                  <a:cubicBezTo>
                    <a:pt x="8093318" y="3231002"/>
                    <a:pt x="8101722" y="3241433"/>
                    <a:pt x="8101722" y="3258579"/>
                  </a:cubicBezTo>
                  <a:lnTo>
                    <a:pt x="8101722" y="3293926"/>
                  </a:lnTo>
                  <a:cubicBezTo>
                    <a:pt x="8101722" y="3302963"/>
                    <a:pt x="8103221" y="3309403"/>
                    <a:pt x="8106220" y="3313246"/>
                  </a:cubicBezTo>
                  <a:cubicBezTo>
                    <a:pt x="8109218" y="3317089"/>
                    <a:pt x="8114434" y="3319095"/>
                    <a:pt x="8121866" y="3319264"/>
                  </a:cubicBezTo>
                  <a:lnTo>
                    <a:pt x="8121866" y="3338775"/>
                  </a:lnTo>
                  <a:cubicBezTo>
                    <a:pt x="8091798" y="3338437"/>
                    <a:pt x="8076764" y="3325599"/>
                    <a:pt x="8076764" y="3300261"/>
                  </a:cubicBezTo>
                  <a:lnTo>
                    <a:pt x="8076764" y="3262886"/>
                  </a:lnTo>
                  <a:cubicBezTo>
                    <a:pt x="8076764" y="3246162"/>
                    <a:pt x="8070175" y="3237378"/>
                    <a:pt x="8056999" y="3236534"/>
                  </a:cubicBezTo>
                  <a:lnTo>
                    <a:pt x="8056999" y="3218037"/>
                  </a:lnTo>
                  <a:cubicBezTo>
                    <a:pt x="8070175" y="3217192"/>
                    <a:pt x="8076764" y="3208239"/>
                    <a:pt x="8076764" y="3191177"/>
                  </a:cubicBezTo>
                  <a:lnTo>
                    <a:pt x="8076764" y="3154817"/>
                  </a:lnTo>
                  <a:cubicBezTo>
                    <a:pt x="8076764" y="3129140"/>
                    <a:pt x="8091798" y="3116133"/>
                    <a:pt x="8121866" y="3115795"/>
                  </a:cubicBezTo>
                  <a:close/>
                  <a:moveTo>
                    <a:pt x="5133348" y="3115795"/>
                  </a:moveTo>
                  <a:cubicBezTo>
                    <a:pt x="5163249" y="3116133"/>
                    <a:pt x="5178199" y="3129140"/>
                    <a:pt x="5178199" y="3154817"/>
                  </a:cubicBezTo>
                  <a:lnTo>
                    <a:pt x="5178199" y="3191177"/>
                  </a:lnTo>
                  <a:cubicBezTo>
                    <a:pt x="5178199" y="3208239"/>
                    <a:pt x="5184744" y="3217192"/>
                    <a:pt x="5197835" y="3218037"/>
                  </a:cubicBezTo>
                  <a:lnTo>
                    <a:pt x="5197835" y="3236534"/>
                  </a:lnTo>
                  <a:cubicBezTo>
                    <a:pt x="5184744" y="3237378"/>
                    <a:pt x="5178199" y="3246162"/>
                    <a:pt x="5178199" y="3262886"/>
                  </a:cubicBezTo>
                  <a:lnTo>
                    <a:pt x="5178199" y="3300261"/>
                  </a:lnTo>
                  <a:cubicBezTo>
                    <a:pt x="5178199" y="3325599"/>
                    <a:pt x="5163249" y="3338437"/>
                    <a:pt x="5133348" y="3338775"/>
                  </a:cubicBezTo>
                  <a:lnTo>
                    <a:pt x="5133348" y="3319264"/>
                  </a:lnTo>
                  <a:cubicBezTo>
                    <a:pt x="5140697" y="3319095"/>
                    <a:pt x="5145912" y="3317069"/>
                    <a:pt x="5148996" y="3313183"/>
                  </a:cubicBezTo>
                  <a:cubicBezTo>
                    <a:pt x="5152078" y="3309298"/>
                    <a:pt x="5153619" y="3302879"/>
                    <a:pt x="5153619" y="3293926"/>
                  </a:cubicBezTo>
                  <a:lnTo>
                    <a:pt x="5153619" y="3258579"/>
                  </a:lnTo>
                  <a:cubicBezTo>
                    <a:pt x="5153619" y="3241433"/>
                    <a:pt x="5161939" y="3231002"/>
                    <a:pt x="5178578" y="3227285"/>
                  </a:cubicBezTo>
                  <a:lnTo>
                    <a:pt x="5178578" y="3226905"/>
                  </a:lnTo>
                  <a:cubicBezTo>
                    <a:pt x="5161939" y="3222935"/>
                    <a:pt x="5153619" y="3212420"/>
                    <a:pt x="5153619" y="3195358"/>
                  </a:cubicBezTo>
                  <a:lnTo>
                    <a:pt x="5153619" y="3159631"/>
                  </a:lnTo>
                  <a:cubicBezTo>
                    <a:pt x="5153619" y="3143836"/>
                    <a:pt x="5146862" y="3135770"/>
                    <a:pt x="5133348" y="3135433"/>
                  </a:cubicBezTo>
                  <a:close/>
                  <a:moveTo>
                    <a:pt x="5115864" y="3115795"/>
                  </a:moveTo>
                  <a:lnTo>
                    <a:pt x="5115864" y="3135433"/>
                  </a:lnTo>
                  <a:cubicBezTo>
                    <a:pt x="5102435" y="3135770"/>
                    <a:pt x="5095720" y="3143836"/>
                    <a:pt x="5095720" y="3159631"/>
                  </a:cubicBezTo>
                  <a:lnTo>
                    <a:pt x="5095720" y="3195358"/>
                  </a:lnTo>
                  <a:cubicBezTo>
                    <a:pt x="5095720" y="3212420"/>
                    <a:pt x="5087316" y="3222935"/>
                    <a:pt x="5070509" y="3226905"/>
                  </a:cubicBezTo>
                  <a:lnTo>
                    <a:pt x="5070509" y="3227285"/>
                  </a:lnTo>
                  <a:cubicBezTo>
                    <a:pt x="5087316" y="3231002"/>
                    <a:pt x="5095720" y="3241433"/>
                    <a:pt x="5095720" y="3258579"/>
                  </a:cubicBezTo>
                  <a:lnTo>
                    <a:pt x="5095720" y="3293926"/>
                  </a:lnTo>
                  <a:cubicBezTo>
                    <a:pt x="5095720" y="3302963"/>
                    <a:pt x="5097219" y="3309403"/>
                    <a:pt x="5100219" y="3313246"/>
                  </a:cubicBezTo>
                  <a:cubicBezTo>
                    <a:pt x="5103216" y="3317089"/>
                    <a:pt x="5108432" y="3319095"/>
                    <a:pt x="5115864" y="3319264"/>
                  </a:cubicBezTo>
                  <a:lnTo>
                    <a:pt x="5115864" y="3338775"/>
                  </a:lnTo>
                  <a:cubicBezTo>
                    <a:pt x="5085796" y="3338437"/>
                    <a:pt x="5070762" y="3325599"/>
                    <a:pt x="5070762" y="3300261"/>
                  </a:cubicBezTo>
                  <a:lnTo>
                    <a:pt x="5070762" y="3262886"/>
                  </a:lnTo>
                  <a:cubicBezTo>
                    <a:pt x="5070762" y="3246162"/>
                    <a:pt x="5064173" y="3237378"/>
                    <a:pt x="5050997" y="3236534"/>
                  </a:cubicBezTo>
                  <a:lnTo>
                    <a:pt x="5050997" y="3218037"/>
                  </a:lnTo>
                  <a:cubicBezTo>
                    <a:pt x="5064173" y="3217192"/>
                    <a:pt x="5070762" y="3208239"/>
                    <a:pt x="5070762" y="3191177"/>
                  </a:cubicBezTo>
                  <a:lnTo>
                    <a:pt x="5070762" y="3154817"/>
                  </a:lnTo>
                  <a:cubicBezTo>
                    <a:pt x="5070762" y="3129140"/>
                    <a:pt x="5085796" y="3116133"/>
                    <a:pt x="5115864" y="3115795"/>
                  </a:cubicBezTo>
                  <a:close/>
                  <a:moveTo>
                    <a:pt x="2074662" y="3115795"/>
                  </a:moveTo>
                  <a:cubicBezTo>
                    <a:pt x="2104562" y="3116133"/>
                    <a:pt x="2119511" y="3129140"/>
                    <a:pt x="2119511" y="3154817"/>
                  </a:cubicBezTo>
                  <a:lnTo>
                    <a:pt x="2119511" y="3191177"/>
                  </a:lnTo>
                  <a:cubicBezTo>
                    <a:pt x="2119511" y="3208239"/>
                    <a:pt x="2126057" y="3217192"/>
                    <a:pt x="2139149" y="3218037"/>
                  </a:cubicBezTo>
                  <a:lnTo>
                    <a:pt x="2139149" y="3236534"/>
                  </a:lnTo>
                  <a:cubicBezTo>
                    <a:pt x="2126057" y="3237378"/>
                    <a:pt x="2119511" y="3246162"/>
                    <a:pt x="2119511" y="3262886"/>
                  </a:cubicBezTo>
                  <a:lnTo>
                    <a:pt x="2119511" y="3300261"/>
                  </a:lnTo>
                  <a:cubicBezTo>
                    <a:pt x="2119511" y="3325599"/>
                    <a:pt x="2104562" y="3338437"/>
                    <a:pt x="2074662" y="3338775"/>
                  </a:cubicBezTo>
                  <a:lnTo>
                    <a:pt x="2074662" y="3319264"/>
                  </a:lnTo>
                  <a:cubicBezTo>
                    <a:pt x="2082010" y="3319095"/>
                    <a:pt x="2087226" y="3317069"/>
                    <a:pt x="2090309" y="3313183"/>
                  </a:cubicBezTo>
                  <a:cubicBezTo>
                    <a:pt x="2093391" y="3309298"/>
                    <a:pt x="2094933" y="3302879"/>
                    <a:pt x="2094933" y="3293926"/>
                  </a:cubicBezTo>
                  <a:lnTo>
                    <a:pt x="2094933" y="3258579"/>
                  </a:lnTo>
                  <a:cubicBezTo>
                    <a:pt x="2094933" y="3241433"/>
                    <a:pt x="2103251" y="3231002"/>
                    <a:pt x="2119891" y="3227285"/>
                  </a:cubicBezTo>
                  <a:lnTo>
                    <a:pt x="2119891" y="3226905"/>
                  </a:lnTo>
                  <a:cubicBezTo>
                    <a:pt x="2103251" y="3222935"/>
                    <a:pt x="2094933" y="3212420"/>
                    <a:pt x="2094933" y="3195358"/>
                  </a:cubicBezTo>
                  <a:lnTo>
                    <a:pt x="2094933" y="3159631"/>
                  </a:lnTo>
                  <a:cubicBezTo>
                    <a:pt x="2094933" y="3143836"/>
                    <a:pt x="2088175" y="3135770"/>
                    <a:pt x="2074662" y="3135433"/>
                  </a:cubicBezTo>
                  <a:close/>
                  <a:moveTo>
                    <a:pt x="2057178" y="3115795"/>
                  </a:moveTo>
                  <a:lnTo>
                    <a:pt x="2057178" y="3135433"/>
                  </a:lnTo>
                  <a:cubicBezTo>
                    <a:pt x="2043749" y="3135770"/>
                    <a:pt x="2037034" y="3143836"/>
                    <a:pt x="2037034" y="3159631"/>
                  </a:cubicBezTo>
                  <a:lnTo>
                    <a:pt x="2037034" y="3195358"/>
                  </a:lnTo>
                  <a:cubicBezTo>
                    <a:pt x="2037034" y="3212420"/>
                    <a:pt x="2028630" y="3222935"/>
                    <a:pt x="2011822" y="3226905"/>
                  </a:cubicBezTo>
                  <a:lnTo>
                    <a:pt x="2011822" y="3227285"/>
                  </a:lnTo>
                  <a:cubicBezTo>
                    <a:pt x="2028630" y="3231002"/>
                    <a:pt x="2037034" y="3241433"/>
                    <a:pt x="2037034" y="3258579"/>
                  </a:cubicBezTo>
                  <a:lnTo>
                    <a:pt x="2037034" y="3293926"/>
                  </a:lnTo>
                  <a:cubicBezTo>
                    <a:pt x="2037034" y="3302963"/>
                    <a:pt x="2038533" y="3309403"/>
                    <a:pt x="2041532" y="3313246"/>
                  </a:cubicBezTo>
                  <a:cubicBezTo>
                    <a:pt x="2044530" y="3317089"/>
                    <a:pt x="2049746" y="3319095"/>
                    <a:pt x="2057178" y="3319264"/>
                  </a:cubicBezTo>
                  <a:lnTo>
                    <a:pt x="2057178" y="3338775"/>
                  </a:lnTo>
                  <a:cubicBezTo>
                    <a:pt x="2027110" y="3338437"/>
                    <a:pt x="2012076" y="3325599"/>
                    <a:pt x="2012076" y="3300261"/>
                  </a:cubicBezTo>
                  <a:lnTo>
                    <a:pt x="2012076" y="3262886"/>
                  </a:lnTo>
                  <a:cubicBezTo>
                    <a:pt x="2012076" y="3246162"/>
                    <a:pt x="2005487" y="3237378"/>
                    <a:pt x="1992310" y="3236534"/>
                  </a:cubicBezTo>
                  <a:lnTo>
                    <a:pt x="1992310" y="3218037"/>
                  </a:lnTo>
                  <a:cubicBezTo>
                    <a:pt x="2005487" y="3217192"/>
                    <a:pt x="2012076" y="3208239"/>
                    <a:pt x="2012076" y="3191177"/>
                  </a:cubicBezTo>
                  <a:lnTo>
                    <a:pt x="2012076" y="3154817"/>
                  </a:lnTo>
                  <a:cubicBezTo>
                    <a:pt x="2012076" y="3129140"/>
                    <a:pt x="2027110" y="3116133"/>
                    <a:pt x="2057178" y="3115795"/>
                  </a:cubicBezTo>
                  <a:close/>
                  <a:moveTo>
                    <a:pt x="6225654" y="2984201"/>
                  </a:moveTo>
                  <a:cubicBezTo>
                    <a:pt x="6221135" y="3002100"/>
                    <a:pt x="6215991" y="3013399"/>
                    <a:pt x="6202463" y="3023448"/>
                  </a:cubicBezTo>
                  <a:cubicBezTo>
                    <a:pt x="6201095" y="3030792"/>
                    <a:pt x="6213404" y="3026868"/>
                    <a:pt x="6218875" y="3026838"/>
                  </a:cubicBezTo>
                  <a:cubicBezTo>
                    <a:pt x="6224346" y="3026808"/>
                    <a:pt x="6233831" y="3028280"/>
                    <a:pt x="6235287" y="3023270"/>
                  </a:cubicBezTo>
                  <a:cubicBezTo>
                    <a:pt x="6236269" y="3019821"/>
                    <a:pt x="6233860" y="3017175"/>
                    <a:pt x="6232344" y="3013815"/>
                  </a:cubicBezTo>
                  <a:cubicBezTo>
                    <a:pt x="6231571" y="3010128"/>
                    <a:pt x="6234440" y="3005549"/>
                    <a:pt x="6233325" y="3000614"/>
                  </a:cubicBezTo>
                  <a:cubicBezTo>
                    <a:pt x="6232210" y="2995678"/>
                    <a:pt x="6228925" y="2987888"/>
                    <a:pt x="6225654" y="2984201"/>
                  </a:cubicBezTo>
                  <a:close/>
                  <a:moveTo>
                    <a:pt x="6065633" y="2967789"/>
                  </a:moveTo>
                  <a:cubicBezTo>
                    <a:pt x="6060816" y="2973290"/>
                    <a:pt x="6051986" y="2983785"/>
                    <a:pt x="6051986" y="2988037"/>
                  </a:cubicBezTo>
                  <a:cubicBezTo>
                    <a:pt x="6052253" y="2993329"/>
                    <a:pt x="6066436" y="3008969"/>
                    <a:pt x="6073482" y="3009623"/>
                  </a:cubicBezTo>
                  <a:cubicBezTo>
                    <a:pt x="6079310" y="3009771"/>
                    <a:pt x="6079875" y="3006709"/>
                    <a:pt x="6082402" y="3002398"/>
                  </a:cubicBezTo>
                  <a:cubicBezTo>
                    <a:pt x="6074315" y="2990951"/>
                    <a:pt x="6070955" y="2985123"/>
                    <a:pt x="6065633" y="2967789"/>
                  </a:cubicBezTo>
                  <a:close/>
                  <a:moveTo>
                    <a:pt x="6049245" y="2899498"/>
                  </a:moveTo>
                  <a:lnTo>
                    <a:pt x="6049044" y="2901015"/>
                  </a:lnTo>
                  <a:lnTo>
                    <a:pt x="6048978" y="2899755"/>
                  </a:lnTo>
                  <a:close/>
                  <a:moveTo>
                    <a:pt x="6251165" y="2872303"/>
                  </a:moveTo>
                  <a:cubicBezTo>
                    <a:pt x="6251127" y="2872474"/>
                    <a:pt x="6248269" y="2873537"/>
                    <a:pt x="6247173" y="2875157"/>
                  </a:cubicBezTo>
                  <a:cubicBezTo>
                    <a:pt x="6251710" y="2876669"/>
                    <a:pt x="6253304" y="2878092"/>
                    <a:pt x="6254095" y="2883528"/>
                  </a:cubicBezTo>
                  <a:cubicBezTo>
                    <a:pt x="6254309" y="2883488"/>
                    <a:pt x="6255803" y="2882282"/>
                    <a:pt x="6260976" y="2881802"/>
                  </a:cubicBezTo>
                  <a:cubicBezTo>
                    <a:pt x="6249232" y="2886500"/>
                    <a:pt x="6243285" y="2891555"/>
                    <a:pt x="6234752" y="2900980"/>
                  </a:cubicBezTo>
                  <a:cubicBezTo>
                    <a:pt x="6237451" y="2895673"/>
                    <a:pt x="6239750" y="2893423"/>
                    <a:pt x="6239769" y="2893357"/>
                  </a:cubicBezTo>
                  <a:cubicBezTo>
                    <a:pt x="6235302" y="2891840"/>
                    <a:pt x="6234046" y="2891482"/>
                    <a:pt x="6231987" y="2886396"/>
                  </a:cubicBezTo>
                  <a:cubicBezTo>
                    <a:pt x="6231716" y="2886545"/>
                    <a:pt x="6231266" y="2886314"/>
                    <a:pt x="6227170" y="2890455"/>
                  </a:cubicBezTo>
                  <a:cubicBezTo>
                    <a:pt x="6234366" y="2876302"/>
                    <a:pt x="6241115" y="2875395"/>
                    <a:pt x="6251165" y="2872303"/>
                  </a:cubicBezTo>
                  <a:close/>
                  <a:moveTo>
                    <a:pt x="6224596" y="2855891"/>
                  </a:moveTo>
                  <a:cubicBezTo>
                    <a:pt x="6225296" y="2855836"/>
                    <a:pt x="6226055" y="2855856"/>
                    <a:pt x="6226880" y="2855928"/>
                  </a:cubicBezTo>
                  <a:cubicBezTo>
                    <a:pt x="6229081" y="2856121"/>
                    <a:pt x="6231749" y="2856686"/>
                    <a:pt x="6235020" y="2857184"/>
                  </a:cubicBezTo>
                  <a:cubicBezTo>
                    <a:pt x="6223900" y="2858938"/>
                    <a:pt x="6220808" y="2865152"/>
                    <a:pt x="6216110" y="2876094"/>
                  </a:cubicBezTo>
                  <a:cubicBezTo>
                    <a:pt x="6217671" y="2860367"/>
                    <a:pt x="6219693" y="2856280"/>
                    <a:pt x="6224596" y="2855891"/>
                  </a:cubicBezTo>
                  <a:close/>
                  <a:moveTo>
                    <a:pt x="6327199" y="2833814"/>
                  </a:moveTo>
                  <a:cubicBezTo>
                    <a:pt x="6328797" y="2835870"/>
                    <a:pt x="6323936" y="2843611"/>
                    <a:pt x="6319002" y="2847735"/>
                  </a:cubicBezTo>
                  <a:cubicBezTo>
                    <a:pt x="6314067" y="2851859"/>
                    <a:pt x="6306797" y="2851436"/>
                    <a:pt x="6306826" y="2849726"/>
                  </a:cubicBezTo>
                  <a:cubicBezTo>
                    <a:pt x="6306854" y="2848017"/>
                    <a:pt x="6314571" y="2845750"/>
                    <a:pt x="6317967" y="2843097"/>
                  </a:cubicBezTo>
                  <a:cubicBezTo>
                    <a:pt x="6321362" y="2840445"/>
                    <a:pt x="6326070" y="2832828"/>
                    <a:pt x="6327199" y="2833814"/>
                  </a:cubicBezTo>
                  <a:close/>
                  <a:moveTo>
                    <a:pt x="6223262" y="2814809"/>
                  </a:moveTo>
                  <a:cubicBezTo>
                    <a:pt x="6225201" y="2814884"/>
                    <a:pt x="6227158" y="2815051"/>
                    <a:pt x="6229125" y="2815323"/>
                  </a:cubicBezTo>
                  <a:cubicBezTo>
                    <a:pt x="6244862" y="2817496"/>
                    <a:pt x="6265107" y="2833998"/>
                    <a:pt x="6272110" y="2844543"/>
                  </a:cubicBezTo>
                  <a:cubicBezTo>
                    <a:pt x="6281529" y="2847119"/>
                    <a:pt x="6287526" y="2860763"/>
                    <a:pt x="6289981" y="2865553"/>
                  </a:cubicBezTo>
                  <a:cubicBezTo>
                    <a:pt x="6292436" y="2870342"/>
                    <a:pt x="6289578" y="2873079"/>
                    <a:pt x="6286841" y="2873280"/>
                  </a:cubicBezTo>
                  <a:cubicBezTo>
                    <a:pt x="6286801" y="2873864"/>
                    <a:pt x="6295283" y="2880645"/>
                    <a:pt x="6299867" y="2883317"/>
                  </a:cubicBezTo>
                  <a:cubicBezTo>
                    <a:pt x="6303414" y="2867897"/>
                    <a:pt x="6298267" y="2857548"/>
                    <a:pt x="6298191" y="2846234"/>
                  </a:cubicBezTo>
                  <a:cubicBezTo>
                    <a:pt x="6303585" y="2836815"/>
                    <a:pt x="6308012" y="2840196"/>
                    <a:pt x="6313405" y="2836574"/>
                  </a:cubicBezTo>
                  <a:cubicBezTo>
                    <a:pt x="6316625" y="2832871"/>
                    <a:pt x="6319604" y="2825063"/>
                    <a:pt x="6325238" y="2825466"/>
                  </a:cubicBezTo>
                  <a:cubicBezTo>
                    <a:pt x="6335059" y="2825868"/>
                    <a:pt x="6347536" y="2844141"/>
                    <a:pt x="6347938" y="2887528"/>
                  </a:cubicBezTo>
                  <a:cubicBezTo>
                    <a:pt x="6348180" y="2921981"/>
                    <a:pt x="6334415" y="2945083"/>
                    <a:pt x="6310507" y="2955387"/>
                  </a:cubicBezTo>
                  <a:cubicBezTo>
                    <a:pt x="6298282" y="2958647"/>
                    <a:pt x="6287788" y="2958443"/>
                    <a:pt x="6278696" y="2956100"/>
                  </a:cubicBezTo>
                  <a:lnTo>
                    <a:pt x="6274716" y="2954714"/>
                  </a:lnTo>
                  <a:lnTo>
                    <a:pt x="6274239" y="2956975"/>
                  </a:lnTo>
                  <a:cubicBezTo>
                    <a:pt x="6269387" y="2975589"/>
                    <a:pt x="6255744" y="2977020"/>
                    <a:pt x="6249652" y="2976879"/>
                  </a:cubicBezTo>
                  <a:cubicBezTo>
                    <a:pt x="6242689" y="2976718"/>
                    <a:pt x="6232385" y="2970278"/>
                    <a:pt x="6228159" y="2967220"/>
                  </a:cubicBezTo>
                  <a:cubicBezTo>
                    <a:pt x="6228038" y="2971888"/>
                    <a:pt x="6229125" y="2973539"/>
                    <a:pt x="6227193" y="2979777"/>
                  </a:cubicBezTo>
                  <a:cubicBezTo>
                    <a:pt x="6232264" y="2983118"/>
                    <a:pt x="6235323" y="2995031"/>
                    <a:pt x="6236853" y="3000303"/>
                  </a:cubicBezTo>
                  <a:cubicBezTo>
                    <a:pt x="6238382" y="3005576"/>
                    <a:pt x="6236491" y="3006783"/>
                    <a:pt x="6236370" y="3011412"/>
                  </a:cubicBezTo>
                  <a:cubicBezTo>
                    <a:pt x="6236249" y="3016041"/>
                    <a:pt x="6241079" y="3019743"/>
                    <a:pt x="6238543" y="3025177"/>
                  </a:cubicBezTo>
                  <a:cubicBezTo>
                    <a:pt x="6236008" y="3030610"/>
                    <a:pt x="6229407" y="3030892"/>
                    <a:pt x="6222605" y="3030973"/>
                  </a:cubicBezTo>
                  <a:cubicBezTo>
                    <a:pt x="6215803" y="3031053"/>
                    <a:pt x="6200589" y="3035722"/>
                    <a:pt x="6197731" y="3025660"/>
                  </a:cubicBezTo>
                  <a:cubicBezTo>
                    <a:pt x="6197374" y="3024402"/>
                    <a:pt x="6197124" y="3022903"/>
                    <a:pt x="6196972" y="3021206"/>
                  </a:cubicBezTo>
                  <a:cubicBezTo>
                    <a:pt x="6196959" y="3020757"/>
                    <a:pt x="6196946" y="3020309"/>
                    <a:pt x="6196932" y="3019861"/>
                  </a:cubicBezTo>
                  <a:lnTo>
                    <a:pt x="6193193" y="3023405"/>
                  </a:lnTo>
                  <a:cubicBezTo>
                    <a:pt x="6184645" y="3031452"/>
                    <a:pt x="6176938" y="3038036"/>
                    <a:pt x="6169719" y="3037734"/>
                  </a:cubicBezTo>
                  <a:cubicBezTo>
                    <a:pt x="6157684" y="3035319"/>
                    <a:pt x="6148387" y="3016161"/>
                    <a:pt x="6146294" y="3009480"/>
                  </a:cubicBezTo>
                  <a:cubicBezTo>
                    <a:pt x="6144201" y="3002799"/>
                    <a:pt x="6151003" y="3001551"/>
                    <a:pt x="6157161" y="2997647"/>
                  </a:cubicBezTo>
                  <a:cubicBezTo>
                    <a:pt x="6151003" y="3001229"/>
                    <a:pt x="6134340" y="2998291"/>
                    <a:pt x="6132288" y="2995232"/>
                  </a:cubicBezTo>
                  <a:cubicBezTo>
                    <a:pt x="6132891" y="3001591"/>
                    <a:pt x="6132529" y="3002517"/>
                    <a:pt x="6131322" y="3006099"/>
                  </a:cubicBezTo>
                  <a:cubicBezTo>
                    <a:pt x="6130114" y="3009681"/>
                    <a:pt x="6126935" y="3011774"/>
                    <a:pt x="6125043" y="3016725"/>
                  </a:cubicBezTo>
                  <a:cubicBezTo>
                    <a:pt x="6123151" y="3021675"/>
                    <a:pt x="6127498" y="3034031"/>
                    <a:pt x="6119972" y="3035802"/>
                  </a:cubicBezTo>
                  <a:cubicBezTo>
                    <a:pt x="6112445" y="3037573"/>
                    <a:pt x="6089061" y="3036889"/>
                    <a:pt x="6079884" y="3027350"/>
                  </a:cubicBezTo>
                  <a:cubicBezTo>
                    <a:pt x="6076021" y="3022641"/>
                    <a:pt x="6082299" y="3015356"/>
                    <a:pt x="6080850" y="3013344"/>
                  </a:cubicBezTo>
                  <a:cubicBezTo>
                    <a:pt x="6079402" y="3011331"/>
                    <a:pt x="6076987" y="3019260"/>
                    <a:pt x="6071191" y="3015276"/>
                  </a:cubicBezTo>
                  <a:cubicBezTo>
                    <a:pt x="6065395" y="3011291"/>
                    <a:pt x="6047726" y="2998170"/>
                    <a:pt x="6046076" y="2989436"/>
                  </a:cubicBezTo>
                  <a:cubicBezTo>
                    <a:pt x="6044426" y="2980703"/>
                    <a:pt x="6054488" y="2971526"/>
                    <a:pt x="6061290" y="2962873"/>
                  </a:cubicBezTo>
                  <a:cubicBezTo>
                    <a:pt x="6059640" y="2953495"/>
                    <a:pt x="6058955" y="2947216"/>
                    <a:pt x="6062739" y="2936309"/>
                  </a:cubicBezTo>
                  <a:cubicBezTo>
                    <a:pt x="6057667" y="2933210"/>
                    <a:pt x="6046639" y="2928823"/>
                    <a:pt x="6047283" y="2914333"/>
                  </a:cubicBezTo>
                  <a:lnTo>
                    <a:pt x="6049044" y="2901015"/>
                  </a:lnTo>
                  <a:lnTo>
                    <a:pt x="6049503" y="2909735"/>
                  </a:lnTo>
                  <a:lnTo>
                    <a:pt x="6050326" y="2910131"/>
                  </a:lnTo>
                  <a:lnTo>
                    <a:pt x="6050449" y="2911305"/>
                  </a:lnTo>
                  <a:cubicBezTo>
                    <a:pt x="6051473" y="2919684"/>
                    <a:pt x="6054216" y="2928966"/>
                    <a:pt x="6070004" y="2925152"/>
                  </a:cubicBezTo>
                  <a:cubicBezTo>
                    <a:pt x="6063214" y="2961185"/>
                    <a:pt x="6078550" y="2979051"/>
                    <a:pt x="6088227" y="2995782"/>
                  </a:cubicBezTo>
                  <a:lnTo>
                    <a:pt x="6089189" y="2997632"/>
                  </a:lnTo>
                  <a:lnTo>
                    <a:pt x="6089155" y="2998499"/>
                  </a:lnTo>
                  <a:cubicBezTo>
                    <a:pt x="6088864" y="3003607"/>
                    <a:pt x="6088133" y="3007147"/>
                    <a:pt x="6087754" y="3011942"/>
                  </a:cubicBezTo>
                  <a:cubicBezTo>
                    <a:pt x="6086654" y="3015718"/>
                    <a:pt x="6083948" y="3015302"/>
                    <a:pt x="6084454" y="3023270"/>
                  </a:cubicBezTo>
                  <a:cubicBezTo>
                    <a:pt x="6084781" y="3028235"/>
                    <a:pt x="6113919" y="3036233"/>
                    <a:pt x="6118617" y="3029871"/>
                  </a:cubicBezTo>
                  <a:cubicBezTo>
                    <a:pt x="6119984" y="3027670"/>
                    <a:pt x="6119390" y="3022616"/>
                    <a:pt x="6119776" y="3018988"/>
                  </a:cubicBezTo>
                  <a:cubicBezTo>
                    <a:pt x="6120371" y="3014945"/>
                    <a:pt x="6125604" y="3010544"/>
                    <a:pt x="6126377" y="3004806"/>
                  </a:cubicBezTo>
                  <a:cubicBezTo>
                    <a:pt x="6126882" y="3000242"/>
                    <a:pt x="6126830" y="2995076"/>
                    <a:pt x="6126656" y="2989698"/>
                  </a:cubicBezTo>
                  <a:lnTo>
                    <a:pt x="6126448" y="2984019"/>
                  </a:lnTo>
                  <a:lnTo>
                    <a:pt x="6128036" y="2985869"/>
                  </a:lnTo>
                  <a:cubicBezTo>
                    <a:pt x="6138309" y="2996346"/>
                    <a:pt x="6160097" y="2999874"/>
                    <a:pt x="6167408" y="2983666"/>
                  </a:cubicBezTo>
                  <a:cubicBezTo>
                    <a:pt x="6167497" y="2988869"/>
                    <a:pt x="6169192" y="2990861"/>
                    <a:pt x="6168300" y="2997403"/>
                  </a:cubicBezTo>
                  <a:cubicBezTo>
                    <a:pt x="6165743" y="3001535"/>
                    <a:pt x="6154355" y="3002457"/>
                    <a:pt x="6151263" y="3010069"/>
                  </a:cubicBezTo>
                  <a:cubicBezTo>
                    <a:pt x="6150341" y="3013250"/>
                    <a:pt x="6162443" y="3032309"/>
                    <a:pt x="6170173" y="3032992"/>
                  </a:cubicBezTo>
                  <a:cubicBezTo>
                    <a:pt x="6175792" y="3033646"/>
                    <a:pt x="6186229" y="3022616"/>
                    <a:pt x="6205228" y="3005252"/>
                  </a:cubicBezTo>
                  <a:cubicBezTo>
                    <a:pt x="6208169" y="3002564"/>
                    <a:pt x="6219291" y="2981466"/>
                    <a:pt x="6224316" y="2963418"/>
                  </a:cubicBezTo>
                  <a:cubicBezTo>
                    <a:pt x="6219194" y="2960846"/>
                    <a:pt x="6211772" y="2954718"/>
                    <a:pt x="6207453" y="2945155"/>
                  </a:cubicBezTo>
                  <a:lnTo>
                    <a:pt x="6207259" y="2944647"/>
                  </a:lnTo>
                  <a:lnTo>
                    <a:pt x="6209877" y="2946295"/>
                  </a:lnTo>
                  <a:cubicBezTo>
                    <a:pt x="6216467" y="2950685"/>
                    <a:pt x="6223157" y="2955502"/>
                    <a:pt x="6229044" y="2956907"/>
                  </a:cubicBezTo>
                  <a:cubicBezTo>
                    <a:pt x="6233385" y="2961902"/>
                    <a:pt x="6238439" y="2969841"/>
                    <a:pt x="6250362" y="2971357"/>
                  </a:cubicBezTo>
                  <a:cubicBezTo>
                    <a:pt x="6260530" y="2973081"/>
                    <a:pt x="6267755" y="2963478"/>
                    <a:pt x="6271323" y="2952982"/>
                  </a:cubicBezTo>
                  <a:lnTo>
                    <a:pt x="6268023" y="2952715"/>
                  </a:lnTo>
                  <a:cubicBezTo>
                    <a:pt x="6252859" y="2978136"/>
                    <a:pt x="6236833" y="2954952"/>
                    <a:pt x="6240230" y="2930567"/>
                  </a:cubicBezTo>
                  <a:lnTo>
                    <a:pt x="6241155" y="2925791"/>
                  </a:lnTo>
                  <a:lnTo>
                    <a:pt x="6242907" y="2927701"/>
                  </a:lnTo>
                  <a:cubicBezTo>
                    <a:pt x="6273179" y="2958552"/>
                    <a:pt x="6299649" y="2954041"/>
                    <a:pt x="6314674" y="2945846"/>
                  </a:cubicBezTo>
                  <a:cubicBezTo>
                    <a:pt x="6355823" y="2920484"/>
                    <a:pt x="6343767" y="2832956"/>
                    <a:pt x="6326537" y="2828730"/>
                  </a:cubicBezTo>
                  <a:cubicBezTo>
                    <a:pt x="6322597" y="2827764"/>
                    <a:pt x="6319847" y="2837917"/>
                    <a:pt x="6317260" y="2839434"/>
                  </a:cubicBezTo>
                  <a:cubicBezTo>
                    <a:pt x="6309322" y="2843626"/>
                    <a:pt x="6305843" y="2843001"/>
                    <a:pt x="6303702" y="2846302"/>
                  </a:cubicBezTo>
                  <a:cubicBezTo>
                    <a:pt x="6299465" y="2852490"/>
                    <a:pt x="6315063" y="2888312"/>
                    <a:pt x="6295225" y="2907097"/>
                  </a:cubicBezTo>
                  <a:lnTo>
                    <a:pt x="6293745" y="2908265"/>
                  </a:lnTo>
                  <a:lnTo>
                    <a:pt x="6294056" y="2907664"/>
                  </a:lnTo>
                  <a:cubicBezTo>
                    <a:pt x="6297815" y="2900400"/>
                    <a:pt x="6301762" y="2892083"/>
                    <a:pt x="6297280" y="2888582"/>
                  </a:cubicBezTo>
                  <a:cubicBezTo>
                    <a:pt x="6292017" y="2884389"/>
                    <a:pt x="6288717" y="2887600"/>
                    <a:pt x="6284703" y="2890990"/>
                  </a:cubicBezTo>
                  <a:cubicBezTo>
                    <a:pt x="6287290" y="2888046"/>
                    <a:pt x="6290412" y="2887511"/>
                    <a:pt x="6286041" y="2880554"/>
                  </a:cubicBezTo>
                  <a:cubicBezTo>
                    <a:pt x="6282562" y="2878205"/>
                    <a:pt x="6280689" y="2878800"/>
                    <a:pt x="6274267" y="2880464"/>
                  </a:cubicBezTo>
                  <a:cubicBezTo>
                    <a:pt x="6278340" y="2877432"/>
                    <a:pt x="6279648" y="2878591"/>
                    <a:pt x="6277656" y="2872704"/>
                  </a:cubicBezTo>
                  <a:cubicBezTo>
                    <a:pt x="6274936" y="2869047"/>
                    <a:pt x="6273570" y="2869354"/>
                    <a:pt x="6270849" y="2869560"/>
                  </a:cubicBezTo>
                  <a:lnTo>
                    <a:pt x="6268963" y="2869573"/>
                  </a:lnTo>
                  <a:lnTo>
                    <a:pt x="6270514" y="2869016"/>
                  </a:lnTo>
                  <a:cubicBezTo>
                    <a:pt x="6271384" y="2868723"/>
                    <a:pt x="6272171" y="2868486"/>
                    <a:pt x="6272840" y="2868334"/>
                  </a:cubicBezTo>
                  <a:cubicBezTo>
                    <a:pt x="6278192" y="2867115"/>
                    <a:pt x="6284049" y="2868794"/>
                    <a:pt x="6284079" y="2865747"/>
                  </a:cubicBezTo>
                  <a:cubicBezTo>
                    <a:pt x="6284733" y="2862417"/>
                    <a:pt x="6276378" y="2852040"/>
                    <a:pt x="6272661" y="2851208"/>
                  </a:cubicBezTo>
                  <a:cubicBezTo>
                    <a:pt x="6270677" y="2850583"/>
                    <a:pt x="6265481" y="2850059"/>
                    <a:pt x="6260762" y="2849748"/>
                  </a:cubicBezTo>
                  <a:lnTo>
                    <a:pt x="6259663" y="2849690"/>
                  </a:lnTo>
                  <a:lnTo>
                    <a:pt x="6259672" y="2849666"/>
                  </a:lnTo>
                  <a:cubicBezTo>
                    <a:pt x="6260792" y="2848119"/>
                    <a:pt x="6264522" y="2847551"/>
                    <a:pt x="6267399" y="2847283"/>
                  </a:cubicBezTo>
                  <a:cubicBezTo>
                    <a:pt x="6255327" y="2831346"/>
                    <a:pt x="6239063" y="2821118"/>
                    <a:pt x="6225030" y="2821327"/>
                  </a:cubicBezTo>
                  <a:cubicBezTo>
                    <a:pt x="6208112" y="2821832"/>
                    <a:pt x="6186912" y="2826173"/>
                    <a:pt x="6174900" y="2844786"/>
                  </a:cubicBezTo>
                  <a:cubicBezTo>
                    <a:pt x="6181040" y="2844719"/>
                    <a:pt x="6185608" y="2844747"/>
                    <a:pt x="6189037" y="2845110"/>
                  </a:cubicBezTo>
                  <a:lnTo>
                    <a:pt x="6189610" y="2845193"/>
                  </a:lnTo>
                  <a:lnTo>
                    <a:pt x="6187216" y="2845844"/>
                  </a:lnTo>
                  <a:cubicBezTo>
                    <a:pt x="6174496" y="2848904"/>
                    <a:pt x="6165635" y="2848447"/>
                    <a:pt x="6162783" y="2850926"/>
                  </a:cubicBezTo>
                  <a:cubicBezTo>
                    <a:pt x="6156821" y="2855098"/>
                    <a:pt x="6118212" y="2890667"/>
                    <a:pt x="6116620" y="2910805"/>
                  </a:cubicBezTo>
                  <a:cubicBezTo>
                    <a:pt x="6120709" y="2921495"/>
                    <a:pt x="6121478" y="2913941"/>
                    <a:pt x="6130507" y="2932769"/>
                  </a:cubicBezTo>
                  <a:lnTo>
                    <a:pt x="6144916" y="2916343"/>
                  </a:lnTo>
                  <a:lnTo>
                    <a:pt x="6128058" y="2951212"/>
                  </a:lnTo>
                  <a:cubicBezTo>
                    <a:pt x="6132262" y="2957351"/>
                    <a:pt x="6135127" y="2960635"/>
                    <a:pt x="6143880" y="2960530"/>
                  </a:cubicBezTo>
                  <a:cubicBezTo>
                    <a:pt x="6153228" y="2959290"/>
                    <a:pt x="6161862" y="2951628"/>
                    <a:pt x="6170852" y="2947177"/>
                  </a:cubicBezTo>
                  <a:cubicBezTo>
                    <a:pt x="6179738" y="2943479"/>
                    <a:pt x="6182379" y="2946025"/>
                    <a:pt x="6188143" y="2945448"/>
                  </a:cubicBezTo>
                  <a:cubicBezTo>
                    <a:pt x="6200288" y="2912507"/>
                    <a:pt x="6181213" y="2912658"/>
                    <a:pt x="6194339" y="2876862"/>
                  </a:cubicBezTo>
                  <a:cubicBezTo>
                    <a:pt x="6189673" y="2905776"/>
                    <a:pt x="6208199" y="2905790"/>
                    <a:pt x="6195059" y="2954238"/>
                  </a:cubicBezTo>
                  <a:lnTo>
                    <a:pt x="6192966" y="2953895"/>
                  </a:lnTo>
                  <a:lnTo>
                    <a:pt x="6190315" y="2953217"/>
                  </a:lnTo>
                  <a:lnTo>
                    <a:pt x="6187599" y="2952793"/>
                  </a:lnTo>
                  <a:lnTo>
                    <a:pt x="6186838" y="2952617"/>
                  </a:lnTo>
                  <a:cubicBezTo>
                    <a:pt x="6184783" y="2952212"/>
                    <a:pt x="6182621" y="2951994"/>
                    <a:pt x="6180113" y="2952389"/>
                  </a:cubicBezTo>
                  <a:lnTo>
                    <a:pt x="6179134" y="2952617"/>
                  </a:lnTo>
                  <a:lnTo>
                    <a:pt x="6178542" y="2952669"/>
                  </a:lnTo>
                  <a:cubicBezTo>
                    <a:pt x="6165429" y="2954710"/>
                    <a:pt x="6160606" y="2966273"/>
                    <a:pt x="6139578" y="2968503"/>
                  </a:cubicBezTo>
                  <a:cubicBezTo>
                    <a:pt x="6133308" y="2967280"/>
                    <a:pt x="6123282" y="2958067"/>
                    <a:pt x="6117388" y="2950903"/>
                  </a:cubicBezTo>
                  <a:lnTo>
                    <a:pt x="6116933" y="2950314"/>
                  </a:lnTo>
                  <a:lnTo>
                    <a:pt x="6118644" y="2947455"/>
                  </a:lnTo>
                  <a:cubicBezTo>
                    <a:pt x="6120471" y="2944609"/>
                    <a:pt x="6122471" y="2941699"/>
                    <a:pt x="6124682" y="2938711"/>
                  </a:cubicBezTo>
                  <a:cubicBezTo>
                    <a:pt x="6120817" y="2928334"/>
                    <a:pt x="6110618" y="2924736"/>
                    <a:pt x="6107734" y="2911862"/>
                  </a:cubicBezTo>
                  <a:cubicBezTo>
                    <a:pt x="6112402" y="2898542"/>
                    <a:pt x="6114305" y="2889860"/>
                    <a:pt x="6137794" y="2866014"/>
                  </a:cubicBezTo>
                  <a:cubicBezTo>
                    <a:pt x="6075356" y="2874964"/>
                    <a:pt x="6075541" y="2925230"/>
                    <a:pt x="6058278" y="2913077"/>
                  </a:cubicBezTo>
                  <a:lnTo>
                    <a:pt x="6054677" y="2909836"/>
                  </a:lnTo>
                  <a:lnTo>
                    <a:pt x="6055730" y="2909245"/>
                  </a:lnTo>
                  <a:cubicBezTo>
                    <a:pt x="6062093" y="2904959"/>
                    <a:pt x="6054558" y="2898787"/>
                    <a:pt x="6059657" y="2889473"/>
                  </a:cubicBezTo>
                  <a:lnTo>
                    <a:pt x="6049245" y="2899498"/>
                  </a:lnTo>
                  <a:lnTo>
                    <a:pt x="6050151" y="2892645"/>
                  </a:lnTo>
                  <a:cubicBezTo>
                    <a:pt x="6055212" y="2887609"/>
                    <a:pt x="6062055" y="2884771"/>
                    <a:pt x="6063705" y="2884147"/>
                  </a:cubicBezTo>
                  <a:cubicBezTo>
                    <a:pt x="6060605" y="2893606"/>
                    <a:pt x="6067367" y="2900206"/>
                    <a:pt x="6063705" y="2907813"/>
                  </a:cubicBezTo>
                  <a:cubicBezTo>
                    <a:pt x="6098922" y="2863017"/>
                    <a:pt x="6123232" y="2860159"/>
                    <a:pt x="6139532" y="2859757"/>
                  </a:cubicBezTo>
                  <a:cubicBezTo>
                    <a:pt x="6152211" y="2848487"/>
                    <a:pt x="6153297" y="2845549"/>
                    <a:pt x="6161991" y="2843336"/>
                  </a:cubicBezTo>
                  <a:lnTo>
                    <a:pt x="6167986" y="2842707"/>
                  </a:lnTo>
                  <a:lnTo>
                    <a:pt x="6168681" y="2841220"/>
                  </a:lnTo>
                  <a:cubicBezTo>
                    <a:pt x="6174017" y="2830623"/>
                    <a:pt x="6178674" y="2827317"/>
                    <a:pt x="6187831" y="2822809"/>
                  </a:cubicBezTo>
                  <a:cubicBezTo>
                    <a:pt x="6196987" y="2818301"/>
                    <a:pt x="6209687" y="2814286"/>
                    <a:pt x="6223262" y="2814809"/>
                  </a:cubicBezTo>
                  <a:close/>
                  <a:moveTo>
                    <a:pt x="11472799" y="2814763"/>
                  </a:moveTo>
                  <a:cubicBezTo>
                    <a:pt x="11502699" y="2815101"/>
                    <a:pt x="11517648" y="2828108"/>
                    <a:pt x="11517648" y="2853785"/>
                  </a:cubicBezTo>
                  <a:lnTo>
                    <a:pt x="11517648" y="2890145"/>
                  </a:lnTo>
                  <a:cubicBezTo>
                    <a:pt x="11517648" y="2907207"/>
                    <a:pt x="11524194" y="2916160"/>
                    <a:pt x="11537286" y="2917005"/>
                  </a:cubicBezTo>
                  <a:lnTo>
                    <a:pt x="11537286" y="2935502"/>
                  </a:lnTo>
                  <a:cubicBezTo>
                    <a:pt x="11524194" y="2936346"/>
                    <a:pt x="11517648" y="2945130"/>
                    <a:pt x="11517648" y="2961854"/>
                  </a:cubicBezTo>
                  <a:lnTo>
                    <a:pt x="11517648" y="2999229"/>
                  </a:lnTo>
                  <a:cubicBezTo>
                    <a:pt x="11517648" y="3024567"/>
                    <a:pt x="11502699" y="3037405"/>
                    <a:pt x="11472799" y="3037743"/>
                  </a:cubicBezTo>
                  <a:lnTo>
                    <a:pt x="11472799" y="3018232"/>
                  </a:lnTo>
                  <a:cubicBezTo>
                    <a:pt x="11480147" y="3018063"/>
                    <a:pt x="11485363" y="3016037"/>
                    <a:pt x="11488446" y="3012151"/>
                  </a:cubicBezTo>
                  <a:cubicBezTo>
                    <a:pt x="11491528" y="3008266"/>
                    <a:pt x="11493070" y="3001847"/>
                    <a:pt x="11493070" y="2992894"/>
                  </a:cubicBezTo>
                  <a:lnTo>
                    <a:pt x="11493070" y="2957547"/>
                  </a:lnTo>
                  <a:cubicBezTo>
                    <a:pt x="11493070" y="2940401"/>
                    <a:pt x="11501390" y="2929970"/>
                    <a:pt x="11518029" y="2926253"/>
                  </a:cubicBezTo>
                  <a:lnTo>
                    <a:pt x="11518029" y="2925873"/>
                  </a:lnTo>
                  <a:cubicBezTo>
                    <a:pt x="11501390" y="2921903"/>
                    <a:pt x="11493070" y="2911388"/>
                    <a:pt x="11493070" y="2894326"/>
                  </a:cubicBezTo>
                  <a:lnTo>
                    <a:pt x="11493070" y="2858599"/>
                  </a:lnTo>
                  <a:cubicBezTo>
                    <a:pt x="11493070" y="2842804"/>
                    <a:pt x="11486313" y="2834738"/>
                    <a:pt x="11472799" y="2834401"/>
                  </a:cubicBezTo>
                  <a:close/>
                  <a:moveTo>
                    <a:pt x="11455315" y="2814763"/>
                  </a:moveTo>
                  <a:lnTo>
                    <a:pt x="11455315" y="2834401"/>
                  </a:lnTo>
                  <a:cubicBezTo>
                    <a:pt x="11441886" y="2834738"/>
                    <a:pt x="11435171" y="2842804"/>
                    <a:pt x="11435171" y="2858599"/>
                  </a:cubicBezTo>
                  <a:lnTo>
                    <a:pt x="11435171" y="2894326"/>
                  </a:lnTo>
                  <a:cubicBezTo>
                    <a:pt x="11435171" y="2911388"/>
                    <a:pt x="11426767" y="2921903"/>
                    <a:pt x="11409959" y="2925873"/>
                  </a:cubicBezTo>
                  <a:lnTo>
                    <a:pt x="11409959" y="2926253"/>
                  </a:lnTo>
                  <a:cubicBezTo>
                    <a:pt x="11426767" y="2929970"/>
                    <a:pt x="11435171" y="2940401"/>
                    <a:pt x="11435171" y="2957547"/>
                  </a:cubicBezTo>
                  <a:lnTo>
                    <a:pt x="11435171" y="2992894"/>
                  </a:lnTo>
                  <a:cubicBezTo>
                    <a:pt x="11435171" y="3001931"/>
                    <a:pt x="11436670" y="3008371"/>
                    <a:pt x="11439669" y="3012214"/>
                  </a:cubicBezTo>
                  <a:cubicBezTo>
                    <a:pt x="11442667" y="3016057"/>
                    <a:pt x="11447882" y="3018063"/>
                    <a:pt x="11455315" y="3018232"/>
                  </a:cubicBezTo>
                  <a:lnTo>
                    <a:pt x="11455315" y="3037743"/>
                  </a:lnTo>
                  <a:cubicBezTo>
                    <a:pt x="11425246" y="3037405"/>
                    <a:pt x="11410212" y="3024567"/>
                    <a:pt x="11410212" y="2999229"/>
                  </a:cubicBezTo>
                  <a:lnTo>
                    <a:pt x="11410212" y="2961854"/>
                  </a:lnTo>
                  <a:cubicBezTo>
                    <a:pt x="11410212" y="2945130"/>
                    <a:pt x="11403624" y="2936346"/>
                    <a:pt x="11390448" y="2935502"/>
                  </a:cubicBezTo>
                  <a:lnTo>
                    <a:pt x="11390448" y="2917005"/>
                  </a:lnTo>
                  <a:cubicBezTo>
                    <a:pt x="11403624" y="2916160"/>
                    <a:pt x="11410212" y="2907207"/>
                    <a:pt x="11410212" y="2890145"/>
                  </a:cubicBezTo>
                  <a:lnTo>
                    <a:pt x="11410212" y="2853785"/>
                  </a:lnTo>
                  <a:cubicBezTo>
                    <a:pt x="11410212" y="2828108"/>
                    <a:pt x="11425246" y="2815101"/>
                    <a:pt x="11455315" y="2814763"/>
                  </a:cubicBezTo>
                  <a:close/>
                  <a:moveTo>
                    <a:pt x="7307218" y="2814763"/>
                  </a:moveTo>
                  <a:cubicBezTo>
                    <a:pt x="7337118" y="2815101"/>
                    <a:pt x="7352068" y="2828108"/>
                    <a:pt x="7352068" y="2853785"/>
                  </a:cubicBezTo>
                  <a:lnTo>
                    <a:pt x="7352068" y="2890145"/>
                  </a:lnTo>
                  <a:cubicBezTo>
                    <a:pt x="7352068" y="2907207"/>
                    <a:pt x="7358614" y="2916160"/>
                    <a:pt x="7371705" y="2917005"/>
                  </a:cubicBezTo>
                  <a:lnTo>
                    <a:pt x="7371705" y="2935502"/>
                  </a:lnTo>
                  <a:cubicBezTo>
                    <a:pt x="7358614" y="2936346"/>
                    <a:pt x="7352068" y="2945130"/>
                    <a:pt x="7352068" y="2961854"/>
                  </a:cubicBezTo>
                  <a:lnTo>
                    <a:pt x="7352068" y="2999229"/>
                  </a:lnTo>
                  <a:cubicBezTo>
                    <a:pt x="7352068" y="3024567"/>
                    <a:pt x="7337118" y="3037405"/>
                    <a:pt x="7307218" y="3037743"/>
                  </a:cubicBezTo>
                  <a:lnTo>
                    <a:pt x="7307218" y="3018232"/>
                  </a:lnTo>
                  <a:cubicBezTo>
                    <a:pt x="7314567" y="3018063"/>
                    <a:pt x="7319782" y="3016037"/>
                    <a:pt x="7322865" y="3012151"/>
                  </a:cubicBezTo>
                  <a:cubicBezTo>
                    <a:pt x="7325948" y="3008266"/>
                    <a:pt x="7327489" y="3001847"/>
                    <a:pt x="7327489" y="2992894"/>
                  </a:cubicBezTo>
                  <a:lnTo>
                    <a:pt x="7327489" y="2957547"/>
                  </a:lnTo>
                  <a:cubicBezTo>
                    <a:pt x="7327489" y="2940401"/>
                    <a:pt x="7335809" y="2929970"/>
                    <a:pt x="7352448" y="2926253"/>
                  </a:cubicBezTo>
                  <a:lnTo>
                    <a:pt x="7352448" y="2925873"/>
                  </a:lnTo>
                  <a:cubicBezTo>
                    <a:pt x="7335809" y="2921903"/>
                    <a:pt x="7327489" y="2911388"/>
                    <a:pt x="7327489" y="2894326"/>
                  </a:cubicBezTo>
                  <a:lnTo>
                    <a:pt x="7327489" y="2858599"/>
                  </a:lnTo>
                  <a:cubicBezTo>
                    <a:pt x="7327489" y="2842804"/>
                    <a:pt x="7320732" y="2834738"/>
                    <a:pt x="7307218" y="2834401"/>
                  </a:cubicBezTo>
                  <a:close/>
                  <a:moveTo>
                    <a:pt x="7289734" y="2814763"/>
                  </a:moveTo>
                  <a:lnTo>
                    <a:pt x="7289734" y="2834401"/>
                  </a:lnTo>
                  <a:cubicBezTo>
                    <a:pt x="7276305" y="2834738"/>
                    <a:pt x="7269590" y="2842804"/>
                    <a:pt x="7269590" y="2858599"/>
                  </a:cubicBezTo>
                  <a:lnTo>
                    <a:pt x="7269590" y="2894326"/>
                  </a:lnTo>
                  <a:cubicBezTo>
                    <a:pt x="7269590" y="2911388"/>
                    <a:pt x="7261186" y="2921903"/>
                    <a:pt x="7244378" y="2925873"/>
                  </a:cubicBezTo>
                  <a:lnTo>
                    <a:pt x="7244378" y="2926253"/>
                  </a:lnTo>
                  <a:cubicBezTo>
                    <a:pt x="7261186" y="2929970"/>
                    <a:pt x="7269590" y="2940401"/>
                    <a:pt x="7269590" y="2957547"/>
                  </a:cubicBezTo>
                  <a:lnTo>
                    <a:pt x="7269590" y="2992894"/>
                  </a:lnTo>
                  <a:cubicBezTo>
                    <a:pt x="7269590" y="3001931"/>
                    <a:pt x="7271089" y="3008371"/>
                    <a:pt x="7274088" y="3012214"/>
                  </a:cubicBezTo>
                  <a:cubicBezTo>
                    <a:pt x="7277086" y="3016057"/>
                    <a:pt x="7282302" y="3018063"/>
                    <a:pt x="7289734" y="3018232"/>
                  </a:cubicBezTo>
                  <a:lnTo>
                    <a:pt x="7289734" y="3037743"/>
                  </a:lnTo>
                  <a:cubicBezTo>
                    <a:pt x="7259666" y="3037405"/>
                    <a:pt x="7244632" y="3024567"/>
                    <a:pt x="7244632" y="2999229"/>
                  </a:cubicBezTo>
                  <a:lnTo>
                    <a:pt x="7244632" y="2961854"/>
                  </a:lnTo>
                  <a:cubicBezTo>
                    <a:pt x="7244632" y="2945130"/>
                    <a:pt x="7238043" y="2936346"/>
                    <a:pt x="7224867" y="2935502"/>
                  </a:cubicBezTo>
                  <a:lnTo>
                    <a:pt x="7224867" y="2917005"/>
                  </a:lnTo>
                  <a:cubicBezTo>
                    <a:pt x="7238043" y="2916160"/>
                    <a:pt x="7244632" y="2907207"/>
                    <a:pt x="7244632" y="2890145"/>
                  </a:cubicBezTo>
                  <a:lnTo>
                    <a:pt x="7244632" y="2853785"/>
                  </a:lnTo>
                  <a:cubicBezTo>
                    <a:pt x="7244632" y="2828108"/>
                    <a:pt x="7259666" y="2815101"/>
                    <a:pt x="7289734" y="2814763"/>
                  </a:cubicBezTo>
                  <a:close/>
                  <a:moveTo>
                    <a:pt x="1251166" y="2814763"/>
                  </a:moveTo>
                  <a:cubicBezTo>
                    <a:pt x="1281065" y="2815101"/>
                    <a:pt x="1296015" y="2828108"/>
                    <a:pt x="1296015" y="2853785"/>
                  </a:cubicBezTo>
                  <a:lnTo>
                    <a:pt x="1296015" y="2890145"/>
                  </a:lnTo>
                  <a:cubicBezTo>
                    <a:pt x="1296015" y="2907207"/>
                    <a:pt x="1302561" y="2916160"/>
                    <a:pt x="1315652" y="2917005"/>
                  </a:cubicBezTo>
                  <a:lnTo>
                    <a:pt x="1315652" y="2935502"/>
                  </a:lnTo>
                  <a:cubicBezTo>
                    <a:pt x="1302561" y="2936346"/>
                    <a:pt x="1296015" y="2945130"/>
                    <a:pt x="1296015" y="2961854"/>
                  </a:cubicBezTo>
                  <a:lnTo>
                    <a:pt x="1296015" y="2999229"/>
                  </a:lnTo>
                  <a:cubicBezTo>
                    <a:pt x="1296015" y="3024567"/>
                    <a:pt x="1281065" y="3037405"/>
                    <a:pt x="1251166" y="3037743"/>
                  </a:cubicBezTo>
                  <a:lnTo>
                    <a:pt x="1251166" y="3018232"/>
                  </a:lnTo>
                  <a:cubicBezTo>
                    <a:pt x="1258514" y="3018063"/>
                    <a:pt x="1263729" y="3016037"/>
                    <a:pt x="1266812" y="3012151"/>
                  </a:cubicBezTo>
                  <a:cubicBezTo>
                    <a:pt x="1269895" y="3008266"/>
                    <a:pt x="1271436" y="3001847"/>
                    <a:pt x="1271436" y="2992894"/>
                  </a:cubicBezTo>
                  <a:lnTo>
                    <a:pt x="1271436" y="2957547"/>
                  </a:lnTo>
                  <a:cubicBezTo>
                    <a:pt x="1271436" y="2940401"/>
                    <a:pt x="1279756" y="2929970"/>
                    <a:pt x="1296395" y="2926253"/>
                  </a:cubicBezTo>
                  <a:lnTo>
                    <a:pt x="1296395" y="2925873"/>
                  </a:lnTo>
                  <a:cubicBezTo>
                    <a:pt x="1279756" y="2921903"/>
                    <a:pt x="1271436" y="2911388"/>
                    <a:pt x="1271436" y="2894326"/>
                  </a:cubicBezTo>
                  <a:lnTo>
                    <a:pt x="1271436" y="2858599"/>
                  </a:lnTo>
                  <a:cubicBezTo>
                    <a:pt x="1271436" y="2842804"/>
                    <a:pt x="1264679" y="2834738"/>
                    <a:pt x="1251166" y="2834401"/>
                  </a:cubicBezTo>
                  <a:close/>
                  <a:moveTo>
                    <a:pt x="1233681" y="2814763"/>
                  </a:moveTo>
                  <a:lnTo>
                    <a:pt x="1233681" y="2834401"/>
                  </a:lnTo>
                  <a:cubicBezTo>
                    <a:pt x="1220252" y="2834738"/>
                    <a:pt x="1213537" y="2842804"/>
                    <a:pt x="1213537" y="2858599"/>
                  </a:cubicBezTo>
                  <a:lnTo>
                    <a:pt x="1213537" y="2894326"/>
                  </a:lnTo>
                  <a:cubicBezTo>
                    <a:pt x="1213537" y="2911388"/>
                    <a:pt x="1205133" y="2921903"/>
                    <a:pt x="1188325" y="2925873"/>
                  </a:cubicBezTo>
                  <a:lnTo>
                    <a:pt x="1188325" y="2926253"/>
                  </a:lnTo>
                  <a:cubicBezTo>
                    <a:pt x="1205133" y="2929970"/>
                    <a:pt x="1213537" y="2940401"/>
                    <a:pt x="1213537" y="2957547"/>
                  </a:cubicBezTo>
                  <a:lnTo>
                    <a:pt x="1213537" y="2992894"/>
                  </a:lnTo>
                  <a:cubicBezTo>
                    <a:pt x="1213537" y="3001931"/>
                    <a:pt x="1215036" y="3008371"/>
                    <a:pt x="1218035" y="3012214"/>
                  </a:cubicBezTo>
                  <a:cubicBezTo>
                    <a:pt x="1221033" y="3016057"/>
                    <a:pt x="1226249" y="3018063"/>
                    <a:pt x="1233681" y="3018232"/>
                  </a:cubicBezTo>
                  <a:lnTo>
                    <a:pt x="1233681" y="3037743"/>
                  </a:lnTo>
                  <a:cubicBezTo>
                    <a:pt x="1203613" y="3037405"/>
                    <a:pt x="1188579" y="3024567"/>
                    <a:pt x="1188579" y="2999229"/>
                  </a:cubicBezTo>
                  <a:lnTo>
                    <a:pt x="1188579" y="2961854"/>
                  </a:lnTo>
                  <a:cubicBezTo>
                    <a:pt x="1188579" y="2945130"/>
                    <a:pt x="1181990" y="2936346"/>
                    <a:pt x="1168814" y="2935502"/>
                  </a:cubicBezTo>
                  <a:lnTo>
                    <a:pt x="1168814" y="2917005"/>
                  </a:lnTo>
                  <a:cubicBezTo>
                    <a:pt x="1181990" y="2916160"/>
                    <a:pt x="1188579" y="2907207"/>
                    <a:pt x="1188579" y="2890145"/>
                  </a:cubicBezTo>
                  <a:lnTo>
                    <a:pt x="1188579" y="2853785"/>
                  </a:lnTo>
                  <a:cubicBezTo>
                    <a:pt x="1188579" y="2828108"/>
                    <a:pt x="1203613" y="2815101"/>
                    <a:pt x="1233681" y="2814763"/>
                  </a:cubicBezTo>
                  <a:close/>
                  <a:moveTo>
                    <a:pt x="11609322" y="2486370"/>
                  </a:moveTo>
                  <a:cubicBezTo>
                    <a:pt x="11639222" y="2486708"/>
                    <a:pt x="11654171" y="2499715"/>
                    <a:pt x="11654171" y="2525391"/>
                  </a:cubicBezTo>
                  <a:lnTo>
                    <a:pt x="11654171" y="2561752"/>
                  </a:lnTo>
                  <a:cubicBezTo>
                    <a:pt x="11654171" y="2578815"/>
                    <a:pt x="11660717" y="2587767"/>
                    <a:pt x="11673809" y="2588613"/>
                  </a:cubicBezTo>
                  <a:lnTo>
                    <a:pt x="11673809" y="2607108"/>
                  </a:lnTo>
                  <a:cubicBezTo>
                    <a:pt x="11660717" y="2607953"/>
                    <a:pt x="11654171" y="2616737"/>
                    <a:pt x="11654171" y="2633461"/>
                  </a:cubicBezTo>
                  <a:lnTo>
                    <a:pt x="11654171" y="2670836"/>
                  </a:lnTo>
                  <a:cubicBezTo>
                    <a:pt x="11654171" y="2696174"/>
                    <a:pt x="11639222" y="2709012"/>
                    <a:pt x="11609322" y="2709350"/>
                  </a:cubicBezTo>
                  <a:lnTo>
                    <a:pt x="11609322" y="2689839"/>
                  </a:lnTo>
                  <a:cubicBezTo>
                    <a:pt x="11616670" y="2689670"/>
                    <a:pt x="11621886" y="2687643"/>
                    <a:pt x="11624969" y="2683758"/>
                  </a:cubicBezTo>
                  <a:cubicBezTo>
                    <a:pt x="11628051" y="2679873"/>
                    <a:pt x="11629593" y="2673454"/>
                    <a:pt x="11629593" y="2664501"/>
                  </a:cubicBezTo>
                  <a:lnTo>
                    <a:pt x="11629593" y="2629153"/>
                  </a:lnTo>
                  <a:cubicBezTo>
                    <a:pt x="11629593" y="2612009"/>
                    <a:pt x="11637913" y="2601576"/>
                    <a:pt x="11654552" y="2597860"/>
                  </a:cubicBezTo>
                  <a:lnTo>
                    <a:pt x="11654552" y="2597480"/>
                  </a:lnTo>
                  <a:cubicBezTo>
                    <a:pt x="11637913" y="2593510"/>
                    <a:pt x="11629593" y="2582995"/>
                    <a:pt x="11629593" y="2565934"/>
                  </a:cubicBezTo>
                  <a:lnTo>
                    <a:pt x="11629593" y="2530206"/>
                  </a:lnTo>
                  <a:cubicBezTo>
                    <a:pt x="11629593" y="2514411"/>
                    <a:pt x="11622836" y="2506345"/>
                    <a:pt x="11609322" y="2506008"/>
                  </a:cubicBezTo>
                  <a:close/>
                  <a:moveTo>
                    <a:pt x="11591838" y="2486370"/>
                  </a:moveTo>
                  <a:lnTo>
                    <a:pt x="11591838" y="2506008"/>
                  </a:lnTo>
                  <a:cubicBezTo>
                    <a:pt x="11578409" y="2506345"/>
                    <a:pt x="11571694" y="2514411"/>
                    <a:pt x="11571694" y="2530206"/>
                  </a:cubicBezTo>
                  <a:lnTo>
                    <a:pt x="11571694" y="2565934"/>
                  </a:lnTo>
                  <a:cubicBezTo>
                    <a:pt x="11571694" y="2582995"/>
                    <a:pt x="11563290" y="2593510"/>
                    <a:pt x="11546482" y="2597480"/>
                  </a:cubicBezTo>
                  <a:lnTo>
                    <a:pt x="11546482" y="2597860"/>
                  </a:lnTo>
                  <a:cubicBezTo>
                    <a:pt x="11563290" y="2601576"/>
                    <a:pt x="11571694" y="2612009"/>
                    <a:pt x="11571694" y="2629153"/>
                  </a:cubicBezTo>
                  <a:lnTo>
                    <a:pt x="11571694" y="2664501"/>
                  </a:lnTo>
                  <a:cubicBezTo>
                    <a:pt x="11571694" y="2673538"/>
                    <a:pt x="11573193" y="2679978"/>
                    <a:pt x="11576192" y="2683821"/>
                  </a:cubicBezTo>
                  <a:cubicBezTo>
                    <a:pt x="11579190" y="2687664"/>
                    <a:pt x="11584405" y="2689670"/>
                    <a:pt x="11591838" y="2689839"/>
                  </a:cubicBezTo>
                  <a:lnTo>
                    <a:pt x="11591838" y="2709350"/>
                  </a:lnTo>
                  <a:cubicBezTo>
                    <a:pt x="11561769" y="2709012"/>
                    <a:pt x="11546735" y="2696174"/>
                    <a:pt x="11546735" y="2670836"/>
                  </a:cubicBezTo>
                  <a:lnTo>
                    <a:pt x="11546735" y="2633461"/>
                  </a:lnTo>
                  <a:cubicBezTo>
                    <a:pt x="11546735" y="2616737"/>
                    <a:pt x="11540147" y="2607953"/>
                    <a:pt x="11526971" y="2607108"/>
                  </a:cubicBezTo>
                  <a:lnTo>
                    <a:pt x="11526971" y="2588613"/>
                  </a:lnTo>
                  <a:cubicBezTo>
                    <a:pt x="11540147" y="2587767"/>
                    <a:pt x="11546735" y="2578815"/>
                    <a:pt x="11546735" y="2561752"/>
                  </a:cubicBezTo>
                  <a:lnTo>
                    <a:pt x="11546735" y="2525391"/>
                  </a:lnTo>
                  <a:cubicBezTo>
                    <a:pt x="11546735" y="2499715"/>
                    <a:pt x="11561769" y="2486708"/>
                    <a:pt x="11591838" y="2486370"/>
                  </a:cubicBezTo>
                  <a:close/>
                  <a:moveTo>
                    <a:pt x="10935299" y="2486370"/>
                  </a:moveTo>
                  <a:cubicBezTo>
                    <a:pt x="10965199" y="2486708"/>
                    <a:pt x="10980148" y="2499715"/>
                    <a:pt x="10980148" y="2525391"/>
                  </a:cubicBezTo>
                  <a:lnTo>
                    <a:pt x="10980148" y="2561752"/>
                  </a:lnTo>
                  <a:cubicBezTo>
                    <a:pt x="10980148" y="2578815"/>
                    <a:pt x="10986694" y="2587767"/>
                    <a:pt x="10999786" y="2588613"/>
                  </a:cubicBezTo>
                  <a:lnTo>
                    <a:pt x="10999786" y="2607108"/>
                  </a:lnTo>
                  <a:cubicBezTo>
                    <a:pt x="10986694" y="2607953"/>
                    <a:pt x="10980148" y="2616737"/>
                    <a:pt x="10980148" y="2633461"/>
                  </a:cubicBezTo>
                  <a:lnTo>
                    <a:pt x="10980148" y="2670836"/>
                  </a:lnTo>
                  <a:cubicBezTo>
                    <a:pt x="10980148" y="2696174"/>
                    <a:pt x="10965199" y="2709012"/>
                    <a:pt x="10935299" y="2709350"/>
                  </a:cubicBezTo>
                  <a:lnTo>
                    <a:pt x="10935299" y="2689839"/>
                  </a:lnTo>
                  <a:cubicBezTo>
                    <a:pt x="10942647" y="2689670"/>
                    <a:pt x="10947863" y="2687643"/>
                    <a:pt x="10950946" y="2683758"/>
                  </a:cubicBezTo>
                  <a:cubicBezTo>
                    <a:pt x="10954028" y="2679873"/>
                    <a:pt x="10955570" y="2673454"/>
                    <a:pt x="10955570" y="2664501"/>
                  </a:cubicBezTo>
                  <a:lnTo>
                    <a:pt x="10955570" y="2629153"/>
                  </a:lnTo>
                  <a:cubicBezTo>
                    <a:pt x="10955570" y="2612009"/>
                    <a:pt x="10963890" y="2601576"/>
                    <a:pt x="10980529" y="2597860"/>
                  </a:cubicBezTo>
                  <a:lnTo>
                    <a:pt x="10980529" y="2597480"/>
                  </a:lnTo>
                  <a:cubicBezTo>
                    <a:pt x="10963890" y="2593510"/>
                    <a:pt x="10955570" y="2582995"/>
                    <a:pt x="10955570" y="2565934"/>
                  </a:cubicBezTo>
                  <a:lnTo>
                    <a:pt x="10955570" y="2530206"/>
                  </a:lnTo>
                  <a:cubicBezTo>
                    <a:pt x="10955570" y="2514411"/>
                    <a:pt x="10948813" y="2506345"/>
                    <a:pt x="10935299" y="2506008"/>
                  </a:cubicBezTo>
                  <a:close/>
                  <a:moveTo>
                    <a:pt x="10917815" y="2486370"/>
                  </a:moveTo>
                  <a:lnTo>
                    <a:pt x="10917815" y="2506008"/>
                  </a:lnTo>
                  <a:cubicBezTo>
                    <a:pt x="10904386" y="2506345"/>
                    <a:pt x="10897671" y="2514411"/>
                    <a:pt x="10897671" y="2530206"/>
                  </a:cubicBezTo>
                  <a:lnTo>
                    <a:pt x="10897671" y="2565934"/>
                  </a:lnTo>
                  <a:cubicBezTo>
                    <a:pt x="10897671" y="2582995"/>
                    <a:pt x="10889267" y="2593510"/>
                    <a:pt x="10872459" y="2597480"/>
                  </a:cubicBezTo>
                  <a:lnTo>
                    <a:pt x="10872459" y="2597860"/>
                  </a:lnTo>
                  <a:cubicBezTo>
                    <a:pt x="10889267" y="2601576"/>
                    <a:pt x="10897671" y="2612009"/>
                    <a:pt x="10897671" y="2629153"/>
                  </a:cubicBezTo>
                  <a:lnTo>
                    <a:pt x="10897671" y="2664501"/>
                  </a:lnTo>
                  <a:cubicBezTo>
                    <a:pt x="10897671" y="2673538"/>
                    <a:pt x="10899170" y="2679978"/>
                    <a:pt x="10902169" y="2683821"/>
                  </a:cubicBezTo>
                  <a:cubicBezTo>
                    <a:pt x="10905167" y="2687664"/>
                    <a:pt x="10910382" y="2689670"/>
                    <a:pt x="10917815" y="2689839"/>
                  </a:cubicBezTo>
                  <a:lnTo>
                    <a:pt x="10917815" y="2709350"/>
                  </a:lnTo>
                  <a:cubicBezTo>
                    <a:pt x="10887746" y="2709012"/>
                    <a:pt x="10872712" y="2696174"/>
                    <a:pt x="10872712" y="2670836"/>
                  </a:cubicBezTo>
                  <a:lnTo>
                    <a:pt x="10872712" y="2633461"/>
                  </a:lnTo>
                  <a:cubicBezTo>
                    <a:pt x="10872712" y="2616737"/>
                    <a:pt x="10866124" y="2607953"/>
                    <a:pt x="10852948" y="2607108"/>
                  </a:cubicBezTo>
                  <a:lnTo>
                    <a:pt x="10852948" y="2588613"/>
                  </a:lnTo>
                  <a:cubicBezTo>
                    <a:pt x="10866124" y="2587767"/>
                    <a:pt x="10872712" y="2578815"/>
                    <a:pt x="10872712" y="2561752"/>
                  </a:cubicBezTo>
                  <a:lnTo>
                    <a:pt x="10872712" y="2525391"/>
                  </a:lnTo>
                  <a:cubicBezTo>
                    <a:pt x="10872712" y="2499715"/>
                    <a:pt x="10887746" y="2486708"/>
                    <a:pt x="10917815" y="2486370"/>
                  </a:cubicBezTo>
                  <a:close/>
                  <a:moveTo>
                    <a:pt x="9736849" y="2486370"/>
                  </a:moveTo>
                  <a:cubicBezTo>
                    <a:pt x="9766749" y="2486708"/>
                    <a:pt x="9781698" y="2499715"/>
                    <a:pt x="9781698" y="2525391"/>
                  </a:cubicBezTo>
                  <a:lnTo>
                    <a:pt x="9781698" y="2561752"/>
                  </a:lnTo>
                  <a:cubicBezTo>
                    <a:pt x="9781698" y="2578815"/>
                    <a:pt x="9788244" y="2587767"/>
                    <a:pt x="9801336" y="2588613"/>
                  </a:cubicBezTo>
                  <a:lnTo>
                    <a:pt x="9801336" y="2607108"/>
                  </a:lnTo>
                  <a:cubicBezTo>
                    <a:pt x="9788244" y="2607953"/>
                    <a:pt x="9781698" y="2616737"/>
                    <a:pt x="9781698" y="2633461"/>
                  </a:cubicBezTo>
                  <a:lnTo>
                    <a:pt x="9781698" y="2670836"/>
                  </a:lnTo>
                  <a:cubicBezTo>
                    <a:pt x="9781698" y="2696174"/>
                    <a:pt x="9766749" y="2709012"/>
                    <a:pt x="9736849" y="2709350"/>
                  </a:cubicBezTo>
                  <a:lnTo>
                    <a:pt x="9736849" y="2689839"/>
                  </a:lnTo>
                  <a:cubicBezTo>
                    <a:pt x="9744197" y="2689670"/>
                    <a:pt x="9749413" y="2687643"/>
                    <a:pt x="9752496" y="2683758"/>
                  </a:cubicBezTo>
                  <a:cubicBezTo>
                    <a:pt x="9755578" y="2679873"/>
                    <a:pt x="9757120" y="2673454"/>
                    <a:pt x="9757120" y="2664501"/>
                  </a:cubicBezTo>
                  <a:lnTo>
                    <a:pt x="9757120" y="2629153"/>
                  </a:lnTo>
                  <a:cubicBezTo>
                    <a:pt x="9757120" y="2612009"/>
                    <a:pt x="9765440" y="2601576"/>
                    <a:pt x="9782079" y="2597860"/>
                  </a:cubicBezTo>
                  <a:lnTo>
                    <a:pt x="9782079" y="2597480"/>
                  </a:lnTo>
                  <a:cubicBezTo>
                    <a:pt x="9765440" y="2593510"/>
                    <a:pt x="9757120" y="2582995"/>
                    <a:pt x="9757120" y="2565934"/>
                  </a:cubicBezTo>
                  <a:lnTo>
                    <a:pt x="9757120" y="2530206"/>
                  </a:lnTo>
                  <a:cubicBezTo>
                    <a:pt x="9757120" y="2514411"/>
                    <a:pt x="9750363" y="2506345"/>
                    <a:pt x="9736849" y="2506008"/>
                  </a:cubicBezTo>
                  <a:close/>
                  <a:moveTo>
                    <a:pt x="9719365" y="2486370"/>
                  </a:moveTo>
                  <a:lnTo>
                    <a:pt x="9719365" y="2506008"/>
                  </a:lnTo>
                  <a:cubicBezTo>
                    <a:pt x="9705936" y="2506345"/>
                    <a:pt x="9699221" y="2514411"/>
                    <a:pt x="9699221" y="2530206"/>
                  </a:cubicBezTo>
                  <a:lnTo>
                    <a:pt x="9699221" y="2565934"/>
                  </a:lnTo>
                  <a:cubicBezTo>
                    <a:pt x="9699221" y="2582995"/>
                    <a:pt x="9690817" y="2593510"/>
                    <a:pt x="9674009" y="2597480"/>
                  </a:cubicBezTo>
                  <a:lnTo>
                    <a:pt x="9674009" y="2597860"/>
                  </a:lnTo>
                  <a:cubicBezTo>
                    <a:pt x="9690817" y="2601576"/>
                    <a:pt x="9699221" y="2612009"/>
                    <a:pt x="9699221" y="2629153"/>
                  </a:cubicBezTo>
                  <a:lnTo>
                    <a:pt x="9699221" y="2664501"/>
                  </a:lnTo>
                  <a:cubicBezTo>
                    <a:pt x="9699221" y="2673538"/>
                    <a:pt x="9700720" y="2679978"/>
                    <a:pt x="9703719" y="2683821"/>
                  </a:cubicBezTo>
                  <a:cubicBezTo>
                    <a:pt x="9706717" y="2687664"/>
                    <a:pt x="9711932" y="2689670"/>
                    <a:pt x="9719365" y="2689839"/>
                  </a:cubicBezTo>
                  <a:lnTo>
                    <a:pt x="9719365" y="2709350"/>
                  </a:lnTo>
                  <a:cubicBezTo>
                    <a:pt x="9689296" y="2709012"/>
                    <a:pt x="9674262" y="2696174"/>
                    <a:pt x="9674262" y="2670836"/>
                  </a:cubicBezTo>
                  <a:lnTo>
                    <a:pt x="9674262" y="2633461"/>
                  </a:lnTo>
                  <a:cubicBezTo>
                    <a:pt x="9674262" y="2616737"/>
                    <a:pt x="9667674" y="2607953"/>
                    <a:pt x="9654498" y="2607108"/>
                  </a:cubicBezTo>
                  <a:lnTo>
                    <a:pt x="9654498" y="2588613"/>
                  </a:lnTo>
                  <a:cubicBezTo>
                    <a:pt x="9667674" y="2587767"/>
                    <a:pt x="9674262" y="2578815"/>
                    <a:pt x="9674262" y="2561752"/>
                  </a:cubicBezTo>
                  <a:lnTo>
                    <a:pt x="9674262" y="2525391"/>
                  </a:lnTo>
                  <a:cubicBezTo>
                    <a:pt x="9674262" y="2499715"/>
                    <a:pt x="9689296" y="2486708"/>
                    <a:pt x="9719365" y="2486370"/>
                  </a:cubicBezTo>
                  <a:close/>
                  <a:moveTo>
                    <a:pt x="8112647" y="2486370"/>
                  </a:moveTo>
                  <a:cubicBezTo>
                    <a:pt x="8142547" y="2486708"/>
                    <a:pt x="8157496" y="2499715"/>
                    <a:pt x="8157496" y="2525391"/>
                  </a:cubicBezTo>
                  <a:lnTo>
                    <a:pt x="8157496" y="2561752"/>
                  </a:lnTo>
                  <a:cubicBezTo>
                    <a:pt x="8157496" y="2578815"/>
                    <a:pt x="8164042" y="2587767"/>
                    <a:pt x="8177134" y="2588613"/>
                  </a:cubicBezTo>
                  <a:lnTo>
                    <a:pt x="8177134" y="2607108"/>
                  </a:lnTo>
                  <a:cubicBezTo>
                    <a:pt x="8164042" y="2607953"/>
                    <a:pt x="8157496" y="2616737"/>
                    <a:pt x="8157496" y="2633461"/>
                  </a:cubicBezTo>
                  <a:lnTo>
                    <a:pt x="8157496" y="2670836"/>
                  </a:lnTo>
                  <a:cubicBezTo>
                    <a:pt x="8157496" y="2696174"/>
                    <a:pt x="8142547" y="2709012"/>
                    <a:pt x="8112647" y="2709350"/>
                  </a:cubicBezTo>
                  <a:lnTo>
                    <a:pt x="8112647" y="2689839"/>
                  </a:lnTo>
                  <a:cubicBezTo>
                    <a:pt x="8119995" y="2689670"/>
                    <a:pt x="8125211" y="2687643"/>
                    <a:pt x="8128294" y="2683758"/>
                  </a:cubicBezTo>
                  <a:cubicBezTo>
                    <a:pt x="8131376" y="2679873"/>
                    <a:pt x="8132918" y="2673454"/>
                    <a:pt x="8132918" y="2664501"/>
                  </a:cubicBezTo>
                  <a:lnTo>
                    <a:pt x="8132918" y="2629153"/>
                  </a:lnTo>
                  <a:cubicBezTo>
                    <a:pt x="8132918" y="2612009"/>
                    <a:pt x="8141238" y="2601576"/>
                    <a:pt x="8157877" y="2597860"/>
                  </a:cubicBezTo>
                  <a:lnTo>
                    <a:pt x="8157877" y="2597480"/>
                  </a:lnTo>
                  <a:cubicBezTo>
                    <a:pt x="8141238" y="2593510"/>
                    <a:pt x="8132918" y="2582995"/>
                    <a:pt x="8132918" y="2565934"/>
                  </a:cubicBezTo>
                  <a:lnTo>
                    <a:pt x="8132918" y="2530206"/>
                  </a:lnTo>
                  <a:cubicBezTo>
                    <a:pt x="8132918" y="2514411"/>
                    <a:pt x="8126161" y="2506345"/>
                    <a:pt x="8112647" y="2506008"/>
                  </a:cubicBezTo>
                  <a:close/>
                  <a:moveTo>
                    <a:pt x="8095163" y="2486370"/>
                  </a:moveTo>
                  <a:lnTo>
                    <a:pt x="8095163" y="2506008"/>
                  </a:lnTo>
                  <a:cubicBezTo>
                    <a:pt x="8081734" y="2506345"/>
                    <a:pt x="8075019" y="2514411"/>
                    <a:pt x="8075019" y="2530206"/>
                  </a:cubicBezTo>
                  <a:lnTo>
                    <a:pt x="8075019" y="2565934"/>
                  </a:lnTo>
                  <a:cubicBezTo>
                    <a:pt x="8075019" y="2582995"/>
                    <a:pt x="8066615" y="2593510"/>
                    <a:pt x="8049807" y="2597480"/>
                  </a:cubicBezTo>
                  <a:lnTo>
                    <a:pt x="8049807" y="2597860"/>
                  </a:lnTo>
                  <a:cubicBezTo>
                    <a:pt x="8066615" y="2601576"/>
                    <a:pt x="8075019" y="2612009"/>
                    <a:pt x="8075019" y="2629153"/>
                  </a:cubicBezTo>
                  <a:lnTo>
                    <a:pt x="8075019" y="2664501"/>
                  </a:lnTo>
                  <a:cubicBezTo>
                    <a:pt x="8075019" y="2673538"/>
                    <a:pt x="8076518" y="2679978"/>
                    <a:pt x="8079517" y="2683821"/>
                  </a:cubicBezTo>
                  <a:cubicBezTo>
                    <a:pt x="8082515" y="2687664"/>
                    <a:pt x="8087731" y="2689670"/>
                    <a:pt x="8095163" y="2689839"/>
                  </a:cubicBezTo>
                  <a:lnTo>
                    <a:pt x="8095163" y="2709350"/>
                  </a:lnTo>
                  <a:cubicBezTo>
                    <a:pt x="8065095" y="2709012"/>
                    <a:pt x="8050061" y="2696174"/>
                    <a:pt x="8050061" y="2670836"/>
                  </a:cubicBezTo>
                  <a:lnTo>
                    <a:pt x="8050061" y="2633461"/>
                  </a:lnTo>
                  <a:cubicBezTo>
                    <a:pt x="8050061" y="2616737"/>
                    <a:pt x="8043472" y="2607953"/>
                    <a:pt x="8030296" y="2607108"/>
                  </a:cubicBezTo>
                  <a:lnTo>
                    <a:pt x="8030296" y="2588613"/>
                  </a:lnTo>
                  <a:cubicBezTo>
                    <a:pt x="8043472" y="2587767"/>
                    <a:pt x="8050061" y="2578815"/>
                    <a:pt x="8050061" y="2561752"/>
                  </a:cubicBezTo>
                  <a:lnTo>
                    <a:pt x="8050061" y="2525391"/>
                  </a:lnTo>
                  <a:cubicBezTo>
                    <a:pt x="8050061" y="2499715"/>
                    <a:pt x="8065095" y="2486708"/>
                    <a:pt x="8095163" y="2486370"/>
                  </a:cubicBezTo>
                  <a:close/>
                  <a:moveTo>
                    <a:pt x="5536938" y="2486370"/>
                  </a:moveTo>
                  <a:cubicBezTo>
                    <a:pt x="5566839" y="2486708"/>
                    <a:pt x="5581787" y="2499715"/>
                    <a:pt x="5581787" y="2525391"/>
                  </a:cubicBezTo>
                  <a:lnTo>
                    <a:pt x="5581787" y="2561752"/>
                  </a:lnTo>
                  <a:cubicBezTo>
                    <a:pt x="5581787" y="2578815"/>
                    <a:pt x="5588333" y="2587767"/>
                    <a:pt x="5601425" y="2588613"/>
                  </a:cubicBezTo>
                  <a:lnTo>
                    <a:pt x="5601425" y="2607108"/>
                  </a:lnTo>
                  <a:cubicBezTo>
                    <a:pt x="5588333" y="2607953"/>
                    <a:pt x="5581787" y="2616737"/>
                    <a:pt x="5581787" y="2633461"/>
                  </a:cubicBezTo>
                  <a:lnTo>
                    <a:pt x="5581787" y="2670836"/>
                  </a:lnTo>
                  <a:cubicBezTo>
                    <a:pt x="5581787" y="2696174"/>
                    <a:pt x="5566839" y="2709012"/>
                    <a:pt x="5536938" y="2709350"/>
                  </a:cubicBezTo>
                  <a:lnTo>
                    <a:pt x="5536938" y="2689839"/>
                  </a:lnTo>
                  <a:cubicBezTo>
                    <a:pt x="5544286" y="2689670"/>
                    <a:pt x="5549501" y="2687643"/>
                    <a:pt x="5552584" y="2683758"/>
                  </a:cubicBezTo>
                  <a:cubicBezTo>
                    <a:pt x="5555667" y="2679873"/>
                    <a:pt x="5557209" y="2673454"/>
                    <a:pt x="5557209" y="2664501"/>
                  </a:cubicBezTo>
                  <a:lnTo>
                    <a:pt x="5557209" y="2629153"/>
                  </a:lnTo>
                  <a:cubicBezTo>
                    <a:pt x="5557209" y="2612009"/>
                    <a:pt x="5565529" y="2601576"/>
                    <a:pt x="5582167" y="2597860"/>
                  </a:cubicBezTo>
                  <a:lnTo>
                    <a:pt x="5582167" y="2597480"/>
                  </a:lnTo>
                  <a:cubicBezTo>
                    <a:pt x="5565529" y="2593510"/>
                    <a:pt x="5557209" y="2582995"/>
                    <a:pt x="5557209" y="2565934"/>
                  </a:cubicBezTo>
                  <a:lnTo>
                    <a:pt x="5557209" y="2530206"/>
                  </a:lnTo>
                  <a:cubicBezTo>
                    <a:pt x="5557209" y="2514411"/>
                    <a:pt x="5550452" y="2506345"/>
                    <a:pt x="5536938" y="2506008"/>
                  </a:cubicBezTo>
                  <a:close/>
                  <a:moveTo>
                    <a:pt x="5519454" y="2486370"/>
                  </a:moveTo>
                  <a:lnTo>
                    <a:pt x="5519454" y="2506008"/>
                  </a:lnTo>
                  <a:cubicBezTo>
                    <a:pt x="5506025" y="2506345"/>
                    <a:pt x="5499311" y="2514411"/>
                    <a:pt x="5499311" y="2530206"/>
                  </a:cubicBezTo>
                  <a:lnTo>
                    <a:pt x="5499311" y="2565934"/>
                  </a:lnTo>
                  <a:cubicBezTo>
                    <a:pt x="5499311" y="2582995"/>
                    <a:pt x="5490905" y="2593510"/>
                    <a:pt x="5474097" y="2597480"/>
                  </a:cubicBezTo>
                  <a:lnTo>
                    <a:pt x="5474097" y="2597860"/>
                  </a:lnTo>
                  <a:cubicBezTo>
                    <a:pt x="5490905" y="2601576"/>
                    <a:pt x="5499311" y="2612009"/>
                    <a:pt x="5499311" y="2629153"/>
                  </a:cubicBezTo>
                  <a:lnTo>
                    <a:pt x="5499311" y="2664501"/>
                  </a:lnTo>
                  <a:cubicBezTo>
                    <a:pt x="5499311" y="2673538"/>
                    <a:pt x="5500809" y="2679978"/>
                    <a:pt x="5503807" y="2683821"/>
                  </a:cubicBezTo>
                  <a:cubicBezTo>
                    <a:pt x="5506805" y="2687664"/>
                    <a:pt x="5512021" y="2689670"/>
                    <a:pt x="5519454" y="2689839"/>
                  </a:cubicBezTo>
                  <a:lnTo>
                    <a:pt x="5519454" y="2709350"/>
                  </a:lnTo>
                  <a:cubicBezTo>
                    <a:pt x="5489386" y="2709012"/>
                    <a:pt x="5474352" y="2696174"/>
                    <a:pt x="5474352" y="2670836"/>
                  </a:cubicBezTo>
                  <a:lnTo>
                    <a:pt x="5474352" y="2633461"/>
                  </a:lnTo>
                  <a:cubicBezTo>
                    <a:pt x="5474352" y="2616737"/>
                    <a:pt x="5467764" y="2607953"/>
                    <a:pt x="5454588" y="2607108"/>
                  </a:cubicBezTo>
                  <a:lnTo>
                    <a:pt x="5454588" y="2588613"/>
                  </a:lnTo>
                  <a:cubicBezTo>
                    <a:pt x="5467764" y="2587767"/>
                    <a:pt x="5474352" y="2578815"/>
                    <a:pt x="5474352" y="2561752"/>
                  </a:cubicBezTo>
                  <a:lnTo>
                    <a:pt x="5474352" y="2525391"/>
                  </a:lnTo>
                  <a:cubicBezTo>
                    <a:pt x="5474352" y="2499715"/>
                    <a:pt x="5489386" y="2486708"/>
                    <a:pt x="5519454" y="2486370"/>
                  </a:cubicBezTo>
                  <a:close/>
                  <a:moveTo>
                    <a:pt x="4870836" y="2486370"/>
                  </a:moveTo>
                  <a:cubicBezTo>
                    <a:pt x="4900736" y="2486708"/>
                    <a:pt x="4915686" y="2499715"/>
                    <a:pt x="4915686" y="2525391"/>
                  </a:cubicBezTo>
                  <a:lnTo>
                    <a:pt x="4915686" y="2561752"/>
                  </a:lnTo>
                  <a:cubicBezTo>
                    <a:pt x="4915686" y="2578815"/>
                    <a:pt x="4922231" y="2587767"/>
                    <a:pt x="4935324" y="2588613"/>
                  </a:cubicBezTo>
                  <a:lnTo>
                    <a:pt x="4935324" y="2607108"/>
                  </a:lnTo>
                  <a:cubicBezTo>
                    <a:pt x="4922231" y="2607953"/>
                    <a:pt x="4915686" y="2616737"/>
                    <a:pt x="4915686" y="2633461"/>
                  </a:cubicBezTo>
                  <a:lnTo>
                    <a:pt x="4915686" y="2670836"/>
                  </a:lnTo>
                  <a:cubicBezTo>
                    <a:pt x="4915686" y="2696174"/>
                    <a:pt x="4900736" y="2709012"/>
                    <a:pt x="4870836" y="2709350"/>
                  </a:cubicBezTo>
                  <a:lnTo>
                    <a:pt x="4870836" y="2689839"/>
                  </a:lnTo>
                  <a:cubicBezTo>
                    <a:pt x="4878185" y="2689670"/>
                    <a:pt x="4883399" y="2687643"/>
                    <a:pt x="4886482" y="2683758"/>
                  </a:cubicBezTo>
                  <a:cubicBezTo>
                    <a:pt x="4889566" y="2679873"/>
                    <a:pt x="4891108" y="2673454"/>
                    <a:pt x="4891108" y="2664501"/>
                  </a:cubicBezTo>
                  <a:lnTo>
                    <a:pt x="4891108" y="2629153"/>
                  </a:lnTo>
                  <a:cubicBezTo>
                    <a:pt x="4891108" y="2612009"/>
                    <a:pt x="4899426" y="2601576"/>
                    <a:pt x="4916065" y="2597860"/>
                  </a:cubicBezTo>
                  <a:lnTo>
                    <a:pt x="4916065" y="2597480"/>
                  </a:lnTo>
                  <a:cubicBezTo>
                    <a:pt x="4899426" y="2593510"/>
                    <a:pt x="4891108" y="2582995"/>
                    <a:pt x="4891108" y="2565934"/>
                  </a:cubicBezTo>
                  <a:lnTo>
                    <a:pt x="4891108" y="2530206"/>
                  </a:lnTo>
                  <a:cubicBezTo>
                    <a:pt x="4891108" y="2514411"/>
                    <a:pt x="4884351" y="2506345"/>
                    <a:pt x="4870836" y="2506008"/>
                  </a:cubicBezTo>
                  <a:close/>
                  <a:moveTo>
                    <a:pt x="4853353" y="2486370"/>
                  </a:moveTo>
                  <a:lnTo>
                    <a:pt x="4853353" y="2506008"/>
                  </a:lnTo>
                  <a:cubicBezTo>
                    <a:pt x="4839922" y="2506345"/>
                    <a:pt x="4833208" y="2514411"/>
                    <a:pt x="4833208" y="2530206"/>
                  </a:cubicBezTo>
                  <a:lnTo>
                    <a:pt x="4833208" y="2565934"/>
                  </a:lnTo>
                  <a:cubicBezTo>
                    <a:pt x="4833208" y="2582995"/>
                    <a:pt x="4824804" y="2593510"/>
                    <a:pt x="4807996" y="2597480"/>
                  </a:cubicBezTo>
                  <a:lnTo>
                    <a:pt x="4807996" y="2597860"/>
                  </a:lnTo>
                  <a:cubicBezTo>
                    <a:pt x="4824804" y="2601576"/>
                    <a:pt x="4833208" y="2612009"/>
                    <a:pt x="4833208" y="2629153"/>
                  </a:cubicBezTo>
                  <a:lnTo>
                    <a:pt x="4833208" y="2664501"/>
                  </a:lnTo>
                  <a:cubicBezTo>
                    <a:pt x="4833208" y="2673538"/>
                    <a:pt x="4834707" y="2679978"/>
                    <a:pt x="4837705" y="2683821"/>
                  </a:cubicBezTo>
                  <a:cubicBezTo>
                    <a:pt x="4840703" y="2687664"/>
                    <a:pt x="4845919" y="2689670"/>
                    <a:pt x="4853353" y="2689839"/>
                  </a:cubicBezTo>
                  <a:lnTo>
                    <a:pt x="4853353" y="2709350"/>
                  </a:lnTo>
                  <a:cubicBezTo>
                    <a:pt x="4823284" y="2709012"/>
                    <a:pt x="4808250" y="2696174"/>
                    <a:pt x="4808250" y="2670836"/>
                  </a:cubicBezTo>
                  <a:lnTo>
                    <a:pt x="4808250" y="2633461"/>
                  </a:lnTo>
                  <a:cubicBezTo>
                    <a:pt x="4808250" y="2616737"/>
                    <a:pt x="4801662" y="2607953"/>
                    <a:pt x="4788486" y="2607108"/>
                  </a:cubicBezTo>
                  <a:lnTo>
                    <a:pt x="4788486" y="2588613"/>
                  </a:lnTo>
                  <a:cubicBezTo>
                    <a:pt x="4801662" y="2587767"/>
                    <a:pt x="4808250" y="2578815"/>
                    <a:pt x="4808250" y="2561752"/>
                  </a:cubicBezTo>
                  <a:lnTo>
                    <a:pt x="4808250" y="2525391"/>
                  </a:lnTo>
                  <a:cubicBezTo>
                    <a:pt x="4808250" y="2499715"/>
                    <a:pt x="4823284" y="2486708"/>
                    <a:pt x="4853353" y="2486370"/>
                  </a:cubicBezTo>
                  <a:close/>
                  <a:moveTo>
                    <a:pt x="2046291" y="2486370"/>
                  </a:moveTo>
                  <a:cubicBezTo>
                    <a:pt x="2076191" y="2486708"/>
                    <a:pt x="2091141" y="2499715"/>
                    <a:pt x="2091141" y="2525391"/>
                  </a:cubicBezTo>
                  <a:lnTo>
                    <a:pt x="2091141" y="2561752"/>
                  </a:lnTo>
                  <a:cubicBezTo>
                    <a:pt x="2091141" y="2578815"/>
                    <a:pt x="2097686" y="2587767"/>
                    <a:pt x="2110778" y="2588613"/>
                  </a:cubicBezTo>
                  <a:lnTo>
                    <a:pt x="2110778" y="2607108"/>
                  </a:lnTo>
                  <a:cubicBezTo>
                    <a:pt x="2097686" y="2607953"/>
                    <a:pt x="2091141" y="2616737"/>
                    <a:pt x="2091141" y="2633461"/>
                  </a:cubicBezTo>
                  <a:lnTo>
                    <a:pt x="2091141" y="2670836"/>
                  </a:lnTo>
                  <a:cubicBezTo>
                    <a:pt x="2091141" y="2696174"/>
                    <a:pt x="2076191" y="2709012"/>
                    <a:pt x="2046291" y="2709350"/>
                  </a:cubicBezTo>
                  <a:lnTo>
                    <a:pt x="2046291" y="2689839"/>
                  </a:lnTo>
                  <a:cubicBezTo>
                    <a:pt x="2053639" y="2689670"/>
                    <a:pt x="2058855" y="2687643"/>
                    <a:pt x="2061938" y="2683758"/>
                  </a:cubicBezTo>
                  <a:cubicBezTo>
                    <a:pt x="2065021" y="2679873"/>
                    <a:pt x="2066562" y="2673454"/>
                    <a:pt x="2066562" y="2664501"/>
                  </a:cubicBezTo>
                  <a:lnTo>
                    <a:pt x="2066562" y="2629153"/>
                  </a:lnTo>
                  <a:cubicBezTo>
                    <a:pt x="2066562" y="2612009"/>
                    <a:pt x="2074882" y="2601576"/>
                    <a:pt x="2091521" y="2597860"/>
                  </a:cubicBezTo>
                  <a:lnTo>
                    <a:pt x="2091521" y="2597480"/>
                  </a:lnTo>
                  <a:cubicBezTo>
                    <a:pt x="2074882" y="2593510"/>
                    <a:pt x="2066562" y="2582995"/>
                    <a:pt x="2066562" y="2565934"/>
                  </a:cubicBezTo>
                  <a:lnTo>
                    <a:pt x="2066562" y="2530206"/>
                  </a:lnTo>
                  <a:cubicBezTo>
                    <a:pt x="2066562" y="2514411"/>
                    <a:pt x="2059805" y="2506345"/>
                    <a:pt x="2046291" y="2506008"/>
                  </a:cubicBezTo>
                  <a:close/>
                  <a:moveTo>
                    <a:pt x="2028807" y="2486370"/>
                  </a:moveTo>
                  <a:lnTo>
                    <a:pt x="2028807" y="2506008"/>
                  </a:lnTo>
                  <a:cubicBezTo>
                    <a:pt x="2015378" y="2506345"/>
                    <a:pt x="2008663" y="2514411"/>
                    <a:pt x="2008663" y="2530206"/>
                  </a:cubicBezTo>
                  <a:lnTo>
                    <a:pt x="2008663" y="2565934"/>
                  </a:lnTo>
                  <a:cubicBezTo>
                    <a:pt x="2008663" y="2582995"/>
                    <a:pt x="2000259" y="2593510"/>
                    <a:pt x="1983451" y="2597480"/>
                  </a:cubicBezTo>
                  <a:lnTo>
                    <a:pt x="1983451" y="2597860"/>
                  </a:lnTo>
                  <a:cubicBezTo>
                    <a:pt x="2000259" y="2601576"/>
                    <a:pt x="2008663" y="2612009"/>
                    <a:pt x="2008663" y="2629153"/>
                  </a:cubicBezTo>
                  <a:lnTo>
                    <a:pt x="2008663" y="2664501"/>
                  </a:lnTo>
                  <a:cubicBezTo>
                    <a:pt x="2008663" y="2673538"/>
                    <a:pt x="2010162" y="2679978"/>
                    <a:pt x="2013160" y="2683821"/>
                  </a:cubicBezTo>
                  <a:cubicBezTo>
                    <a:pt x="2016159" y="2687664"/>
                    <a:pt x="2021374" y="2689670"/>
                    <a:pt x="2028807" y="2689839"/>
                  </a:cubicBezTo>
                  <a:lnTo>
                    <a:pt x="2028807" y="2709350"/>
                  </a:lnTo>
                  <a:cubicBezTo>
                    <a:pt x="1998738" y="2709012"/>
                    <a:pt x="1983704" y="2696174"/>
                    <a:pt x="1983704" y="2670836"/>
                  </a:cubicBezTo>
                  <a:lnTo>
                    <a:pt x="1983704" y="2633461"/>
                  </a:lnTo>
                  <a:cubicBezTo>
                    <a:pt x="1983704" y="2616737"/>
                    <a:pt x="1977116" y="2607953"/>
                    <a:pt x="1963940" y="2607108"/>
                  </a:cubicBezTo>
                  <a:lnTo>
                    <a:pt x="1963940" y="2588613"/>
                  </a:lnTo>
                  <a:cubicBezTo>
                    <a:pt x="1977116" y="2587767"/>
                    <a:pt x="1983704" y="2578815"/>
                    <a:pt x="1983704" y="2561752"/>
                  </a:cubicBezTo>
                  <a:lnTo>
                    <a:pt x="1983704" y="2525391"/>
                  </a:lnTo>
                  <a:cubicBezTo>
                    <a:pt x="1983704" y="2499715"/>
                    <a:pt x="1998738" y="2486708"/>
                    <a:pt x="2028807" y="2486370"/>
                  </a:cubicBezTo>
                  <a:close/>
                  <a:moveTo>
                    <a:pt x="8995951" y="2346637"/>
                  </a:moveTo>
                  <a:cubicBezTo>
                    <a:pt x="8991401" y="2364657"/>
                    <a:pt x="8986222" y="2376032"/>
                    <a:pt x="8972602" y="2386149"/>
                  </a:cubicBezTo>
                  <a:cubicBezTo>
                    <a:pt x="8971225" y="2393543"/>
                    <a:pt x="8983618" y="2389592"/>
                    <a:pt x="8989126" y="2389562"/>
                  </a:cubicBezTo>
                  <a:cubicBezTo>
                    <a:pt x="8994634" y="2389532"/>
                    <a:pt x="9004183" y="2391014"/>
                    <a:pt x="9005649" y="2385970"/>
                  </a:cubicBezTo>
                  <a:cubicBezTo>
                    <a:pt x="9006637" y="2382497"/>
                    <a:pt x="9004212" y="2379833"/>
                    <a:pt x="9002686" y="2376451"/>
                  </a:cubicBezTo>
                  <a:cubicBezTo>
                    <a:pt x="9001908" y="2372739"/>
                    <a:pt x="9004796" y="2368129"/>
                    <a:pt x="9003674" y="2363160"/>
                  </a:cubicBezTo>
                  <a:cubicBezTo>
                    <a:pt x="9002551" y="2358191"/>
                    <a:pt x="8999243" y="2350348"/>
                    <a:pt x="8995951" y="2346637"/>
                  </a:cubicBezTo>
                  <a:close/>
                  <a:moveTo>
                    <a:pt x="2935214" y="2346637"/>
                  </a:moveTo>
                  <a:cubicBezTo>
                    <a:pt x="2930664" y="2364657"/>
                    <a:pt x="2925485" y="2376032"/>
                    <a:pt x="2911865" y="2386149"/>
                  </a:cubicBezTo>
                  <a:cubicBezTo>
                    <a:pt x="2910489" y="2393543"/>
                    <a:pt x="2922881" y="2389592"/>
                    <a:pt x="2928389" y="2389562"/>
                  </a:cubicBezTo>
                  <a:cubicBezTo>
                    <a:pt x="2933897" y="2389532"/>
                    <a:pt x="2943446" y="2391014"/>
                    <a:pt x="2944912" y="2385970"/>
                  </a:cubicBezTo>
                  <a:cubicBezTo>
                    <a:pt x="2945900" y="2382497"/>
                    <a:pt x="2943476" y="2379833"/>
                    <a:pt x="2941949" y="2376451"/>
                  </a:cubicBezTo>
                  <a:cubicBezTo>
                    <a:pt x="2941171" y="2372739"/>
                    <a:pt x="2944060" y="2368129"/>
                    <a:pt x="2942937" y="2363160"/>
                  </a:cubicBezTo>
                  <a:cubicBezTo>
                    <a:pt x="2941814" y="2358191"/>
                    <a:pt x="2938507" y="2350348"/>
                    <a:pt x="2935214" y="2346637"/>
                  </a:cubicBezTo>
                  <a:close/>
                  <a:moveTo>
                    <a:pt x="8834846" y="2330113"/>
                  </a:moveTo>
                  <a:cubicBezTo>
                    <a:pt x="8829997" y="2335651"/>
                    <a:pt x="8821107" y="2346218"/>
                    <a:pt x="8821107" y="2350498"/>
                  </a:cubicBezTo>
                  <a:cubicBezTo>
                    <a:pt x="8821376" y="2355826"/>
                    <a:pt x="8835654" y="2371572"/>
                    <a:pt x="8842749" y="2372230"/>
                  </a:cubicBezTo>
                  <a:cubicBezTo>
                    <a:pt x="8848616" y="2372380"/>
                    <a:pt x="8849185" y="2369297"/>
                    <a:pt x="8851729" y="2364956"/>
                  </a:cubicBezTo>
                  <a:cubicBezTo>
                    <a:pt x="8843587" y="2353432"/>
                    <a:pt x="8840204" y="2347565"/>
                    <a:pt x="8834846" y="2330113"/>
                  </a:cubicBezTo>
                  <a:close/>
                  <a:moveTo>
                    <a:pt x="2774110" y="2330113"/>
                  </a:moveTo>
                  <a:cubicBezTo>
                    <a:pt x="2769260" y="2335651"/>
                    <a:pt x="2760370" y="2346218"/>
                    <a:pt x="2760370" y="2350498"/>
                  </a:cubicBezTo>
                  <a:cubicBezTo>
                    <a:pt x="2760639" y="2355826"/>
                    <a:pt x="2774918" y="2371572"/>
                    <a:pt x="2782012" y="2372230"/>
                  </a:cubicBezTo>
                  <a:cubicBezTo>
                    <a:pt x="2787879" y="2372380"/>
                    <a:pt x="2788448" y="2369297"/>
                    <a:pt x="2790992" y="2364956"/>
                  </a:cubicBezTo>
                  <a:cubicBezTo>
                    <a:pt x="2782850" y="2353432"/>
                    <a:pt x="2779468" y="2347565"/>
                    <a:pt x="2774110" y="2330113"/>
                  </a:cubicBezTo>
                  <a:close/>
                  <a:moveTo>
                    <a:pt x="8818347" y="2261360"/>
                  </a:moveTo>
                  <a:lnTo>
                    <a:pt x="8818145" y="2262886"/>
                  </a:lnTo>
                  <a:lnTo>
                    <a:pt x="8818078" y="2261618"/>
                  </a:lnTo>
                  <a:close/>
                  <a:moveTo>
                    <a:pt x="2757610" y="2261359"/>
                  </a:moveTo>
                  <a:lnTo>
                    <a:pt x="2757408" y="2262887"/>
                  </a:lnTo>
                  <a:lnTo>
                    <a:pt x="2757342" y="2261618"/>
                  </a:lnTo>
                  <a:close/>
                  <a:moveTo>
                    <a:pt x="9021634" y="2233980"/>
                  </a:moveTo>
                  <a:cubicBezTo>
                    <a:pt x="9021597" y="2234153"/>
                    <a:pt x="9018719" y="2235223"/>
                    <a:pt x="9017615" y="2236854"/>
                  </a:cubicBezTo>
                  <a:cubicBezTo>
                    <a:pt x="9022184" y="2238376"/>
                    <a:pt x="9023788" y="2239809"/>
                    <a:pt x="9024585" y="2245282"/>
                  </a:cubicBezTo>
                  <a:cubicBezTo>
                    <a:pt x="9024800" y="2245241"/>
                    <a:pt x="9026304" y="2244027"/>
                    <a:pt x="9031512" y="2243544"/>
                  </a:cubicBezTo>
                  <a:cubicBezTo>
                    <a:pt x="9019688" y="2248274"/>
                    <a:pt x="9013702" y="2253363"/>
                    <a:pt x="9005111" y="2262852"/>
                  </a:cubicBezTo>
                  <a:cubicBezTo>
                    <a:pt x="9007827" y="2257508"/>
                    <a:pt x="9010142" y="2255244"/>
                    <a:pt x="9010161" y="2255177"/>
                  </a:cubicBezTo>
                  <a:cubicBezTo>
                    <a:pt x="9005664" y="2253649"/>
                    <a:pt x="9004399" y="2253289"/>
                    <a:pt x="9002327" y="2248169"/>
                  </a:cubicBezTo>
                  <a:cubicBezTo>
                    <a:pt x="9002054" y="2248319"/>
                    <a:pt x="9001601" y="2248087"/>
                    <a:pt x="8997477" y="2252255"/>
                  </a:cubicBezTo>
                  <a:cubicBezTo>
                    <a:pt x="9004721" y="2238007"/>
                    <a:pt x="9011516" y="2237094"/>
                    <a:pt x="9021634" y="2233980"/>
                  </a:cubicBezTo>
                  <a:close/>
                  <a:moveTo>
                    <a:pt x="2960897" y="2233980"/>
                  </a:moveTo>
                  <a:cubicBezTo>
                    <a:pt x="2960860" y="2234153"/>
                    <a:pt x="2957983" y="2235223"/>
                    <a:pt x="2956879" y="2236854"/>
                  </a:cubicBezTo>
                  <a:cubicBezTo>
                    <a:pt x="2961447" y="2238376"/>
                    <a:pt x="2963051" y="2239809"/>
                    <a:pt x="2963848" y="2245282"/>
                  </a:cubicBezTo>
                  <a:cubicBezTo>
                    <a:pt x="2964063" y="2245241"/>
                    <a:pt x="2965567" y="2244027"/>
                    <a:pt x="2970776" y="2243544"/>
                  </a:cubicBezTo>
                  <a:cubicBezTo>
                    <a:pt x="2958952" y="2248274"/>
                    <a:pt x="2952965" y="2253363"/>
                    <a:pt x="2944374" y="2262852"/>
                  </a:cubicBezTo>
                  <a:cubicBezTo>
                    <a:pt x="2947090" y="2257508"/>
                    <a:pt x="2949406" y="2255244"/>
                    <a:pt x="2949424" y="2255177"/>
                  </a:cubicBezTo>
                  <a:cubicBezTo>
                    <a:pt x="2944927" y="2253649"/>
                    <a:pt x="2943662" y="2253289"/>
                    <a:pt x="2941590" y="2248169"/>
                  </a:cubicBezTo>
                  <a:cubicBezTo>
                    <a:pt x="2941317" y="2248319"/>
                    <a:pt x="2940864" y="2248087"/>
                    <a:pt x="2936741" y="2252255"/>
                  </a:cubicBezTo>
                  <a:cubicBezTo>
                    <a:pt x="2943984" y="2238007"/>
                    <a:pt x="2950780" y="2237094"/>
                    <a:pt x="2960897" y="2233980"/>
                  </a:cubicBezTo>
                  <a:close/>
                  <a:moveTo>
                    <a:pt x="8994885" y="2217458"/>
                  </a:moveTo>
                  <a:cubicBezTo>
                    <a:pt x="8995590" y="2217402"/>
                    <a:pt x="8996355" y="2217422"/>
                    <a:pt x="8997186" y="2217495"/>
                  </a:cubicBezTo>
                  <a:cubicBezTo>
                    <a:pt x="8999401" y="2217689"/>
                    <a:pt x="9002087" y="2218258"/>
                    <a:pt x="9005380" y="2218759"/>
                  </a:cubicBezTo>
                  <a:cubicBezTo>
                    <a:pt x="8994185" y="2220525"/>
                    <a:pt x="8991072" y="2226781"/>
                    <a:pt x="8986342" y="2237797"/>
                  </a:cubicBezTo>
                  <a:cubicBezTo>
                    <a:pt x="8987914" y="2221964"/>
                    <a:pt x="8989949" y="2217849"/>
                    <a:pt x="8994885" y="2217458"/>
                  </a:cubicBezTo>
                  <a:close/>
                  <a:moveTo>
                    <a:pt x="2934148" y="2217458"/>
                  </a:moveTo>
                  <a:cubicBezTo>
                    <a:pt x="2934854" y="2217402"/>
                    <a:pt x="2935618" y="2217422"/>
                    <a:pt x="2936449" y="2217495"/>
                  </a:cubicBezTo>
                  <a:cubicBezTo>
                    <a:pt x="2938664" y="2217689"/>
                    <a:pt x="2941350" y="2218258"/>
                    <a:pt x="2944643" y="2218759"/>
                  </a:cubicBezTo>
                  <a:cubicBezTo>
                    <a:pt x="2933448" y="2220525"/>
                    <a:pt x="2930335" y="2226781"/>
                    <a:pt x="2925605" y="2237797"/>
                  </a:cubicBezTo>
                  <a:cubicBezTo>
                    <a:pt x="2927177" y="2221964"/>
                    <a:pt x="2929212" y="2217849"/>
                    <a:pt x="2934148" y="2217458"/>
                  </a:cubicBezTo>
                  <a:close/>
                  <a:moveTo>
                    <a:pt x="9098183" y="2195230"/>
                  </a:moveTo>
                  <a:cubicBezTo>
                    <a:pt x="9099792" y="2197301"/>
                    <a:pt x="9094898" y="2205094"/>
                    <a:pt x="9089930" y="2209246"/>
                  </a:cubicBezTo>
                  <a:cubicBezTo>
                    <a:pt x="9084963" y="2213398"/>
                    <a:pt x="9077644" y="2212972"/>
                    <a:pt x="9077672" y="2211251"/>
                  </a:cubicBezTo>
                  <a:cubicBezTo>
                    <a:pt x="9077700" y="2209530"/>
                    <a:pt x="9085470" y="2207247"/>
                    <a:pt x="9088889" y="2204577"/>
                  </a:cubicBezTo>
                  <a:cubicBezTo>
                    <a:pt x="9092307" y="2201907"/>
                    <a:pt x="9097047" y="2194238"/>
                    <a:pt x="9098183" y="2195230"/>
                  </a:cubicBezTo>
                  <a:close/>
                  <a:moveTo>
                    <a:pt x="3037447" y="2195230"/>
                  </a:moveTo>
                  <a:cubicBezTo>
                    <a:pt x="3039055" y="2197301"/>
                    <a:pt x="3034161" y="2205094"/>
                    <a:pt x="3029193" y="2209246"/>
                  </a:cubicBezTo>
                  <a:cubicBezTo>
                    <a:pt x="3024226" y="2213398"/>
                    <a:pt x="3016907" y="2212972"/>
                    <a:pt x="3016935" y="2211251"/>
                  </a:cubicBezTo>
                  <a:cubicBezTo>
                    <a:pt x="3016963" y="2209530"/>
                    <a:pt x="3024733" y="2207247"/>
                    <a:pt x="3028152" y="2204577"/>
                  </a:cubicBezTo>
                  <a:cubicBezTo>
                    <a:pt x="3031570" y="2201907"/>
                    <a:pt x="3036310" y="2194238"/>
                    <a:pt x="3037447" y="2195230"/>
                  </a:cubicBezTo>
                  <a:close/>
                  <a:moveTo>
                    <a:pt x="10078877" y="2178594"/>
                  </a:moveTo>
                  <a:cubicBezTo>
                    <a:pt x="10115334" y="2178932"/>
                    <a:pt x="10133563" y="2191939"/>
                    <a:pt x="10133563" y="2217615"/>
                  </a:cubicBezTo>
                  <a:lnTo>
                    <a:pt x="10133563" y="2253976"/>
                  </a:lnTo>
                  <a:cubicBezTo>
                    <a:pt x="10133563" y="2271038"/>
                    <a:pt x="10141544" y="2279991"/>
                    <a:pt x="10157507" y="2280836"/>
                  </a:cubicBezTo>
                  <a:lnTo>
                    <a:pt x="10157507" y="2299332"/>
                  </a:lnTo>
                  <a:cubicBezTo>
                    <a:pt x="10141544" y="2300177"/>
                    <a:pt x="10133563" y="2308961"/>
                    <a:pt x="10133563" y="2325685"/>
                  </a:cubicBezTo>
                  <a:lnTo>
                    <a:pt x="10133563" y="2363060"/>
                  </a:lnTo>
                  <a:cubicBezTo>
                    <a:pt x="10133563" y="2388398"/>
                    <a:pt x="10115334" y="2401236"/>
                    <a:pt x="10078877" y="2401574"/>
                  </a:cubicBezTo>
                  <a:lnTo>
                    <a:pt x="10078877" y="2382063"/>
                  </a:lnTo>
                  <a:cubicBezTo>
                    <a:pt x="10087837" y="2381894"/>
                    <a:pt x="10094196" y="2379867"/>
                    <a:pt x="10097955" y="2375982"/>
                  </a:cubicBezTo>
                  <a:cubicBezTo>
                    <a:pt x="10101714" y="2372097"/>
                    <a:pt x="10103594" y="2365678"/>
                    <a:pt x="10103594" y="2356725"/>
                  </a:cubicBezTo>
                  <a:lnTo>
                    <a:pt x="10103594" y="2321377"/>
                  </a:lnTo>
                  <a:cubicBezTo>
                    <a:pt x="10103594" y="2304232"/>
                    <a:pt x="10113738" y="2293800"/>
                    <a:pt x="10134026" y="2290084"/>
                  </a:cubicBezTo>
                  <a:lnTo>
                    <a:pt x="10134026" y="2289704"/>
                  </a:lnTo>
                  <a:cubicBezTo>
                    <a:pt x="10113738" y="2285734"/>
                    <a:pt x="10103594" y="2275219"/>
                    <a:pt x="10103594" y="2258157"/>
                  </a:cubicBezTo>
                  <a:lnTo>
                    <a:pt x="10103594" y="2222430"/>
                  </a:lnTo>
                  <a:cubicBezTo>
                    <a:pt x="10103594" y="2206635"/>
                    <a:pt x="10095355" y="2198569"/>
                    <a:pt x="10078877" y="2198232"/>
                  </a:cubicBezTo>
                  <a:close/>
                  <a:moveTo>
                    <a:pt x="10057558" y="2178594"/>
                  </a:moveTo>
                  <a:lnTo>
                    <a:pt x="10057558" y="2198232"/>
                  </a:lnTo>
                  <a:cubicBezTo>
                    <a:pt x="10041184" y="2198569"/>
                    <a:pt x="10032996" y="2206635"/>
                    <a:pt x="10032996" y="2222430"/>
                  </a:cubicBezTo>
                  <a:lnTo>
                    <a:pt x="10032996" y="2258157"/>
                  </a:lnTo>
                  <a:cubicBezTo>
                    <a:pt x="10032996" y="2275219"/>
                    <a:pt x="10022749" y="2285734"/>
                    <a:pt x="10002255" y="2289704"/>
                  </a:cubicBezTo>
                  <a:lnTo>
                    <a:pt x="10002255" y="2290084"/>
                  </a:lnTo>
                  <a:cubicBezTo>
                    <a:pt x="10022749" y="2293800"/>
                    <a:pt x="10032996" y="2304232"/>
                    <a:pt x="10032996" y="2321377"/>
                  </a:cubicBezTo>
                  <a:lnTo>
                    <a:pt x="10032996" y="2356725"/>
                  </a:lnTo>
                  <a:cubicBezTo>
                    <a:pt x="10032996" y="2365762"/>
                    <a:pt x="10034824" y="2372202"/>
                    <a:pt x="10038480" y="2376045"/>
                  </a:cubicBezTo>
                  <a:cubicBezTo>
                    <a:pt x="10042136" y="2379888"/>
                    <a:pt x="10048496" y="2381894"/>
                    <a:pt x="10057558" y="2382063"/>
                  </a:cubicBezTo>
                  <a:lnTo>
                    <a:pt x="10057558" y="2401574"/>
                  </a:lnTo>
                  <a:cubicBezTo>
                    <a:pt x="10020895" y="2401236"/>
                    <a:pt x="10002564" y="2388398"/>
                    <a:pt x="10002564" y="2363060"/>
                  </a:cubicBezTo>
                  <a:lnTo>
                    <a:pt x="10002564" y="2325685"/>
                  </a:lnTo>
                  <a:cubicBezTo>
                    <a:pt x="10002564" y="2308961"/>
                    <a:pt x="9994531" y="2300177"/>
                    <a:pt x="9978465" y="2299332"/>
                  </a:cubicBezTo>
                  <a:lnTo>
                    <a:pt x="9978465" y="2280836"/>
                  </a:lnTo>
                  <a:cubicBezTo>
                    <a:pt x="9994531" y="2279991"/>
                    <a:pt x="10002564" y="2271038"/>
                    <a:pt x="10002564" y="2253976"/>
                  </a:cubicBezTo>
                  <a:lnTo>
                    <a:pt x="10002564" y="2217615"/>
                  </a:lnTo>
                  <a:cubicBezTo>
                    <a:pt x="10002564" y="2191939"/>
                    <a:pt x="10020895" y="2178932"/>
                    <a:pt x="10057558" y="2178594"/>
                  </a:cubicBezTo>
                  <a:close/>
                  <a:moveTo>
                    <a:pt x="4015651" y="2178594"/>
                  </a:moveTo>
                  <a:cubicBezTo>
                    <a:pt x="4052109" y="2178932"/>
                    <a:pt x="4070337" y="2191939"/>
                    <a:pt x="4070337" y="2217615"/>
                  </a:cubicBezTo>
                  <a:lnTo>
                    <a:pt x="4070337" y="2253976"/>
                  </a:lnTo>
                  <a:cubicBezTo>
                    <a:pt x="4070337" y="2271038"/>
                    <a:pt x="4078318" y="2279991"/>
                    <a:pt x="4094281" y="2280836"/>
                  </a:cubicBezTo>
                  <a:lnTo>
                    <a:pt x="4094281" y="2299332"/>
                  </a:lnTo>
                  <a:cubicBezTo>
                    <a:pt x="4078318" y="2300177"/>
                    <a:pt x="4070337" y="2308961"/>
                    <a:pt x="4070337" y="2325685"/>
                  </a:cubicBezTo>
                  <a:lnTo>
                    <a:pt x="4070337" y="2363060"/>
                  </a:lnTo>
                  <a:cubicBezTo>
                    <a:pt x="4070337" y="2388398"/>
                    <a:pt x="4052109" y="2401236"/>
                    <a:pt x="4015651" y="2401574"/>
                  </a:cubicBezTo>
                  <a:lnTo>
                    <a:pt x="4015651" y="2382063"/>
                  </a:lnTo>
                  <a:cubicBezTo>
                    <a:pt x="4024611" y="2381894"/>
                    <a:pt x="4030970" y="2379867"/>
                    <a:pt x="4034729" y="2375982"/>
                  </a:cubicBezTo>
                  <a:cubicBezTo>
                    <a:pt x="4038488" y="2372097"/>
                    <a:pt x="4040368" y="2365678"/>
                    <a:pt x="4040368" y="2356725"/>
                  </a:cubicBezTo>
                  <a:lnTo>
                    <a:pt x="4040368" y="2321377"/>
                  </a:lnTo>
                  <a:cubicBezTo>
                    <a:pt x="4040368" y="2304232"/>
                    <a:pt x="4050512" y="2293800"/>
                    <a:pt x="4070800" y="2290084"/>
                  </a:cubicBezTo>
                  <a:lnTo>
                    <a:pt x="4070800" y="2289704"/>
                  </a:lnTo>
                  <a:cubicBezTo>
                    <a:pt x="4050512" y="2285734"/>
                    <a:pt x="4040368" y="2275219"/>
                    <a:pt x="4040368" y="2258157"/>
                  </a:cubicBezTo>
                  <a:lnTo>
                    <a:pt x="4040368" y="2222430"/>
                  </a:lnTo>
                  <a:cubicBezTo>
                    <a:pt x="4040368" y="2206635"/>
                    <a:pt x="4032129" y="2198569"/>
                    <a:pt x="4015651" y="2198232"/>
                  </a:cubicBezTo>
                  <a:close/>
                  <a:moveTo>
                    <a:pt x="3994333" y="2178594"/>
                  </a:moveTo>
                  <a:lnTo>
                    <a:pt x="3994333" y="2198232"/>
                  </a:lnTo>
                  <a:cubicBezTo>
                    <a:pt x="3977958" y="2198569"/>
                    <a:pt x="3969771" y="2206635"/>
                    <a:pt x="3969771" y="2222430"/>
                  </a:cubicBezTo>
                  <a:lnTo>
                    <a:pt x="3969771" y="2258157"/>
                  </a:lnTo>
                  <a:cubicBezTo>
                    <a:pt x="3969771" y="2275219"/>
                    <a:pt x="3959524" y="2285734"/>
                    <a:pt x="3939029" y="2289704"/>
                  </a:cubicBezTo>
                  <a:lnTo>
                    <a:pt x="3939029" y="2290084"/>
                  </a:lnTo>
                  <a:cubicBezTo>
                    <a:pt x="3959524" y="2293800"/>
                    <a:pt x="3969771" y="2304232"/>
                    <a:pt x="3969771" y="2321377"/>
                  </a:cubicBezTo>
                  <a:lnTo>
                    <a:pt x="3969771" y="2356725"/>
                  </a:lnTo>
                  <a:cubicBezTo>
                    <a:pt x="3969771" y="2365762"/>
                    <a:pt x="3971598" y="2372202"/>
                    <a:pt x="3975255" y="2376045"/>
                  </a:cubicBezTo>
                  <a:cubicBezTo>
                    <a:pt x="3978911" y="2379888"/>
                    <a:pt x="3985270" y="2381894"/>
                    <a:pt x="3994333" y="2382063"/>
                  </a:cubicBezTo>
                  <a:lnTo>
                    <a:pt x="3994333" y="2401574"/>
                  </a:lnTo>
                  <a:cubicBezTo>
                    <a:pt x="3957670" y="2401236"/>
                    <a:pt x="3939338" y="2388398"/>
                    <a:pt x="3939338" y="2363060"/>
                  </a:cubicBezTo>
                  <a:lnTo>
                    <a:pt x="3939338" y="2325685"/>
                  </a:lnTo>
                  <a:cubicBezTo>
                    <a:pt x="3939338" y="2308961"/>
                    <a:pt x="3931305" y="2300177"/>
                    <a:pt x="3915239" y="2299332"/>
                  </a:cubicBezTo>
                  <a:lnTo>
                    <a:pt x="3915239" y="2280836"/>
                  </a:lnTo>
                  <a:cubicBezTo>
                    <a:pt x="3931305" y="2279991"/>
                    <a:pt x="3939338" y="2271038"/>
                    <a:pt x="3939338" y="2253976"/>
                  </a:cubicBezTo>
                  <a:lnTo>
                    <a:pt x="3939338" y="2217615"/>
                  </a:lnTo>
                  <a:cubicBezTo>
                    <a:pt x="3939338" y="2191939"/>
                    <a:pt x="3957670" y="2178932"/>
                    <a:pt x="3994333" y="2178594"/>
                  </a:cubicBezTo>
                  <a:close/>
                  <a:moveTo>
                    <a:pt x="8993542" y="2176097"/>
                  </a:moveTo>
                  <a:cubicBezTo>
                    <a:pt x="8995495" y="2176172"/>
                    <a:pt x="8997465" y="2176341"/>
                    <a:pt x="8999446" y="2176614"/>
                  </a:cubicBezTo>
                  <a:cubicBezTo>
                    <a:pt x="9015289" y="2178802"/>
                    <a:pt x="9035671" y="2195416"/>
                    <a:pt x="9042722" y="2206032"/>
                  </a:cubicBezTo>
                  <a:cubicBezTo>
                    <a:pt x="9052204" y="2208626"/>
                    <a:pt x="9058241" y="2222362"/>
                    <a:pt x="9060713" y="2227184"/>
                  </a:cubicBezTo>
                  <a:cubicBezTo>
                    <a:pt x="9063185" y="2232006"/>
                    <a:pt x="9060308" y="2234762"/>
                    <a:pt x="9057552" y="2234964"/>
                  </a:cubicBezTo>
                  <a:cubicBezTo>
                    <a:pt x="9057512" y="2235552"/>
                    <a:pt x="9066052" y="2242380"/>
                    <a:pt x="9070666" y="2245069"/>
                  </a:cubicBezTo>
                  <a:cubicBezTo>
                    <a:pt x="9074237" y="2229545"/>
                    <a:pt x="9069055" y="2219126"/>
                    <a:pt x="9068979" y="2207735"/>
                  </a:cubicBezTo>
                  <a:cubicBezTo>
                    <a:pt x="9074409" y="2198253"/>
                    <a:pt x="9078866" y="2201656"/>
                    <a:pt x="9084296" y="2198010"/>
                  </a:cubicBezTo>
                  <a:cubicBezTo>
                    <a:pt x="9087538" y="2194282"/>
                    <a:pt x="9090536" y="2186421"/>
                    <a:pt x="9096209" y="2186826"/>
                  </a:cubicBezTo>
                  <a:cubicBezTo>
                    <a:pt x="9106096" y="2187231"/>
                    <a:pt x="9118658" y="2205628"/>
                    <a:pt x="9119063" y="2249309"/>
                  </a:cubicBezTo>
                  <a:cubicBezTo>
                    <a:pt x="9119306" y="2283994"/>
                    <a:pt x="9105448" y="2307253"/>
                    <a:pt x="9081379" y="2317627"/>
                  </a:cubicBezTo>
                  <a:cubicBezTo>
                    <a:pt x="9069070" y="2320909"/>
                    <a:pt x="9058506" y="2320704"/>
                    <a:pt x="9049352" y="2318345"/>
                  </a:cubicBezTo>
                  <a:lnTo>
                    <a:pt x="9045345" y="2316950"/>
                  </a:lnTo>
                  <a:lnTo>
                    <a:pt x="9044865" y="2319226"/>
                  </a:lnTo>
                  <a:cubicBezTo>
                    <a:pt x="9039980" y="2337966"/>
                    <a:pt x="9026245" y="2339407"/>
                    <a:pt x="9020111" y="2339265"/>
                  </a:cubicBezTo>
                  <a:cubicBezTo>
                    <a:pt x="9013101" y="2339103"/>
                    <a:pt x="9002728" y="2332619"/>
                    <a:pt x="8998473" y="2329540"/>
                  </a:cubicBezTo>
                  <a:cubicBezTo>
                    <a:pt x="8998351" y="2334240"/>
                    <a:pt x="8999445" y="2335902"/>
                    <a:pt x="8997500" y="2342182"/>
                  </a:cubicBezTo>
                  <a:cubicBezTo>
                    <a:pt x="9002606" y="2345546"/>
                    <a:pt x="9005685" y="2357540"/>
                    <a:pt x="9007225" y="2362848"/>
                  </a:cubicBezTo>
                  <a:cubicBezTo>
                    <a:pt x="9008765" y="2368156"/>
                    <a:pt x="9006861" y="2369372"/>
                    <a:pt x="9006739" y="2374032"/>
                  </a:cubicBezTo>
                  <a:cubicBezTo>
                    <a:pt x="9006618" y="2378691"/>
                    <a:pt x="9011480" y="2382419"/>
                    <a:pt x="9008927" y="2387890"/>
                  </a:cubicBezTo>
                  <a:cubicBezTo>
                    <a:pt x="9006374" y="2393360"/>
                    <a:pt x="8999729" y="2393644"/>
                    <a:pt x="8992881" y="2393725"/>
                  </a:cubicBezTo>
                  <a:cubicBezTo>
                    <a:pt x="8986033" y="2393806"/>
                    <a:pt x="8970716" y="2398506"/>
                    <a:pt x="8967839" y="2388376"/>
                  </a:cubicBezTo>
                  <a:cubicBezTo>
                    <a:pt x="8967479" y="2387110"/>
                    <a:pt x="8967227" y="2385601"/>
                    <a:pt x="8967075" y="2383892"/>
                  </a:cubicBezTo>
                  <a:cubicBezTo>
                    <a:pt x="8967061" y="2383440"/>
                    <a:pt x="8967048" y="2382989"/>
                    <a:pt x="8967035" y="2382538"/>
                  </a:cubicBezTo>
                  <a:lnTo>
                    <a:pt x="8963270" y="2386106"/>
                  </a:lnTo>
                  <a:cubicBezTo>
                    <a:pt x="8954664" y="2394207"/>
                    <a:pt x="8946905" y="2400836"/>
                    <a:pt x="8939637" y="2400532"/>
                  </a:cubicBezTo>
                  <a:cubicBezTo>
                    <a:pt x="8927521" y="2398101"/>
                    <a:pt x="8918161" y="2378813"/>
                    <a:pt x="8916054" y="2372087"/>
                  </a:cubicBezTo>
                  <a:cubicBezTo>
                    <a:pt x="8913946" y="2365360"/>
                    <a:pt x="8920794" y="2364104"/>
                    <a:pt x="8926994" y="2360173"/>
                  </a:cubicBezTo>
                  <a:cubicBezTo>
                    <a:pt x="8920794" y="2363780"/>
                    <a:pt x="8904019" y="2360822"/>
                    <a:pt x="8901952" y="2357742"/>
                  </a:cubicBezTo>
                  <a:cubicBezTo>
                    <a:pt x="8902560" y="2364144"/>
                    <a:pt x="8902195" y="2365076"/>
                    <a:pt x="8900980" y="2368683"/>
                  </a:cubicBezTo>
                  <a:cubicBezTo>
                    <a:pt x="8899764" y="2372289"/>
                    <a:pt x="8896563" y="2374396"/>
                    <a:pt x="8894658" y="2379380"/>
                  </a:cubicBezTo>
                  <a:cubicBezTo>
                    <a:pt x="8892754" y="2384364"/>
                    <a:pt x="8897130" y="2396804"/>
                    <a:pt x="8889553" y="2398587"/>
                  </a:cubicBezTo>
                  <a:cubicBezTo>
                    <a:pt x="8881975" y="2400370"/>
                    <a:pt x="8858433" y="2399681"/>
                    <a:pt x="8849194" y="2390078"/>
                  </a:cubicBezTo>
                  <a:cubicBezTo>
                    <a:pt x="8845304" y="2385337"/>
                    <a:pt x="8851625" y="2378003"/>
                    <a:pt x="8850167" y="2375977"/>
                  </a:cubicBezTo>
                  <a:cubicBezTo>
                    <a:pt x="8848708" y="2373950"/>
                    <a:pt x="8846277" y="2381933"/>
                    <a:pt x="8840442" y="2377922"/>
                  </a:cubicBezTo>
                  <a:cubicBezTo>
                    <a:pt x="8834607" y="2373910"/>
                    <a:pt x="8816818" y="2360700"/>
                    <a:pt x="8815157" y="2351907"/>
                  </a:cubicBezTo>
                  <a:cubicBezTo>
                    <a:pt x="8813495" y="2343114"/>
                    <a:pt x="8823626" y="2333875"/>
                    <a:pt x="8830474" y="2325163"/>
                  </a:cubicBezTo>
                  <a:cubicBezTo>
                    <a:pt x="8828812" y="2315722"/>
                    <a:pt x="8828123" y="2309401"/>
                    <a:pt x="8831932" y="2298420"/>
                  </a:cubicBezTo>
                  <a:cubicBezTo>
                    <a:pt x="8826827" y="2295300"/>
                    <a:pt x="8815724" y="2290883"/>
                    <a:pt x="8816372" y="2276296"/>
                  </a:cubicBezTo>
                  <a:lnTo>
                    <a:pt x="8818145" y="2262886"/>
                  </a:lnTo>
                  <a:lnTo>
                    <a:pt x="8818607" y="2271666"/>
                  </a:lnTo>
                  <a:lnTo>
                    <a:pt x="8819436" y="2272064"/>
                  </a:lnTo>
                  <a:lnTo>
                    <a:pt x="8819559" y="2273246"/>
                  </a:lnTo>
                  <a:cubicBezTo>
                    <a:pt x="8820590" y="2281682"/>
                    <a:pt x="8823352" y="2291027"/>
                    <a:pt x="8839247" y="2287188"/>
                  </a:cubicBezTo>
                  <a:cubicBezTo>
                    <a:pt x="8832410" y="2323464"/>
                    <a:pt x="8847851" y="2341451"/>
                    <a:pt x="8857593" y="2358296"/>
                  </a:cubicBezTo>
                  <a:lnTo>
                    <a:pt x="8858561" y="2360158"/>
                  </a:lnTo>
                  <a:lnTo>
                    <a:pt x="8858527" y="2361032"/>
                  </a:lnTo>
                  <a:cubicBezTo>
                    <a:pt x="8858234" y="2366174"/>
                    <a:pt x="8857499" y="2369738"/>
                    <a:pt x="8857117" y="2374565"/>
                  </a:cubicBezTo>
                  <a:cubicBezTo>
                    <a:pt x="8856010" y="2378367"/>
                    <a:pt x="8853286" y="2377947"/>
                    <a:pt x="8853795" y="2385970"/>
                  </a:cubicBezTo>
                  <a:cubicBezTo>
                    <a:pt x="8854124" y="2390969"/>
                    <a:pt x="8883459" y="2399021"/>
                    <a:pt x="8888189" y="2392615"/>
                  </a:cubicBezTo>
                  <a:cubicBezTo>
                    <a:pt x="8889566" y="2390400"/>
                    <a:pt x="8888967" y="2385311"/>
                    <a:pt x="8889356" y="2381659"/>
                  </a:cubicBezTo>
                  <a:cubicBezTo>
                    <a:pt x="8889955" y="2377588"/>
                    <a:pt x="8895223" y="2373158"/>
                    <a:pt x="8896001" y="2367381"/>
                  </a:cubicBezTo>
                  <a:cubicBezTo>
                    <a:pt x="8896510" y="2362786"/>
                    <a:pt x="8896458" y="2357585"/>
                    <a:pt x="8896282" y="2352171"/>
                  </a:cubicBezTo>
                  <a:lnTo>
                    <a:pt x="8896072" y="2346453"/>
                  </a:lnTo>
                  <a:lnTo>
                    <a:pt x="8897672" y="2348315"/>
                  </a:lnTo>
                  <a:cubicBezTo>
                    <a:pt x="8908014" y="2358863"/>
                    <a:pt x="8929950" y="2362416"/>
                    <a:pt x="8937310" y="2346098"/>
                  </a:cubicBezTo>
                  <a:cubicBezTo>
                    <a:pt x="8937400" y="2351336"/>
                    <a:pt x="8939106" y="2353342"/>
                    <a:pt x="8938208" y="2359927"/>
                  </a:cubicBezTo>
                  <a:cubicBezTo>
                    <a:pt x="8935634" y="2364088"/>
                    <a:pt x="8924169" y="2365016"/>
                    <a:pt x="8921056" y="2372679"/>
                  </a:cubicBezTo>
                  <a:cubicBezTo>
                    <a:pt x="8920128" y="2375882"/>
                    <a:pt x="8932311" y="2395070"/>
                    <a:pt x="8940094" y="2395758"/>
                  </a:cubicBezTo>
                  <a:cubicBezTo>
                    <a:pt x="8945752" y="2396417"/>
                    <a:pt x="8956258" y="2385311"/>
                    <a:pt x="8975386" y="2367830"/>
                  </a:cubicBezTo>
                  <a:cubicBezTo>
                    <a:pt x="8978347" y="2365124"/>
                    <a:pt x="8989545" y="2343883"/>
                    <a:pt x="8994604" y="2325713"/>
                  </a:cubicBezTo>
                  <a:cubicBezTo>
                    <a:pt x="8989447" y="2323123"/>
                    <a:pt x="8981974" y="2316954"/>
                    <a:pt x="8977626" y="2307326"/>
                  </a:cubicBezTo>
                  <a:lnTo>
                    <a:pt x="8977431" y="2306814"/>
                  </a:lnTo>
                  <a:lnTo>
                    <a:pt x="8980067" y="2308474"/>
                  </a:lnTo>
                  <a:cubicBezTo>
                    <a:pt x="8986701" y="2312894"/>
                    <a:pt x="8993436" y="2317743"/>
                    <a:pt x="8999363" y="2319157"/>
                  </a:cubicBezTo>
                  <a:cubicBezTo>
                    <a:pt x="9003734" y="2324186"/>
                    <a:pt x="9008822" y="2332179"/>
                    <a:pt x="9020826" y="2333705"/>
                  </a:cubicBezTo>
                  <a:cubicBezTo>
                    <a:pt x="9031063" y="2335441"/>
                    <a:pt x="9038337" y="2325773"/>
                    <a:pt x="9041929" y="2315206"/>
                  </a:cubicBezTo>
                  <a:lnTo>
                    <a:pt x="9038607" y="2314937"/>
                  </a:lnTo>
                  <a:cubicBezTo>
                    <a:pt x="9023340" y="2340530"/>
                    <a:pt x="9007206" y="2317189"/>
                    <a:pt x="9010626" y="2292639"/>
                  </a:cubicBezTo>
                  <a:lnTo>
                    <a:pt x="9011556" y="2287831"/>
                  </a:lnTo>
                  <a:lnTo>
                    <a:pt x="9013320" y="2289753"/>
                  </a:lnTo>
                  <a:cubicBezTo>
                    <a:pt x="9043798" y="2320813"/>
                    <a:pt x="9070447" y="2316272"/>
                    <a:pt x="9085573" y="2308022"/>
                  </a:cubicBezTo>
                  <a:cubicBezTo>
                    <a:pt x="9127002" y="2282488"/>
                    <a:pt x="9114863" y="2194367"/>
                    <a:pt x="9097517" y="2190112"/>
                  </a:cubicBezTo>
                  <a:cubicBezTo>
                    <a:pt x="9093550" y="2189139"/>
                    <a:pt x="9090782" y="2199362"/>
                    <a:pt x="9088177" y="2200889"/>
                  </a:cubicBezTo>
                  <a:cubicBezTo>
                    <a:pt x="9080185" y="2205109"/>
                    <a:pt x="9076683" y="2204481"/>
                    <a:pt x="9074527" y="2207803"/>
                  </a:cubicBezTo>
                  <a:cubicBezTo>
                    <a:pt x="9070262" y="2214033"/>
                    <a:pt x="9085965" y="2250098"/>
                    <a:pt x="9065993" y="2269010"/>
                  </a:cubicBezTo>
                  <a:lnTo>
                    <a:pt x="9064502" y="2270186"/>
                  </a:lnTo>
                  <a:lnTo>
                    <a:pt x="9064816" y="2269581"/>
                  </a:lnTo>
                  <a:cubicBezTo>
                    <a:pt x="9068600" y="2262268"/>
                    <a:pt x="9072574" y="2253894"/>
                    <a:pt x="9068062" y="2250369"/>
                  </a:cubicBezTo>
                  <a:cubicBezTo>
                    <a:pt x="9062763" y="2246149"/>
                    <a:pt x="9059441" y="2249381"/>
                    <a:pt x="9055400" y="2252794"/>
                  </a:cubicBezTo>
                  <a:cubicBezTo>
                    <a:pt x="9058004" y="2249830"/>
                    <a:pt x="9061147" y="2249292"/>
                    <a:pt x="9056747" y="2242287"/>
                  </a:cubicBezTo>
                  <a:cubicBezTo>
                    <a:pt x="9053244" y="2239922"/>
                    <a:pt x="9051358" y="2240521"/>
                    <a:pt x="9044893" y="2242197"/>
                  </a:cubicBezTo>
                  <a:cubicBezTo>
                    <a:pt x="9048994" y="2239144"/>
                    <a:pt x="9050311" y="2240311"/>
                    <a:pt x="9048305" y="2234385"/>
                  </a:cubicBezTo>
                  <a:cubicBezTo>
                    <a:pt x="9045566" y="2230703"/>
                    <a:pt x="9044191" y="2231011"/>
                    <a:pt x="9041452" y="2231219"/>
                  </a:cubicBezTo>
                  <a:lnTo>
                    <a:pt x="9039553" y="2231232"/>
                  </a:lnTo>
                  <a:lnTo>
                    <a:pt x="9041115" y="2230671"/>
                  </a:lnTo>
                  <a:cubicBezTo>
                    <a:pt x="9041990" y="2230377"/>
                    <a:pt x="9042782" y="2230138"/>
                    <a:pt x="9043456" y="2229984"/>
                  </a:cubicBezTo>
                  <a:cubicBezTo>
                    <a:pt x="9048844" y="2228757"/>
                    <a:pt x="9054741" y="2230448"/>
                    <a:pt x="9054771" y="2227380"/>
                  </a:cubicBezTo>
                  <a:cubicBezTo>
                    <a:pt x="9055430" y="2224027"/>
                    <a:pt x="9047018" y="2213580"/>
                    <a:pt x="9043276" y="2212742"/>
                  </a:cubicBezTo>
                  <a:cubicBezTo>
                    <a:pt x="9041278" y="2212114"/>
                    <a:pt x="9036047" y="2211586"/>
                    <a:pt x="9031296" y="2211273"/>
                  </a:cubicBezTo>
                  <a:lnTo>
                    <a:pt x="9030190" y="2211214"/>
                  </a:lnTo>
                  <a:lnTo>
                    <a:pt x="9030199" y="2211191"/>
                  </a:lnTo>
                  <a:cubicBezTo>
                    <a:pt x="9031327" y="2209633"/>
                    <a:pt x="9035082" y="2209061"/>
                    <a:pt x="9037978" y="2208791"/>
                  </a:cubicBezTo>
                  <a:cubicBezTo>
                    <a:pt x="9025825" y="2192747"/>
                    <a:pt x="9009451" y="2182449"/>
                    <a:pt x="8995322" y="2182659"/>
                  </a:cubicBezTo>
                  <a:cubicBezTo>
                    <a:pt x="8978290" y="2183168"/>
                    <a:pt x="8956947" y="2187538"/>
                    <a:pt x="8944854" y="2206277"/>
                  </a:cubicBezTo>
                  <a:cubicBezTo>
                    <a:pt x="8951035" y="2206209"/>
                    <a:pt x="8955633" y="2206237"/>
                    <a:pt x="8959086" y="2206604"/>
                  </a:cubicBezTo>
                  <a:lnTo>
                    <a:pt x="8959663" y="2206687"/>
                  </a:lnTo>
                  <a:lnTo>
                    <a:pt x="8957253" y="2207342"/>
                  </a:lnTo>
                  <a:cubicBezTo>
                    <a:pt x="8944447" y="2210423"/>
                    <a:pt x="8935525" y="2209963"/>
                    <a:pt x="8932654" y="2212459"/>
                  </a:cubicBezTo>
                  <a:cubicBezTo>
                    <a:pt x="8926651" y="2216659"/>
                    <a:pt x="8887781" y="2252469"/>
                    <a:pt x="8886178" y="2272744"/>
                  </a:cubicBezTo>
                  <a:cubicBezTo>
                    <a:pt x="8890295" y="2283506"/>
                    <a:pt x="8891069" y="2275901"/>
                    <a:pt x="8900160" y="2294856"/>
                  </a:cubicBezTo>
                  <a:lnTo>
                    <a:pt x="8914666" y="2278318"/>
                  </a:lnTo>
                  <a:lnTo>
                    <a:pt x="8897694" y="2313424"/>
                  </a:lnTo>
                  <a:cubicBezTo>
                    <a:pt x="8901926" y="2319604"/>
                    <a:pt x="8904811" y="2322911"/>
                    <a:pt x="8913623" y="2322805"/>
                  </a:cubicBezTo>
                  <a:cubicBezTo>
                    <a:pt x="8923034" y="2321557"/>
                    <a:pt x="8931726" y="2313843"/>
                    <a:pt x="8940778" y="2309362"/>
                  </a:cubicBezTo>
                  <a:cubicBezTo>
                    <a:pt x="8949724" y="2305639"/>
                    <a:pt x="8952383" y="2308201"/>
                    <a:pt x="8958186" y="2307621"/>
                  </a:cubicBezTo>
                  <a:cubicBezTo>
                    <a:pt x="8970413" y="2274457"/>
                    <a:pt x="8951209" y="2274609"/>
                    <a:pt x="8964423" y="2238571"/>
                  </a:cubicBezTo>
                  <a:cubicBezTo>
                    <a:pt x="8959726" y="2267680"/>
                    <a:pt x="8978377" y="2267694"/>
                    <a:pt x="8965149" y="2316470"/>
                  </a:cubicBezTo>
                  <a:lnTo>
                    <a:pt x="8963041" y="2316125"/>
                  </a:lnTo>
                  <a:lnTo>
                    <a:pt x="8960372" y="2315442"/>
                  </a:lnTo>
                  <a:lnTo>
                    <a:pt x="8957638" y="2315016"/>
                  </a:lnTo>
                  <a:lnTo>
                    <a:pt x="8956872" y="2314838"/>
                  </a:lnTo>
                  <a:cubicBezTo>
                    <a:pt x="8954803" y="2314430"/>
                    <a:pt x="8952627" y="2314212"/>
                    <a:pt x="8950101" y="2314609"/>
                  </a:cubicBezTo>
                  <a:lnTo>
                    <a:pt x="8949115" y="2314839"/>
                  </a:lnTo>
                  <a:lnTo>
                    <a:pt x="8948520" y="2314890"/>
                  </a:lnTo>
                  <a:cubicBezTo>
                    <a:pt x="8935318" y="2316946"/>
                    <a:pt x="8930463" y="2328586"/>
                    <a:pt x="8909292" y="2330832"/>
                  </a:cubicBezTo>
                  <a:cubicBezTo>
                    <a:pt x="8902980" y="2329601"/>
                    <a:pt x="8892886" y="2320325"/>
                    <a:pt x="8886952" y="2313113"/>
                  </a:cubicBezTo>
                  <a:lnTo>
                    <a:pt x="8886494" y="2312519"/>
                  </a:lnTo>
                  <a:lnTo>
                    <a:pt x="8888216" y="2309642"/>
                  </a:lnTo>
                  <a:cubicBezTo>
                    <a:pt x="8890056" y="2306776"/>
                    <a:pt x="8892069" y="2303846"/>
                    <a:pt x="8894295" y="2300838"/>
                  </a:cubicBezTo>
                  <a:cubicBezTo>
                    <a:pt x="8890404" y="2290391"/>
                    <a:pt x="8880136" y="2286769"/>
                    <a:pt x="8877233" y="2273807"/>
                  </a:cubicBezTo>
                  <a:cubicBezTo>
                    <a:pt x="8881932" y="2260397"/>
                    <a:pt x="8883848" y="2251656"/>
                    <a:pt x="8907496" y="2227649"/>
                  </a:cubicBezTo>
                  <a:cubicBezTo>
                    <a:pt x="8844635" y="2236659"/>
                    <a:pt x="8844821" y="2287266"/>
                    <a:pt x="8827441" y="2275031"/>
                  </a:cubicBezTo>
                  <a:lnTo>
                    <a:pt x="8823816" y="2271768"/>
                  </a:lnTo>
                  <a:lnTo>
                    <a:pt x="8824876" y="2271173"/>
                  </a:lnTo>
                  <a:cubicBezTo>
                    <a:pt x="8831282" y="2266858"/>
                    <a:pt x="8823696" y="2260644"/>
                    <a:pt x="8828830" y="2251267"/>
                  </a:cubicBezTo>
                  <a:lnTo>
                    <a:pt x="8818347" y="2261360"/>
                  </a:lnTo>
                  <a:lnTo>
                    <a:pt x="8819259" y="2254460"/>
                  </a:lnTo>
                  <a:cubicBezTo>
                    <a:pt x="8824355" y="2249390"/>
                    <a:pt x="8831243" y="2246533"/>
                    <a:pt x="8832905" y="2245905"/>
                  </a:cubicBezTo>
                  <a:cubicBezTo>
                    <a:pt x="8829784" y="2255427"/>
                    <a:pt x="8836592" y="2262073"/>
                    <a:pt x="8832905" y="2269731"/>
                  </a:cubicBezTo>
                  <a:cubicBezTo>
                    <a:pt x="8868361" y="2224632"/>
                    <a:pt x="8892835" y="2221755"/>
                    <a:pt x="8909246" y="2221349"/>
                  </a:cubicBezTo>
                  <a:cubicBezTo>
                    <a:pt x="8922010" y="2210004"/>
                    <a:pt x="8923104" y="2207045"/>
                    <a:pt x="8931857" y="2204817"/>
                  </a:cubicBezTo>
                  <a:lnTo>
                    <a:pt x="8937893" y="2204184"/>
                  </a:lnTo>
                  <a:lnTo>
                    <a:pt x="8938592" y="2202687"/>
                  </a:lnTo>
                  <a:cubicBezTo>
                    <a:pt x="8943964" y="2192018"/>
                    <a:pt x="8948653" y="2188690"/>
                    <a:pt x="8957871" y="2184151"/>
                  </a:cubicBezTo>
                  <a:cubicBezTo>
                    <a:pt x="8967090" y="2179613"/>
                    <a:pt x="8979876" y="2175571"/>
                    <a:pt x="8993542" y="2176097"/>
                  </a:cubicBezTo>
                  <a:close/>
                  <a:moveTo>
                    <a:pt x="2932806" y="2176097"/>
                  </a:moveTo>
                  <a:cubicBezTo>
                    <a:pt x="2934758" y="2176172"/>
                    <a:pt x="2936728" y="2176341"/>
                    <a:pt x="2938709" y="2176614"/>
                  </a:cubicBezTo>
                  <a:cubicBezTo>
                    <a:pt x="2954552" y="2178802"/>
                    <a:pt x="2974934" y="2195416"/>
                    <a:pt x="2981985" y="2206032"/>
                  </a:cubicBezTo>
                  <a:cubicBezTo>
                    <a:pt x="2991467" y="2208626"/>
                    <a:pt x="2997504" y="2222362"/>
                    <a:pt x="2999976" y="2227184"/>
                  </a:cubicBezTo>
                  <a:cubicBezTo>
                    <a:pt x="3002448" y="2232006"/>
                    <a:pt x="2999571" y="2234762"/>
                    <a:pt x="2996816" y="2234964"/>
                  </a:cubicBezTo>
                  <a:cubicBezTo>
                    <a:pt x="2996775" y="2235552"/>
                    <a:pt x="3005315" y="2242380"/>
                    <a:pt x="3009929" y="2245069"/>
                  </a:cubicBezTo>
                  <a:cubicBezTo>
                    <a:pt x="3013500" y="2229545"/>
                    <a:pt x="3008318" y="2219126"/>
                    <a:pt x="3008243" y="2207735"/>
                  </a:cubicBezTo>
                  <a:cubicBezTo>
                    <a:pt x="3013672" y="2198253"/>
                    <a:pt x="3018130" y="2201656"/>
                    <a:pt x="3023559" y="2198010"/>
                  </a:cubicBezTo>
                  <a:cubicBezTo>
                    <a:pt x="3026801" y="2194282"/>
                    <a:pt x="3029800" y="2186421"/>
                    <a:pt x="3035473" y="2186826"/>
                  </a:cubicBezTo>
                  <a:cubicBezTo>
                    <a:pt x="3045359" y="2187231"/>
                    <a:pt x="3057921" y="2205628"/>
                    <a:pt x="3058326" y="2249309"/>
                  </a:cubicBezTo>
                  <a:cubicBezTo>
                    <a:pt x="3058569" y="2283994"/>
                    <a:pt x="3044711" y="2307253"/>
                    <a:pt x="3020642" y="2317627"/>
                  </a:cubicBezTo>
                  <a:cubicBezTo>
                    <a:pt x="3008334" y="2320909"/>
                    <a:pt x="2997769" y="2320704"/>
                    <a:pt x="2988615" y="2318345"/>
                  </a:cubicBezTo>
                  <a:lnTo>
                    <a:pt x="2984609" y="2316950"/>
                  </a:lnTo>
                  <a:lnTo>
                    <a:pt x="2984128" y="2319226"/>
                  </a:lnTo>
                  <a:cubicBezTo>
                    <a:pt x="2979243" y="2337966"/>
                    <a:pt x="2965508" y="2339407"/>
                    <a:pt x="2959374" y="2339265"/>
                  </a:cubicBezTo>
                  <a:cubicBezTo>
                    <a:pt x="2952364" y="2339103"/>
                    <a:pt x="2941991" y="2332619"/>
                    <a:pt x="2937736" y="2329540"/>
                  </a:cubicBezTo>
                  <a:cubicBezTo>
                    <a:pt x="2937614" y="2334240"/>
                    <a:pt x="2938709" y="2335902"/>
                    <a:pt x="2936763" y="2342182"/>
                  </a:cubicBezTo>
                  <a:cubicBezTo>
                    <a:pt x="2941869" y="2345546"/>
                    <a:pt x="2944949" y="2357540"/>
                    <a:pt x="2946489" y="2362848"/>
                  </a:cubicBezTo>
                  <a:cubicBezTo>
                    <a:pt x="2948028" y="2368156"/>
                    <a:pt x="2946124" y="2369372"/>
                    <a:pt x="2946002" y="2374032"/>
                  </a:cubicBezTo>
                  <a:cubicBezTo>
                    <a:pt x="2945881" y="2378691"/>
                    <a:pt x="2950743" y="2382419"/>
                    <a:pt x="2948190" y="2387890"/>
                  </a:cubicBezTo>
                  <a:cubicBezTo>
                    <a:pt x="2945637" y="2393360"/>
                    <a:pt x="2938992" y="2393644"/>
                    <a:pt x="2932144" y="2393725"/>
                  </a:cubicBezTo>
                  <a:cubicBezTo>
                    <a:pt x="2925296" y="2393806"/>
                    <a:pt x="2909979" y="2398506"/>
                    <a:pt x="2907102" y="2388376"/>
                  </a:cubicBezTo>
                  <a:cubicBezTo>
                    <a:pt x="2906743" y="2387110"/>
                    <a:pt x="2906491" y="2385601"/>
                    <a:pt x="2906338" y="2383892"/>
                  </a:cubicBezTo>
                  <a:cubicBezTo>
                    <a:pt x="2906324" y="2383440"/>
                    <a:pt x="2906311" y="2382989"/>
                    <a:pt x="2906298" y="2382538"/>
                  </a:cubicBezTo>
                  <a:lnTo>
                    <a:pt x="2902533" y="2386106"/>
                  </a:lnTo>
                  <a:cubicBezTo>
                    <a:pt x="2893927" y="2394207"/>
                    <a:pt x="2886168" y="2400836"/>
                    <a:pt x="2878900" y="2400532"/>
                  </a:cubicBezTo>
                  <a:cubicBezTo>
                    <a:pt x="2866784" y="2398101"/>
                    <a:pt x="2857424" y="2378813"/>
                    <a:pt x="2855317" y="2372087"/>
                  </a:cubicBezTo>
                  <a:cubicBezTo>
                    <a:pt x="2853210" y="2365360"/>
                    <a:pt x="2860058" y="2364104"/>
                    <a:pt x="2866257" y="2360173"/>
                  </a:cubicBezTo>
                  <a:cubicBezTo>
                    <a:pt x="2860058" y="2363780"/>
                    <a:pt x="2843282" y="2360822"/>
                    <a:pt x="2841215" y="2357742"/>
                  </a:cubicBezTo>
                  <a:cubicBezTo>
                    <a:pt x="2841823" y="2364144"/>
                    <a:pt x="2841459" y="2365076"/>
                    <a:pt x="2840243" y="2368683"/>
                  </a:cubicBezTo>
                  <a:cubicBezTo>
                    <a:pt x="2839027" y="2372289"/>
                    <a:pt x="2835826" y="2374396"/>
                    <a:pt x="2833922" y="2379380"/>
                  </a:cubicBezTo>
                  <a:cubicBezTo>
                    <a:pt x="2832018" y="2384364"/>
                    <a:pt x="2836393" y="2396804"/>
                    <a:pt x="2828816" y="2398587"/>
                  </a:cubicBezTo>
                  <a:cubicBezTo>
                    <a:pt x="2821239" y="2400370"/>
                    <a:pt x="2797696" y="2399681"/>
                    <a:pt x="2788458" y="2390078"/>
                  </a:cubicBezTo>
                  <a:cubicBezTo>
                    <a:pt x="2784567" y="2385337"/>
                    <a:pt x="2790889" y="2378003"/>
                    <a:pt x="2789430" y="2375977"/>
                  </a:cubicBezTo>
                  <a:cubicBezTo>
                    <a:pt x="2787971" y="2373950"/>
                    <a:pt x="2785540" y="2381933"/>
                    <a:pt x="2779705" y="2377922"/>
                  </a:cubicBezTo>
                  <a:cubicBezTo>
                    <a:pt x="2773870" y="2373910"/>
                    <a:pt x="2756081" y="2360700"/>
                    <a:pt x="2754420" y="2351907"/>
                  </a:cubicBezTo>
                  <a:cubicBezTo>
                    <a:pt x="2752758" y="2343114"/>
                    <a:pt x="2762889" y="2333875"/>
                    <a:pt x="2769737" y="2325163"/>
                  </a:cubicBezTo>
                  <a:cubicBezTo>
                    <a:pt x="2768076" y="2315722"/>
                    <a:pt x="2767386" y="2309401"/>
                    <a:pt x="2771195" y="2298420"/>
                  </a:cubicBezTo>
                  <a:cubicBezTo>
                    <a:pt x="2766090" y="2295300"/>
                    <a:pt x="2754987" y="2290883"/>
                    <a:pt x="2755635" y="2276296"/>
                  </a:cubicBezTo>
                  <a:lnTo>
                    <a:pt x="2757408" y="2262887"/>
                  </a:lnTo>
                  <a:lnTo>
                    <a:pt x="2757870" y="2271666"/>
                  </a:lnTo>
                  <a:lnTo>
                    <a:pt x="2758699" y="2272064"/>
                  </a:lnTo>
                  <a:lnTo>
                    <a:pt x="2758822" y="2273246"/>
                  </a:lnTo>
                  <a:cubicBezTo>
                    <a:pt x="2759853" y="2281682"/>
                    <a:pt x="2762615" y="2291027"/>
                    <a:pt x="2778510" y="2287188"/>
                  </a:cubicBezTo>
                  <a:cubicBezTo>
                    <a:pt x="2771674" y="2323464"/>
                    <a:pt x="2787114" y="2341451"/>
                    <a:pt x="2796856" y="2358296"/>
                  </a:cubicBezTo>
                  <a:lnTo>
                    <a:pt x="2797825" y="2360158"/>
                  </a:lnTo>
                  <a:lnTo>
                    <a:pt x="2797791" y="2361032"/>
                  </a:lnTo>
                  <a:cubicBezTo>
                    <a:pt x="2797497" y="2366174"/>
                    <a:pt x="2796762" y="2369738"/>
                    <a:pt x="2796380" y="2374565"/>
                  </a:cubicBezTo>
                  <a:cubicBezTo>
                    <a:pt x="2795273" y="2378367"/>
                    <a:pt x="2792549" y="2377947"/>
                    <a:pt x="2793058" y="2385970"/>
                  </a:cubicBezTo>
                  <a:cubicBezTo>
                    <a:pt x="2793387" y="2390969"/>
                    <a:pt x="2822722" y="2399021"/>
                    <a:pt x="2827452" y="2392615"/>
                  </a:cubicBezTo>
                  <a:cubicBezTo>
                    <a:pt x="2828829" y="2390400"/>
                    <a:pt x="2828231" y="2385311"/>
                    <a:pt x="2828619" y="2381659"/>
                  </a:cubicBezTo>
                  <a:cubicBezTo>
                    <a:pt x="2829218" y="2377588"/>
                    <a:pt x="2834486" y="2373158"/>
                    <a:pt x="2835265" y="2367381"/>
                  </a:cubicBezTo>
                  <a:cubicBezTo>
                    <a:pt x="2835773" y="2362786"/>
                    <a:pt x="2835721" y="2357585"/>
                    <a:pt x="2835545" y="2352171"/>
                  </a:cubicBezTo>
                  <a:lnTo>
                    <a:pt x="2835336" y="2346453"/>
                  </a:lnTo>
                  <a:lnTo>
                    <a:pt x="2836935" y="2348315"/>
                  </a:lnTo>
                  <a:cubicBezTo>
                    <a:pt x="2847277" y="2358863"/>
                    <a:pt x="2869213" y="2362416"/>
                    <a:pt x="2876573" y="2346098"/>
                  </a:cubicBezTo>
                  <a:cubicBezTo>
                    <a:pt x="2876663" y="2351336"/>
                    <a:pt x="2878370" y="2353342"/>
                    <a:pt x="2877471" y="2359927"/>
                  </a:cubicBezTo>
                  <a:cubicBezTo>
                    <a:pt x="2874897" y="2364088"/>
                    <a:pt x="2863433" y="2365016"/>
                    <a:pt x="2860319" y="2372679"/>
                  </a:cubicBezTo>
                  <a:cubicBezTo>
                    <a:pt x="2859391" y="2375882"/>
                    <a:pt x="2871575" y="2395070"/>
                    <a:pt x="2879358" y="2395758"/>
                  </a:cubicBezTo>
                  <a:cubicBezTo>
                    <a:pt x="2885015" y="2396417"/>
                    <a:pt x="2895522" y="2385311"/>
                    <a:pt x="2914649" y="2367830"/>
                  </a:cubicBezTo>
                  <a:cubicBezTo>
                    <a:pt x="2917610" y="2365124"/>
                    <a:pt x="2928808" y="2343883"/>
                    <a:pt x="2933867" y="2325713"/>
                  </a:cubicBezTo>
                  <a:cubicBezTo>
                    <a:pt x="2928711" y="2323123"/>
                    <a:pt x="2921238" y="2316954"/>
                    <a:pt x="2916889" y="2307326"/>
                  </a:cubicBezTo>
                  <a:lnTo>
                    <a:pt x="2916694" y="2306814"/>
                  </a:lnTo>
                  <a:lnTo>
                    <a:pt x="2919331" y="2308474"/>
                  </a:lnTo>
                  <a:cubicBezTo>
                    <a:pt x="2925965" y="2312894"/>
                    <a:pt x="2932699" y="2317743"/>
                    <a:pt x="2938626" y="2319157"/>
                  </a:cubicBezTo>
                  <a:cubicBezTo>
                    <a:pt x="2942997" y="2324186"/>
                    <a:pt x="2948086" y="2332179"/>
                    <a:pt x="2960089" y="2333705"/>
                  </a:cubicBezTo>
                  <a:cubicBezTo>
                    <a:pt x="2970326" y="2335441"/>
                    <a:pt x="2977600" y="2325773"/>
                    <a:pt x="2981193" y="2315206"/>
                  </a:cubicBezTo>
                  <a:lnTo>
                    <a:pt x="2977870" y="2314937"/>
                  </a:lnTo>
                  <a:cubicBezTo>
                    <a:pt x="2962604" y="2340530"/>
                    <a:pt x="2946469" y="2317189"/>
                    <a:pt x="2949889" y="2292639"/>
                  </a:cubicBezTo>
                  <a:lnTo>
                    <a:pt x="2950820" y="2287831"/>
                  </a:lnTo>
                  <a:lnTo>
                    <a:pt x="2952584" y="2289753"/>
                  </a:lnTo>
                  <a:cubicBezTo>
                    <a:pt x="2983061" y="2320813"/>
                    <a:pt x="3009710" y="2316272"/>
                    <a:pt x="3024836" y="2308022"/>
                  </a:cubicBezTo>
                  <a:cubicBezTo>
                    <a:pt x="3066265" y="2282488"/>
                    <a:pt x="3054126" y="2194367"/>
                    <a:pt x="3036780" y="2190112"/>
                  </a:cubicBezTo>
                  <a:cubicBezTo>
                    <a:pt x="3032814" y="2189139"/>
                    <a:pt x="3030045" y="2199362"/>
                    <a:pt x="3027441" y="2200889"/>
                  </a:cubicBezTo>
                  <a:cubicBezTo>
                    <a:pt x="3019448" y="2205109"/>
                    <a:pt x="3015946" y="2204481"/>
                    <a:pt x="3013791" y="2207803"/>
                  </a:cubicBezTo>
                  <a:cubicBezTo>
                    <a:pt x="3009525" y="2214033"/>
                    <a:pt x="3025228" y="2250098"/>
                    <a:pt x="3005256" y="2269010"/>
                  </a:cubicBezTo>
                  <a:lnTo>
                    <a:pt x="3003766" y="2270186"/>
                  </a:lnTo>
                  <a:lnTo>
                    <a:pt x="3004079" y="2269581"/>
                  </a:lnTo>
                  <a:cubicBezTo>
                    <a:pt x="3007864" y="2262268"/>
                    <a:pt x="3011837" y="2253894"/>
                    <a:pt x="3007325" y="2250369"/>
                  </a:cubicBezTo>
                  <a:cubicBezTo>
                    <a:pt x="3002026" y="2246149"/>
                    <a:pt x="2998704" y="2249381"/>
                    <a:pt x="2994663" y="2252794"/>
                  </a:cubicBezTo>
                  <a:cubicBezTo>
                    <a:pt x="2997267" y="2249830"/>
                    <a:pt x="3000410" y="2249292"/>
                    <a:pt x="2996010" y="2242287"/>
                  </a:cubicBezTo>
                  <a:cubicBezTo>
                    <a:pt x="2992507" y="2239922"/>
                    <a:pt x="2990622" y="2240521"/>
                    <a:pt x="2984156" y="2242197"/>
                  </a:cubicBezTo>
                  <a:cubicBezTo>
                    <a:pt x="2988257" y="2239144"/>
                    <a:pt x="2989574" y="2240311"/>
                    <a:pt x="2987569" y="2234385"/>
                  </a:cubicBezTo>
                  <a:cubicBezTo>
                    <a:pt x="2984829" y="2230703"/>
                    <a:pt x="2983454" y="2231011"/>
                    <a:pt x="2980716" y="2231219"/>
                  </a:cubicBezTo>
                  <a:lnTo>
                    <a:pt x="2978816" y="2231232"/>
                  </a:lnTo>
                  <a:lnTo>
                    <a:pt x="2980378" y="2230671"/>
                  </a:lnTo>
                  <a:cubicBezTo>
                    <a:pt x="2981254" y="2230377"/>
                    <a:pt x="2982046" y="2230138"/>
                    <a:pt x="2982719" y="2229984"/>
                  </a:cubicBezTo>
                  <a:cubicBezTo>
                    <a:pt x="2988107" y="2228757"/>
                    <a:pt x="2994004" y="2230448"/>
                    <a:pt x="2994034" y="2227380"/>
                  </a:cubicBezTo>
                  <a:cubicBezTo>
                    <a:pt x="2994693" y="2224027"/>
                    <a:pt x="2986281" y="2213580"/>
                    <a:pt x="2982539" y="2212742"/>
                  </a:cubicBezTo>
                  <a:cubicBezTo>
                    <a:pt x="2980541" y="2212114"/>
                    <a:pt x="2975311" y="2211586"/>
                    <a:pt x="2970559" y="2211273"/>
                  </a:cubicBezTo>
                  <a:lnTo>
                    <a:pt x="2969453" y="2211214"/>
                  </a:lnTo>
                  <a:lnTo>
                    <a:pt x="2969462" y="2211191"/>
                  </a:lnTo>
                  <a:cubicBezTo>
                    <a:pt x="2970590" y="2209633"/>
                    <a:pt x="2974345" y="2209061"/>
                    <a:pt x="2977242" y="2208791"/>
                  </a:cubicBezTo>
                  <a:cubicBezTo>
                    <a:pt x="2965088" y="2192747"/>
                    <a:pt x="2948714" y="2182449"/>
                    <a:pt x="2934585" y="2182659"/>
                  </a:cubicBezTo>
                  <a:cubicBezTo>
                    <a:pt x="2917553" y="2183168"/>
                    <a:pt x="2896210" y="2187538"/>
                    <a:pt x="2884117" y="2206277"/>
                  </a:cubicBezTo>
                  <a:cubicBezTo>
                    <a:pt x="2890298" y="2206209"/>
                    <a:pt x="2894897" y="2206237"/>
                    <a:pt x="2898349" y="2206604"/>
                  </a:cubicBezTo>
                  <a:lnTo>
                    <a:pt x="2898926" y="2206687"/>
                  </a:lnTo>
                  <a:lnTo>
                    <a:pt x="2896516" y="2207342"/>
                  </a:lnTo>
                  <a:cubicBezTo>
                    <a:pt x="2883710" y="2210423"/>
                    <a:pt x="2874789" y="2209963"/>
                    <a:pt x="2871918" y="2212459"/>
                  </a:cubicBezTo>
                  <a:cubicBezTo>
                    <a:pt x="2865915" y="2216659"/>
                    <a:pt x="2827044" y="2252469"/>
                    <a:pt x="2825442" y="2272744"/>
                  </a:cubicBezTo>
                  <a:cubicBezTo>
                    <a:pt x="2829559" y="2283506"/>
                    <a:pt x="2830333" y="2275901"/>
                    <a:pt x="2839423" y="2294856"/>
                  </a:cubicBezTo>
                  <a:lnTo>
                    <a:pt x="2853929" y="2278318"/>
                  </a:lnTo>
                  <a:lnTo>
                    <a:pt x="2836957" y="2313424"/>
                  </a:lnTo>
                  <a:cubicBezTo>
                    <a:pt x="2841189" y="2319604"/>
                    <a:pt x="2844075" y="2322911"/>
                    <a:pt x="2852886" y="2322805"/>
                  </a:cubicBezTo>
                  <a:cubicBezTo>
                    <a:pt x="2862297" y="2321557"/>
                    <a:pt x="2870990" y="2313843"/>
                    <a:pt x="2880041" y="2309362"/>
                  </a:cubicBezTo>
                  <a:cubicBezTo>
                    <a:pt x="2888987" y="2305639"/>
                    <a:pt x="2891646" y="2308201"/>
                    <a:pt x="2897449" y="2307621"/>
                  </a:cubicBezTo>
                  <a:cubicBezTo>
                    <a:pt x="2909676" y="2274457"/>
                    <a:pt x="2890472" y="2274609"/>
                    <a:pt x="2903687" y="2238571"/>
                  </a:cubicBezTo>
                  <a:cubicBezTo>
                    <a:pt x="2898989" y="2267680"/>
                    <a:pt x="2917640" y="2267694"/>
                    <a:pt x="2904412" y="2316470"/>
                  </a:cubicBezTo>
                  <a:lnTo>
                    <a:pt x="2902304" y="2316125"/>
                  </a:lnTo>
                  <a:lnTo>
                    <a:pt x="2899635" y="2315442"/>
                  </a:lnTo>
                  <a:lnTo>
                    <a:pt x="2896902" y="2315016"/>
                  </a:lnTo>
                  <a:lnTo>
                    <a:pt x="2896135" y="2314838"/>
                  </a:lnTo>
                  <a:cubicBezTo>
                    <a:pt x="2894067" y="2314430"/>
                    <a:pt x="2891890" y="2314212"/>
                    <a:pt x="2889365" y="2314609"/>
                  </a:cubicBezTo>
                  <a:lnTo>
                    <a:pt x="2888379" y="2314839"/>
                  </a:lnTo>
                  <a:lnTo>
                    <a:pt x="2887783" y="2314890"/>
                  </a:lnTo>
                  <a:cubicBezTo>
                    <a:pt x="2874581" y="2316946"/>
                    <a:pt x="2869726" y="2328586"/>
                    <a:pt x="2848555" y="2330832"/>
                  </a:cubicBezTo>
                  <a:cubicBezTo>
                    <a:pt x="2842243" y="2329601"/>
                    <a:pt x="2832149" y="2320325"/>
                    <a:pt x="2826215" y="2313113"/>
                  </a:cubicBezTo>
                  <a:lnTo>
                    <a:pt x="2825757" y="2312519"/>
                  </a:lnTo>
                  <a:lnTo>
                    <a:pt x="2827479" y="2309642"/>
                  </a:lnTo>
                  <a:cubicBezTo>
                    <a:pt x="2829319" y="2306776"/>
                    <a:pt x="2831332" y="2303846"/>
                    <a:pt x="2833558" y="2300838"/>
                  </a:cubicBezTo>
                  <a:cubicBezTo>
                    <a:pt x="2829667" y="2290391"/>
                    <a:pt x="2819400" y="2286769"/>
                    <a:pt x="2816496" y="2273807"/>
                  </a:cubicBezTo>
                  <a:cubicBezTo>
                    <a:pt x="2821196" y="2260397"/>
                    <a:pt x="2823111" y="2251656"/>
                    <a:pt x="2846759" y="2227649"/>
                  </a:cubicBezTo>
                  <a:cubicBezTo>
                    <a:pt x="2783898" y="2236659"/>
                    <a:pt x="2784085" y="2287266"/>
                    <a:pt x="2766704" y="2275031"/>
                  </a:cubicBezTo>
                  <a:lnTo>
                    <a:pt x="2763080" y="2271768"/>
                  </a:lnTo>
                  <a:lnTo>
                    <a:pt x="2764140" y="2271173"/>
                  </a:lnTo>
                  <a:cubicBezTo>
                    <a:pt x="2770545" y="2266858"/>
                    <a:pt x="2762959" y="2260644"/>
                    <a:pt x="2768093" y="2251267"/>
                  </a:cubicBezTo>
                  <a:lnTo>
                    <a:pt x="2757610" y="2261359"/>
                  </a:lnTo>
                  <a:lnTo>
                    <a:pt x="2758523" y="2254460"/>
                  </a:lnTo>
                  <a:cubicBezTo>
                    <a:pt x="2763618" y="2249390"/>
                    <a:pt x="2770507" y="2246533"/>
                    <a:pt x="2772168" y="2245905"/>
                  </a:cubicBezTo>
                  <a:cubicBezTo>
                    <a:pt x="2769048" y="2255427"/>
                    <a:pt x="2775856" y="2262073"/>
                    <a:pt x="2772168" y="2269731"/>
                  </a:cubicBezTo>
                  <a:cubicBezTo>
                    <a:pt x="2807624" y="2224632"/>
                    <a:pt x="2832098" y="2221755"/>
                    <a:pt x="2848509" y="2221349"/>
                  </a:cubicBezTo>
                  <a:cubicBezTo>
                    <a:pt x="2861273" y="2210004"/>
                    <a:pt x="2862368" y="2207045"/>
                    <a:pt x="2871120" y="2204817"/>
                  </a:cubicBezTo>
                  <a:lnTo>
                    <a:pt x="2877156" y="2204184"/>
                  </a:lnTo>
                  <a:lnTo>
                    <a:pt x="2877855" y="2202687"/>
                  </a:lnTo>
                  <a:cubicBezTo>
                    <a:pt x="2883227" y="2192018"/>
                    <a:pt x="2887916" y="2188690"/>
                    <a:pt x="2897135" y="2184151"/>
                  </a:cubicBezTo>
                  <a:cubicBezTo>
                    <a:pt x="2906353" y="2179613"/>
                    <a:pt x="2919139" y="2175571"/>
                    <a:pt x="2932806" y="2176097"/>
                  </a:cubicBezTo>
                  <a:close/>
                  <a:moveTo>
                    <a:pt x="11424848" y="1933898"/>
                  </a:moveTo>
                  <a:lnTo>
                    <a:pt x="11414386" y="1982027"/>
                  </a:lnTo>
                  <a:lnTo>
                    <a:pt x="11457109" y="1982027"/>
                  </a:lnTo>
                  <a:lnTo>
                    <a:pt x="11467397" y="1933898"/>
                  </a:lnTo>
                  <a:close/>
                  <a:moveTo>
                    <a:pt x="5360511" y="1933898"/>
                  </a:moveTo>
                  <a:lnTo>
                    <a:pt x="5350048" y="1982027"/>
                  </a:lnTo>
                  <a:lnTo>
                    <a:pt x="5392771" y="1982027"/>
                  </a:lnTo>
                  <a:lnTo>
                    <a:pt x="5403060" y="1933898"/>
                  </a:lnTo>
                  <a:close/>
                  <a:moveTo>
                    <a:pt x="11211940" y="1847981"/>
                  </a:moveTo>
                  <a:cubicBezTo>
                    <a:pt x="11248397" y="1848319"/>
                    <a:pt x="11266626" y="1861326"/>
                    <a:pt x="11266626" y="1887002"/>
                  </a:cubicBezTo>
                  <a:lnTo>
                    <a:pt x="11266626" y="1923363"/>
                  </a:lnTo>
                  <a:cubicBezTo>
                    <a:pt x="11266626" y="1940425"/>
                    <a:pt x="11274607" y="1949378"/>
                    <a:pt x="11290570" y="1950223"/>
                  </a:cubicBezTo>
                  <a:lnTo>
                    <a:pt x="11290570" y="1968719"/>
                  </a:lnTo>
                  <a:cubicBezTo>
                    <a:pt x="11274607" y="1969564"/>
                    <a:pt x="11266626" y="1978348"/>
                    <a:pt x="11266626" y="1995072"/>
                  </a:cubicBezTo>
                  <a:lnTo>
                    <a:pt x="11266626" y="2032446"/>
                  </a:lnTo>
                  <a:cubicBezTo>
                    <a:pt x="11266626" y="2057785"/>
                    <a:pt x="11248397" y="2070623"/>
                    <a:pt x="11211940" y="2070961"/>
                  </a:cubicBezTo>
                  <a:lnTo>
                    <a:pt x="11211940" y="2051450"/>
                  </a:lnTo>
                  <a:cubicBezTo>
                    <a:pt x="11220900" y="2051282"/>
                    <a:pt x="11227259" y="2049254"/>
                    <a:pt x="11231018" y="2045369"/>
                  </a:cubicBezTo>
                  <a:cubicBezTo>
                    <a:pt x="11234777" y="2041485"/>
                    <a:pt x="11236657" y="2035065"/>
                    <a:pt x="11236657" y="2026112"/>
                  </a:cubicBezTo>
                  <a:lnTo>
                    <a:pt x="11236657" y="1990764"/>
                  </a:lnTo>
                  <a:cubicBezTo>
                    <a:pt x="11236657" y="1973619"/>
                    <a:pt x="11246801" y="1963187"/>
                    <a:pt x="11267089" y="1959471"/>
                  </a:cubicBezTo>
                  <a:lnTo>
                    <a:pt x="11267089" y="1959091"/>
                  </a:lnTo>
                  <a:cubicBezTo>
                    <a:pt x="11246801" y="1955121"/>
                    <a:pt x="11236657" y="1944606"/>
                    <a:pt x="11236657" y="1927544"/>
                  </a:cubicBezTo>
                  <a:lnTo>
                    <a:pt x="11236657" y="1891817"/>
                  </a:lnTo>
                  <a:cubicBezTo>
                    <a:pt x="11236657" y="1876022"/>
                    <a:pt x="11228418" y="1867956"/>
                    <a:pt x="11211940" y="1867619"/>
                  </a:cubicBezTo>
                  <a:close/>
                  <a:moveTo>
                    <a:pt x="11190621" y="1847981"/>
                  </a:moveTo>
                  <a:lnTo>
                    <a:pt x="11190621" y="1867619"/>
                  </a:lnTo>
                  <a:cubicBezTo>
                    <a:pt x="11174247" y="1867956"/>
                    <a:pt x="11166059" y="1876022"/>
                    <a:pt x="11166059" y="1891817"/>
                  </a:cubicBezTo>
                  <a:lnTo>
                    <a:pt x="11166059" y="1927544"/>
                  </a:lnTo>
                  <a:cubicBezTo>
                    <a:pt x="11166059" y="1944606"/>
                    <a:pt x="11155812" y="1955121"/>
                    <a:pt x="11135318" y="1959091"/>
                  </a:cubicBezTo>
                  <a:lnTo>
                    <a:pt x="11135318" y="1959471"/>
                  </a:lnTo>
                  <a:cubicBezTo>
                    <a:pt x="11155812" y="1963187"/>
                    <a:pt x="11166059" y="1973619"/>
                    <a:pt x="11166059" y="1990764"/>
                  </a:cubicBezTo>
                  <a:lnTo>
                    <a:pt x="11166059" y="2026112"/>
                  </a:lnTo>
                  <a:cubicBezTo>
                    <a:pt x="11166059" y="2035149"/>
                    <a:pt x="11167887" y="2041589"/>
                    <a:pt x="11171543" y="2045433"/>
                  </a:cubicBezTo>
                  <a:cubicBezTo>
                    <a:pt x="11175199" y="2049275"/>
                    <a:pt x="11181559" y="2051282"/>
                    <a:pt x="11190621" y="2051450"/>
                  </a:cubicBezTo>
                  <a:lnTo>
                    <a:pt x="11190621" y="2070961"/>
                  </a:lnTo>
                  <a:cubicBezTo>
                    <a:pt x="11153958" y="2070623"/>
                    <a:pt x="11135627" y="2057785"/>
                    <a:pt x="11135627" y="2032446"/>
                  </a:cubicBezTo>
                  <a:lnTo>
                    <a:pt x="11135627" y="1995072"/>
                  </a:lnTo>
                  <a:cubicBezTo>
                    <a:pt x="11135627" y="1978348"/>
                    <a:pt x="11127594" y="1969564"/>
                    <a:pt x="11111528" y="1968719"/>
                  </a:cubicBezTo>
                  <a:lnTo>
                    <a:pt x="11111528" y="1950223"/>
                  </a:lnTo>
                  <a:cubicBezTo>
                    <a:pt x="11127594" y="1949378"/>
                    <a:pt x="11135627" y="1940425"/>
                    <a:pt x="11135627" y="1923363"/>
                  </a:cubicBezTo>
                  <a:lnTo>
                    <a:pt x="11135627" y="1887002"/>
                  </a:lnTo>
                  <a:cubicBezTo>
                    <a:pt x="11135627" y="1861326"/>
                    <a:pt x="11153958" y="1848319"/>
                    <a:pt x="11190621" y="1847981"/>
                  </a:cubicBezTo>
                  <a:close/>
                  <a:moveTo>
                    <a:pt x="8161190" y="1847981"/>
                  </a:moveTo>
                  <a:cubicBezTo>
                    <a:pt x="8197647" y="1848319"/>
                    <a:pt x="8215876" y="1861326"/>
                    <a:pt x="8215876" y="1887002"/>
                  </a:cubicBezTo>
                  <a:lnTo>
                    <a:pt x="8215876" y="1923363"/>
                  </a:lnTo>
                  <a:cubicBezTo>
                    <a:pt x="8215876" y="1940425"/>
                    <a:pt x="8223857" y="1949378"/>
                    <a:pt x="8239820" y="1950223"/>
                  </a:cubicBezTo>
                  <a:lnTo>
                    <a:pt x="8239820" y="1968719"/>
                  </a:lnTo>
                  <a:cubicBezTo>
                    <a:pt x="8223857" y="1969564"/>
                    <a:pt x="8215876" y="1978348"/>
                    <a:pt x="8215876" y="1995072"/>
                  </a:cubicBezTo>
                  <a:lnTo>
                    <a:pt x="8215876" y="2032446"/>
                  </a:lnTo>
                  <a:cubicBezTo>
                    <a:pt x="8215876" y="2057785"/>
                    <a:pt x="8197647" y="2070623"/>
                    <a:pt x="8161190" y="2070961"/>
                  </a:cubicBezTo>
                  <a:lnTo>
                    <a:pt x="8161190" y="2051450"/>
                  </a:lnTo>
                  <a:cubicBezTo>
                    <a:pt x="8170150" y="2051282"/>
                    <a:pt x="8176509" y="2049254"/>
                    <a:pt x="8180268" y="2045369"/>
                  </a:cubicBezTo>
                  <a:cubicBezTo>
                    <a:pt x="8184027" y="2041485"/>
                    <a:pt x="8185907" y="2035065"/>
                    <a:pt x="8185907" y="2026112"/>
                  </a:cubicBezTo>
                  <a:lnTo>
                    <a:pt x="8185907" y="1990764"/>
                  </a:lnTo>
                  <a:cubicBezTo>
                    <a:pt x="8185907" y="1973619"/>
                    <a:pt x="8196051" y="1963187"/>
                    <a:pt x="8216339" y="1959471"/>
                  </a:cubicBezTo>
                  <a:lnTo>
                    <a:pt x="8216339" y="1959091"/>
                  </a:lnTo>
                  <a:cubicBezTo>
                    <a:pt x="8196051" y="1955121"/>
                    <a:pt x="8185907" y="1944606"/>
                    <a:pt x="8185907" y="1927544"/>
                  </a:cubicBezTo>
                  <a:lnTo>
                    <a:pt x="8185907" y="1891817"/>
                  </a:lnTo>
                  <a:cubicBezTo>
                    <a:pt x="8185907" y="1876022"/>
                    <a:pt x="8177668" y="1867956"/>
                    <a:pt x="8161190" y="1867619"/>
                  </a:cubicBezTo>
                  <a:close/>
                  <a:moveTo>
                    <a:pt x="8139871" y="1847981"/>
                  </a:moveTo>
                  <a:lnTo>
                    <a:pt x="8139871" y="1867619"/>
                  </a:lnTo>
                  <a:cubicBezTo>
                    <a:pt x="8123497" y="1867956"/>
                    <a:pt x="8115310" y="1876022"/>
                    <a:pt x="8115310" y="1891817"/>
                  </a:cubicBezTo>
                  <a:lnTo>
                    <a:pt x="8115310" y="1927544"/>
                  </a:lnTo>
                  <a:cubicBezTo>
                    <a:pt x="8115310" y="1944606"/>
                    <a:pt x="8105062" y="1955121"/>
                    <a:pt x="8084568" y="1959091"/>
                  </a:cubicBezTo>
                  <a:lnTo>
                    <a:pt x="8084568" y="1959471"/>
                  </a:lnTo>
                  <a:cubicBezTo>
                    <a:pt x="8105062" y="1963187"/>
                    <a:pt x="8115310" y="1973619"/>
                    <a:pt x="8115310" y="1990764"/>
                  </a:cubicBezTo>
                  <a:lnTo>
                    <a:pt x="8115310" y="2026112"/>
                  </a:lnTo>
                  <a:cubicBezTo>
                    <a:pt x="8115310" y="2035149"/>
                    <a:pt x="8117137" y="2041589"/>
                    <a:pt x="8120793" y="2045433"/>
                  </a:cubicBezTo>
                  <a:cubicBezTo>
                    <a:pt x="8124449" y="2049275"/>
                    <a:pt x="8130809" y="2051282"/>
                    <a:pt x="8139871" y="2051450"/>
                  </a:cubicBezTo>
                  <a:lnTo>
                    <a:pt x="8139871" y="2070961"/>
                  </a:lnTo>
                  <a:cubicBezTo>
                    <a:pt x="8103208" y="2070623"/>
                    <a:pt x="8084877" y="2057785"/>
                    <a:pt x="8084877" y="2032446"/>
                  </a:cubicBezTo>
                  <a:lnTo>
                    <a:pt x="8084877" y="1995072"/>
                  </a:lnTo>
                  <a:cubicBezTo>
                    <a:pt x="8084877" y="1978348"/>
                    <a:pt x="8076844" y="1969564"/>
                    <a:pt x="8060778" y="1968719"/>
                  </a:cubicBezTo>
                  <a:lnTo>
                    <a:pt x="8060778" y="1950223"/>
                  </a:lnTo>
                  <a:cubicBezTo>
                    <a:pt x="8076844" y="1949378"/>
                    <a:pt x="8084877" y="1940425"/>
                    <a:pt x="8084877" y="1923363"/>
                  </a:cubicBezTo>
                  <a:lnTo>
                    <a:pt x="8084877" y="1887002"/>
                  </a:lnTo>
                  <a:cubicBezTo>
                    <a:pt x="8084877" y="1861326"/>
                    <a:pt x="8103208" y="1848319"/>
                    <a:pt x="8139871" y="1847981"/>
                  </a:cubicBezTo>
                  <a:close/>
                  <a:moveTo>
                    <a:pt x="5151280" y="1847981"/>
                  </a:moveTo>
                  <a:cubicBezTo>
                    <a:pt x="5187738" y="1848319"/>
                    <a:pt x="5205966" y="1861326"/>
                    <a:pt x="5205966" y="1887002"/>
                  </a:cubicBezTo>
                  <a:lnTo>
                    <a:pt x="5205966" y="1923363"/>
                  </a:lnTo>
                  <a:cubicBezTo>
                    <a:pt x="5205966" y="1940425"/>
                    <a:pt x="5213948" y="1949378"/>
                    <a:pt x="5229911" y="1950223"/>
                  </a:cubicBezTo>
                  <a:lnTo>
                    <a:pt x="5229911" y="1968719"/>
                  </a:lnTo>
                  <a:cubicBezTo>
                    <a:pt x="5213948" y="1969564"/>
                    <a:pt x="5205966" y="1978348"/>
                    <a:pt x="5205966" y="1995072"/>
                  </a:cubicBezTo>
                  <a:lnTo>
                    <a:pt x="5205966" y="2032446"/>
                  </a:lnTo>
                  <a:cubicBezTo>
                    <a:pt x="5205966" y="2057785"/>
                    <a:pt x="5187738" y="2070623"/>
                    <a:pt x="5151280" y="2070961"/>
                  </a:cubicBezTo>
                  <a:lnTo>
                    <a:pt x="5151280" y="2051450"/>
                  </a:lnTo>
                  <a:cubicBezTo>
                    <a:pt x="5160241" y="2051282"/>
                    <a:pt x="5166599" y="2049254"/>
                    <a:pt x="5170358" y="2045369"/>
                  </a:cubicBezTo>
                  <a:cubicBezTo>
                    <a:pt x="5174118" y="2041485"/>
                    <a:pt x="5175999" y="2035065"/>
                    <a:pt x="5175999" y="2026112"/>
                  </a:cubicBezTo>
                  <a:lnTo>
                    <a:pt x="5175999" y="1990764"/>
                  </a:lnTo>
                  <a:cubicBezTo>
                    <a:pt x="5175999" y="1973619"/>
                    <a:pt x="5186142" y="1963187"/>
                    <a:pt x="5206429" y="1959471"/>
                  </a:cubicBezTo>
                  <a:lnTo>
                    <a:pt x="5206429" y="1959091"/>
                  </a:lnTo>
                  <a:cubicBezTo>
                    <a:pt x="5186142" y="1955121"/>
                    <a:pt x="5175999" y="1944606"/>
                    <a:pt x="5175999" y="1927544"/>
                  </a:cubicBezTo>
                  <a:lnTo>
                    <a:pt x="5175999" y="1891817"/>
                  </a:lnTo>
                  <a:cubicBezTo>
                    <a:pt x="5175999" y="1876022"/>
                    <a:pt x="5167759" y="1867956"/>
                    <a:pt x="5151280" y="1867619"/>
                  </a:cubicBezTo>
                  <a:close/>
                  <a:moveTo>
                    <a:pt x="5129963" y="1847981"/>
                  </a:moveTo>
                  <a:lnTo>
                    <a:pt x="5129963" y="1867619"/>
                  </a:lnTo>
                  <a:cubicBezTo>
                    <a:pt x="5113588" y="1867956"/>
                    <a:pt x="5105400" y="1876022"/>
                    <a:pt x="5105400" y="1891817"/>
                  </a:cubicBezTo>
                  <a:lnTo>
                    <a:pt x="5105400" y="1927544"/>
                  </a:lnTo>
                  <a:cubicBezTo>
                    <a:pt x="5105400" y="1944606"/>
                    <a:pt x="5095152" y="1955121"/>
                    <a:pt x="5074658" y="1959091"/>
                  </a:cubicBezTo>
                  <a:lnTo>
                    <a:pt x="5074658" y="1959471"/>
                  </a:lnTo>
                  <a:cubicBezTo>
                    <a:pt x="5095152" y="1963187"/>
                    <a:pt x="5105400" y="1973619"/>
                    <a:pt x="5105400" y="1990764"/>
                  </a:cubicBezTo>
                  <a:lnTo>
                    <a:pt x="5105400" y="2026112"/>
                  </a:lnTo>
                  <a:cubicBezTo>
                    <a:pt x="5105400" y="2035149"/>
                    <a:pt x="5107227" y="2041589"/>
                    <a:pt x="5110885" y="2045433"/>
                  </a:cubicBezTo>
                  <a:cubicBezTo>
                    <a:pt x="5114540" y="2049275"/>
                    <a:pt x="5120899" y="2051282"/>
                    <a:pt x="5129963" y="2051450"/>
                  </a:cubicBezTo>
                  <a:lnTo>
                    <a:pt x="5129963" y="2070961"/>
                  </a:lnTo>
                  <a:cubicBezTo>
                    <a:pt x="5093299" y="2070623"/>
                    <a:pt x="5074967" y="2057785"/>
                    <a:pt x="5074967" y="2032446"/>
                  </a:cubicBezTo>
                  <a:lnTo>
                    <a:pt x="5074967" y="1995072"/>
                  </a:lnTo>
                  <a:cubicBezTo>
                    <a:pt x="5074967" y="1978348"/>
                    <a:pt x="5066935" y="1969564"/>
                    <a:pt x="5050869" y="1968719"/>
                  </a:cubicBezTo>
                  <a:lnTo>
                    <a:pt x="5050869" y="1950223"/>
                  </a:lnTo>
                  <a:cubicBezTo>
                    <a:pt x="5066935" y="1949378"/>
                    <a:pt x="5074967" y="1940425"/>
                    <a:pt x="5074967" y="1923363"/>
                  </a:cubicBezTo>
                  <a:lnTo>
                    <a:pt x="5074967" y="1887002"/>
                  </a:lnTo>
                  <a:cubicBezTo>
                    <a:pt x="5074967" y="1861326"/>
                    <a:pt x="5093299" y="1848319"/>
                    <a:pt x="5129963" y="1847981"/>
                  </a:cubicBezTo>
                  <a:close/>
                  <a:moveTo>
                    <a:pt x="2097668" y="1847981"/>
                  </a:moveTo>
                  <a:cubicBezTo>
                    <a:pt x="2134123" y="1848319"/>
                    <a:pt x="2152352" y="1861326"/>
                    <a:pt x="2152352" y="1887002"/>
                  </a:cubicBezTo>
                  <a:lnTo>
                    <a:pt x="2152352" y="1923363"/>
                  </a:lnTo>
                  <a:cubicBezTo>
                    <a:pt x="2152352" y="1940425"/>
                    <a:pt x="2160334" y="1949378"/>
                    <a:pt x="2176297" y="1950223"/>
                  </a:cubicBezTo>
                  <a:lnTo>
                    <a:pt x="2176297" y="1968719"/>
                  </a:lnTo>
                  <a:cubicBezTo>
                    <a:pt x="2160334" y="1969564"/>
                    <a:pt x="2152352" y="1978348"/>
                    <a:pt x="2152352" y="1995072"/>
                  </a:cubicBezTo>
                  <a:lnTo>
                    <a:pt x="2152352" y="2032446"/>
                  </a:lnTo>
                  <a:cubicBezTo>
                    <a:pt x="2152352" y="2057785"/>
                    <a:pt x="2134123" y="2070623"/>
                    <a:pt x="2097668" y="2070961"/>
                  </a:cubicBezTo>
                  <a:lnTo>
                    <a:pt x="2097668" y="2051450"/>
                  </a:lnTo>
                  <a:cubicBezTo>
                    <a:pt x="2106627" y="2051282"/>
                    <a:pt x="2112985" y="2049254"/>
                    <a:pt x="2116745" y="2045369"/>
                  </a:cubicBezTo>
                  <a:cubicBezTo>
                    <a:pt x="2120503" y="2041485"/>
                    <a:pt x="2122383" y="2035065"/>
                    <a:pt x="2122383" y="2026112"/>
                  </a:cubicBezTo>
                  <a:lnTo>
                    <a:pt x="2122383" y="1990764"/>
                  </a:lnTo>
                  <a:cubicBezTo>
                    <a:pt x="2122383" y="1973619"/>
                    <a:pt x="2132527" y="1963187"/>
                    <a:pt x="2152815" y="1959471"/>
                  </a:cubicBezTo>
                  <a:lnTo>
                    <a:pt x="2152815" y="1959091"/>
                  </a:lnTo>
                  <a:cubicBezTo>
                    <a:pt x="2132527" y="1955121"/>
                    <a:pt x="2122383" y="1944606"/>
                    <a:pt x="2122383" y="1927544"/>
                  </a:cubicBezTo>
                  <a:lnTo>
                    <a:pt x="2122383" y="1891817"/>
                  </a:lnTo>
                  <a:cubicBezTo>
                    <a:pt x="2122383" y="1876022"/>
                    <a:pt x="2114144" y="1867956"/>
                    <a:pt x="2097668" y="1867619"/>
                  </a:cubicBezTo>
                  <a:close/>
                  <a:moveTo>
                    <a:pt x="2076347" y="1847981"/>
                  </a:moveTo>
                  <a:lnTo>
                    <a:pt x="2076347" y="1867619"/>
                  </a:lnTo>
                  <a:cubicBezTo>
                    <a:pt x="2059973" y="1867956"/>
                    <a:pt x="2051785" y="1876022"/>
                    <a:pt x="2051785" y="1891817"/>
                  </a:cubicBezTo>
                  <a:lnTo>
                    <a:pt x="2051785" y="1927544"/>
                  </a:lnTo>
                  <a:cubicBezTo>
                    <a:pt x="2051785" y="1944606"/>
                    <a:pt x="2041538" y="1955121"/>
                    <a:pt x="2021044" y="1959091"/>
                  </a:cubicBezTo>
                  <a:lnTo>
                    <a:pt x="2021044" y="1959471"/>
                  </a:lnTo>
                  <a:cubicBezTo>
                    <a:pt x="2041538" y="1963187"/>
                    <a:pt x="2051785" y="1973619"/>
                    <a:pt x="2051785" y="1990764"/>
                  </a:cubicBezTo>
                  <a:lnTo>
                    <a:pt x="2051785" y="2026112"/>
                  </a:lnTo>
                  <a:cubicBezTo>
                    <a:pt x="2051785" y="2035149"/>
                    <a:pt x="2053614" y="2041589"/>
                    <a:pt x="2057270" y="2045433"/>
                  </a:cubicBezTo>
                  <a:cubicBezTo>
                    <a:pt x="2060926" y="2049275"/>
                    <a:pt x="2067285" y="2051282"/>
                    <a:pt x="2076347" y="2051450"/>
                  </a:cubicBezTo>
                  <a:lnTo>
                    <a:pt x="2076347" y="2070961"/>
                  </a:lnTo>
                  <a:cubicBezTo>
                    <a:pt x="2039685" y="2070623"/>
                    <a:pt x="2021353" y="2057785"/>
                    <a:pt x="2021353" y="2032446"/>
                  </a:cubicBezTo>
                  <a:lnTo>
                    <a:pt x="2021353" y="1995072"/>
                  </a:lnTo>
                  <a:cubicBezTo>
                    <a:pt x="2021353" y="1978348"/>
                    <a:pt x="2013320" y="1969564"/>
                    <a:pt x="1997254" y="1968719"/>
                  </a:cubicBezTo>
                  <a:lnTo>
                    <a:pt x="1997254" y="1950223"/>
                  </a:lnTo>
                  <a:cubicBezTo>
                    <a:pt x="2013320" y="1949378"/>
                    <a:pt x="2021353" y="1940425"/>
                    <a:pt x="2021353" y="1923363"/>
                  </a:cubicBezTo>
                  <a:lnTo>
                    <a:pt x="2021353" y="1887002"/>
                  </a:lnTo>
                  <a:cubicBezTo>
                    <a:pt x="2021353" y="1861326"/>
                    <a:pt x="2039685" y="1848319"/>
                    <a:pt x="2076347" y="1847981"/>
                  </a:cubicBezTo>
                  <a:close/>
                  <a:moveTo>
                    <a:pt x="11415781" y="1842347"/>
                  </a:moveTo>
                  <a:lnTo>
                    <a:pt x="11443856" y="1842347"/>
                  </a:lnTo>
                  <a:lnTo>
                    <a:pt x="11430080" y="1909484"/>
                  </a:lnTo>
                  <a:lnTo>
                    <a:pt x="11472280" y="1909484"/>
                  </a:lnTo>
                  <a:lnTo>
                    <a:pt x="11486579" y="1842347"/>
                  </a:lnTo>
                  <a:lnTo>
                    <a:pt x="11514132" y="1842347"/>
                  </a:lnTo>
                  <a:lnTo>
                    <a:pt x="11500181" y="1909484"/>
                  </a:lnTo>
                  <a:lnTo>
                    <a:pt x="11539940" y="1909484"/>
                  </a:lnTo>
                  <a:lnTo>
                    <a:pt x="11534534" y="1933898"/>
                  </a:lnTo>
                  <a:lnTo>
                    <a:pt x="11494950" y="1933898"/>
                  </a:lnTo>
                  <a:lnTo>
                    <a:pt x="11484836" y="1982027"/>
                  </a:lnTo>
                  <a:lnTo>
                    <a:pt x="11528082" y="1982027"/>
                  </a:lnTo>
                  <a:lnTo>
                    <a:pt x="11521978" y="2006440"/>
                  </a:lnTo>
                  <a:lnTo>
                    <a:pt x="11479779" y="2006440"/>
                  </a:lnTo>
                  <a:lnTo>
                    <a:pt x="11465479" y="2070961"/>
                  </a:lnTo>
                  <a:lnTo>
                    <a:pt x="11437752" y="2070961"/>
                  </a:lnTo>
                  <a:lnTo>
                    <a:pt x="11451703" y="2006440"/>
                  </a:lnTo>
                  <a:lnTo>
                    <a:pt x="11409503" y="2006440"/>
                  </a:lnTo>
                  <a:lnTo>
                    <a:pt x="11395901" y="2070961"/>
                  </a:lnTo>
                  <a:lnTo>
                    <a:pt x="11368175" y="2070961"/>
                  </a:lnTo>
                  <a:lnTo>
                    <a:pt x="11381776" y="2006440"/>
                  </a:lnTo>
                  <a:lnTo>
                    <a:pt x="11341843" y="2006440"/>
                  </a:lnTo>
                  <a:lnTo>
                    <a:pt x="11346725" y="1982027"/>
                  </a:lnTo>
                  <a:lnTo>
                    <a:pt x="11387182" y="1982027"/>
                  </a:lnTo>
                  <a:lnTo>
                    <a:pt x="11396773" y="1933898"/>
                  </a:lnTo>
                  <a:lnTo>
                    <a:pt x="11354224" y="1933898"/>
                  </a:lnTo>
                  <a:lnTo>
                    <a:pt x="11359281" y="1909484"/>
                  </a:lnTo>
                  <a:lnTo>
                    <a:pt x="11401830" y="1909484"/>
                  </a:lnTo>
                  <a:close/>
                  <a:moveTo>
                    <a:pt x="5351443" y="1842347"/>
                  </a:moveTo>
                  <a:lnTo>
                    <a:pt x="5379518" y="1842347"/>
                  </a:lnTo>
                  <a:lnTo>
                    <a:pt x="5365742" y="1909484"/>
                  </a:lnTo>
                  <a:lnTo>
                    <a:pt x="5407943" y="1909484"/>
                  </a:lnTo>
                  <a:lnTo>
                    <a:pt x="5422241" y="1842347"/>
                  </a:lnTo>
                  <a:lnTo>
                    <a:pt x="5449794" y="1842347"/>
                  </a:lnTo>
                  <a:lnTo>
                    <a:pt x="5435844" y="1909484"/>
                  </a:lnTo>
                  <a:lnTo>
                    <a:pt x="5475602" y="1909484"/>
                  </a:lnTo>
                  <a:lnTo>
                    <a:pt x="5470197" y="1933898"/>
                  </a:lnTo>
                  <a:lnTo>
                    <a:pt x="5430612" y="1933898"/>
                  </a:lnTo>
                  <a:lnTo>
                    <a:pt x="5420499" y="1982027"/>
                  </a:lnTo>
                  <a:lnTo>
                    <a:pt x="5463745" y="1982027"/>
                  </a:lnTo>
                  <a:lnTo>
                    <a:pt x="5457641" y="2006440"/>
                  </a:lnTo>
                  <a:lnTo>
                    <a:pt x="5415441" y="2006440"/>
                  </a:lnTo>
                  <a:lnTo>
                    <a:pt x="5401143" y="2070961"/>
                  </a:lnTo>
                  <a:lnTo>
                    <a:pt x="5373415" y="2070961"/>
                  </a:lnTo>
                  <a:lnTo>
                    <a:pt x="5387365" y="2006440"/>
                  </a:lnTo>
                  <a:lnTo>
                    <a:pt x="5345166" y="2006440"/>
                  </a:lnTo>
                  <a:lnTo>
                    <a:pt x="5331563" y="2070961"/>
                  </a:lnTo>
                  <a:lnTo>
                    <a:pt x="5303838" y="2070961"/>
                  </a:lnTo>
                  <a:lnTo>
                    <a:pt x="5317438" y="2006440"/>
                  </a:lnTo>
                  <a:lnTo>
                    <a:pt x="5277506" y="2006440"/>
                  </a:lnTo>
                  <a:lnTo>
                    <a:pt x="5282388" y="1982027"/>
                  </a:lnTo>
                  <a:lnTo>
                    <a:pt x="5322844" y="1982027"/>
                  </a:lnTo>
                  <a:lnTo>
                    <a:pt x="5332435" y="1933898"/>
                  </a:lnTo>
                  <a:lnTo>
                    <a:pt x="5289887" y="1933898"/>
                  </a:lnTo>
                  <a:lnTo>
                    <a:pt x="5294944" y="1909484"/>
                  </a:lnTo>
                  <a:lnTo>
                    <a:pt x="5337492" y="1909484"/>
                  </a:lnTo>
                  <a:close/>
                  <a:moveTo>
                    <a:pt x="6225654" y="1697074"/>
                  </a:moveTo>
                  <a:cubicBezTo>
                    <a:pt x="6221135" y="1714973"/>
                    <a:pt x="6215991" y="1726272"/>
                    <a:pt x="6202463" y="1736321"/>
                  </a:cubicBezTo>
                  <a:cubicBezTo>
                    <a:pt x="6201095" y="1743665"/>
                    <a:pt x="6213404" y="1739740"/>
                    <a:pt x="6218875" y="1739711"/>
                  </a:cubicBezTo>
                  <a:cubicBezTo>
                    <a:pt x="6224346" y="1739681"/>
                    <a:pt x="6233831" y="1741153"/>
                    <a:pt x="6235287" y="1736143"/>
                  </a:cubicBezTo>
                  <a:cubicBezTo>
                    <a:pt x="6236269" y="1732694"/>
                    <a:pt x="6233860" y="1730048"/>
                    <a:pt x="6232344" y="1726688"/>
                  </a:cubicBezTo>
                  <a:cubicBezTo>
                    <a:pt x="6231571" y="1723001"/>
                    <a:pt x="6234440" y="1718422"/>
                    <a:pt x="6233325" y="1713487"/>
                  </a:cubicBezTo>
                  <a:cubicBezTo>
                    <a:pt x="6232210" y="1708551"/>
                    <a:pt x="6228925" y="1700761"/>
                    <a:pt x="6225654" y="1697074"/>
                  </a:cubicBezTo>
                  <a:close/>
                  <a:moveTo>
                    <a:pt x="179757" y="1697074"/>
                  </a:moveTo>
                  <a:cubicBezTo>
                    <a:pt x="175238" y="1714973"/>
                    <a:pt x="170094" y="1726272"/>
                    <a:pt x="156566" y="1736321"/>
                  </a:cubicBezTo>
                  <a:cubicBezTo>
                    <a:pt x="155198" y="1743665"/>
                    <a:pt x="167507" y="1739740"/>
                    <a:pt x="172978" y="1739711"/>
                  </a:cubicBezTo>
                  <a:cubicBezTo>
                    <a:pt x="178449" y="1739681"/>
                    <a:pt x="187934" y="1741153"/>
                    <a:pt x="189390" y="1736143"/>
                  </a:cubicBezTo>
                  <a:cubicBezTo>
                    <a:pt x="190372" y="1732694"/>
                    <a:pt x="187963" y="1730048"/>
                    <a:pt x="186447" y="1726688"/>
                  </a:cubicBezTo>
                  <a:cubicBezTo>
                    <a:pt x="185674" y="1723001"/>
                    <a:pt x="188543" y="1718422"/>
                    <a:pt x="187428" y="1713487"/>
                  </a:cubicBezTo>
                  <a:cubicBezTo>
                    <a:pt x="186313" y="1708551"/>
                    <a:pt x="183027" y="1700761"/>
                    <a:pt x="179757" y="1697074"/>
                  </a:cubicBezTo>
                  <a:close/>
                  <a:moveTo>
                    <a:pt x="6065633" y="1680662"/>
                  </a:moveTo>
                  <a:cubicBezTo>
                    <a:pt x="6060816" y="1686162"/>
                    <a:pt x="6051986" y="1696658"/>
                    <a:pt x="6051986" y="1700910"/>
                  </a:cubicBezTo>
                  <a:cubicBezTo>
                    <a:pt x="6052253" y="1706202"/>
                    <a:pt x="6066436" y="1721842"/>
                    <a:pt x="6073482" y="1722496"/>
                  </a:cubicBezTo>
                  <a:cubicBezTo>
                    <a:pt x="6079310" y="1722644"/>
                    <a:pt x="6079875" y="1719582"/>
                    <a:pt x="6082402" y="1715271"/>
                  </a:cubicBezTo>
                  <a:cubicBezTo>
                    <a:pt x="6074315" y="1703824"/>
                    <a:pt x="6070955" y="1697996"/>
                    <a:pt x="6065633" y="1680662"/>
                  </a:cubicBezTo>
                  <a:close/>
                  <a:moveTo>
                    <a:pt x="19736" y="1680662"/>
                  </a:moveTo>
                  <a:cubicBezTo>
                    <a:pt x="14919" y="1686162"/>
                    <a:pt x="6089" y="1696658"/>
                    <a:pt x="6089" y="1700910"/>
                  </a:cubicBezTo>
                  <a:cubicBezTo>
                    <a:pt x="6356" y="1706202"/>
                    <a:pt x="20539" y="1721842"/>
                    <a:pt x="27585" y="1722496"/>
                  </a:cubicBezTo>
                  <a:cubicBezTo>
                    <a:pt x="33413" y="1722644"/>
                    <a:pt x="33978" y="1719582"/>
                    <a:pt x="36505" y="1715271"/>
                  </a:cubicBezTo>
                  <a:cubicBezTo>
                    <a:pt x="28418" y="1703824"/>
                    <a:pt x="25058" y="1697996"/>
                    <a:pt x="19736" y="1680662"/>
                  </a:cubicBezTo>
                  <a:close/>
                  <a:moveTo>
                    <a:pt x="6049245" y="1612371"/>
                  </a:moveTo>
                  <a:lnTo>
                    <a:pt x="6049044" y="1613888"/>
                  </a:lnTo>
                  <a:lnTo>
                    <a:pt x="6048978" y="1612628"/>
                  </a:lnTo>
                  <a:close/>
                  <a:moveTo>
                    <a:pt x="3348" y="1612371"/>
                  </a:moveTo>
                  <a:lnTo>
                    <a:pt x="3147" y="1613888"/>
                  </a:lnTo>
                  <a:lnTo>
                    <a:pt x="3081" y="1612628"/>
                  </a:lnTo>
                  <a:close/>
                  <a:moveTo>
                    <a:pt x="6251165" y="1585177"/>
                  </a:moveTo>
                  <a:cubicBezTo>
                    <a:pt x="6251127" y="1585348"/>
                    <a:pt x="6248269" y="1586410"/>
                    <a:pt x="6247173" y="1588031"/>
                  </a:cubicBezTo>
                  <a:cubicBezTo>
                    <a:pt x="6251710" y="1589543"/>
                    <a:pt x="6253304" y="1590966"/>
                    <a:pt x="6254095" y="1596401"/>
                  </a:cubicBezTo>
                  <a:cubicBezTo>
                    <a:pt x="6254309" y="1596360"/>
                    <a:pt x="6255803" y="1595155"/>
                    <a:pt x="6260976" y="1594675"/>
                  </a:cubicBezTo>
                  <a:cubicBezTo>
                    <a:pt x="6249232" y="1599373"/>
                    <a:pt x="6243285" y="1604428"/>
                    <a:pt x="6234752" y="1613853"/>
                  </a:cubicBezTo>
                  <a:cubicBezTo>
                    <a:pt x="6237451" y="1608546"/>
                    <a:pt x="6239750" y="1606296"/>
                    <a:pt x="6239769" y="1606230"/>
                  </a:cubicBezTo>
                  <a:cubicBezTo>
                    <a:pt x="6235302" y="1604713"/>
                    <a:pt x="6234046" y="1604355"/>
                    <a:pt x="6231987" y="1599269"/>
                  </a:cubicBezTo>
                  <a:cubicBezTo>
                    <a:pt x="6231716" y="1599418"/>
                    <a:pt x="6231266" y="1599187"/>
                    <a:pt x="6227170" y="1603328"/>
                  </a:cubicBezTo>
                  <a:cubicBezTo>
                    <a:pt x="6234366" y="1589175"/>
                    <a:pt x="6241115" y="1588268"/>
                    <a:pt x="6251165" y="1585177"/>
                  </a:cubicBezTo>
                  <a:close/>
                  <a:moveTo>
                    <a:pt x="205268" y="1585177"/>
                  </a:moveTo>
                  <a:cubicBezTo>
                    <a:pt x="205230" y="1585348"/>
                    <a:pt x="202372" y="1586410"/>
                    <a:pt x="201276" y="1588031"/>
                  </a:cubicBezTo>
                  <a:cubicBezTo>
                    <a:pt x="205813" y="1589543"/>
                    <a:pt x="207407" y="1590966"/>
                    <a:pt x="208198" y="1596401"/>
                  </a:cubicBezTo>
                  <a:cubicBezTo>
                    <a:pt x="208412" y="1596360"/>
                    <a:pt x="209906" y="1595155"/>
                    <a:pt x="215079" y="1594675"/>
                  </a:cubicBezTo>
                  <a:cubicBezTo>
                    <a:pt x="203335" y="1599373"/>
                    <a:pt x="197388" y="1604428"/>
                    <a:pt x="188855" y="1613853"/>
                  </a:cubicBezTo>
                  <a:cubicBezTo>
                    <a:pt x="191553" y="1608546"/>
                    <a:pt x="193853" y="1606296"/>
                    <a:pt x="193872" y="1606230"/>
                  </a:cubicBezTo>
                  <a:cubicBezTo>
                    <a:pt x="189405" y="1604713"/>
                    <a:pt x="188149" y="1604355"/>
                    <a:pt x="186090" y="1599269"/>
                  </a:cubicBezTo>
                  <a:cubicBezTo>
                    <a:pt x="185819" y="1599418"/>
                    <a:pt x="185369" y="1599187"/>
                    <a:pt x="181273" y="1603328"/>
                  </a:cubicBezTo>
                  <a:cubicBezTo>
                    <a:pt x="188469" y="1589175"/>
                    <a:pt x="195218" y="1588268"/>
                    <a:pt x="205268" y="1585177"/>
                  </a:cubicBezTo>
                  <a:close/>
                  <a:moveTo>
                    <a:pt x="6224596" y="1568764"/>
                  </a:moveTo>
                  <a:cubicBezTo>
                    <a:pt x="6225296" y="1568709"/>
                    <a:pt x="6226055" y="1568729"/>
                    <a:pt x="6226880" y="1568802"/>
                  </a:cubicBezTo>
                  <a:cubicBezTo>
                    <a:pt x="6229081" y="1568994"/>
                    <a:pt x="6231749" y="1569559"/>
                    <a:pt x="6235020" y="1570057"/>
                  </a:cubicBezTo>
                  <a:cubicBezTo>
                    <a:pt x="6223900" y="1571811"/>
                    <a:pt x="6220808" y="1578025"/>
                    <a:pt x="6216110" y="1588967"/>
                  </a:cubicBezTo>
                  <a:cubicBezTo>
                    <a:pt x="6217671" y="1573240"/>
                    <a:pt x="6219693" y="1569153"/>
                    <a:pt x="6224596" y="1568764"/>
                  </a:cubicBezTo>
                  <a:close/>
                  <a:moveTo>
                    <a:pt x="178699" y="1568764"/>
                  </a:moveTo>
                  <a:cubicBezTo>
                    <a:pt x="179399" y="1568709"/>
                    <a:pt x="180158" y="1568729"/>
                    <a:pt x="180983" y="1568802"/>
                  </a:cubicBezTo>
                  <a:cubicBezTo>
                    <a:pt x="183184" y="1568994"/>
                    <a:pt x="185852" y="1569559"/>
                    <a:pt x="189123" y="1570057"/>
                  </a:cubicBezTo>
                  <a:cubicBezTo>
                    <a:pt x="178003" y="1571811"/>
                    <a:pt x="174911" y="1578025"/>
                    <a:pt x="170213" y="1588967"/>
                  </a:cubicBezTo>
                  <a:cubicBezTo>
                    <a:pt x="171774" y="1573240"/>
                    <a:pt x="173796" y="1569153"/>
                    <a:pt x="178699" y="1568764"/>
                  </a:cubicBezTo>
                  <a:close/>
                  <a:moveTo>
                    <a:pt x="6327199" y="1546688"/>
                  </a:moveTo>
                  <a:cubicBezTo>
                    <a:pt x="6328797" y="1548743"/>
                    <a:pt x="6323936" y="1556484"/>
                    <a:pt x="6319002" y="1560609"/>
                  </a:cubicBezTo>
                  <a:cubicBezTo>
                    <a:pt x="6314067" y="1564731"/>
                    <a:pt x="6306797" y="1564309"/>
                    <a:pt x="6306826" y="1562599"/>
                  </a:cubicBezTo>
                  <a:cubicBezTo>
                    <a:pt x="6306854" y="1560891"/>
                    <a:pt x="6314571" y="1558622"/>
                    <a:pt x="6317967" y="1555970"/>
                  </a:cubicBezTo>
                  <a:cubicBezTo>
                    <a:pt x="6321362" y="1553318"/>
                    <a:pt x="6326070" y="1545701"/>
                    <a:pt x="6327199" y="1546688"/>
                  </a:cubicBezTo>
                  <a:close/>
                  <a:moveTo>
                    <a:pt x="281302" y="1546688"/>
                  </a:moveTo>
                  <a:cubicBezTo>
                    <a:pt x="282899" y="1548743"/>
                    <a:pt x="278039" y="1556484"/>
                    <a:pt x="273104" y="1560609"/>
                  </a:cubicBezTo>
                  <a:cubicBezTo>
                    <a:pt x="268170" y="1564731"/>
                    <a:pt x="260900" y="1564309"/>
                    <a:pt x="260929" y="1562599"/>
                  </a:cubicBezTo>
                  <a:cubicBezTo>
                    <a:pt x="260957" y="1560891"/>
                    <a:pt x="268674" y="1558622"/>
                    <a:pt x="272070" y="1555970"/>
                  </a:cubicBezTo>
                  <a:cubicBezTo>
                    <a:pt x="275465" y="1553318"/>
                    <a:pt x="280173" y="1545701"/>
                    <a:pt x="281302" y="1546688"/>
                  </a:cubicBezTo>
                  <a:close/>
                  <a:moveTo>
                    <a:pt x="6223262" y="1527682"/>
                  </a:moveTo>
                  <a:cubicBezTo>
                    <a:pt x="6225201" y="1527757"/>
                    <a:pt x="6227158" y="1527924"/>
                    <a:pt x="6229125" y="1528196"/>
                  </a:cubicBezTo>
                  <a:cubicBezTo>
                    <a:pt x="6244862" y="1530369"/>
                    <a:pt x="6265107" y="1546871"/>
                    <a:pt x="6272110" y="1557416"/>
                  </a:cubicBezTo>
                  <a:cubicBezTo>
                    <a:pt x="6281529" y="1559992"/>
                    <a:pt x="6287526" y="1573636"/>
                    <a:pt x="6289981" y="1578426"/>
                  </a:cubicBezTo>
                  <a:cubicBezTo>
                    <a:pt x="6292436" y="1583215"/>
                    <a:pt x="6289578" y="1585952"/>
                    <a:pt x="6286841" y="1586153"/>
                  </a:cubicBezTo>
                  <a:cubicBezTo>
                    <a:pt x="6286801" y="1586737"/>
                    <a:pt x="6295283" y="1593519"/>
                    <a:pt x="6299867" y="1596190"/>
                  </a:cubicBezTo>
                  <a:cubicBezTo>
                    <a:pt x="6303414" y="1580771"/>
                    <a:pt x="6298267" y="1570421"/>
                    <a:pt x="6298191" y="1559107"/>
                  </a:cubicBezTo>
                  <a:cubicBezTo>
                    <a:pt x="6303585" y="1549688"/>
                    <a:pt x="6308012" y="1553069"/>
                    <a:pt x="6313405" y="1549447"/>
                  </a:cubicBezTo>
                  <a:cubicBezTo>
                    <a:pt x="6316625" y="1545744"/>
                    <a:pt x="6319604" y="1537936"/>
                    <a:pt x="6325238" y="1538338"/>
                  </a:cubicBezTo>
                  <a:cubicBezTo>
                    <a:pt x="6335059" y="1538741"/>
                    <a:pt x="6347536" y="1557015"/>
                    <a:pt x="6347938" y="1600401"/>
                  </a:cubicBezTo>
                  <a:cubicBezTo>
                    <a:pt x="6348180" y="1634854"/>
                    <a:pt x="6334415" y="1657956"/>
                    <a:pt x="6310507" y="1668260"/>
                  </a:cubicBezTo>
                  <a:cubicBezTo>
                    <a:pt x="6298282" y="1671520"/>
                    <a:pt x="6287788" y="1671316"/>
                    <a:pt x="6278696" y="1668973"/>
                  </a:cubicBezTo>
                  <a:lnTo>
                    <a:pt x="6274716" y="1667587"/>
                  </a:lnTo>
                  <a:lnTo>
                    <a:pt x="6274239" y="1669848"/>
                  </a:lnTo>
                  <a:cubicBezTo>
                    <a:pt x="6269387" y="1688462"/>
                    <a:pt x="6255744" y="1689893"/>
                    <a:pt x="6249652" y="1689752"/>
                  </a:cubicBezTo>
                  <a:cubicBezTo>
                    <a:pt x="6242689" y="1689591"/>
                    <a:pt x="6232385" y="1683151"/>
                    <a:pt x="6228159" y="1680092"/>
                  </a:cubicBezTo>
                  <a:cubicBezTo>
                    <a:pt x="6228038" y="1684761"/>
                    <a:pt x="6229125" y="1686411"/>
                    <a:pt x="6227193" y="1692650"/>
                  </a:cubicBezTo>
                  <a:cubicBezTo>
                    <a:pt x="6232264" y="1695990"/>
                    <a:pt x="6235323" y="1707904"/>
                    <a:pt x="6236853" y="1713176"/>
                  </a:cubicBezTo>
                  <a:cubicBezTo>
                    <a:pt x="6238382" y="1718449"/>
                    <a:pt x="6236491" y="1719656"/>
                    <a:pt x="6236370" y="1724285"/>
                  </a:cubicBezTo>
                  <a:cubicBezTo>
                    <a:pt x="6236249" y="1728913"/>
                    <a:pt x="6241079" y="1732616"/>
                    <a:pt x="6238543" y="1738050"/>
                  </a:cubicBezTo>
                  <a:cubicBezTo>
                    <a:pt x="6236008" y="1743483"/>
                    <a:pt x="6229407" y="1743765"/>
                    <a:pt x="6222605" y="1743846"/>
                  </a:cubicBezTo>
                  <a:cubicBezTo>
                    <a:pt x="6215803" y="1743926"/>
                    <a:pt x="6200589" y="1748595"/>
                    <a:pt x="6197731" y="1738533"/>
                  </a:cubicBezTo>
                  <a:cubicBezTo>
                    <a:pt x="6197374" y="1737275"/>
                    <a:pt x="6197124" y="1735776"/>
                    <a:pt x="6196972" y="1734079"/>
                  </a:cubicBezTo>
                  <a:cubicBezTo>
                    <a:pt x="6196959" y="1733630"/>
                    <a:pt x="6196946" y="1733182"/>
                    <a:pt x="6196932" y="1732734"/>
                  </a:cubicBezTo>
                  <a:lnTo>
                    <a:pt x="6193193" y="1736278"/>
                  </a:lnTo>
                  <a:cubicBezTo>
                    <a:pt x="6184645" y="1744325"/>
                    <a:pt x="6176938" y="1750909"/>
                    <a:pt x="6169719" y="1750607"/>
                  </a:cubicBezTo>
                  <a:cubicBezTo>
                    <a:pt x="6157684" y="1748192"/>
                    <a:pt x="6148387" y="1729034"/>
                    <a:pt x="6146294" y="1722353"/>
                  </a:cubicBezTo>
                  <a:cubicBezTo>
                    <a:pt x="6144201" y="1715672"/>
                    <a:pt x="6151003" y="1714424"/>
                    <a:pt x="6157161" y="1710520"/>
                  </a:cubicBezTo>
                  <a:cubicBezTo>
                    <a:pt x="6151003" y="1714102"/>
                    <a:pt x="6134340" y="1711164"/>
                    <a:pt x="6132288" y="1708105"/>
                  </a:cubicBezTo>
                  <a:cubicBezTo>
                    <a:pt x="6132891" y="1714464"/>
                    <a:pt x="6132529" y="1715390"/>
                    <a:pt x="6131322" y="1718972"/>
                  </a:cubicBezTo>
                  <a:cubicBezTo>
                    <a:pt x="6130114" y="1722554"/>
                    <a:pt x="6126935" y="1724647"/>
                    <a:pt x="6125043" y="1729598"/>
                  </a:cubicBezTo>
                  <a:cubicBezTo>
                    <a:pt x="6123151" y="1734548"/>
                    <a:pt x="6127498" y="1746904"/>
                    <a:pt x="6119972" y="1748675"/>
                  </a:cubicBezTo>
                  <a:cubicBezTo>
                    <a:pt x="6112445" y="1750446"/>
                    <a:pt x="6089061" y="1749762"/>
                    <a:pt x="6079884" y="1740223"/>
                  </a:cubicBezTo>
                  <a:cubicBezTo>
                    <a:pt x="6076021" y="1735514"/>
                    <a:pt x="6082299" y="1728229"/>
                    <a:pt x="6080850" y="1726217"/>
                  </a:cubicBezTo>
                  <a:cubicBezTo>
                    <a:pt x="6079402" y="1724204"/>
                    <a:pt x="6076987" y="1732133"/>
                    <a:pt x="6071191" y="1728149"/>
                  </a:cubicBezTo>
                  <a:cubicBezTo>
                    <a:pt x="6065395" y="1724164"/>
                    <a:pt x="6047726" y="1711043"/>
                    <a:pt x="6046076" y="1702309"/>
                  </a:cubicBezTo>
                  <a:cubicBezTo>
                    <a:pt x="6044426" y="1693575"/>
                    <a:pt x="6054488" y="1684399"/>
                    <a:pt x="6061290" y="1675746"/>
                  </a:cubicBezTo>
                  <a:cubicBezTo>
                    <a:pt x="6059640" y="1666368"/>
                    <a:pt x="6058955" y="1660089"/>
                    <a:pt x="6062739" y="1649182"/>
                  </a:cubicBezTo>
                  <a:cubicBezTo>
                    <a:pt x="6057667" y="1646083"/>
                    <a:pt x="6046639" y="1641696"/>
                    <a:pt x="6047283" y="1627206"/>
                  </a:cubicBezTo>
                  <a:lnTo>
                    <a:pt x="6049044" y="1613888"/>
                  </a:lnTo>
                  <a:lnTo>
                    <a:pt x="6049503" y="1622608"/>
                  </a:lnTo>
                  <a:lnTo>
                    <a:pt x="6050326" y="1623003"/>
                  </a:lnTo>
                  <a:lnTo>
                    <a:pt x="6050449" y="1624178"/>
                  </a:lnTo>
                  <a:cubicBezTo>
                    <a:pt x="6051473" y="1632556"/>
                    <a:pt x="6054216" y="1641839"/>
                    <a:pt x="6070004" y="1638025"/>
                  </a:cubicBezTo>
                  <a:cubicBezTo>
                    <a:pt x="6063214" y="1674057"/>
                    <a:pt x="6078550" y="1691924"/>
                    <a:pt x="6088227" y="1708655"/>
                  </a:cubicBezTo>
                  <a:lnTo>
                    <a:pt x="6089189" y="1710504"/>
                  </a:lnTo>
                  <a:lnTo>
                    <a:pt x="6089155" y="1711372"/>
                  </a:lnTo>
                  <a:cubicBezTo>
                    <a:pt x="6088864" y="1716480"/>
                    <a:pt x="6088133" y="1720020"/>
                    <a:pt x="6087754" y="1724815"/>
                  </a:cubicBezTo>
                  <a:cubicBezTo>
                    <a:pt x="6086654" y="1728591"/>
                    <a:pt x="6083948" y="1728174"/>
                    <a:pt x="6084454" y="1736143"/>
                  </a:cubicBezTo>
                  <a:cubicBezTo>
                    <a:pt x="6084781" y="1741108"/>
                    <a:pt x="6113919" y="1749106"/>
                    <a:pt x="6118617" y="1742743"/>
                  </a:cubicBezTo>
                  <a:cubicBezTo>
                    <a:pt x="6119984" y="1740543"/>
                    <a:pt x="6119390" y="1735489"/>
                    <a:pt x="6119776" y="1731861"/>
                  </a:cubicBezTo>
                  <a:cubicBezTo>
                    <a:pt x="6120371" y="1727818"/>
                    <a:pt x="6125604" y="1723417"/>
                    <a:pt x="6126377" y="1717679"/>
                  </a:cubicBezTo>
                  <a:cubicBezTo>
                    <a:pt x="6126882" y="1713115"/>
                    <a:pt x="6126830" y="1707949"/>
                    <a:pt x="6126656" y="1702571"/>
                  </a:cubicBezTo>
                  <a:lnTo>
                    <a:pt x="6126448" y="1696892"/>
                  </a:lnTo>
                  <a:lnTo>
                    <a:pt x="6128036" y="1698741"/>
                  </a:lnTo>
                  <a:cubicBezTo>
                    <a:pt x="6138309" y="1709219"/>
                    <a:pt x="6160097" y="1712747"/>
                    <a:pt x="6167408" y="1696539"/>
                  </a:cubicBezTo>
                  <a:cubicBezTo>
                    <a:pt x="6167497" y="1701742"/>
                    <a:pt x="6169192" y="1703734"/>
                    <a:pt x="6168300" y="1710276"/>
                  </a:cubicBezTo>
                  <a:cubicBezTo>
                    <a:pt x="6165743" y="1714408"/>
                    <a:pt x="6154355" y="1715330"/>
                    <a:pt x="6151263" y="1722942"/>
                  </a:cubicBezTo>
                  <a:cubicBezTo>
                    <a:pt x="6150341" y="1726123"/>
                    <a:pt x="6162443" y="1745182"/>
                    <a:pt x="6170173" y="1745865"/>
                  </a:cubicBezTo>
                  <a:cubicBezTo>
                    <a:pt x="6175792" y="1746519"/>
                    <a:pt x="6186229" y="1735489"/>
                    <a:pt x="6205228" y="1718125"/>
                  </a:cubicBezTo>
                  <a:cubicBezTo>
                    <a:pt x="6208169" y="1715437"/>
                    <a:pt x="6219291" y="1694339"/>
                    <a:pt x="6224316" y="1676291"/>
                  </a:cubicBezTo>
                  <a:cubicBezTo>
                    <a:pt x="6219194" y="1673719"/>
                    <a:pt x="6211772" y="1667591"/>
                    <a:pt x="6207453" y="1658029"/>
                  </a:cubicBezTo>
                  <a:lnTo>
                    <a:pt x="6207259" y="1657520"/>
                  </a:lnTo>
                  <a:lnTo>
                    <a:pt x="6209877" y="1659168"/>
                  </a:lnTo>
                  <a:cubicBezTo>
                    <a:pt x="6216467" y="1663558"/>
                    <a:pt x="6223157" y="1668375"/>
                    <a:pt x="6229044" y="1669780"/>
                  </a:cubicBezTo>
                  <a:cubicBezTo>
                    <a:pt x="6233385" y="1674775"/>
                    <a:pt x="6238439" y="1682713"/>
                    <a:pt x="6250362" y="1684230"/>
                  </a:cubicBezTo>
                  <a:cubicBezTo>
                    <a:pt x="6260530" y="1685954"/>
                    <a:pt x="6267755" y="1676351"/>
                    <a:pt x="6271323" y="1665855"/>
                  </a:cubicBezTo>
                  <a:lnTo>
                    <a:pt x="6268023" y="1665588"/>
                  </a:lnTo>
                  <a:cubicBezTo>
                    <a:pt x="6252859" y="1691009"/>
                    <a:pt x="6236833" y="1667824"/>
                    <a:pt x="6240230" y="1643440"/>
                  </a:cubicBezTo>
                  <a:lnTo>
                    <a:pt x="6241155" y="1638664"/>
                  </a:lnTo>
                  <a:lnTo>
                    <a:pt x="6242907" y="1640573"/>
                  </a:lnTo>
                  <a:cubicBezTo>
                    <a:pt x="6273179" y="1671425"/>
                    <a:pt x="6299649" y="1666914"/>
                    <a:pt x="6314674" y="1658720"/>
                  </a:cubicBezTo>
                  <a:cubicBezTo>
                    <a:pt x="6355823" y="1633357"/>
                    <a:pt x="6343767" y="1545829"/>
                    <a:pt x="6326537" y="1541603"/>
                  </a:cubicBezTo>
                  <a:cubicBezTo>
                    <a:pt x="6322597" y="1540636"/>
                    <a:pt x="6319847" y="1550790"/>
                    <a:pt x="6317260" y="1552307"/>
                  </a:cubicBezTo>
                  <a:cubicBezTo>
                    <a:pt x="6309322" y="1556499"/>
                    <a:pt x="6305843" y="1555874"/>
                    <a:pt x="6303702" y="1559175"/>
                  </a:cubicBezTo>
                  <a:cubicBezTo>
                    <a:pt x="6299465" y="1565363"/>
                    <a:pt x="6315063" y="1601185"/>
                    <a:pt x="6295225" y="1619971"/>
                  </a:cubicBezTo>
                  <a:lnTo>
                    <a:pt x="6293745" y="1621138"/>
                  </a:lnTo>
                  <a:lnTo>
                    <a:pt x="6294056" y="1620537"/>
                  </a:lnTo>
                  <a:cubicBezTo>
                    <a:pt x="6297815" y="1613273"/>
                    <a:pt x="6301762" y="1604955"/>
                    <a:pt x="6297280" y="1601454"/>
                  </a:cubicBezTo>
                  <a:cubicBezTo>
                    <a:pt x="6292017" y="1597262"/>
                    <a:pt x="6288717" y="1600473"/>
                    <a:pt x="6284703" y="1603863"/>
                  </a:cubicBezTo>
                  <a:cubicBezTo>
                    <a:pt x="6287290" y="1600919"/>
                    <a:pt x="6290412" y="1600384"/>
                    <a:pt x="6286041" y="1593427"/>
                  </a:cubicBezTo>
                  <a:cubicBezTo>
                    <a:pt x="6282562" y="1591078"/>
                    <a:pt x="6280689" y="1591672"/>
                    <a:pt x="6274267" y="1593337"/>
                  </a:cubicBezTo>
                  <a:cubicBezTo>
                    <a:pt x="6278340" y="1590305"/>
                    <a:pt x="6279648" y="1591464"/>
                    <a:pt x="6277656" y="1585577"/>
                  </a:cubicBezTo>
                  <a:cubicBezTo>
                    <a:pt x="6274936" y="1581920"/>
                    <a:pt x="6273570" y="1582227"/>
                    <a:pt x="6270849" y="1582433"/>
                  </a:cubicBezTo>
                  <a:lnTo>
                    <a:pt x="6268963" y="1582446"/>
                  </a:lnTo>
                  <a:lnTo>
                    <a:pt x="6270514" y="1581889"/>
                  </a:lnTo>
                  <a:cubicBezTo>
                    <a:pt x="6271384" y="1581596"/>
                    <a:pt x="6272171" y="1581359"/>
                    <a:pt x="6272840" y="1581207"/>
                  </a:cubicBezTo>
                  <a:cubicBezTo>
                    <a:pt x="6278192" y="1579988"/>
                    <a:pt x="6284049" y="1581667"/>
                    <a:pt x="6284079" y="1578620"/>
                  </a:cubicBezTo>
                  <a:cubicBezTo>
                    <a:pt x="6284733" y="1575290"/>
                    <a:pt x="6276378" y="1564913"/>
                    <a:pt x="6272661" y="1564081"/>
                  </a:cubicBezTo>
                  <a:cubicBezTo>
                    <a:pt x="6270677" y="1563456"/>
                    <a:pt x="6265481" y="1562933"/>
                    <a:pt x="6260762" y="1562621"/>
                  </a:cubicBezTo>
                  <a:lnTo>
                    <a:pt x="6259663" y="1562563"/>
                  </a:lnTo>
                  <a:lnTo>
                    <a:pt x="6259672" y="1562539"/>
                  </a:lnTo>
                  <a:cubicBezTo>
                    <a:pt x="6260792" y="1560992"/>
                    <a:pt x="6264522" y="1560424"/>
                    <a:pt x="6267399" y="1560156"/>
                  </a:cubicBezTo>
                  <a:cubicBezTo>
                    <a:pt x="6255327" y="1544219"/>
                    <a:pt x="6239063" y="1533991"/>
                    <a:pt x="6225030" y="1534200"/>
                  </a:cubicBezTo>
                  <a:cubicBezTo>
                    <a:pt x="6208112" y="1534705"/>
                    <a:pt x="6186912" y="1539046"/>
                    <a:pt x="6174900" y="1557658"/>
                  </a:cubicBezTo>
                  <a:cubicBezTo>
                    <a:pt x="6181040" y="1557592"/>
                    <a:pt x="6185608" y="1557619"/>
                    <a:pt x="6189037" y="1557983"/>
                  </a:cubicBezTo>
                  <a:lnTo>
                    <a:pt x="6189610" y="1558067"/>
                  </a:lnTo>
                  <a:lnTo>
                    <a:pt x="6187216" y="1558718"/>
                  </a:lnTo>
                  <a:cubicBezTo>
                    <a:pt x="6174496" y="1561777"/>
                    <a:pt x="6165635" y="1561320"/>
                    <a:pt x="6162783" y="1563799"/>
                  </a:cubicBezTo>
                  <a:cubicBezTo>
                    <a:pt x="6156821" y="1567971"/>
                    <a:pt x="6118212" y="1603540"/>
                    <a:pt x="6116620" y="1623678"/>
                  </a:cubicBezTo>
                  <a:cubicBezTo>
                    <a:pt x="6120709" y="1634368"/>
                    <a:pt x="6121478" y="1626814"/>
                    <a:pt x="6130507" y="1645641"/>
                  </a:cubicBezTo>
                  <a:lnTo>
                    <a:pt x="6144916" y="1629215"/>
                  </a:lnTo>
                  <a:lnTo>
                    <a:pt x="6128058" y="1664085"/>
                  </a:lnTo>
                  <a:cubicBezTo>
                    <a:pt x="6132262" y="1670223"/>
                    <a:pt x="6135127" y="1673508"/>
                    <a:pt x="6143880" y="1673403"/>
                  </a:cubicBezTo>
                  <a:cubicBezTo>
                    <a:pt x="6153228" y="1672163"/>
                    <a:pt x="6161862" y="1664501"/>
                    <a:pt x="6170852" y="1660051"/>
                  </a:cubicBezTo>
                  <a:cubicBezTo>
                    <a:pt x="6179738" y="1656352"/>
                    <a:pt x="6182379" y="1658898"/>
                    <a:pt x="6188143" y="1658321"/>
                  </a:cubicBezTo>
                  <a:cubicBezTo>
                    <a:pt x="6200288" y="1625380"/>
                    <a:pt x="6181213" y="1625531"/>
                    <a:pt x="6194339" y="1589735"/>
                  </a:cubicBezTo>
                  <a:cubicBezTo>
                    <a:pt x="6189673" y="1618649"/>
                    <a:pt x="6208199" y="1618663"/>
                    <a:pt x="6195059" y="1667111"/>
                  </a:cubicBezTo>
                  <a:lnTo>
                    <a:pt x="6192966" y="1666768"/>
                  </a:lnTo>
                  <a:lnTo>
                    <a:pt x="6190315" y="1666090"/>
                  </a:lnTo>
                  <a:lnTo>
                    <a:pt x="6187599" y="1665666"/>
                  </a:lnTo>
                  <a:lnTo>
                    <a:pt x="6186838" y="1665490"/>
                  </a:lnTo>
                  <a:cubicBezTo>
                    <a:pt x="6184783" y="1665084"/>
                    <a:pt x="6182621" y="1664867"/>
                    <a:pt x="6180113" y="1665262"/>
                  </a:cubicBezTo>
                  <a:lnTo>
                    <a:pt x="6179134" y="1665490"/>
                  </a:lnTo>
                  <a:lnTo>
                    <a:pt x="6178542" y="1665541"/>
                  </a:lnTo>
                  <a:cubicBezTo>
                    <a:pt x="6165429" y="1667583"/>
                    <a:pt x="6160606" y="1679146"/>
                    <a:pt x="6139578" y="1681375"/>
                  </a:cubicBezTo>
                  <a:cubicBezTo>
                    <a:pt x="6133308" y="1680153"/>
                    <a:pt x="6123282" y="1670940"/>
                    <a:pt x="6117388" y="1663777"/>
                  </a:cubicBezTo>
                  <a:lnTo>
                    <a:pt x="6116933" y="1663187"/>
                  </a:lnTo>
                  <a:lnTo>
                    <a:pt x="6118644" y="1660328"/>
                  </a:lnTo>
                  <a:cubicBezTo>
                    <a:pt x="6120471" y="1657482"/>
                    <a:pt x="6122471" y="1654573"/>
                    <a:pt x="6124682" y="1651583"/>
                  </a:cubicBezTo>
                  <a:cubicBezTo>
                    <a:pt x="6120817" y="1641207"/>
                    <a:pt x="6110618" y="1637609"/>
                    <a:pt x="6107734" y="1624735"/>
                  </a:cubicBezTo>
                  <a:cubicBezTo>
                    <a:pt x="6112402" y="1611415"/>
                    <a:pt x="6114305" y="1602734"/>
                    <a:pt x="6137794" y="1578887"/>
                  </a:cubicBezTo>
                  <a:cubicBezTo>
                    <a:pt x="6075356" y="1587837"/>
                    <a:pt x="6075541" y="1638103"/>
                    <a:pt x="6058278" y="1625950"/>
                  </a:cubicBezTo>
                  <a:lnTo>
                    <a:pt x="6054677" y="1622709"/>
                  </a:lnTo>
                  <a:lnTo>
                    <a:pt x="6055730" y="1622118"/>
                  </a:lnTo>
                  <a:cubicBezTo>
                    <a:pt x="6062093" y="1617832"/>
                    <a:pt x="6054558" y="1611660"/>
                    <a:pt x="6059657" y="1602346"/>
                  </a:cubicBezTo>
                  <a:lnTo>
                    <a:pt x="6049245" y="1612371"/>
                  </a:lnTo>
                  <a:lnTo>
                    <a:pt x="6050151" y="1605518"/>
                  </a:lnTo>
                  <a:cubicBezTo>
                    <a:pt x="6055212" y="1600482"/>
                    <a:pt x="6062055" y="1597644"/>
                    <a:pt x="6063705" y="1597020"/>
                  </a:cubicBezTo>
                  <a:cubicBezTo>
                    <a:pt x="6060605" y="1606479"/>
                    <a:pt x="6067367" y="1613080"/>
                    <a:pt x="6063705" y="1620686"/>
                  </a:cubicBezTo>
                  <a:cubicBezTo>
                    <a:pt x="6098922" y="1575890"/>
                    <a:pt x="6123232" y="1573032"/>
                    <a:pt x="6139532" y="1572630"/>
                  </a:cubicBezTo>
                  <a:cubicBezTo>
                    <a:pt x="6152211" y="1561361"/>
                    <a:pt x="6153297" y="1558422"/>
                    <a:pt x="6161991" y="1556208"/>
                  </a:cubicBezTo>
                  <a:lnTo>
                    <a:pt x="6167986" y="1555580"/>
                  </a:lnTo>
                  <a:lnTo>
                    <a:pt x="6168681" y="1554093"/>
                  </a:lnTo>
                  <a:cubicBezTo>
                    <a:pt x="6174017" y="1543496"/>
                    <a:pt x="6178674" y="1540190"/>
                    <a:pt x="6187831" y="1535682"/>
                  </a:cubicBezTo>
                  <a:cubicBezTo>
                    <a:pt x="6196987" y="1531174"/>
                    <a:pt x="6209687" y="1527159"/>
                    <a:pt x="6223262" y="1527682"/>
                  </a:cubicBezTo>
                  <a:close/>
                  <a:moveTo>
                    <a:pt x="177365" y="1527682"/>
                  </a:moveTo>
                  <a:cubicBezTo>
                    <a:pt x="179304" y="1527757"/>
                    <a:pt x="181261" y="1527924"/>
                    <a:pt x="183228" y="1528196"/>
                  </a:cubicBezTo>
                  <a:cubicBezTo>
                    <a:pt x="198965" y="1530369"/>
                    <a:pt x="219210" y="1546871"/>
                    <a:pt x="226214" y="1557416"/>
                  </a:cubicBezTo>
                  <a:cubicBezTo>
                    <a:pt x="235632" y="1559992"/>
                    <a:pt x="241629" y="1573636"/>
                    <a:pt x="244084" y="1578426"/>
                  </a:cubicBezTo>
                  <a:cubicBezTo>
                    <a:pt x="246539" y="1583215"/>
                    <a:pt x="243681" y="1585952"/>
                    <a:pt x="240944" y="1586153"/>
                  </a:cubicBezTo>
                  <a:cubicBezTo>
                    <a:pt x="240904" y="1586737"/>
                    <a:pt x="249386" y="1593519"/>
                    <a:pt x="253970" y="1596190"/>
                  </a:cubicBezTo>
                  <a:cubicBezTo>
                    <a:pt x="257517" y="1580771"/>
                    <a:pt x="252370" y="1570421"/>
                    <a:pt x="252294" y="1559107"/>
                  </a:cubicBezTo>
                  <a:cubicBezTo>
                    <a:pt x="257688" y="1549688"/>
                    <a:pt x="262115" y="1553069"/>
                    <a:pt x="267508" y="1549447"/>
                  </a:cubicBezTo>
                  <a:cubicBezTo>
                    <a:pt x="270728" y="1545744"/>
                    <a:pt x="273707" y="1537936"/>
                    <a:pt x="279341" y="1538338"/>
                  </a:cubicBezTo>
                  <a:cubicBezTo>
                    <a:pt x="289162" y="1538741"/>
                    <a:pt x="301639" y="1557015"/>
                    <a:pt x="302041" y="1600401"/>
                  </a:cubicBezTo>
                  <a:cubicBezTo>
                    <a:pt x="302283" y="1634854"/>
                    <a:pt x="288518" y="1657956"/>
                    <a:pt x="264610" y="1668260"/>
                  </a:cubicBezTo>
                  <a:cubicBezTo>
                    <a:pt x="252385" y="1671520"/>
                    <a:pt x="241891" y="1671316"/>
                    <a:pt x="232799" y="1668973"/>
                  </a:cubicBezTo>
                  <a:lnTo>
                    <a:pt x="228819" y="1667587"/>
                  </a:lnTo>
                  <a:lnTo>
                    <a:pt x="228342" y="1669848"/>
                  </a:lnTo>
                  <a:cubicBezTo>
                    <a:pt x="223490" y="1688462"/>
                    <a:pt x="209847" y="1689893"/>
                    <a:pt x="203755" y="1689752"/>
                  </a:cubicBezTo>
                  <a:cubicBezTo>
                    <a:pt x="196792" y="1689591"/>
                    <a:pt x="186488" y="1683151"/>
                    <a:pt x="182262" y="1680092"/>
                  </a:cubicBezTo>
                  <a:cubicBezTo>
                    <a:pt x="182141" y="1684761"/>
                    <a:pt x="183228" y="1686411"/>
                    <a:pt x="181296" y="1692650"/>
                  </a:cubicBezTo>
                  <a:cubicBezTo>
                    <a:pt x="186368" y="1695990"/>
                    <a:pt x="189426" y="1707904"/>
                    <a:pt x="190956" y="1713176"/>
                  </a:cubicBezTo>
                  <a:cubicBezTo>
                    <a:pt x="192485" y="1718449"/>
                    <a:pt x="190594" y="1719656"/>
                    <a:pt x="190473" y="1724285"/>
                  </a:cubicBezTo>
                  <a:cubicBezTo>
                    <a:pt x="190352" y="1728913"/>
                    <a:pt x="195182" y="1732616"/>
                    <a:pt x="192646" y="1738050"/>
                  </a:cubicBezTo>
                  <a:cubicBezTo>
                    <a:pt x="190110" y="1743483"/>
                    <a:pt x="183510" y="1743765"/>
                    <a:pt x="176708" y="1743846"/>
                  </a:cubicBezTo>
                  <a:cubicBezTo>
                    <a:pt x="169906" y="1743926"/>
                    <a:pt x="154692" y="1748595"/>
                    <a:pt x="151834" y="1738533"/>
                  </a:cubicBezTo>
                  <a:cubicBezTo>
                    <a:pt x="151477" y="1737275"/>
                    <a:pt x="151227" y="1735776"/>
                    <a:pt x="151075" y="1734079"/>
                  </a:cubicBezTo>
                  <a:cubicBezTo>
                    <a:pt x="151062" y="1733630"/>
                    <a:pt x="151049" y="1733182"/>
                    <a:pt x="151035" y="1732734"/>
                  </a:cubicBezTo>
                  <a:lnTo>
                    <a:pt x="147296" y="1736278"/>
                  </a:lnTo>
                  <a:cubicBezTo>
                    <a:pt x="138748" y="1744325"/>
                    <a:pt x="131041" y="1750909"/>
                    <a:pt x="123822" y="1750607"/>
                  </a:cubicBezTo>
                  <a:cubicBezTo>
                    <a:pt x="111787" y="1748192"/>
                    <a:pt x="102490" y="1729034"/>
                    <a:pt x="100397" y="1722353"/>
                  </a:cubicBezTo>
                  <a:cubicBezTo>
                    <a:pt x="98304" y="1715672"/>
                    <a:pt x="105106" y="1714424"/>
                    <a:pt x="111264" y="1710520"/>
                  </a:cubicBezTo>
                  <a:cubicBezTo>
                    <a:pt x="105106" y="1714102"/>
                    <a:pt x="88444" y="1711164"/>
                    <a:pt x="86391" y="1708105"/>
                  </a:cubicBezTo>
                  <a:cubicBezTo>
                    <a:pt x="86994" y="1714464"/>
                    <a:pt x="86632" y="1715390"/>
                    <a:pt x="85425" y="1718972"/>
                  </a:cubicBezTo>
                  <a:cubicBezTo>
                    <a:pt x="84217" y="1722554"/>
                    <a:pt x="81038" y="1724647"/>
                    <a:pt x="79146" y="1729598"/>
                  </a:cubicBezTo>
                  <a:cubicBezTo>
                    <a:pt x="77254" y="1734548"/>
                    <a:pt x="81601" y="1746904"/>
                    <a:pt x="74075" y="1748675"/>
                  </a:cubicBezTo>
                  <a:cubicBezTo>
                    <a:pt x="66548" y="1750446"/>
                    <a:pt x="43164" y="1749762"/>
                    <a:pt x="33987" y="1740223"/>
                  </a:cubicBezTo>
                  <a:cubicBezTo>
                    <a:pt x="30124" y="1735514"/>
                    <a:pt x="36402" y="1728229"/>
                    <a:pt x="34953" y="1726217"/>
                  </a:cubicBezTo>
                  <a:cubicBezTo>
                    <a:pt x="33505" y="1724204"/>
                    <a:pt x="31090" y="1732133"/>
                    <a:pt x="25294" y="1728149"/>
                  </a:cubicBezTo>
                  <a:cubicBezTo>
                    <a:pt x="19498" y="1724164"/>
                    <a:pt x="1829" y="1711043"/>
                    <a:pt x="179" y="1702309"/>
                  </a:cubicBezTo>
                  <a:cubicBezTo>
                    <a:pt x="-1471" y="1693575"/>
                    <a:pt x="8591" y="1684399"/>
                    <a:pt x="15393" y="1675746"/>
                  </a:cubicBezTo>
                  <a:cubicBezTo>
                    <a:pt x="13743" y="1666368"/>
                    <a:pt x="13058" y="1660089"/>
                    <a:pt x="16842" y="1649182"/>
                  </a:cubicBezTo>
                  <a:cubicBezTo>
                    <a:pt x="11770" y="1646083"/>
                    <a:pt x="742" y="1641696"/>
                    <a:pt x="1386" y="1627206"/>
                  </a:cubicBezTo>
                  <a:lnTo>
                    <a:pt x="3147" y="1613888"/>
                  </a:lnTo>
                  <a:lnTo>
                    <a:pt x="3606" y="1622608"/>
                  </a:lnTo>
                  <a:lnTo>
                    <a:pt x="4429" y="1623003"/>
                  </a:lnTo>
                  <a:lnTo>
                    <a:pt x="4552" y="1624178"/>
                  </a:lnTo>
                  <a:cubicBezTo>
                    <a:pt x="5576" y="1632556"/>
                    <a:pt x="8319" y="1641839"/>
                    <a:pt x="24107" y="1638025"/>
                  </a:cubicBezTo>
                  <a:cubicBezTo>
                    <a:pt x="17316" y="1674057"/>
                    <a:pt x="32653" y="1691924"/>
                    <a:pt x="42330" y="1708655"/>
                  </a:cubicBezTo>
                  <a:lnTo>
                    <a:pt x="43292" y="1710504"/>
                  </a:lnTo>
                  <a:lnTo>
                    <a:pt x="43258" y="1711372"/>
                  </a:lnTo>
                  <a:cubicBezTo>
                    <a:pt x="42967" y="1716480"/>
                    <a:pt x="42236" y="1720020"/>
                    <a:pt x="41857" y="1724815"/>
                  </a:cubicBezTo>
                  <a:cubicBezTo>
                    <a:pt x="40757" y="1728591"/>
                    <a:pt x="38051" y="1728174"/>
                    <a:pt x="38557" y="1736143"/>
                  </a:cubicBezTo>
                  <a:cubicBezTo>
                    <a:pt x="38884" y="1741108"/>
                    <a:pt x="68022" y="1749106"/>
                    <a:pt x="72720" y="1742743"/>
                  </a:cubicBezTo>
                  <a:cubicBezTo>
                    <a:pt x="74087" y="1740543"/>
                    <a:pt x="73493" y="1735489"/>
                    <a:pt x="73879" y="1731861"/>
                  </a:cubicBezTo>
                  <a:cubicBezTo>
                    <a:pt x="74474" y="1727818"/>
                    <a:pt x="79707" y="1723417"/>
                    <a:pt x="80480" y="1717679"/>
                  </a:cubicBezTo>
                  <a:cubicBezTo>
                    <a:pt x="80985" y="1713115"/>
                    <a:pt x="80933" y="1707949"/>
                    <a:pt x="80759" y="1702571"/>
                  </a:cubicBezTo>
                  <a:lnTo>
                    <a:pt x="80551" y="1696892"/>
                  </a:lnTo>
                  <a:lnTo>
                    <a:pt x="82139" y="1698741"/>
                  </a:lnTo>
                  <a:cubicBezTo>
                    <a:pt x="92412" y="1709219"/>
                    <a:pt x="114200" y="1712747"/>
                    <a:pt x="121511" y="1696539"/>
                  </a:cubicBezTo>
                  <a:cubicBezTo>
                    <a:pt x="121600" y="1701742"/>
                    <a:pt x="123295" y="1703734"/>
                    <a:pt x="122403" y="1710276"/>
                  </a:cubicBezTo>
                  <a:cubicBezTo>
                    <a:pt x="119846" y="1714408"/>
                    <a:pt x="108458" y="1715330"/>
                    <a:pt x="105366" y="1722942"/>
                  </a:cubicBezTo>
                  <a:cubicBezTo>
                    <a:pt x="104444" y="1726123"/>
                    <a:pt x="116546" y="1745182"/>
                    <a:pt x="124276" y="1745865"/>
                  </a:cubicBezTo>
                  <a:cubicBezTo>
                    <a:pt x="129895" y="1746519"/>
                    <a:pt x="140332" y="1735489"/>
                    <a:pt x="159331" y="1718125"/>
                  </a:cubicBezTo>
                  <a:cubicBezTo>
                    <a:pt x="162272" y="1715437"/>
                    <a:pt x="173394" y="1694339"/>
                    <a:pt x="178419" y="1676291"/>
                  </a:cubicBezTo>
                  <a:cubicBezTo>
                    <a:pt x="173297" y="1673719"/>
                    <a:pt x="165875" y="1667591"/>
                    <a:pt x="161556" y="1658029"/>
                  </a:cubicBezTo>
                  <a:lnTo>
                    <a:pt x="161362" y="1657520"/>
                  </a:lnTo>
                  <a:lnTo>
                    <a:pt x="163980" y="1659168"/>
                  </a:lnTo>
                  <a:cubicBezTo>
                    <a:pt x="170570" y="1663558"/>
                    <a:pt x="177260" y="1668375"/>
                    <a:pt x="183147" y="1669780"/>
                  </a:cubicBezTo>
                  <a:cubicBezTo>
                    <a:pt x="187488" y="1674775"/>
                    <a:pt x="192542" y="1682713"/>
                    <a:pt x="204465" y="1684230"/>
                  </a:cubicBezTo>
                  <a:cubicBezTo>
                    <a:pt x="214633" y="1685954"/>
                    <a:pt x="221858" y="1676351"/>
                    <a:pt x="225426" y="1665855"/>
                  </a:cubicBezTo>
                  <a:lnTo>
                    <a:pt x="222126" y="1665588"/>
                  </a:lnTo>
                  <a:cubicBezTo>
                    <a:pt x="206962" y="1691009"/>
                    <a:pt x="190936" y="1667824"/>
                    <a:pt x="194333" y="1643440"/>
                  </a:cubicBezTo>
                  <a:lnTo>
                    <a:pt x="195257" y="1638664"/>
                  </a:lnTo>
                  <a:lnTo>
                    <a:pt x="197010" y="1640573"/>
                  </a:lnTo>
                  <a:cubicBezTo>
                    <a:pt x="227282" y="1671425"/>
                    <a:pt x="253752" y="1666914"/>
                    <a:pt x="268777" y="1658720"/>
                  </a:cubicBezTo>
                  <a:cubicBezTo>
                    <a:pt x="309926" y="1633357"/>
                    <a:pt x="297870" y="1545829"/>
                    <a:pt x="280640" y="1541603"/>
                  </a:cubicBezTo>
                  <a:cubicBezTo>
                    <a:pt x="276700" y="1540636"/>
                    <a:pt x="273950" y="1550790"/>
                    <a:pt x="271363" y="1552307"/>
                  </a:cubicBezTo>
                  <a:cubicBezTo>
                    <a:pt x="263425" y="1556499"/>
                    <a:pt x="259946" y="1555874"/>
                    <a:pt x="257805" y="1559175"/>
                  </a:cubicBezTo>
                  <a:cubicBezTo>
                    <a:pt x="253568" y="1565363"/>
                    <a:pt x="269166" y="1601185"/>
                    <a:pt x="249328" y="1619971"/>
                  </a:cubicBezTo>
                  <a:lnTo>
                    <a:pt x="247848" y="1621138"/>
                  </a:lnTo>
                  <a:lnTo>
                    <a:pt x="248159" y="1620537"/>
                  </a:lnTo>
                  <a:cubicBezTo>
                    <a:pt x="251918" y="1613273"/>
                    <a:pt x="255865" y="1604955"/>
                    <a:pt x="251383" y="1601454"/>
                  </a:cubicBezTo>
                  <a:cubicBezTo>
                    <a:pt x="246120" y="1597262"/>
                    <a:pt x="242820" y="1600473"/>
                    <a:pt x="238806" y="1603863"/>
                  </a:cubicBezTo>
                  <a:cubicBezTo>
                    <a:pt x="241393" y="1600919"/>
                    <a:pt x="244515" y="1600384"/>
                    <a:pt x="240144" y="1593427"/>
                  </a:cubicBezTo>
                  <a:cubicBezTo>
                    <a:pt x="236665" y="1591078"/>
                    <a:pt x="234792" y="1591672"/>
                    <a:pt x="228370" y="1593337"/>
                  </a:cubicBezTo>
                  <a:cubicBezTo>
                    <a:pt x="232443" y="1590305"/>
                    <a:pt x="233751" y="1591464"/>
                    <a:pt x="231759" y="1585577"/>
                  </a:cubicBezTo>
                  <a:cubicBezTo>
                    <a:pt x="229039" y="1581920"/>
                    <a:pt x="227673" y="1582227"/>
                    <a:pt x="224953" y="1582433"/>
                  </a:cubicBezTo>
                  <a:lnTo>
                    <a:pt x="223066" y="1582446"/>
                  </a:lnTo>
                  <a:lnTo>
                    <a:pt x="224617" y="1581889"/>
                  </a:lnTo>
                  <a:cubicBezTo>
                    <a:pt x="225487" y="1581596"/>
                    <a:pt x="226274" y="1581359"/>
                    <a:pt x="226943" y="1581207"/>
                  </a:cubicBezTo>
                  <a:cubicBezTo>
                    <a:pt x="232295" y="1579988"/>
                    <a:pt x="238152" y="1581667"/>
                    <a:pt x="238182" y="1578620"/>
                  </a:cubicBezTo>
                  <a:cubicBezTo>
                    <a:pt x="238836" y="1575290"/>
                    <a:pt x="230481" y="1564913"/>
                    <a:pt x="226764" y="1564081"/>
                  </a:cubicBezTo>
                  <a:cubicBezTo>
                    <a:pt x="224780" y="1563456"/>
                    <a:pt x="219584" y="1562933"/>
                    <a:pt x="214865" y="1562621"/>
                  </a:cubicBezTo>
                  <a:lnTo>
                    <a:pt x="213766" y="1562563"/>
                  </a:lnTo>
                  <a:lnTo>
                    <a:pt x="213775" y="1562539"/>
                  </a:lnTo>
                  <a:cubicBezTo>
                    <a:pt x="214895" y="1560992"/>
                    <a:pt x="218625" y="1560424"/>
                    <a:pt x="221502" y="1560156"/>
                  </a:cubicBezTo>
                  <a:cubicBezTo>
                    <a:pt x="209430" y="1544219"/>
                    <a:pt x="193166" y="1533991"/>
                    <a:pt x="179133" y="1534200"/>
                  </a:cubicBezTo>
                  <a:cubicBezTo>
                    <a:pt x="162215" y="1534705"/>
                    <a:pt x="141015" y="1539046"/>
                    <a:pt x="129003" y="1557658"/>
                  </a:cubicBezTo>
                  <a:cubicBezTo>
                    <a:pt x="135143" y="1557592"/>
                    <a:pt x="139711" y="1557619"/>
                    <a:pt x="143140" y="1557983"/>
                  </a:cubicBezTo>
                  <a:lnTo>
                    <a:pt x="143713" y="1558067"/>
                  </a:lnTo>
                  <a:lnTo>
                    <a:pt x="141319" y="1558718"/>
                  </a:lnTo>
                  <a:cubicBezTo>
                    <a:pt x="128599" y="1561777"/>
                    <a:pt x="119738" y="1561320"/>
                    <a:pt x="116886" y="1563799"/>
                  </a:cubicBezTo>
                  <a:cubicBezTo>
                    <a:pt x="110924" y="1567971"/>
                    <a:pt x="72315" y="1603540"/>
                    <a:pt x="70723" y="1623678"/>
                  </a:cubicBezTo>
                  <a:cubicBezTo>
                    <a:pt x="74812" y="1634368"/>
                    <a:pt x="75581" y="1626814"/>
                    <a:pt x="84610" y="1645641"/>
                  </a:cubicBezTo>
                  <a:lnTo>
                    <a:pt x="99019" y="1629215"/>
                  </a:lnTo>
                  <a:lnTo>
                    <a:pt x="82161" y="1664085"/>
                  </a:lnTo>
                  <a:cubicBezTo>
                    <a:pt x="86365" y="1670223"/>
                    <a:pt x="89230" y="1673508"/>
                    <a:pt x="97983" y="1673403"/>
                  </a:cubicBezTo>
                  <a:cubicBezTo>
                    <a:pt x="107331" y="1672163"/>
                    <a:pt x="115965" y="1664501"/>
                    <a:pt x="124955" y="1660051"/>
                  </a:cubicBezTo>
                  <a:cubicBezTo>
                    <a:pt x="133841" y="1656352"/>
                    <a:pt x="136482" y="1658898"/>
                    <a:pt x="142246" y="1658321"/>
                  </a:cubicBezTo>
                  <a:cubicBezTo>
                    <a:pt x="154391" y="1625380"/>
                    <a:pt x="135316" y="1625531"/>
                    <a:pt x="148442" y="1589735"/>
                  </a:cubicBezTo>
                  <a:cubicBezTo>
                    <a:pt x="143776" y="1618649"/>
                    <a:pt x="162302" y="1618663"/>
                    <a:pt x="149162" y="1667111"/>
                  </a:cubicBezTo>
                  <a:lnTo>
                    <a:pt x="147069" y="1666768"/>
                  </a:lnTo>
                  <a:lnTo>
                    <a:pt x="144418" y="1666090"/>
                  </a:lnTo>
                  <a:lnTo>
                    <a:pt x="141702" y="1665666"/>
                  </a:lnTo>
                  <a:lnTo>
                    <a:pt x="140941" y="1665490"/>
                  </a:lnTo>
                  <a:cubicBezTo>
                    <a:pt x="138886" y="1665084"/>
                    <a:pt x="136724" y="1664867"/>
                    <a:pt x="134216" y="1665262"/>
                  </a:cubicBezTo>
                  <a:lnTo>
                    <a:pt x="133237" y="1665490"/>
                  </a:lnTo>
                  <a:lnTo>
                    <a:pt x="132645" y="1665541"/>
                  </a:lnTo>
                  <a:cubicBezTo>
                    <a:pt x="119532" y="1667583"/>
                    <a:pt x="114709" y="1679146"/>
                    <a:pt x="93681" y="1681375"/>
                  </a:cubicBezTo>
                  <a:cubicBezTo>
                    <a:pt x="87411" y="1680153"/>
                    <a:pt x="77385" y="1670940"/>
                    <a:pt x="71491" y="1663777"/>
                  </a:cubicBezTo>
                  <a:lnTo>
                    <a:pt x="71036" y="1663187"/>
                  </a:lnTo>
                  <a:lnTo>
                    <a:pt x="72747" y="1660328"/>
                  </a:lnTo>
                  <a:cubicBezTo>
                    <a:pt x="74574" y="1657482"/>
                    <a:pt x="76574" y="1654573"/>
                    <a:pt x="78785" y="1651583"/>
                  </a:cubicBezTo>
                  <a:cubicBezTo>
                    <a:pt x="74920" y="1641207"/>
                    <a:pt x="64721" y="1637609"/>
                    <a:pt x="61837" y="1624735"/>
                  </a:cubicBezTo>
                  <a:cubicBezTo>
                    <a:pt x="66505" y="1611415"/>
                    <a:pt x="68408" y="1602734"/>
                    <a:pt x="91897" y="1578887"/>
                  </a:cubicBezTo>
                  <a:cubicBezTo>
                    <a:pt x="29459" y="1587837"/>
                    <a:pt x="29644" y="1638103"/>
                    <a:pt x="12381" y="1625950"/>
                  </a:cubicBezTo>
                  <a:lnTo>
                    <a:pt x="8780" y="1622709"/>
                  </a:lnTo>
                  <a:lnTo>
                    <a:pt x="9833" y="1622118"/>
                  </a:lnTo>
                  <a:cubicBezTo>
                    <a:pt x="16196" y="1617832"/>
                    <a:pt x="8661" y="1611660"/>
                    <a:pt x="13760" y="1602346"/>
                  </a:cubicBezTo>
                  <a:lnTo>
                    <a:pt x="3348" y="1612371"/>
                  </a:lnTo>
                  <a:lnTo>
                    <a:pt x="4254" y="1605518"/>
                  </a:lnTo>
                  <a:cubicBezTo>
                    <a:pt x="9315" y="1600482"/>
                    <a:pt x="16157" y="1597644"/>
                    <a:pt x="17808" y="1597020"/>
                  </a:cubicBezTo>
                  <a:cubicBezTo>
                    <a:pt x="14708" y="1606479"/>
                    <a:pt x="21470" y="1613080"/>
                    <a:pt x="17808" y="1620686"/>
                  </a:cubicBezTo>
                  <a:cubicBezTo>
                    <a:pt x="53025" y="1575890"/>
                    <a:pt x="77335" y="1573032"/>
                    <a:pt x="93636" y="1572630"/>
                  </a:cubicBezTo>
                  <a:cubicBezTo>
                    <a:pt x="106314" y="1561361"/>
                    <a:pt x="107400" y="1558422"/>
                    <a:pt x="116094" y="1556208"/>
                  </a:cubicBezTo>
                  <a:lnTo>
                    <a:pt x="122089" y="1555580"/>
                  </a:lnTo>
                  <a:lnTo>
                    <a:pt x="122784" y="1554093"/>
                  </a:lnTo>
                  <a:cubicBezTo>
                    <a:pt x="128120" y="1543496"/>
                    <a:pt x="132777" y="1540190"/>
                    <a:pt x="141934" y="1535682"/>
                  </a:cubicBezTo>
                  <a:cubicBezTo>
                    <a:pt x="151090" y="1531174"/>
                    <a:pt x="163790" y="1527159"/>
                    <a:pt x="177365" y="1527682"/>
                  </a:cubicBezTo>
                  <a:close/>
                  <a:moveTo>
                    <a:pt x="7307218" y="1527636"/>
                  </a:moveTo>
                  <a:cubicBezTo>
                    <a:pt x="7337118" y="1527974"/>
                    <a:pt x="7352068" y="1540981"/>
                    <a:pt x="7352068" y="1566659"/>
                  </a:cubicBezTo>
                  <a:lnTo>
                    <a:pt x="7352068" y="1603018"/>
                  </a:lnTo>
                  <a:cubicBezTo>
                    <a:pt x="7352068" y="1620080"/>
                    <a:pt x="7358614" y="1629033"/>
                    <a:pt x="7371705" y="1629878"/>
                  </a:cubicBezTo>
                  <a:lnTo>
                    <a:pt x="7371705" y="1648374"/>
                  </a:lnTo>
                  <a:cubicBezTo>
                    <a:pt x="7358614" y="1649219"/>
                    <a:pt x="7352068" y="1658003"/>
                    <a:pt x="7352068" y="1674727"/>
                  </a:cubicBezTo>
                  <a:lnTo>
                    <a:pt x="7352068" y="1712102"/>
                  </a:lnTo>
                  <a:cubicBezTo>
                    <a:pt x="7352068" y="1737440"/>
                    <a:pt x="7337118" y="1750278"/>
                    <a:pt x="7307218" y="1750616"/>
                  </a:cubicBezTo>
                  <a:lnTo>
                    <a:pt x="7307218" y="1731105"/>
                  </a:lnTo>
                  <a:cubicBezTo>
                    <a:pt x="7314567" y="1730936"/>
                    <a:pt x="7319782" y="1728909"/>
                    <a:pt x="7322865" y="1725024"/>
                  </a:cubicBezTo>
                  <a:cubicBezTo>
                    <a:pt x="7325948" y="1721139"/>
                    <a:pt x="7327489" y="1714720"/>
                    <a:pt x="7327489" y="1705767"/>
                  </a:cubicBezTo>
                  <a:lnTo>
                    <a:pt x="7327489" y="1670419"/>
                  </a:lnTo>
                  <a:cubicBezTo>
                    <a:pt x="7327489" y="1653274"/>
                    <a:pt x="7335809" y="1642843"/>
                    <a:pt x="7352448" y="1639126"/>
                  </a:cubicBezTo>
                  <a:lnTo>
                    <a:pt x="7352448" y="1638746"/>
                  </a:lnTo>
                  <a:cubicBezTo>
                    <a:pt x="7335809" y="1634776"/>
                    <a:pt x="7327489" y="1624261"/>
                    <a:pt x="7327489" y="1607199"/>
                  </a:cubicBezTo>
                  <a:lnTo>
                    <a:pt x="7327489" y="1571472"/>
                  </a:lnTo>
                  <a:cubicBezTo>
                    <a:pt x="7327489" y="1555677"/>
                    <a:pt x="7320732" y="1547611"/>
                    <a:pt x="7307218" y="1547274"/>
                  </a:cubicBezTo>
                  <a:close/>
                  <a:moveTo>
                    <a:pt x="7289734" y="1527636"/>
                  </a:moveTo>
                  <a:lnTo>
                    <a:pt x="7289734" y="1547274"/>
                  </a:lnTo>
                  <a:cubicBezTo>
                    <a:pt x="7276305" y="1547611"/>
                    <a:pt x="7269590" y="1555677"/>
                    <a:pt x="7269590" y="1571472"/>
                  </a:cubicBezTo>
                  <a:lnTo>
                    <a:pt x="7269590" y="1607199"/>
                  </a:lnTo>
                  <a:cubicBezTo>
                    <a:pt x="7269590" y="1624261"/>
                    <a:pt x="7261186" y="1634776"/>
                    <a:pt x="7244378" y="1638746"/>
                  </a:cubicBezTo>
                  <a:lnTo>
                    <a:pt x="7244378" y="1639126"/>
                  </a:lnTo>
                  <a:cubicBezTo>
                    <a:pt x="7261186" y="1642843"/>
                    <a:pt x="7269590" y="1653274"/>
                    <a:pt x="7269590" y="1670419"/>
                  </a:cubicBezTo>
                  <a:lnTo>
                    <a:pt x="7269590" y="1705767"/>
                  </a:lnTo>
                  <a:cubicBezTo>
                    <a:pt x="7269590" y="1714804"/>
                    <a:pt x="7271089" y="1721244"/>
                    <a:pt x="7274088" y="1725087"/>
                  </a:cubicBezTo>
                  <a:cubicBezTo>
                    <a:pt x="7277086" y="1728930"/>
                    <a:pt x="7282302" y="1730936"/>
                    <a:pt x="7289734" y="1731105"/>
                  </a:cubicBezTo>
                  <a:lnTo>
                    <a:pt x="7289734" y="1750616"/>
                  </a:lnTo>
                  <a:cubicBezTo>
                    <a:pt x="7259666" y="1750278"/>
                    <a:pt x="7244632" y="1737440"/>
                    <a:pt x="7244632" y="1712102"/>
                  </a:cubicBezTo>
                  <a:lnTo>
                    <a:pt x="7244632" y="1674727"/>
                  </a:lnTo>
                  <a:cubicBezTo>
                    <a:pt x="7244632" y="1658003"/>
                    <a:pt x="7238043" y="1649219"/>
                    <a:pt x="7224867" y="1648374"/>
                  </a:cubicBezTo>
                  <a:lnTo>
                    <a:pt x="7224867" y="1629878"/>
                  </a:lnTo>
                  <a:cubicBezTo>
                    <a:pt x="7238043" y="1629033"/>
                    <a:pt x="7244632" y="1620080"/>
                    <a:pt x="7244632" y="1603018"/>
                  </a:cubicBezTo>
                  <a:lnTo>
                    <a:pt x="7244632" y="1566659"/>
                  </a:lnTo>
                  <a:cubicBezTo>
                    <a:pt x="7244632" y="1540981"/>
                    <a:pt x="7259666" y="1527974"/>
                    <a:pt x="7289734" y="1527636"/>
                  </a:cubicBezTo>
                  <a:close/>
                  <a:moveTo>
                    <a:pt x="1251166" y="1527636"/>
                  </a:moveTo>
                  <a:cubicBezTo>
                    <a:pt x="1281066" y="1527974"/>
                    <a:pt x="1296016" y="1540981"/>
                    <a:pt x="1296016" y="1566659"/>
                  </a:cubicBezTo>
                  <a:lnTo>
                    <a:pt x="1296016" y="1603018"/>
                  </a:lnTo>
                  <a:cubicBezTo>
                    <a:pt x="1296016" y="1620080"/>
                    <a:pt x="1302562" y="1629033"/>
                    <a:pt x="1315653" y="1629878"/>
                  </a:cubicBezTo>
                  <a:lnTo>
                    <a:pt x="1315653" y="1648374"/>
                  </a:lnTo>
                  <a:cubicBezTo>
                    <a:pt x="1302562" y="1649219"/>
                    <a:pt x="1296016" y="1658003"/>
                    <a:pt x="1296016" y="1674727"/>
                  </a:cubicBezTo>
                  <a:lnTo>
                    <a:pt x="1296016" y="1712102"/>
                  </a:lnTo>
                  <a:cubicBezTo>
                    <a:pt x="1296016" y="1737440"/>
                    <a:pt x="1281066" y="1750278"/>
                    <a:pt x="1251166" y="1750616"/>
                  </a:cubicBezTo>
                  <a:lnTo>
                    <a:pt x="1251166" y="1731105"/>
                  </a:lnTo>
                  <a:cubicBezTo>
                    <a:pt x="1258515" y="1730936"/>
                    <a:pt x="1263730" y="1728909"/>
                    <a:pt x="1266813" y="1725024"/>
                  </a:cubicBezTo>
                  <a:cubicBezTo>
                    <a:pt x="1269896" y="1721139"/>
                    <a:pt x="1271437" y="1714720"/>
                    <a:pt x="1271437" y="1705767"/>
                  </a:cubicBezTo>
                  <a:lnTo>
                    <a:pt x="1271437" y="1670419"/>
                  </a:lnTo>
                  <a:cubicBezTo>
                    <a:pt x="1271437" y="1653274"/>
                    <a:pt x="1279757" y="1642843"/>
                    <a:pt x="1296396" y="1639126"/>
                  </a:cubicBezTo>
                  <a:lnTo>
                    <a:pt x="1296396" y="1638746"/>
                  </a:lnTo>
                  <a:cubicBezTo>
                    <a:pt x="1279757" y="1634776"/>
                    <a:pt x="1271437" y="1624261"/>
                    <a:pt x="1271437" y="1607199"/>
                  </a:cubicBezTo>
                  <a:lnTo>
                    <a:pt x="1271437" y="1571472"/>
                  </a:lnTo>
                  <a:cubicBezTo>
                    <a:pt x="1271437" y="1555677"/>
                    <a:pt x="1264680" y="1547611"/>
                    <a:pt x="1251166" y="1547274"/>
                  </a:cubicBezTo>
                  <a:close/>
                  <a:moveTo>
                    <a:pt x="1233682" y="1527636"/>
                  </a:moveTo>
                  <a:lnTo>
                    <a:pt x="1233682" y="1547274"/>
                  </a:lnTo>
                  <a:cubicBezTo>
                    <a:pt x="1220253" y="1547611"/>
                    <a:pt x="1213538" y="1555677"/>
                    <a:pt x="1213538" y="1571472"/>
                  </a:cubicBezTo>
                  <a:lnTo>
                    <a:pt x="1213538" y="1607199"/>
                  </a:lnTo>
                  <a:cubicBezTo>
                    <a:pt x="1213538" y="1624261"/>
                    <a:pt x="1205134" y="1634776"/>
                    <a:pt x="1188326" y="1638746"/>
                  </a:cubicBezTo>
                  <a:lnTo>
                    <a:pt x="1188326" y="1639126"/>
                  </a:lnTo>
                  <a:cubicBezTo>
                    <a:pt x="1205134" y="1642843"/>
                    <a:pt x="1213538" y="1653274"/>
                    <a:pt x="1213538" y="1670419"/>
                  </a:cubicBezTo>
                  <a:lnTo>
                    <a:pt x="1213538" y="1705767"/>
                  </a:lnTo>
                  <a:cubicBezTo>
                    <a:pt x="1213538" y="1714804"/>
                    <a:pt x="1215037" y="1721244"/>
                    <a:pt x="1218036" y="1725087"/>
                  </a:cubicBezTo>
                  <a:cubicBezTo>
                    <a:pt x="1221034" y="1728930"/>
                    <a:pt x="1226250" y="1730936"/>
                    <a:pt x="1233682" y="1731105"/>
                  </a:cubicBezTo>
                  <a:lnTo>
                    <a:pt x="1233682" y="1750616"/>
                  </a:lnTo>
                  <a:cubicBezTo>
                    <a:pt x="1203614" y="1750278"/>
                    <a:pt x="1188580" y="1737440"/>
                    <a:pt x="1188580" y="1712102"/>
                  </a:cubicBezTo>
                  <a:lnTo>
                    <a:pt x="1188580" y="1674727"/>
                  </a:lnTo>
                  <a:cubicBezTo>
                    <a:pt x="1188580" y="1658003"/>
                    <a:pt x="1181991" y="1649219"/>
                    <a:pt x="1168815" y="1648374"/>
                  </a:cubicBezTo>
                  <a:lnTo>
                    <a:pt x="1168815" y="1629878"/>
                  </a:lnTo>
                  <a:cubicBezTo>
                    <a:pt x="1181991" y="1629033"/>
                    <a:pt x="1188580" y="1620080"/>
                    <a:pt x="1188580" y="1603018"/>
                  </a:cubicBezTo>
                  <a:lnTo>
                    <a:pt x="1188580" y="1566659"/>
                  </a:lnTo>
                  <a:cubicBezTo>
                    <a:pt x="1188580" y="1540981"/>
                    <a:pt x="1203614" y="1527974"/>
                    <a:pt x="1233682" y="1527636"/>
                  </a:cubicBezTo>
                  <a:close/>
                  <a:moveTo>
                    <a:pt x="11615831" y="1214333"/>
                  </a:moveTo>
                  <a:cubicBezTo>
                    <a:pt x="11645731" y="1214672"/>
                    <a:pt x="11660680" y="1227678"/>
                    <a:pt x="11660680" y="1253354"/>
                  </a:cubicBezTo>
                  <a:lnTo>
                    <a:pt x="11660680" y="1289715"/>
                  </a:lnTo>
                  <a:cubicBezTo>
                    <a:pt x="11660680" y="1306777"/>
                    <a:pt x="11667226" y="1315730"/>
                    <a:pt x="11680318" y="1316575"/>
                  </a:cubicBezTo>
                  <a:lnTo>
                    <a:pt x="11680318" y="1335071"/>
                  </a:lnTo>
                  <a:cubicBezTo>
                    <a:pt x="11667226" y="1335916"/>
                    <a:pt x="11660680" y="1344700"/>
                    <a:pt x="11660680" y="1361425"/>
                  </a:cubicBezTo>
                  <a:lnTo>
                    <a:pt x="11660680" y="1398799"/>
                  </a:lnTo>
                  <a:cubicBezTo>
                    <a:pt x="11660680" y="1424137"/>
                    <a:pt x="11645731" y="1436975"/>
                    <a:pt x="11615831" y="1437313"/>
                  </a:cubicBezTo>
                  <a:lnTo>
                    <a:pt x="11615831" y="1417802"/>
                  </a:lnTo>
                  <a:cubicBezTo>
                    <a:pt x="11623179" y="1417633"/>
                    <a:pt x="11628395" y="1415607"/>
                    <a:pt x="11631478" y="1411722"/>
                  </a:cubicBezTo>
                  <a:cubicBezTo>
                    <a:pt x="11634560" y="1407836"/>
                    <a:pt x="11636102" y="1401417"/>
                    <a:pt x="11636102" y="1392464"/>
                  </a:cubicBezTo>
                  <a:lnTo>
                    <a:pt x="11636102" y="1357116"/>
                  </a:lnTo>
                  <a:cubicBezTo>
                    <a:pt x="11636102" y="1339971"/>
                    <a:pt x="11644422" y="1329539"/>
                    <a:pt x="11661061" y="1325823"/>
                  </a:cubicBezTo>
                  <a:lnTo>
                    <a:pt x="11661061" y="1325443"/>
                  </a:lnTo>
                  <a:cubicBezTo>
                    <a:pt x="11644422" y="1321474"/>
                    <a:pt x="11636102" y="1310959"/>
                    <a:pt x="11636102" y="1293896"/>
                  </a:cubicBezTo>
                  <a:lnTo>
                    <a:pt x="11636102" y="1258169"/>
                  </a:lnTo>
                  <a:cubicBezTo>
                    <a:pt x="11636102" y="1242374"/>
                    <a:pt x="11629345" y="1234308"/>
                    <a:pt x="11615831" y="1233971"/>
                  </a:cubicBezTo>
                  <a:close/>
                  <a:moveTo>
                    <a:pt x="11598347" y="1214333"/>
                  </a:moveTo>
                  <a:lnTo>
                    <a:pt x="11598347" y="1233971"/>
                  </a:lnTo>
                  <a:cubicBezTo>
                    <a:pt x="11584918" y="1234308"/>
                    <a:pt x="11578203" y="1242374"/>
                    <a:pt x="11578203" y="1258169"/>
                  </a:cubicBezTo>
                  <a:lnTo>
                    <a:pt x="11578203" y="1293896"/>
                  </a:lnTo>
                  <a:cubicBezTo>
                    <a:pt x="11578203" y="1310959"/>
                    <a:pt x="11569799" y="1321474"/>
                    <a:pt x="11552991" y="1325443"/>
                  </a:cubicBezTo>
                  <a:lnTo>
                    <a:pt x="11552991" y="1325823"/>
                  </a:lnTo>
                  <a:cubicBezTo>
                    <a:pt x="11569799" y="1329539"/>
                    <a:pt x="11578203" y="1339971"/>
                    <a:pt x="11578203" y="1357116"/>
                  </a:cubicBezTo>
                  <a:lnTo>
                    <a:pt x="11578203" y="1392464"/>
                  </a:lnTo>
                  <a:cubicBezTo>
                    <a:pt x="11578203" y="1401501"/>
                    <a:pt x="11579702" y="1407941"/>
                    <a:pt x="11582701" y="1411784"/>
                  </a:cubicBezTo>
                  <a:cubicBezTo>
                    <a:pt x="11585699" y="1415627"/>
                    <a:pt x="11590914" y="1417633"/>
                    <a:pt x="11598347" y="1417802"/>
                  </a:cubicBezTo>
                  <a:lnTo>
                    <a:pt x="11598347" y="1437313"/>
                  </a:lnTo>
                  <a:cubicBezTo>
                    <a:pt x="11568278" y="1436975"/>
                    <a:pt x="11553244" y="1424137"/>
                    <a:pt x="11553244" y="1398799"/>
                  </a:cubicBezTo>
                  <a:lnTo>
                    <a:pt x="11553244" y="1361425"/>
                  </a:lnTo>
                  <a:cubicBezTo>
                    <a:pt x="11553244" y="1344700"/>
                    <a:pt x="11546656" y="1335916"/>
                    <a:pt x="11533480" y="1335071"/>
                  </a:cubicBezTo>
                  <a:lnTo>
                    <a:pt x="11533480" y="1316575"/>
                  </a:lnTo>
                  <a:cubicBezTo>
                    <a:pt x="11546656" y="1315730"/>
                    <a:pt x="11553244" y="1306777"/>
                    <a:pt x="11553244" y="1289715"/>
                  </a:cubicBezTo>
                  <a:lnTo>
                    <a:pt x="11553244" y="1253354"/>
                  </a:lnTo>
                  <a:cubicBezTo>
                    <a:pt x="11553244" y="1227678"/>
                    <a:pt x="11568278" y="1214672"/>
                    <a:pt x="11598347" y="1214333"/>
                  </a:cubicBezTo>
                  <a:close/>
                  <a:moveTo>
                    <a:pt x="10941808" y="1214333"/>
                  </a:moveTo>
                  <a:cubicBezTo>
                    <a:pt x="10971708" y="1214672"/>
                    <a:pt x="10986657" y="1227678"/>
                    <a:pt x="10986657" y="1253354"/>
                  </a:cubicBezTo>
                  <a:lnTo>
                    <a:pt x="10986657" y="1289715"/>
                  </a:lnTo>
                  <a:cubicBezTo>
                    <a:pt x="10986657" y="1306777"/>
                    <a:pt x="10993203" y="1315730"/>
                    <a:pt x="11006295" y="1316575"/>
                  </a:cubicBezTo>
                  <a:lnTo>
                    <a:pt x="11006295" y="1335071"/>
                  </a:lnTo>
                  <a:cubicBezTo>
                    <a:pt x="10993203" y="1335916"/>
                    <a:pt x="10986657" y="1344700"/>
                    <a:pt x="10986657" y="1361425"/>
                  </a:cubicBezTo>
                  <a:lnTo>
                    <a:pt x="10986657" y="1398799"/>
                  </a:lnTo>
                  <a:cubicBezTo>
                    <a:pt x="10986657" y="1424137"/>
                    <a:pt x="10971708" y="1436975"/>
                    <a:pt x="10941808" y="1437313"/>
                  </a:cubicBezTo>
                  <a:lnTo>
                    <a:pt x="10941808" y="1417802"/>
                  </a:lnTo>
                  <a:cubicBezTo>
                    <a:pt x="10949156" y="1417633"/>
                    <a:pt x="10954372" y="1415607"/>
                    <a:pt x="10957455" y="1411722"/>
                  </a:cubicBezTo>
                  <a:cubicBezTo>
                    <a:pt x="10960537" y="1407836"/>
                    <a:pt x="10962079" y="1401417"/>
                    <a:pt x="10962079" y="1392464"/>
                  </a:cubicBezTo>
                  <a:lnTo>
                    <a:pt x="10962079" y="1357116"/>
                  </a:lnTo>
                  <a:cubicBezTo>
                    <a:pt x="10962079" y="1339971"/>
                    <a:pt x="10970399" y="1329539"/>
                    <a:pt x="10987038" y="1325823"/>
                  </a:cubicBezTo>
                  <a:lnTo>
                    <a:pt x="10987038" y="1325443"/>
                  </a:lnTo>
                  <a:cubicBezTo>
                    <a:pt x="10970399" y="1321474"/>
                    <a:pt x="10962079" y="1310959"/>
                    <a:pt x="10962079" y="1293896"/>
                  </a:cubicBezTo>
                  <a:lnTo>
                    <a:pt x="10962079" y="1258169"/>
                  </a:lnTo>
                  <a:cubicBezTo>
                    <a:pt x="10962079" y="1242374"/>
                    <a:pt x="10955322" y="1234308"/>
                    <a:pt x="10941808" y="1233971"/>
                  </a:cubicBezTo>
                  <a:close/>
                  <a:moveTo>
                    <a:pt x="10924324" y="1214333"/>
                  </a:moveTo>
                  <a:lnTo>
                    <a:pt x="10924324" y="1233971"/>
                  </a:lnTo>
                  <a:cubicBezTo>
                    <a:pt x="10910895" y="1234308"/>
                    <a:pt x="10904180" y="1242374"/>
                    <a:pt x="10904180" y="1258169"/>
                  </a:cubicBezTo>
                  <a:lnTo>
                    <a:pt x="10904180" y="1293896"/>
                  </a:lnTo>
                  <a:cubicBezTo>
                    <a:pt x="10904180" y="1310959"/>
                    <a:pt x="10895776" y="1321474"/>
                    <a:pt x="10878968" y="1325443"/>
                  </a:cubicBezTo>
                  <a:lnTo>
                    <a:pt x="10878968" y="1325823"/>
                  </a:lnTo>
                  <a:cubicBezTo>
                    <a:pt x="10895776" y="1329539"/>
                    <a:pt x="10904180" y="1339971"/>
                    <a:pt x="10904180" y="1357116"/>
                  </a:cubicBezTo>
                  <a:lnTo>
                    <a:pt x="10904180" y="1392464"/>
                  </a:lnTo>
                  <a:cubicBezTo>
                    <a:pt x="10904180" y="1401501"/>
                    <a:pt x="10905679" y="1407941"/>
                    <a:pt x="10908678" y="1411784"/>
                  </a:cubicBezTo>
                  <a:cubicBezTo>
                    <a:pt x="10911676" y="1415627"/>
                    <a:pt x="10916891" y="1417633"/>
                    <a:pt x="10924324" y="1417802"/>
                  </a:cubicBezTo>
                  <a:lnTo>
                    <a:pt x="10924324" y="1437313"/>
                  </a:lnTo>
                  <a:cubicBezTo>
                    <a:pt x="10894255" y="1436975"/>
                    <a:pt x="10879221" y="1424137"/>
                    <a:pt x="10879221" y="1398799"/>
                  </a:cubicBezTo>
                  <a:lnTo>
                    <a:pt x="10879221" y="1361425"/>
                  </a:lnTo>
                  <a:cubicBezTo>
                    <a:pt x="10879221" y="1344700"/>
                    <a:pt x="10872633" y="1335916"/>
                    <a:pt x="10859457" y="1335071"/>
                  </a:cubicBezTo>
                  <a:lnTo>
                    <a:pt x="10859457" y="1316575"/>
                  </a:lnTo>
                  <a:cubicBezTo>
                    <a:pt x="10872633" y="1315730"/>
                    <a:pt x="10879221" y="1306777"/>
                    <a:pt x="10879221" y="1289715"/>
                  </a:cubicBezTo>
                  <a:lnTo>
                    <a:pt x="10879221" y="1253354"/>
                  </a:lnTo>
                  <a:cubicBezTo>
                    <a:pt x="10879221" y="1227678"/>
                    <a:pt x="10894255" y="1214672"/>
                    <a:pt x="10924324" y="1214333"/>
                  </a:cubicBezTo>
                  <a:close/>
                  <a:moveTo>
                    <a:pt x="9743358" y="1214333"/>
                  </a:moveTo>
                  <a:cubicBezTo>
                    <a:pt x="9773258" y="1214672"/>
                    <a:pt x="9788207" y="1227678"/>
                    <a:pt x="9788207" y="1253354"/>
                  </a:cubicBezTo>
                  <a:lnTo>
                    <a:pt x="9788207" y="1289715"/>
                  </a:lnTo>
                  <a:cubicBezTo>
                    <a:pt x="9788207" y="1306777"/>
                    <a:pt x="9794753" y="1315730"/>
                    <a:pt x="9807845" y="1316575"/>
                  </a:cubicBezTo>
                  <a:lnTo>
                    <a:pt x="9807845" y="1335071"/>
                  </a:lnTo>
                  <a:cubicBezTo>
                    <a:pt x="9794753" y="1335916"/>
                    <a:pt x="9788207" y="1344700"/>
                    <a:pt x="9788207" y="1361425"/>
                  </a:cubicBezTo>
                  <a:lnTo>
                    <a:pt x="9788207" y="1398799"/>
                  </a:lnTo>
                  <a:cubicBezTo>
                    <a:pt x="9788207" y="1424137"/>
                    <a:pt x="9773258" y="1436975"/>
                    <a:pt x="9743358" y="1437313"/>
                  </a:cubicBezTo>
                  <a:lnTo>
                    <a:pt x="9743358" y="1417802"/>
                  </a:lnTo>
                  <a:cubicBezTo>
                    <a:pt x="9750706" y="1417633"/>
                    <a:pt x="9755922" y="1415607"/>
                    <a:pt x="9759005" y="1411722"/>
                  </a:cubicBezTo>
                  <a:cubicBezTo>
                    <a:pt x="9762087" y="1407836"/>
                    <a:pt x="9763629" y="1401417"/>
                    <a:pt x="9763629" y="1392464"/>
                  </a:cubicBezTo>
                  <a:lnTo>
                    <a:pt x="9763629" y="1357116"/>
                  </a:lnTo>
                  <a:cubicBezTo>
                    <a:pt x="9763629" y="1339971"/>
                    <a:pt x="9771949" y="1329539"/>
                    <a:pt x="9788588" y="1325823"/>
                  </a:cubicBezTo>
                  <a:lnTo>
                    <a:pt x="9788588" y="1325443"/>
                  </a:lnTo>
                  <a:cubicBezTo>
                    <a:pt x="9771949" y="1321474"/>
                    <a:pt x="9763629" y="1310959"/>
                    <a:pt x="9763629" y="1293896"/>
                  </a:cubicBezTo>
                  <a:lnTo>
                    <a:pt x="9763629" y="1258169"/>
                  </a:lnTo>
                  <a:cubicBezTo>
                    <a:pt x="9763629" y="1242374"/>
                    <a:pt x="9756872" y="1234308"/>
                    <a:pt x="9743358" y="1233971"/>
                  </a:cubicBezTo>
                  <a:close/>
                  <a:moveTo>
                    <a:pt x="9725874" y="1214333"/>
                  </a:moveTo>
                  <a:lnTo>
                    <a:pt x="9725874" y="1233971"/>
                  </a:lnTo>
                  <a:cubicBezTo>
                    <a:pt x="9712445" y="1234308"/>
                    <a:pt x="9705730" y="1242374"/>
                    <a:pt x="9705730" y="1258169"/>
                  </a:cubicBezTo>
                  <a:lnTo>
                    <a:pt x="9705730" y="1293896"/>
                  </a:lnTo>
                  <a:cubicBezTo>
                    <a:pt x="9705730" y="1310959"/>
                    <a:pt x="9697326" y="1321474"/>
                    <a:pt x="9680518" y="1325443"/>
                  </a:cubicBezTo>
                  <a:lnTo>
                    <a:pt x="9680518" y="1325823"/>
                  </a:lnTo>
                  <a:cubicBezTo>
                    <a:pt x="9697326" y="1329539"/>
                    <a:pt x="9705730" y="1339971"/>
                    <a:pt x="9705730" y="1357116"/>
                  </a:cubicBezTo>
                  <a:lnTo>
                    <a:pt x="9705730" y="1392464"/>
                  </a:lnTo>
                  <a:cubicBezTo>
                    <a:pt x="9705730" y="1401501"/>
                    <a:pt x="9707229" y="1407941"/>
                    <a:pt x="9710228" y="1411784"/>
                  </a:cubicBezTo>
                  <a:cubicBezTo>
                    <a:pt x="9713226" y="1415627"/>
                    <a:pt x="9718441" y="1417633"/>
                    <a:pt x="9725874" y="1417802"/>
                  </a:cubicBezTo>
                  <a:lnTo>
                    <a:pt x="9725874" y="1437313"/>
                  </a:lnTo>
                  <a:cubicBezTo>
                    <a:pt x="9695805" y="1436975"/>
                    <a:pt x="9680771" y="1424137"/>
                    <a:pt x="9680771" y="1398799"/>
                  </a:cubicBezTo>
                  <a:lnTo>
                    <a:pt x="9680771" y="1361425"/>
                  </a:lnTo>
                  <a:cubicBezTo>
                    <a:pt x="9680771" y="1344700"/>
                    <a:pt x="9674183" y="1335916"/>
                    <a:pt x="9661007" y="1335071"/>
                  </a:cubicBezTo>
                  <a:lnTo>
                    <a:pt x="9661007" y="1316575"/>
                  </a:lnTo>
                  <a:cubicBezTo>
                    <a:pt x="9674183" y="1315730"/>
                    <a:pt x="9680771" y="1306777"/>
                    <a:pt x="9680771" y="1289715"/>
                  </a:cubicBezTo>
                  <a:lnTo>
                    <a:pt x="9680771" y="1253354"/>
                  </a:lnTo>
                  <a:cubicBezTo>
                    <a:pt x="9680771" y="1227678"/>
                    <a:pt x="9695805" y="1214672"/>
                    <a:pt x="9725874" y="1214333"/>
                  </a:cubicBezTo>
                  <a:close/>
                  <a:moveTo>
                    <a:pt x="8119156" y="1214333"/>
                  </a:moveTo>
                  <a:cubicBezTo>
                    <a:pt x="8149056" y="1214672"/>
                    <a:pt x="8164005" y="1227678"/>
                    <a:pt x="8164005" y="1253354"/>
                  </a:cubicBezTo>
                  <a:lnTo>
                    <a:pt x="8164005" y="1289715"/>
                  </a:lnTo>
                  <a:cubicBezTo>
                    <a:pt x="8164005" y="1306777"/>
                    <a:pt x="8170551" y="1315730"/>
                    <a:pt x="8183643" y="1316575"/>
                  </a:cubicBezTo>
                  <a:lnTo>
                    <a:pt x="8183643" y="1335071"/>
                  </a:lnTo>
                  <a:cubicBezTo>
                    <a:pt x="8170551" y="1335916"/>
                    <a:pt x="8164005" y="1344700"/>
                    <a:pt x="8164005" y="1361425"/>
                  </a:cubicBezTo>
                  <a:lnTo>
                    <a:pt x="8164005" y="1398799"/>
                  </a:lnTo>
                  <a:cubicBezTo>
                    <a:pt x="8164005" y="1424137"/>
                    <a:pt x="8149056" y="1436975"/>
                    <a:pt x="8119156" y="1437313"/>
                  </a:cubicBezTo>
                  <a:lnTo>
                    <a:pt x="8119156" y="1417802"/>
                  </a:lnTo>
                  <a:cubicBezTo>
                    <a:pt x="8126504" y="1417633"/>
                    <a:pt x="8131720" y="1415607"/>
                    <a:pt x="8134803" y="1411722"/>
                  </a:cubicBezTo>
                  <a:cubicBezTo>
                    <a:pt x="8137885" y="1407836"/>
                    <a:pt x="8139427" y="1401417"/>
                    <a:pt x="8139427" y="1392464"/>
                  </a:cubicBezTo>
                  <a:lnTo>
                    <a:pt x="8139427" y="1357116"/>
                  </a:lnTo>
                  <a:cubicBezTo>
                    <a:pt x="8139427" y="1339971"/>
                    <a:pt x="8147747" y="1329539"/>
                    <a:pt x="8164386" y="1325823"/>
                  </a:cubicBezTo>
                  <a:lnTo>
                    <a:pt x="8164386" y="1325443"/>
                  </a:lnTo>
                  <a:cubicBezTo>
                    <a:pt x="8147747" y="1321474"/>
                    <a:pt x="8139427" y="1310959"/>
                    <a:pt x="8139427" y="1293896"/>
                  </a:cubicBezTo>
                  <a:lnTo>
                    <a:pt x="8139427" y="1258169"/>
                  </a:lnTo>
                  <a:cubicBezTo>
                    <a:pt x="8139427" y="1242374"/>
                    <a:pt x="8132670" y="1234308"/>
                    <a:pt x="8119156" y="1233971"/>
                  </a:cubicBezTo>
                  <a:close/>
                  <a:moveTo>
                    <a:pt x="8101672" y="1214333"/>
                  </a:moveTo>
                  <a:lnTo>
                    <a:pt x="8101672" y="1233971"/>
                  </a:lnTo>
                  <a:cubicBezTo>
                    <a:pt x="8088243" y="1234308"/>
                    <a:pt x="8081528" y="1242374"/>
                    <a:pt x="8081528" y="1258169"/>
                  </a:cubicBezTo>
                  <a:lnTo>
                    <a:pt x="8081528" y="1293896"/>
                  </a:lnTo>
                  <a:cubicBezTo>
                    <a:pt x="8081528" y="1310959"/>
                    <a:pt x="8073124" y="1321474"/>
                    <a:pt x="8056316" y="1325443"/>
                  </a:cubicBezTo>
                  <a:lnTo>
                    <a:pt x="8056316" y="1325823"/>
                  </a:lnTo>
                  <a:cubicBezTo>
                    <a:pt x="8073124" y="1329539"/>
                    <a:pt x="8081528" y="1339971"/>
                    <a:pt x="8081528" y="1357116"/>
                  </a:cubicBezTo>
                  <a:lnTo>
                    <a:pt x="8081528" y="1392464"/>
                  </a:lnTo>
                  <a:cubicBezTo>
                    <a:pt x="8081528" y="1401501"/>
                    <a:pt x="8083027" y="1407941"/>
                    <a:pt x="8086026" y="1411784"/>
                  </a:cubicBezTo>
                  <a:cubicBezTo>
                    <a:pt x="8089024" y="1415627"/>
                    <a:pt x="8094240" y="1417633"/>
                    <a:pt x="8101672" y="1417802"/>
                  </a:cubicBezTo>
                  <a:lnTo>
                    <a:pt x="8101672" y="1437313"/>
                  </a:lnTo>
                  <a:cubicBezTo>
                    <a:pt x="8071604" y="1436975"/>
                    <a:pt x="8056570" y="1424137"/>
                    <a:pt x="8056570" y="1398799"/>
                  </a:cubicBezTo>
                  <a:lnTo>
                    <a:pt x="8056570" y="1361425"/>
                  </a:lnTo>
                  <a:cubicBezTo>
                    <a:pt x="8056570" y="1344700"/>
                    <a:pt x="8049981" y="1335916"/>
                    <a:pt x="8036805" y="1335071"/>
                  </a:cubicBezTo>
                  <a:lnTo>
                    <a:pt x="8036805" y="1316575"/>
                  </a:lnTo>
                  <a:cubicBezTo>
                    <a:pt x="8049981" y="1315730"/>
                    <a:pt x="8056570" y="1306777"/>
                    <a:pt x="8056570" y="1289715"/>
                  </a:cubicBezTo>
                  <a:lnTo>
                    <a:pt x="8056570" y="1253354"/>
                  </a:lnTo>
                  <a:cubicBezTo>
                    <a:pt x="8056570" y="1227678"/>
                    <a:pt x="8071604" y="1214672"/>
                    <a:pt x="8101672" y="1214333"/>
                  </a:cubicBezTo>
                  <a:close/>
                  <a:moveTo>
                    <a:pt x="5543447" y="1214333"/>
                  </a:moveTo>
                  <a:cubicBezTo>
                    <a:pt x="5573347" y="1214672"/>
                    <a:pt x="5588296" y="1227678"/>
                    <a:pt x="5588296" y="1253354"/>
                  </a:cubicBezTo>
                  <a:lnTo>
                    <a:pt x="5588296" y="1289715"/>
                  </a:lnTo>
                  <a:cubicBezTo>
                    <a:pt x="5588296" y="1306777"/>
                    <a:pt x="5594843" y="1315730"/>
                    <a:pt x="5607934" y="1316575"/>
                  </a:cubicBezTo>
                  <a:lnTo>
                    <a:pt x="5607934" y="1335071"/>
                  </a:lnTo>
                  <a:cubicBezTo>
                    <a:pt x="5594843" y="1335916"/>
                    <a:pt x="5588296" y="1344700"/>
                    <a:pt x="5588296" y="1361425"/>
                  </a:cubicBezTo>
                  <a:lnTo>
                    <a:pt x="5588296" y="1398799"/>
                  </a:lnTo>
                  <a:cubicBezTo>
                    <a:pt x="5588296" y="1424137"/>
                    <a:pt x="5573347" y="1436975"/>
                    <a:pt x="5543447" y="1437313"/>
                  </a:cubicBezTo>
                  <a:lnTo>
                    <a:pt x="5543447" y="1417802"/>
                  </a:lnTo>
                  <a:cubicBezTo>
                    <a:pt x="5550795" y="1417633"/>
                    <a:pt x="5556010" y="1415607"/>
                    <a:pt x="5559093" y="1411722"/>
                  </a:cubicBezTo>
                  <a:cubicBezTo>
                    <a:pt x="5562177" y="1407836"/>
                    <a:pt x="5563718" y="1401417"/>
                    <a:pt x="5563718" y="1392464"/>
                  </a:cubicBezTo>
                  <a:lnTo>
                    <a:pt x="5563718" y="1357116"/>
                  </a:lnTo>
                  <a:cubicBezTo>
                    <a:pt x="5563718" y="1339971"/>
                    <a:pt x="5572037" y="1329539"/>
                    <a:pt x="5588677" y="1325823"/>
                  </a:cubicBezTo>
                  <a:lnTo>
                    <a:pt x="5588677" y="1325443"/>
                  </a:lnTo>
                  <a:cubicBezTo>
                    <a:pt x="5572037" y="1321474"/>
                    <a:pt x="5563718" y="1310959"/>
                    <a:pt x="5563718" y="1293896"/>
                  </a:cubicBezTo>
                  <a:lnTo>
                    <a:pt x="5563718" y="1258169"/>
                  </a:lnTo>
                  <a:cubicBezTo>
                    <a:pt x="5563718" y="1242374"/>
                    <a:pt x="5556961" y="1234308"/>
                    <a:pt x="5543447" y="1233971"/>
                  </a:cubicBezTo>
                  <a:close/>
                  <a:moveTo>
                    <a:pt x="5525964" y="1214333"/>
                  </a:moveTo>
                  <a:lnTo>
                    <a:pt x="5525964" y="1233971"/>
                  </a:lnTo>
                  <a:cubicBezTo>
                    <a:pt x="5512533" y="1234308"/>
                    <a:pt x="5505819" y="1242374"/>
                    <a:pt x="5505819" y="1258169"/>
                  </a:cubicBezTo>
                  <a:lnTo>
                    <a:pt x="5505819" y="1293896"/>
                  </a:lnTo>
                  <a:cubicBezTo>
                    <a:pt x="5505819" y="1310959"/>
                    <a:pt x="5497414" y="1321474"/>
                    <a:pt x="5480606" y="1325443"/>
                  </a:cubicBezTo>
                  <a:lnTo>
                    <a:pt x="5480606" y="1325823"/>
                  </a:lnTo>
                  <a:cubicBezTo>
                    <a:pt x="5497414" y="1329539"/>
                    <a:pt x="5505819" y="1339971"/>
                    <a:pt x="5505819" y="1357116"/>
                  </a:cubicBezTo>
                  <a:lnTo>
                    <a:pt x="5505819" y="1392464"/>
                  </a:lnTo>
                  <a:cubicBezTo>
                    <a:pt x="5505819" y="1401501"/>
                    <a:pt x="5507318" y="1407941"/>
                    <a:pt x="5510316" y="1411784"/>
                  </a:cubicBezTo>
                  <a:cubicBezTo>
                    <a:pt x="5513314" y="1415627"/>
                    <a:pt x="5518530" y="1417633"/>
                    <a:pt x="5525964" y="1417802"/>
                  </a:cubicBezTo>
                  <a:lnTo>
                    <a:pt x="5525964" y="1437313"/>
                  </a:lnTo>
                  <a:cubicBezTo>
                    <a:pt x="5495894" y="1436975"/>
                    <a:pt x="5480860" y="1424137"/>
                    <a:pt x="5480860" y="1398799"/>
                  </a:cubicBezTo>
                  <a:lnTo>
                    <a:pt x="5480860" y="1361425"/>
                  </a:lnTo>
                  <a:cubicBezTo>
                    <a:pt x="5480860" y="1344700"/>
                    <a:pt x="5474272" y="1335916"/>
                    <a:pt x="5461096" y="1335071"/>
                  </a:cubicBezTo>
                  <a:lnTo>
                    <a:pt x="5461096" y="1316575"/>
                  </a:lnTo>
                  <a:cubicBezTo>
                    <a:pt x="5474272" y="1315730"/>
                    <a:pt x="5480860" y="1306777"/>
                    <a:pt x="5480860" y="1289715"/>
                  </a:cubicBezTo>
                  <a:lnTo>
                    <a:pt x="5480860" y="1253354"/>
                  </a:lnTo>
                  <a:cubicBezTo>
                    <a:pt x="5480860" y="1227678"/>
                    <a:pt x="5495894" y="1214672"/>
                    <a:pt x="5525964" y="1214333"/>
                  </a:cubicBezTo>
                  <a:close/>
                  <a:moveTo>
                    <a:pt x="4877346" y="1214333"/>
                  </a:moveTo>
                  <a:cubicBezTo>
                    <a:pt x="4907245" y="1214672"/>
                    <a:pt x="4922195" y="1227678"/>
                    <a:pt x="4922195" y="1253354"/>
                  </a:cubicBezTo>
                  <a:lnTo>
                    <a:pt x="4922195" y="1289715"/>
                  </a:lnTo>
                  <a:cubicBezTo>
                    <a:pt x="4922195" y="1306777"/>
                    <a:pt x="4928740" y="1315730"/>
                    <a:pt x="4941832" y="1316575"/>
                  </a:cubicBezTo>
                  <a:lnTo>
                    <a:pt x="4941832" y="1335071"/>
                  </a:lnTo>
                  <a:cubicBezTo>
                    <a:pt x="4928740" y="1335916"/>
                    <a:pt x="4922195" y="1344700"/>
                    <a:pt x="4922195" y="1361425"/>
                  </a:cubicBezTo>
                  <a:lnTo>
                    <a:pt x="4922195" y="1398799"/>
                  </a:lnTo>
                  <a:cubicBezTo>
                    <a:pt x="4922195" y="1424137"/>
                    <a:pt x="4907245" y="1436975"/>
                    <a:pt x="4877346" y="1437313"/>
                  </a:cubicBezTo>
                  <a:lnTo>
                    <a:pt x="4877346" y="1417802"/>
                  </a:lnTo>
                  <a:cubicBezTo>
                    <a:pt x="4884693" y="1417633"/>
                    <a:pt x="4889908" y="1415607"/>
                    <a:pt x="4892991" y="1411722"/>
                  </a:cubicBezTo>
                  <a:cubicBezTo>
                    <a:pt x="4896075" y="1407836"/>
                    <a:pt x="4897617" y="1401417"/>
                    <a:pt x="4897617" y="1392464"/>
                  </a:cubicBezTo>
                  <a:lnTo>
                    <a:pt x="4897617" y="1357116"/>
                  </a:lnTo>
                  <a:cubicBezTo>
                    <a:pt x="4897617" y="1339971"/>
                    <a:pt x="4905936" y="1329539"/>
                    <a:pt x="4922575" y="1325823"/>
                  </a:cubicBezTo>
                  <a:lnTo>
                    <a:pt x="4922575" y="1325443"/>
                  </a:lnTo>
                  <a:cubicBezTo>
                    <a:pt x="4905936" y="1321474"/>
                    <a:pt x="4897617" y="1310959"/>
                    <a:pt x="4897617" y="1293896"/>
                  </a:cubicBezTo>
                  <a:lnTo>
                    <a:pt x="4897617" y="1258169"/>
                  </a:lnTo>
                  <a:cubicBezTo>
                    <a:pt x="4897617" y="1242374"/>
                    <a:pt x="4890859" y="1234308"/>
                    <a:pt x="4877346" y="1233971"/>
                  </a:cubicBezTo>
                  <a:close/>
                  <a:moveTo>
                    <a:pt x="4859861" y="1214333"/>
                  </a:moveTo>
                  <a:lnTo>
                    <a:pt x="4859861" y="1233971"/>
                  </a:lnTo>
                  <a:cubicBezTo>
                    <a:pt x="4846432" y="1234308"/>
                    <a:pt x="4839717" y="1242374"/>
                    <a:pt x="4839717" y="1258169"/>
                  </a:cubicBezTo>
                  <a:lnTo>
                    <a:pt x="4839717" y="1293896"/>
                  </a:lnTo>
                  <a:cubicBezTo>
                    <a:pt x="4839717" y="1310959"/>
                    <a:pt x="4831313" y="1321474"/>
                    <a:pt x="4814505" y="1325443"/>
                  </a:cubicBezTo>
                  <a:lnTo>
                    <a:pt x="4814505" y="1325823"/>
                  </a:lnTo>
                  <a:cubicBezTo>
                    <a:pt x="4831313" y="1329539"/>
                    <a:pt x="4839717" y="1339971"/>
                    <a:pt x="4839717" y="1357116"/>
                  </a:cubicBezTo>
                  <a:lnTo>
                    <a:pt x="4839717" y="1392464"/>
                  </a:lnTo>
                  <a:cubicBezTo>
                    <a:pt x="4839717" y="1401501"/>
                    <a:pt x="4841217" y="1407941"/>
                    <a:pt x="4844214" y="1411784"/>
                  </a:cubicBezTo>
                  <a:cubicBezTo>
                    <a:pt x="4847212" y="1415627"/>
                    <a:pt x="4852428" y="1417633"/>
                    <a:pt x="4859861" y="1417802"/>
                  </a:cubicBezTo>
                  <a:lnTo>
                    <a:pt x="4859861" y="1437313"/>
                  </a:lnTo>
                  <a:cubicBezTo>
                    <a:pt x="4829792" y="1436975"/>
                    <a:pt x="4814758" y="1424137"/>
                    <a:pt x="4814758" y="1398799"/>
                  </a:cubicBezTo>
                  <a:lnTo>
                    <a:pt x="4814758" y="1361425"/>
                  </a:lnTo>
                  <a:cubicBezTo>
                    <a:pt x="4814758" y="1344700"/>
                    <a:pt x="4808170" y="1335916"/>
                    <a:pt x="4794994" y="1335071"/>
                  </a:cubicBezTo>
                  <a:lnTo>
                    <a:pt x="4794994" y="1316575"/>
                  </a:lnTo>
                  <a:cubicBezTo>
                    <a:pt x="4808170" y="1315730"/>
                    <a:pt x="4814758" y="1306777"/>
                    <a:pt x="4814758" y="1289715"/>
                  </a:cubicBezTo>
                  <a:lnTo>
                    <a:pt x="4814758" y="1253354"/>
                  </a:lnTo>
                  <a:cubicBezTo>
                    <a:pt x="4814758" y="1227678"/>
                    <a:pt x="4829792" y="1214672"/>
                    <a:pt x="4859861" y="1214333"/>
                  </a:cubicBezTo>
                  <a:close/>
                  <a:moveTo>
                    <a:pt x="2052800" y="1214333"/>
                  </a:moveTo>
                  <a:cubicBezTo>
                    <a:pt x="2082700" y="1214672"/>
                    <a:pt x="2097651" y="1227678"/>
                    <a:pt x="2097651" y="1253354"/>
                  </a:cubicBezTo>
                  <a:lnTo>
                    <a:pt x="2097651" y="1289715"/>
                  </a:lnTo>
                  <a:cubicBezTo>
                    <a:pt x="2097651" y="1306777"/>
                    <a:pt x="2104196" y="1315730"/>
                    <a:pt x="2117288" y="1316575"/>
                  </a:cubicBezTo>
                  <a:lnTo>
                    <a:pt x="2117288" y="1335071"/>
                  </a:lnTo>
                  <a:cubicBezTo>
                    <a:pt x="2104196" y="1335916"/>
                    <a:pt x="2097651" y="1344700"/>
                    <a:pt x="2097651" y="1361425"/>
                  </a:cubicBezTo>
                  <a:lnTo>
                    <a:pt x="2097651" y="1398799"/>
                  </a:lnTo>
                  <a:cubicBezTo>
                    <a:pt x="2097651" y="1424137"/>
                    <a:pt x="2082700" y="1436975"/>
                    <a:pt x="2052800" y="1437313"/>
                  </a:cubicBezTo>
                  <a:lnTo>
                    <a:pt x="2052800" y="1417802"/>
                  </a:lnTo>
                  <a:cubicBezTo>
                    <a:pt x="2060149" y="1417633"/>
                    <a:pt x="2065365" y="1415607"/>
                    <a:pt x="2068447" y="1411722"/>
                  </a:cubicBezTo>
                  <a:cubicBezTo>
                    <a:pt x="2071531" y="1407836"/>
                    <a:pt x="2073072" y="1401417"/>
                    <a:pt x="2073072" y="1392464"/>
                  </a:cubicBezTo>
                  <a:lnTo>
                    <a:pt x="2073072" y="1357116"/>
                  </a:lnTo>
                  <a:cubicBezTo>
                    <a:pt x="2073072" y="1339971"/>
                    <a:pt x="2081392" y="1329539"/>
                    <a:pt x="2098031" y="1325823"/>
                  </a:cubicBezTo>
                  <a:lnTo>
                    <a:pt x="2098031" y="1325443"/>
                  </a:lnTo>
                  <a:cubicBezTo>
                    <a:pt x="2081392" y="1321474"/>
                    <a:pt x="2073072" y="1310959"/>
                    <a:pt x="2073072" y="1293896"/>
                  </a:cubicBezTo>
                  <a:lnTo>
                    <a:pt x="2073072" y="1258169"/>
                  </a:lnTo>
                  <a:cubicBezTo>
                    <a:pt x="2073072" y="1242374"/>
                    <a:pt x="2066315" y="1234308"/>
                    <a:pt x="2052800" y="1233971"/>
                  </a:cubicBezTo>
                  <a:close/>
                  <a:moveTo>
                    <a:pt x="2035316" y="1214333"/>
                  </a:moveTo>
                  <a:lnTo>
                    <a:pt x="2035316" y="1233971"/>
                  </a:lnTo>
                  <a:cubicBezTo>
                    <a:pt x="2021887" y="1234308"/>
                    <a:pt x="2015173" y="1242374"/>
                    <a:pt x="2015173" y="1258169"/>
                  </a:cubicBezTo>
                  <a:lnTo>
                    <a:pt x="2015173" y="1293896"/>
                  </a:lnTo>
                  <a:cubicBezTo>
                    <a:pt x="2015173" y="1310959"/>
                    <a:pt x="2006768" y="1321474"/>
                    <a:pt x="1989960" y="1325443"/>
                  </a:cubicBezTo>
                  <a:lnTo>
                    <a:pt x="1989960" y="1325823"/>
                  </a:lnTo>
                  <a:cubicBezTo>
                    <a:pt x="2006768" y="1329539"/>
                    <a:pt x="2015173" y="1339971"/>
                    <a:pt x="2015173" y="1357116"/>
                  </a:cubicBezTo>
                  <a:lnTo>
                    <a:pt x="2015173" y="1392464"/>
                  </a:lnTo>
                  <a:cubicBezTo>
                    <a:pt x="2015173" y="1401501"/>
                    <a:pt x="2016672" y="1407941"/>
                    <a:pt x="2019670" y="1411784"/>
                  </a:cubicBezTo>
                  <a:cubicBezTo>
                    <a:pt x="2022669" y="1415627"/>
                    <a:pt x="2027883" y="1417633"/>
                    <a:pt x="2035316" y="1417802"/>
                  </a:cubicBezTo>
                  <a:lnTo>
                    <a:pt x="2035316" y="1437313"/>
                  </a:lnTo>
                  <a:cubicBezTo>
                    <a:pt x="2005247" y="1436975"/>
                    <a:pt x="1990214" y="1424137"/>
                    <a:pt x="1990214" y="1398799"/>
                  </a:cubicBezTo>
                  <a:lnTo>
                    <a:pt x="1990214" y="1361425"/>
                  </a:lnTo>
                  <a:cubicBezTo>
                    <a:pt x="1990214" y="1344700"/>
                    <a:pt x="1983625" y="1335916"/>
                    <a:pt x="1970449" y="1335071"/>
                  </a:cubicBezTo>
                  <a:lnTo>
                    <a:pt x="1970449" y="1316575"/>
                  </a:lnTo>
                  <a:cubicBezTo>
                    <a:pt x="1983625" y="1315730"/>
                    <a:pt x="1990214" y="1306777"/>
                    <a:pt x="1990214" y="1289715"/>
                  </a:cubicBezTo>
                  <a:lnTo>
                    <a:pt x="1990214" y="1253354"/>
                  </a:lnTo>
                  <a:cubicBezTo>
                    <a:pt x="1990214" y="1227678"/>
                    <a:pt x="2005247" y="1214672"/>
                    <a:pt x="2035316" y="1214333"/>
                  </a:cubicBezTo>
                  <a:close/>
                  <a:moveTo>
                    <a:pt x="8998507" y="1084932"/>
                  </a:moveTo>
                  <a:cubicBezTo>
                    <a:pt x="8993957" y="1102952"/>
                    <a:pt x="8988778" y="1114327"/>
                    <a:pt x="8975158" y="1124444"/>
                  </a:cubicBezTo>
                  <a:cubicBezTo>
                    <a:pt x="8973781" y="1131838"/>
                    <a:pt x="8986174" y="1127887"/>
                    <a:pt x="8991682" y="1127857"/>
                  </a:cubicBezTo>
                  <a:cubicBezTo>
                    <a:pt x="8997190" y="1127827"/>
                    <a:pt x="9006739" y="1129309"/>
                    <a:pt x="9008205" y="1124265"/>
                  </a:cubicBezTo>
                  <a:cubicBezTo>
                    <a:pt x="9009193" y="1120792"/>
                    <a:pt x="9006768" y="1118128"/>
                    <a:pt x="9005242" y="1114746"/>
                  </a:cubicBezTo>
                  <a:cubicBezTo>
                    <a:pt x="9004464" y="1111034"/>
                    <a:pt x="9007352" y="1106424"/>
                    <a:pt x="9006230" y="1101455"/>
                  </a:cubicBezTo>
                  <a:cubicBezTo>
                    <a:pt x="9005107" y="1096486"/>
                    <a:pt x="9001799" y="1088643"/>
                    <a:pt x="8998507" y="1084932"/>
                  </a:cubicBezTo>
                  <a:close/>
                  <a:moveTo>
                    <a:pt x="2937770" y="1084932"/>
                  </a:moveTo>
                  <a:cubicBezTo>
                    <a:pt x="2933221" y="1102952"/>
                    <a:pt x="2928041" y="1114327"/>
                    <a:pt x="2914421" y="1124444"/>
                  </a:cubicBezTo>
                  <a:cubicBezTo>
                    <a:pt x="2913045" y="1131838"/>
                    <a:pt x="2925438" y="1127887"/>
                    <a:pt x="2930946" y="1127857"/>
                  </a:cubicBezTo>
                  <a:cubicBezTo>
                    <a:pt x="2936453" y="1127827"/>
                    <a:pt x="2946002" y="1129309"/>
                    <a:pt x="2947468" y="1124265"/>
                  </a:cubicBezTo>
                  <a:cubicBezTo>
                    <a:pt x="2948456" y="1120792"/>
                    <a:pt x="2946032" y="1118128"/>
                    <a:pt x="2944505" y="1114746"/>
                  </a:cubicBezTo>
                  <a:cubicBezTo>
                    <a:pt x="2943727" y="1111034"/>
                    <a:pt x="2946616" y="1106424"/>
                    <a:pt x="2945494" y="1101455"/>
                  </a:cubicBezTo>
                  <a:cubicBezTo>
                    <a:pt x="2944370" y="1096486"/>
                    <a:pt x="2941063" y="1088643"/>
                    <a:pt x="2937770" y="1084932"/>
                  </a:cubicBezTo>
                  <a:close/>
                  <a:moveTo>
                    <a:pt x="8837402" y="1068408"/>
                  </a:moveTo>
                  <a:cubicBezTo>
                    <a:pt x="8832553" y="1073946"/>
                    <a:pt x="8823663" y="1084513"/>
                    <a:pt x="8823663" y="1088793"/>
                  </a:cubicBezTo>
                  <a:cubicBezTo>
                    <a:pt x="8823932" y="1094121"/>
                    <a:pt x="8838210" y="1109867"/>
                    <a:pt x="8845305" y="1110525"/>
                  </a:cubicBezTo>
                  <a:cubicBezTo>
                    <a:pt x="8851172" y="1110675"/>
                    <a:pt x="8851741" y="1107592"/>
                    <a:pt x="8854285" y="1103251"/>
                  </a:cubicBezTo>
                  <a:cubicBezTo>
                    <a:pt x="8846143" y="1091727"/>
                    <a:pt x="8842760" y="1085860"/>
                    <a:pt x="8837402" y="1068408"/>
                  </a:cubicBezTo>
                  <a:close/>
                  <a:moveTo>
                    <a:pt x="2776666" y="1068408"/>
                  </a:moveTo>
                  <a:cubicBezTo>
                    <a:pt x="2771816" y="1073946"/>
                    <a:pt x="2762926" y="1084513"/>
                    <a:pt x="2762926" y="1088793"/>
                  </a:cubicBezTo>
                  <a:cubicBezTo>
                    <a:pt x="2763195" y="1094121"/>
                    <a:pt x="2777474" y="1109867"/>
                    <a:pt x="2784568" y="1110525"/>
                  </a:cubicBezTo>
                  <a:cubicBezTo>
                    <a:pt x="2790435" y="1110675"/>
                    <a:pt x="2791004" y="1107592"/>
                    <a:pt x="2793548" y="1103251"/>
                  </a:cubicBezTo>
                  <a:cubicBezTo>
                    <a:pt x="2785406" y="1091727"/>
                    <a:pt x="2782024" y="1085860"/>
                    <a:pt x="2776666" y="1068408"/>
                  </a:cubicBezTo>
                  <a:close/>
                  <a:moveTo>
                    <a:pt x="8820903" y="999655"/>
                  </a:moveTo>
                  <a:lnTo>
                    <a:pt x="8820701" y="1001181"/>
                  </a:lnTo>
                  <a:lnTo>
                    <a:pt x="8820634" y="999913"/>
                  </a:lnTo>
                  <a:close/>
                  <a:moveTo>
                    <a:pt x="2760166" y="999654"/>
                  </a:moveTo>
                  <a:lnTo>
                    <a:pt x="2759965" y="1001182"/>
                  </a:lnTo>
                  <a:lnTo>
                    <a:pt x="2759898" y="999913"/>
                  </a:lnTo>
                  <a:close/>
                  <a:moveTo>
                    <a:pt x="9024190" y="972275"/>
                  </a:moveTo>
                  <a:cubicBezTo>
                    <a:pt x="9024153" y="972448"/>
                    <a:pt x="9021275" y="973518"/>
                    <a:pt x="9020171" y="975149"/>
                  </a:cubicBezTo>
                  <a:cubicBezTo>
                    <a:pt x="9024740" y="976671"/>
                    <a:pt x="9026344" y="978104"/>
                    <a:pt x="9027141" y="983577"/>
                  </a:cubicBezTo>
                  <a:cubicBezTo>
                    <a:pt x="9027356" y="983536"/>
                    <a:pt x="9028860" y="982322"/>
                    <a:pt x="9034068" y="981839"/>
                  </a:cubicBezTo>
                  <a:cubicBezTo>
                    <a:pt x="9022244" y="986569"/>
                    <a:pt x="9016258" y="991658"/>
                    <a:pt x="9007667" y="1001147"/>
                  </a:cubicBezTo>
                  <a:cubicBezTo>
                    <a:pt x="9010383" y="995803"/>
                    <a:pt x="9012698" y="993539"/>
                    <a:pt x="9012717" y="993472"/>
                  </a:cubicBezTo>
                  <a:cubicBezTo>
                    <a:pt x="9008220" y="991944"/>
                    <a:pt x="9006955" y="991584"/>
                    <a:pt x="9004883" y="986464"/>
                  </a:cubicBezTo>
                  <a:cubicBezTo>
                    <a:pt x="9004610" y="986614"/>
                    <a:pt x="9004157" y="986382"/>
                    <a:pt x="9000033" y="990550"/>
                  </a:cubicBezTo>
                  <a:cubicBezTo>
                    <a:pt x="9007277" y="976302"/>
                    <a:pt x="9014072" y="975389"/>
                    <a:pt x="9024190" y="972275"/>
                  </a:cubicBezTo>
                  <a:close/>
                  <a:moveTo>
                    <a:pt x="2963453" y="972275"/>
                  </a:moveTo>
                  <a:cubicBezTo>
                    <a:pt x="2963416" y="972448"/>
                    <a:pt x="2960539" y="973518"/>
                    <a:pt x="2959436" y="975149"/>
                  </a:cubicBezTo>
                  <a:cubicBezTo>
                    <a:pt x="2964003" y="976671"/>
                    <a:pt x="2965608" y="978104"/>
                    <a:pt x="2966404" y="983577"/>
                  </a:cubicBezTo>
                  <a:cubicBezTo>
                    <a:pt x="2966619" y="983536"/>
                    <a:pt x="2968123" y="982322"/>
                    <a:pt x="2973332" y="981839"/>
                  </a:cubicBezTo>
                  <a:cubicBezTo>
                    <a:pt x="2961509" y="986569"/>
                    <a:pt x="2955521" y="991658"/>
                    <a:pt x="2946930" y="1001147"/>
                  </a:cubicBezTo>
                  <a:cubicBezTo>
                    <a:pt x="2949646" y="995803"/>
                    <a:pt x="2951962" y="993539"/>
                    <a:pt x="2951980" y="993472"/>
                  </a:cubicBezTo>
                  <a:cubicBezTo>
                    <a:pt x="2947484" y="991944"/>
                    <a:pt x="2946218" y="991584"/>
                    <a:pt x="2944146" y="986464"/>
                  </a:cubicBezTo>
                  <a:cubicBezTo>
                    <a:pt x="2943873" y="986614"/>
                    <a:pt x="2943420" y="986382"/>
                    <a:pt x="2939297" y="990550"/>
                  </a:cubicBezTo>
                  <a:cubicBezTo>
                    <a:pt x="2946540" y="976302"/>
                    <a:pt x="2953336" y="975389"/>
                    <a:pt x="2963453" y="972275"/>
                  </a:cubicBezTo>
                  <a:close/>
                  <a:moveTo>
                    <a:pt x="8997441" y="955753"/>
                  </a:moveTo>
                  <a:cubicBezTo>
                    <a:pt x="8998146" y="955697"/>
                    <a:pt x="8998911" y="955717"/>
                    <a:pt x="8999742" y="955790"/>
                  </a:cubicBezTo>
                  <a:cubicBezTo>
                    <a:pt x="9001957" y="955984"/>
                    <a:pt x="9004643" y="956553"/>
                    <a:pt x="9007936" y="957054"/>
                  </a:cubicBezTo>
                  <a:cubicBezTo>
                    <a:pt x="8996741" y="958820"/>
                    <a:pt x="8993628" y="965076"/>
                    <a:pt x="8988898" y="976092"/>
                  </a:cubicBezTo>
                  <a:cubicBezTo>
                    <a:pt x="8990470" y="960259"/>
                    <a:pt x="8992505" y="956144"/>
                    <a:pt x="8997441" y="955753"/>
                  </a:cubicBezTo>
                  <a:close/>
                  <a:moveTo>
                    <a:pt x="2936704" y="955753"/>
                  </a:moveTo>
                  <a:cubicBezTo>
                    <a:pt x="2937410" y="955697"/>
                    <a:pt x="2938175" y="955717"/>
                    <a:pt x="2939005" y="955790"/>
                  </a:cubicBezTo>
                  <a:cubicBezTo>
                    <a:pt x="2941220" y="955984"/>
                    <a:pt x="2943906" y="956553"/>
                    <a:pt x="2947199" y="957054"/>
                  </a:cubicBezTo>
                  <a:cubicBezTo>
                    <a:pt x="2936004" y="958820"/>
                    <a:pt x="2932891" y="965076"/>
                    <a:pt x="2928161" y="976092"/>
                  </a:cubicBezTo>
                  <a:cubicBezTo>
                    <a:pt x="2929733" y="960259"/>
                    <a:pt x="2931769" y="956144"/>
                    <a:pt x="2936704" y="955753"/>
                  </a:cubicBezTo>
                  <a:close/>
                  <a:moveTo>
                    <a:pt x="9100739" y="933525"/>
                  </a:moveTo>
                  <a:cubicBezTo>
                    <a:pt x="9102348" y="935596"/>
                    <a:pt x="9097454" y="943389"/>
                    <a:pt x="9092486" y="947541"/>
                  </a:cubicBezTo>
                  <a:cubicBezTo>
                    <a:pt x="9087519" y="951693"/>
                    <a:pt x="9080200" y="951267"/>
                    <a:pt x="9080228" y="949546"/>
                  </a:cubicBezTo>
                  <a:cubicBezTo>
                    <a:pt x="9080256" y="947825"/>
                    <a:pt x="9088026" y="945542"/>
                    <a:pt x="9091445" y="942872"/>
                  </a:cubicBezTo>
                  <a:cubicBezTo>
                    <a:pt x="9094863" y="940202"/>
                    <a:pt x="9099603" y="932533"/>
                    <a:pt x="9100739" y="933525"/>
                  </a:cubicBezTo>
                  <a:close/>
                  <a:moveTo>
                    <a:pt x="3040003" y="933525"/>
                  </a:moveTo>
                  <a:cubicBezTo>
                    <a:pt x="3041611" y="935596"/>
                    <a:pt x="3036717" y="943389"/>
                    <a:pt x="3031749" y="947541"/>
                  </a:cubicBezTo>
                  <a:cubicBezTo>
                    <a:pt x="3026782" y="951693"/>
                    <a:pt x="3019463" y="951267"/>
                    <a:pt x="3019491" y="949546"/>
                  </a:cubicBezTo>
                  <a:cubicBezTo>
                    <a:pt x="3019519" y="947825"/>
                    <a:pt x="3027290" y="945542"/>
                    <a:pt x="3030708" y="942872"/>
                  </a:cubicBezTo>
                  <a:cubicBezTo>
                    <a:pt x="3034127" y="940202"/>
                    <a:pt x="3038867" y="932533"/>
                    <a:pt x="3040003" y="933525"/>
                  </a:cubicBezTo>
                  <a:close/>
                  <a:moveTo>
                    <a:pt x="10081433" y="916889"/>
                  </a:moveTo>
                  <a:cubicBezTo>
                    <a:pt x="10117890" y="917227"/>
                    <a:pt x="10136119" y="930234"/>
                    <a:pt x="10136119" y="955910"/>
                  </a:cubicBezTo>
                  <a:lnTo>
                    <a:pt x="10136119" y="992271"/>
                  </a:lnTo>
                  <a:cubicBezTo>
                    <a:pt x="10136119" y="1009333"/>
                    <a:pt x="10144100" y="1018286"/>
                    <a:pt x="10160063" y="1019131"/>
                  </a:cubicBezTo>
                  <a:lnTo>
                    <a:pt x="10160063" y="1037627"/>
                  </a:lnTo>
                  <a:cubicBezTo>
                    <a:pt x="10144100" y="1038472"/>
                    <a:pt x="10136119" y="1047256"/>
                    <a:pt x="10136119" y="1063980"/>
                  </a:cubicBezTo>
                  <a:lnTo>
                    <a:pt x="10136119" y="1101355"/>
                  </a:lnTo>
                  <a:cubicBezTo>
                    <a:pt x="10136119" y="1126693"/>
                    <a:pt x="10117890" y="1139531"/>
                    <a:pt x="10081433" y="1139869"/>
                  </a:cubicBezTo>
                  <a:lnTo>
                    <a:pt x="10081433" y="1120358"/>
                  </a:lnTo>
                  <a:cubicBezTo>
                    <a:pt x="10090393" y="1120189"/>
                    <a:pt x="10096752" y="1118162"/>
                    <a:pt x="10100511" y="1114277"/>
                  </a:cubicBezTo>
                  <a:cubicBezTo>
                    <a:pt x="10104270" y="1110392"/>
                    <a:pt x="10106150" y="1103973"/>
                    <a:pt x="10106150" y="1095020"/>
                  </a:cubicBezTo>
                  <a:lnTo>
                    <a:pt x="10106150" y="1059672"/>
                  </a:lnTo>
                  <a:cubicBezTo>
                    <a:pt x="10106150" y="1042527"/>
                    <a:pt x="10116294" y="1032095"/>
                    <a:pt x="10136582" y="1028379"/>
                  </a:cubicBezTo>
                  <a:lnTo>
                    <a:pt x="10136582" y="1027999"/>
                  </a:lnTo>
                  <a:cubicBezTo>
                    <a:pt x="10116294" y="1024029"/>
                    <a:pt x="10106150" y="1013514"/>
                    <a:pt x="10106150" y="996452"/>
                  </a:cubicBezTo>
                  <a:lnTo>
                    <a:pt x="10106150" y="960725"/>
                  </a:lnTo>
                  <a:cubicBezTo>
                    <a:pt x="10106150" y="944930"/>
                    <a:pt x="10097911" y="936864"/>
                    <a:pt x="10081433" y="936527"/>
                  </a:cubicBezTo>
                  <a:close/>
                  <a:moveTo>
                    <a:pt x="10060114" y="916889"/>
                  </a:moveTo>
                  <a:lnTo>
                    <a:pt x="10060114" y="936527"/>
                  </a:lnTo>
                  <a:cubicBezTo>
                    <a:pt x="10043740" y="936864"/>
                    <a:pt x="10035552" y="944930"/>
                    <a:pt x="10035552" y="960725"/>
                  </a:cubicBezTo>
                  <a:lnTo>
                    <a:pt x="10035552" y="996452"/>
                  </a:lnTo>
                  <a:cubicBezTo>
                    <a:pt x="10035552" y="1013514"/>
                    <a:pt x="10025305" y="1024029"/>
                    <a:pt x="10004811" y="1027999"/>
                  </a:cubicBezTo>
                  <a:lnTo>
                    <a:pt x="10004811" y="1028379"/>
                  </a:lnTo>
                  <a:cubicBezTo>
                    <a:pt x="10025305" y="1032095"/>
                    <a:pt x="10035552" y="1042527"/>
                    <a:pt x="10035552" y="1059672"/>
                  </a:cubicBezTo>
                  <a:lnTo>
                    <a:pt x="10035552" y="1095020"/>
                  </a:lnTo>
                  <a:cubicBezTo>
                    <a:pt x="10035552" y="1104057"/>
                    <a:pt x="10037380" y="1110497"/>
                    <a:pt x="10041036" y="1114340"/>
                  </a:cubicBezTo>
                  <a:cubicBezTo>
                    <a:pt x="10044692" y="1118183"/>
                    <a:pt x="10051052" y="1120189"/>
                    <a:pt x="10060114" y="1120358"/>
                  </a:cubicBezTo>
                  <a:lnTo>
                    <a:pt x="10060114" y="1139869"/>
                  </a:lnTo>
                  <a:cubicBezTo>
                    <a:pt x="10023451" y="1139531"/>
                    <a:pt x="10005120" y="1126693"/>
                    <a:pt x="10005120" y="1101355"/>
                  </a:cubicBezTo>
                  <a:lnTo>
                    <a:pt x="10005120" y="1063980"/>
                  </a:lnTo>
                  <a:cubicBezTo>
                    <a:pt x="10005120" y="1047256"/>
                    <a:pt x="9997087" y="1038472"/>
                    <a:pt x="9981021" y="1037627"/>
                  </a:cubicBezTo>
                  <a:lnTo>
                    <a:pt x="9981021" y="1019131"/>
                  </a:lnTo>
                  <a:cubicBezTo>
                    <a:pt x="9997087" y="1018286"/>
                    <a:pt x="10005120" y="1009333"/>
                    <a:pt x="10005120" y="992271"/>
                  </a:cubicBezTo>
                  <a:lnTo>
                    <a:pt x="10005120" y="955910"/>
                  </a:lnTo>
                  <a:cubicBezTo>
                    <a:pt x="10005120" y="930234"/>
                    <a:pt x="10023451" y="917227"/>
                    <a:pt x="10060114" y="916889"/>
                  </a:cubicBezTo>
                  <a:close/>
                  <a:moveTo>
                    <a:pt x="4018207" y="916889"/>
                  </a:moveTo>
                  <a:cubicBezTo>
                    <a:pt x="4054665" y="917227"/>
                    <a:pt x="4072893" y="930234"/>
                    <a:pt x="4072893" y="955910"/>
                  </a:cubicBezTo>
                  <a:lnTo>
                    <a:pt x="4072893" y="992271"/>
                  </a:lnTo>
                  <a:cubicBezTo>
                    <a:pt x="4072893" y="1009333"/>
                    <a:pt x="4080874" y="1018286"/>
                    <a:pt x="4096837" y="1019131"/>
                  </a:cubicBezTo>
                  <a:lnTo>
                    <a:pt x="4096837" y="1037627"/>
                  </a:lnTo>
                  <a:cubicBezTo>
                    <a:pt x="4080874" y="1038472"/>
                    <a:pt x="4072893" y="1047256"/>
                    <a:pt x="4072893" y="1063980"/>
                  </a:cubicBezTo>
                  <a:lnTo>
                    <a:pt x="4072893" y="1101355"/>
                  </a:lnTo>
                  <a:cubicBezTo>
                    <a:pt x="4072893" y="1126693"/>
                    <a:pt x="4054665" y="1139531"/>
                    <a:pt x="4018207" y="1139869"/>
                  </a:cubicBezTo>
                  <a:lnTo>
                    <a:pt x="4018207" y="1120358"/>
                  </a:lnTo>
                  <a:cubicBezTo>
                    <a:pt x="4027167" y="1120189"/>
                    <a:pt x="4033526" y="1118162"/>
                    <a:pt x="4037285" y="1114277"/>
                  </a:cubicBezTo>
                  <a:cubicBezTo>
                    <a:pt x="4041044" y="1110392"/>
                    <a:pt x="4042924" y="1103973"/>
                    <a:pt x="4042924" y="1095020"/>
                  </a:cubicBezTo>
                  <a:lnTo>
                    <a:pt x="4042924" y="1059672"/>
                  </a:lnTo>
                  <a:cubicBezTo>
                    <a:pt x="4042924" y="1042527"/>
                    <a:pt x="4053068" y="1032095"/>
                    <a:pt x="4073356" y="1028379"/>
                  </a:cubicBezTo>
                  <a:lnTo>
                    <a:pt x="4073356" y="1027999"/>
                  </a:lnTo>
                  <a:cubicBezTo>
                    <a:pt x="4053068" y="1024029"/>
                    <a:pt x="4042924" y="1013514"/>
                    <a:pt x="4042924" y="996452"/>
                  </a:cubicBezTo>
                  <a:lnTo>
                    <a:pt x="4042924" y="960725"/>
                  </a:lnTo>
                  <a:cubicBezTo>
                    <a:pt x="4042924" y="944930"/>
                    <a:pt x="4034686" y="936864"/>
                    <a:pt x="4018207" y="936527"/>
                  </a:cubicBezTo>
                  <a:close/>
                  <a:moveTo>
                    <a:pt x="3996889" y="916889"/>
                  </a:moveTo>
                  <a:lnTo>
                    <a:pt x="3996889" y="936527"/>
                  </a:lnTo>
                  <a:cubicBezTo>
                    <a:pt x="3980514" y="936864"/>
                    <a:pt x="3972327" y="944930"/>
                    <a:pt x="3972327" y="960725"/>
                  </a:cubicBezTo>
                  <a:lnTo>
                    <a:pt x="3972327" y="996452"/>
                  </a:lnTo>
                  <a:cubicBezTo>
                    <a:pt x="3972327" y="1013514"/>
                    <a:pt x="3962079" y="1024029"/>
                    <a:pt x="3941585" y="1027999"/>
                  </a:cubicBezTo>
                  <a:lnTo>
                    <a:pt x="3941585" y="1028379"/>
                  </a:lnTo>
                  <a:cubicBezTo>
                    <a:pt x="3962079" y="1032095"/>
                    <a:pt x="3972327" y="1042527"/>
                    <a:pt x="3972327" y="1059672"/>
                  </a:cubicBezTo>
                  <a:lnTo>
                    <a:pt x="3972327" y="1095020"/>
                  </a:lnTo>
                  <a:cubicBezTo>
                    <a:pt x="3972327" y="1104057"/>
                    <a:pt x="3974154" y="1110497"/>
                    <a:pt x="3977811" y="1114340"/>
                  </a:cubicBezTo>
                  <a:cubicBezTo>
                    <a:pt x="3981466" y="1118183"/>
                    <a:pt x="3987826" y="1120189"/>
                    <a:pt x="3996889" y="1120358"/>
                  </a:cubicBezTo>
                  <a:lnTo>
                    <a:pt x="3996889" y="1139869"/>
                  </a:lnTo>
                  <a:cubicBezTo>
                    <a:pt x="3960225" y="1139531"/>
                    <a:pt x="3941894" y="1126693"/>
                    <a:pt x="3941894" y="1101355"/>
                  </a:cubicBezTo>
                  <a:lnTo>
                    <a:pt x="3941894" y="1063980"/>
                  </a:lnTo>
                  <a:cubicBezTo>
                    <a:pt x="3941894" y="1047256"/>
                    <a:pt x="3933861" y="1038472"/>
                    <a:pt x="3917795" y="1037627"/>
                  </a:cubicBezTo>
                  <a:lnTo>
                    <a:pt x="3917795" y="1019131"/>
                  </a:lnTo>
                  <a:cubicBezTo>
                    <a:pt x="3933861" y="1018286"/>
                    <a:pt x="3941894" y="1009333"/>
                    <a:pt x="3941894" y="992271"/>
                  </a:cubicBezTo>
                  <a:lnTo>
                    <a:pt x="3941894" y="955910"/>
                  </a:lnTo>
                  <a:cubicBezTo>
                    <a:pt x="3941894" y="930234"/>
                    <a:pt x="3960225" y="917227"/>
                    <a:pt x="3996889" y="916889"/>
                  </a:cubicBezTo>
                  <a:close/>
                  <a:moveTo>
                    <a:pt x="8996098" y="914392"/>
                  </a:moveTo>
                  <a:cubicBezTo>
                    <a:pt x="8998051" y="914467"/>
                    <a:pt x="9000021" y="914636"/>
                    <a:pt x="9002002" y="914909"/>
                  </a:cubicBezTo>
                  <a:cubicBezTo>
                    <a:pt x="9017845" y="917097"/>
                    <a:pt x="9038227" y="933711"/>
                    <a:pt x="9045278" y="944327"/>
                  </a:cubicBezTo>
                  <a:cubicBezTo>
                    <a:pt x="9054760" y="946921"/>
                    <a:pt x="9060797" y="960657"/>
                    <a:pt x="9063269" y="965479"/>
                  </a:cubicBezTo>
                  <a:cubicBezTo>
                    <a:pt x="9065741" y="970301"/>
                    <a:pt x="9062864" y="973057"/>
                    <a:pt x="9060108" y="973259"/>
                  </a:cubicBezTo>
                  <a:cubicBezTo>
                    <a:pt x="9060068" y="973847"/>
                    <a:pt x="9068608" y="980675"/>
                    <a:pt x="9073222" y="983364"/>
                  </a:cubicBezTo>
                  <a:cubicBezTo>
                    <a:pt x="9076793" y="967840"/>
                    <a:pt x="9071611" y="957421"/>
                    <a:pt x="9071535" y="946030"/>
                  </a:cubicBezTo>
                  <a:cubicBezTo>
                    <a:pt x="9076965" y="936548"/>
                    <a:pt x="9081422" y="939951"/>
                    <a:pt x="9086852" y="936305"/>
                  </a:cubicBezTo>
                  <a:cubicBezTo>
                    <a:pt x="9090094" y="932577"/>
                    <a:pt x="9093092" y="924716"/>
                    <a:pt x="9098765" y="925121"/>
                  </a:cubicBezTo>
                  <a:cubicBezTo>
                    <a:pt x="9108652" y="925526"/>
                    <a:pt x="9121214" y="943923"/>
                    <a:pt x="9121619" y="987604"/>
                  </a:cubicBezTo>
                  <a:cubicBezTo>
                    <a:pt x="9121862" y="1022289"/>
                    <a:pt x="9108004" y="1045548"/>
                    <a:pt x="9083935" y="1055922"/>
                  </a:cubicBezTo>
                  <a:cubicBezTo>
                    <a:pt x="9071626" y="1059204"/>
                    <a:pt x="9061062" y="1058999"/>
                    <a:pt x="9051908" y="1056640"/>
                  </a:cubicBezTo>
                  <a:lnTo>
                    <a:pt x="9047901" y="1055245"/>
                  </a:lnTo>
                  <a:lnTo>
                    <a:pt x="9047421" y="1057521"/>
                  </a:lnTo>
                  <a:cubicBezTo>
                    <a:pt x="9042536" y="1076261"/>
                    <a:pt x="9028801" y="1077702"/>
                    <a:pt x="9022667" y="1077560"/>
                  </a:cubicBezTo>
                  <a:cubicBezTo>
                    <a:pt x="9015657" y="1077398"/>
                    <a:pt x="9005284" y="1070914"/>
                    <a:pt x="9001029" y="1067835"/>
                  </a:cubicBezTo>
                  <a:cubicBezTo>
                    <a:pt x="9000907" y="1072535"/>
                    <a:pt x="9002001" y="1074197"/>
                    <a:pt x="9000056" y="1080477"/>
                  </a:cubicBezTo>
                  <a:cubicBezTo>
                    <a:pt x="9005162" y="1083841"/>
                    <a:pt x="9008241" y="1095835"/>
                    <a:pt x="9009781" y="1101143"/>
                  </a:cubicBezTo>
                  <a:cubicBezTo>
                    <a:pt x="9011321" y="1106451"/>
                    <a:pt x="9009417" y="1107667"/>
                    <a:pt x="9009295" y="1112327"/>
                  </a:cubicBezTo>
                  <a:cubicBezTo>
                    <a:pt x="9009174" y="1116986"/>
                    <a:pt x="9014036" y="1120714"/>
                    <a:pt x="9011483" y="1126185"/>
                  </a:cubicBezTo>
                  <a:cubicBezTo>
                    <a:pt x="9008930" y="1131655"/>
                    <a:pt x="9002285" y="1131939"/>
                    <a:pt x="8995437" y="1132020"/>
                  </a:cubicBezTo>
                  <a:cubicBezTo>
                    <a:pt x="8988589" y="1132101"/>
                    <a:pt x="8973272" y="1136801"/>
                    <a:pt x="8970395" y="1126671"/>
                  </a:cubicBezTo>
                  <a:cubicBezTo>
                    <a:pt x="8970035" y="1125405"/>
                    <a:pt x="8969783" y="1123896"/>
                    <a:pt x="8969631" y="1122187"/>
                  </a:cubicBezTo>
                  <a:cubicBezTo>
                    <a:pt x="8969617" y="1121735"/>
                    <a:pt x="8969604" y="1121284"/>
                    <a:pt x="8969591" y="1120833"/>
                  </a:cubicBezTo>
                  <a:lnTo>
                    <a:pt x="8965826" y="1124401"/>
                  </a:lnTo>
                  <a:cubicBezTo>
                    <a:pt x="8957220" y="1132502"/>
                    <a:pt x="8949461" y="1139131"/>
                    <a:pt x="8942193" y="1138827"/>
                  </a:cubicBezTo>
                  <a:cubicBezTo>
                    <a:pt x="8930077" y="1136396"/>
                    <a:pt x="8920717" y="1117108"/>
                    <a:pt x="8918610" y="1110382"/>
                  </a:cubicBezTo>
                  <a:cubicBezTo>
                    <a:pt x="8916502" y="1103655"/>
                    <a:pt x="8923350" y="1102399"/>
                    <a:pt x="8929550" y="1098468"/>
                  </a:cubicBezTo>
                  <a:cubicBezTo>
                    <a:pt x="8923350" y="1102075"/>
                    <a:pt x="8906575" y="1099117"/>
                    <a:pt x="8904508" y="1096037"/>
                  </a:cubicBezTo>
                  <a:cubicBezTo>
                    <a:pt x="8905116" y="1102439"/>
                    <a:pt x="8904751" y="1103371"/>
                    <a:pt x="8903536" y="1106978"/>
                  </a:cubicBezTo>
                  <a:cubicBezTo>
                    <a:pt x="8902320" y="1110584"/>
                    <a:pt x="8899119" y="1112691"/>
                    <a:pt x="8897214" y="1117675"/>
                  </a:cubicBezTo>
                  <a:cubicBezTo>
                    <a:pt x="8895310" y="1122659"/>
                    <a:pt x="8899686" y="1135099"/>
                    <a:pt x="8892109" y="1136882"/>
                  </a:cubicBezTo>
                  <a:cubicBezTo>
                    <a:pt x="8884531" y="1138665"/>
                    <a:pt x="8860989" y="1137976"/>
                    <a:pt x="8851750" y="1128373"/>
                  </a:cubicBezTo>
                  <a:cubicBezTo>
                    <a:pt x="8847860" y="1123632"/>
                    <a:pt x="8854181" y="1116298"/>
                    <a:pt x="8852723" y="1114272"/>
                  </a:cubicBezTo>
                  <a:cubicBezTo>
                    <a:pt x="8851264" y="1112245"/>
                    <a:pt x="8848833" y="1120228"/>
                    <a:pt x="8842998" y="1116217"/>
                  </a:cubicBezTo>
                  <a:cubicBezTo>
                    <a:pt x="8837163" y="1112205"/>
                    <a:pt x="8819374" y="1098995"/>
                    <a:pt x="8817713" y="1090202"/>
                  </a:cubicBezTo>
                  <a:cubicBezTo>
                    <a:pt x="8816051" y="1081409"/>
                    <a:pt x="8826182" y="1072170"/>
                    <a:pt x="8833030" y="1063458"/>
                  </a:cubicBezTo>
                  <a:cubicBezTo>
                    <a:pt x="8831368" y="1054017"/>
                    <a:pt x="8830679" y="1047696"/>
                    <a:pt x="8834488" y="1036715"/>
                  </a:cubicBezTo>
                  <a:cubicBezTo>
                    <a:pt x="8829383" y="1033595"/>
                    <a:pt x="8818280" y="1029178"/>
                    <a:pt x="8818928" y="1014591"/>
                  </a:cubicBezTo>
                  <a:lnTo>
                    <a:pt x="8820701" y="1001181"/>
                  </a:lnTo>
                  <a:lnTo>
                    <a:pt x="8821163" y="1009961"/>
                  </a:lnTo>
                  <a:lnTo>
                    <a:pt x="8821992" y="1010359"/>
                  </a:lnTo>
                  <a:lnTo>
                    <a:pt x="8822115" y="1011541"/>
                  </a:lnTo>
                  <a:cubicBezTo>
                    <a:pt x="8823146" y="1019977"/>
                    <a:pt x="8825908" y="1029322"/>
                    <a:pt x="8841803" y="1025483"/>
                  </a:cubicBezTo>
                  <a:cubicBezTo>
                    <a:pt x="8834966" y="1061759"/>
                    <a:pt x="8850407" y="1079746"/>
                    <a:pt x="8860149" y="1096591"/>
                  </a:cubicBezTo>
                  <a:lnTo>
                    <a:pt x="8861117" y="1098453"/>
                  </a:lnTo>
                  <a:lnTo>
                    <a:pt x="8861083" y="1099327"/>
                  </a:lnTo>
                  <a:cubicBezTo>
                    <a:pt x="8860790" y="1104469"/>
                    <a:pt x="8860055" y="1108033"/>
                    <a:pt x="8859673" y="1112860"/>
                  </a:cubicBezTo>
                  <a:cubicBezTo>
                    <a:pt x="8858566" y="1116662"/>
                    <a:pt x="8855842" y="1116242"/>
                    <a:pt x="8856351" y="1124265"/>
                  </a:cubicBezTo>
                  <a:cubicBezTo>
                    <a:pt x="8856680" y="1129264"/>
                    <a:pt x="8886015" y="1137316"/>
                    <a:pt x="8890745" y="1130910"/>
                  </a:cubicBezTo>
                  <a:cubicBezTo>
                    <a:pt x="8892122" y="1128695"/>
                    <a:pt x="8891523" y="1123606"/>
                    <a:pt x="8891912" y="1119954"/>
                  </a:cubicBezTo>
                  <a:cubicBezTo>
                    <a:pt x="8892511" y="1115883"/>
                    <a:pt x="8897779" y="1111453"/>
                    <a:pt x="8898557" y="1105676"/>
                  </a:cubicBezTo>
                  <a:cubicBezTo>
                    <a:pt x="8899066" y="1101081"/>
                    <a:pt x="8899014" y="1095880"/>
                    <a:pt x="8898838" y="1090466"/>
                  </a:cubicBezTo>
                  <a:lnTo>
                    <a:pt x="8898628" y="1084748"/>
                  </a:lnTo>
                  <a:lnTo>
                    <a:pt x="8900228" y="1086610"/>
                  </a:lnTo>
                  <a:cubicBezTo>
                    <a:pt x="8910570" y="1097158"/>
                    <a:pt x="8932506" y="1100711"/>
                    <a:pt x="8939866" y="1084393"/>
                  </a:cubicBezTo>
                  <a:cubicBezTo>
                    <a:pt x="8939956" y="1089631"/>
                    <a:pt x="8941662" y="1091637"/>
                    <a:pt x="8940764" y="1098222"/>
                  </a:cubicBezTo>
                  <a:cubicBezTo>
                    <a:pt x="8938190" y="1102383"/>
                    <a:pt x="8926725" y="1103311"/>
                    <a:pt x="8923612" y="1110974"/>
                  </a:cubicBezTo>
                  <a:cubicBezTo>
                    <a:pt x="8922684" y="1114177"/>
                    <a:pt x="8934867" y="1133365"/>
                    <a:pt x="8942650" y="1134053"/>
                  </a:cubicBezTo>
                  <a:cubicBezTo>
                    <a:pt x="8948308" y="1134712"/>
                    <a:pt x="8958814" y="1123606"/>
                    <a:pt x="8977942" y="1106125"/>
                  </a:cubicBezTo>
                  <a:cubicBezTo>
                    <a:pt x="8980903" y="1103419"/>
                    <a:pt x="8992101" y="1082178"/>
                    <a:pt x="8997160" y="1064008"/>
                  </a:cubicBezTo>
                  <a:cubicBezTo>
                    <a:pt x="8992003" y="1061418"/>
                    <a:pt x="8984530" y="1055249"/>
                    <a:pt x="8980182" y="1045621"/>
                  </a:cubicBezTo>
                  <a:lnTo>
                    <a:pt x="8979987" y="1045109"/>
                  </a:lnTo>
                  <a:lnTo>
                    <a:pt x="8982623" y="1046769"/>
                  </a:lnTo>
                  <a:cubicBezTo>
                    <a:pt x="8989257" y="1051189"/>
                    <a:pt x="8995992" y="1056038"/>
                    <a:pt x="9001919" y="1057452"/>
                  </a:cubicBezTo>
                  <a:cubicBezTo>
                    <a:pt x="9006290" y="1062481"/>
                    <a:pt x="9011378" y="1070474"/>
                    <a:pt x="9023382" y="1072000"/>
                  </a:cubicBezTo>
                  <a:cubicBezTo>
                    <a:pt x="9033619" y="1073736"/>
                    <a:pt x="9040893" y="1064068"/>
                    <a:pt x="9044485" y="1053501"/>
                  </a:cubicBezTo>
                  <a:lnTo>
                    <a:pt x="9041163" y="1053232"/>
                  </a:lnTo>
                  <a:cubicBezTo>
                    <a:pt x="9025896" y="1078825"/>
                    <a:pt x="9009762" y="1055484"/>
                    <a:pt x="9013182" y="1030934"/>
                  </a:cubicBezTo>
                  <a:lnTo>
                    <a:pt x="9014112" y="1026126"/>
                  </a:lnTo>
                  <a:lnTo>
                    <a:pt x="9015876" y="1028048"/>
                  </a:lnTo>
                  <a:cubicBezTo>
                    <a:pt x="9046354" y="1059108"/>
                    <a:pt x="9073003" y="1054567"/>
                    <a:pt x="9088129" y="1046317"/>
                  </a:cubicBezTo>
                  <a:cubicBezTo>
                    <a:pt x="9129558" y="1020783"/>
                    <a:pt x="9117419" y="932662"/>
                    <a:pt x="9100073" y="928407"/>
                  </a:cubicBezTo>
                  <a:cubicBezTo>
                    <a:pt x="9096106" y="927434"/>
                    <a:pt x="9093338" y="937657"/>
                    <a:pt x="9090733" y="939184"/>
                  </a:cubicBezTo>
                  <a:cubicBezTo>
                    <a:pt x="9082741" y="943404"/>
                    <a:pt x="9079239" y="942776"/>
                    <a:pt x="9077083" y="946098"/>
                  </a:cubicBezTo>
                  <a:cubicBezTo>
                    <a:pt x="9072818" y="952328"/>
                    <a:pt x="9088521" y="988393"/>
                    <a:pt x="9068549" y="1007305"/>
                  </a:cubicBezTo>
                  <a:lnTo>
                    <a:pt x="9067058" y="1008481"/>
                  </a:lnTo>
                  <a:lnTo>
                    <a:pt x="9067372" y="1007876"/>
                  </a:lnTo>
                  <a:cubicBezTo>
                    <a:pt x="9071156" y="1000563"/>
                    <a:pt x="9075130" y="992189"/>
                    <a:pt x="9070618" y="988664"/>
                  </a:cubicBezTo>
                  <a:cubicBezTo>
                    <a:pt x="9065319" y="984444"/>
                    <a:pt x="9061997" y="987676"/>
                    <a:pt x="9057956" y="991089"/>
                  </a:cubicBezTo>
                  <a:cubicBezTo>
                    <a:pt x="9060560" y="988125"/>
                    <a:pt x="9063703" y="987587"/>
                    <a:pt x="9059303" y="980582"/>
                  </a:cubicBezTo>
                  <a:cubicBezTo>
                    <a:pt x="9055800" y="978217"/>
                    <a:pt x="9053914" y="978816"/>
                    <a:pt x="9047449" y="980492"/>
                  </a:cubicBezTo>
                  <a:cubicBezTo>
                    <a:pt x="9051550" y="977439"/>
                    <a:pt x="9052867" y="978606"/>
                    <a:pt x="9050861" y="972680"/>
                  </a:cubicBezTo>
                  <a:cubicBezTo>
                    <a:pt x="9048122" y="968998"/>
                    <a:pt x="9046747" y="969306"/>
                    <a:pt x="9044008" y="969514"/>
                  </a:cubicBezTo>
                  <a:lnTo>
                    <a:pt x="9042109" y="969527"/>
                  </a:lnTo>
                  <a:lnTo>
                    <a:pt x="9043671" y="968966"/>
                  </a:lnTo>
                  <a:cubicBezTo>
                    <a:pt x="9044546" y="968672"/>
                    <a:pt x="9045338" y="968433"/>
                    <a:pt x="9046012" y="968279"/>
                  </a:cubicBezTo>
                  <a:cubicBezTo>
                    <a:pt x="9051400" y="967052"/>
                    <a:pt x="9057297" y="968743"/>
                    <a:pt x="9057327" y="965675"/>
                  </a:cubicBezTo>
                  <a:cubicBezTo>
                    <a:pt x="9057986" y="962322"/>
                    <a:pt x="9049574" y="951875"/>
                    <a:pt x="9045832" y="951037"/>
                  </a:cubicBezTo>
                  <a:cubicBezTo>
                    <a:pt x="9043834" y="950409"/>
                    <a:pt x="9038603" y="949881"/>
                    <a:pt x="9033852" y="949568"/>
                  </a:cubicBezTo>
                  <a:lnTo>
                    <a:pt x="9032746" y="949509"/>
                  </a:lnTo>
                  <a:lnTo>
                    <a:pt x="9032755" y="949486"/>
                  </a:lnTo>
                  <a:cubicBezTo>
                    <a:pt x="9033883" y="947928"/>
                    <a:pt x="9037638" y="947356"/>
                    <a:pt x="9040534" y="947086"/>
                  </a:cubicBezTo>
                  <a:cubicBezTo>
                    <a:pt x="9028381" y="931042"/>
                    <a:pt x="9012007" y="920744"/>
                    <a:pt x="8997878" y="920954"/>
                  </a:cubicBezTo>
                  <a:cubicBezTo>
                    <a:pt x="8980846" y="921463"/>
                    <a:pt x="8959503" y="925833"/>
                    <a:pt x="8947410" y="944572"/>
                  </a:cubicBezTo>
                  <a:cubicBezTo>
                    <a:pt x="8953591" y="944504"/>
                    <a:pt x="8958189" y="944532"/>
                    <a:pt x="8961642" y="944899"/>
                  </a:cubicBezTo>
                  <a:lnTo>
                    <a:pt x="8962219" y="944982"/>
                  </a:lnTo>
                  <a:lnTo>
                    <a:pt x="8959809" y="945637"/>
                  </a:lnTo>
                  <a:cubicBezTo>
                    <a:pt x="8947003" y="948718"/>
                    <a:pt x="8938081" y="948258"/>
                    <a:pt x="8935210" y="950754"/>
                  </a:cubicBezTo>
                  <a:cubicBezTo>
                    <a:pt x="8929207" y="954954"/>
                    <a:pt x="8890337" y="990764"/>
                    <a:pt x="8888734" y="1011039"/>
                  </a:cubicBezTo>
                  <a:cubicBezTo>
                    <a:pt x="8892851" y="1021801"/>
                    <a:pt x="8893625" y="1014196"/>
                    <a:pt x="8902716" y="1033151"/>
                  </a:cubicBezTo>
                  <a:lnTo>
                    <a:pt x="8917222" y="1016613"/>
                  </a:lnTo>
                  <a:lnTo>
                    <a:pt x="8900250" y="1051719"/>
                  </a:lnTo>
                  <a:cubicBezTo>
                    <a:pt x="8904482" y="1057899"/>
                    <a:pt x="8907367" y="1061206"/>
                    <a:pt x="8916179" y="1061100"/>
                  </a:cubicBezTo>
                  <a:cubicBezTo>
                    <a:pt x="8925590" y="1059852"/>
                    <a:pt x="8934282" y="1052138"/>
                    <a:pt x="8943334" y="1047657"/>
                  </a:cubicBezTo>
                  <a:cubicBezTo>
                    <a:pt x="8952280" y="1043934"/>
                    <a:pt x="8954939" y="1046496"/>
                    <a:pt x="8960742" y="1045916"/>
                  </a:cubicBezTo>
                  <a:cubicBezTo>
                    <a:pt x="8972969" y="1012752"/>
                    <a:pt x="8953765" y="1012904"/>
                    <a:pt x="8966979" y="976866"/>
                  </a:cubicBezTo>
                  <a:cubicBezTo>
                    <a:pt x="8962282" y="1005975"/>
                    <a:pt x="8980933" y="1005989"/>
                    <a:pt x="8967705" y="1054765"/>
                  </a:cubicBezTo>
                  <a:lnTo>
                    <a:pt x="8965597" y="1054420"/>
                  </a:lnTo>
                  <a:lnTo>
                    <a:pt x="8962928" y="1053737"/>
                  </a:lnTo>
                  <a:lnTo>
                    <a:pt x="8960194" y="1053311"/>
                  </a:lnTo>
                  <a:lnTo>
                    <a:pt x="8959428" y="1053133"/>
                  </a:lnTo>
                  <a:cubicBezTo>
                    <a:pt x="8957359" y="1052725"/>
                    <a:pt x="8955183" y="1052507"/>
                    <a:pt x="8952657" y="1052904"/>
                  </a:cubicBezTo>
                  <a:lnTo>
                    <a:pt x="8951671" y="1053134"/>
                  </a:lnTo>
                  <a:lnTo>
                    <a:pt x="8951076" y="1053185"/>
                  </a:lnTo>
                  <a:cubicBezTo>
                    <a:pt x="8937874" y="1055241"/>
                    <a:pt x="8933019" y="1066881"/>
                    <a:pt x="8911848" y="1069127"/>
                  </a:cubicBezTo>
                  <a:cubicBezTo>
                    <a:pt x="8905536" y="1067896"/>
                    <a:pt x="8895442" y="1058620"/>
                    <a:pt x="8889508" y="1051408"/>
                  </a:cubicBezTo>
                  <a:lnTo>
                    <a:pt x="8889050" y="1050814"/>
                  </a:lnTo>
                  <a:lnTo>
                    <a:pt x="8890772" y="1047937"/>
                  </a:lnTo>
                  <a:cubicBezTo>
                    <a:pt x="8892612" y="1045071"/>
                    <a:pt x="8894625" y="1042141"/>
                    <a:pt x="8896851" y="1039133"/>
                  </a:cubicBezTo>
                  <a:cubicBezTo>
                    <a:pt x="8892960" y="1028686"/>
                    <a:pt x="8882692" y="1025064"/>
                    <a:pt x="8879789" y="1012102"/>
                  </a:cubicBezTo>
                  <a:cubicBezTo>
                    <a:pt x="8884488" y="998692"/>
                    <a:pt x="8886404" y="989951"/>
                    <a:pt x="8910052" y="965944"/>
                  </a:cubicBezTo>
                  <a:cubicBezTo>
                    <a:pt x="8847191" y="974954"/>
                    <a:pt x="8847377" y="1025561"/>
                    <a:pt x="8829997" y="1013326"/>
                  </a:cubicBezTo>
                  <a:lnTo>
                    <a:pt x="8826372" y="1010063"/>
                  </a:lnTo>
                  <a:lnTo>
                    <a:pt x="8827432" y="1009468"/>
                  </a:lnTo>
                  <a:cubicBezTo>
                    <a:pt x="8833838" y="1005153"/>
                    <a:pt x="8826252" y="998939"/>
                    <a:pt x="8831386" y="989562"/>
                  </a:cubicBezTo>
                  <a:lnTo>
                    <a:pt x="8820903" y="999655"/>
                  </a:lnTo>
                  <a:lnTo>
                    <a:pt x="8821815" y="992755"/>
                  </a:lnTo>
                  <a:cubicBezTo>
                    <a:pt x="8826911" y="987685"/>
                    <a:pt x="8833799" y="984828"/>
                    <a:pt x="8835461" y="984200"/>
                  </a:cubicBezTo>
                  <a:cubicBezTo>
                    <a:pt x="8832340" y="993722"/>
                    <a:pt x="8839148" y="1000368"/>
                    <a:pt x="8835461" y="1008026"/>
                  </a:cubicBezTo>
                  <a:cubicBezTo>
                    <a:pt x="8870917" y="962927"/>
                    <a:pt x="8895391" y="960050"/>
                    <a:pt x="8911802" y="959644"/>
                  </a:cubicBezTo>
                  <a:cubicBezTo>
                    <a:pt x="8924566" y="948299"/>
                    <a:pt x="8925660" y="945340"/>
                    <a:pt x="8934413" y="943112"/>
                  </a:cubicBezTo>
                  <a:lnTo>
                    <a:pt x="8940449" y="942479"/>
                  </a:lnTo>
                  <a:lnTo>
                    <a:pt x="8941148" y="940982"/>
                  </a:lnTo>
                  <a:cubicBezTo>
                    <a:pt x="8946520" y="930313"/>
                    <a:pt x="8951209" y="926985"/>
                    <a:pt x="8960427" y="922446"/>
                  </a:cubicBezTo>
                  <a:cubicBezTo>
                    <a:pt x="8969646" y="917908"/>
                    <a:pt x="8982432" y="913866"/>
                    <a:pt x="8996098" y="914392"/>
                  </a:cubicBezTo>
                  <a:close/>
                  <a:moveTo>
                    <a:pt x="2935363" y="914392"/>
                  </a:moveTo>
                  <a:cubicBezTo>
                    <a:pt x="2937314" y="914467"/>
                    <a:pt x="2939284" y="914636"/>
                    <a:pt x="2941265" y="914909"/>
                  </a:cubicBezTo>
                  <a:cubicBezTo>
                    <a:pt x="2957109" y="917097"/>
                    <a:pt x="2977491" y="933711"/>
                    <a:pt x="2984542" y="944327"/>
                  </a:cubicBezTo>
                  <a:cubicBezTo>
                    <a:pt x="2994024" y="946921"/>
                    <a:pt x="3000060" y="960657"/>
                    <a:pt x="3002532" y="965479"/>
                  </a:cubicBezTo>
                  <a:cubicBezTo>
                    <a:pt x="3005004" y="970301"/>
                    <a:pt x="3002128" y="973057"/>
                    <a:pt x="2999373" y="973259"/>
                  </a:cubicBezTo>
                  <a:cubicBezTo>
                    <a:pt x="2999331" y="973847"/>
                    <a:pt x="3007872" y="980675"/>
                    <a:pt x="3012485" y="983364"/>
                  </a:cubicBezTo>
                  <a:cubicBezTo>
                    <a:pt x="3016056" y="967840"/>
                    <a:pt x="3010874" y="957421"/>
                    <a:pt x="3010799" y="946030"/>
                  </a:cubicBezTo>
                  <a:cubicBezTo>
                    <a:pt x="3016229" y="936548"/>
                    <a:pt x="3020687" y="939951"/>
                    <a:pt x="3026115" y="936305"/>
                  </a:cubicBezTo>
                  <a:cubicBezTo>
                    <a:pt x="3029357" y="932577"/>
                    <a:pt x="3032356" y="924716"/>
                    <a:pt x="3038029" y="925121"/>
                  </a:cubicBezTo>
                  <a:cubicBezTo>
                    <a:pt x="3047915" y="925526"/>
                    <a:pt x="3060477" y="943923"/>
                    <a:pt x="3060882" y="987604"/>
                  </a:cubicBezTo>
                  <a:cubicBezTo>
                    <a:pt x="3061126" y="1022289"/>
                    <a:pt x="3047267" y="1045548"/>
                    <a:pt x="3023198" y="1055922"/>
                  </a:cubicBezTo>
                  <a:cubicBezTo>
                    <a:pt x="3010890" y="1059204"/>
                    <a:pt x="3000326" y="1058999"/>
                    <a:pt x="2991171" y="1056640"/>
                  </a:cubicBezTo>
                  <a:lnTo>
                    <a:pt x="2987165" y="1055245"/>
                  </a:lnTo>
                  <a:lnTo>
                    <a:pt x="2986685" y="1057521"/>
                  </a:lnTo>
                  <a:cubicBezTo>
                    <a:pt x="2981800" y="1076261"/>
                    <a:pt x="2968064" y="1077702"/>
                    <a:pt x="2961930" y="1077560"/>
                  </a:cubicBezTo>
                  <a:cubicBezTo>
                    <a:pt x="2954920" y="1077398"/>
                    <a:pt x="2944547" y="1070914"/>
                    <a:pt x="2940292" y="1067835"/>
                  </a:cubicBezTo>
                  <a:cubicBezTo>
                    <a:pt x="2940170" y="1072535"/>
                    <a:pt x="2941265" y="1074197"/>
                    <a:pt x="2939319" y="1080477"/>
                  </a:cubicBezTo>
                  <a:cubicBezTo>
                    <a:pt x="2944425" y="1083841"/>
                    <a:pt x="2947505" y="1095835"/>
                    <a:pt x="2949045" y="1101143"/>
                  </a:cubicBezTo>
                  <a:cubicBezTo>
                    <a:pt x="2950584" y="1106451"/>
                    <a:pt x="2948681" y="1107667"/>
                    <a:pt x="2948558" y="1112327"/>
                  </a:cubicBezTo>
                  <a:cubicBezTo>
                    <a:pt x="2948437" y="1116986"/>
                    <a:pt x="2953299" y="1120714"/>
                    <a:pt x="2950746" y="1126185"/>
                  </a:cubicBezTo>
                  <a:cubicBezTo>
                    <a:pt x="2948193" y="1131655"/>
                    <a:pt x="2941548" y="1131939"/>
                    <a:pt x="2934701" y="1132020"/>
                  </a:cubicBezTo>
                  <a:cubicBezTo>
                    <a:pt x="2927853" y="1132101"/>
                    <a:pt x="2912536" y="1136801"/>
                    <a:pt x="2909658" y="1126671"/>
                  </a:cubicBezTo>
                  <a:cubicBezTo>
                    <a:pt x="2909299" y="1125405"/>
                    <a:pt x="2909047" y="1123896"/>
                    <a:pt x="2908894" y="1122187"/>
                  </a:cubicBezTo>
                  <a:cubicBezTo>
                    <a:pt x="2908881" y="1121735"/>
                    <a:pt x="2908868" y="1121284"/>
                    <a:pt x="2908854" y="1120833"/>
                  </a:cubicBezTo>
                  <a:lnTo>
                    <a:pt x="2905089" y="1124401"/>
                  </a:lnTo>
                  <a:cubicBezTo>
                    <a:pt x="2896483" y="1132502"/>
                    <a:pt x="2888724" y="1139131"/>
                    <a:pt x="2881456" y="1138827"/>
                  </a:cubicBezTo>
                  <a:cubicBezTo>
                    <a:pt x="2869340" y="1136396"/>
                    <a:pt x="2859980" y="1117108"/>
                    <a:pt x="2857873" y="1110382"/>
                  </a:cubicBezTo>
                  <a:cubicBezTo>
                    <a:pt x="2855766" y="1103655"/>
                    <a:pt x="2862614" y="1102399"/>
                    <a:pt x="2868814" y="1098468"/>
                  </a:cubicBezTo>
                  <a:cubicBezTo>
                    <a:pt x="2862614" y="1102075"/>
                    <a:pt x="2845839" y="1099117"/>
                    <a:pt x="2843771" y="1096037"/>
                  </a:cubicBezTo>
                  <a:cubicBezTo>
                    <a:pt x="2844379" y="1102439"/>
                    <a:pt x="2844016" y="1103371"/>
                    <a:pt x="2842800" y="1106978"/>
                  </a:cubicBezTo>
                  <a:cubicBezTo>
                    <a:pt x="2841583" y="1110584"/>
                    <a:pt x="2838382" y="1112691"/>
                    <a:pt x="2836479" y="1117675"/>
                  </a:cubicBezTo>
                  <a:cubicBezTo>
                    <a:pt x="2834574" y="1122659"/>
                    <a:pt x="2838950" y="1135099"/>
                    <a:pt x="2831372" y="1136882"/>
                  </a:cubicBezTo>
                  <a:cubicBezTo>
                    <a:pt x="2823796" y="1138665"/>
                    <a:pt x="2800252" y="1137976"/>
                    <a:pt x="2791015" y="1128373"/>
                  </a:cubicBezTo>
                  <a:cubicBezTo>
                    <a:pt x="2787123" y="1123632"/>
                    <a:pt x="2793446" y="1116298"/>
                    <a:pt x="2791986" y="1114272"/>
                  </a:cubicBezTo>
                  <a:cubicBezTo>
                    <a:pt x="2790527" y="1112245"/>
                    <a:pt x="2788097" y="1120228"/>
                    <a:pt x="2782262" y="1116217"/>
                  </a:cubicBezTo>
                  <a:cubicBezTo>
                    <a:pt x="2776427" y="1112205"/>
                    <a:pt x="2758637" y="1098995"/>
                    <a:pt x="2756976" y="1090202"/>
                  </a:cubicBezTo>
                  <a:cubicBezTo>
                    <a:pt x="2755314" y="1081409"/>
                    <a:pt x="2765445" y="1072170"/>
                    <a:pt x="2772294" y="1063458"/>
                  </a:cubicBezTo>
                  <a:cubicBezTo>
                    <a:pt x="2770633" y="1054017"/>
                    <a:pt x="2769942" y="1047696"/>
                    <a:pt x="2773751" y="1036715"/>
                  </a:cubicBezTo>
                  <a:cubicBezTo>
                    <a:pt x="2768647" y="1033595"/>
                    <a:pt x="2757543" y="1029178"/>
                    <a:pt x="2758192" y="1014591"/>
                  </a:cubicBezTo>
                  <a:lnTo>
                    <a:pt x="2759965" y="1001182"/>
                  </a:lnTo>
                  <a:lnTo>
                    <a:pt x="2760426" y="1009961"/>
                  </a:lnTo>
                  <a:lnTo>
                    <a:pt x="2761256" y="1010359"/>
                  </a:lnTo>
                  <a:lnTo>
                    <a:pt x="2761379" y="1011541"/>
                  </a:lnTo>
                  <a:cubicBezTo>
                    <a:pt x="2762409" y="1019977"/>
                    <a:pt x="2765172" y="1029322"/>
                    <a:pt x="2781066" y="1025483"/>
                  </a:cubicBezTo>
                  <a:cubicBezTo>
                    <a:pt x="2774231" y="1061759"/>
                    <a:pt x="2789671" y="1079746"/>
                    <a:pt x="2799412" y="1096591"/>
                  </a:cubicBezTo>
                  <a:lnTo>
                    <a:pt x="2800381" y="1098453"/>
                  </a:lnTo>
                  <a:lnTo>
                    <a:pt x="2800347" y="1099327"/>
                  </a:lnTo>
                  <a:cubicBezTo>
                    <a:pt x="2800053" y="1104469"/>
                    <a:pt x="2799318" y="1108033"/>
                    <a:pt x="2798937" y="1112860"/>
                  </a:cubicBezTo>
                  <a:cubicBezTo>
                    <a:pt x="2797830" y="1116662"/>
                    <a:pt x="2795105" y="1116242"/>
                    <a:pt x="2795614" y="1124265"/>
                  </a:cubicBezTo>
                  <a:cubicBezTo>
                    <a:pt x="2795943" y="1129264"/>
                    <a:pt x="2825278" y="1137316"/>
                    <a:pt x="2830008" y="1130910"/>
                  </a:cubicBezTo>
                  <a:cubicBezTo>
                    <a:pt x="2831385" y="1128695"/>
                    <a:pt x="2830787" y="1123606"/>
                    <a:pt x="2831175" y="1119954"/>
                  </a:cubicBezTo>
                  <a:cubicBezTo>
                    <a:pt x="2831775" y="1115883"/>
                    <a:pt x="2837042" y="1111453"/>
                    <a:pt x="2837821" y="1105676"/>
                  </a:cubicBezTo>
                  <a:cubicBezTo>
                    <a:pt x="2838329" y="1101081"/>
                    <a:pt x="2838277" y="1095880"/>
                    <a:pt x="2838101" y="1090466"/>
                  </a:cubicBezTo>
                  <a:lnTo>
                    <a:pt x="2837893" y="1084748"/>
                  </a:lnTo>
                  <a:lnTo>
                    <a:pt x="2839491" y="1086610"/>
                  </a:lnTo>
                  <a:cubicBezTo>
                    <a:pt x="2849834" y="1097158"/>
                    <a:pt x="2871770" y="1100711"/>
                    <a:pt x="2879129" y="1084393"/>
                  </a:cubicBezTo>
                  <a:cubicBezTo>
                    <a:pt x="2879219" y="1089631"/>
                    <a:pt x="2880926" y="1091637"/>
                    <a:pt x="2880027" y="1098222"/>
                  </a:cubicBezTo>
                  <a:cubicBezTo>
                    <a:pt x="2877453" y="1102383"/>
                    <a:pt x="2865990" y="1103311"/>
                    <a:pt x="2862875" y="1110974"/>
                  </a:cubicBezTo>
                  <a:cubicBezTo>
                    <a:pt x="2861948" y="1114177"/>
                    <a:pt x="2874131" y="1133365"/>
                    <a:pt x="2881915" y="1134053"/>
                  </a:cubicBezTo>
                  <a:cubicBezTo>
                    <a:pt x="2887571" y="1134712"/>
                    <a:pt x="2898078" y="1123606"/>
                    <a:pt x="2917206" y="1106125"/>
                  </a:cubicBezTo>
                  <a:cubicBezTo>
                    <a:pt x="2920166" y="1103419"/>
                    <a:pt x="2931364" y="1082178"/>
                    <a:pt x="2936424" y="1064008"/>
                  </a:cubicBezTo>
                  <a:cubicBezTo>
                    <a:pt x="2931268" y="1061418"/>
                    <a:pt x="2923794" y="1055249"/>
                    <a:pt x="2919445" y="1045621"/>
                  </a:cubicBezTo>
                  <a:lnTo>
                    <a:pt x="2919250" y="1045109"/>
                  </a:lnTo>
                  <a:lnTo>
                    <a:pt x="2921887" y="1046769"/>
                  </a:lnTo>
                  <a:cubicBezTo>
                    <a:pt x="2928521" y="1051189"/>
                    <a:pt x="2935256" y="1056038"/>
                    <a:pt x="2941183" y="1057452"/>
                  </a:cubicBezTo>
                  <a:cubicBezTo>
                    <a:pt x="2945553" y="1062481"/>
                    <a:pt x="2950642" y="1070474"/>
                    <a:pt x="2962645" y="1072000"/>
                  </a:cubicBezTo>
                  <a:cubicBezTo>
                    <a:pt x="2972882" y="1073736"/>
                    <a:pt x="2980157" y="1064068"/>
                    <a:pt x="2983749" y="1053501"/>
                  </a:cubicBezTo>
                  <a:lnTo>
                    <a:pt x="2980427" y="1053232"/>
                  </a:lnTo>
                  <a:cubicBezTo>
                    <a:pt x="2965161" y="1078825"/>
                    <a:pt x="2949025" y="1055484"/>
                    <a:pt x="2952445" y="1030934"/>
                  </a:cubicBezTo>
                  <a:lnTo>
                    <a:pt x="2953376" y="1026126"/>
                  </a:lnTo>
                  <a:lnTo>
                    <a:pt x="2955141" y="1028048"/>
                  </a:lnTo>
                  <a:cubicBezTo>
                    <a:pt x="2985617" y="1059108"/>
                    <a:pt x="3012266" y="1054567"/>
                    <a:pt x="3027392" y="1046317"/>
                  </a:cubicBezTo>
                  <a:cubicBezTo>
                    <a:pt x="3068822" y="1020783"/>
                    <a:pt x="3056682" y="932662"/>
                    <a:pt x="3039336" y="928407"/>
                  </a:cubicBezTo>
                  <a:cubicBezTo>
                    <a:pt x="3035370" y="927434"/>
                    <a:pt x="3032601" y="937657"/>
                    <a:pt x="3029997" y="939184"/>
                  </a:cubicBezTo>
                  <a:cubicBezTo>
                    <a:pt x="3022004" y="943404"/>
                    <a:pt x="3018503" y="942776"/>
                    <a:pt x="3016347" y="946098"/>
                  </a:cubicBezTo>
                  <a:cubicBezTo>
                    <a:pt x="3012082" y="952328"/>
                    <a:pt x="3027784" y="988393"/>
                    <a:pt x="3007812" y="1007305"/>
                  </a:cubicBezTo>
                  <a:lnTo>
                    <a:pt x="3006322" y="1008481"/>
                  </a:lnTo>
                  <a:lnTo>
                    <a:pt x="3006635" y="1007876"/>
                  </a:lnTo>
                  <a:cubicBezTo>
                    <a:pt x="3010420" y="1000563"/>
                    <a:pt x="3014393" y="992189"/>
                    <a:pt x="3009881" y="988664"/>
                  </a:cubicBezTo>
                  <a:cubicBezTo>
                    <a:pt x="3004582" y="984444"/>
                    <a:pt x="3001260" y="987676"/>
                    <a:pt x="2997219" y="991089"/>
                  </a:cubicBezTo>
                  <a:cubicBezTo>
                    <a:pt x="2999824" y="988125"/>
                    <a:pt x="3002966" y="987587"/>
                    <a:pt x="2998567" y="980582"/>
                  </a:cubicBezTo>
                  <a:cubicBezTo>
                    <a:pt x="2995063" y="978217"/>
                    <a:pt x="2993178" y="978816"/>
                    <a:pt x="2986712" y="980492"/>
                  </a:cubicBezTo>
                  <a:cubicBezTo>
                    <a:pt x="2990813" y="977439"/>
                    <a:pt x="2992130" y="978606"/>
                    <a:pt x="2990126" y="972680"/>
                  </a:cubicBezTo>
                  <a:cubicBezTo>
                    <a:pt x="2987386" y="968998"/>
                    <a:pt x="2986010" y="969306"/>
                    <a:pt x="2983272" y="969514"/>
                  </a:cubicBezTo>
                  <a:lnTo>
                    <a:pt x="2981373" y="969527"/>
                  </a:lnTo>
                  <a:lnTo>
                    <a:pt x="2982934" y="968966"/>
                  </a:lnTo>
                  <a:cubicBezTo>
                    <a:pt x="2983810" y="968672"/>
                    <a:pt x="2984602" y="968433"/>
                    <a:pt x="2985276" y="968279"/>
                  </a:cubicBezTo>
                  <a:cubicBezTo>
                    <a:pt x="2990663" y="967052"/>
                    <a:pt x="2996560" y="968743"/>
                    <a:pt x="2996590" y="965675"/>
                  </a:cubicBezTo>
                  <a:cubicBezTo>
                    <a:pt x="2997249" y="962322"/>
                    <a:pt x="2988837" y="951875"/>
                    <a:pt x="2985096" y="951037"/>
                  </a:cubicBezTo>
                  <a:cubicBezTo>
                    <a:pt x="2983097" y="950409"/>
                    <a:pt x="2977868" y="949881"/>
                    <a:pt x="2973115" y="949568"/>
                  </a:cubicBezTo>
                  <a:lnTo>
                    <a:pt x="2972009" y="949509"/>
                  </a:lnTo>
                  <a:lnTo>
                    <a:pt x="2972018" y="949486"/>
                  </a:lnTo>
                  <a:cubicBezTo>
                    <a:pt x="2973146" y="947928"/>
                    <a:pt x="2976902" y="947356"/>
                    <a:pt x="2979799" y="947086"/>
                  </a:cubicBezTo>
                  <a:cubicBezTo>
                    <a:pt x="2967645" y="931042"/>
                    <a:pt x="2951270" y="920744"/>
                    <a:pt x="2937141" y="920954"/>
                  </a:cubicBezTo>
                  <a:cubicBezTo>
                    <a:pt x="2920109" y="921463"/>
                    <a:pt x="2898766" y="925833"/>
                    <a:pt x="2886673" y="944572"/>
                  </a:cubicBezTo>
                  <a:cubicBezTo>
                    <a:pt x="2892854" y="944504"/>
                    <a:pt x="2897453" y="944532"/>
                    <a:pt x="2900905" y="944899"/>
                  </a:cubicBezTo>
                  <a:lnTo>
                    <a:pt x="2901482" y="944982"/>
                  </a:lnTo>
                  <a:lnTo>
                    <a:pt x="2899072" y="945637"/>
                  </a:lnTo>
                  <a:cubicBezTo>
                    <a:pt x="2886267" y="948718"/>
                    <a:pt x="2877345" y="948258"/>
                    <a:pt x="2874475" y="950754"/>
                  </a:cubicBezTo>
                  <a:cubicBezTo>
                    <a:pt x="2868471" y="954954"/>
                    <a:pt x="2829600" y="990764"/>
                    <a:pt x="2827999" y="1011039"/>
                  </a:cubicBezTo>
                  <a:cubicBezTo>
                    <a:pt x="2832115" y="1021801"/>
                    <a:pt x="2832889" y="1014196"/>
                    <a:pt x="2841979" y="1033151"/>
                  </a:cubicBezTo>
                  <a:lnTo>
                    <a:pt x="2856485" y="1016613"/>
                  </a:lnTo>
                  <a:lnTo>
                    <a:pt x="2839513" y="1051719"/>
                  </a:lnTo>
                  <a:cubicBezTo>
                    <a:pt x="2843746" y="1057899"/>
                    <a:pt x="2846631" y="1061206"/>
                    <a:pt x="2855442" y="1061100"/>
                  </a:cubicBezTo>
                  <a:cubicBezTo>
                    <a:pt x="2864853" y="1059852"/>
                    <a:pt x="2873546" y="1052138"/>
                    <a:pt x="2882598" y="1047657"/>
                  </a:cubicBezTo>
                  <a:cubicBezTo>
                    <a:pt x="2891543" y="1043934"/>
                    <a:pt x="2894202" y="1046496"/>
                    <a:pt x="2900005" y="1045916"/>
                  </a:cubicBezTo>
                  <a:cubicBezTo>
                    <a:pt x="2912232" y="1012752"/>
                    <a:pt x="2893028" y="1012904"/>
                    <a:pt x="2906243" y="976866"/>
                  </a:cubicBezTo>
                  <a:cubicBezTo>
                    <a:pt x="2901546" y="1005975"/>
                    <a:pt x="2920196" y="1005989"/>
                    <a:pt x="2906969" y="1054765"/>
                  </a:cubicBezTo>
                  <a:lnTo>
                    <a:pt x="2904860" y="1054420"/>
                  </a:lnTo>
                  <a:lnTo>
                    <a:pt x="2902192" y="1053737"/>
                  </a:lnTo>
                  <a:lnTo>
                    <a:pt x="2899458" y="1053311"/>
                  </a:lnTo>
                  <a:lnTo>
                    <a:pt x="2898691" y="1053133"/>
                  </a:lnTo>
                  <a:cubicBezTo>
                    <a:pt x="2896623" y="1052725"/>
                    <a:pt x="2894446" y="1052507"/>
                    <a:pt x="2891922" y="1052904"/>
                  </a:cubicBezTo>
                  <a:lnTo>
                    <a:pt x="2890936" y="1053134"/>
                  </a:lnTo>
                  <a:lnTo>
                    <a:pt x="2890339" y="1053185"/>
                  </a:lnTo>
                  <a:cubicBezTo>
                    <a:pt x="2877138" y="1055241"/>
                    <a:pt x="2872282" y="1066881"/>
                    <a:pt x="2851111" y="1069127"/>
                  </a:cubicBezTo>
                  <a:cubicBezTo>
                    <a:pt x="2844800" y="1067896"/>
                    <a:pt x="2834705" y="1058620"/>
                    <a:pt x="2828772" y="1051408"/>
                  </a:cubicBezTo>
                  <a:lnTo>
                    <a:pt x="2828313" y="1050814"/>
                  </a:lnTo>
                  <a:lnTo>
                    <a:pt x="2830035" y="1047937"/>
                  </a:lnTo>
                  <a:cubicBezTo>
                    <a:pt x="2831875" y="1045071"/>
                    <a:pt x="2833889" y="1042141"/>
                    <a:pt x="2836114" y="1039133"/>
                  </a:cubicBezTo>
                  <a:cubicBezTo>
                    <a:pt x="2832224" y="1028686"/>
                    <a:pt x="2821956" y="1025064"/>
                    <a:pt x="2819053" y="1012102"/>
                  </a:cubicBezTo>
                  <a:cubicBezTo>
                    <a:pt x="2823752" y="998692"/>
                    <a:pt x="2825667" y="989951"/>
                    <a:pt x="2849315" y="965944"/>
                  </a:cubicBezTo>
                  <a:cubicBezTo>
                    <a:pt x="2786454" y="974954"/>
                    <a:pt x="2786641" y="1025561"/>
                    <a:pt x="2769260" y="1013326"/>
                  </a:cubicBezTo>
                  <a:lnTo>
                    <a:pt x="2765636" y="1010063"/>
                  </a:lnTo>
                  <a:lnTo>
                    <a:pt x="2766697" y="1009468"/>
                  </a:lnTo>
                  <a:cubicBezTo>
                    <a:pt x="2773102" y="1005153"/>
                    <a:pt x="2765516" y="998939"/>
                    <a:pt x="2770650" y="989562"/>
                  </a:cubicBezTo>
                  <a:lnTo>
                    <a:pt x="2760166" y="999654"/>
                  </a:lnTo>
                  <a:lnTo>
                    <a:pt x="2761079" y="992755"/>
                  </a:lnTo>
                  <a:cubicBezTo>
                    <a:pt x="2766175" y="987685"/>
                    <a:pt x="2773064" y="984828"/>
                    <a:pt x="2774724" y="984200"/>
                  </a:cubicBezTo>
                  <a:cubicBezTo>
                    <a:pt x="2771604" y="993722"/>
                    <a:pt x="2778412" y="1000368"/>
                    <a:pt x="2774724" y="1008026"/>
                  </a:cubicBezTo>
                  <a:cubicBezTo>
                    <a:pt x="2810180" y="962927"/>
                    <a:pt x="2834655" y="960050"/>
                    <a:pt x="2851066" y="959644"/>
                  </a:cubicBezTo>
                  <a:cubicBezTo>
                    <a:pt x="2863829" y="948299"/>
                    <a:pt x="2864924" y="945340"/>
                    <a:pt x="2873676" y="943112"/>
                  </a:cubicBezTo>
                  <a:lnTo>
                    <a:pt x="2879712" y="942479"/>
                  </a:lnTo>
                  <a:lnTo>
                    <a:pt x="2880412" y="940982"/>
                  </a:lnTo>
                  <a:cubicBezTo>
                    <a:pt x="2885783" y="930313"/>
                    <a:pt x="2890472" y="926985"/>
                    <a:pt x="2899691" y="922446"/>
                  </a:cubicBezTo>
                  <a:cubicBezTo>
                    <a:pt x="2908909" y="917908"/>
                    <a:pt x="2921696" y="913866"/>
                    <a:pt x="2935363" y="914392"/>
                  </a:cubicBezTo>
                  <a:close/>
                  <a:moveTo>
                    <a:pt x="11621423" y="638389"/>
                  </a:moveTo>
                  <a:cubicBezTo>
                    <a:pt x="11651323" y="638727"/>
                    <a:pt x="11666272" y="651734"/>
                    <a:pt x="11666272" y="677411"/>
                  </a:cubicBezTo>
                  <a:lnTo>
                    <a:pt x="11666272" y="713771"/>
                  </a:lnTo>
                  <a:cubicBezTo>
                    <a:pt x="11666272" y="730833"/>
                    <a:pt x="11672818" y="739786"/>
                    <a:pt x="11685910" y="740631"/>
                  </a:cubicBezTo>
                  <a:lnTo>
                    <a:pt x="11685910" y="759127"/>
                  </a:lnTo>
                  <a:cubicBezTo>
                    <a:pt x="11672818" y="759972"/>
                    <a:pt x="11666272" y="768757"/>
                    <a:pt x="11666272" y="785480"/>
                  </a:cubicBezTo>
                  <a:lnTo>
                    <a:pt x="11666272" y="822855"/>
                  </a:lnTo>
                  <a:cubicBezTo>
                    <a:pt x="11666272" y="848193"/>
                    <a:pt x="11651323" y="861031"/>
                    <a:pt x="11621423" y="861369"/>
                  </a:cubicBezTo>
                  <a:lnTo>
                    <a:pt x="11621423" y="841858"/>
                  </a:lnTo>
                  <a:cubicBezTo>
                    <a:pt x="11628771" y="841689"/>
                    <a:pt x="11633987" y="839662"/>
                    <a:pt x="11637070" y="835777"/>
                  </a:cubicBezTo>
                  <a:cubicBezTo>
                    <a:pt x="11640152" y="831892"/>
                    <a:pt x="11641694" y="825473"/>
                    <a:pt x="11641694" y="816520"/>
                  </a:cubicBezTo>
                  <a:lnTo>
                    <a:pt x="11641694" y="781173"/>
                  </a:lnTo>
                  <a:cubicBezTo>
                    <a:pt x="11641694" y="764027"/>
                    <a:pt x="11650014" y="753596"/>
                    <a:pt x="11666653" y="749879"/>
                  </a:cubicBezTo>
                  <a:lnTo>
                    <a:pt x="11666653" y="749500"/>
                  </a:lnTo>
                  <a:cubicBezTo>
                    <a:pt x="11650014" y="745529"/>
                    <a:pt x="11641694" y="735014"/>
                    <a:pt x="11641694" y="717952"/>
                  </a:cubicBezTo>
                  <a:lnTo>
                    <a:pt x="11641694" y="682226"/>
                  </a:lnTo>
                  <a:cubicBezTo>
                    <a:pt x="11641694" y="666431"/>
                    <a:pt x="11634937" y="658365"/>
                    <a:pt x="11621423" y="658027"/>
                  </a:cubicBezTo>
                  <a:close/>
                  <a:moveTo>
                    <a:pt x="11603939" y="638389"/>
                  </a:moveTo>
                  <a:lnTo>
                    <a:pt x="11603939" y="658027"/>
                  </a:lnTo>
                  <a:cubicBezTo>
                    <a:pt x="11590510" y="658365"/>
                    <a:pt x="11583795" y="666431"/>
                    <a:pt x="11583795" y="682226"/>
                  </a:cubicBezTo>
                  <a:lnTo>
                    <a:pt x="11583795" y="717952"/>
                  </a:lnTo>
                  <a:cubicBezTo>
                    <a:pt x="11583795" y="735014"/>
                    <a:pt x="11575391" y="745529"/>
                    <a:pt x="11558583" y="749500"/>
                  </a:cubicBezTo>
                  <a:lnTo>
                    <a:pt x="11558583" y="749879"/>
                  </a:lnTo>
                  <a:cubicBezTo>
                    <a:pt x="11575391" y="753596"/>
                    <a:pt x="11583795" y="764027"/>
                    <a:pt x="11583795" y="781173"/>
                  </a:cubicBezTo>
                  <a:lnTo>
                    <a:pt x="11583795" y="816520"/>
                  </a:lnTo>
                  <a:cubicBezTo>
                    <a:pt x="11583795" y="825557"/>
                    <a:pt x="11585294" y="831997"/>
                    <a:pt x="11588293" y="835840"/>
                  </a:cubicBezTo>
                  <a:cubicBezTo>
                    <a:pt x="11591291" y="839683"/>
                    <a:pt x="11596506" y="841689"/>
                    <a:pt x="11603939" y="841858"/>
                  </a:cubicBezTo>
                  <a:lnTo>
                    <a:pt x="11603939" y="861369"/>
                  </a:lnTo>
                  <a:cubicBezTo>
                    <a:pt x="11573870" y="861031"/>
                    <a:pt x="11558836" y="848193"/>
                    <a:pt x="11558836" y="822855"/>
                  </a:cubicBezTo>
                  <a:lnTo>
                    <a:pt x="11558836" y="785480"/>
                  </a:lnTo>
                  <a:cubicBezTo>
                    <a:pt x="11558836" y="768757"/>
                    <a:pt x="11552248" y="759972"/>
                    <a:pt x="11539072" y="759127"/>
                  </a:cubicBezTo>
                  <a:lnTo>
                    <a:pt x="11539072" y="740631"/>
                  </a:lnTo>
                  <a:cubicBezTo>
                    <a:pt x="11552248" y="739786"/>
                    <a:pt x="11558836" y="730833"/>
                    <a:pt x="11558836" y="713771"/>
                  </a:cubicBezTo>
                  <a:lnTo>
                    <a:pt x="11558836" y="677411"/>
                  </a:lnTo>
                  <a:cubicBezTo>
                    <a:pt x="11558836" y="651734"/>
                    <a:pt x="11573870" y="638727"/>
                    <a:pt x="11603939" y="638389"/>
                  </a:cubicBezTo>
                  <a:close/>
                  <a:moveTo>
                    <a:pt x="10947400" y="638389"/>
                  </a:moveTo>
                  <a:cubicBezTo>
                    <a:pt x="10977300" y="638727"/>
                    <a:pt x="10992249" y="651734"/>
                    <a:pt x="10992249" y="677411"/>
                  </a:cubicBezTo>
                  <a:lnTo>
                    <a:pt x="10992249" y="713771"/>
                  </a:lnTo>
                  <a:cubicBezTo>
                    <a:pt x="10992249" y="730833"/>
                    <a:pt x="10998795" y="739786"/>
                    <a:pt x="11011887" y="740631"/>
                  </a:cubicBezTo>
                  <a:lnTo>
                    <a:pt x="11011887" y="759127"/>
                  </a:lnTo>
                  <a:cubicBezTo>
                    <a:pt x="10998795" y="759972"/>
                    <a:pt x="10992249" y="768757"/>
                    <a:pt x="10992249" y="785480"/>
                  </a:cubicBezTo>
                  <a:lnTo>
                    <a:pt x="10992249" y="822855"/>
                  </a:lnTo>
                  <a:cubicBezTo>
                    <a:pt x="10992249" y="848193"/>
                    <a:pt x="10977300" y="861031"/>
                    <a:pt x="10947400" y="861369"/>
                  </a:cubicBezTo>
                  <a:lnTo>
                    <a:pt x="10947400" y="841858"/>
                  </a:lnTo>
                  <a:cubicBezTo>
                    <a:pt x="10954748" y="841689"/>
                    <a:pt x="10959964" y="839662"/>
                    <a:pt x="10963047" y="835777"/>
                  </a:cubicBezTo>
                  <a:cubicBezTo>
                    <a:pt x="10966129" y="831892"/>
                    <a:pt x="10967671" y="825473"/>
                    <a:pt x="10967671" y="816520"/>
                  </a:cubicBezTo>
                  <a:lnTo>
                    <a:pt x="10967671" y="781173"/>
                  </a:lnTo>
                  <a:cubicBezTo>
                    <a:pt x="10967671" y="764027"/>
                    <a:pt x="10975991" y="753596"/>
                    <a:pt x="10992630" y="749879"/>
                  </a:cubicBezTo>
                  <a:lnTo>
                    <a:pt x="10992630" y="749500"/>
                  </a:lnTo>
                  <a:cubicBezTo>
                    <a:pt x="10975991" y="745529"/>
                    <a:pt x="10967671" y="735014"/>
                    <a:pt x="10967671" y="717952"/>
                  </a:cubicBezTo>
                  <a:lnTo>
                    <a:pt x="10967671" y="682226"/>
                  </a:lnTo>
                  <a:cubicBezTo>
                    <a:pt x="10967671" y="666431"/>
                    <a:pt x="10960914" y="658365"/>
                    <a:pt x="10947400" y="658027"/>
                  </a:cubicBezTo>
                  <a:close/>
                  <a:moveTo>
                    <a:pt x="10929916" y="638389"/>
                  </a:moveTo>
                  <a:lnTo>
                    <a:pt x="10929916" y="658027"/>
                  </a:lnTo>
                  <a:cubicBezTo>
                    <a:pt x="10916487" y="658365"/>
                    <a:pt x="10909772" y="666431"/>
                    <a:pt x="10909772" y="682226"/>
                  </a:cubicBezTo>
                  <a:lnTo>
                    <a:pt x="10909772" y="717952"/>
                  </a:lnTo>
                  <a:cubicBezTo>
                    <a:pt x="10909772" y="735014"/>
                    <a:pt x="10901368" y="745529"/>
                    <a:pt x="10884560" y="749500"/>
                  </a:cubicBezTo>
                  <a:lnTo>
                    <a:pt x="10884560" y="749879"/>
                  </a:lnTo>
                  <a:cubicBezTo>
                    <a:pt x="10901368" y="753596"/>
                    <a:pt x="10909772" y="764027"/>
                    <a:pt x="10909772" y="781173"/>
                  </a:cubicBezTo>
                  <a:lnTo>
                    <a:pt x="10909772" y="816520"/>
                  </a:lnTo>
                  <a:cubicBezTo>
                    <a:pt x="10909772" y="825557"/>
                    <a:pt x="10911271" y="831997"/>
                    <a:pt x="10914270" y="835840"/>
                  </a:cubicBezTo>
                  <a:cubicBezTo>
                    <a:pt x="10917268" y="839683"/>
                    <a:pt x="10922483" y="841689"/>
                    <a:pt x="10929916" y="841858"/>
                  </a:cubicBezTo>
                  <a:lnTo>
                    <a:pt x="10929916" y="861369"/>
                  </a:lnTo>
                  <a:cubicBezTo>
                    <a:pt x="10899847" y="861031"/>
                    <a:pt x="10884813" y="848193"/>
                    <a:pt x="10884813" y="822855"/>
                  </a:cubicBezTo>
                  <a:lnTo>
                    <a:pt x="10884813" y="785480"/>
                  </a:lnTo>
                  <a:cubicBezTo>
                    <a:pt x="10884813" y="768757"/>
                    <a:pt x="10878225" y="759972"/>
                    <a:pt x="10865049" y="759127"/>
                  </a:cubicBezTo>
                  <a:lnTo>
                    <a:pt x="10865049" y="740631"/>
                  </a:lnTo>
                  <a:cubicBezTo>
                    <a:pt x="10878225" y="739786"/>
                    <a:pt x="10884813" y="730833"/>
                    <a:pt x="10884813" y="713771"/>
                  </a:cubicBezTo>
                  <a:lnTo>
                    <a:pt x="10884813" y="677411"/>
                  </a:lnTo>
                  <a:cubicBezTo>
                    <a:pt x="10884813" y="651734"/>
                    <a:pt x="10899847" y="638727"/>
                    <a:pt x="10929916" y="638389"/>
                  </a:cubicBezTo>
                  <a:close/>
                  <a:moveTo>
                    <a:pt x="9748950" y="638389"/>
                  </a:moveTo>
                  <a:cubicBezTo>
                    <a:pt x="9778850" y="638727"/>
                    <a:pt x="9793799" y="651734"/>
                    <a:pt x="9793799" y="677411"/>
                  </a:cubicBezTo>
                  <a:lnTo>
                    <a:pt x="9793799" y="713771"/>
                  </a:lnTo>
                  <a:cubicBezTo>
                    <a:pt x="9793799" y="730833"/>
                    <a:pt x="9800345" y="739786"/>
                    <a:pt x="9813437" y="740631"/>
                  </a:cubicBezTo>
                  <a:lnTo>
                    <a:pt x="9813437" y="759127"/>
                  </a:lnTo>
                  <a:cubicBezTo>
                    <a:pt x="9800345" y="759972"/>
                    <a:pt x="9793799" y="768757"/>
                    <a:pt x="9793799" y="785480"/>
                  </a:cubicBezTo>
                  <a:lnTo>
                    <a:pt x="9793799" y="822855"/>
                  </a:lnTo>
                  <a:cubicBezTo>
                    <a:pt x="9793799" y="848193"/>
                    <a:pt x="9778850" y="861031"/>
                    <a:pt x="9748950" y="861369"/>
                  </a:cubicBezTo>
                  <a:lnTo>
                    <a:pt x="9748950" y="841858"/>
                  </a:lnTo>
                  <a:cubicBezTo>
                    <a:pt x="9756298" y="841689"/>
                    <a:pt x="9761514" y="839662"/>
                    <a:pt x="9764597" y="835777"/>
                  </a:cubicBezTo>
                  <a:cubicBezTo>
                    <a:pt x="9767679" y="831892"/>
                    <a:pt x="9769221" y="825473"/>
                    <a:pt x="9769221" y="816520"/>
                  </a:cubicBezTo>
                  <a:lnTo>
                    <a:pt x="9769221" y="781173"/>
                  </a:lnTo>
                  <a:cubicBezTo>
                    <a:pt x="9769221" y="764027"/>
                    <a:pt x="9777541" y="753596"/>
                    <a:pt x="9794180" y="749879"/>
                  </a:cubicBezTo>
                  <a:lnTo>
                    <a:pt x="9794180" y="749500"/>
                  </a:lnTo>
                  <a:cubicBezTo>
                    <a:pt x="9777541" y="745529"/>
                    <a:pt x="9769221" y="735014"/>
                    <a:pt x="9769221" y="717952"/>
                  </a:cubicBezTo>
                  <a:lnTo>
                    <a:pt x="9769221" y="682226"/>
                  </a:lnTo>
                  <a:cubicBezTo>
                    <a:pt x="9769221" y="666431"/>
                    <a:pt x="9762464" y="658365"/>
                    <a:pt x="9748950" y="658027"/>
                  </a:cubicBezTo>
                  <a:close/>
                  <a:moveTo>
                    <a:pt x="9731466" y="638389"/>
                  </a:moveTo>
                  <a:lnTo>
                    <a:pt x="9731466" y="658027"/>
                  </a:lnTo>
                  <a:cubicBezTo>
                    <a:pt x="9718037" y="658365"/>
                    <a:pt x="9711322" y="666431"/>
                    <a:pt x="9711322" y="682226"/>
                  </a:cubicBezTo>
                  <a:lnTo>
                    <a:pt x="9711322" y="717952"/>
                  </a:lnTo>
                  <a:cubicBezTo>
                    <a:pt x="9711322" y="735014"/>
                    <a:pt x="9702918" y="745529"/>
                    <a:pt x="9686110" y="749500"/>
                  </a:cubicBezTo>
                  <a:lnTo>
                    <a:pt x="9686110" y="749879"/>
                  </a:lnTo>
                  <a:cubicBezTo>
                    <a:pt x="9702918" y="753596"/>
                    <a:pt x="9711322" y="764027"/>
                    <a:pt x="9711322" y="781173"/>
                  </a:cubicBezTo>
                  <a:lnTo>
                    <a:pt x="9711322" y="816520"/>
                  </a:lnTo>
                  <a:cubicBezTo>
                    <a:pt x="9711322" y="825557"/>
                    <a:pt x="9712821" y="831997"/>
                    <a:pt x="9715820" y="835840"/>
                  </a:cubicBezTo>
                  <a:cubicBezTo>
                    <a:pt x="9718818" y="839683"/>
                    <a:pt x="9724033" y="841689"/>
                    <a:pt x="9731466" y="841858"/>
                  </a:cubicBezTo>
                  <a:lnTo>
                    <a:pt x="9731466" y="861369"/>
                  </a:lnTo>
                  <a:cubicBezTo>
                    <a:pt x="9701397" y="861031"/>
                    <a:pt x="9686363" y="848193"/>
                    <a:pt x="9686363" y="822855"/>
                  </a:cubicBezTo>
                  <a:lnTo>
                    <a:pt x="9686363" y="785480"/>
                  </a:lnTo>
                  <a:cubicBezTo>
                    <a:pt x="9686363" y="768757"/>
                    <a:pt x="9679775" y="759972"/>
                    <a:pt x="9666599" y="759127"/>
                  </a:cubicBezTo>
                  <a:lnTo>
                    <a:pt x="9666599" y="740631"/>
                  </a:lnTo>
                  <a:cubicBezTo>
                    <a:pt x="9679775" y="739786"/>
                    <a:pt x="9686363" y="730833"/>
                    <a:pt x="9686363" y="713771"/>
                  </a:cubicBezTo>
                  <a:lnTo>
                    <a:pt x="9686363" y="677411"/>
                  </a:lnTo>
                  <a:cubicBezTo>
                    <a:pt x="9686363" y="651734"/>
                    <a:pt x="9701397" y="638727"/>
                    <a:pt x="9731466" y="638389"/>
                  </a:cubicBezTo>
                  <a:close/>
                  <a:moveTo>
                    <a:pt x="8124748" y="638389"/>
                  </a:moveTo>
                  <a:cubicBezTo>
                    <a:pt x="8154648" y="638727"/>
                    <a:pt x="8169597" y="651734"/>
                    <a:pt x="8169597" y="677411"/>
                  </a:cubicBezTo>
                  <a:lnTo>
                    <a:pt x="8169597" y="713771"/>
                  </a:lnTo>
                  <a:cubicBezTo>
                    <a:pt x="8169597" y="730833"/>
                    <a:pt x="8176143" y="739786"/>
                    <a:pt x="8189235" y="740631"/>
                  </a:cubicBezTo>
                  <a:lnTo>
                    <a:pt x="8189235" y="759127"/>
                  </a:lnTo>
                  <a:cubicBezTo>
                    <a:pt x="8176143" y="759972"/>
                    <a:pt x="8169597" y="768757"/>
                    <a:pt x="8169597" y="785480"/>
                  </a:cubicBezTo>
                  <a:lnTo>
                    <a:pt x="8169597" y="822855"/>
                  </a:lnTo>
                  <a:cubicBezTo>
                    <a:pt x="8169597" y="848193"/>
                    <a:pt x="8154648" y="861031"/>
                    <a:pt x="8124748" y="861369"/>
                  </a:cubicBezTo>
                  <a:lnTo>
                    <a:pt x="8124748" y="841858"/>
                  </a:lnTo>
                  <a:cubicBezTo>
                    <a:pt x="8132096" y="841689"/>
                    <a:pt x="8137312" y="839662"/>
                    <a:pt x="8140395" y="835777"/>
                  </a:cubicBezTo>
                  <a:cubicBezTo>
                    <a:pt x="8143477" y="831892"/>
                    <a:pt x="8145019" y="825473"/>
                    <a:pt x="8145019" y="816520"/>
                  </a:cubicBezTo>
                  <a:lnTo>
                    <a:pt x="8145019" y="781173"/>
                  </a:lnTo>
                  <a:cubicBezTo>
                    <a:pt x="8145019" y="764027"/>
                    <a:pt x="8153339" y="753596"/>
                    <a:pt x="8169978" y="749879"/>
                  </a:cubicBezTo>
                  <a:lnTo>
                    <a:pt x="8169978" y="749500"/>
                  </a:lnTo>
                  <a:cubicBezTo>
                    <a:pt x="8153339" y="745529"/>
                    <a:pt x="8145019" y="735014"/>
                    <a:pt x="8145019" y="717952"/>
                  </a:cubicBezTo>
                  <a:lnTo>
                    <a:pt x="8145019" y="682226"/>
                  </a:lnTo>
                  <a:cubicBezTo>
                    <a:pt x="8145019" y="666431"/>
                    <a:pt x="8138262" y="658365"/>
                    <a:pt x="8124748" y="658027"/>
                  </a:cubicBezTo>
                  <a:close/>
                  <a:moveTo>
                    <a:pt x="8107264" y="638389"/>
                  </a:moveTo>
                  <a:lnTo>
                    <a:pt x="8107264" y="658027"/>
                  </a:lnTo>
                  <a:cubicBezTo>
                    <a:pt x="8093835" y="658365"/>
                    <a:pt x="8087120" y="666431"/>
                    <a:pt x="8087120" y="682226"/>
                  </a:cubicBezTo>
                  <a:lnTo>
                    <a:pt x="8087120" y="717952"/>
                  </a:lnTo>
                  <a:cubicBezTo>
                    <a:pt x="8087120" y="735014"/>
                    <a:pt x="8078716" y="745529"/>
                    <a:pt x="8061908" y="749500"/>
                  </a:cubicBezTo>
                  <a:lnTo>
                    <a:pt x="8061908" y="749879"/>
                  </a:lnTo>
                  <a:cubicBezTo>
                    <a:pt x="8078716" y="753596"/>
                    <a:pt x="8087120" y="764027"/>
                    <a:pt x="8087120" y="781173"/>
                  </a:cubicBezTo>
                  <a:lnTo>
                    <a:pt x="8087120" y="816520"/>
                  </a:lnTo>
                  <a:cubicBezTo>
                    <a:pt x="8087120" y="825557"/>
                    <a:pt x="8088619" y="831997"/>
                    <a:pt x="8091618" y="835840"/>
                  </a:cubicBezTo>
                  <a:cubicBezTo>
                    <a:pt x="8094616" y="839683"/>
                    <a:pt x="8099832" y="841689"/>
                    <a:pt x="8107264" y="841858"/>
                  </a:cubicBezTo>
                  <a:lnTo>
                    <a:pt x="8107264" y="861369"/>
                  </a:lnTo>
                  <a:cubicBezTo>
                    <a:pt x="8077196" y="861031"/>
                    <a:pt x="8062162" y="848193"/>
                    <a:pt x="8062162" y="822855"/>
                  </a:cubicBezTo>
                  <a:lnTo>
                    <a:pt x="8062162" y="785480"/>
                  </a:lnTo>
                  <a:cubicBezTo>
                    <a:pt x="8062162" y="768757"/>
                    <a:pt x="8055573" y="759972"/>
                    <a:pt x="8042397" y="759127"/>
                  </a:cubicBezTo>
                  <a:lnTo>
                    <a:pt x="8042397" y="740631"/>
                  </a:lnTo>
                  <a:cubicBezTo>
                    <a:pt x="8055573" y="739786"/>
                    <a:pt x="8062162" y="730833"/>
                    <a:pt x="8062162" y="713771"/>
                  </a:cubicBezTo>
                  <a:lnTo>
                    <a:pt x="8062162" y="677411"/>
                  </a:lnTo>
                  <a:cubicBezTo>
                    <a:pt x="8062162" y="651734"/>
                    <a:pt x="8077196" y="638727"/>
                    <a:pt x="8107264" y="638389"/>
                  </a:cubicBezTo>
                  <a:close/>
                  <a:moveTo>
                    <a:pt x="5549040" y="638389"/>
                  </a:moveTo>
                  <a:cubicBezTo>
                    <a:pt x="5578939" y="638727"/>
                    <a:pt x="5593889" y="651734"/>
                    <a:pt x="5593889" y="677411"/>
                  </a:cubicBezTo>
                  <a:lnTo>
                    <a:pt x="5593889" y="713771"/>
                  </a:lnTo>
                  <a:cubicBezTo>
                    <a:pt x="5593889" y="730833"/>
                    <a:pt x="5600434" y="739786"/>
                    <a:pt x="5613526" y="740631"/>
                  </a:cubicBezTo>
                  <a:lnTo>
                    <a:pt x="5613526" y="759127"/>
                  </a:lnTo>
                  <a:cubicBezTo>
                    <a:pt x="5600434" y="759972"/>
                    <a:pt x="5593889" y="768757"/>
                    <a:pt x="5593889" y="785480"/>
                  </a:cubicBezTo>
                  <a:lnTo>
                    <a:pt x="5593889" y="822855"/>
                  </a:lnTo>
                  <a:cubicBezTo>
                    <a:pt x="5593889" y="848193"/>
                    <a:pt x="5578939" y="861031"/>
                    <a:pt x="5549040" y="861369"/>
                  </a:cubicBezTo>
                  <a:lnTo>
                    <a:pt x="5549040" y="841858"/>
                  </a:lnTo>
                  <a:cubicBezTo>
                    <a:pt x="5556387" y="841689"/>
                    <a:pt x="5561602" y="839662"/>
                    <a:pt x="5564686" y="835777"/>
                  </a:cubicBezTo>
                  <a:cubicBezTo>
                    <a:pt x="5567768" y="831892"/>
                    <a:pt x="5569311" y="825473"/>
                    <a:pt x="5569311" y="816520"/>
                  </a:cubicBezTo>
                  <a:lnTo>
                    <a:pt x="5569311" y="781173"/>
                  </a:lnTo>
                  <a:cubicBezTo>
                    <a:pt x="5569311" y="764027"/>
                    <a:pt x="5577629" y="753596"/>
                    <a:pt x="5594268" y="749879"/>
                  </a:cubicBezTo>
                  <a:lnTo>
                    <a:pt x="5594268" y="749500"/>
                  </a:lnTo>
                  <a:cubicBezTo>
                    <a:pt x="5577629" y="745529"/>
                    <a:pt x="5569311" y="735014"/>
                    <a:pt x="5569311" y="717952"/>
                  </a:cubicBezTo>
                  <a:lnTo>
                    <a:pt x="5569311" y="682226"/>
                  </a:lnTo>
                  <a:cubicBezTo>
                    <a:pt x="5569311" y="666431"/>
                    <a:pt x="5562554" y="658365"/>
                    <a:pt x="5549040" y="658027"/>
                  </a:cubicBezTo>
                  <a:close/>
                  <a:moveTo>
                    <a:pt x="5531555" y="638389"/>
                  </a:moveTo>
                  <a:lnTo>
                    <a:pt x="5531555" y="658027"/>
                  </a:lnTo>
                  <a:cubicBezTo>
                    <a:pt x="5518126" y="658365"/>
                    <a:pt x="5511412" y="666431"/>
                    <a:pt x="5511412" y="682226"/>
                  </a:cubicBezTo>
                  <a:lnTo>
                    <a:pt x="5511412" y="717952"/>
                  </a:lnTo>
                  <a:cubicBezTo>
                    <a:pt x="5511412" y="735014"/>
                    <a:pt x="5503007" y="745529"/>
                    <a:pt x="5486199" y="749500"/>
                  </a:cubicBezTo>
                  <a:lnTo>
                    <a:pt x="5486199" y="749879"/>
                  </a:lnTo>
                  <a:cubicBezTo>
                    <a:pt x="5503007" y="753596"/>
                    <a:pt x="5511412" y="764027"/>
                    <a:pt x="5511412" y="781173"/>
                  </a:cubicBezTo>
                  <a:lnTo>
                    <a:pt x="5511412" y="816520"/>
                  </a:lnTo>
                  <a:cubicBezTo>
                    <a:pt x="5511412" y="825557"/>
                    <a:pt x="5512910" y="831997"/>
                    <a:pt x="5515909" y="835840"/>
                  </a:cubicBezTo>
                  <a:cubicBezTo>
                    <a:pt x="5518906" y="839683"/>
                    <a:pt x="5524122" y="841689"/>
                    <a:pt x="5531555" y="841858"/>
                  </a:cubicBezTo>
                  <a:lnTo>
                    <a:pt x="5531555" y="861369"/>
                  </a:lnTo>
                  <a:cubicBezTo>
                    <a:pt x="5501487" y="861031"/>
                    <a:pt x="5486453" y="848193"/>
                    <a:pt x="5486453" y="822855"/>
                  </a:cubicBezTo>
                  <a:lnTo>
                    <a:pt x="5486453" y="785480"/>
                  </a:lnTo>
                  <a:cubicBezTo>
                    <a:pt x="5486453" y="768757"/>
                    <a:pt x="5479865" y="759972"/>
                    <a:pt x="5466689" y="759127"/>
                  </a:cubicBezTo>
                  <a:lnTo>
                    <a:pt x="5466689" y="740631"/>
                  </a:lnTo>
                  <a:cubicBezTo>
                    <a:pt x="5479865" y="739786"/>
                    <a:pt x="5486453" y="730833"/>
                    <a:pt x="5486453" y="713771"/>
                  </a:cubicBezTo>
                  <a:lnTo>
                    <a:pt x="5486453" y="677411"/>
                  </a:lnTo>
                  <a:cubicBezTo>
                    <a:pt x="5486453" y="651734"/>
                    <a:pt x="5501487" y="638727"/>
                    <a:pt x="5531555" y="638389"/>
                  </a:cubicBezTo>
                  <a:close/>
                  <a:moveTo>
                    <a:pt x="4882938" y="638389"/>
                  </a:moveTo>
                  <a:cubicBezTo>
                    <a:pt x="4912839" y="638727"/>
                    <a:pt x="4927787" y="651734"/>
                    <a:pt x="4927787" y="677411"/>
                  </a:cubicBezTo>
                  <a:lnTo>
                    <a:pt x="4927787" y="713771"/>
                  </a:lnTo>
                  <a:cubicBezTo>
                    <a:pt x="4927787" y="730833"/>
                    <a:pt x="4934333" y="739786"/>
                    <a:pt x="4947424" y="740631"/>
                  </a:cubicBezTo>
                  <a:lnTo>
                    <a:pt x="4947424" y="759127"/>
                  </a:lnTo>
                  <a:cubicBezTo>
                    <a:pt x="4934333" y="759972"/>
                    <a:pt x="4927787" y="768757"/>
                    <a:pt x="4927787" y="785480"/>
                  </a:cubicBezTo>
                  <a:lnTo>
                    <a:pt x="4927787" y="822855"/>
                  </a:lnTo>
                  <a:cubicBezTo>
                    <a:pt x="4927787" y="848193"/>
                    <a:pt x="4912839" y="861031"/>
                    <a:pt x="4882938" y="861369"/>
                  </a:cubicBezTo>
                  <a:lnTo>
                    <a:pt x="4882938" y="841858"/>
                  </a:lnTo>
                  <a:cubicBezTo>
                    <a:pt x="4890285" y="841689"/>
                    <a:pt x="4895501" y="839662"/>
                    <a:pt x="4898583" y="835777"/>
                  </a:cubicBezTo>
                  <a:cubicBezTo>
                    <a:pt x="4901667" y="831892"/>
                    <a:pt x="4903208" y="825473"/>
                    <a:pt x="4903208" y="816520"/>
                  </a:cubicBezTo>
                  <a:lnTo>
                    <a:pt x="4903208" y="781173"/>
                  </a:lnTo>
                  <a:cubicBezTo>
                    <a:pt x="4903208" y="764027"/>
                    <a:pt x="4911527" y="753596"/>
                    <a:pt x="4928167" y="749879"/>
                  </a:cubicBezTo>
                  <a:lnTo>
                    <a:pt x="4928167" y="749500"/>
                  </a:lnTo>
                  <a:cubicBezTo>
                    <a:pt x="4911527" y="745529"/>
                    <a:pt x="4903208" y="735014"/>
                    <a:pt x="4903208" y="717952"/>
                  </a:cubicBezTo>
                  <a:lnTo>
                    <a:pt x="4903208" y="682226"/>
                  </a:lnTo>
                  <a:cubicBezTo>
                    <a:pt x="4903208" y="666431"/>
                    <a:pt x="4896452" y="658365"/>
                    <a:pt x="4882938" y="658027"/>
                  </a:cubicBezTo>
                  <a:close/>
                  <a:moveTo>
                    <a:pt x="4865453" y="638389"/>
                  </a:moveTo>
                  <a:lnTo>
                    <a:pt x="4865453" y="658027"/>
                  </a:lnTo>
                  <a:cubicBezTo>
                    <a:pt x="4852023" y="658365"/>
                    <a:pt x="4845309" y="666431"/>
                    <a:pt x="4845309" y="682226"/>
                  </a:cubicBezTo>
                  <a:lnTo>
                    <a:pt x="4845309" y="717952"/>
                  </a:lnTo>
                  <a:cubicBezTo>
                    <a:pt x="4845309" y="735014"/>
                    <a:pt x="4836904" y="745529"/>
                    <a:pt x="4820097" y="749500"/>
                  </a:cubicBezTo>
                  <a:lnTo>
                    <a:pt x="4820097" y="749879"/>
                  </a:lnTo>
                  <a:cubicBezTo>
                    <a:pt x="4836904" y="753596"/>
                    <a:pt x="4845309" y="764027"/>
                    <a:pt x="4845309" y="781173"/>
                  </a:cubicBezTo>
                  <a:lnTo>
                    <a:pt x="4845309" y="816520"/>
                  </a:lnTo>
                  <a:cubicBezTo>
                    <a:pt x="4845309" y="825557"/>
                    <a:pt x="4846809" y="831997"/>
                    <a:pt x="4849806" y="835840"/>
                  </a:cubicBezTo>
                  <a:cubicBezTo>
                    <a:pt x="4852805" y="839683"/>
                    <a:pt x="4858021" y="841689"/>
                    <a:pt x="4865453" y="841858"/>
                  </a:cubicBezTo>
                  <a:lnTo>
                    <a:pt x="4865453" y="861369"/>
                  </a:lnTo>
                  <a:cubicBezTo>
                    <a:pt x="4835384" y="861031"/>
                    <a:pt x="4820350" y="848193"/>
                    <a:pt x="4820350" y="822855"/>
                  </a:cubicBezTo>
                  <a:lnTo>
                    <a:pt x="4820350" y="785480"/>
                  </a:lnTo>
                  <a:cubicBezTo>
                    <a:pt x="4820350" y="768757"/>
                    <a:pt x="4813762" y="759972"/>
                    <a:pt x="4800586" y="759127"/>
                  </a:cubicBezTo>
                  <a:lnTo>
                    <a:pt x="4800586" y="740631"/>
                  </a:lnTo>
                  <a:cubicBezTo>
                    <a:pt x="4813762" y="739786"/>
                    <a:pt x="4820350" y="730833"/>
                    <a:pt x="4820350" y="713771"/>
                  </a:cubicBezTo>
                  <a:lnTo>
                    <a:pt x="4820350" y="677411"/>
                  </a:lnTo>
                  <a:cubicBezTo>
                    <a:pt x="4820350" y="651734"/>
                    <a:pt x="4835384" y="638727"/>
                    <a:pt x="4865453" y="638389"/>
                  </a:cubicBezTo>
                  <a:close/>
                  <a:moveTo>
                    <a:pt x="2058393" y="638389"/>
                  </a:moveTo>
                  <a:cubicBezTo>
                    <a:pt x="2088293" y="638727"/>
                    <a:pt x="2103243" y="651734"/>
                    <a:pt x="2103243" y="677411"/>
                  </a:cubicBezTo>
                  <a:lnTo>
                    <a:pt x="2103243" y="713771"/>
                  </a:lnTo>
                  <a:cubicBezTo>
                    <a:pt x="2103243" y="730833"/>
                    <a:pt x="2109787" y="739786"/>
                    <a:pt x="2122880" y="740631"/>
                  </a:cubicBezTo>
                  <a:lnTo>
                    <a:pt x="2122880" y="759127"/>
                  </a:lnTo>
                  <a:cubicBezTo>
                    <a:pt x="2109787" y="759972"/>
                    <a:pt x="2103243" y="768757"/>
                    <a:pt x="2103243" y="785480"/>
                  </a:cubicBezTo>
                  <a:lnTo>
                    <a:pt x="2103243" y="822855"/>
                  </a:lnTo>
                  <a:cubicBezTo>
                    <a:pt x="2103243" y="848193"/>
                    <a:pt x="2088293" y="861031"/>
                    <a:pt x="2058393" y="861369"/>
                  </a:cubicBezTo>
                  <a:lnTo>
                    <a:pt x="2058393" y="841858"/>
                  </a:lnTo>
                  <a:cubicBezTo>
                    <a:pt x="2065740" y="841689"/>
                    <a:pt x="2070956" y="839662"/>
                    <a:pt x="2074040" y="835777"/>
                  </a:cubicBezTo>
                  <a:cubicBezTo>
                    <a:pt x="2077123" y="831892"/>
                    <a:pt x="2078664" y="825473"/>
                    <a:pt x="2078664" y="816520"/>
                  </a:cubicBezTo>
                  <a:lnTo>
                    <a:pt x="2078664" y="781173"/>
                  </a:lnTo>
                  <a:cubicBezTo>
                    <a:pt x="2078664" y="764027"/>
                    <a:pt x="2086984" y="753596"/>
                    <a:pt x="2103623" y="749879"/>
                  </a:cubicBezTo>
                  <a:lnTo>
                    <a:pt x="2103623" y="749500"/>
                  </a:lnTo>
                  <a:cubicBezTo>
                    <a:pt x="2086984" y="745529"/>
                    <a:pt x="2078664" y="735014"/>
                    <a:pt x="2078664" y="717952"/>
                  </a:cubicBezTo>
                  <a:lnTo>
                    <a:pt x="2078664" y="682226"/>
                  </a:lnTo>
                  <a:cubicBezTo>
                    <a:pt x="2078664" y="666431"/>
                    <a:pt x="2071907" y="658365"/>
                    <a:pt x="2058393" y="658027"/>
                  </a:cubicBezTo>
                  <a:close/>
                  <a:moveTo>
                    <a:pt x="2040908" y="638389"/>
                  </a:moveTo>
                  <a:lnTo>
                    <a:pt x="2040908" y="658027"/>
                  </a:lnTo>
                  <a:cubicBezTo>
                    <a:pt x="2027479" y="658365"/>
                    <a:pt x="2020765" y="666431"/>
                    <a:pt x="2020765" y="682226"/>
                  </a:cubicBezTo>
                  <a:lnTo>
                    <a:pt x="2020765" y="717952"/>
                  </a:lnTo>
                  <a:cubicBezTo>
                    <a:pt x="2020765" y="735014"/>
                    <a:pt x="2012361" y="745529"/>
                    <a:pt x="1995553" y="749500"/>
                  </a:cubicBezTo>
                  <a:lnTo>
                    <a:pt x="1995553" y="749879"/>
                  </a:lnTo>
                  <a:cubicBezTo>
                    <a:pt x="2012361" y="753596"/>
                    <a:pt x="2020765" y="764027"/>
                    <a:pt x="2020765" y="781173"/>
                  </a:cubicBezTo>
                  <a:lnTo>
                    <a:pt x="2020765" y="816520"/>
                  </a:lnTo>
                  <a:cubicBezTo>
                    <a:pt x="2020765" y="825557"/>
                    <a:pt x="2022263" y="831997"/>
                    <a:pt x="2025262" y="835840"/>
                  </a:cubicBezTo>
                  <a:cubicBezTo>
                    <a:pt x="2028260" y="839683"/>
                    <a:pt x="2033476" y="841689"/>
                    <a:pt x="2040908" y="841858"/>
                  </a:cubicBezTo>
                  <a:lnTo>
                    <a:pt x="2040908" y="861369"/>
                  </a:lnTo>
                  <a:cubicBezTo>
                    <a:pt x="2010839" y="861031"/>
                    <a:pt x="1995806" y="848193"/>
                    <a:pt x="1995806" y="822855"/>
                  </a:cubicBezTo>
                  <a:lnTo>
                    <a:pt x="1995806" y="785480"/>
                  </a:lnTo>
                  <a:cubicBezTo>
                    <a:pt x="1995806" y="768757"/>
                    <a:pt x="1989217" y="759972"/>
                    <a:pt x="1976041" y="759127"/>
                  </a:cubicBezTo>
                  <a:lnTo>
                    <a:pt x="1976041" y="740631"/>
                  </a:lnTo>
                  <a:cubicBezTo>
                    <a:pt x="1989217" y="739786"/>
                    <a:pt x="1995806" y="730833"/>
                    <a:pt x="1995806" y="713771"/>
                  </a:cubicBezTo>
                  <a:lnTo>
                    <a:pt x="1995806" y="677411"/>
                  </a:lnTo>
                  <a:cubicBezTo>
                    <a:pt x="1995806" y="651734"/>
                    <a:pt x="2010839" y="638727"/>
                    <a:pt x="2040908" y="638389"/>
                  </a:cubicBezTo>
                  <a:close/>
                  <a:moveTo>
                    <a:pt x="9005765" y="498119"/>
                  </a:moveTo>
                  <a:cubicBezTo>
                    <a:pt x="9001215" y="516139"/>
                    <a:pt x="8996036" y="527514"/>
                    <a:pt x="8982416" y="537631"/>
                  </a:cubicBezTo>
                  <a:cubicBezTo>
                    <a:pt x="8981039" y="545025"/>
                    <a:pt x="8993432" y="541074"/>
                    <a:pt x="8998940" y="541044"/>
                  </a:cubicBezTo>
                  <a:cubicBezTo>
                    <a:pt x="9004448" y="541014"/>
                    <a:pt x="9013997" y="542496"/>
                    <a:pt x="9015463" y="537452"/>
                  </a:cubicBezTo>
                  <a:cubicBezTo>
                    <a:pt x="9016451" y="533979"/>
                    <a:pt x="9014026" y="531315"/>
                    <a:pt x="9012500" y="527933"/>
                  </a:cubicBezTo>
                  <a:cubicBezTo>
                    <a:pt x="9011722" y="524221"/>
                    <a:pt x="9014610" y="519611"/>
                    <a:pt x="9013488" y="514642"/>
                  </a:cubicBezTo>
                  <a:cubicBezTo>
                    <a:pt x="9012365" y="509673"/>
                    <a:pt x="9009057" y="501830"/>
                    <a:pt x="9005765" y="498119"/>
                  </a:cubicBezTo>
                  <a:close/>
                  <a:moveTo>
                    <a:pt x="2945029" y="498119"/>
                  </a:moveTo>
                  <a:cubicBezTo>
                    <a:pt x="2940478" y="516139"/>
                    <a:pt x="2935299" y="527514"/>
                    <a:pt x="2921680" y="537631"/>
                  </a:cubicBezTo>
                  <a:cubicBezTo>
                    <a:pt x="2920303" y="545025"/>
                    <a:pt x="2932695" y="541074"/>
                    <a:pt x="2938203" y="541044"/>
                  </a:cubicBezTo>
                  <a:cubicBezTo>
                    <a:pt x="2943711" y="541014"/>
                    <a:pt x="2953261" y="542496"/>
                    <a:pt x="2954726" y="537452"/>
                  </a:cubicBezTo>
                  <a:cubicBezTo>
                    <a:pt x="2955715" y="533979"/>
                    <a:pt x="2953290" y="531315"/>
                    <a:pt x="2951763" y="527933"/>
                  </a:cubicBezTo>
                  <a:cubicBezTo>
                    <a:pt x="2950986" y="524221"/>
                    <a:pt x="2953874" y="519611"/>
                    <a:pt x="2952751" y="514642"/>
                  </a:cubicBezTo>
                  <a:cubicBezTo>
                    <a:pt x="2951629" y="509673"/>
                    <a:pt x="2948321" y="501830"/>
                    <a:pt x="2945029" y="498119"/>
                  </a:cubicBezTo>
                  <a:close/>
                  <a:moveTo>
                    <a:pt x="8844660" y="481595"/>
                  </a:moveTo>
                  <a:cubicBezTo>
                    <a:pt x="8839811" y="487133"/>
                    <a:pt x="8830921" y="497700"/>
                    <a:pt x="8830921" y="501980"/>
                  </a:cubicBezTo>
                  <a:cubicBezTo>
                    <a:pt x="8831190" y="507308"/>
                    <a:pt x="8845468" y="523054"/>
                    <a:pt x="8852563" y="523712"/>
                  </a:cubicBezTo>
                  <a:cubicBezTo>
                    <a:pt x="8858430" y="523862"/>
                    <a:pt x="8858999" y="520779"/>
                    <a:pt x="8861543" y="516438"/>
                  </a:cubicBezTo>
                  <a:cubicBezTo>
                    <a:pt x="8853401" y="504914"/>
                    <a:pt x="8850018" y="499047"/>
                    <a:pt x="8844660" y="481595"/>
                  </a:cubicBezTo>
                  <a:close/>
                  <a:moveTo>
                    <a:pt x="2783925" y="481595"/>
                  </a:moveTo>
                  <a:cubicBezTo>
                    <a:pt x="2779075" y="487133"/>
                    <a:pt x="2770185" y="497700"/>
                    <a:pt x="2770185" y="501980"/>
                  </a:cubicBezTo>
                  <a:cubicBezTo>
                    <a:pt x="2770454" y="507308"/>
                    <a:pt x="2784733" y="523054"/>
                    <a:pt x="2791826" y="523712"/>
                  </a:cubicBezTo>
                  <a:cubicBezTo>
                    <a:pt x="2797693" y="523862"/>
                    <a:pt x="2798263" y="520779"/>
                    <a:pt x="2800806" y="516438"/>
                  </a:cubicBezTo>
                  <a:cubicBezTo>
                    <a:pt x="2792664" y="504914"/>
                    <a:pt x="2789282" y="499047"/>
                    <a:pt x="2783925" y="481595"/>
                  </a:cubicBezTo>
                  <a:close/>
                  <a:moveTo>
                    <a:pt x="8828161" y="412842"/>
                  </a:moveTo>
                  <a:lnTo>
                    <a:pt x="8827959" y="414368"/>
                  </a:lnTo>
                  <a:lnTo>
                    <a:pt x="8827892" y="413100"/>
                  </a:lnTo>
                  <a:close/>
                  <a:moveTo>
                    <a:pt x="2767424" y="412841"/>
                  </a:moveTo>
                  <a:lnTo>
                    <a:pt x="2767222" y="414369"/>
                  </a:lnTo>
                  <a:lnTo>
                    <a:pt x="2767156" y="413100"/>
                  </a:lnTo>
                  <a:close/>
                  <a:moveTo>
                    <a:pt x="9031448" y="385462"/>
                  </a:moveTo>
                  <a:cubicBezTo>
                    <a:pt x="9031411" y="385635"/>
                    <a:pt x="9028533" y="386705"/>
                    <a:pt x="9027429" y="388336"/>
                  </a:cubicBezTo>
                  <a:cubicBezTo>
                    <a:pt x="9031998" y="389858"/>
                    <a:pt x="9033602" y="391291"/>
                    <a:pt x="9034399" y="396764"/>
                  </a:cubicBezTo>
                  <a:cubicBezTo>
                    <a:pt x="9034614" y="396723"/>
                    <a:pt x="9036118" y="395509"/>
                    <a:pt x="9041326" y="395026"/>
                  </a:cubicBezTo>
                  <a:cubicBezTo>
                    <a:pt x="9029502" y="399756"/>
                    <a:pt x="9023516" y="404845"/>
                    <a:pt x="9014925" y="414334"/>
                  </a:cubicBezTo>
                  <a:cubicBezTo>
                    <a:pt x="9017641" y="408990"/>
                    <a:pt x="9019956" y="406726"/>
                    <a:pt x="9019975" y="406659"/>
                  </a:cubicBezTo>
                  <a:cubicBezTo>
                    <a:pt x="9015478" y="405131"/>
                    <a:pt x="9014213" y="404771"/>
                    <a:pt x="9012141" y="399651"/>
                  </a:cubicBezTo>
                  <a:cubicBezTo>
                    <a:pt x="9011868" y="399801"/>
                    <a:pt x="9011415" y="399569"/>
                    <a:pt x="9007291" y="403737"/>
                  </a:cubicBezTo>
                  <a:cubicBezTo>
                    <a:pt x="9014535" y="389489"/>
                    <a:pt x="9021330" y="388576"/>
                    <a:pt x="9031448" y="385462"/>
                  </a:cubicBezTo>
                  <a:close/>
                  <a:moveTo>
                    <a:pt x="2970711" y="385462"/>
                  </a:moveTo>
                  <a:cubicBezTo>
                    <a:pt x="2970674" y="385635"/>
                    <a:pt x="2967797" y="386705"/>
                    <a:pt x="2966693" y="388336"/>
                  </a:cubicBezTo>
                  <a:cubicBezTo>
                    <a:pt x="2971262" y="389858"/>
                    <a:pt x="2972865" y="391291"/>
                    <a:pt x="2973663" y="396764"/>
                  </a:cubicBezTo>
                  <a:cubicBezTo>
                    <a:pt x="2973878" y="396723"/>
                    <a:pt x="2975381" y="395509"/>
                    <a:pt x="2980590" y="395026"/>
                  </a:cubicBezTo>
                  <a:cubicBezTo>
                    <a:pt x="2968766" y="399756"/>
                    <a:pt x="2962780" y="404845"/>
                    <a:pt x="2954189" y="414334"/>
                  </a:cubicBezTo>
                  <a:cubicBezTo>
                    <a:pt x="2956904" y="408990"/>
                    <a:pt x="2959221" y="406726"/>
                    <a:pt x="2959239" y="406659"/>
                  </a:cubicBezTo>
                  <a:cubicBezTo>
                    <a:pt x="2954741" y="405131"/>
                    <a:pt x="2953477" y="404771"/>
                    <a:pt x="2951404" y="399651"/>
                  </a:cubicBezTo>
                  <a:cubicBezTo>
                    <a:pt x="2951131" y="399801"/>
                    <a:pt x="2950678" y="399569"/>
                    <a:pt x="2946555" y="403737"/>
                  </a:cubicBezTo>
                  <a:cubicBezTo>
                    <a:pt x="2953799" y="389489"/>
                    <a:pt x="2960595" y="388576"/>
                    <a:pt x="2970711" y="385462"/>
                  </a:cubicBezTo>
                  <a:close/>
                  <a:moveTo>
                    <a:pt x="9004699" y="368940"/>
                  </a:moveTo>
                  <a:cubicBezTo>
                    <a:pt x="9005404" y="368884"/>
                    <a:pt x="9006169" y="368904"/>
                    <a:pt x="9007000" y="368977"/>
                  </a:cubicBezTo>
                  <a:cubicBezTo>
                    <a:pt x="9009215" y="369171"/>
                    <a:pt x="9011901" y="369740"/>
                    <a:pt x="9015194" y="370241"/>
                  </a:cubicBezTo>
                  <a:cubicBezTo>
                    <a:pt x="9003999" y="372007"/>
                    <a:pt x="9000886" y="378263"/>
                    <a:pt x="8996156" y="389279"/>
                  </a:cubicBezTo>
                  <a:cubicBezTo>
                    <a:pt x="8997728" y="373446"/>
                    <a:pt x="8999763" y="369331"/>
                    <a:pt x="9004699" y="368940"/>
                  </a:cubicBezTo>
                  <a:close/>
                  <a:moveTo>
                    <a:pt x="2943962" y="368940"/>
                  </a:moveTo>
                  <a:cubicBezTo>
                    <a:pt x="2944669" y="368884"/>
                    <a:pt x="2945432" y="368904"/>
                    <a:pt x="2946264" y="368977"/>
                  </a:cubicBezTo>
                  <a:cubicBezTo>
                    <a:pt x="2948478" y="369171"/>
                    <a:pt x="2951165" y="369740"/>
                    <a:pt x="2954458" y="370241"/>
                  </a:cubicBezTo>
                  <a:cubicBezTo>
                    <a:pt x="2943262" y="372007"/>
                    <a:pt x="2940149" y="378263"/>
                    <a:pt x="2935420" y="389279"/>
                  </a:cubicBezTo>
                  <a:cubicBezTo>
                    <a:pt x="2936991" y="373446"/>
                    <a:pt x="2939026" y="369331"/>
                    <a:pt x="2943962" y="368940"/>
                  </a:cubicBezTo>
                  <a:close/>
                  <a:moveTo>
                    <a:pt x="9107997" y="346712"/>
                  </a:moveTo>
                  <a:cubicBezTo>
                    <a:pt x="9109606" y="348783"/>
                    <a:pt x="9104712" y="356576"/>
                    <a:pt x="9099744" y="360728"/>
                  </a:cubicBezTo>
                  <a:cubicBezTo>
                    <a:pt x="9094777" y="364880"/>
                    <a:pt x="9087458" y="364454"/>
                    <a:pt x="9087486" y="362733"/>
                  </a:cubicBezTo>
                  <a:cubicBezTo>
                    <a:pt x="9087514" y="361012"/>
                    <a:pt x="9095284" y="358729"/>
                    <a:pt x="9098703" y="356059"/>
                  </a:cubicBezTo>
                  <a:cubicBezTo>
                    <a:pt x="9102121" y="353389"/>
                    <a:pt x="9106861" y="345720"/>
                    <a:pt x="9107997" y="346712"/>
                  </a:cubicBezTo>
                  <a:close/>
                  <a:moveTo>
                    <a:pt x="3047262" y="346712"/>
                  </a:moveTo>
                  <a:cubicBezTo>
                    <a:pt x="3048870" y="348783"/>
                    <a:pt x="3043975" y="356576"/>
                    <a:pt x="3039007" y="360728"/>
                  </a:cubicBezTo>
                  <a:cubicBezTo>
                    <a:pt x="3034040" y="364880"/>
                    <a:pt x="3026721" y="364454"/>
                    <a:pt x="3026750" y="362733"/>
                  </a:cubicBezTo>
                  <a:cubicBezTo>
                    <a:pt x="3026777" y="361012"/>
                    <a:pt x="3034547" y="358729"/>
                    <a:pt x="3037966" y="356059"/>
                  </a:cubicBezTo>
                  <a:cubicBezTo>
                    <a:pt x="3041384" y="353389"/>
                    <a:pt x="3046124" y="345720"/>
                    <a:pt x="3047262" y="346712"/>
                  </a:cubicBezTo>
                  <a:close/>
                  <a:moveTo>
                    <a:pt x="10088691" y="330076"/>
                  </a:moveTo>
                  <a:cubicBezTo>
                    <a:pt x="10125148" y="330414"/>
                    <a:pt x="10143377" y="343421"/>
                    <a:pt x="10143377" y="369097"/>
                  </a:cubicBezTo>
                  <a:lnTo>
                    <a:pt x="10143377" y="405458"/>
                  </a:lnTo>
                  <a:cubicBezTo>
                    <a:pt x="10143377" y="422520"/>
                    <a:pt x="10151358" y="431473"/>
                    <a:pt x="10167321" y="432318"/>
                  </a:cubicBezTo>
                  <a:lnTo>
                    <a:pt x="10167321" y="450814"/>
                  </a:lnTo>
                  <a:cubicBezTo>
                    <a:pt x="10151358" y="451659"/>
                    <a:pt x="10143377" y="460443"/>
                    <a:pt x="10143377" y="477167"/>
                  </a:cubicBezTo>
                  <a:lnTo>
                    <a:pt x="10143377" y="514542"/>
                  </a:lnTo>
                  <a:cubicBezTo>
                    <a:pt x="10143377" y="539880"/>
                    <a:pt x="10125148" y="552718"/>
                    <a:pt x="10088691" y="553056"/>
                  </a:cubicBezTo>
                  <a:lnTo>
                    <a:pt x="10088691" y="533545"/>
                  </a:lnTo>
                  <a:cubicBezTo>
                    <a:pt x="10097651" y="533376"/>
                    <a:pt x="10104010" y="531349"/>
                    <a:pt x="10107769" y="527464"/>
                  </a:cubicBezTo>
                  <a:cubicBezTo>
                    <a:pt x="10111528" y="523579"/>
                    <a:pt x="10113408" y="517160"/>
                    <a:pt x="10113408" y="508207"/>
                  </a:cubicBezTo>
                  <a:lnTo>
                    <a:pt x="10113408" y="472859"/>
                  </a:lnTo>
                  <a:cubicBezTo>
                    <a:pt x="10113408" y="455714"/>
                    <a:pt x="10123552" y="445282"/>
                    <a:pt x="10143840" y="441566"/>
                  </a:cubicBezTo>
                  <a:lnTo>
                    <a:pt x="10143840" y="441186"/>
                  </a:lnTo>
                  <a:cubicBezTo>
                    <a:pt x="10123552" y="437216"/>
                    <a:pt x="10113408" y="426701"/>
                    <a:pt x="10113408" y="409639"/>
                  </a:cubicBezTo>
                  <a:lnTo>
                    <a:pt x="10113408" y="373912"/>
                  </a:lnTo>
                  <a:cubicBezTo>
                    <a:pt x="10113408" y="358117"/>
                    <a:pt x="10105169" y="350051"/>
                    <a:pt x="10088691" y="349714"/>
                  </a:cubicBezTo>
                  <a:close/>
                  <a:moveTo>
                    <a:pt x="10067372" y="330076"/>
                  </a:moveTo>
                  <a:lnTo>
                    <a:pt x="10067372" y="349714"/>
                  </a:lnTo>
                  <a:cubicBezTo>
                    <a:pt x="10050998" y="350051"/>
                    <a:pt x="10042810" y="358117"/>
                    <a:pt x="10042810" y="373912"/>
                  </a:cubicBezTo>
                  <a:lnTo>
                    <a:pt x="10042810" y="409639"/>
                  </a:lnTo>
                  <a:cubicBezTo>
                    <a:pt x="10042810" y="426701"/>
                    <a:pt x="10032563" y="437216"/>
                    <a:pt x="10012069" y="441186"/>
                  </a:cubicBezTo>
                  <a:lnTo>
                    <a:pt x="10012069" y="441566"/>
                  </a:lnTo>
                  <a:cubicBezTo>
                    <a:pt x="10032563" y="445282"/>
                    <a:pt x="10042810" y="455714"/>
                    <a:pt x="10042810" y="472859"/>
                  </a:cubicBezTo>
                  <a:lnTo>
                    <a:pt x="10042810" y="508207"/>
                  </a:lnTo>
                  <a:cubicBezTo>
                    <a:pt x="10042810" y="517244"/>
                    <a:pt x="10044638" y="523684"/>
                    <a:pt x="10048294" y="527527"/>
                  </a:cubicBezTo>
                  <a:cubicBezTo>
                    <a:pt x="10051950" y="531370"/>
                    <a:pt x="10058310" y="533376"/>
                    <a:pt x="10067372" y="533545"/>
                  </a:cubicBezTo>
                  <a:lnTo>
                    <a:pt x="10067372" y="553056"/>
                  </a:lnTo>
                  <a:cubicBezTo>
                    <a:pt x="10030709" y="552718"/>
                    <a:pt x="10012378" y="539880"/>
                    <a:pt x="10012378" y="514542"/>
                  </a:cubicBezTo>
                  <a:lnTo>
                    <a:pt x="10012378" y="477167"/>
                  </a:lnTo>
                  <a:cubicBezTo>
                    <a:pt x="10012378" y="460443"/>
                    <a:pt x="10004345" y="451659"/>
                    <a:pt x="9988279" y="450814"/>
                  </a:cubicBezTo>
                  <a:lnTo>
                    <a:pt x="9988279" y="432318"/>
                  </a:lnTo>
                  <a:cubicBezTo>
                    <a:pt x="10004345" y="431473"/>
                    <a:pt x="10012378" y="422520"/>
                    <a:pt x="10012378" y="405458"/>
                  </a:cubicBezTo>
                  <a:lnTo>
                    <a:pt x="10012378" y="369097"/>
                  </a:lnTo>
                  <a:cubicBezTo>
                    <a:pt x="10012378" y="343421"/>
                    <a:pt x="10030709" y="330414"/>
                    <a:pt x="10067372" y="330076"/>
                  </a:cubicBezTo>
                  <a:close/>
                  <a:moveTo>
                    <a:pt x="4025465" y="330076"/>
                  </a:moveTo>
                  <a:cubicBezTo>
                    <a:pt x="4061923" y="330414"/>
                    <a:pt x="4080151" y="343421"/>
                    <a:pt x="4080151" y="369097"/>
                  </a:cubicBezTo>
                  <a:lnTo>
                    <a:pt x="4080151" y="405458"/>
                  </a:lnTo>
                  <a:cubicBezTo>
                    <a:pt x="4080151" y="422520"/>
                    <a:pt x="4088132" y="431473"/>
                    <a:pt x="4104095" y="432318"/>
                  </a:cubicBezTo>
                  <a:lnTo>
                    <a:pt x="4104095" y="450814"/>
                  </a:lnTo>
                  <a:cubicBezTo>
                    <a:pt x="4088132" y="451659"/>
                    <a:pt x="4080151" y="460443"/>
                    <a:pt x="4080151" y="477167"/>
                  </a:cubicBezTo>
                  <a:lnTo>
                    <a:pt x="4080151" y="514542"/>
                  </a:lnTo>
                  <a:cubicBezTo>
                    <a:pt x="4080151" y="539880"/>
                    <a:pt x="4061923" y="552718"/>
                    <a:pt x="4025465" y="553056"/>
                  </a:cubicBezTo>
                  <a:lnTo>
                    <a:pt x="4025465" y="533545"/>
                  </a:lnTo>
                  <a:cubicBezTo>
                    <a:pt x="4034425" y="533376"/>
                    <a:pt x="4040784" y="531349"/>
                    <a:pt x="4044543" y="527464"/>
                  </a:cubicBezTo>
                  <a:cubicBezTo>
                    <a:pt x="4048302" y="523579"/>
                    <a:pt x="4050182" y="517160"/>
                    <a:pt x="4050182" y="508207"/>
                  </a:cubicBezTo>
                  <a:lnTo>
                    <a:pt x="4050182" y="472859"/>
                  </a:lnTo>
                  <a:cubicBezTo>
                    <a:pt x="4050182" y="455714"/>
                    <a:pt x="4060326" y="445282"/>
                    <a:pt x="4080614" y="441566"/>
                  </a:cubicBezTo>
                  <a:lnTo>
                    <a:pt x="4080614" y="441186"/>
                  </a:lnTo>
                  <a:cubicBezTo>
                    <a:pt x="4060326" y="437216"/>
                    <a:pt x="4050182" y="426701"/>
                    <a:pt x="4050182" y="409639"/>
                  </a:cubicBezTo>
                  <a:lnTo>
                    <a:pt x="4050182" y="373912"/>
                  </a:lnTo>
                  <a:cubicBezTo>
                    <a:pt x="4050182" y="358117"/>
                    <a:pt x="4041943" y="350051"/>
                    <a:pt x="4025465" y="349714"/>
                  </a:cubicBezTo>
                  <a:close/>
                  <a:moveTo>
                    <a:pt x="4004147" y="330076"/>
                  </a:moveTo>
                  <a:lnTo>
                    <a:pt x="4004147" y="349714"/>
                  </a:lnTo>
                  <a:cubicBezTo>
                    <a:pt x="3987772" y="350051"/>
                    <a:pt x="3979585" y="358117"/>
                    <a:pt x="3979585" y="373912"/>
                  </a:cubicBezTo>
                  <a:lnTo>
                    <a:pt x="3979585" y="409639"/>
                  </a:lnTo>
                  <a:cubicBezTo>
                    <a:pt x="3979585" y="426701"/>
                    <a:pt x="3969338" y="437216"/>
                    <a:pt x="3948843" y="441186"/>
                  </a:cubicBezTo>
                  <a:lnTo>
                    <a:pt x="3948843" y="441566"/>
                  </a:lnTo>
                  <a:cubicBezTo>
                    <a:pt x="3969338" y="445282"/>
                    <a:pt x="3979585" y="455714"/>
                    <a:pt x="3979585" y="472859"/>
                  </a:cubicBezTo>
                  <a:lnTo>
                    <a:pt x="3979585" y="508207"/>
                  </a:lnTo>
                  <a:cubicBezTo>
                    <a:pt x="3979585" y="517244"/>
                    <a:pt x="3981412" y="523684"/>
                    <a:pt x="3985069" y="527527"/>
                  </a:cubicBezTo>
                  <a:cubicBezTo>
                    <a:pt x="3988725" y="531370"/>
                    <a:pt x="3995084" y="533376"/>
                    <a:pt x="4004147" y="533545"/>
                  </a:cubicBezTo>
                  <a:lnTo>
                    <a:pt x="4004147" y="553056"/>
                  </a:lnTo>
                  <a:cubicBezTo>
                    <a:pt x="3967484" y="552718"/>
                    <a:pt x="3949152" y="539880"/>
                    <a:pt x="3949152" y="514542"/>
                  </a:cubicBezTo>
                  <a:lnTo>
                    <a:pt x="3949152" y="477167"/>
                  </a:lnTo>
                  <a:cubicBezTo>
                    <a:pt x="3949152" y="460443"/>
                    <a:pt x="3941119" y="451659"/>
                    <a:pt x="3925053" y="450814"/>
                  </a:cubicBezTo>
                  <a:lnTo>
                    <a:pt x="3925053" y="432318"/>
                  </a:lnTo>
                  <a:cubicBezTo>
                    <a:pt x="3941119" y="431473"/>
                    <a:pt x="3949152" y="422520"/>
                    <a:pt x="3949152" y="405458"/>
                  </a:cubicBezTo>
                  <a:lnTo>
                    <a:pt x="3949152" y="369097"/>
                  </a:lnTo>
                  <a:cubicBezTo>
                    <a:pt x="3949152" y="343421"/>
                    <a:pt x="3967484" y="330414"/>
                    <a:pt x="4004147" y="330076"/>
                  </a:cubicBezTo>
                  <a:close/>
                  <a:moveTo>
                    <a:pt x="9003356" y="327579"/>
                  </a:moveTo>
                  <a:cubicBezTo>
                    <a:pt x="9005309" y="327654"/>
                    <a:pt x="9007279" y="327823"/>
                    <a:pt x="9009260" y="328096"/>
                  </a:cubicBezTo>
                  <a:cubicBezTo>
                    <a:pt x="9025103" y="330284"/>
                    <a:pt x="9045485" y="346898"/>
                    <a:pt x="9052536" y="357514"/>
                  </a:cubicBezTo>
                  <a:cubicBezTo>
                    <a:pt x="9062018" y="360108"/>
                    <a:pt x="9068055" y="373844"/>
                    <a:pt x="9070527" y="378666"/>
                  </a:cubicBezTo>
                  <a:cubicBezTo>
                    <a:pt x="9072999" y="383488"/>
                    <a:pt x="9070122" y="386244"/>
                    <a:pt x="9067366" y="386446"/>
                  </a:cubicBezTo>
                  <a:cubicBezTo>
                    <a:pt x="9067326" y="387034"/>
                    <a:pt x="9075866" y="393862"/>
                    <a:pt x="9080480" y="396551"/>
                  </a:cubicBezTo>
                  <a:cubicBezTo>
                    <a:pt x="9084051" y="381027"/>
                    <a:pt x="9078869" y="370608"/>
                    <a:pt x="9078793" y="359217"/>
                  </a:cubicBezTo>
                  <a:cubicBezTo>
                    <a:pt x="9084223" y="349735"/>
                    <a:pt x="9088680" y="353138"/>
                    <a:pt x="9094110" y="349492"/>
                  </a:cubicBezTo>
                  <a:cubicBezTo>
                    <a:pt x="9097352" y="345764"/>
                    <a:pt x="9100350" y="337903"/>
                    <a:pt x="9106023" y="338308"/>
                  </a:cubicBezTo>
                  <a:cubicBezTo>
                    <a:pt x="9115910" y="338713"/>
                    <a:pt x="9128472" y="357110"/>
                    <a:pt x="9128877" y="400791"/>
                  </a:cubicBezTo>
                  <a:cubicBezTo>
                    <a:pt x="9129120" y="435476"/>
                    <a:pt x="9115262" y="458735"/>
                    <a:pt x="9091193" y="469109"/>
                  </a:cubicBezTo>
                  <a:cubicBezTo>
                    <a:pt x="9078884" y="472391"/>
                    <a:pt x="9068320" y="472186"/>
                    <a:pt x="9059166" y="469827"/>
                  </a:cubicBezTo>
                  <a:lnTo>
                    <a:pt x="9055159" y="468432"/>
                  </a:lnTo>
                  <a:lnTo>
                    <a:pt x="9054679" y="470708"/>
                  </a:lnTo>
                  <a:cubicBezTo>
                    <a:pt x="9049794" y="489448"/>
                    <a:pt x="9036059" y="490889"/>
                    <a:pt x="9029925" y="490747"/>
                  </a:cubicBezTo>
                  <a:cubicBezTo>
                    <a:pt x="9022915" y="490585"/>
                    <a:pt x="9012542" y="484101"/>
                    <a:pt x="9008287" y="481022"/>
                  </a:cubicBezTo>
                  <a:cubicBezTo>
                    <a:pt x="9008165" y="485722"/>
                    <a:pt x="9009259" y="487384"/>
                    <a:pt x="9007314" y="493664"/>
                  </a:cubicBezTo>
                  <a:cubicBezTo>
                    <a:pt x="9012420" y="497028"/>
                    <a:pt x="9015499" y="509022"/>
                    <a:pt x="9017039" y="514330"/>
                  </a:cubicBezTo>
                  <a:cubicBezTo>
                    <a:pt x="9018579" y="519638"/>
                    <a:pt x="9016675" y="520854"/>
                    <a:pt x="9016553" y="525514"/>
                  </a:cubicBezTo>
                  <a:cubicBezTo>
                    <a:pt x="9016432" y="530173"/>
                    <a:pt x="9021294" y="533901"/>
                    <a:pt x="9018741" y="539372"/>
                  </a:cubicBezTo>
                  <a:cubicBezTo>
                    <a:pt x="9016188" y="544842"/>
                    <a:pt x="9009543" y="545126"/>
                    <a:pt x="9002695" y="545207"/>
                  </a:cubicBezTo>
                  <a:cubicBezTo>
                    <a:pt x="8995847" y="545288"/>
                    <a:pt x="8980530" y="549988"/>
                    <a:pt x="8977653" y="539858"/>
                  </a:cubicBezTo>
                  <a:cubicBezTo>
                    <a:pt x="8977293" y="538592"/>
                    <a:pt x="8977041" y="537083"/>
                    <a:pt x="8976889" y="535374"/>
                  </a:cubicBezTo>
                  <a:cubicBezTo>
                    <a:pt x="8976875" y="534922"/>
                    <a:pt x="8976862" y="534471"/>
                    <a:pt x="8976849" y="534020"/>
                  </a:cubicBezTo>
                  <a:lnTo>
                    <a:pt x="8973084" y="537588"/>
                  </a:lnTo>
                  <a:cubicBezTo>
                    <a:pt x="8964478" y="545689"/>
                    <a:pt x="8956719" y="552318"/>
                    <a:pt x="8949451" y="552014"/>
                  </a:cubicBezTo>
                  <a:cubicBezTo>
                    <a:pt x="8937335" y="549583"/>
                    <a:pt x="8927975" y="530295"/>
                    <a:pt x="8925868" y="523569"/>
                  </a:cubicBezTo>
                  <a:cubicBezTo>
                    <a:pt x="8923760" y="516842"/>
                    <a:pt x="8930608" y="515586"/>
                    <a:pt x="8936808" y="511655"/>
                  </a:cubicBezTo>
                  <a:cubicBezTo>
                    <a:pt x="8930608" y="515262"/>
                    <a:pt x="8913833" y="512304"/>
                    <a:pt x="8911766" y="509224"/>
                  </a:cubicBezTo>
                  <a:cubicBezTo>
                    <a:pt x="8912374" y="515626"/>
                    <a:pt x="8912009" y="516558"/>
                    <a:pt x="8910794" y="520165"/>
                  </a:cubicBezTo>
                  <a:cubicBezTo>
                    <a:pt x="8909578" y="523771"/>
                    <a:pt x="8906377" y="525878"/>
                    <a:pt x="8904472" y="530862"/>
                  </a:cubicBezTo>
                  <a:cubicBezTo>
                    <a:pt x="8902568" y="535846"/>
                    <a:pt x="8906944" y="548286"/>
                    <a:pt x="8899367" y="550069"/>
                  </a:cubicBezTo>
                  <a:cubicBezTo>
                    <a:pt x="8891789" y="551852"/>
                    <a:pt x="8868247" y="551163"/>
                    <a:pt x="8859008" y="541560"/>
                  </a:cubicBezTo>
                  <a:cubicBezTo>
                    <a:pt x="8855118" y="536819"/>
                    <a:pt x="8861439" y="529485"/>
                    <a:pt x="8859981" y="527459"/>
                  </a:cubicBezTo>
                  <a:cubicBezTo>
                    <a:pt x="8858522" y="525432"/>
                    <a:pt x="8856091" y="533415"/>
                    <a:pt x="8850256" y="529404"/>
                  </a:cubicBezTo>
                  <a:cubicBezTo>
                    <a:pt x="8844421" y="525392"/>
                    <a:pt x="8826632" y="512182"/>
                    <a:pt x="8824971" y="503389"/>
                  </a:cubicBezTo>
                  <a:cubicBezTo>
                    <a:pt x="8823309" y="494596"/>
                    <a:pt x="8833440" y="485357"/>
                    <a:pt x="8840288" y="476645"/>
                  </a:cubicBezTo>
                  <a:cubicBezTo>
                    <a:pt x="8838626" y="467204"/>
                    <a:pt x="8837937" y="460883"/>
                    <a:pt x="8841746" y="449902"/>
                  </a:cubicBezTo>
                  <a:cubicBezTo>
                    <a:pt x="8836641" y="446782"/>
                    <a:pt x="8825538" y="442365"/>
                    <a:pt x="8826186" y="427778"/>
                  </a:cubicBezTo>
                  <a:lnTo>
                    <a:pt x="8827959" y="414368"/>
                  </a:lnTo>
                  <a:lnTo>
                    <a:pt x="8828421" y="423148"/>
                  </a:lnTo>
                  <a:lnTo>
                    <a:pt x="8829250" y="423546"/>
                  </a:lnTo>
                  <a:lnTo>
                    <a:pt x="8829373" y="424728"/>
                  </a:lnTo>
                  <a:cubicBezTo>
                    <a:pt x="8830404" y="433164"/>
                    <a:pt x="8833166" y="442509"/>
                    <a:pt x="8849061" y="438670"/>
                  </a:cubicBezTo>
                  <a:cubicBezTo>
                    <a:pt x="8842224" y="474946"/>
                    <a:pt x="8857665" y="492933"/>
                    <a:pt x="8867407" y="509778"/>
                  </a:cubicBezTo>
                  <a:lnTo>
                    <a:pt x="8868375" y="511640"/>
                  </a:lnTo>
                  <a:lnTo>
                    <a:pt x="8868341" y="512514"/>
                  </a:lnTo>
                  <a:cubicBezTo>
                    <a:pt x="8868048" y="517656"/>
                    <a:pt x="8867313" y="521220"/>
                    <a:pt x="8866931" y="526047"/>
                  </a:cubicBezTo>
                  <a:cubicBezTo>
                    <a:pt x="8865824" y="529849"/>
                    <a:pt x="8863100" y="529429"/>
                    <a:pt x="8863609" y="537452"/>
                  </a:cubicBezTo>
                  <a:cubicBezTo>
                    <a:pt x="8863938" y="542451"/>
                    <a:pt x="8893273" y="550503"/>
                    <a:pt x="8898003" y="544097"/>
                  </a:cubicBezTo>
                  <a:cubicBezTo>
                    <a:pt x="8899380" y="541882"/>
                    <a:pt x="8898781" y="536793"/>
                    <a:pt x="8899170" y="533141"/>
                  </a:cubicBezTo>
                  <a:cubicBezTo>
                    <a:pt x="8899769" y="529070"/>
                    <a:pt x="8905037" y="524640"/>
                    <a:pt x="8905815" y="518863"/>
                  </a:cubicBezTo>
                  <a:cubicBezTo>
                    <a:pt x="8906324" y="514268"/>
                    <a:pt x="8906272" y="509067"/>
                    <a:pt x="8906096" y="503653"/>
                  </a:cubicBezTo>
                  <a:lnTo>
                    <a:pt x="8905886" y="497935"/>
                  </a:lnTo>
                  <a:lnTo>
                    <a:pt x="8907486" y="499797"/>
                  </a:lnTo>
                  <a:cubicBezTo>
                    <a:pt x="8917828" y="510345"/>
                    <a:pt x="8939764" y="513898"/>
                    <a:pt x="8947124" y="497580"/>
                  </a:cubicBezTo>
                  <a:cubicBezTo>
                    <a:pt x="8947214" y="502818"/>
                    <a:pt x="8948920" y="504824"/>
                    <a:pt x="8948022" y="511409"/>
                  </a:cubicBezTo>
                  <a:cubicBezTo>
                    <a:pt x="8945448" y="515570"/>
                    <a:pt x="8933983" y="516498"/>
                    <a:pt x="8930870" y="524161"/>
                  </a:cubicBezTo>
                  <a:cubicBezTo>
                    <a:pt x="8929942" y="527364"/>
                    <a:pt x="8942125" y="546552"/>
                    <a:pt x="8949908" y="547240"/>
                  </a:cubicBezTo>
                  <a:cubicBezTo>
                    <a:pt x="8955566" y="547899"/>
                    <a:pt x="8966072" y="536793"/>
                    <a:pt x="8985200" y="519312"/>
                  </a:cubicBezTo>
                  <a:cubicBezTo>
                    <a:pt x="8988161" y="516606"/>
                    <a:pt x="8999359" y="495365"/>
                    <a:pt x="9004418" y="477195"/>
                  </a:cubicBezTo>
                  <a:cubicBezTo>
                    <a:pt x="8999261" y="474605"/>
                    <a:pt x="8991788" y="468436"/>
                    <a:pt x="8987440" y="458808"/>
                  </a:cubicBezTo>
                  <a:lnTo>
                    <a:pt x="8987245" y="458296"/>
                  </a:lnTo>
                  <a:lnTo>
                    <a:pt x="8989881" y="459956"/>
                  </a:lnTo>
                  <a:cubicBezTo>
                    <a:pt x="8996515" y="464376"/>
                    <a:pt x="9003250" y="469225"/>
                    <a:pt x="9009177" y="470639"/>
                  </a:cubicBezTo>
                  <a:cubicBezTo>
                    <a:pt x="9013548" y="475668"/>
                    <a:pt x="9018636" y="483661"/>
                    <a:pt x="9030640" y="485187"/>
                  </a:cubicBezTo>
                  <a:cubicBezTo>
                    <a:pt x="9040877" y="486923"/>
                    <a:pt x="9048151" y="477255"/>
                    <a:pt x="9051743" y="466688"/>
                  </a:cubicBezTo>
                  <a:lnTo>
                    <a:pt x="9048421" y="466419"/>
                  </a:lnTo>
                  <a:cubicBezTo>
                    <a:pt x="9033154" y="492012"/>
                    <a:pt x="9017020" y="468671"/>
                    <a:pt x="9020440" y="444121"/>
                  </a:cubicBezTo>
                  <a:lnTo>
                    <a:pt x="9021370" y="439313"/>
                  </a:lnTo>
                  <a:lnTo>
                    <a:pt x="9023134" y="441235"/>
                  </a:lnTo>
                  <a:cubicBezTo>
                    <a:pt x="9053612" y="472295"/>
                    <a:pt x="9080261" y="467754"/>
                    <a:pt x="9095387" y="459504"/>
                  </a:cubicBezTo>
                  <a:cubicBezTo>
                    <a:pt x="9136816" y="433970"/>
                    <a:pt x="9124677" y="345849"/>
                    <a:pt x="9107331" y="341594"/>
                  </a:cubicBezTo>
                  <a:cubicBezTo>
                    <a:pt x="9103364" y="340621"/>
                    <a:pt x="9100596" y="350844"/>
                    <a:pt x="9097991" y="352371"/>
                  </a:cubicBezTo>
                  <a:cubicBezTo>
                    <a:pt x="9089999" y="356591"/>
                    <a:pt x="9086497" y="355963"/>
                    <a:pt x="9084341" y="359285"/>
                  </a:cubicBezTo>
                  <a:cubicBezTo>
                    <a:pt x="9080076" y="365515"/>
                    <a:pt x="9095779" y="401580"/>
                    <a:pt x="9075807" y="420492"/>
                  </a:cubicBezTo>
                  <a:lnTo>
                    <a:pt x="9074316" y="421668"/>
                  </a:lnTo>
                  <a:lnTo>
                    <a:pt x="9074630" y="421063"/>
                  </a:lnTo>
                  <a:cubicBezTo>
                    <a:pt x="9078414" y="413750"/>
                    <a:pt x="9082388" y="405376"/>
                    <a:pt x="9077876" y="401851"/>
                  </a:cubicBezTo>
                  <a:cubicBezTo>
                    <a:pt x="9072577" y="397631"/>
                    <a:pt x="9069255" y="400863"/>
                    <a:pt x="9065214" y="404276"/>
                  </a:cubicBezTo>
                  <a:cubicBezTo>
                    <a:pt x="9067818" y="401312"/>
                    <a:pt x="9070961" y="400774"/>
                    <a:pt x="9066561" y="393769"/>
                  </a:cubicBezTo>
                  <a:cubicBezTo>
                    <a:pt x="9063058" y="391404"/>
                    <a:pt x="9061172" y="392003"/>
                    <a:pt x="9054707" y="393679"/>
                  </a:cubicBezTo>
                  <a:cubicBezTo>
                    <a:pt x="9058808" y="390626"/>
                    <a:pt x="9060125" y="391793"/>
                    <a:pt x="9058119" y="385867"/>
                  </a:cubicBezTo>
                  <a:cubicBezTo>
                    <a:pt x="9055380" y="382185"/>
                    <a:pt x="9054005" y="382493"/>
                    <a:pt x="9051266" y="382701"/>
                  </a:cubicBezTo>
                  <a:lnTo>
                    <a:pt x="9049367" y="382714"/>
                  </a:lnTo>
                  <a:lnTo>
                    <a:pt x="9050929" y="382153"/>
                  </a:lnTo>
                  <a:cubicBezTo>
                    <a:pt x="9051804" y="381859"/>
                    <a:pt x="9052596" y="381620"/>
                    <a:pt x="9053270" y="381466"/>
                  </a:cubicBezTo>
                  <a:cubicBezTo>
                    <a:pt x="9058658" y="380239"/>
                    <a:pt x="9064555" y="381930"/>
                    <a:pt x="9064585" y="378862"/>
                  </a:cubicBezTo>
                  <a:cubicBezTo>
                    <a:pt x="9065244" y="375509"/>
                    <a:pt x="9056832" y="365062"/>
                    <a:pt x="9053090" y="364224"/>
                  </a:cubicBezTo>
                  <a:cubicBezTo>
                    <a:pt x="9051092" y="363596"/>
                    <a:pt x="9045861" y="363068"/>
                    <a:pt x="9041110" y="362755"/>
                  </a:cubicBezTo>
                  <a:lnTo>
                    <a:pt x="9040004" y="362696"/>
                  </a:lnTo>
                  <a:lnTo>
                    <a:pt x="9040013" y="362673"/>
                  </a:lnTo>
                  <a:cubicBezTo>
                    <a:pt x="9041141" y="361115"/>
                    <a:pt x="9044896" y="360543"/>
                    <a:pt x="9047792" y="360273"/>
                  </a:cubicBezTo>
                  <a:cubicBezTo>
                    <a:pt x="9035639" y="344229"/>
                    <a:pt x="9019265" y="333931"/>
                    <a:pt x="9005136" y="334141"/>
                  </a:cubicBezTo>
                  <a:cubicBezTo>
                    <a:pt x="8988104" y="334650"/>
                    <a:pt x="8966761" y="339020"/>
                    <a:pt x="8954668" y="357759"/>
                  </a:cubicBezTo>
                  <a:cubicBezTo>
                    <a:pt x="8960849" y="357691"/>
                    <a:pt x="8965447" y="357719"/>
                    <a:pt x="8968900" y="358086"/>
                  </a:cubicBezTo>
                  <a:lnTo>
                    <a:pt x="8969477" y="358169"/>
                  </a:lnTo>
                  <a:lnTo>
                    <a:pt x="8967067" y="358824"/>
                  </a:lnTo>
                  <a:cubicBezTo>
                    <a:pt x="8954261" y="361905"/>
                    <a:pt x="8945339" y="361445"/>
                    <a:pt x="8942468" y="363941"/>
                  </a:cubicBezTo>
                  <a:cubicBezTo>
                    <a:pt x="8936465" y="368141"/>
                    <a:pt x="8897595" y="403951"/>
                    <a:pt x="8895992" y="424226"/>
                  </a:cubicBezTo>
                  <a:cubicBezTo>
                    <a:pt x="8900109" y="434988"/>
                    <a:pt x="8900883" y="427383"/>
                    <a:pt x="8909974" y="446338"/>
                  </a:cubicBezTo>
                  <a:lnTo>
                    <a:pt x="8924480" y="429800"/>
                  </a:lnTo>
                  <a:lnTo>
                    <a:pt x="8907508" y="464906"/>
                  </a:lnTo>
                  <a:cubicBezTo>
                    <a:pt x="8911740" y="471086"/>
                    <a:pt x="8914625" y="474393"/>
                    <a:pt x="8923437" y="474287"/>
                  </a:cubicBezTo>
                  <a:cubicBezTo>
                    <a:pt x="8932848" y="473039"/>
                    <a:pt x="8941540" y="465325"/>
                    <a:pt x="8950592" y="460844"/>
                  </a:cubicBezTo>
                  <a:cubicBezTo>
                    <a:pt x="8959538" y="457121"/>
                    <a:pt x="8962197" y="459683"/>
                    <a:pt x="8968000" y="459103"/>
                  </a:cubicBezTo>
                  <a:cubicBezTo>
                    <a:pt x="8980227" y="425939"/>
                    <a:pt x="8961023" y="426091"/>
                    <a:pt x="8974237" y="390053"/>
                  </a:cubicBezTo>
                  <a:cubicBezTo>
                    <a:pt x="8969540" y="419162"/>
                    <a:pt x="8988191" y="419176"/>
                    <a:pt x="8974963" y="467952"/>
                  </a:cubicBezTo>
                  <a:lnTo>
                    <a:pt x="8972855" y="467607"/>
                  </a:lnTo>
                  <a:lnTo>
                    <a:pt x="8970186" y="466924"/>
                  </a:lnTo>
                  <a:lnTo>
                    <a:pt x="8967452" y="466498"/>
                  </a:lnTo>
                  <a:lnTo>
                    <a:pt x="8966686" y="466320"/>
                  </a:lnTo>
                  <a:cubicBezTo>
                    <a:pt x="8964617" y="465912"/>
                    <a:pt x="8962441" y="465694"/>
                    <a:pt x="8959915" y="466091"/>
                  </a:cubicBezTo>
                  <a:lnTo>
                    <a:pt x="8958929" y="466321"/>
                  </a:lnTo>
                  <a:lnTo>
                    <a:pt x="8958334" y="466372"/>
                  </a:lnTo>
                  <a:cubicBezTo>
                    <a:pt x="8945132" y="468428"/>
                    <a:pt x="8940277" y="480068"/>
                    <a:pt x="8919106" y="482314"/>
                  </a:cubicBezTo>
                  <a:cubicBezTo>
                    <a:pt x="8912794" y="481083"/>
                    <a:pt x="8902700" y="471807"/>
                    <a:pt x="8896766" y="464595"/>
                  </a:cubicBezTo>
                  <a:lnTo>
                    <a:pt x="8896308" y="464001"/>
                  </a:lnTo>
                  <a:lnTo>
                    <a:pt x="8898030" y="461124"/>
                  </a:lnTo>
                  <a:cubicBezTo>
                    <a:pt x="8899870" y="458258"/>
                    <a:pt x="8901883" y="455328"/>
                    <a:pt x="8904109" y="452320"/>
                  </a:cubicBezTo>
                  <a:cubicBezTo>
                    <a:pt x="8900218" y="441873"/>
                    <a:pt x="8889950" y="438251"/>
                    <a:pt x="8887047" y="425289"/>
                  </a:cubicBezTo>
                  <a:cubicBezTo>
                    <a:pt x="8891746" y="411879"/>
                    <a:pt x="8893662" y="403138"/>
                    <a:pt x="8917310" y="379131"/>
                  </a:cubicBezTo>
                  <a:cubicBezTo>
                    <a:pt x="8854449" y="388141"/>
                    <a:pt x="8854635" y="438748"/>
                    <a:pt x="8837255" y="426513"/>
                  </a:cubicBezTo>
                  <a:lnTo>
                    <a:pt x="8833630" y="423250"/>
                  </a:lnTo>
                  <a:lnTo>
                    <a:pt x="8834690" y="422655"/>
                  </a:lnTo>
                  <a:cubicBezTo>
                    <a:pt x="8841096" y="418340"/>
                    <a:pt x="8833510" y="412126"/>
                    <a:pt x="8838644" y="402749"/>
                  </a:cubicBezTo>
                  <a:lnTo>
                    <a:pt x="8828161" y="412842"/>
                  </a:lnTo>
                  <a:lnTo>
                    <a:pt x="8829073" y="405942"/>
                  </a:lnTo>
                  <a:cubicBezTo>
                    <a:pt x="8834169" y="400872"/>
                    <a:pt x="8841057" y="398015"/>
                    <a:pt x="8842719" y="397387"/>
                  </a:cubicBezTo>
                  <a:cubicBezTo>
                    <a:pt x="8839598" y="406909"/>
                    <a:pt x="8846406" y="413555"/>
                    <a:pt x="8842719" y="421213"/>
                  </a:cubicBezTo>
                  <a:cubicBezTo>
                    <a:pt x="8878175" y="376114"/>
                    <a:pt x="8902649" y="373237"/>
                    <a:pt x="8919060" y="372831"/>
                  </a:cubicBezTo>
                  <a:cubicBezTo>
                    <a:pt x="8931824" y="361486"/>
                    <a:pt x="8932918" y="358527"/>
                    <a:pt x="8941671" y="356299"/>
                  </a:cubicBezTo>
                  <a:lnTo>
                    <a:pt x="8947707" y="355666"/>
                  </a:lnTo>
                  <a:lnTo>
                    <a:pt x="8948406" y="354169"/>
                  </a:lnTo>
                  <a:cubicBezTo>
                    <a:pt x="8953778" y="343500"/>
                    <a:pt x="8958467" y="340172"/>
                    <a:pt x="8967685" y="335633"/>
                  </a:cubicBezTo>
                  <a:cubicBezTo>
                    <a:pt x="8976904" y="331095"/>
                    <a:pt x="8989690" y="327053"/>
                    <a:pt x="9003356" y="327579"/>
                  </a:cubicBezTo>
                  <a:close/>
                  <a:moveTo>
                    <a:pt x="2942620" y="327579"/>
                  </a:moveTo>
                  <a:cubicBezTo>
                    <a:pt x="2944572" y="327654"/>
                    <a:pt x="2946542" y="327823"/>
                    <a:pt x="2948523" y="328096"/>
                  </a:cubicBezTo>
                  <a:cubicBezTo>
                    <a:pt x="2964366" y="330284"/>
                    <a:pt x="2984748" y="346898"/>
                    <a:pt x="2991799" y="357514"/>
                  </a:cubicBezTo>
                  <a:cubicBezTo>
                    <a:pt x="3001281" y="360108"/>
                    <a:pt x="3007318" y="373844"/>
                    <a:pt x="3009790" y="378666"/>
                  </a:cubicBezTo>
                  <a:cubicBezTo>
                    <a:pt x="3012262" y="383488"/>
                    <a:pt x="3009385" y="386244"/>
                    <a:pt x="3006630" y="386446"/>
                  </a:cubicBezTo>
                  <a:cubicBezTo>
                    <a:pt x="3006589" y="387034"/>
                    <a:pt x="3015129" y="393862"/>
                    <a:pt x="3019743" y="396551"/>
                  </a:cubicBezTo>
                  <a:cubicBezTo>
                    <a:pt x="3023315" y="381027"/>
                    <a:pt x="3018132" y="370608"/>
                    <a:pt x="3018057" y="359217"/>
                  </a:cubicBezTo>
                  <a:cubicBezTo>
                    <a:pt x="3023486" y="349735"/>
                    <a:pt x="3027944" y="353138"/>
                    <a:pt x="3033374" y="349492"/>
                  </a:cubicBezTo>
                  <a:cubicBezTo>
                    <a:pt x="3036615" y="345764"/>
                    <a:pt x="3039614" y="337903"/>
                    <a:pt x="3045288" y="338308"/>
                  </a:cubicBezTo>
                  <a:cubicBezTo>
                    <a:pt x="3055173" y="338713"/>
                    <a:pt x="3067735" y="357110"/>
                    <a:pt x="3068141" y="400791"/>
                  </a:cubicBezTo>
                  <a:cubicBezTo>
                    <a:pt x="3068383" y="435476"/>
                    <a:pt x="3054526" y="458735"/>
                    <a:pt x="3030456" y="469109"/>
                  </a:cubicBezTo>
                  <a:cubicBezTo>
                    <a:pt x="3018148" y="472391"/>
                    <a:pt x="3007583" y="472186"/>
                    <a:pt x="2998429" y="469827"/>
                  </a:cubicBezTo>
                  <a:lnTo>
                    <a:pt x="2994423" y="468432"/>
                  </a:lnTo>
                  <a:lnTo>
                    <a:pt x="2993942" y="470708"/>
                  </a:lnTo>
                  <a:cubicBezTo>
                    <a:pt x="2989057" y="489448"/>
                    <a:pt x="2975322" y="490889"/>
                    <a:pt x="2969189" y="490747"/>
                  </a:cubicBezTo>
                  <a:cubicBezTo>
                    <a:pt x="2962178" y="490585"/>
                    <a:pt x="2951805" y="484101"/>
                    <a:pt x="2947551" y="481022"/>
                  </a:cubicBezTo>
                  <a:cubicBezTo>
                    <a:pt x="2947429" y="485722"/>
                    <a:pt x="2948523" y="487384"/>
                    <a:pt x="2946577" y="493664"/>
                  </a:cubicBezTo>
                  <a:cubicBezTo>
                    <a:pt x="2951683" y="497028"/>
                    <a:pt x="2954764" y="509022"/>
                    <a:pt x="2956304" y="514330"/>
                  </a:cubicBezTo>
                  <a:cubicBezTo>
                    <a:pt x="2957843" y="519638"/>
                    <a:pt x="2955938" y="520854"/>
                    <a:pt x="2955817" y="525514"/>
                  </a:cubicBezTo>
                  <a:cubicBezTo>
                    <a:pt x="2955696" y="530173"/>
                    <a:pt x="2960557" y="533901"/>
                    <a:pt x="2958005" y="539372"/>
                  </a:cubicBezTo>
                  <a:cubicBezTo>
                    <a:pt x="2955451" y="544842"/>
                    <a:pt x="2948807" y="545126"/>
                    <a:pt x="2941958" y="545207"/>
                  </a:cubicBezTo>
                  <a:cubicBezTo>
                    <a:pt x="2935110" y="545288"/>
                    <a:pt x="2919793" y="549988"/>
                    <a:pt x="2916916" y="539858"/>
                  </a:cubicBezTo>
                  <a:cubicBezTo>
                    <a:pt x="2916558" y="538592"/>
                    <a:pt x="2916306" y="537083"/>
                    <a:pt x="2916152" y="535374"/>
                  </a:cubicBezTo>
                  <a:cubicBezTo>
                    <a:pt x="2916138" y="534922"/>
                    <a:pt x="2916125" y="534471"/>
                    <a:pt x="2916113" y="534020"/>
                  </a:cubicBezTo>
                  <a:lnTo>
                    <a:pt x="2912347" y="537588"/>
                  </a:lnTo>
                  <a:cubicBezTo>
                    <a:pt x="2903741" y="545689"/>
                    <a:pt x="2895982" y="552318"/>
                    <a:pt x="2888714" y="552014"/>
                  </a:cubicBezTo>
                  <a:cubicBezTo>
                    <a:pt x="2876599" y="549583"/>
                    <a:pt x="2867238" y="530295"/>
                    <a:pt x="2865132" y="523569"/>
                  </a:cubicBezTo>
                  <a:cubicBezTo>
                    <a:pt x="2863024" y="516842"/>
                    <a:pt x="2869873" y="515586"/>
                    <a:pt x="2876071" y="511655"/>
                  </a:cubicBezTo>
                  <a:cubicBezTo>
                    <a:pt x="2869873" y="515262"/>
                    <a:pt x="2853096" y="512304"/>
                    <a:pt x="2851030" y="509224"/>
                  </a:cubicBezTo>
                  <a:cubicBezTo>
                    <a:pt x="2851638" y="515626"/>
                    <a:pt x="2851273" y="516558"/>
                    <a:pt x="2850057" y="520165"/>
                  </a:cubicBezTo>
                  <a:cubicBezTo>
                    <a:pt x="2848841" y="523771"/>
                    <a:pt x="2845641" y="525878"/>
                    <a:pt x="2843736" y="530862"/>
                  </a:cubicBezTo>
                  <a:cubicBezTo>
                    <a:pt x="2841832" y="535846"/>
                    <a:pt x="2846207" y="548286"/>
                    <a:pt x="2838631" y="550069"/>
                  </a:cubicBezTo>
                  <a:cubicBezTo>
                    <a:pt x="2831053" y="551852"/>
                    <a:pt x="2807511" y="551163"/>
                    <a:pt x="2798272" y="541560"/>
                  </a:cubicBezTo>
                  <a:cubicBezTo>
                    <a:pt x="2794381" y="536819"/>
                    <a:pt x="2800703" y="529485"/>
                    <a:pt x="2799245" y="527459"/>
                  </a:cubicBezTo>
                  <a:cubicBezTo>
                    <a:pt x="2797785" y="525432"/>
                    <a:pt x="2795354" y="533415"/>
                    <a:pt x="2789519" y="529404"/>
                  </a:cubicBezTo>
                  <a:cubicBezTo>
                    <a:pt x="2783684" y="525392"/>
                    <a:pt x="2765895" y="512182"/>
                    <a:pt x="2764234" y="503389"/>
                  </a:cubicBezTo>
                  <a:cubicBezTo>
                    <a:pt x="2762572" y="494596"/>
                    <a:pt x="2772704" y="485357"/>
                    <a:pt x="2779551" y="476645"/>
                  </a:cubicBezTo>
                  <a:cubicBezTo>
                    <a:pt x="2777890" y="467204"/>
                    <a:pt x="2777201" y="460883"/>
                    <a:pt x="2781010" y="449902"/>
                  </a:cubicBezTo>
                  <a:cubicBezTo>
                    <a:pt x="2775904" y="446782"/>
                    <a:pt x="2764801" y="442365"/>
                    <a:pt x="2765449" y="427778"/>
                  </a:cubicBezTo>
                  <a:lnTo>
                    <a:pt x="2767222" y="414369"/>
                  </a:lnTo>
                  <a:lnTo>
                    <a:pt x="2767684" y="423148"/>
                  </a:lnTo>
                  <a:lnTo>
                    <a:pt x="2768513" y="423546"/>
                  </a:lnTo>
                  <a:lnTo>
                    <a:pt x="2768636" y="424728"/>
                  </a:lnTo>
                  <a:cubicBezTo>
                    <a:pt x="2769668" y="433164"/>
                    <a:pt x="2772429" y="442509"/>
                    <a:pt x="2788324" y="438670"/>
                  </a:cubicBezTo>
                  <a:cubicBezTo>
                    <a:pt x="2781488" y="474946"/>
                    <a:pt x="2796928" y="492933"/>
                    <a:pt x="2806671" y="509778"/>
                  </a:cubicBezTo>
                  <a:lnTo>
                    <a:pt x="2807639" y="511640"/>
                  </a:lnTo>
                  <a:lnTo>
                    <a:pt x="2807605" y="512514"/>
                  </a:lnTo>
                  <a:cubicBezTo>
                    <a:pt x="2807312" y="517656"/>
                    <a:pt x="2806576" y="521220"/>
                    <a:pt x="2806194" y="526047"/>
                  </a:cubicBezTo>
                  <a:cubicBezTo>
                    <a:pt x="2805087" y="529849"/>
                    <a:pt x="2802363" y="529429"/>
                    <a:pt x="2802872" y="537452"/>
                  </a:cubicBezTo>
                  <a:cubicBezTo>
                    <a:pt x="2803201" y="542451"/>
                    <a:pt x="2832536" y="550503"/>
                    <a:pt x="2837267" y="544097"/>
                  </a:cubicBezTo>
                  <a:cubicBezTo>
                    <a:pt x="2838643" y="541882"/>
                    <a:pt x="2838045" y="536793"/>
                    <a:pt x="2838434" y="533141"/>
                  </a:cubicBezTo>
                  <a:cubicBezTo>
                    <a:pt x="2839032" y="529070"/>
                    <a:pt x="2844300" y="524640"/>
                    <a:pt x="2845079" y="518863"/>
                  </a:cubicBezTo>
                  <a:cubicBezTo>
                    <a:pt x="2845588" y="514268"/>
                    <a:pt x="2845536" y="509067"/>
                    <a:pt x="2845360" y="503653"/>
                  </a:cubicBezTo>
                  <a:lnTo>
                    <a:pt x="2845150" y="497935"/>
                  </a:lnTo>
                  <a:lnTo>
                    <a:pt x="2846749" y="499797"/>
                  </a:lnTo>
                  <a:cubicBezTo>
                    <a:pt x="2857091" y="510345"/>
                    <a:pt x="2879027" y="513898"/>
                    <a:pt x="2886388" y="497580"/>
                  </a:cubicBezTo>
                  <a:cubicBezTo>
                    <a:pt x="2886478" y="502818"/>
                    <a:pt x="2888184" y="504824"/>
                    <a:pt x="2887286" y="511409"/>
                  </a:cubicBezTo>
                  <a:cubicBezTo>
                    <a:pt x="2884711" y="515570"/>
                    <a:pt x="2873247" y="516498"/>
                    <a:pt x="2870133" y="524161"/>
                  </a:cubicBezTo>
                  <a:cubicBezTo>
                    <a:pt x="2869205" y="527364"/>
                    <a:pt x="2881389" y="546552"/>
                    <a:pt x="2889172" y="547240"/>
                  </a:cubicBezTo>
                  <a:cubicBezTo>
                    <a:pt x="2894829" y="547899"/>
                    <a:pt x="2905337" y="536793"/>
                    <a:pt x="2924463" y="519312"/>
                  </a:cubicBezTo>
                  <a:cubicBezTo>
                    <a:pt x="2927424" y="516606"/>
                    <a:pt x="2938623" y="495365"/>
                    <a:pt x="2943681" y="477195"/>
                  </a:cubicBezTo>
                  <a:cubicBezTo>
                    <a:pt x="2938525" y="474605"/>
                    <a:pt x="2931052" y="468436"/>
                    <a:pt x="2926703" y="458808"/>
                  </a:cubicBezTo>
                  <a:lnTo>
                    <a:pt x="2926509" y="458296"/>
                  </a:lnTo>
                  <a:lnTo>
                    <a:pt x="2929145" y="459956"/>
                  </a:lnTo>
                  <a:cubicBezTo>
                    <a:pt x="2935780" y="464376"/>
                    <a:pt x="2942513" y="469225"/>
                    <a:pt x="2948440" y="470639"/>
                  </a:cubicBezTo>
                  <a:cubicBezTo>
                    <a:pt x="2952812" y="475668"/>
                    <a:pt x="2957900" y="483661"/>
                    <a:pt x="2969904" y="485187"/>
                  </a:cubicBezTo>
                  <a:cubicBezTo>
                    <a:pt x="2980141" y="486923"/>
                    <a:pt x="2987414" y="477255"/>
                    <a:pt x="2991007" y="466688"/>
                  </a:cubicBezTo>
                  <a:lnTo>
                    <a:pt x="2987684" y="466419"/>
                  </a:lnTo>
                  <a:cubicBezTo>
                    <a:pt x="2972418" y="492012"/>
                    <a:pt x="2956284" y="468671"/>
                    <a:pt x="2959704" y="444121"/>
                  </a:cubicBezTo>
                  <a:lnTo>
                    <a:pt x="2960634" y="439313"/>
                  </a:lnTo>
                  <a:lnTo>
                    <a:pt x="2962398" y="441235"/>
                  </a:lnTo>
                  <a:cubicBezTo>
                    <a:pt x="2992875" y="472295"/>
                    <a:pt x="3019525" y="467754"/>
                    <a:pt x="3034650" y="459504"/>
                  </a:cubicBezTo>
                  <a:cubicBezTo>
                    <a:pt x="3076079" y="433970"/>
                    <a:pt x="3063940" y="345849"/>
                    <a:pt x="3046595" y="341594"/>
                  </a:cubicBezTo>
                  <a:cubicBezTo>
                    <a:pt x="3042628" y="340621"/>
                    <a:pt x="3039859" y="350844"/>
                    <a:pt x="3037256" y="352371"/>
                  </a:cubicBezTo>
                  <a:cubicBezTo>
                    <a:pt x="3029262" y="356591"/>
                    <a:pt x="3025760" y="355963"/>
                    <a:pt x="3023606" y="359285"/>
                  </a:cubicBezTo>
                  <a:cubicBezTo>
                    <a:pt x="3019339" y="365515"/>
                    <a:pt x="3035042" y="401580"/>
                    <a:pt x="3015070" y="420492"/>
                  </a:cubicBezTo>
                  <a:lnTo>
                    <a:pt x="3013581" y="421668"/>
                  </a:lnTo>
                  <a:lnTo>
                    <a:pt x="3013893" y="421063"/>
                  </a:lnTo>
                  <a:cubicBezTo>
                    <a:pt x="3017679" y="413750"/>
                    <a:pt x="3021652" y="405376"/>
                    <a:pt x="3017139" y="401851"/>
                  </a:cubicBezTo>
                  <a:cubicBezTo>
                    <a:pt x="3011840" y="397631"/>
                    <a:pt x="3008519" y="400863"/>
                    <a:pt x="3004477" y="404276"/>
                  </a:cubicBezTo>
                  <a:cubicBezTo>
                    <a:pt x="3007081" y="401312"/>
                    <a:pt x="3010224" y="400774"/>
                    <a:pt x="3005824" y="393769"/>
                  </a:cubicBezTo>
                  <a:cubicBezTo>
                    <a:pt x="3002321" y="391404"/>
                    <a:pt x="3000436" y="392003"/>
                    <a:pt x="2993971" y="393679"/>
                  </a:cubicBezTo>
                  <a:cubicBezTo>
                    <a:pt x="2998071" y="390626"/>
                    <a:pt x="2999389" y="391793"/>
                    <a:pt x="2997383" y="385867"/>
                  </a:cubicBezTo>
                  <a:cubicBezTo>
                    <a:pt x="2994643" y="382185"/>
                    <a:pt x="2993268" y="382493"/>
                    <a:pt x="2990530" y="382701"/>
                  </a:cubicBezTo>
                  <a:lnTo>
                    <a:pt x="2988630" y="382714"/>
                  </a:lnTo>
                  <a:lnTo>
                    <a:pt x="2990193" y="382153"/>
                  </a:lnTo>
                  <a:cubicBezTo>
                    <a:pt x="2991069" y="381859"/>
                    <a:pt x="2991860" y="381620"/>
                    <a:pt x="2992533" y="381466"/>
                  </a:cubicBezTo>
                  <a:cubicBezTo>
                    <a:pt x="2997922" y="380239"/>
                    <a:pt x="3003818" y="381930"/>
                    <a:pt x="3003849" y="378862"/>
                  </a:cubicBezTo>
                  <a:cubicBezTo>
                    <a:pt x="3004508" y="375509"/>
                    <a:pt x="2996095" y="365062"/>
                    <a:pt x="2992353" y="364224"/>
                  </a:cubicBezTo>
                  <a:cubicBezTo>
                    <a:pt x="2990356" y="363596"/>
                    <a:pt x="2985125" y="363068"/>
                    <a:pt x="2980373" y="362755"/>
                  </a:cubicBezTo>
                  <a:lnTo>
                    <a:pt x="2979267" y="362696"/>
                  </a:lnTo>
                  <a:lnTo>
                    <a:pt x="2979277" y="362673"/>
                  </a:lnTo>
                  <a:cubicBezTo>
                    <a:pt x="2980405" y="361115"/>
                    <a:pt x="2984159" y="360543"/>
                    <a:pt x="2987056" y="360273"/>
                  </a:cubicBezTo>
                  <a:cubicBezTo>
                    <a:pt x="2974902" y="344229"/>
                    <a:pt x="2958528" y="333931"/>
                    <a:pt x="2944399" y="334141"/>
                  </a:cubicBezTo>
                  <a:cubicBezTo>
                    <a:pt x="2927368" y="334650"/>
                    <a:pt x="2906024" y="339020"/>
                    <a:pt x="2893931" y="357759"/>
                  </a:cubicBezTo>
                  <a:cubicBezTo>
                    <a:pt x="2900113" y="357691"/>
                    <a:pt x="2904712" y="357719"/>
                    <a:pt x="2908163" y="358086"/>
                  </a:cubicBezTo>
                  <a:lnTo>
                    <a:pt x="2908741" y="358169"/>
                  </a:lnTo>
                  <a:lnTo>
                    <a:pt x="2906330" y="358824"/>
                  </a:lnTo>
                  <a:cubicBezTo>
                    <a:pt x="2893524" y="361905"/>
                    <a:pt x="2884603" y="361445"/>
                    <a:pt x="2881732" y="363941"/>
                  </a:cubicBezTo>
                  <a:cubicBezTo>
                    <a:pt x="2875729" y="368141"/>
                    <a:pt x="2836859" y="403951"/>
                    <a:pt x="2835256" y="424226"/>
                  </a:cubicBezTo>
                  <a:cubicBezTo>
                    <a:pt x="2839373" y="434988"/>
                    <a:pt x="2840148" y="427383"/>
                    <a:pt x="2849238" y="446338"/>
                  </a:cubicBezTo>
                  <a:lnTo>
                    <a:pt x="2863743" y="429800"/>
                  </a:lnTo>
                  <a:lnTo>
                    <a:pt x="2846772" y="464906"/>
                  </a:lnTo>
                  <a:cubicBezTo>
                    <a:pt x="2851003" y="471086"/>
                    <a:pt x="2853889" y="474393"/>
                    <a:pt x="2862700" y="474287"/>
                  </a:cubicBezTo>
                  <a:cubicBezTo>
                    <a:pt x="2872112" y="473039"/>
                    <a:pt x="2880804" y="465325"/>
                    <a:pt x="2889855" y="460844"/>
                  </a:cubicBezTo>
                  <a:cubicBezTo>
                    <a:pt x="2898801" y="457121"/>
                    <a:pt x="2901460" y="459683"/>
                    <a:pt x="2907263" y="459103"/>
                  </a:cubicBezTo>
                  <a:cubicBezTo>
                    <a:pt x="2919491" y="425939"/>
                    <a:pt x="2900286" y="426091"/>
                    <a:pt x="2913502" y="390053"/>
                  </a:cubicBezTo>
                  <a:cubicBezTo>
                    <a:pt x="2908803" y="419162"/>
                    <a:pt x="2927455" y="419176"/>
                    <a:pt x="2914226" y="467952"/>
                  </a:cubicBezTo>
                  <a:lnTo>
                    <a:pt x="2912119" y="467607"/>
                  </a:lnTo>
                  <a:lnTo>
                    <a:pt x="2909449" y="466924"/>
                  </a:lnTo>
                  <a:lnTo>
                    <a:pt x="2906717" y="466498"/>
                  </a:lnTo>
                  <a:lnTo>
                    <a:pt x="2905950" y="466320"/>
                  </a:lnTo>
                  <a:cubicBezTo>
                    <a:pt x="2903881" y="465912"/>
                    <a:pt x="2901705" y="465694"/>
                    <a:pt x="2899179" y="466091"/>
                  </a:cubicBezTo>
                  <a:lnTo>
                    <a:pt x="2898193" y="466321"/>
                  </a:lnTo>
                  <a:lnTo>
                    <a:pt x="2897597" y="466372"/>
                  </a:lnTo>
                  <a:cubicBezTo>
                    <a:pt x="2884395" y="468428"/>
                    <a:pt x="2879540" y="480068"/>
                    <a:pt x="2858370" y="482314"/>
                  </a:cubicBezTo>
                  <a:cubicBezTo>
                    <a:pt x="2852057" y="481083"/>
                    <a:pt x="2841963" y="471807"/>
                    <a:pt x="2836029" y="464595"/>
                  </a:cubicBezTo>
                  <a:lnTo>
                    <a:pt x="2835572" y="464001"/>
                  </a:lnTo>
                  <a:lnTo>
                    <a:pt x="2837293" y="461124"/>
                  </a:lnTo>
                  <a:cubicBezTo>
                    <a:pt x="2839133" y="458258"/>
                    <a:pt x="2841146" y="455328"/>
                    <a:pt x="2843373" y="452320"/>
                  </a:cubicBezTo>
                  <a:cubicBezTo>
                    <a:pt x="2839481" y="441873"/>
                    <a:pt x="2829215" y="438251"/>
                    <a:pt x="2826310" y="425289"/>
                  </a:cubicBezTo>
                  <a:cubicBezTo>
                    <a:pt x="2831010" y="411879"/>
                    <a:pt x="2832925" y="403138"/>
                    <a:pt x="2856573" y="379131"/>
                  </a:cubicBezTo>
                  <a:cubicBezTo>
                    <a:pt x="2793713" y="388141"/>
                    <a:pt x="2793899" y="438748"/>
                    <a:pt x="2776519" y="426513"/>
                  </a:cubicBezTo>
                  <a:lnTo>
                    <a:pt x="2772894" y="423250"/>
                  </a:lnTo>
                  <a:lnTo>
                    <a:pt x="2773954" y="422655"/>
                  </a:lnTo>
                  <a:cubicBezTo>
                    <a:pt x="2780359" y="418340"/>
                    <a:pt x="2772773" y="412126"/>
                    <a:pt x="2777907" y="402749"/>
                  </a:cubicBezTo>
                  <a:lnTo>
                    <a:pt x="2767424" y="412841"/>
                  </a:lnTo>
                  <a:lnTo>
                    <a:pt x="2768337" y="405942"/>
                  </a:lnTo>
                  <a:cubicBezTo>
                    <a:pt x="2773432" y="400872"/>
                    <a:pt x="2780321" y="398015"/>
                    <a:pt x="2781982" y="397387"/>
                  </a:cubicBezTo>
                  <a:cubicBezTo>
                    <a:pt x="2778863" y="406909"/>
                    <a:pt x="2785670" y="413555"/>
                    <a:pt x="2781982" y="421213"/>
                  </a:cubicBezTo>
                  <a:cubicBezTo>
                    <a:pt x="2817438" y="376114"/>
                    <a:pt x="2841912" y="373237"/>
                    <a:pt x="2858323" y="372831"/>
                  </a:cubicBezTo>
                  <a:cubicBezTo>
                    <a:pt x="2871087" y="361486"/>
                    <a:pt x="2872183" y="358527"/>
                    <a:pt x="2880935" y="356299"/>
                  </a:cubicBezTo>
                  <a:lnTo>
                    <a:pt x="2886970" y="355666"/>
                  </a:lnTo>
                  <a:lnTo>
                    <a:pt x="2887669" y="354169"/>
                  </a:lnTo>
                  <a:cubicBezTo>
                    <a:pt x="2893041" y="343500"/>
                    <a:pt x="2897730" y="340172"/>
                    <a:pt x="2906950" y="335633"/>
                  </a:cubicBezTo>
                  <a:cubicBezTo>
                    <a:pt x="2916168" y="331095"/>
                    <a:pt x="2928953" y="327053"/>
                    <a:pt x="2942620" y="327579"/>
                  </a:cubicBezTo>
                  <a:close/>
                  <a:moveTo>
                    <a:pt x="11439364" y="91551"/>
                  </a:moveTo>
                  <a:lnTo>
                    <a:pt x="11428902" y="139681"/>
                  </a:lnTo>
                  <a:lnTo>
                    <a:pt x="11471625" y="139681"/>
                  </a:lnTo>
                  <a:lnTo>
                    <a:pt x="11481913" y="91551"/>
                  </a:lnTo>
                  <a:close/>
                  <a:moveTo>
                    <a:pt x="5375028" y="91551"/>
                  </a:moveTo>
                  <a:lnTo>
                    <a:pt x="5364565" y="139681"/>
                  </a:lnTo>
                  <a:lnTo>
                    <a:pt x="5407288" y="139681"/>
                  </a:lnTo>
                  <a:lnTo>
                    <a:pt x="5417576" y="91551"/>
                  </a:lnTo>
                  <a:close/>
                  <a:moveTo>
                    <a:pt x="11226456" y="5634"/>
                  </a:moveTo>
                  <a:cubicBezTo>
                    <a:pt x="11262913" y="5972"/>
                    <a:pt x="11281142" y="18980"/>
                    <a:pt x="11281142" y="44655"/>
                  </a:cubicBezTo>
                  <a:lnTo>
                    <a:pt x="11281142" y="81016"/>
                  </a:lnTo>
                  <a:cubicBezTo>
                    <a:pt x="11281142" y="98078"/>
                    <a:pt x="11289123" y="107031"/>
                    <a:pt x="11305086" y="107876"/>
                  </a:cubicBezTo>
                  <a:lnTo>
                    <a:pt x="11305086" y="126372"/>
                  </a:lnTo>
                  <a:cubicBezTo>
                    <a:pt x="11289123" y="127218"/>
                    <a:pt x="11281142" y="136001"/>
                    <a:pt x="11281142" y="152725"/>
                  </a:cubicBezTo>
                  <a:lnTo>
                    <a:pt x="11281142" y="190100"/>
                  </a:lnTo>
                  <a:cubicBezTo>
                    <a:pt x="11281142" y="215438"/>
                    <a:pt x="11262913" y="228276"/>
                    <a:pt x="11226456" y="228614"/>
                  </a:cubicBezTo>
                  <a:lnTo>
                    <a:pt x="11226456" y="209103"/>
                  </a:lnTo>
                  <a:cubicBezTo>
                    <a:pt x="11235416" y="208935"/>
                    <a:pt x="11241775" y="206908"/>
                    <a:pt x="11245534" y="203022"/>
                  </a:cubicBezTo>
                  <a:cubicBezTo>
                    <a:pt x="11249293" y="199137"/>
                    <a:pt x="11251173" y="192718"/>
                    <a:pt x="11251173" y="183765"/>
                  </a:cubicBezTo>
                  <a:lnTo>
                    <a:pt x="11251173" y="148417"/>
                  </a:lnTo>
                  <a:cubicBezTo>
                    <a:pt x="11251173" y="131272"/>
                    <a:pt x="11261317" y="120840"/>
                    <a:pt x="11281605" y="117125"/>
                  </a:cubicBezTo>
                  <a:lnTo>
                    <a:pt x="11281605" y="116744"/>
                  </a:lnTo>
                  <a:cubicBezTo>
                    <a:pt x="11261317" y="112775"/>
                    <a:pt x="11251173" y="102259"/>
                    <a:pt x="11251173" y="85197"/>
                  </a:cubicBezTo>
                  <a:lnTo>
                    <a:pt x="11251173" y="49470"/>
                  </a:lnTo>
                  <a:cubicBezTo>
                    <a:pt x="11251173" y="33675"/>
                    <a:pt x="11242934" y="25609"/>
                    <a:pt x="11226456" y="25273"/>
                  </a:cubicBezTo>
                  <a:close/>
                  <a:moveTo>
                    <a:pt x="11205137" y="5634"/>
                  </a:moveTo>
                  <a:lnTo>
                    <a:pt x="11205137" y="25273"/>
                  </a:lnTo>
                  <a:cubicBezTo>
                    <a:pt x="11188763" y="25609"/>
                    <a:pt x="11180575" y="33675"/>
                    <a:pt x="11180575" y="49470"/>
                  </a:cubicBezTo>
                  <a:lnTo>
                    <a:pt x="11180575" y="85197"/>
                  </a:lnTo>
                  <a:cubicBezTo>
                    <a:pt x="11180575" y="102259"/>
                    <a:pt x="11170328" y="112775"/>
                    <a:pt x="11149834" y="116744"/>
                  </a:cubicBezTo>
                  <a:lnTo>
                    <a:pt x="11149834" y="117125"/>
                  </a:lnTo>
                  <a:cubicBezTo>
                    <a:pt x="11170328" y="120840"/>
                    <a:pt x="11180575" y="131272"/>
                    <a:pt x="11180575" y="148417"/>
                  </a:cubicBezTo>
                  <a:lnTo>
                    <a:pt x="11180575" y="183765"/>
                  </a:lnTo>
                  <a:cubicBezTo>
                    <a:pt x="11180575" y="192802"/>
                    <a:pt x="11182403" y="199242"/>
                    <a:pt x="11186059" y="203086"/>
                  </a:cubicBezTo>
                  <a:cubicBezTo>
                    <a:pt x="11189715" y="206928"/>
                    <a:pt x="11196075" y="208935"/>
                    <a:pt x="11205137" y="209103"/>
                  </a:cubicBezTo>
                  <a:lnTo>
                    <a:pt x="11205137" y="228614"/>
                  </a:lnTo>
                  <a:cubicBezTo>
                    <a:pt x="11168474" y="228276"/>
                    <a:pt x="11150143" y="215438"/>
                    <a:pt x="11150143" y="190100"/>
                  </a:cubicBezTo>
                  <a:lnTo>
                    <a:pt x="11150143" y="152725"/>
                  </a:lnTo>
                  <a:cubicBezTo>
                    <a:pt x="11150143" y="136001"/>
                    <a:pt x="11142110" y="127218"/>
                    <a:pt x="11126044" y="126372"/>
                  </a:cubicBezTo>
                  <a:lnTo>
                    <a:pt x="11126044" y="107876"/>
                  </a:lnTo>
                  <a:cubicBezTo>
                    <a:pt x="11142110" y="107031"/>
                    <a:pt x="11150143" y="98078"/>
                    <a:pt x="11150143" y="81016"/>
                  </a:cubicBezTo>
                  <a:lnTo>
                    <a:pt x="11150143" y="44655"/>
                  </a:lnTo>
                  <a:cubicBezTo>
                    <a:pt x="11150143" y="18980"/>
                    <a:pt x="11168474" y="5972"/>
                    <a:pt x="11205137" y="5634"/>
                  </a:cubicBezTo>
                  <a:close/>
                  <a:moveTo>
                    <a:pt x="8175706" y="5634"/>
                  </a:moveTo>
                  <a:cubicBezTo>
                    <a:pt x="8212163" y="5972"/>
                    <a:pt x="8230392" y="18980"/>
                    <a:pt x="8230392" y="44655"/>
                  </a:cubicBezTo>
                  <a:lnTo>
                    <a:pt x="8230392" y="81016"/>
                  </a:lnTo>
                  <a:cubicBezTo>
                    <a:pt x="8230392" y="98078"/>
                    <a:pt x="8238373" y="107031"/>
                    <a:pt x="8254336" y="107876"/>
                  </a:cubicBezTo>
                  <a:lnTo>
                    <a:pt x="8254336" y="126372"/>
                  </a:lnTo>
                  <a:cubicBezTo>
                    <a:pt x="8238373" y="127218"/>
                    <a:pt x="8230392" y="136001"/>
                    <a:pt x="8230392" y="152725"/>
                  </a:cubicBezTo>
                  <a:lnTo>
                    <a:pt x="8230392" y="190100"/>
                  </a:lnTo>
                  <a:cubicBezTo>
                    <a:pt x="8230392" y="215438"/>
                    <a:pt x="8212163" y="228276"/>
                    <a:pt x="8175706" y="228614"/>
                  </a:cubicBezTo>
                  <a:lnTo>
                    <a:pt x="8175706" y="209103"/>
                  </a:lnTo>
                  <a:cubicBezTo>
                    <a:pt x="8184666" y="208935"/>
                    <a:pt x="8191025" y="206908"/>
                    <a:pt x="8194784" y="203022"/>
                  </a:cubicBezTo>
                  <a:cubicBezTo>
                    <a:pt x="8198543" y="199137"/>
                    <a:pt x="8200423" y="192718"/>
                    <a:pt x="8200423" y="183765"/>
                  </a:cubicBezTo>
                  <a:lnTo>
                    <a:pt x="8200423" y="148417"/>
                  </a:lnTo>
                  <a:cubicBezTo>
                    <a:pt x="8200423" y="131272"/>
                    <a:pt x="8210567" y="120840"/>
                    <a:pt x="8230855" y="117125"/>
                  </a:cubicBezTo>
                  <a:lnTo>
                    <a:pt x="8230855" y="116744"/>
                  </a:lnTo>
                  <a:cubicBezTo>
                    <a:pt x="8210567" y="112775"/>
                    <a:pt x="8200423" y="102259"/>
                    <a:pt x="8200423" y="85197"/>
                  </a:cubicBezTo>
                  <a:lnTo>
                    <a:pt x="8200423" y="49470"/>
                  </a:lnTo>
                  <a:cubicBezTo>
                    <a:pt x="8200423" y="33675"/>
                    <a:pt x="8192184" y="25609"/>
                    <a:pt x="8175706" y="25273"/>
                  </a:cubicBezTo>
                  <a:close/>
                  <a:moveTo>
                    <a:pt x="8154387" y="5634"/>
                  </a:moveTo>
                  <a:lnTo>
                    <a:pt x="8154387" y="25273"/>
                  </a:lnTo>
                  <a:cubicBezTo>
                    <a:pt x="8138013" y="25609"/>
                    <a:pt x="8129826" y="33675"/>
                    <a:pt x="8129826" y="49470"/>
                  </a:cubicBezTo>
                  <a:lnTo>
                    <a:pt x="8129826" y="85197"/>
                  </a:lnTo>
                  <a:cubicBezTo>
                    <a:pt x="8129826" y="102259"/>
                    <a:pt x="8119578" y="112775"/>
                    <a:pt x="8099084" y="116744"/>
                  </a:cubicBezTo>
                  <a:lnTo>
                    <a:pt x="8099084" y="117125"/>
                  </a:lnTo>
                  <a:cubicBezTo>
                    <a:pt x="8119578" y="120840"/>
                    <a:pt x="8129826" y="131272"/>
                    <a:pt x="8129826" y="148417"/>
                  </a:cubicBezTo>
                  <a:lnTo>
                    <a:pt x="8129826" y="183765"/>
                  </a:lnTo>
                  <a:cubicBezTo>
                    <a:pt x="8129826" y="192802"/>
                    <a:pt x="8131653" y="199242"/>
                    <a:pt x="8135309" y="203086"/>
                  </a:cubicBezTo>
                  <a:cubicBezTo>
                    <a:pt x="8138965" y="206928"/>
                    <a:pt x="8145325" y="208935"/>
                    <a:pt x="8154387" y="209103"/>
                  </a:cubicBezTo>
                  <a:lnTo>
                    <a:pt x="8154387" y="228614"/>
                  </a:lnTo>
                  <a:cubicBezTo>
                    <a:pt x="8117724" y="228276"/>
                    <a:pt x="8099393" y="215438"/>
                    <a:pt x="8099393" y="190100"/>
                  </a:cubicBezTo>
                  <a:lnTo>
                    <a:pt x="8099393" y="152725"/>
                  </a:lnTo>
                  <a:cubicBezTo>
                    <a:pt x="8099393" y="136001"/>
                    <a:pt x="8091360" y="127218"/>
                    <a:pt x="8075294" y="126372"/>
                  </a:cubicBezTo>
                  <a:lnTo>
                    <a:pt x="8075294" y="107876"/>
                  </a:lnTo>
                  <a:cubicBezTo>
                    <a:pt x="8091360" y="107031"/>
                    <a:pt x="8099393" y="98078"/>
                    <a:pt x="8099393" y="81016"/>
                  </a:cubicBezTo>
                  <a:lnTo>
                    <a:pt x="8099393" y="44655"/>
                  </a:lnTo>
                  <a:cubicBezTo>
                    <a:pt x="8099393" y="18980"/>
                    <a:pt x="8117724" y="5972"/>
                    <a:pt x="8154387" y="5634"/>
                  </a:cubicBezTo>
                  <a:close/>
                  <a:moveTo>
                    <a:pt x="5165797" y="5634"/>
                  </a:moveTo>
                  <a:cubicBezTo>
                    <a:pt x="5202254" y="5972"/>
                    <a:pt x="5220483" y="18980"/>
                    <a:pt x="5220483" y="44655"/>
                  </a:cubicBezTo>
                  <a:lnTo>
                    <a:pt x="5220483" y="81016"/>
                  </a:lnTo>
                  <a:cubicBezTo>
                    <a:pt x="5220483" y="98078"/>
                    <a:pt x="5228463" y="107031"/>
                    <a:pt x="5244426" y="107876"/>
                  </a:cubicBezTo>
                  <a:lnTo>
                    <a:pt x="5244426" y="126372"/>
                  </a:lnTo>
                  <a:cubicBezTo>
                    <a:pt x="5228463" y="127218"/>
                    <a:pt x="5220483" y="136001"/>
                    <a:pt x="5220483" y="152725"/>
                  </a:cubicBezTo>
                  <a:lnTo>
                    <a:pt x="5220483" y="190100"/>
                  </a:lnTo>
                  <a:cubicBezTo>
                    <a:pt x="5220483" y="215438"/>
                    <a:pt x="5202254" y="228276"/>
                    <a:pt x="5165797" y="228614"/>
                  </a:cubicBezTo>
                  <a:lnTo>
                    <a:pt x="5165797" y="209103"/>
                  </a:lnTo>
                  <a:cubicBezTo>
                    <a:pt x="5174756" y="208935"/>
                    <a:pt x="5181116" y="206908"/>
                    <a:pt x="5184875" y="203022"/>
                  </a:cubicBezTo>
                  <a:cubicBezTo>
                    <a:pt x="5188633" y="199137"/>
                    <a:pt x="5190513" y="192718"/>
                    <a:pt x="5190513" y="183765"/>
                  </a:cubicBezTo>
                  <a:lnTo>
                    <a:pt x="5190513" y="148417"/>
                  </a:lnTo>
                  <a:cubicBezTo>
                    <a:pt x="5190513" y="131272"/>
                    <a:pt x="5200657" y="120840"/>
                    <a:pt x="5220946" y="117125"/>
                  </a:cubicBezTo>
                  <a:lnTo>
                    <a:pt x="5220946" y="116744"/>
                  </a:lnTo>
                  <a:cubicBezTo>
                    <a:pt x="5200657" y="112775"/>
                    <a:pt x="5190513" y="102259"/>
                    <a:pt x="5190513" y="85197"/>
                  </a:cubicBezTo>
                  <a:lnTo>
                    <a:pt x="5190513" y="49470"/>
                  </a:lnTo>
                  <a:cubicBezTo>
                    <a:pt x="5190513" y="33675"/>
                    <a:pt x="5182275" y="25609"/>
                    <a:pt x="5165797" y="25273"/>
                  </a:cubicBezTo>
                  <a:close/>
                  <a:moveTo>
                    <a:pt x="5144478" y="5634"/>
                  </a:moveTo>
                  <a:lnTo>
                    <a:pt x="5144478" y="25273"/>
                  </a:lnTo>
                  <a:cubicBezTo>
                    <a:pt x="5128103" y="25609"/>
                    <a:pt x="5119917" y="33675"/>
                    <a:pt x="5119917" y="49470"/>
                  </a:cubicBezTo>
                  <a:lnTo>
                    <a:pt x="5119917" y="85197"/>
                  </a:lnTo>
                  <a:cubicBezTo>
                    <a:pt x="5119917" y="102259"/>
                    <a:pt x="5109668" y="112775"/>
                    <a:pt x="5089175" y="116744"/>
                  </a:cubicBezTo>
                  <a:lnTo>
                    <a:pt x="5089175" y="117125"/>
                  </a:lnTo>
                  <a:cubicBezTo>
                    <a:pt x="5109668" y="120840"/>
                    <a:pt x="5119917" y="131272"/>
                    <a:pt x="5119917" y="148417"/>
                  </a:cubicBezTo>
                  <a:lnTo>
                    <a:pt x="5119917" y="183765"/>
                  </a:lnTo>
                  <a:cubicBezTo>
                    <a:pt x="5119917" y="192802"/>
                    <a:pt x="5121744" y="199242"/>
                    <a:pt x="5125400" y="203086"/>
                  </a:cubicBezTo>
                  <a:cubicBezTo>
                    <a:pt x="5129055" y="206928"/>
                    <a:pt x="5135416" y="208935"/>
                    <a:pt x="5144478" y="209103"/>
                  </a:cubicBezTo>
                  <a:lnTo>
                    <a:pt x="5144478" y="228614"/>
                  </a:lnTo>
                  <a:cubicBezTo>
                    <a:pt x="5107814" y="228276"/>
                    <a:pt x="5089484" y="215438"/>
                    <a:pt x="5089484" y="190100"/>
                  </a:cubicBezTo>
                  <a:lnTo>
                    <a:pt x="5089484" y="152725"/>
                  </a:lnTo>
                  <a:cubicBezTo>
                    <a:pt x="5089484" y="136001"/>
                    <a:pt x="5081450" y="127218"/>
                    <a:pt x="5065386" y="126372"/>
                  </a:cubicBezTo>
                  <a:lnTo>
                    <a:pt x="5065386" y="107876"/>
                  </a:lnTo>
                  <a:cubicBezTo>
                    <a:pt x="5081450" y="107031"/>
                    <a:pt x="5089484" y="98078"/>
                    <a:pt x="5089484" y="81016"/>
                  </a:cubicBezTo>
                  <a:lnTo>
                    <a:pt x="5089484" y="44655"/>
                  </a:lnTo>
                  <a:cubicBezTo>
                    <a:pt x="5089484" y="18980"/>
                    <a:pt x="5107814" y="5972"/>
                    <a:pt x="5144478" y="5634"/>
                  </a:cubicBezTo>
                  <a:close/>
                  <a:moveTo>
                    <a:pt x="2112183" y="5634"/>
                  </a:moveTo>
                  <a:cubicBezTo>
                    <a:pt x="2148640" y="5972"/>
                    <a:pt x="2166869" y="18980"/>
                    <a:pt x="2166869" y="44655"/>
                  </a:cubicBezTo>
                  <a:lnTo>
                    <a:pt x="2166869" y="81016"/>
                  </a:lnTo>
                  <a:cubicBezTo>
                    <a:pt x="2166869" y="98078"/>
                    <a:pt x="2174849" y="107031"/>
                    <a:pt x="2190814" y="107876"/>
                  </a:cubicBezTo>
                  <a:lnTo>
                    <a:pt x="2190814" y="126372"/>
                  </a:lnTo>
                  <a:cubicBezTo>
                    <a:pt x="2174849" y="127218"/>
                    <a:pt x="2166869" y="136001"/>
                    <a:pt x="2166869" y="152725"/>
                  </a:cubicBezTo>
                  <a:lnTo>
                    <a:pt x="2166869" y="190100"/>
                  </a:lnTo>
                  <a:cubicBezTo>
                    <a:pt x="2166869" y="215438"/>
                    <a:pt x="2148640" y="228276"/>
                    <a:pt x="2112183" y="228614"/>
                  </a:cubicBezTo>
                  <a:lnTo>
                    <a:pt x="2112183" y="209103"/>
                  </a:lnTo>
                  <a:cubicBezTo>
                    <a:pt x="2121142" y="208935"/>
                    <a:pt x="2127502" y="206908"/>
                    <a:pt x="2131261" y="203022"/>
                  </a:cubicBezTo>
                  <a:cubicBezTo>
                    <a:pt x="2135020" y="199137"/>
                    <a:pt x="2136900" y="192718"/>
                    <a:pt x="2136900" y="183765"/>
                  </a:cubicBezTo>
                  <a:lnTo>
                    <a:pt x="2136900" y="148417"/>
                  </a:lnTo>
                  <a:cubicBezTo>
                    <a:pt x="2136900" y="131272"/>
                    <a:pt x="2147043" y="120840"/>
                    <a:pt x="2167332" y="117125"/>
                  </a:cubicBezTo>
                  <a:lnTo>
                    <a:pt x="2167332" y="116744"/>
                  </a:lnTo>
                  <a:cubicBezTo>
                    <a:pt x="2147043" y="112775"/>
                    <a:pt x="2136900" y="102259"/>
                    <a:pt x="2136900" y="85197"/>
                  </a:cubicBezTo>
                  <a:lnTo>
                    <a:pt x="2136900" y="49470"/>
                  </a:lnTo>
                  <a:cubicBezTo>
                    <a:pt x="2136900" y="33675"/>
                    <a:pt x="2128661" y="25609"/>
                    <a:pt x="2112183" y="25273"/>
                  </a:cubicBezTo>
                  <a:close/>
                  <a:moveTo>
                    <a:pt x="2090864" y="5634"/>
                  </a:moveTo>
                  <a:lnTo>
                    <a:pt x="2090864" y="25273"/>
                  </a:lnTo>
                  <a:cubicBezTo>
                    <a:pt x="2074489" y="25609"/>
                    <a:pt x="2066302" y="33675"/>
                    <a:pt x="2066302" y="49470"/>
                  </a:cubicBezTo>
                  <a:lnTo>
                    <a:pt x="2066302" y="85197"/>
                  </a:lnTo>
                  <a:cubicBezTo>
                    <a:pt x="2066302" y="102259"/>
                    <a:pt x="2056055" y="112775"/>
                    <a:pt x="2035561" y="116744"/>
                  </a:cubicBezTo>
                  <a:lnTo>
                    <a:pt x="2035561" y="117125"/>
                  </a:lnTo>
                  <a:cubicBezTo>
                    <a:pt x="2056055" y="120840"/>
                    <a:pt x="2066302" y="131272"/>
                    <a:pt x="2066302" y="148417"/>
                  </a:cubicBezTo>
                  <a:lnTo>
                    <a:pt x="2066302" y="183765"/>
                  </a:lnTo>
                  <a:cubicBezTo>
                    <a:pt x="2066302" y="192802"/>
                    <a:pt x="2068130" y="199242"/>
                    <a:pt x="2071786" y="203086"/>
                  </a:cubicBezTo>
                  <a:cubicBezTo>
                    <a:pt x="2075442" y="206928"/>
                    <a:pt x="2081802" y="208935"/>
                    <a:pt x="2090864" y="209103"/>
                  </a:cubicBezTo>
                  <a:lnTo>
                    <a:pt x="2090864" y="228614"/>
                  </a:lnTo>
                  <a:cubicBezTo>
                    <a:pt x="2054202" y="228276"/>
                    <a:pt x="2035870" y="215438"/>
                    <a:pt x="2035870" y="190100"/>
                  </a:cubicBezTo>
                  <a:lnTo>
                    <a:pt x="2035870" y="152725"/>
                  </a:lnTo>
                  <a:cubicBezTo>
                    <a:pt x="2035870" y="136001"/>
                    <a:pt x="2027837" y="127218"/>
                    <a:pt x="2011770" y="126372"/>
                  </a:cubicBezTo>
                  <a:lnTo>
                    <a:pt x="2011770" y="107876"/>
                  </a:lnTo>
                  <a:cubicBezTo>
                    <a:pt x="2027837" y="107031"/>
                    <a:pt x="2035870" y="98078"/>
                    <a:pt x="2035870" y="81016"/>
                  </a:cubicBezTo>
                  <a:lnTo>
                    <a:pt x="2035870" y="44655"/>
                  </a:lnTo>
                  <a:cubicBezTo>
                    <a:pt x="2035870" y="18980"/>
                    <a:pt x="2054202" y="5972"/>
                    <a:pt x="2090864" y="5634"/>
                  </a:cubicBezTo>
                  <a:close/>
                  <a:moveTo>
                    <a:pt x="11430297" y="0"/>
                  </a:moveTo>
                  <a:lnTo>
                    <a:pt x="11458372" y="0"/>
                  </a:lnTo>
                  <a:lnTo>
                    <a:pt x="11444596" y="67137"/>
                  </a:lnTo>
                  <a:lnTo>
                    <a:pt x="11486796" y="67137"/>
                  </a:lnTo>
                  <a:lnTo>
                    <a:pt x="11501095" y="0"/>
                  </a:lnTo>
                  <a:lnTo>
                    <a:pt x="11528648" y="0"/>
                  </a:lnTo>
                  <a:lnTo>
                    <a:pt x="11514697" y="67137"/>
                  </a:lnTo>
                  <a:lnTo>
                    <a:pt x="11554456" y="67137"/>
                  </a:lnTo>
                  <a:lnTo>
                    <a:pt x="11549050" y="91551"/>
                  </a:lnTo>
                  <a:lnTo>
                    <a:pt x="11509466" y="91551"/>
                  </a:lnTo>
                  <a:lnTo>
                    <a:pt x="11499352" y="139681"/>
                  </a:lnTo>
                  <a:lnTo>
                    <a:pt x="11542598" y="139681"/>
                  </a:lnTo>
                  <a:lnTo>
                    <a:pt x="11536494" y="164093"/>
                  </a:lnTo>
                  <a:lnTo>
                    <a:pt x="11494295" y="164093"/>
                  </a:lnTo>
                  <a:lnTo>
                    <a:pt x="11479995" y="228614"/>
                  </a:lnTo>
                  <a:lnTo>
                    <a:pt x="11452268" y="228614"/>
                  </a:lnTo>
                  <a:lnTo>
                    <a:pt x="11466219" y="164093"/>
                  </a:lnTo>
                  <a:lnTo>
                    <a:pt x="11424019" y="164093"/>
                  </a:lnTo>
                  <a:lnTo>
                    <a:pt x="11410417" y="228614"/>
                  </a:lnTo>
                  <a:lnTo>
                    <a:pt x="11382691" y="228614"/>
                  </a:lnTo>
                  <a:lnTo>
                    <a:pt x="11396292" y="164093"/>
                  </a:lnTo>
                  <a:lnTo>
                    <a:pt x="11356359" y="164093"/>
                  </a:lnTo>
                  <a:lnTo>
                    <a:pt x="11361241" y="139681"/>
                  </a:lnTo>
                  <a:lnTo>
                    <a:pt x="11401698" y="139681"/>
                  </a:lnTo>
                  <a:lnTo>
                    <a:pt x="11411289" y="91551"/>
                  </a:lnTo>
                  <a:lnTo>
                    <a:pt x="11368740" y="91551"/>
                  </a:lnTo>
                  <a:lnTo>
                    <a:pt x="11373797" y="67137"/>
                  </a:lnTo>
                  <a:lnTo>
                    <a:pt x="11416346" y="67137"/>
                  </a:lnTo>
                  <a:close/>
                  <a:moveTo>
                    <a:pt x="5365960" y="0"/>
                  </a:moveTo>
                  <a:lnTo>
                    <a:pt x="5394034" y="0"/>
                  </a:lnTo>
                  <a:lnTo>
                    <a:pt x="5380258" y="67137"/>
                  </a:lnTo>
                  <a:lnTo>
                    <a:pt x="5422458" y="67137"/>
                  </a:lnTo>
                  <a:lnTo>
                    <a:pt x="5436757" y="0"/>
                  </a:lnTo>
                  <a:lnTo>
                    <a:pt x="5464310" y="0"/>
                  </a:lnTo>
                  <a:lnTo>
                    <a:pt x="5450359" y="67137"/>
                  </a:lnTo>
                  <a:lnTo>
                    <a:pt x="5490118" y="67137"/>
                  </a:lnTo>
                  <a:lnTo>
                    <a:pt x="5484714" y="91551"/>
                  </a:lnTo>
                  <a:lnTo>
                    <a:pt x="5445128" y="91551"/>
                  </a:lnTo>
                  <a:lnTo>
                    <a:pt x="5435014" y="139681"/>
                  </a:lnTo>
                  <a:lnTo>
                    <a:pt x="5478260" y="139681"/>
                  </a:lnTo>
                  <a:lnTo>
                    <a:pt x="5472158" y="164093"/>
                  </a:lnTo>
                  <a:lnTo>
                    <a:pt x="5429957" y="164093"/>
                  </a:lnTo>
                  <a:lnTo>
                    <a:pt x="5415658" y="228614"/>
                  </a:lnTo>
                  <a:lnTo>
                    <a:pt x="5387930" y="228614"/>
                  </a:lnTo>
                  <a:lnTo>
                    <a:pt x="5401881" y="164093"/>
                  </a:lnTo>
                  <a:lnTo>
                    <a:pt x="5359681" y="164093"/>
                  </a:lnTo>
                  <a:lnTo>
                    <a:pt x="5346079" y="228614"/>
                  </a:lnTo>
                  <a:lnTo>
                    <a:pt x="5318353" y="228614"/>
                  </a:lnTo>
                  <a:lnTo>
                    <a:pt x="5331955" y="164093"/>
                  </a:lnTo>
                  <a:lnTo>
                    <a:pt x="5292021" y="164093"/>
                  </a:lnTo>
                  <a:lnTo>
                    <a:pt x="5296904" y="139681"/>
                  </a:lnTo>
                  <a:lnTo>
                    <a:pt x="5337360" y="139681"/>
                  </a:lnTo>
                  <a:lnTo>
                    <a:pt x="5346952" y="91551"/>
                  </a:lnTo>
                  <a:lnTo>
                    <a:pt x="5304402" y="91551"/>
                  </a:lnTo>
                  <a:lnTo>
                    <a:pt x="5309459" y="67137"/>
                  </a:lnTo>
                  <a:lnTo>
                    <a:pt x="5352009" y="67137"/>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8" name="Freeform 27"/>
            <p:cNvSpPr/>
            <p:nvPr/>
          </p:nvSpPr>
          <p:spPr>
            <a:xfrm>
              <a:off x="62042" y="73882"/>
              <a:ext cx="12050057" cy="6072782"/>
            </a:xfrm>
            <a:custGeom>
              <a:avLst/>
              <a:gdLst>
                <a:gd name="connsiteX0" fmla="*/ 3287783 w 12050057"/>
                <a:gd name="connsiteY0" fmla="*/ 5849802 h 6072782"/>
                <a:gd name="connsiteX1" fmla="*/ 3302689 w 12050057"/>
                <a:gd name="connsiteY1" fmla="*/ 5849802 h 6072782"/>
                <a:gd name="connsiteX2" fmla="*/ 3302689 w 12050057"/>
                <a:gd name="connsiteY2" fmla="*/ 6072782 h 6072782"/>
                <a:gd name="connsiteX3" fmla="*/ 3267400 w 12050057"/>
                <a:gd name="connsiteY3" fmla="*/ 6072782 h 6072782"/>
                <a:gd name="connsiteX4" fmla="*/ 3267400 w 12050057"/>
                <a:gd name="connsiteY4" fmla="*/ 5892999 h 6072782"/>
                <a:gd name="connsiteX5" fmla="*/ 3246791 w 12050057"/>
                <a:gd name="connsiteY5" fmla="*/ 5904635 h 6072782"/>
                <a:gd name="connsiteX6" fmla="*/ 3221618 w 12050057"/>
                <a:gd name="connsiteY6" fmla="*/ 5913076 h 6072782"/>
                <a:gd name="connsiteX7" fmla="*/ 3221618 w 12050057"/>
                <a:gd name="connsiteY7" fmla="*/ 5882960 h 6072782"/>
                <a:gd name="connsiteX8" fmla="*/ 3238653 w 12050057"/>
                <a:gd name="connsiteY8" fmla="*/ 5876876 h 6072782"/>
                <a:gd name="connsiteX9" fmla="*/ 3254853 w 12050057"/>
                <a:gd name="connsiteY9" fmla="*/ 5869727 h 6072782"/>
                <a:gd name="connsiteX10" fmla="*/ 3270976 w 12050057"/>
                <a:gd name="connsiteY10" fmla="*/ 5860906 h 6072782"/>
                <a:gd name="connsiteX11" fmla="*/ 3287783 w 12050057"/>
                <a:gd name="connsiteY11" fmla="*/ 5849802 h 6072782"/>
                <a:gd name="connsiteX12" fmla="*/ 3287783 w 12050057"/>
                <a:gd name="connsiteY12" fmla="*/ 5494671 h 6072782"/>
                <a:gd name="connsiteX13" fmla="*/ 3302689 w 12050057"/>
                <a:gd name="connsiteY13" fmla="*/ 5494671 h 6072782"/>
                <a:gd name="connsiteX14" fmla="*/ 3302689 w 12050057"/>
                <a:gd name="connsiteY14" fmla="*/ 5717651 h 6072782"/>
                <a:gd name="connsiteX15" fmla="*/ 3267400 w 12050057"/>
                <a:gd name="connsiteY15" fmla="*/ 5717651 h 6072782"/>
                <a:gd name="connsiteX16" fmla="*/ 3267400 w 12050057"/>
                <a:gd name="connsiteY16" fmla="*/ 5537867 h 6072782"/>
                <a:gd name="connsiteX17" fmla="*/ 3246791 w 12050057"/>
                <a:gd name="connsiteY17" fmla="*/ 5549503 h 6072782"/>
                <a:gd name="connsiteX18" fmla="*/ 3221618 w 12050057"/>
                <a:gd name="connsiteY18" fmla="*/ 5557945 h 6072782"/>
                <a:gd name="connsiteX19" fmla="*/ 3221618 w 12050057"/>
                <a:gd name="connsiteY19" fmla="*/ 5527829 h 6072782"/>
                <a:gd name="connsiteX20" fmla="*/ 3238653 w 12050057"/>
                <a:gd name="connsiteY20" fmla="*/ 5521745 h 6072782"/>
                <a:gd name="connsiteX21" fmla="*/ 3254853 w 12050057"/>
                <a:gd name="connsiteY21" fmla="*/ 5514596 h 6072782"/>
                <a:gd name="connsiteX22" fmla="*/ 3270976 w 12050057"/>
                <a:gd name="connsiteY22" fmla="*/ 5505774 h 6072782"/>
                <a:gd name="connsiteX23" fmla="*/ 3287783 w 12050057"/>
                <a:gd name="connsiteY23" fmla="*/ 5494671 h 6072782"/>
                <a:gd name="connsiteX24" fmla="*/ 1423455 w 12050057"/>
                <a:gd name="connsiteY24" fmla="*/ 5494671 h 6072782"/>
                <a:gd name="connsiteX25" fmla="*/ 1438362 w 12050057"/>
                <a:gd name="connsiteY25" fmla="*/ 5494671 h 6072782"/>
                <a:gd name="connsiteX26" fmla="*/ 1438362 w 12050057"/>
                <a:gd name="connsiteY26" fmla="*/ 5717651 h 6072782"/>
                <a:gd name="connsiteX27" fmla="*/ 1403074 w 12050057"/>
                <a:gd name="connsiteY27" fmla="*/ 5717651 h 6072782"/>
                <a:gd name="connsiteX28" fmla="*/ 1403074 w 12050057"/>
                <a:gd name="connsiteY28" fmla="*/ 5537868 h 6072782"/>
                <a:gd name="connsiteX29" fmla="*/ 1382465 w 12050057"/>
                <a:gd name="connsiteY29" fmla="*/ 5549504 h 6072782"/>
                <a:gd name="connsiteX30" fmla="*/ 1357292 w 12050057"/>
                <a:gd name="connsiteY30" fmla="*/ 5557945 h 6072782"/>
                <a:gd name="connsiteX31" fmla="*/ 1357292 w 12050057"/>
                <a:gd name="connsiteY31" fmla="*/ 5527829 h 6072782"/>
                <a:gd name="connsiteX32" fmla="*/ 1374327 w 12050057"/>
                <a:gd name="connsiteY32" fmla="*/ 5521745 h 6072782"/>
                <a:gd name="connsiteX33" fmla="*/ 1390525 w 12050057"/>
                <a:gd name="connsiteY33" fmla="*/ 5514596 h 6072782"/>
                <a:gd name="connsiteX34" fmla="*/ 1406649 w 12050057"/>
                <a:gd name="connsiteY34" fmla="*/ 5505775 h 6072782"/>
                <a:gd name="connsiteX35" fmla="*/ 1423455 w 12050057"/>
                <a:gd name="connsiteY35" fmla="*/ 5494671 h 6072782"/>
                <a:gd name="connsiteX36" fmla="*/ 9366501 w 12050057"/>
                <a:gd name="connsiteY36" fmla="*/ 5157041 h 6072782"/>
                <a:gd name="connsiteX37" fmla="*/ 9381407 w 12050057"/>
                <a:gd name="connsiteY37" fmla="*/ 5157041 h 6072782"/>
                <a:gd name="connsiteX38" fmla="*/ 9381407 w 12050057"/>
                <a:gd name="connsiteY38" fmla="*/ 5380021 h 6072782"/>
                <a:gd name="connsiteX39" fmla="*/ 9346119 w 12050057"/>
                <a:gd name="connsiteY39" fmla="*/ 5380021 h 6072782"/>
                <a:gd name="connsiteX40" fmla="*/ 9346119 w 12050057"/>
                <a:gd name="connsiteY40" fmla="*/ 5200238 h 6072782"/>
                <a:gd name="connsiteX41" fmla="*/ 9325510 w 12050057"/>
                <a:gd name="connsiteY41" fmla="*/ 5211874 h 6072782"/>
                <a:gd name="connsiteX42" fmla="*/ 9300337 w 12050057"/>
                <a:gd name="connsiteY42" fmla="*/ 5220315 h 6072782"/>
                <a:gd name="connsiteX43" fmla="*/ 9300337 w 12050057"/>
                <a:gd name="connsiteY43" fmla="*/ 5190199 h 6072782"/>
                <a:gd name="connsiteX44" fmla="*/ 9317372 w 12050057"/>
                <a:gd name="connsiteY44" fmla="*/ 5184115 h 6072782"/>
                <a:gd name="connsiteX45" fmla="*/ 9333571 w 12050057"/>
                <a:gd name="connsiteY45" fmla="*/ 5176966 h 6072782"/>
                <a:gd name="connsiteX46" fmla="*/ 9349694 w 12050057"/>
                <a:gd name="connsiteY46" fmla="*/ 5168145 h 6072782"/>
                <a:gd name="connsiteX47" fmla="*/ 9366501 w 12050057"/>
                <a:gd name="connsiteY47" fmla="*/ 5157041 h 6072782"/>
                <a:gd name="connsiteX48" fmla="*/ 7520355 w 12050057"/>
                <a:gd name="connsiteY48" fmla="*/ 5157041 h 6072782"/>
                <a:gd name="connsiteX49" fmla="*/ 7535261 w 12050057"/>
                <a:gd name="connsiteY49" fmla="*/ 5157041 h 6072782"/>
                <a:gd name="connsiteX50" fmla="*/ 7535261 w 12050057"/>
                <a:gd name="connsiteY50" fmla="*/ 5380021 h 6072782"/>
                <a:gd name="connsiteX51" fmla="*/ 7499973 w 12050057"/>
                <a:gd name="connsiteY51" fmla="*/ 5380021 h 6072782"/>
                <a:gd name="connsiteX52" fmla="*/ 7499973 w 12050057"/>
                <a:gd name="connsiteY52" fmla="*/ 5200238 h 6072782"/>
                <a:gd name="connsiteX53" fmla="*/ 7479364 w 12050057"/>
                <a:gd name="connsiteY53" fmla="*/ 5211874 h 6072782"/>
                <a:gd name="connsiteX54" fmla="*/ 7454191 w 12050057"/>
                <a:gd name="connsiteY54" fmla="*/ 5220315 h 6072782"/>
                <a:gd name="connsiteX55" fmla="*/ 7454191 w 12050057"/>
                <a:gd name="connsiteY55" fmla="*/ 5190199 h 6072782"/>
                <a:gd name="connsiteX56" fmla="*/ 7471226 w 12050057"/>
                <a:gd name="connsiteY56" fmla="*/ 5184115 h 6072782"/>
                <a:gd name="connsiteX57" fmla="*/ 7487425 w 12050057"/>
                <a:gd name="connsiteY57" fmla="*/ 5176966 h 6072782"/>
                <a:gd name="connsiteX58" fmla="*/ 7503548 w 12050057"/>
                <a:gd name="connsiteY58" fmla="*/ 5168145 h 6072782"/>
                <a:gd name="connsiteX59" fmla="*/ 7520355 w 12050057"/>
                <a:gd name="connsiteY59" fmla="*/ 5157041 h 6072782"/>
                <a:gd name="connsiteX60" fmla="*/ 3287783 w 12050057"/>
                <a:gd name="connsiteY60" fmla="*/ 5157041 h 6072782"/>
                <a:gd name="connsiteX61" fmla="*/ 3302689 w 12050057"/>
                <a:gd name="connsiteY61" fmla="*/ 5157041 h 6072782"/>
                <a:gd name="connsiteX62" fmla="*/ 3302689 w 12050057"/>
                <a:gd name="connsiteY62" fmla="*/ 5380021 h 6072782"/>
                <a:gd name="connsiteX63" fmla="*/ 3267400 w 12050057"/>
                <a:gd name="connsiteY63" fmla="*/ 5380021 h 6072782"/>
                <a:gd name="connsiteX64" fmla="*/ 3267400 w 12050057"/>
                <a:gd name="connsiteY64" fmla="*/ 5200237 h 6072782"/>
                <a:gd name="connsiteX65" fmla="*/ 3246791 w 12050057"/>
                <a:gd name="connsiteY65" fmla="*/ 5211873 h 6072782"/>
                <a:gd name="connsiteX66" fmla="*/ 3221618 w 12050057"/>
                <a:gd name="connsiteY66" fmla="*/ 5220315 h 6072782"/>
                <a:gd name="connsiteX67" fmla="*/ 3221618 w 12050057"/>
                <a:gd name="connsiteY67" fmla="*/ 5190199 h 6072782"/>
                <a:gd name="connsiteX68" fmla="*/ 3238653 w 12050057"/>
                <a:gd name="connsiteY68" fmla="*/ 5184115 h 6072782"/>
                <a:gd name="connsiteX69" fmla="*/ 3254853 w 12050057"/>
                <a:gd name="connsiteY69" fmla="*/ 5176966 h 6072782"/>
                <a:gd name="connsiteX70" fmla="*/ 3270976 w 12050057"/>
                <a:gd name="connsiteY70" fmla="*/ 5168144 h 6072782"/>
                <a:gd name="connsiteX71" fmla="*/ 3287783 w 12050057"/>
                <a:gd name="connsiteY71" fmla="*/ 5157041 h 6072782"/>
                <a:gd name="connsiteX72" fmla="*/ 1423455 w 12050057"/>
                <a:gd name="connsiteY72" fmla="*/ 5157041 h 6072782"/>
                <a:gd name="connsiteX73" fmla="*/ 1438362 w 12050057"/>
                <a:gd name="connsiteY73" fmla="*/ 5157041 h 6072782"/>
                <a:gd name="connsiteX74" fmla="*/ 1438362 w 12050057"/>
                <a:gd name="connsiteY74" fmla="*/ 5380021 h 6072782"/>
                <a:gd name="connsiteX75" fmla="*/ 1403074 w 12050057"/>
                <a:gd name="connsiteY75" fmla="*/ 5380021 h 6072782"/>
                <a:gd name="connsiteX76" fmla="*/ 1403074 w 12050057"/>
                <a:gd name="connsiteY76" fmla="*/ 5200238 h 6072782"/>
                <a:gd name="connsiteX77" fmla="*/ 1382465 w 12050057"/>
                <a:gd name="connsiteY77" fmla="*/ 5211874 h 6072782"/>
                <a:gd name="connsiteX78" fmla="*/ 1357292 w 12050057"/>
                <a:gd name="connsiteY78" fmla="*/ 5220315 h 6072782"/>
                <a:gd name="connsiteX79" fmla="*/ 1357292 w 12050057"/>
                <a:gd name="connsiteY79" fmla="*/ 5190199 h 6072782"/>
                <a:gd name="connsiteX80" fmla="*/ 1374327 w 12050057"/>
                <a:gd name="connsiteY80" fmla="*/ 5184115 h 6072782"/>
                <a:gd name="connsiteX81" fmla="*/ 1390525 w 12050057"/>
                <a:gd name="connsiteY81" fmla="*/ 5176966 h 6072782"/>
                <a:gd name="connsiteX82" fmla="*/ 1406649 w 12050057"/>
                <a:gd name="connsiteY82" fmla="*/ 5168145 h 6072782"/>
                <a:gd name="connsiteX83" fmla="*/ 1423455 w 12050057"/>
                <a:gd name="connsiteY83" fmla="*/ 5157041 h 6072782"/>
                <a:gd name="connsiteX84" fmla="*/ 9366501 w 12050057"/>
                <a:gd name="connsiteY84" fmla="*/ 4843971 h 6072782"/>
                <a:gd name="connsiteX85" fmla="*/ 9381407 w 12050057"/>
                <a:gd name="connsiteY85" fmla="*/ 4843971 h 6072782"/>
                <a:gd name="connsiteX86" fmla="*/ 9381407 w 12050057"/>
                <a:gd name="connsiteY86" fmla="*/ 5066951 h 6072782"/>
                <a:gd name="connsiteX87" fmla="*/ 9346119 w 12050057"/>
                <a:gd name="connsiteY87" fmla="*/ 5066951 h 6072782"/>
                <a:gd name="connsiteX88" fmla="*/ 9346119 w 12050057"/>
                <a:gd name="connsiteY88" fmla="*/ 4887167 h 6072782"/>
                <a:gd name="connsiteX89" fmla="*/ 9325510 w 12050057"/>
                <a:gd name="connsiteY89" fmla="*/ 4898803 h 6072782"/>
                <a:gd name="connsiteX90" fmla="*/ 9300337 w 12050057"/>
                <a:gd name="connsiteY90" fmla="*/ 4907245 h 6072782"/>
                <a:gd name="connsiteX91" fmla="*/ 9300337 w 12050057"/>
                <a:gd name="connsiteY91" fmla="*/ 4877129 h 6072782"/>
                <a:gd name="connsiteX92" fmla="*/ 9317372 w 12050057"/>
                <a:gd name="connsiteY92" fmla="*/ 4871045 h 6072782"/>
                <a:gd name="connsiteX93" fmla="*/ 9333571 w 12050057"/>
                <a:gd name="connsiteY93" fmla="*/ 4863896 h 6072782"/>
                <a:gd name="connsiteX94" fmla="*/ 9349694 w 12050057"/>
                <a:gd name="connsiteY94" fmla="*/ 4855074 h 6072782"/>
                <a:gd name="connsiteX95" fmla="*/ 9366501 w 12050057"/>
                <a:gd name="connsiteY95" fmla="*/ 4843971 h 6072782"/>
                <a:gd name="connsiteX96" fmla="*/ 7520355 w 12050057"/>
                <a:gd name="connsiteY96" fmla="*/ 4843971 h 6072782"/>
                <a:gd name="connsiteX97" fmla="*/ 7535261 w 12050057"/>
                <a:gd name="connsiteY97" fmla="*/ 4843971 h 6072782"/>
                <a:gd name="connsiteX98" fmla="*/ 7535261 w 12050057"/>
                <a:gd name="connsiteY98" fmla="*/ 5066951 h 6072782"/>
                <a:gd name="connsiteX99" fmla="*/ 7499973 w 12050057"/>
                <a:gd name="connsiteY99" fmla="*/ 5066951 h 6072782"/>
                <a:gd name="connsiteX100" fmla="*/ 7499973 w 12050057"/>
                <a:gd name="connsiteY100" fmla="*/ 4887167 h 6072782"/>
                <a:gd name="connsiteX101" fmla="*/ 7479364 w 12050057"/>
                <a:gd name="connsiteY101" fmla="*/ 4898803 h 6072782"/>
                <a:gd name="connsiteX102" fmla="*/ 7454191 w 12050057"/>
                <a:gd name="connsiteY102" fmla="*/ 4907245 h 6072782"/>
                <a:gd name="connsiteX103" fmla="*/ 7454191 w 12050057"/>
                <a:gd name="connsiteY103" fmla="*/ 4877129 h 6072782"/>
                <a:gd name="connsiteX104" fmla="*/ 7471226 w 12050057"/>
                <a:gd name="connsiteY104" fmla="*/ 4871045 h 6072782"/>
                <a:gd name="connsiteX105" fmla="*/ 7487425 w 12050057"/>
                <a:gd name="connsiteY105" fmla="*/ 4863896 h 6072782"/>
                <a:gd name="connsiteX106" fmla="*/ 7503548 w 12050057"/>
                <a:gd name="connsiteY106" fmla="*/ 4855074 h 6072782"/>
                <a:gd name="connsiteX107" fmla="*/ 7520355 w 12050057"/>
                <a:gd name="connsiteY107" fmla="*/ 4843971 h 6072782"/>
                <a:gd name="connsiteX108" fmla="*/ 3287783 w 12050057"/>
                <a:gd name="connsiteY108" fmla="*/ 4843971 h 6072782"/>
                <a:gd name="connsiteX109" fmla="*/ 3302689 w 12050057"/>
                <a:gd name="connsiteY109" fmla="*/ 4843971 h 6072782"/>
                <a:gd name="connsiteX110" fmla="*/ 3302689 w 12050057"/>
                <a:gd name="connsiteY110" fmla="*/ 5066951 h 6072782"/>
                <a:gd name="connsiteX111" fmla="*/ 3267400 w 12050057"/>
                <a:gd name="connsiteY111" fmla="*/ 5066951 h 6072782"/>
                <a:gd name="connsiteX112" fmla="*/ 3267400 w 12050057"/>
                <a:gd name="connsiteY112" fmla="*/ 4887167 h 6072782"/>
                <a:gd name="connsiteX113" fmla="*/ 3246791 w 12050057"/>
                <a:gd name="connsiteY113" fmla="*/ 4898803 h 6072782"/>
                <a:gd name="connsiteX114" fmla="*/ 3221618 w 12050057"/>
                <a:gd name="connsiteY114" fmla="*/ 4907245 h 6072782"/>
                <a:gd name="connsiteX115" fmla="*/ 3221618 w 12050057"/>
                <a:gd name="connsiteY115" fmla="*/ 4877129 h 6072782"/>
                <a:gd name="connsiteX116" fmla="*/ 3238653 w 12050057"/>
                <a:gd name="connsiteY116" fmla="*/ 4871045 h 6072782"/>
                <a:gd name="connsiteX117" fmla="*/ 3254853 w 12050057"/>
                <a:gd name="connsiteY117" fmla="*/ 4863896 h 6072782"/>
                <a:gd name="connsiteX118" fmla="*/ 3270976 w 12050057"/>
                <a:gd name="connsiteY118" fmla="*/ 4855074 h 6072782"/>
                <a:gd name="connsiteX119" fmla="*/ 3287783 w 12050057"/>
                <a:gd name="connsiteY119" fmla="*/ 4843971 h 6072782"/>
                <a:gd name="connsiteX120" fmla="*/ 1423455 w 12050057"/>
                <a:gd name="connsiteY120" fmla="*/ 4843971 h 6072782"/>
                <a:gd name="connsiteX121" fmla="*/ 1438362 w 12050057"/>
                <a:gd name="connsiteY121" fmla="*/ 4843971 h 6072782"/>
                <a:gd name="connsiteX122" fmla="*/ 1438362 w 12050057"/>
                <a:gd name="connsiteY122" fmla="*/ 5066951 h 6072782"/>
                <a:gd name="connsiteX123" fmla="*/ 1403074 w 12050057"/>
                <a:gd name="connsiteY123" fmla="*/ 5066951 h 6072782"/>
                <a:gd name="connsiteX124" fmla="*/ 1403074 w 12050057"/>
                <a:gd name="connsiteY124" fmla="*/ 4887167 h 6072782"/>
                <a:gd name="connsiteX125" fmla="*/ 1382465 w 12050057"/>
                <a:gd name="connsiteY125" fmla="*/ 4898803 h 6072782"/>
                <a:gd name="connsiteX126" fmla="*/ 1357292 w 12050057"/>
                <a:gd name="connsiteY126" fmla="*/ 4907245 h 6072782"/>
                <a:gd name="connsiteX127" fmla="*/ 1357292 w 12050057"/>
                <a:gd name="connsiteY127" fmla="*/ 4877129 h 6072782"/>
                <a:gd name="connsiteX128" fmla="*/ 1374327 w 12050057"/>
                <a:gd name="connsiteY128" fmla="*/ 4871045 h 6072782"/>
                <a:gd name="connsiteX129" fmla="*/ 1390525 w 12050057"/>
                <a:gd name="connsiteY129" fmla="*/ 4863896 h 6072782"/>
                <a:gd name="connsiteX130" fmla="*/ 1406649 w 12050057"/>
                <a:gd name="connsiteY130" fmla="*/ 4855074 h 6072782"/>
                <a:gd name="connsiteX131" fmla="*/ 1423455 w 12050057"/>
                <a:gd name="connsiteY131" fmla="*/ 4843971 h 6072782"/>
                <a:gd name="connsiteX132" fmla="*/ 9366501 w 12050057"/>
                <a:gd name="connsiteY132" fmla="*/ 4506341 h 6072782"/>
                <a:gd name="connsiteX133" fmla="*/ 9381407 w 12050057"/>
                <a:gd name="connsiteY133" fmla="*/ 4506341 h 6072782"/>
                <a:gd name="connsiteX134" fmla="*/ 9381407 w 12050057"/>
                <a:gd name="connsiteY134" fmla="*/ 4729321 h 6072782"/>
                <a:gd name="connsiteX135" fmla="*/ 9346119 w 12050057"/>
                <a:gd name="connsiteY135" fmla="*/ 4729321 h 6072782"/>
                <a:gd name="connsiteX136" fmla="*/ 9346119 w 12050057"/>
                <a:gd name="connsiteY136" fmla="*/ 4549537 h 6072782"/>
                <a:gd name="connsiteX137" fmla="*/ 9325510 w 12050057"/>
                <a:gd name="connsiteY137" fmla="*/ 4561173 h 6072782"/>
                <a:gd name="connsiteX138" fmla="*/ 9300337 w 12050057"/>
                <a:gd name="connsiteY138" fmla="*/ 4569615 h 6072782"/>
                <a:gd name="connsiteX139" fmla="*/ 9300337 w 12050057"/>
                <a:gd name="connsiteY139" fmla="*/ 4539499 h 6072782"/>
                <a:gd name="connsiteX140" fmla="*/ 9317372 w 12050057"/>
                <a:gd name="connsiteY140" fmla="*/ 4533415 h 6072782"/>
                <a:gd name="connsiteX141" fmla="*/ 9333571 w 12050057"/>
                <a:gd name="connsiteY141" fmla="*/ 4526266 h 6072782"/>
                <a:gd name="connsiteX142" fmla="*/ 9349694 w 12050057"/>
                <a:gd name="connsiteY142" fmla="*/ 4517444 h 6072782"/>
                <a:gd name="connsiteX143" fmla="*/ 9366501 w 12050057"/>
                <a:gd name="connsiteY143" fmla="*/ 4506341 h 6072782"/>
                <a:gd name="connsiteX144" fmla="*/ 7520355 w 12050057"/>
                <a:gd name="connsiteY144" fmla="*/ 4506341 h 6072782"/>
                <a:gd name="connsiteX145" fmla="*/ 7535261 w 12050057"/>
                <a:gd name="connsiteY145" fmla="*/ 4506341 h 6072782"/>
                <a:gd name="connsiteX146" fmla="*/ 7535261 w 12050057"/>
                <a:gd name="connsiteY146" fmla="*/ 4729321 h 6072782"/>
                <a:gd name="connsiteX147" fmla="*/ 7499973 w 12050057"/>
                <a:gd name="connsiteY147" fmla="*/ 4729321 h 6072782"/>
                <a:gd name="connsiteX148" fmla="*/ 7499973 w 12050057"/>
                <a:gd name="connsiteY148" fmla="*/ 4549537 h 6072782"/>
                <a:gd name="connsiteX149" fmla="*/ 7479364 w 12050057"/>
                <a:gd name="connsiteY149" fmla="*/ 4561173 h 6072782"/>
                <a:gd name="connsiteX150" fmla="*/ 7454191 w 12050057"/>
                <a:gd name="connsiteY150" fmla="*/ 4569615 h 6072782"/>
                <a:gd name="connsiteX151" fmla="*/ 7454191 w 12050057"/>
                <a:gd name="connsiteY151" fmla="*/ 4539499 h 6072782"/>
                <a:gd name="connsiteX152" fmla="*/ 7471226 w 12050057"/>
                <a:gd name="connsiteY152" fmla="*/ 4533415 h 6072782"/>
                <a:gd name="connsiteX153" fmla="*/ 7487425 w 12050057"/>
                <a:gd name="connsiteY153" fmla="*/ 4526266 h 6072782"/>
                <a:gd name="connsiteX154" fmla="*/ 7503548 w 12050057"/>
                <a:gd name="connsiteY154" fmla="*/ 4517444 h 6072782"/>
                <a:gd name="connsiteX155" fmla="*/ 7520355 w 12050057"/>
                <a:gd name="connsiteY155" fmla="*/ 4506341 h 6072782"/>
                <a:gd name="connsiteX156" fmla="*/ 3287783 w 12050057"/>
                <a:gd name="connsiteY156" fmla="*/ 4506341 h 6072782"/>
                <a:gd name="connsiteX157" fmla="*/ 3302689 w 12050057"/>
                <a:gd name="connsiteY157" fmla="*/ 4506341 h 6072782"/>
                <a:gd name="connsiteX158" fmla="*/ 3302689 w 12050057"/>
                <a:gd name="connsiteY158" fmla="*/ 4729321 h 6072782"/>
                <a:gd name="connsiteX159" fmla="*/ 3267400 w 12050057"/>
                <a:gd name="connsiteY159" fmla="*/ 4729321 h 6072782"/>
                <a:gd name="connsiteX160" fmla="*/ 3267400 w 12050057"/>
                <a:gd name="connsiteY160" fmla="*/ 4549537 h 6072782"/>
                <a:gd name="connsiteX161" fmla="*/ 3246791 w 12050057"/>
                <a:gd name="connsiteY161" fmla="*/ 4561173 h 6072782"/>
                <a:gd name="connsiteX162" fmla="*/ 3221618 w 12050057"/>
                <a:gd name="connsiteY162" fmla="*/ 4569615 h 6072782"/>
                <a:gd name="connsiteX163" fmla="*/ 3221618 w 12050057"/>
                <a:gd name="connsiteY163" fmla="*/ 4539499 h 6072782"/>
                <a:gd name="connsiteX164" fmla="*/ 3238653 w 12050057"/>
                <a:gd name="connsiteY164" fmla="*/ 4533415 h 6072782"/>
                <a:gd name="connsiteX165" fmla="*/ 3254853 w 12050057"/>
                <a:gd name="connsiteY165" fmla="*/ 4526266 h 6072782"/>
                <a:gd name="connsiteX166" fmla="*/ 3270976 w 12050057"/>
                <a:gd name="connsiteY166" fmla="*/ 4517444 h 6072782"/>
                <a:gd name="connsiteX167" fmla="*/ 3287783 w 12050057"/>
                <a:gd name="connsiteY167" fmla="*/ 4506341 h 6072782"/>
                <a:gd name="connsiteX168" fmla="*/ 1423455 w 12050057"/>
                <a:gd name="connsiteY168" fmla="*/ 4506341 h 6072782"/>
                <a:gd name="connsiteX169" fmla="*/ 1438362 w 12050057"/>
                <a:gd name="connsiteY169" fmla="*/ 4506341 h 6072782"/>
                <a:gd name="connsiteX170" fmla="*/ 1438362 w 12050057"/>
                <a:gd name="connsiteY170" fmla="*/ 4729321 h 6072782"/>
                <a:gd name="connsiteX171" fmla="*/ 1403074 w 12050057"/>
                <a:gd name="connsiteY171" fmla="*/ 4729321 h 6072782"/>
                <a:gd name="connsiteX172" fmla="*/ 1403074 w 12050057"/>
                <a:gd name="connsiteY172" fmla="*/ 4549537 h 6072782"/>
                <a:gd name="connsiteX173" fmla="*/ 1382465 w 12050057"/>
                <a:gd name="connsiteY173" fmla="*/ 4561173 h 6072782"/>
                <a:gd name="connsiteX174" fmla="*/ 1357292 w 12050057"/>
                <a:gd name="connsiteY174" fmla="*/ 4569615 h 6072782"/>
                <a:gd name="connsiteX175" fmla="*/ 1357292 w 12050057"/>
                <a:gd name="connsiteY175" fmla="*/ 4539499 h 6072782"/>
                <a:gd name="connsiteX176" fmla="*/ 1374327 w 12050057"/>
                <a:gd name="connsiteY176" fmla="*/ 4533415 h 6072782"/>
                <a:gd name="connsiteX177" fmla="*/ 1390525 w 12050057"/>
                <a:gd name="connsiteY177" fmla="*/ 4526266 h 6072782"/>
                <a:gd name="connsiteX178" fmla="*/ 1406649 w 12050057"/>
                <a:gd name="connsiteY178" fmla="*/ 4517444 h 6072782"/>
                <a:gd name="connsiteX179" fmla="*/ 1423455 w 12050057"/>
                <a:gd name="connsiteY179" fmla="*/ 4506341 h 6072782"/>
                <a:gd name="connsiteX180" fmla="*/ 10276410 w 12050057"/>
                <a:gd name="connsiteY180" fmla="*/ 4158870 h 6072782"/>
                <a:gd name="connsiteX181" fmla="*/ 10291316 w 12050057"/>
                <a:gd name="connsiteY181" fmla="*/ 4158870 h 6072782"/>
                <a:gd name="connsiteX182" fmla="*/ 10291316 w 12050057"/>
                <a:gd name="connsiteY182" fmla="*/ 4381850 h 6072782"/>
                <a:gd name="connsiteX183" fmla="*/ 10256028 w 12050057"/>
                <a:gd name="connsiteY183" fmla="*/ 4381850 h 6072782"/>
                <a:gd name="connsiteX184" fmla="*/ 10256028 w 12050057"/>
                <a:gd name="connsiteY184" fmla="*/ 4202067 h 6072782"/>
                <a:gd name="connsiteX185" fmla="*/ 10235419 w 12050057"/>
                <a:gd name="connsiteY185" fmla="*/ 4213703 h 6072782"/>
                <a:gd name="connsiteX186" fmla="*/ 10210246 w 12050057"/>
                <a:gd name="connsiteY186" fmla="*/ 4222144 h 6072782"/>
                <a:gd name="connsiteX187" fmla="*/ 10210246 w 12050057"/>
                <a:gd name="connsiteY187" fmla="*/ 4192028 h 6072782"/>
                <a:gd name="connsiteX188" fmla="*/ 10227281 w 12050057"/>
                <a:gd name="connsiteY188" fmla="*/ 4185944 h 6072782"/>
                <a:gd name="connsiteX189" fmla="*/ 10243480 w 12050057"/>
                <a:gd name="connsiteY189" fmla="*/ 4178795 h 6072782"/>
                <a:gd name="connsiteX190" fmla="*/ 10259603 w 12050057"/>
                <a:gd name="connsiteY190" fmla="*/ 4169974 h 6072782"/>
                <a:gd name="connsiteX191" fmla="*/ 10276410 w 12050057"/>
                <a:gd name="connsiteY191" fmla="*/ 4158870 h 6072782"/>
                <a:gd name="connsiteX192" fmla="*/ 9366501 w 12050057"/>
                <a:gd name="connsiteY192" fmla="*/ 4158870 h 6072782"/>
                <a:gd name="connsiteX193" fmla="*/ 9381407 w 12050057"/>
                <a:gd name="connsiteY193" fmla="*/ 4158870 h 6072782"/>
                <a:gd name="connsiteX194" fmla="*/ 9381407 w 12050057"/>
                <a:gd name="connsiteY194" fmla="*/ 4381850 h 6072782"/>
                <a:gd name="connsiteX195" fmla="*/ 9346119 w 12050057"/>
                <a:gd name="connsiteY195" fmla="*/ 4381850 h 6072782"/>
                <a:gd name="connsiteX196" fmla="*/ 9346119 w 12050057"/>
                <a:gd name="connsiteY196" fmla="*/ 4202066 h 6072782"/>
                <a:gd name="connsiteX197" fmla="*/ 9325510 w 12050057"/>
                <a:gd name="connsiteY197" fmla="*/ 4213702 h 6072782"/>
                <a:gd name="connsiteX198" fmla="*/ 9300337 w 12050057"/>
                <a:gd name="connsiteY198" fmla="*/ 4222144 h 6072782"/>
                <a:gd name="connsiteX199" fmla="*/ 9300337 w 12050057"/>
                <a:gd name="connsiteY199" fmla="*/ 4192028 h 6072782"/>
                <a:gd name="connsiteX200" fmla="*/ 9317372 w 12050057"/>
                <a:gd name="connsiteY200" fmla="*/ 4185944 h 6072782"/>
                <a:gd name="connsiteX201" fmla="*/ 9333571 w 12050057"/>
                <a:gd name="connsiteY201" fmla="*/ 4178795 h 6072782"/>
                <a:gd name="connsiteX202" fmla="*/ 9349694 w 12050057"/>
                <a:gd name="connsiteY202" fmla="*/ 4169973 h 6072782"/>
                <a:gd name="connsiteX203" fmla="*/ 9366501 w 12050057"/>
                <a:gd name="connsiteY203" fmla="*/ 4158870 h 6072782"/>
                <a:gd name="connsiteX204" fmla="*/ 7520355 w 12050057"/>
                <a:gd name="connsiteY204" fmla="*/ 4158870 h 6072782"/>
                <a:gd name="connsiteX205" fmla="*/ 7535261 w 12050057"/>
                <a:gd name="connsiteY205" fmla="*/ 4158870 h 6072782"/>
                <a:gd name="connsiteX206" fmla="*/ 7535261 w 12050057"/>
                <a:gd name="connsiteY206" fmla="*/ 4381850 h 6072782"/>
                <a:gd name="connsiteX207" fmla="*/ 7499973 w 12050057"/>
                <a:gd name="connsiteY207" fmla="*/ 4381850 h 6072782"/>
                <a:gd name="connsiteX208" fmla="*/ 7499973 w 12050057"/>
                <a:gd name="connsiteY208" fmla="*/ 4202066 h 6072782"/>
                <a:gd name="connsiteX209" fmla="*/ 7479364 w 12050057"/>
                <a:gd name="connsiteY209" fmla="*/ 4213702 h 6072782"/>
                <a:gd name="connsiteX210" fmla="*/ 7454191 w 12050057"/>
                <a:gd name="connsiteY210" fmla="*/ 4222144 h 6072782"/>
                <a:gd name="connsiteX211" fmla="*/ 7454191 w 12050057"/>
                <a:gd name="connsiteY211" fmla="*/ 4192028 h 6072782"/>
                <a:gd name="connsiteX212" fmla="*/ 7471226 w 12050057"/>
                <a:gd name="connsiteY212" fmla="*/ 4185944 h 6072782"/>
                <a:gd name="connsiteX213" fmla="*/ 7487425 w 12050057"/>
                <a:gd name="connsiteY213" fmla="*/ 4178795 h 6072782"/>
                <a:gd name="connsiteX214" fmla="*/ 7503548 w 12050057"/>
                <a:gd name="connsiteY214" fmla="*/ 4169973 h 6072782"/>
                <a:gd name="connsiteX215" fmla="*/ 7520355 w 12050057"/>
                <a:gd name="connsiteY215" fmla="*/ 4158870 h 6072782"/>
                <a:gd name="connsiteX216" fmla="*/ 4159688 w 12050057"/>
                <a:gd name="connsiteY216" fmla="*/ 4158870 h 6072782"/>
                <a:gd name="connsiteX217" fmla="*/ 4174594 w 12050057"/>
                <a:gd name="connsiteY217" fmla="*/ 4158870 h 6072782"/>
                <a:gd name="connsiteX218" fmla="*/ 4174594 w 12050057"/>
                <a:gd name="connsiteY218" fmla="*/ 4381850 h 6072782"/>
                <a:gd name="connsiteX219" fmla="*/ 4139306 w 12050057"/>
                <a:gd name="connsiteY219" fmla="*/ 4381850 h 6072782"/>
                <a:gd name="connsiteX220" fmla="*/ 4139306 w 12050057"/>
                <a:gd name="connsiteY220" fmla="*/ 4202067 h 6072782"/>
                <a:gd name="connsiteX221" fmla="*/ 4118697 w 12050057"/>
                <a:gd name="connsiteY221" fmla="*/ 4213703 h 6072782"/>
                <a:gd name="connsiteX222" fmla="*/ 4093525 w 12050057"/>
                <a:gd name="connsiteY222" fmla="*/ 4222144 h 6072782"/>
                <a:gd name="connsiteX223" fmla="*/ 4093525 w 12050057"/>
                <a:gd name="connsiteY223" fmla="*/ 4192028 h 6072782"/>
                <a:gd name="connsiteX224" fmla="*/ 4110559 w 12050057"/>
                <a:gd name="connsiteY224" fmla="*/ 4185944 h 6072782"/>
                <a:gd name="connsiteX225" fmla="*/ 4126758 w 12050057"/>
                <a:gd name="connsiteY225" fmla="*/ 4178795 h 6072782"/>
                <a:gd name="connsiteX226" fmla="*/ 4142881 w 12050057"/>
                <a:gd name="connsiteY226" fmla="*/ 4169974 h 6072782"/>
                <a:gd name="connsiteX227" fmla="*/ 4159688 w 12050057"/>
                <a:gd name="connsiteY227" fmla="*/ 4158870 h 6072782"/>
                <a:gd name="connsiteX228" fmla="*/ 3287783 w 12050057"/>
                <a:gd name="connsiteY228" fmla="*/ 4158870 h 6072782"/>
                <a:gd name="connsiteX229" fmla="*/ 3302689 w 12050057"/>
                <a:gd name="connsiteY229" fmla="*/ 4158870 h 6072782"/>
                <a:gd name="connsiteX230" fmla="*/ 3302689 w 12050057"/>
                <a:gd name="connsiteY230" fmla="*/ 4381850 h 6072782"/>
                <a:gd name="connsiteX231" fmla="*/ 3267400 w 12050057"/>
                <a:gd name="connsiteY231" fmla="*/ 4381850 h 6072782"/>
                <a:gd name="connsiteX232" fmla="*/ 3267400 w 12050057"/>
                <a:gd name="connsiteY232" fmla="*/ 4202066 h 6072782"/>
                <a:gd name="connsiteX233" fmla="*/ 3246791 w 12050057"/>
                <a:gd name="connsiteY233" fmla="*/ 4213702 h 6072782"/>
                <a:gd name="connsiteX234" fmla="*/ 3221618 w 12050057"/>
                <a:gd name="connsiteY234" fmla="*/ 4222144 h 6072782"/>
                <a:gd name="connsiteX235" fmla="*/ 3221618 w 12050057"/>
                <a:gd name="connsiteY235" fmla="*/ 4192028 h 6072782"/>
                <a:gd name="connsiteX236" fmla="*/ 3238653 w 12050057"/>
                <a:gd name="connsiteY236" fmla="*/ 4185944 h 6072782"/>
                <a:gd name="connsiteX237" fmla="*/ 3254853 w 12050057"/>
                <a:gd name="connsiteY237" fmla="*/ 4178795 h 6072782"/>
                <a:gd name="connsiteX238" fmla="*/ 3270976 w 12050057"/>
                <a:gd name="connsiteY238" fmla="*/ 4169973 h 6072782"/>
                <a:gd name="connsiteX239" fmla="*/ 3287783 w 12050057"/>
                <a:gd name="connsiteY239" fmla="*/ 4158870 h 6072782"/>
                <a:gd name="connsiteX240" fmla="*/ 1423455 w 12050057"/>
                <a:gd name="connsiteY240" fmla="*/ 4158870 h 6072782"/>
                <a:gd name="connsiteX241" fmla="*/ 1438362 w 12050057"/>
                <a:gd name="connsiteY241" fmla="*/ 4158870 h 6072782"/>
                <a:gd name="connsiteX242" fmla="*/ 1438362 w 12050057"/>
                <a:gd name="connsiteY242" fmla="*/ 4381850 h 6072782"/>
                <a:gd name="connsiteX243" fmla="*/ 1403074 w 12050057"/>
                <a:gd name="connsiteY243" fmla="*/ 4381850 h 6072782"/>
                <a:gd name="connsiteX244" fmla="*/ 1403074 w 12050057"/>
                <a:gd name="connsiteY244" fmla="*/ 4202066 h 6072782"/>
                <a:gd name="connsiteX245" fmla="*/ 1382465 w 12050057"/>
                <a:gd name="connsiteY245" fmla="*/ 4213702 h 6072782"/>
                <a:gd name="connsiteX246" fmla="*/ 1357292 w 12050057"/>
                <a:gd name="connsiteY246" fmla="*/ 4222144 h 6072782"/>
                <a:gd name="connsiteX247" fmla="*/ 1357292 w 12050057"/>
                <a:gd name="connsiteY247" fmla="*/ 4192028 h 6072782"/>
                <a:gd name="connsiteX248" fmla="*/ 1374327 w 12050057"/>
                <a:gd name="connsiteY248" fmla="*/ 4185944 h 6072782"/>
                <a:gd name="connsiteX249" fmla="*/ 1390525 w 12050057"/>
                <a:gd name="connsiteY249" fmla="*/ 4178795 h 6072782"/>
                <a:gd name="connsiteX250" fmla="*/ 1406649 w 12050057"/>
                <a:gd name="connsiteY250" fmla="*/ 4169973 h 6072782"/>
                <a:gd name="connsiteX251" fmla="*/ 1423455 w 12050057"/>
                <a:gd name="connsiteY251" fmla="*/ 4158870 h 6072782"/>
                <a:gd name="connsiteX252" fmla="*/ 66164 w 12050057"/>
                <a:gd name="connsiteY252" fmla="*/ 4158870 h 6072782"/>
                <a:gd name="connsiteX253" fmla="*/ 81070 w 12050057"/>
                <a:gd name="connsiteY253" fmla="*/ 4158870 h 6072782"/>
                <a:gd name="connsiteX254" fmla="*/ 81070 w 12050057"/>
                <a:gd name="connsiteY254" fmla="*/ 4381850 h 6072782"/>
                <a:gd name="connsiteX255" fmla="*/ 45782 w 12050057"/>
                <a:gd name="connsiteY255" fmla="*/ 4381850 h 6072782"/>
                <a:gd name="connsiteX256" fmla="*/ 45782 w 12050057"/>
                <a:gd name="connsiteY256" fmla="*/ 4202067 h 6072782"/>
                <a:gd name="connsiteX257" fmla="*/ 25173 w 12050057"/>
                <a:gd name="connsiteY257" fmla="*/ 4213703 h 6072782"/>
                <a:gd name="connsiteX258" fmla="*/ 0 w 12050057"/>
                <a:gd name="connsiteY258" fmla="*/ 4222144 h 6072782"/>
                <a:gd name="connsiteX259" fmla="*/ 0 w 12050057"/>
                <a:gd name="connsiteY259" fmla="*/ 4192028 h 6072782"/>
                <a:gd name="connsiteX260" fmla="*/ 17035 w 12050057"/>
                <a:gd name="connsiteY260" fmla="*/ 4185944 h 6072782"/>
                <a:gd name="connsiteX261" fmla="*/ 33234 w 12050057"/>
                <a:gd name="connsiteY261" fmla="*/ 4178795 h 6072782"/>
                <a:gd name="connsiteX262" fmla="*/ 49357 w 12050057"/>
                <a:gd name="connsiteY262" fmla="*/ 4169974 h 6072782"/>
                <a:gd name="connsiteX263" fmla="*/ 66164 w 12050057"/>
                <a:gd name="connsiteY263" fmla="*/ 4158870 h 6072782"/>
                <a:gd name="connsiteX264" fmla="*/ 10276410 w 12050057"/>
                <a:gd name="connsiteY264" fmla="*/ 3811399 h 6072782"/>
                <a:gd name="connsiteX265" fmla="*/ 10291316 w 12050057"/>
                <a:gd name="connsiteY265" fmla="*/ 3811399 h 6072782"/>
                <a:gd name="connsiteX266" fmla="*/ 10291316 w 12050057"/>
                <a:gd name="connsiteY266" fmla="*/ 4034379 h 6072782"/>
                <a:gd name="connsiteX267" fmla="*/ 10256028 w 12050057"/>
                <a:gd name="connsiteY267" fmla="*/ 4034379 h 6072782"/>
                <a:gd name="connsiteX268" fmla="*/ 10256028 w 12050057"/>
                <a:gd name="connsiteY268" fmla="*/ 3854595 h 6072782"/>
                <a:gd name="connsiteX269" fmla="*/ 10235419 w 12050057"/>
                <a:gd name="connsiteY269" fmla="*/ 3866231 h 6072782"/>
                <a:gd name="connsiteX270" fmla="*/ 10210246 w 12050057"/>
                <a:gd name="connsiteY270" fmla="*/ 3874673 h 6072782"/>
                <a:gd name="connsiteX271" fmla="*/ 10210246 w 12050057"/>
                <a:gd name="connsiteY271" fmla="*/ 3844557 h 6072782"/>
                <a:gd name="connsiteX272" fmla="*/ 10227281 w 12050057"/>
                <a:gd name="connsiteY272" fmla="*/ 3838473 h 6072782"/>
                <a:gd name="connsiteX273" fmla="*/ 10243480 w 12050057"/>
                <a:gd name="connsiteY273" fmla="*/ 3831324 h 6072782"/>
                <a:gd name="connsiteX274" fmla="*/ 10259603 w 12050057"/>
                <a:gd name="connsiteY274" fmla="*/ 3822502 h 6072782"/>
                <a:gd name="connsiteX275" fmla="*/ 10276410 w 12050057"/>
                <a:gd name="connsiteY275" fmla="*/ 3811399 h 6072782"/>
                <a:gd name="connsiteX276" fmla="*/ 9366501 w 12050057"/>
                <a:gd name="connsiteY276" fmla="*/ 3811399 h 6072782"/>
                <a:gd name="connsiteX277" fmla="*/ 9381407 w 12050057"/>
                <a:gd name="connsiteY277" fmla="*/ 3811399 h 6072782"/>
                <a:gd name="connsiteX278" fmla="*/ 9381407 w 12050057"/>
                <a:gd name="connsiteY278" fmla="*/ 4034379 h 6072782"/>
                <a:gd name="connsiteX279" fmla="*/ 9346119 w 12050057"/>
                <a:gd name="connsiteY279" fmla="*/ 4034379 h 6072782"/>
                <a:gd name="connsiteX280" fmla="*/ 9346119 w 12050057"/>
                <a:gd name="connsiteY280" fmla="*/ 3854595 h 6072782"/>
                <a:gd name="connsiteX281" fmla="*/ 9325510 w 12050057"/>
                <a:gd name="connsiteY281" fmla="*/ 3866231 h 6072782"/>
                <a:gd name="connsiteX282" fmla="*/ 9300337 w 12050057"/>
                <a:gd name="connsiteY282" fmla="*/ 3874673 h 6072782"/>
                <a:gd name="connsiteX283" fmla="*/ 9300337 w 12050057"/>
                <a:gd name="connsiteY283" fmla="*/ 3844557 h 6072782"/>
                <a:gd name="connsiteX284" fmla="*/ 9317372 w 12050057"/>
                <a:gd name="connsiteY284" fmla="*/ 3838473 h 6072782"/>
                <a:gd name="connsiteX285" fmla="*/ 9333571 w 12050057"/>
                <a:gd name="connsiteY285" fmla="*/ 3831324 h 6072782"/>
                <a:gd name="connsiteX286" fmla="*/ 9349694 w 12050057"/>
                <a:gd name="connsiteY286" fmla="*/ 3822502 h 6072782"/>
                <a:gd name="connsiteX287" fmla="*/ 9366501 w 12050057"/>
                <a:gd name="connsiteY287" fmla="*/ 3811399 h 6072782"/>
                <a:gd name="connsiteX288" fmla="*/ 7520355 w 12050057"/>
                <a:gd name="connsiteY288" fmla="*/ 3811399 h 6072782"/>
                <a:gd name="connsiteX289" fmla="*/ 7535261 w 12050057"/>
                <a:gd name="connsiteY289" fmla="*/ 3811399 h 6072782"/>
                <a:gd name="connsiteX290" fmla="*/ 7535261 w 12050057"/>
                <a:gd name="connsiteY290" fmla="*/ 4034379 h 6072782"/>
                <a:gd name="connsiteX291" fmla="*/ 7499973 w 12050057"/>
                <a:gd name="connsiteY291" fmla="*/ 4034379 h 6072782"/>
                <a:gd name="connsiteX292" fmla="*/ 7499973 w 12050057"/>
                <a:gd name="connsiteY292" fmla="*/ 3854595 h 6072782"/>
                <a:gd name="connsiteX293" fmla="*/ 7479364 w 12050057"/>
                <a:gd name="connsiteY293" fmla="*/ 3866231 h 6072782"/>
                <a:gd name="connsiteX294" fmla="*/ 7454191 w 12050057"/>
                <a:gd name="connsiteY294" fmla="*/ 3874673 h 6072782"/>
                <a:gd name="connsiteX295" fmla="*/ 7454191 w 12050057"/>
                <a:gd name="connsiteY295" fmla="*/ 3844557 h 6072782"/>
                <a:gd name="connsiteX296" fmla="*/ 7471226 w 12050057"/>
                <a:gd name="connsiteY296" fmla="*/ 3838473 h 6072782"/>
                <a:gd name="connsiteX297" fmla="*/ 7487425 w 12050057"/>
                <a:gd name="connsiteY297" fmla="*/ 3831324 h 6072782"/>
                <a:gd name="connsiteX298" fmla="*/ 7503548 w 12050057"/>
                <a:gd name="connsiteY298" fmla="*/ 3822502 h 6072782"/>
                <a:gd name="connsiteX299" fmla="*/ 7520355 w 12050057"/>
                <a:gd name="connsiteY299" fmla="*/ 3811399 h 6072782"/>
                <a:gd name="connsiteX300" fmla="*/ 4159688 w 12050057"/>
                <a:gd name="connsiteY300" fmla="*/ 3811399 h 6072782"/>
                <a:gd name="connsiteX301" fmla="*/ 4174594 w 12050057"/>
                <a:gd name="connsiteY301" fmla="*/ 3811399 h 6072782"/>
                <a:gd name="connsiteX302" fmla="*/ 4174594 w 12050057"/>
                <a:gd name="connsiteY302" fmla="*/ 4034379 h 6072782"/>
                <a:gd name="connsiteX303" fmla="*/ 4139306 w 12050057"/>
                <a:gd name="connsiteY303" fmla="*/ 4034379 h 6072782"/>
                <a:gd name="connsiteX304" fmla="*/ 4139306 w 12050057"/>
                <a:gd name="connsiteY304" fmla="*/ 3854595 h 6072782"/>
                <a:gd name="connsiteX305" fmla="*/ 4118697 w 12050057"/>
                <a:gd name="connsiteY305" fmla="*/ 3866231 h 6072782"/>
                <a:gd name="connsiteX306" fmla="*/ 4093525 w 12050057"/>
                <a:gd name="connsiteY306" fmla="*/ 3874673 h 6072782"/>
                <a:gd name="connsiteX307" fmla="*/ 4093525 w 12050057"/>
                <a:gd name="connsiteY307" fmla="*/ 3844557 h 6072782"/>
                <a:gd name="connsiteX308" fmla="*/ 4110559 w 12050057"/>
                <a:gd name="connsiteY308" fmla="*/ 3838473 h 6072782"/>
                <a:gd name="connsiteX309" fmla="*/ 4126758 w 12050057"/>
                <a:gd name="connsiteY309" fmla="*/ 3831324 h 6072782"/>
                <a:gd name="connsiteX310" fmla="*/ 4142881 w 12050057"/>
                <a:gd name="connsiteY310" fmla="*/ 3822502 h 6072782"/>
                <a:gd name="connsiteX311" fmla="*/ 4159688 w 12050057"/>
                <a:gd name="connsiteY311" fmla="*/ 3811399 h 6072782"/>
                <a:gd name="connsiteX312" fmla="*/ 3287783 w 12050057"/>
                <a:gd name="connsiteY312" fmla="*/ 3811399 h 6072782"/>
                <a:gd name="connsiteX313" fmla="*/ 3302689 w 12050057"/>
                <a:gd name="connsiteY313" fmla="*/ 3811399 h 6072782"/>
                <a:gd name="connsiteX314" fmla="*/ 3302689 w 12050057"/>
                <a:gd name="connsiteY314" fmla="*/ 4034379 h 6072782"/>
                <a:gd name="connsiteX315" fmla="*/ 3267400 w 12050057"/>
                <a:gd name="connsiteY315" fmla="*/ 4034379 h 6072782"/>
                <a:gd name="connsiteX316" fmla="*/ 3267400 w 12050057"/>
                <a:gd name="connsiteY316" fmla="*/ 3854595 h 6072782"/>
                <a:gd name="connsiteX317" fmla="*/ 3246791 w 12050057"/>
                <a:gd name="connsiteY317" fmla="*/ 3866231 h 6072782"/>
                <a:gd name="connsiteX318" fmla="*/ 3221618 w 12050057"/>
                <a:gd name="connsiteY318" fmla="*/ 3874673 h 6072782"/>
                <a:gd name="connsiteX319" fmla="*/ 3221618 w 12050057"/>
                <a:gd name="connsiteY319" fmla="*/ 3844557 h 6072782"/>
                <a:gd name="connsiteX320" fmla="*/ 3238653 w 12050057"/>
                <a:gd name="connsiteY320" fmla="*/ 3838473 h 6072782"/>
                <a:gd name="connsiteX321" fmla="*/ 3254853 w 12050057"/>
                <a:gd name="connsiteY321" fmla="*/ 3831324 h 6072782"/>
                <a:gd name="connsiteX322" fmla="*/ 3270976 w 12050057"/>
                <a:gd name="connsiteY322" fmla="*/ 3822502 h 6072782"/>
                <a:gd name="connsiteX323" fmla="*/ 3287783 w 12050057"/>
                <a:gd name="connsiteY323" fmla="*/ 3811399 h 6072782"/>
                <a:gd name="connsiteX324" fmla="*/ 1423455 w 12050057"/>
                <a:gd name="connsiteY324" fmla="*/ 3811399 h 6072782"/>
                <a:gd name="connsiteX325" fmla="*/ 1438362 w 12050057"/>
                <a:gd name="connsiteY325" fmla="*/ 3811399 h 6072782"/>
                <a:gd name="connsiteX326" fmla="*/ 1438362 w 12050057"/>
                <a:gd name="connsiteY326" fmla="*/ 4034379 h 6072782"/>
                <a:gd name="connsiteX327" fmla="*/ 1403074 w 12050057"/>
                <a:gd name="connsiteY327" fmla="*/ 4034379 h 6072782"/>
                <a:gd name="connsiteX328" fmla="*/ 1403074 w 12050057"/>
                <a:gd name="connsiteY328" fmla="*/ 3854595 h 6072782"/>
                <a:gd name="connsiteX329" fmla="*/ 1382465 w 12050057"/>
                <a:gd name="connsiteY329" fmla="*/ 3866231 h 6072782"/>
                <a:gd name="connsiteX330" fmla="*/ 1357292 w 12050057"/>
                <a:gd name="connsiteY330" fmla="*/ 3874673 h 6072782"/>
                <a:gd name="connsiteX331" fmla="*/ 1357292 w 12050057"/>
                <a:gd name="connsiteY331" fmla="*/ 3844557 h 6072782"/>
                <a:gd name="connsiteX332" fmla="*/ 1374327 w 12050057"/>
                <a:gd name="connsiteY332" fmla="*/ 3838473 h 6072782"/>
                <a:gd name="connsiteX333" fmla="*/ 1390525 w 12050057"/>
                <a:gd name="connsiteY333" fmla="*/ 3831324 h 6072782"/>
                <a:gd name="connsiteX334" fmla="*/ 1406649 w 12050057"/>
                <a:gd name="connsiteY334" fmla="*/ 3822502 h 6072782"/>
                <a:gd name="connsiteX335" fmla="*/ 1423455 w 12050057"/>
                <a:gd name="connsiteY335" fmla="*/ 3811399 h 6072782"/>
                <a:gd name="connsiteX336" fmla="*/ 66164 w 12050057"/>
                <a:gd name="connsiteY336" fmla="*/ 3811399 h 6072782"/>
                <a:gd name="connsiteX337" fmla="*/ 81070 w 12050057"/>
                <a:gd name="connsiteY337" fmla="*/ 3811399 h 6072782"/>
                <a:gd name="connsiteX338" fmla="*/ 81070 w 12050057"/>
                <a:gd name="connsiteY338" fmla="*/ 4034379 h 6072782"/>
                <a:gd name="connsiteX339" fmla="*/ 45782 w 12050057"/>
                <a:gd name="connsiteY339" fmla="*/ 4034379 h 6072782"/>
                <a:gd name="connsiteX340" fmla="*/ 45782 w 12050057"/>
                <a:gd name="connsiteY340" fmla="*/ 3854596 h 6072782"/>
                <a:gd name="connsiteX341" fmla="*/ 25173 w 12050057"/>
                <a:gd name="connsiteY341" fmla="*/ 3866231 h 6072782"/>
                <a:gd name="connsiteX342" fmla="*/ 0 w 12050057"/>
                <a:gd name="connsiteY342" fmla="*/ 3874673 h 6072782"/>
                <a:gd name="connsiteX343" fmla="*/ 0 w 12050057"/>
                <a:gd name="connsiteY343" fmla="*/ 3844557 h 6072782"/>
                <a:gd name="connsiteX344" fmla="*/ 17035 w 12050057"/>
                <a:gd name="connsiteY344" fmla="*/ 3838473 h 6072782"/>
                <a:gd name="connsiteX345" fmla="*/ 33234 w 12050057"/>
                <a:gd name="connsiteY345" fmla="*/ 3831324 h 6072782"/>
                <a:gd name="connsiteX346" fmla="*/ 49357 w 12050057"/>
                <a:gd name="connsiteY346" fmla="*/ 3822503 h 6072782"/>
                <a:gd name="connsiteX347" fmla="*/ 66164 w 12050057"/>
                <a:gd name="connsiteY347" fmla="*/ 3811399 h 6072782"/>
                <a:gd name="connsiteX348" fmla="*/ 10276410 w 12050057"/>
                <a:gd name="connsiteY348" fmla="*/ 3487025 h 6072782"/>
                <a:gd name="connsiteX349" fmla="*/ 10291316 w 12050057"/>
                <a:gd name="connsiteY349" fmla="*/ 3487025 h 6072782"/>
                <a:gd name="connsiteX350" fmla="*/ 10291316 w 12050057"/>
                <a:gd name="connsiteY350" fmla="*/ 3710005 h 6072782"/>
                <a:gd name="connsiteX351" fmla="*/ 10256028 w 12050057"/>
                <a:gd name="connsiteY351" fmla="*/ 3710005 h 6072782"/>
                <a:gd name="connsiteX352" fmla="*/ 10256028 w 12050057"/>
                <a:gd name="connsiteY352" fmla="*/ 3530221 h 6072782"/>
                <a:gd name="connsiteX353" fmla="*/ 10235419 w 12050057"/>
                <a:gd name="connsiteY353" fmla="*/ 3541857 h 6072782"/>
                <a:gd name="connsiteX354" fmla="*/ 10210246 w 12050057"/>
                <a:gd name="connsiteY354" fmla="*/ 3550299 h 6072782"/>
                <a:gd name="connsiteX355" fmla="*/ 10210246 w 12050057"/>
                <a:gd name="connsiteY355" fmla="*/ 3520183 h 6072782"/>
                <a:gd name="connsiteX356" fmla="*/ 10227281 w 12050057"/>
                <a:gd name="connsiteY356" fmla="*/ 3514099 h 6072782"/>
                <a:gd name="connsiteX357" fmla="*/ 10243480 w 12050057"/>
                <a:gd name="connsiteY357" fmla="*/ 3506950 h 6072782"/>
                <a:gd name="connsiteX358" fmla="*/ 10259603 w 12050057"/>
                <a:gd name="connsiteY358" fmla="*/ 3498128 h 6072782"/>
                <a:gd name="connsiteX359" fmla="*/ 10276410 w 12050057"/>
                <a:gd name="connsiteY359" fmla="*/ 3487025 h 6072782"/>
                <a:gd name="connsiteX360" fmla="*/ 9366501 w 12050057"/>
                <a:gd name="connsiteY360" fmla="*/ 3487025 h 6072782"/>
                <a:gd name="connsiteX361" fmla="*/ 9381407 w 12050057"/>
                <a:gd name="connsiteY361" fmla="*/ 3487025 h 6072782"/>
                <a:gd name="connsiteX362" fmla="*/ 9381407 w 12050057"/>
                <a:gd name="connsiteY362" fmla="*/ 3710005 h 6072782"/>
                <a:gd name="connsiteX363" fmla="*/ 9346119 w 12050057"/>
                <a:gd name="connsiteY363" fmla="*/ 3710005 h 6072782"/>
                <a:gd name="connsiteX364" fmla="*/ 9346119 w 12050057"/>
                <a:gd name="connsiteY364" fmla="*/ 3530221 h 6072782"/>
                <a:gd name="connsiteX365" fmla="*/ 9325510 w 12050057"/>
                <a:gd name="connsiteY365" fmla="*/ 3541857 h 6072782"/>
                <a:gd name="connsiteX366" fmla="*/ 9300337 w 12050057"/>
                <a:gd name="connsiteY366" fmla="*/ 3550299 h 6072782"/>
                <a:gd name="connsiteX367" fmla="*/ 9300337 w 12050057"/>
                <a:gd name="connsiteY367" fmla="*/ 3520183 h 6072782"/>
                <a:gd name="connsiteX368" fmla="*/ 9317372 w 12050057"/>
                <a:gd name="connsiteY368" fmla="*/ 3514099 h 6072782"/>
                <a:gd name="connsiteX369" fmla="*/ 9333571 w 12050057"/>
                <a:gd name="connsiteY369" fmla="*/ 3506950 h 6072782"/>
                <a:gd name="connsiteX370" fmla="*/ 9349694 w 12050057"/>
                <a:gd name="connsiteY370" fmla="*/ 3498128 h 6072782"/>
                <a:gd name="connsiteX371" fmla="*/ 9366501 w 12050057"/>
                <a:gd name="connsiteY371" fmla="*/ 3487025 h 6072782"/>
                <a:gd name="connsiteX372" fmla="*/ 7520355 w 12050057"/>
                <a:gd name="connsiteY372" fmla="*/ 3487025 h 6072782"/>
                <a:gd name="connsiteX373" fmla="*/ 7535261 w 12050057"/>
                <a:gd name="connsiteY373" fmla="*/ 3487025 h 6072782"/>
                <a:gd name="connsiteX374" fmla="*/ 7535261 w 12050057"/>
                <a:gd name="connsiteY374" fmla="*/ 3710005 h 6072782"/>
                <a:gd name="connsiteX375" fmla="*/ 7499973 w 12050057"/>
                <a:gd name="connsiteY375" fmla="*/ 3710005 h 6072782"/>
                <a:gd name="connsiteX376" fmla="*/ 7499973 w 12050057"/>
                <a:gd name="connsiteY376" fmla="*/ 3530221 h 6072782"/>
                <a:gd name="connsiteX377" fmla="*/ 7479364 w 12050057"/>
                <a:gd name="connsiteY377" fmla="*/ 3541857 h 6072782"/>
                <a:gd name="connsiteX378" fmla="*/ 7454191 w 12050057"/>
                <a:gd name="connsiteY378" fmla="*/ 3550299 h 6072782"/>
                <a:gd name="connsiteX379" fmla="*/ 7454191 w 12050057"/>
                <a:gd name="connsiteY379" fmla="*/ 3520183 h 6072782"/>
                <a:gd name="connsiteX380" fmla="*/ 7471226 w 12050057"/>
                <a:gd name="connsiteY380" fmla="*/ 3514099 h 6072782"/>
                <a:gd name="connsiteX381" fmla="*/ 7487425 w 12050057"/>
                <a:gd name="connsiteY381" fmla="*/ 3506950 h 6072782"/>
                <a:gd name="connsiteX382" fmla="*/ 7503548 w 12050057"/>
                <a:gd name="connsiteY382" fmla="*/ 3498128 h 6072782"/>
                <a:gd name="connsiteX383" fmla="*/ 7520355 w 12050057"/>
                <a:gd name="connsiteY383" fmla="*/ 3487025 h 6072782"/>
                <a:gd name="connsiteX384" fmla="*/ 4159688 w 12050057"/>
                <a:gd name="connsiteY384" fmla="*/ 3487025 h 6072782"/>
                <a:gd name="connsiteX385" fmla="*/ 4174594 w 12050057"/>
                <a:gd name="connsiteY385" fmla="*/ 3487025 h 6072782"/>
                <a:gd name="connsiteX386" fmla="*/ 4174594 w 12050057"/>
                <a:gd name="connsiteY386" fmla="*/ 3710005 h 6072782"/>
                <a:gd name="connsiteX387" fmla="*/ 4139306 w 12050057"/>
                <a:gd name="connsiteY387" fmla="*/ 3710005 h 6072782"/>
                <a:gd name="connsiteX388" fmla="*/ 4139306 w 12050057"/>
                <a:gd name="connsiteY388" fmla="*/ 3530221 h 6072782"/>
                <a:gd name="connsiteX389" fmla="*/ 4118697 w 12050057"/>
                <a:gd name="connsiteY389" fmla="*/ 3541857 h 6072782"/>
                <a:gd name="connsiteX390" fmla="*/ 4093525 w 12050057"/>
                <a:gd name="connsiteY390" fmla="*/ 3550299 h 6072782"/>
                <a:gd name="connsiteX391" fmla="*/ 4093525 w 12050057"/>
                <a:gd name="connsiteY391" fmla="*/ 3520183 h 6072782"/>
                <a:gd name="connsiteX392" fmla="*/ 4110559 w 12050057"/>
                <a:gd name="connsiteY392" fmla="*/ 3514099 h 6072782"/>
                <a:gd name="connsiteX393" fmla="*/ 4126758 w 12050057"/>
                <a:gd name="connsiteY393" fmla="*/ 3506950 h 6072782"/>
                <a:gd name="connsiteX394" fmla="*/ 4142881 w 12050057"/>
                <a:gd name="connsiteY394" fmla="*/ 3498128 h 6072782"/>
                <a:gd name="connsiteX395" fmla="*/ 4159688 w 12050057"/>
                <a:gd name="connsiteY395" fmla="*/ 3487025 h 6072782"/>
                <a:gd name="connsiteX396" fmla="*/ 3287783 w 12050057"/>
                <a:gd name="connsiteY396" fmla="*/ 3487025 h 6072782"/>
                <a:gd name="connsiteX397" fmla="*/ 3302689 w 12050057"/>
                <a:gd name="connsiteY397" fmla="*/ 3487025 h 6072782"/>
                <a:gd name="connsiteX398" fmla="*/ 3302689 w 12050057"/>
                <a:gd name="connsiteY398" fmla="*/ 3710005 h 6072782"/>
                <a:gd name="connsiteX399" fmla="*/ 3267400 w 12050057"/>
                <a:gd name="connsiteY399" fmla="*/ 3710005 h 6072782"/>
                <a:gd name="connsiteX400" fmla="*/ 3267400 w 12050057"/>
                <a:gd name="connsiteY400" fmla="*/ 3530221 h 6072782"/>
                <a:gd name="connsiteX401" fmla="*/ 3246791 w 12050057"/>
                <a:gd name="connsiteY401" fmla="*/ 3541857 h 6072782"/>
                <a:gd name="connsiteX402" fmla="*/ 3221618 w 12050057"/>
                <a:gd name="connsiteY402" fmla="*/ 3550299 h 6072782"/>
                <a:gd name="connsiteX403" fmla="*/ 3221618 w 12050057"/>
                <a:gd name="connsiteY403" fmla="*/ 3520183 h 6072782"/>
                <a:gd name="connsiteX404" fmla="*/ 3238653 w 12050057"/>
                <a:gd name="connsiteY404" fmla="*/ 3514099 h 6072782"/>
                <a:gd name="connsiteX405" fmla="*/ 3254853 w 12050057"/>
                <a:gd name="connsiteY405" fmla="*/ 3506950 h 6072782"/>
                <a:gd name="connsiteX406" fmla="*/ 3270976 w 12050057"/>
                <a:gd name="connsiteY406" fmla="*/ 3498128 h 6072782"/>
                <a:gd name="connsiteX407" fmla="*/ 3287783 w 12050057"/>
                <a:gd name="connsiteY407" fmla="*/ 3487025 h 6072782"/>
                <a:gd name="connsiteX408" fmla="*/ 1423455 w 12050057"/>
                <a:gd name="connsiteY408" fmla="*/ 3487025 h 6072782"/>
                <a:gd name="connsiteX409" fmla="*/ 1438362 w 12050057"/>
                <a:gd name="connsiteY409" fmla="*/ 3487025 h 6072782"/>
                <a:gd name="connsiteX410" fmla="*/ 1438362 w 12050057"/>
                <a:gd name="connsiteY410" fmla="*/ 3710005 h 6072782"/>
                <a:gd name="connsiteX411" fmla="*/ 1403074 w 12050057"/>
                <a:gd name="connsiteY411" fmla="*/ 3710005 h 6072782"/>
                <a:gd name="connsiteX412" fmla="*/ 1403074 w 12050057"/>
                <a:gd name="connsiteY412" fmla="*/ 3530221 h 6072782"/>
                <a:gd name="connsiteX413" fmla="*/ 1382465 w 12050057"/>
                <a:gd name="connsiteY413" fmla="*/ 3541857 h 6072782"/>
                <a:gd name="connsiteX414" fmla="*/ 1357292 w 12050057"/>
                <a:gd name="connsiteY414" fmla="*/ 3550299 h 6072782"/>
                <a:gd name="connsiteX415" fmla="*/ 1357292 w 12050057"/>
                <a:gd name="connsiteY415" fmla="*/ 3520183 h 6072782"/>
                <a:gd name="connsiteX416" fmla="*/ 1374327 w 12050057"/>
                <a:gd name="connsiteY416" fmla="*/ 3514099 h 6072782"/>
                <a:gd name="connsiteX417" fmla="*/ 1390525 w 12050057"/>
                <a:gd name="connsiteY417" fmla="*/ 3506950 h 6072782"/>
                <a:gd name="connsiteX418" fmla="*/ 1406649 w 12050057"/>
                <a:gd name="connsiteY418" fmla="*/ 3498128 h 6072782"/>
                <a:gd name="connsiteX419" fmla="*/ 1423455 w 12050057"/>
                <a:gd name="connsiteY419" fmla="*/ 3487025 h 6072782"/>
                <a:gd name="connsiteX420" fmla="*/ 66164 w 12050057"/>
                <a:gd name="connsiteY420" fmla="*/ 3487025 h 6072782"/>
                <a:gd name="connsiteX421" fmla="*/ 81070 w 12050057"/>
                <a:gd name="connsiteY421" fmla="*/ 3487025 h 6072782"/>
                <a:gd name="connsiteX422" fmla="*/ 81070 w 12050057"/>
                <a:gd name="connsiteY422" fmla="*/ 3710005 h 6072782"/>
                <a:gd name="connsiteX423" fmla="*/ 45783 w 12050057"/>
                <a:gd name="connsiteY423" fmla="*/ 3710005 h 6072782"/>
                <a:gd name="connsiteX424" fmla="*/ 45783 w 12050057"/>
                <a:gd name="connsiteY424" fmla="*/ 3530222 h 6072782"/>
                <a:gd name="connsiteX425" fmla="*/ 25173 w 12050057"/>
                <a:gd name="connsiteY425" fmla="*/ 3541857 h 6072782"/>
                <a:gd name="connsiteX426" fmla="*/ 0 w 12050057"/>
                <a:gd name="connsiteY426" fmla="*/ 3550299 h 6072782"/>
                <a:gd name="connsiteX427" fmla="*/ 0 w 12050057"/>
                <a:gd name="connsiteY427" fmla="*/ 3520183 h 6072782"/>
                <a:gd name="connsiteX428" fmla="*/ 17035 w 12050057"/>
                <a:gd name="connsiteY428" fmla="*/ 3514099 h 6072782"/>
                <a:gd name="connsiteX429" fmla="*/ 33235 w 12050057"/>
                <a:gd name="connsiteY429" fmla="*/ 3506950 h 6072782"/>
                <a:gd name="connsiteX430" fmla="*/ 49357 w 12050057"/>
                <a:gd name="connsiteY430" fmla="*/ 3498129 h 6072782"/>
                <a:gd name="connsiteX431" fmla="*/ 66164 w 12050057"/>
                <a:gd name="connsiteY431" fmla="*/ 3487025 h 6072782"/>
                <a:gd name="connsiteX432" fmla="*/ 10253447 w 12050057"/>
                <a:gd name="connsiteY432" fmla="*/ 3110161 h 6072782"/>
                <a:gd name="connsiteX433" fmla="*/ 10268353 w 12050057"/>
                <a:gd name="connsiteY433" fmla="*/ 3110161 h 6072782"/>
                <a:gd name="connsiteX434" fmla="*/ 10268353 w 12050057"/>
                <a:gd name="connsiteY434" fmla="*/ 3333141 h 6072782"/>
                <a:gd name="connsiteX435" fmla="*/ 10233065 w 12050057"/>
                <a:gd name="connsiteY435" fmla="*/ 3333141 h 6072782"/>
                <a:gd name="connsiteX436" fmla="*/ 10233065 w 12050057"/>
                <a:gd name="connsiteY436" fmla="*/ 3153358 h 6072782"/>
                <a:gd name="connsiteX437" fmla="*/ 10212456 w 12050057"/>
                <a:gd name="connsiteY437" fmla="*/ 3164993 h 6072782"/>
                <a:gd name="connsiteX438" fmla="*/ 10187283 w 12050057"/>
                <a:gd name="connsiteY438" fmla="*/ 3173435 h 6072782"/>
                <a:gd name="connsiteX439" fmla="*/ 10187283 w 12050057"/>
                <a:gd name="connsiteY439" fmla="*/ 3143319 h 6072782"/>
                <a:gd name="connsiteX440" fmla="*/ 10204318 w 12050057"/>
                <a:gd name="connsiteY440" fmla="*/ 3137235 h 6072782"/>
                <a:gd name="connsiteX441" fmla="*/ 10220517 w 12050057"/>
                <a:gd name="connsiteY441" fmla="*/ 3130086 h 6072782"/>
                <a:gd name="connsiteX442" fmla="*/ 10236640 w 12050057"/>
                <a:gd name="connsiteY442" fmla="*/ 3121265 h 6072782"/>
                <a:gd name="connsiteX443" fmla="*/ 10253447 w 12050057"/>
                <a:gd name="connsiteY443" fmla="*/ 3110161 h 6072782"/>
                <a:gd name="connsiteX444" fmla="*/ 9361419 w 12050057"/>
                <a:gd name="connsiteY444" fmla="*/ 3110161 h 6072782"/>
                <a:gd name="connsiteX445" fmla="*/ 9376325 w 12050057"/>
                <a:gd name="connsiteY445" fmla="*/ 3110161 h 6072782"/>
                <a:gd name="connsiteX446" fmla="*/ 9376325 w 12050057"/>
                <a:gd name="connsiteY446" fmla="*/ 3333141 h 6072782"/>
                <a:gd name="connsiteX447" fmla="*/ 9341037 w 12050057"/>
                <a:gd name="connsiteY447" fmla="*/ 3333141 h 6072782"/>
                <a:gd name="connsiteX448" fmla="*/ 9341037 w 12050057"/>
                <a:gd name="connsiteY448" fmla="*/ 3153358 h 6072782"/>
                <a:gd name="connsiteX449" fmla="*/ 9320428 w 12050057"/>
                <a:gd name="connsiteY449" fmla="*/ 3164993 h 6072782"/>
                <a:gd name="connsiteX450" fmla="*/ 9295255 w 12050057"/>
                <a:gd name="connsiteY450" fmla="*/ 3173435 h 6072782"/>
                <a:gd name="connsiteX451" fmla="*/ 9295255 w 12050057"/>
                <a:gd name="connsiteY451" fmla="*/ 3143319 h 6072782"/>
                <a:gd name="connsiteX452" fmla="*/ 9312290 w 12050057"/>
                <a:gd name="connsiteY452" fmla="*/ 3137235 h 6072782"/>
                <a:gd name="connsiteX453" fmla="*/ 9328489 w 12050057"/>
                <a:gd name="connsiteY453" fmla="*/ 3130086 h 6072782"/>
                <a:gd name="connsiteX454" fmla="*/ 9344612 w 12050057"/>
                <a:gd name="connsiteY454" fmla="*/ 3121265 h 6072782"/>
                <a:gd name="connsiteX455" fmla="*/ 9361419 w 12050057"/>
                <a:gd name="connsiteY455" fmla="*/ 3110161 h 6072782"/>
                <a:gd name="connsiteX456" fmla="*/ 7495249 w 12050057"/>
                <a:gd name="connsiteY456" fmla="*/ 3110161 h 6072782"/>
                <a:gd name="connsiteX457" fmla="*/ 7510155 w 12050057"/>
                <a:gd name="connsiteY457" fmla="*/ 3110161 h 6072782"/>
                <a:gd name="connsiteX458" fmla="*/ 7510155 w 12050057"/>
                <a:gd name="connsiteY458" fmla="*/ 3333141 h 6072782"/>
                <a:gd name="connsiteX459" fmla="*/ 7474867 w 12050057"/>
                <a:gd name="connsiteY459" fmla="*/ 3333141 h 6072782"/>
                <a:gd name="connsiteX460" fmla="*/ 7474867 w 12050057"/>
                <a:gd name="connsiteY460" fmla="*/ 3153358 h 6072782"/>
                <a:gd name="connsiteX461" fmla="*/ 7454258 w 12050057"/>
                <a:gd name="connsiteY461" fmla="*/ 3164993 h 6072782"/>
                <a:gd name="connsiteX462" fmla="*/ 7429085 w 12050057"/>
                <a:gd name="connsiteY462" fmla="*/ 3173435 h 6072782"/>
                <a:gd name="connsiteX463" fmla="*/ 7429085 w 12050057"/>
                <a:gd name="connsiteY463" fmla="*/ 3143319 h 6072782"/>
                <a:gd name="connsiteX464" fmla="*/ 7446120 w 12050057"/>
                <a:gd name="connsiteY464" fmla="*/ 3137235 h 6072782"/>
                <a:gd name="connsiteX465" fmla="*/ 7462319 w 12050057"/>
                <a:gd name="connsiteY465" fmla="*/ 3130086 h 6072782"/>
                <a:gd name="connsiteX466" fmla="*/ 7478442 w 12050057"/>
                <a:gd name="connsiteY466" fmla="*/ 3121265 h 6072782"/>
                <a:gd name="connsiteX467" fmla="*/ 7495249 w 12050057"/>
                <a:gd name="connsiteY467" fmla="*/ 3110161 h 6072782"/>
                <a:gd name="connsiteX468" fmla="*/ 4199831 w 12050057"/>
                <a:gd name="connsiteY468" fmla="*/ 3110161 h 6072782"/>
                <a:gd name="connsiteX469" fmla="*/ 4214738 w 12050057"/>
                <a:gd name="connsiteY469" fmla="*/ 3110161 h 6072782"/>
                <a:gd name="connsiteX470" fmla="*/ 4214738 w 12050057"/>
                <a:gd name="connsiteY470" fmla="*/ 3333141 h 6072782"/>
                <a:gd name="connsiteX471" fmla="*/ 4179450 w 12050057"/>
                <a:gd name="connsiteY471" fmla="*/ 3333141 h 6072782"/>
                <a:gd name="connsiteX472" fmla="*/ 4179450 w 12050057"/>
                <a:gd name="connsiteY472" fmla="*/ 3153358 h 6072782"/>
                <a:gd name="connsiteX473" fmla="*/ 4158840 w 12050057"/>
                <a:gd name="connsiteY473" fmla="*/ 3164993 h 6072782"/>
                <a:gd name="connsiteX474" fmla="*/ 4133668 w 12050057"/>
                <a:gd name="connsiteY474" fmla="*/ 3173435 h 6072782"/>
                <a:gd name="connsiteX475" fmla="*/ 4133668 w 12050057"/>
                <a:gd name="connsiteY475" fmla="*/ 3143319 h 6072782"/>
                <a:gd name="connsiteX476" fmla="*/ 4150703 w 12050057"/>
                <a:gd name="connsiteY476" fmla="*/ 3137235 h 6072782"/>
                <a:gd name="connsiteX477" fmla="*/ 4166902 w 12050057"/>
                <a:gd name="connsiteY477" fmla="*/ 3130086 h 6072782"/>
                <a:gd name="connsiteX478" fmla="*/ 4183024 w 12050057"/>
                <a:gd name="connsiteY478" fmla="*/ 3121265 h 6072782"/>
                <a:gd name="connsiteX479" fmla="*/ 4199831 w 12050057"/>
                <a:gd name="connsiteY479" fmla="*/ 3110161 h 6072782"/>
                <a:gd name="connsiteX480" fmla="*/ 3304505 w 12050057"/>
                <a:gd name="connsiteY480" fmla="*/ 3110161 h 6072782"/>
                <a:gd name="connsiteX481" fmla="*/ 3319411 w 12050057"/>
                <a:gd name="connsiteY481" fmla="*/ 3110161 h 6072782"/>
                <a:gd name="connsiteX482" fmla="*/ 3319411 w 12050057"/>
                <a:gd name="connsiteY482" fmla="*/ 3333141 h 6072782"/>
                <a:gd name="connsiteX483" fmla="*/ 3284123 w 12050057"/>
                <a:gd name="connsiteY483" fmla="*/ 3333141 h 6072782"/>
                <a:gd name="connsiteX484" fmla="*/ 3284123 w 12050057"/>
                <a:gd name="connsiteY484" fmla="*/ 3153358 h 6072782"/>
                <a:gd name="connsiteX485" fmla="*/ 3263514 w 12050057"/>
                <a:gd name="connsiteY485" fmla="*/ 3164993 h 6072782"/>
                <a:gd name="connsiteX486" fmla="*/ 3238342 w 12050057"/>
                <a:gd name="connsiteY486" fmla="*/ 3173435 h 6072782"/>
                <a:gd name="connsiteX487" fmla="*/ 3238342 w 12050057"/>
                <a:gd name="connsiteY487" fmla="*/ 3143319 h 6072782"/>
                <a:gd name="connsiteX488" fmla="*/ 3255376 w 12050057"/>
                <a:gd name="connsiteY488" fmla="*/ 3137235 h 6072782"/>
                <a:gd name="connsiteX489" fmla="*/ 3271575 w 12050057"/>
                <a:gd name="connsiteY489" fmla="*/ 3130086 h 6072782"/>
                <a:gd name="connsiteX490" fmla="*/ 3287699 w 12050057"/>
                <a:gd name="connsiteY490" fmla="*/ 3121265 h 6072782"/>
                <a:gd name="connsiteX491" fmla="*/ 3304505 w 12050057"/>
                <a:gd name="connsiteY491" fmla="*/ 3110161 h 6072782"/>
                <a:gd name="connsiteX492" fmla="*/ 1423456 w 12050057"/>
                <a:gd name="connsiteY492" fmla="*/ 3110161 h 6072782"/>
                <a:gd name="connsiteX493" fmla="*/ 1438361 w 12050057"/>
                <a:gd name="connsiteY493" fmla="*/ 3110161 h 6072782"/>
                <a:gd name="connsiteX494" fmla="*/ 1438361 w 12050057"/>
                <a:gd name="connsiteY494" fmla="*/ 3333141 h 6072782"/>
                <a:gd name="connsiteX495" fmla="*/ 1403074 w 12050057"/>
                <a:gd name="connsiteY495" fmla="*/ 3333141 h 6072782"/>
                <a:gd name="connsiteX496" fmla="*/ 1403074 w 12050057"/>
                <a:gd name="connsiteY496" fmla="*/ 3153358 h 6072782"/>
                <a:gd name="connsiteX497" fmla="*/ 1382464 w 12050057"/>
                <a:gd name="connsiteY497" fmla="*/ 3164993 h 6072782"/>
                <a:gd name="connsiteX498" fmla="*/ 1357291 w 12050057"/>
                <a:gd name="connsiteY498" fmla="*/ 3173435 h 6072782"/>
                <a:gd name="connsiteX499" fmla="*/ 1357291 w 12050057"/>
                <a:gd name="connsiteY499" fmla="*/ 3143319 h 6072782"/>
                <a:gd name="connsiteX500" fmla="*/ 1374326 w 12050057"/>
                <a:gd name="connsiteY500" fmla="*/ 3137235 h 6072782"/>
                <a:gd name="connsiteX501" fmla="*/ 1390526 w 12050057"/>
                <a:gd name="connsiteY501" fmla="*/ 3130086 h 6072782"/>
                <a:gd name="connsiteX502" fmla="*/ 1406648 w 12050057"/>
                <a:gd name="connsiteY502" fmla="*/ 3121265 h 6072782"/>
                <a:gd name="connsiteX503" fmla="*/ 1423456 w 12050057"/>
                <a:gd name="connsiteY503" fmla="*/ 3110161 h 6072782"/>
                <a:gd name="connsiteX504" fmla="*/ 12035151 w 12050057"/>
                <a:gd name="connsiteY504" fmla="*/ 2809130 h 6072782"/>
                <a:gd name="connsiteX505" fmla="*/ 12050057 w 12050057"/>
                <a:gd name="connsiteY505" fmla="*/ 2809130 h 6072782"/>
                <a:gd name="connsiteX506" fmla="*/ 12050057 w 12050057"/>
                <a:gd name="connsiteY506" fmla="*/ 3032110 h 6072782"/>
                <a:gd name="connsiteX507" fmla="*/ 12014769 w 12050057"/>
                <a:gd name="connsiteY507" fmla="*/ 3032110 h 6072782"/>
                <a:gd name="connsiteX508" fmla="*/ 12014769 w 12050057"/>
                <a:gd name="connsiteY508" fmla="*/ 2852327 h 6072782"/>
                <a:gd name="connsiteX509" fmla="*/ 11994160 w 12050057"/>
                <a:gd name="connsiteY509" fmla="*/ 2863962 h 6072782"/>
                <a:gd name="connsiteX510" fmla="*/ 11968987 w 12050057"/>
                <a:gd name="connsiteY510" fmla="*/ 2872404 h 6072782"/>
                <a:gd name="connsiteX511" fmla="*/ 11968987 w 12050057"/>
                <a:gd name="connsiteY511" fmla="*/ 2842288 h 6072782"/>
                <a:gd name="connsiteX512" fmla="*/ 11986022 w 12050057"/>
                <a:gd name="connsiteY512" fmla="*/ 2836204 h 6072782"/>
                <a:gd name="connsiteX513" fmla="*/ 12002221 w 12050057"/>
                <a:gd name="connsiteY513" fmla="*/ 2829055 h 6072782"/>
                <a:gd name="connsiteX514" fmla="*/ 12018344 w 12050057"/>
                <a:gd name="connsiteY514" fmla="*/ 2820234 h 6072782"/>
                <a:gd name="connsiteX515" fmla="*/ 12035151 w 12050057"/>
                <a:gd name="connsiteY515" fmla="*/ 2809130 h 6072782"/>
                <a:gd name="connsiteX516" fmla="*/ 10410370 w 12050057"/>
                <a:gd name="connsiteY516" fmla="*/ 2809130 h 6072782"/>
                <a:gd name="connsiteX517" fmla="*/ 10425276 w 12050057"/>
                <a:gd name="connsiteY517" fmla="*/ 2809130 h 6072782"/>
                <a:gd name="connsiteX518" fmla="*/ 10425276 w 12050057"/>
                <a:gd name="connsiteY518" fmla="*/ 3032110 h 6072782"/>
                <a:gd name="connsiteX519" fmla="*/ 10389988 w 12050057"/>
                <a:gd name="connsiteY519" fmla="*/ 3032110 h 6072782"/>
                <a:gd name="connsiteX520" fmla="*/ 10389988 w 12050057"/>
                <a:gd name="connsiteY520" fmla="*/ 2852327 h 6072782"/>
                <a:gd name="connsiteX521" fmla="*/ 10369379 w 12050057"/>
                <a:gd name="connsiteY521" fmla="*/ 2863962 h 6072782"/>
                <a:gd name="connsiteX522" fmla="*/ 10344206 w 12050057"/>
                <a:gd name="connsiteY522" fmla="*/ 2872404 h 6072782"/>
                <a:gd name="connsiteX523" fmla="*/ 10344206 w 12050057"/>
                <a:gd name="connsiteY523" fmla="*/ 2842288 h 6072782"/>
                <a:gd name="connsiteX524" fmla="*/ 10361241 w 12050057"/>
                <a:gd name="connsiteY524" fmla="*/ 2836204 h 6072782"/>
                <a:gd name="connsiteX525" fmla="*/ 10377440 w 12050057"/>
                <a:gd name="connsiteY525" fmla="*/ 2829055 h 6072782"/>
                <a:gd name="connsiteX526" fmla="*/ 10393563 w 12050057"/>
                <a:gd name="connsiteY526" fmla="*/ 2820234 h 6072782"/>
                <a:gd name="connsiteX527" fmla="*/ 10410370 w 12050057"/>
                <a:gd name="connsiteY527" fmla="*/ 2809130 h 6072782"/>
                <a:gd name="connsiteX528" fmla="*/ 9532663 w 12050057"/>
                <a:gd name="connsiteY528" fmla="*/ 2809130 h 6072782"/>
                <a:gd name="connsiteX529" fmla="*/ 9547569 w 12050057"/>
                <a:gd name="connsiteY529" fmla="*/ 2809130 h 6072782"/>
                <a:gd name="connsiteX530" fmla="*/ 9547569 w 12050057"/>
                <a:gd name="connsiteY530" fmla="*/ 3032110 h 6072782"/>
                <a:gd name="connsiteX531" fmla="*/ 9512281 w 12050057"/>
                <a:gd name="connsiteY531" fmla="*/ 3032110 h 6072782"/>
                <a:gd name="connsiteX532" fmla="*/ 9512281 w 12050057"/>
                <a:gd name="connsiteY532" fmla="*/ 2852327 h 6072782"/>
                <a:gd name="connsiteX533" fmla="*/ 9491672 w 12050057"/>
                <a:gd name="connsiteY533" fmla="*/ 2863962 h 6072782"/>
                <a:gd name="connsiteX534" fmla="*/ 9466499 w 12050057"/>
                <a:gd name="connsiteY534" fmla="*/ 2872404 h 6072782"/>
                <a:gd name="connsiteX535" fmla="*/ 9466499 w 12050057"/>
                <a:gd name="connsiteY535" fmla="*/ 2842288 h 6072782"/>
                <a:gd name="connsiteX536" fmla="*/ 9483534 w 12050057"/>
                <a:gd name="connsiteY536" fmla="*/ 2836204 h 6072782"/>
                <a:gd name="connsiteX537" fmla="*/ 9499733 w 12050057"/>
                <a:gd name="connsiteY537" fmla="*/ 2829055 h 6072782"/>
                <a:gd name="connsiteX538" fmla="*/ 9515856 w 12050057"/>
                <a:gd name="connsiteY538" fmla="*/ 2820234 h 6072782"/>
                <a:gd name="connsiteX539" fmla="*/ 9532663 w 12050057"/>
                <a:gd name="connsiteY539" fmla="*/ 2809130 h 6072782"/>
                <a:gd name="connsiteX540" fmla="*/ 8660208 w 12050057"/>
                <a:gd name="connsiteY540" fmla="*/ 2809130 h 6072782"/>
                <a:gd name="connsiteX541" fmla="*/ 8675114 w 12050057"/>
                <a:gd name="connsiteY541" fmla="*/ 2809130 h 6072782"/>
                <a:gd name="connsiteX542" fmla="*/ 8675114 w 12050057"/>
                <a:gd name="connsiteY542" fmla="*/ 3032110 h 6072782"/>
                <a:gd name="connsiteX543" fmla="*/ 8639826 w 12050057"/>
                <a:gd name="connsiteY543" fmla="*/ 3032110 h 6072782"/>
                <a:gd name="connsiteX544" fmla="*/ 8639826 w 12050057"/>
                <a:gd name="connsiteY544" fmla="*/ 2852327 h 6072782"/>
                <a:gd name="connsiteX545" fmla="*/ 8619217 w 12050057"/>
                <a:gd name="connsiteY545" fmla="*/ 2863962 h 6072782"/>
                <a:gd name="connsiteX546" fmla="*/ 8594044 w 12050057"/>
                <a:gd name="connsiteY546" fmla="*/ 2872404 h 6072782"/>
                <a:gd name="connsiteX547" fmla="*/ 8594044 w 12050057"/>
                <a:gd name="connsiteY547" fmla="*/ 2842288 h 6072782"/>
                <a:gd name="connsiteX548" fmla="*/ 8611079 w 12050057"/>
                <a:gd name="connsiteY548" fmla="*/ 2836204 h 6072782"/>
                <a:gd name="connsiteX549" fmla="*/ 8627278 w 12050057"/>
                <a:gd name="connsiteY549" fmla="*/ 2829055 h 6072782"/>
                <a:gd name="connsiteX550" fmla="*/ 8643401 w 12050057"/>
                <a:gd name="connsiteY550" fmla="*/ 2820234 h 6072782"/>
                <a:gd name="connsiteX551" fmla="*/ 8660208 w 12050057"/>
                <a:gd name="connsiteY551" fmla="*/ 2809130 h 6072782"/>
                <a:gd name="connsiteX552" fmla="*/ 6671075 w 12050057"/>
                <a:gd name="connsiteY552" fmla="*/ 2809130 h 6072782"/>
                <a:gd name="connsiteX553" fmla="*/ 6685982 w 12050057"/>
                <a:gd name="connsiteY553" fmla="*/ 2809130 h 6072782"/>
                <a:gd name="connsiteX554" fmla="*/ 6685982 w 12050057"/>
                <a:gd name="connsiteY554" fmla="*/ 3032110 h 6072782"/>
                <a:gd name="connsiteX555" fmla="*/ 6650694 w 12050057"/>
                <a:gd name="connsiteY555" fmla="*/ 3032110 h 6072782"/>
                <a:gd name="connsiteX556" fmla="*/ 6650694 w 12050057"/>
                <a:gd name="connsiteY556" fmla="*/ 2852327 h 6072782"/>
                <a:gd name="connsiteX557" fmla="*/ 6630084 w 12050057"/>
                <a:gd name="connsiteY557" fmla="*/ 2863962 h 6072782"/>
                <a:gd name="connsiteX558" fmla="*/ 6604912 w 12050057"/>
                <a:gd name="connsiteY558" fmla="*/ 2872404 h 6072782"/>
                <a:gd name="connsiteX559" fmla="*/ 6604912 w 12050057"/>
                <a:gd name="connsiteY559" fmla="*/ 2842288 h 6072782"/>
                <a:gd name="connsiteX560" fmla="*/ 6621947 w 12050057"/>
                <a:gd name="connsiteY560" fmla="*/ 2836204 h 6072782"/>
                <a:gd name="connsiteX561" fmla="*/ 6638146 w 12050057"/>
                <a:gd name="connsiteY561" fmla="*/ 2829055 h 6072782"/>
                <a:gd name="connsiteX562" fmla="*/ 6654268 w 12050057"/>
                <a:gd name="connsiteY562" fmla="*/ 2820234 h 6072782"/>
                <a:gd name="connsiteX563" fmla="*/ 6671075 w 12050057"/>
                <a:gd name="connsiteY563" fmla="*/ 2809130 h 6072782"/>
                <a:gd name="connsiteX564" fmla="*/ 5979097 w 12050057"/>
                <a:gd name="connsiteY564" fmla="*/ 2809130 h 6072782"/>
                <a:gd name="connsiteX565" fmla="*/ 5994004 w 12050057"/>
                <a:gd name="connsiteY565" fmla="*/ 2809130 h 6072782"/>
                <a:gd name="connsiteX566" fmla="*/ 5994004 w 12050057"/>
                <a:gd name="connsiteY566" fmla="*/ 3032110 h 6072782"/>
                <a:gd name="connsiteX567" fmla="*/ 5958717 w 12050057"/>
                <a:gd name="connsiteY567" fmla="*/ 3032110 h 6072782"/>
                <a:gd name="connsiteX568" fmla="*/ 5958717 w 12050057"/>
                <a:gd name="connsiteY568" fmla="*/ 2852327 h 6072782"/>
                <a:gd name="connsiteX569" fmla="*/ 5938106 w 12050057"/>
                <a:gd name="connsiteY569" fmla="*/ 2863962 h 6072782"/>
                <a:gd name="connsiteX570" fmla="*/ 5912934 w 12050057"/>
                <a:gd name="connsiteY570" fmla="*/ 2872404 h 6072782"/>
                <a:gd name="connsiteX571" fmla="*/ 5912934 w 12050057"/>
                <a:gd name="connsiteY571" fmla="*/ 2842288 h 6072782"/>
                <a:gd name="connsiteX572" fmla="*/ 5929969 w 12050057"/>
                <a:gd name="connsiteY572" fmla="*/ 2836204 h 6072782"/>
                <a:gd name="connsiteX573" fmla="*/ 5946169 w 12050057"/>
                <a:gd name="connsiteY573" fmla="*/ 2829055 h 6072782"/>
                <a:gd name="connsiteX574" fmla="*/ 5962291 w 12050057"/>
                <a:gd name="connsiteY574" fmla="*/ 2820234 h 6072782"/>
                <a:gd name="connsiteX575" fmla="*/ 5979097 w 12050057"/>
                <a:gd name="connsiteY575" fmla="*/ 2809130 h 6072782"/>
                <a:gd name="connsiteX576" fmla="*/ 4354317 w 12050057"/>
                <a:gd name="connsiteY576" fmla="*/ 2809130 h 6072782"/>
                <a:gd name="connsiteX577" fmla="*/ 4369224 w 12050057"/>
                <a:gd name="connsiteY577" fmla="*/ 2809130 h 6072782"/>
                <a:gd name="connsiteX578" fmla="*/ 4369224 w 12050057"/>
                <a:gd name="connsiteY578" fmla="*/ 3032110 h 6072782"/>
                <a:gd name="connsiteX579" fmla="*/ 4333935 w 12050057"/>
                <a:gd name="connsiteY579" fmla="*/ 3032110 h 6072782"/>
                <a:gd name="connsiteX580" fmla="*/ 4333935 w 12050057"/>
                <a:gd name="connsiteY580" fmla="*/ 2852327 h 6072782"/>
                <a:gd name="connsiteX581" fmla="*/ 4313325 w 12050057"/>
                <a:gd name="connsiteY581" fmla="*/ 2863962 h 6072782"/>
                <a:gd name="connsiteX582" fmla="*/ 4288153 w 12050057"/>
                <a:gd name="connsiteY582" fmla="*/ 2872404 h 6072782"/>
                <a:gd name="connsiteX583" fmla="*/ 4288153 w 12050057"/>
                <a:gd name="connsiteY583" fmla="*/ 2842288 h 6072782"/>
                <a:gd name="connsiteX584" fmla="*/ 4305189 w 12050057"/>
                <a:gd name="connsiteY584" fmla="*/ 2836204 h 6072782"/>
                <a:gd name="connsiteX585" fmla="*/ 4321387 w 12050057"/>
                <a:gd name="connsiteY585" fmla="*/ 2829055 h 6072782"/>
                <a:gd name="connsiteX586" fmla="*/ 4337509 w 12050057"/>
                <a:gd name="connsiteY586" fmla="*/ 2820234 h 6072782"/>
                <a:gd name="connsiteX587" fmla="*/ 4354317 w 12050057"/>
                <a:gd name="connsiteY587" fmla="*/ 2809130 h 6072782"/>
                <a:gd name="connsiteX588" fmla="*/ 3476611 w 12050057"/>
                <a:gd name="connsiteY588" fmla="*/ 2809130 h 6072782"/>
                <a:gd name="connsiteX589" fmla="*/ 3491518 w 12050057"/>
                <a:gd name="connsiteY589" fmla="*/ 2809130 h 6072782"/>
                <a:gd name="connsiteX590" fmla="*/ 3491518 w 12050057"/>
                <a:gd name="connsiteY590" fmla="*/ 3032110 h 6072782"/>
                <a:gd name="connsiteX591" fmla="*/ 3456230 w 12050057"/>
                <a:gd name="connsiteY591" fmla="*/ 3032110 h 6072782"/>
                <a:gd name="connsiteX592" fmla="*/ 3456230 w 12050057"/>
                <a:gd name="connsiteY592" fmla="*/ 2852327 h 6072782"/>
                <a:gd name="connsiteX593" fmla="*/ 3435620 w 12050057"/>
                <a:gd name="connsiteY593" fmla="*/ 2863962 h 6072782"/>
                <a:gd name="connsiteX594" fmla="*/ 3410447 w 12050057"/>
                <a:gd name="connsiteY594" fmla="*/ 2872404 h 6072782"/>
                <a:gd name="connsiteX595" fmla="*/ 3410447 w 12050057"/>
                <a:gd name="connsiteY595" fmla="*/ 2842288 h 6072782"/>
                <a:gd name="connsiteX596" fmla="*/ 3427483 w 12050057"/>
                <a:gd name="connsiteY596" fmla="*/ 2836204 h 6072782"/>
                <a:gd name="connsiteX597" fmla="*/ 3443682 w 12050057"/>
                <a:gd name="connsiteY597" fmla="*/ 2829055 h 6072782"/>
                <a:gd name="connsiteX598" fmla="*/ 3459804 w 12050057"/>
                <a:gd name="connsiteY598" fmla="*/ 2820234 h 6072782"/>
                <a:gd name="connsiteX599" fmla="*/ 3476611 w 12050057"/>
                <a:gd name="connsiteY599" fmla="*/ 2809130 h 6072782"/>
                <a:gd name="connsiteX600" fmla="*/ 2604156 w 12050057"/>
                <a:gd name="connsiteY600" fmla="*/ 2809130 h 6072782"/>
                <a:gd name="connsiteX601" fmla="*/ 2619062 w 12050057"/>
                <a:gd name="connsiteY601" fmla="*/ 2809130 h 6072782"/>
                <a:gd name="connsiteX602" fmla="*/ 2619062 w 12050057"/>
                <a:gd name="connsiteY602" fmla="*/ 3032110 h 6072782"/>
                <a:gd name="connsiteX603" fmla="*/ 2583774 w 12050057"/>
                <a:gd name="connsiteY603" fmla="*/ 3032110 h 6072782"/>
                <a:gd name="connsiteX604" fmla="*/ 2583774 w 12050057"/>
                <a:gd name="connsiteY604" fmla="*/ 2852327 h 6072782"/>
                <a:gd name="connsiteX605" fmla="*/ 2563165 w 12050057"/>
                <a:gd name="connsiteY605" fmla="*/ 2863962 h 6072782"/>
                <a:gd name="connsiteX606" fmla="*/ 2537992 w 12050057"/>
                <a:gd name="connsiteY606" fmla="*/ 2872404 h 6072782"/>
                <a:gd name="connsiteX607" fmla="*/ 2537992 w 12050057"/>
                <a:gd name="connsiteY607" fmla="*/ 2842288 h 6072782"/>
                <a:gd name="connsiteX608" fmla="*/ 2555027 w 12050057"/>
                <a:gd name="connsiteY608" fmla="*/ 2836204 h 6072782"/>
                <a:gd name="connsiteX609" fmla="*/ 2571226 w 12050057"/>
                <a:gd name="connsiteY609" fmla="*/ 2829055 h 6072782"/>
                <a:gd name="connsiteX610" fmla="*/ 2587349 w 12050057"/>
                <a:gd name="connsiteY610" fmla="*/ 2820234 h 6072782"/>
                <a:gd name="connsiteX611" fmla="*/ 2604156 w 12050057"/>
                <a:gd name="connsiteY611" fmla="*/ 2809130 h 6072782"/>
                <a:gd name="connsiteX612" fmla="*/ 619557 w 12050057"/>
                <a:gd name="connsiteY612" fmla="*/ 2809130 h 6072782"/>
                <a:gd name="connsiteX613" fmla="*/ 634463 w 12050057"/>
                <a:gd name="connsiteY613" fmla="*/ 2809130 h 6072782"/>
                <a:gd name="connsiteX614" fmla="*/ 634463 w 12050057"/>
                <a:gd name="connsiteY614" fmla="*/ 3032110 h 6072782"/>
                <a:gd name="connsiteX615" fmla="*/ 599174 w 12050057"/>
                <a:gd name="connsiteY615" fmla="*/ 3032110 h 6072782"/>
                <a:gd name="connsiteX616" fmla="*/ 599174 w 12050057"/>
                <a:gd name="connsiteY616" fmla="*/ 2852327 h 6072782"/>
                <a:gd name="connsiteX617" fmla="*/ 578566 w 12050057"/>
                <a:gd name="connsiteY617" fmla="*/ 2863962 h 6072782"/>
                <a:gd name="connsiteX618" fmla="*/ 553393 w 12050057"/>
                <a:gd name="connsiteY618" fmla="*/ 2872404 h 6072782"/>
                <a:gd name="connsiteX619" fmla="*/ 553393 w 12050057"/>
                <a:gd name="connsiteY619" fmla="*/ 2842288 h 6072782"/>
                <a:gd name="connsiteX620" fmla="*/ 570428 w 12050057"/>
                <a:gd name="connsiteY620" fmla="*/ 2836204 h 6072782"/>
                <a:gd name="connsiteX621" fmla="*/ 586626 w 12050057"/>
                <a:gd name="connsiteY621" fmla="*/ 2829055 h 6072782"/>
                <a:gd name="connsiteX622" fmla="*/ 602749 w 12050057"/>
                <a:gd name="connsiteY622" fmla="*/ 2820234 h 6072782"/>
                <a:gd name="connsiteX623" fmla="*/ 619557 w 12050057"/>
                <a:gd name="connsiteY623" fmla="*/ 2809130 h 6072782"/>
                <a:gd name="connsiteX624" fmla="*/ 10291704 w 12050057"/>
                <a:gd name="connsiteY624" fmla="*/ 2480736 h 6072782"/>
                <a:gd name="connsiteX625" fmla="*/ 10306610 w 12050057"/>
                <a:gd name="connsiteY625" fmla="*/ 2480736 h 6072782"/>
                <a:gd name="connsiteX626" fmla="*/ 10306610 w 12050057"/>
                <a:gd name="connsiteY626" fmla="*/ 2703716 h 6072782"/>
                <a:gd name="connsiteX627" fmla="*/ 10271322 w 12050057"/>
                <a:gd name="connsiteY627" fmla="*/ 2703716 h 6072782"/>
                <a:gd name="connsiteX628" fmla="*/ 10271322 w 12050057"/>
                <a:gd name="connsiteY628" fmla="*/ 2523933 h 6072782"/>
                <a:gd name="connsiteX629" fmla="*/ 10250713 w 12050057"/>
                <a:gd name="connsiteY629" fmla="*/ 2535568 h 6072782"/>
                <a:gd name="connsiteX630" fmla="*/ 10225540 w 12050057"/>
                <a:gd name="connsiteY630" fmla="*/ 2544010 h 6072782"/>
                <a:gd name="connsiteX631" fmla="*/ 10225540 w 12050057"/>
                <a:gd name="connsiteY631" fmla="*/ 2513894 h 6072782"/>
                <a:gd name="connsiteX632" fmla="*/ 10242575 w 12050057"/>
                <a:gd name="connsiteY632" fmla="*/ 2507810 h 6072782"/>
                <a:gd name="connsiteX633" fmla="*/ 10258774 w 12050057"/>
                <a:gd name="connsiteY633" fmla="*/ 2500661 h 6072782"/>
                <a:gd name="connsiteX634" fmla="*/ 10274897 w 12050057"/>
                <a:gd name="connsiteY634" fmla="*/ 2491839 h 6072782"/>
                <a:gd name="connsiteX635" fmla="*/ 10291704 w 12050057"/>
                <a:gd name="connsiteY635" fmla="*/ 2480736 h 6072782"/>
                <a:gd name="connsiteX636" fmla="*/ 7171000 w 12050057"/>
                <a:gd name="connsiteY636" fmla="*/ 2480736 h 6072782"/>
                <a:gd name="connsiteX637" fmla="*/ 7185906 w 12050057"/>
                <a:gd name="connsiteY637" fmla="*/ 2480736 h 6072782"/>
                <a:gd name="connsiteX638" fmla="*/ 7185906 w 12050057"/>
                <a:gd name="connsiteY638" fmla="*/ 2703716 h 6072782"/>
                <a:gd name="connsiteX639" fmla="*/ 7150618 w 12050057"/>
                <a:gd name="connsiteY639" fmla="*/ 2703716 h 6072782"/>
                <a:gd name="connsiteX640" fmla="*/ 7150618 w 12050057"/>
                <a:gd name="connsiteY640" fmla="*/ 2523933 h 6072782"/>
                <a:gd name="connsiteX641" fmla="*/ 7130009 w 12050057"/>
                <a:gd name="connsiteY641" fmla="*/ 2535568 h 6072782"/>
                <a:gd name="connsiteX642" fmla="*/ 7104836 w 12050057"/>
                <a:gd name="connsiteY642" fmla="*/ 2544010 h 6072782"/>
                <a:gd name="connsiteX643" fmla="*/ 7104836 w 12050057"/>
                <a:gd name="connsiteY643" fmla="*/ 2513894 h 6072782"/>
                <a:gd name="connsiteX644" fmla="*/ 7121871 w 12050057"/>
                <a:gd name="connsiteY644" fmla="*/ 2507810 h 6072782"/>
                <a:gd name="connsiteX645" fmla="*/ 7138070 w 12050057"/>
                <a:gd name="connsiteY645" fmla="*/ 2500661 h 6072782"/>
                <a:gd name="connsiteX646" fmla="*/ 7154193 w 12050057"/>
                <a:gd name="connsiteY646" fmla="*/ 2491839 h 6072782"/>
                <a:gd name="connsiteX647" fmla="*/ 7171000 w 12050057"/>
                <a:gd name="connsiteY647" fmla="*/ 2480736 h 6072782"/>
                <a:gd name="connsiteX648" fmla="*/ 6278970 w 12050057"/>
                <a:gd name="connsiteY648" fmla="*/ 2480736 h 6072782"/>
                <a:gd name="connsiteX649" fmla="*/ 6293876 w 12050057"/>
                <a:gd name="connsiteY649" fmla="*/ 2480736 h 6072782"/>
                <a:gd name="connsiteX650" fmla="*/ 6293876 w 12050057"/>
                <a:gd name="connsiteY650" fmla="*/ 2703716 h 6072782"/>
                <a:gd name="connsiteX651" fmla="*/ 6258588 w 12050057"/>
                <a:gd name="connsiteY651" fmla="*/ 2703716 h 6072782"/>
                <a:gd name="connsiteX652" fmla="*/ 6258588 w 12050057"/>
                <a:gd name="connsiteY652" fmla="*/ 2523933 h 6072782"/>
                <a:gd name="connsiteX653" fmla="*/ 6237979 w 12050057"/>
                <a:gd name="connsiteY653" fmla="*/ 2535568 h 6072782"/>
                <a:gd name="connsiteX654" fmla="*/ 6212806 w 12050057"/>
                <a:gd name="connsiteY654" fmla="*/ 2544010 h 6072782"/>
                <a:gd name="connsiteX655" fmla="*/ 6212806 w 12050057"/>
                <a:gd name="connsiteY655" fmla="*/ 2513894 h 6072782"/>
                <a:gd name="connsiteX656" fmla="*/ 6229841 w 12050057"/>
                <a:gd name="connsiteY656" fmla="*/ 2507810 h 6072782"/>
                <a:gd name="connsiteX657" fmla="*/ 6246040 w 12050057"/>
                <a:gd name="connsiteY657" fmla="*/ 2500661 h 6072782"/>
                <a:gd name="connsiteX658" fmla="*/ 6262163 w 12050057"/>
                <a:gd name="connsiteY658" fmla="*/ 2491839 h 6072782"/>
                <a:gd name="connsiteX659" fmla="*/ 6278970 w 12050057"/>
                <a:gd name="connsiteY659" fmla="*/ 2480736 h 6072782"/>
                <a:gd name="connsiteX660" fmla="*/ 4229236 w 12050057"/>
                <a:gd name="connsiteY660" fmla="*/ 2480736 h 6072782"/>
                <a:gd name="connsiteX661" fmla="*/ 4244142 w 12050057"/>
                <a:gd name="connsiteY661" fmla="*/ 2480736 h 6072782"/>
                <a:gd name="connsiteX662" fmla="*/ 4244142 w 12050057"/>
                <a:gd name="connsiteY662" fmla="*/ 2703716 h 6072782"/>
                <a:gd name="connsiteX663" fmla="*/ 4208855 w 12050057"/>
                <a:gd name="connsiteY663" fmla="*/ 2703716 h 6072782"/>
                <a:gd name="connsiteX664" fmla="*/ 4208855 w 12050057"/>
                <a:gd name="connsiteY664" fmla="*/ 2523933 h 6072782"/>
                <a:gd name="connsiteX665" fmla="*/ 4188245 w 12050057"/>
                <a:gd name="connsiteY665" fmla="*/ 2535568 h 6072782"/>
                <a:gd name="connsiteX666" fmla="*/ 4163072 w 12050057"/>
                <a:gd name="connsiteY666" fmla="*/ 2544010 h 6072782"/>
                <a:gd name="connsiteX667" fmla="*/ 4163072 w 12050057"/>
                <a:gd name="connsiteY667" fmla="*/ 2513894 h 6072782"/>
                <a:gd name="connsiteX668" fmla="*/ 4180107 w 12050057"/>
                <a:gd name="connsiteY668" fmla="*/ 2507810 h 6072782"/>
                <a:gd name="connsiteX669" fmla="*/ 4196307 w 12050057"/>
                <a:gd name="connsiteY669" fmla="*/ 2500661 h 6072782"/>
                <a:gd name="connsiteX670" fmla="*/ 4212429 w 12050057"/>
                <a:gd name="connsiteY670" fmla="*/ 2491839 h 6072782"/>
                <a:gd name="connsiteX671" fmla="*/ 4229236 w 12050057"/>
                <a:gd name="connsiteY671" fmla="*/ 2480736 h 6072782"/>
                <a:gd name="connsiteX672" fmla="*/ 1107649 w 12050057"/>
                <a:gd name="connsiteY672" fmla="*/ 2480736 h 6072782"/>
                <a:gd name="connsiteX673" fmla="*/ 1122555 w 12050057"/>
                <a:gd name="connsiteY673" fmla="*/ 2480736 h 6072782"/>
                <a:gd name="connsiteX674" fmla="*/ 1122555 w 12050057"/>
                <a:gd name="connsiteY674" fmla="*/ 2703716 h 6072782"/>
                <a:gd name="connsiteX675" fmla="*/ 1087267 w 12050057"/>
                <a:gd name="connsiteY675" fmla="*/ 2703716 h 6072782"/>
                <a:gd name="connsiteX676" fmla="*/ 1087267 w 12050057"/>
                <a:gd name="connsiteY676" fmla="*/ 2523933 h 6072782"/>
                <a:gd name="connsiteX677" fmla="*/ 1066658 w 12050057"/>
                <a:gd name="connsiteY677" fmla="*/ 2535568 h 6072782"/>
                <a:gd name="connsiteX678" fmla="*/ 1041486 w 12050057"/>
                <a:gd name="connsiteY678" fmla="*/ 2544010 h 6072782"/>
                <a:gd name="connsiteX679" fmla="*/ 1041486 w 12050057"/>
                <a:gd name="connsiteY679" fmla="*/ 2513894 h 6072782"/>
                <a:gd name="connsiteX680" fmla="*/ 1058521 w 12050057"/>
                <a:gd name="connsiteY680" fmla="*/ 2507810 h 6072782"/>
                <a:gd name="connsiteX681" fmla="*/ 1074719 w 12050057"/>
                <a:gd name="connsiteY681" fmla="*/ 2500661 h 6072782"/>
                <a:gd name="connsiteX682" fmla="*/ 1090842 w 12050057"/>
                <a:gd name="connsiteY682" fmla="*/ 2491839 h 6072782"/>
                <a:gd name="connsiteX683" fmla="*/ 1107649 w 12050057"/>
                <a:gd name="connsiteY683" fmla="*/ 2480736 h 6072782"/>
                <a:gd name="connsiteX684" fmla="*/ 213707 w 12050057"/>
                <a:gd name="connsiteY684" fmla="*/ 2480736 h 6072782"/>
                <a:gd name="connsiteX685" fmla="*/ 228613 w 12050057"/>
                <a:gd name="connsiteY685" fmla="*/ 2480736 h 6072782"/>
                <a:gd name="connsiteX686" fmla="*/ 228613 w 12050057"/>
                <a:gd name="connsiteY686" fmla="*/ 2703716 h 6072782"/>
                <a:gd name="connsiteX687" fmla="*/ 193325 w 12050057"/>
                <a:gd name="connsiteY687" fmla="*/ 2703716 h 6072782"/>
                <a:gd name="connsiteX688" fmla="*/ 193325 w 12050057"/>
                <a:gd name="connsiteY688" fmla="*/ 2523933 h 6072782"/>
                <a:gd name="connsiteX689" fmla="*/ 172716 w 12050057"/>
                <a:gd name="connsiteY689" fmla="*/ 2535568 h 6072782"/>
                <a:gd name="connsiteX690" fmla="*/ 147543 w 12050057"/>
                <a:gd name="connsiteY690" fmla="*/ 2544010 h 6072782"/>
                <a:gd name="connsiteX691" fmla="*/ 147543 w 12050057"/>
                <a:gd name="connsiteY691" fmla="*/ 2513894 h 6072782"/>
                <a:gd name="connsiteX692" fmla="*/ 164578 w 12050057"/>
                <a:gd name="connsiteY692" fmla="*/ 2507810 h 6072782"/>
                <a:gd name="connsiteX693" fmla="*/ 180778 w 12050057"/>
                <a:gd name="connsiteY693" fmla="*/ 2500661 h 6072782"/>
                <a:gd name="connsiteX694" fmla="*/ 196900 w 12050057"/>
                <a:gd name="connsiteY694" fmla="*/ 2491839 h 6072782"/>
                <a:gd name="connsiteX695" fmla="*/ 213707 w 12050057"/>
                <a:gd name="connsiteY695" fmla="*/ 2480736 h 6072782"/>
                <a:gd name="connsiteX696" fmla="*/ 11444638 w 12050057"/>
                <a:gd name="connsiteY696" fmla="*/ 2176765 h 6072782"/>
                <a:gd name="connsiteX697" fmla="*/ 11459544 w 12050057"/>
                <a:gd name="connsiteY697" fmla="*/ 2176765 h 6072782"/>
                <a:gd name="connsiteX698" fmla="*/ 11459544 w 12050057"/>
                <a:gd name="connsiteY698" fmla="*/ 2399745 h 6072782"/>
                <a:gd name="connsiteX699" fmla="*/ 11424256 w 12050057"/>
                <a:gd name="connsiteY699" fmla="*/ 2399745 h 6072782"/>
                <a:gd name="connsiteX700" fmla="*/ 11424256 w 12050057"/>
                <a:gd name="connsiteY700" fmla="*/ 2219962 h 6072782"/>
                <a:gd name="connsiteX701" fmla="*/ 11403647 w 12050057"/>
                <a:gd name="connsiteY701" fmla="*/ 2231597 h 6072782"/>
                <a:gd name="connsiteX702" fmla="*/ 11378474 w 12050057"/>
                <a:gd name="connsiteY702" fmla="*/ 2240039 h 6072782"/>
                <a:gd name="connsiteX703" fmla="*/ 11378474 w 12050057"/>
                <a:gd name="connsiteY703" fmla="*/ 2209923 h 6072782"/>
                <a:gd name="connsiteX704" fmla="*/ 11395509 w 12050057"/>
                <a:gd name="connsiteY704" fmla="*/ 2203839 h 6072782"/>
                <a:gd name="connsiteX705" fmla="*/ 11411708 w 12050057"/>
                <a:gd name="connsiteY705" fmla="*/ 2196690 h 6072782"/>
                <a:gd name="connsiteX706" fmla="*/ 11427831 w 12050057"/>
                <a:gd name="connsiteY706" fmla="*/ 2187868 h 6072782"/>
                <a:gd name="connsiteX707" fmla="*/ 11444638 w 12050057"/>
                <a:gd name="connsiteY707" fmla="*/ 2176765 h 6072782"/>
                <a:gd name="connsiteX708" fmla="*/ 9437758 w 12050057"/>
                <a:gd name="connsiteY708" fmla="*/ 2176765 h 6072782"/>
                <a:gd name="connsiteX709" fmla="*/ 9452664 w 12050057"/>
                <a:gd name="connsiteY709" fmla="*/ 2176765 h 6072782"/>
                <a:gd name="connsiteX710" fmla="*/ 9452664 w 12050057"/>
                <a:gd name="connsiteY710" fmla="*/ 2399745 h 6072782"/>
                <a:gd name="connsiteX711" fmla="*/ 9417376 w 12050057"/>
                <a:gd name="connsiteY711" fmla="*/ 2399745 h 6072782"/>
                <a:gd name="connsiteX712" fmla="*/ 9417376 w 12050057"/>
                <a:gd name="connsiteY712" fmla="*/ 2219962 h 6072782"/>
                <a:gd name="connsiteX713" fmla="*/ 9396767 w 12050057"/>
                <a:gd name="connsiteY713" fmla="*/ 2231597 h 6072782"/>
                <a:gd name="connsiteX714" fmla="*/ 9371594 w 12050057"/>
                <a:gd name="connsiteY714" fmla="*/ 2240039 h 6072782"/>
                <a:gd name="connsiteX715" fmla="*/ 9371594 w 12050057"/>
                <a:gd name="connsiteY715" fmla="*/ 2209923 h 6072782"/>
                <a:gd name="connsiteX716" fmla="*/ 9388629 w 12050057"/>
                <a:gd name="connsiteY716" fmla="*/ 2203839 h 6072782"/>
                <a:gd name="connsiteX717" fmla="*/ 9404828 w 12050057"/>
                <a:gd name="connsiteY717" fmla="*/ 2196690 h 6072782"/>
                <a:gd name="connsiteX718" fmla="*/ 9420951 w 12050057"/>
                <a:gd name="connsiteY718" fmla="*/ 2187868 h 6072782"/>
                <a:gd name="connsiteX719" fmla="*/ 9437758 w 12050057"/>
                <a:gd name="connsiteY719" fmla="*/ 2176765 h 6072782"/>
                <a:gd name="connsiteX720" fmla="*/ 8937428 w 12050057"/>
                <a:gd name="connsiteY720" fmla="*/ 2176765 h 6072782"/>
                <a:gd name="connsiteX721" fmla="*/ 8952334 w 12050057"/>
                <a:gd name="connsiteY721" fmla="*/ 2176765 h 6072782"/>
                <a:gd name="connsiteX722" fmla="*/ 8952334 w 12050057"/>
                <a:gd name="connsiteY722" fmla="*/ 2399745 h 6072782"/>
                <a:gd name="connsiteX723" fmla="*/ 8917046 w 12050057"/>
                <a:gd name="connsiteY723" fmla="*/ 2399745 h 6072782"/>
                <a:gd name="connsiteX724" fmla="*/ 8917046 w 12050057"/>
                <a:gd name="connsiteY724" fmla="*/ 2219962 h 6072782"/>
                <a:gd name="connsiteX725" fmla="*/ 8896437 w 12050057"/>
                <a:gd name="connsiteY725" fmla="*/ 2231597 h 6072782"/>
                <a:gd name="connsiteX726" fmla="*/ 8871264 w 12050057"/>
                <a:gd name="connsiteY726" fmla="*/ 2240039 h 6072782"/>
                <a:gd name="connsiteX727" fmla="*/ 8871264 w 12050057"/>
                <a:gd name="connsiteY727" fmla="*/ 2209923 h 6072782"/>
                <a:gd name="connsiteX728" fmla="*/ 8888299 w 12050057"/>
                <a:gd name="connsiteY728" fmla="*/ 2203839 h 6072782"/>
                <a:gd name="connsiteX729" fmla="*/ 8904498 w 12050057"/>
                <a:gd name="connsiteY729" fmla="*/ 2196690 h 6072782"/>
                <a:gd name="connsiteX730" fmla="*/ 8920621 w 12050057"/>
                <a:gd name="connsiteY730" fmla="*/ 2187868 h 6072782"/>
                <a:gd name="connsiteX731" fmla="*/ 8937428 w 12050057"/>
                <a:gd name="connsiteY731" fmla="*/ 2176765 h 6072782"/>
                <a:gd name="connsiteX732" fmla="*/ 7308531 w 12050057"/>
                <a:gd name="connsiteY732" fmla="*/ 2176765 h 6072782"/>
                <a:gd name="connsiteX733" fmla="*/ 7323437 w 12050057"/>
                <a:gd name="connsiteY733" fmla="*/ 2176765 h 6072782"/>
                <a:gd name="connsiteX734" fmla="*/ 7323437 w 12050057"/>
                <a:gd name="connsiteY734" fmla="*/ 2399745 h 6072782"/>
                <a:gd name="connsiteX735" fmla="*/ 7288149 w 12050057"/>
                <a:gd name="connsiteY735" fmla="*/ 2399745 h 6072782"/>
                <a:gd name="connsiteX736" fmla="*/ 7288149 w 12050057"/>
                <a:gd name="connsiteY736" fmla="*/ 2219962 h 6072782"/>
                <a:gd name="connsiteX737" fmla="*/ 7267540 w 12050057"/>
                <a:gd name="connsiteY737" fmla="*/ 2231597 h 6072782"/>
                <a:gd name="connsiteX738" fmla="*/ 7242367 w 12050057"/>
                <a:gd name="connsiteY738" fmla="*/ 2240039 h 6072782"/>
                <a:gd name="connsiteX739" fmla="*/ 7242367 w 12050057"/>
                <a:gd name="connsiteY739" fmla="*/ 2209923 h 6072782"/>
                <a:gd name="connsiteX740" fmla="*/ 7259402 w 12050057"/>
                <a:gd name="connsiteY740" fmla="*/ 2203839 h 6072782"/>
                <a:gd name="connsiteX741" fmla="*/ 7275601 w 12050057"/>
                <a:gd name="connsiteY741" fmla="*/ 2196690 h 6072782"/>
                <a:gd name="connsiteX742" fmla="*/ 7291724 w 12050057"/>
                <a:gd name="connsiteY742" fmla="*/ 2187868 h 6072782"/>
                <a:gd name="connsiteX743" fmla="*/ 7308531 w 12050057"/>
                <a:gd name="connsiteY743" fmla="*/ 2176765 h 6072782"/>
                <a:gd name="connsiteX744" fmla="*/ 6438588 w 12050057"/>
                <a:gd name="connsiteY744" fmla="*/ 2176765 h 6072782"/>
                <a:gd name="connsiteX745" fmla="*/ 6453494 w 12050057"/>
                <a:gd name="connsiteY745" fmla="*/ 2176765 h 6072782"/>
                <a:gd name="connsiteX746" fmla="*/ 6453494 w 12050057"/>
                <a:gd name="connsiteY746" fmla="*/ 2399745 h 6072782"/>
                <a:gd name="connsiteX747" fmla="*/ 6418206 w 12050057"/>
                <a:gd name="connsiteY747" fmla="*/ 2399745 h 6072782"/>
                <a:gd name="connsiteX748" fmla="*/ 6418206 w 12050057"/>
                <a:gd name="connsiteY748" fmla="*/ 2219962 h 6072782"/>
                <a:gd name="connsiteX749" fmla="*/ 6397597 w 12050057"/>
                <a:gd name="connsiteY749" fmla="*/ 2231597 h 6072782"/>
                <a:gd name="connsiteX750" fmla="*/ 6372424 w 12050057"/>
                <a:gd name="connsiteY750" fmla="*/ 2240039 h 6072782"/>
                <a:gd name="connsiteX751" fmla="*/ 6372424 w 12050057"/>
                <a:gd name="connsiteY751" fmla="*/ 2209923 h 6072782"/>
                <a:gd name="connsiteX752" fmla="*/ 6389459 w 12050057"/>
                <a:gd name="connsiteY752" fmla="*/ 2203839 h 6072782"/>
                <a:gd name="connsiteX753" fmla="*/ 6405658 w 12050057"/>
                <a:gd name="connsiteY753" fmla="*/ 2196690 h 6072782"/>
                <a:gd name="connsiteX754" fmla="*/ 6421781 w 12050057"/>
                <a:gd name="connsiteY754" fmla="*/ 2187868 h 6072782"/>
                <a:gd name="connsiteX755" fmla="*/ 6438588 w 12050057"/>
                <a:gd name="connsiteY755" fmla="*/ 2176765 h 6072782"/>
                <a:gd name="connsiteX756" fmla="*/ 5369222 w 12050057"/>
                <a:gd name="connsiteY756" fmla="*/ 2176765 h 6072782"/>
                <a:gd name="connsiteX757" fmla="*/ 5384128 w 12050057"/>
                <a:gd name="connsiteY757" fmla="*/ 2176765 h 6072782"/>
                <a:gd name="connsiteX758" fmla="*/ 5384128 w 12050057"/>
                <a:gd name="connsiteY758" fmla="*/ 2399745 h 6072782"/>
                <a:gd name="connsiteX759" fmla="*/ 5348840 w 12050057"/>
                <a:gd name="connsiteY759" fmla="*/ 2399745 h 6072782"/>
                <a:gd name="connsiteX760" fmla="*/ 5348840 w 12050057"/>
                <a:gd name="connsiteY760" fmla="*/ 2219962 h 6072782"/>
                <a:gd name="connsiteX761" fmla="*/ 5328231 w 12050057"/>
                <a:gd name="connsiteY761" fmla="*/ 2231597 h 6072782"/>
                <a:gd name="connsiteX762" fmla="*/ 5303059 w 12050057"/>
                <a:gd name="connsiteY762" fmla="*/ 2240039 h 6072782"/>
                <a:gd name="connsiteX763" fmla="*/ 5303059 w 12050057"/>
                <a:gd name="connsiteY763" fmla="*/ 2209923 h 6072782"/>
                <a:gd name="connsiteX764" fmla="*/ 5320094 w 12050057"/>
                <a:gd name="connsiteY764" fmla="*/ 2203839 h 6072782"/>
                <a:gd name="connsiteX765" fmla="*/ 5336292 w 12050057"/>
                <a:gd name="connsiteY765" fmla="*/ 2196690 h 6072782"/>
                <a:gd name="connsiteX766" fmla="*/ 5352415 w 12050057"/>
                <a:gd name="connsiteY766" fmla="*/ 2187868 h 6072782"/>
                <a:gd name="connsiteX767" fmla="*/ 5369222 w 12050057"/>
                <a:gd name="connsiteY767" fmla="*/ 2176765 h 6072782"/>
                <a:gd name="connsiteX768" fmla="*/ 3376912 w 12050057"/>
                <a:gd name="connsiteY768" fmla="*/ 2176765 h 6072782"/>
                <a:gd name="connsiteX769" fmla="*/ 3391818 w 12050057"/>
                <a:gd name="connsiteY769" fmla="*/ 2176765 h 6072782"/>
                <a:gd name="connsiteX770" fmla="*/ 3391818 w 12050057"/>
                <a:gd name="connsiteY770" fmla="*/ 2399745 h 6072782"/>
                <a:gd name="connsiteX771" fmla="*/ 3356530 w 12050057"/>
                <a:gd name="connsiteY771" fmla="*/ 2399745 h 6072782"/>
                <a:gd name="connsiteX772" fmla="*/ 3356530 w 12050057"/>
                <a:gd name="connsiteY772" fmla="*/ 2219962 h 6072782"/>
                <a:gd name="connsiteX773" fmla="*/ 3335922 w 12050057"/>
                <a:gd name="connsiteY773" fmla="*/ 2231597 h 6072782"/>
                <a:gd name="connsiteX774" fmla="*/ 3310748 w 12050057"/>
                <a:gd name="connsiteY774" fmla="*/ 2240039 h 6072782"/>
                <a:gd name="connsiteX775" fmla="*/ 3310748 w 12050057"/>
                <a:gd name="connsiteY775" fmla="*/ 2209923 h 6072782"/>
                <a:gd name="connsiteX776" fmla="*/ 3327783 w 12050057"/>
                <a:gd name="connsiteY776" fmla="*/ 2203839 h 6072782"/>
                <a:gd name="connsiteX777" fmla="*/ 3343983 w 12050057"/>
                <a:gd name="connsiteY777" fmla="*/ 2196690 h 6072782"/>
                <a:gd name="connsiteX778" fmla="*/ 3360105 w 12050057"/>
                <a:gd name="connsiteY778" fmla="*/ 2187868 h 6072782"/>
                <a:gd name="connsiteX779" fmla="*/ 3376912 w 12050057"/>
                <a:gd name="connsiteY779" fmla="*/ 2176765 h 6072782"/>
                <a:gd name="connsiteX780" fmla="*/ 2864708 w 12050057"/>
                <a:gd name="connsiteY780" fmla="*/ 2176765 h 6072782"/>
                <a:gd name="connsiteX781" fmla="*/ 2879614 w 12050057"/>
                <a:gd name="connsiteY781" fmla="*/ 2176765 h 6072782"/>
                <a:gd name="connsiteX782" fmla="*/ 2879614 w 12050057"/>
                <a:gd name="connsiteY782" fmla="*/ 2399745 h 6072782"/>
                <a:gd name="connsiteX783" fmla="*/ 2844327 w 12050057"/>
                <a:gd name="connsiteY783" fmla="*/ 2399745 h 6072782"/>
                <a:gd name="connsiteX784" fmla="*/ 2844327 w 12050057"/>
                <a:gd name="connsiteY784" fmla="*/ 2219962 h 6072782"/>
                <a:gd name="connsiteX785" fmla="*/ 2823717 w 12050057"/>
                <a:gd name="connsiteY785" fmla="*/ 2231597 h 6072782"/>
                <a:gd name="connsiteX786" fmla="*/ 2798544 w 12050057"/>
                <a:gd name="connsiteY786" fmla="*/ 2240039 h 6072782"/>
                <a:gd name="connsiteX787" fmla="*/ 2798544 w 12050057"/>
                <a:gd name="connsiteY787" fmla="*/ 2209923 h 6072782"/>
                <a:gd name="connsiteX788" fmla="*/ 2815579 w 12050057"/>
                <a:gd name="connsiteY788" fmla="*/ 2203839 h 6072782"/>
                <a:gd name="connsiteX789" fmla="*/ 2831779 w 12050057"/>
                <a:gd name="connsiteY789" fmla="*/ 2196690 h 6072782"/>
                <a:gd name="connsiteX790" fmla="*/ 2847901 w 12050057"/>
                <a:gd name="connsiteY790" fmla="*/ 2187868 h 6072782"/>
                <a:gd name="connsiteX791" fmla="*/ 2864708 w 12050057"/>
                <a:gd name="connsiteY791" fmla="*/ 2176765 h 6072782"/>
                <a:gd name="connsiteX792" fmla="*/ 1257354 w 12050057"/>
                <a:gd name="connsiteY792" fmla="*/ 2176765 h 6072782"/>
                <a:gd name="connsiteX793" fmla="*/ 1272260 w 12050057"/>
                <a:gd name="connsiteY793" fmla="*/ 2176765 h 6072782"/>
                <a:gd name="connsiteX794" fmla="*/ 1272260 w 12050057"/>
                <a:gd name="connsiteY794" fmla="*/ 2399745 h 6072782"/>
                <a:gd name="connsiteX795" fmla="*/ 1236972 w 12050057"/>
                <a:gd name="connsiteY795" fmla="*/ 2399745 h 6072782"/>
                <a:gd name="connsiteX796" fmla="*/ 1236972 w 12050057"/>
                <a:gd name="connsiteY796" fmla="*/ 2219962 h 6072782"/>
                <a:gd name="connsiteX797" fmla="*/ 1216363 w 12050057"/>
                <a:gd name="connsiteY797" fmla="*/ 2231597 h 6072782"/>
                <a:gd name="connsiteX798" fmla="*/ 1191190 w 12050057"/>
                <a:gd name="connsiteY798" fmla="*/ 2240039 h 6072782"/>
                <a:gd name="connsiteX799" fmla="*/ 1191190 w 12050057"/>
                <a:gd name="connsiteY799" fmla="*/ 2209923 h 6072782"/>
                <a:gd name="connsiteX800" fmla="*/ 1208225 w 12050057"/>
                <a:gd name="connsiteY800" fmla="*/ 2203839 h 6072782"/>
                <a:gd name="connsiteX801" fmla="*/ 1224424 w 12050057"/>
                <a:gd name="connsiteY801" fmla="*/ 2196690 h 6072782"/>
                <a:gd name="connsiteX802" fmla="*/ 1240547 w 12050057"/>
                <a:gd name="connsiteY802" fmla="*/ 2187868 h 6072782"/>
                <a:gd name="connsiteX803" fmla="*/ 1257354 w 12050057"/>
                <a:gd name="connsiteY803" fmla="*/ 2176765 h 6072782"/>
                <a:gd name="connsiteX804" fmla="*/ 384113 w 12050057"/>
                <a:gd name="connsiteY804" fmla="*/ 2176765 h 6072782"/>
                <a:gd name="connsiteX805" fmla="*/ 399019 w 12050057"/>
                <a:gd name="connsiteY805" fmla="*/ 2176765 h 6072782"/>
                <a:gd name="connsiteX806" fmla="*/ 399019 w 12050057"/>
                <a:gd name="connsiteY806" fmla="*/ 2399745 h 6072782"/>
                <a:gd name="connsiteX807" fmla="*/ 363731 w 12050057"/>
                <a:gd name="connsiteY807" fmla="*/ 2399745 h 6072782"/>
                <a:gd name="connsiteX808" fmla="*/ 363731 w 12050057"/>
                <a:gd name="connsiteY808" fmla="*/ 2219962 h 6072782"/>
                <a:gd name="connsiteX809" fmla="*/ 343122 w 12050057"/>
                <a:gd name="connsiteY809" fmla="*/ 2231597 h 6072782"/>
                <a:gd name="connsiteX810" fmla="*/ 317949 w 12050057"/>
                <a:gd name="connsiteY810" fmla="*/ 2240039 h 6072782"/>
                <a:gd name="connsiteX811" fmla="*/ 317949 w 12050057"/>
                <a:gd name="connsiteY811" fmla="*/ 2209923 h 6072782"/>
                <a:gd name="connsiteX812" fmla="*/ 334984 w 12050057"/>
                <a:gd name="connsiteY812" fmla="*/ 2203839 h 6072782"/>
                <a:gd name="connsiteX813" fmla="*/ 351183 w 12050057"/>
                <a:gd name="connsiteY813" fmla="*/ 2196690 h 6072782"/>
                <a:gd name="connsiteX814" fmla="*/ 367306 w 12050057"/>
                <a:gd name="connsiteY814" fmla="*/ 2187868 h 6072782"/>
                <a:gd name="connsiteX815" fmla="*/ 384113 w 12050057"/>
                <a:gd name="connsiteY815" fmla="*/ 2176765 h 6072782"/>
                <a:gd name="connsiteX816" fmla="*/ 10273078 w 12050057"/>
                <a:gd name="connsiteY816" fmla="*/ 1842347 h 6072782"/>
                <a:gd name="connsiteX817" fmla="*/ 10287984 w 12050057"/>
                <a:gd name="connsiteY817" fmla="*/ 1842347 h 6072782"/>
                <a:gd name="connsiteX818" fmla="*/ 10287984 w 12050057"/>
                <a:gd name="connsiteY818" fmla="*/ 2065327 h 6072782"/>
                <a:gd name="connsiteX819" fmla="*/ 10252696 w 12050057"/>
                <a:gd name="connsiteY819" fmla="*/ 2065327 h 6072782"/>
                <a:gd name="connsiteX820" fmla="*/ 10252696 w 12050057"/>
                <a:gd name="connsiteY820" fmla="*/ 1885543 h 6072782"/>
                <a:gd name="connsiteX821" fmla="*/ 10232087 w 12050057"/>
                <a:gd name="connsiteY821" fmla="*/ 1897179 h 6072782"/>
                <a:gd name="connsiteX822" fmla="*/ 10206914 w 12050057"/>
                <a:gd name="connsiteY822" fmla="*/ 1905621 h 6072782"/>
                <a:gd name="connsiteX823" fmla="*/ 10206914 w 12050057"/>
                <a:gd name="connsiteY823" fmla="*/ 1875505 h 6072782"/>
                <a:gd name="connsiteX824" fmla="*/ 10223949 w 12050057"/>
                <a:gd name="connsiteY824" fmla="*/ 1869421 h 6072782"/>
                <a:gd name="connsiteX825" fmla="*/ 10240148 w 12050057"/>
                <a:gd name="connsiteY825" fmla="*/ 1862272 h 6072782"/>
                <a:gd name="connsiteX826" fmla="*/ 10256271 w 12050057"/>
                <a:gd name="connsiteY826" fmla="*/ 1853450 h 6072782"/>
                <a:gd name="connsiteX827" fmla="*/ 10273078 w 12050057"/>
                <a:gd name="connsiteY827" fmla="*/ 1842347 h 6072782"/>
                <a:gd name="connsiteX828" fmla="*/ 9385054 w 12050057"/>
                <a:gd name="connsiteY828" fmla="*/ 1842347 h 6072782"/>
                <a:gd name="connsiteX829" fmla="*/ 9399960 w 12050057"/>
                <a:gd name="connsiteY829" fmla="*/ 1842347 h 6072782"/>
                <a:gd name="connsiteX830" fmla="*/ 9399960 w 12050057"/>
                <a:gd name="connsiteY830" fmla="*/ 2065327 h 6072782"/>
                <a:gd name="connsiteX831" fmla="*/ 9364672 w 12050057"/>
                <a:gd name="connsiteY831" fmla="*/ 2065327 h 6072782"/>
                <a:gd name="connsiteX832" fmla="*/ 9364672 w 12050057"/>
                <a:gd name="connsiteY832" fmla="*/ 1885543 h 6072782"/>
                <a:gd name="connsiteX833" fmla="*/ 9344063 w 12050057"/>
                <a:gd name="connsiteY833" fmla="*/ 1897179 h 6072782"/>
                <a:gd name="connsiteX834" fmla="*/ 9318890 w 12050057"/>
                <a:gd name="connsiteY834" fmla="*/ 1905621 h 6072782"/>
                <a:gd name="connsiteX835" fmla="*/ 9318890 w 12050057"/>
                <a:gd name="connsiteY835" fmla="*/ 1875505 h 6072782"/>
                <a:gd name="connsiteX836" fmla="*/ 9335925 w 12050057"/>
                <a:gd name="connsiteY836" fmla="*/ 1869421 h 6072782"/>
                <a:gd name="connsiteX837" fmla="*/ 9352124 w 12050057"/>
                <a:gd name="connsiteY837" fmla="*/ 1862272 h 6072782"/>
                <a:gd name="connsiteX838" fmla="*/ 9368247 w 12050057"/>
                <a:gd name="connsiteY838" fmla="*/ 1853450 h 6072782"/>
                <a:gd name="connsiteX839" fmla="*/ 9385054 w 12050057"/>
                <a:gd name="connsiteY839" fmla="*/ 1842347 h 6072782"/>
                <a:gd name="connsiteX840" fmla="*/ 7515223 w 12050057"/>
                <a:gd name="connsiteY840" fmla="*/ 1842347 h 6072782"/>
                <a:gd name="connsiteX841" fmla="*/ 7530129 w 12050057"/>
                <a:gd name="connsiteY841" fmla="*/ 1842347 h 6072782"/>
                <a:gd name="connsiteX842" fmla="*/ 7530129 w 12050057"/>
                <a:gd name="connsiteY842" fmla="*/ 2065327 h 6072782"/>
                <a:gd name="connsiteX843" fmla="*/ 7494841 w 12050057"/>
                <a:gd name="connsiteY843" fmla="*/ 2065327 h 6072782"/>
                <a:gd name="connsiteX844" fmla="*/ 7494841 w 12050057"/>
                <a:gd name="connsiteY844" fmla="*/ 1885543 h 6072782"/>
                <a:gd name="connsiteX845" fmla="*/ 7474232 w 12050057"/>
                <a:gd name="connsiteY845" fmla="*/ 1897179 h 6072782"/>
                <a:gd name="connsiteX846" fmla="*/ 7449059 w 12050057"/>
                <a:gd name="connsiteY846" fmla="*/ 1905621 h 6072782"/>
                <a:gd name="connsiteX847" fmla="*/ 7449059 w 12050057"/>
                <a:gd name="connsiteY847" fmla="*/ 1875505 h 6072782"/>
                <a:gd name="connsiteX848" fmla="*/ 7466094 w 12050057"/>
                <a:gd name="connsiteY848" fmla="*/ 1869421 h 6072782"/>
                <a:gd name="connsiteX849" fmla="*/ 7482293 w 12050057"/>
                <a:gd name="connsiteY849" fmla="*/ 1862272 h 6072782"/>
                <a:gd name="connsiteX850" fmla="*/ 7498416 w 12050057"/>
                <a:gd name="connsiteY850" fmla="*/ 1853450 h 6072782"/>
                <a:gd name="connsiteX851" fmla="*/ 7515223 w 12050057"/>
                <a:gd name="connsiteY851" fmla="*/ 1842347 h 6072782"/>
                <a:gd name="connsiteX852" fmla="*/ 6143623 w 12050057"/>
                <a:gd name="connsiteY852" fmla="*/ 1842347 h 6072782"/>
                <a:gd name="connsiteX853" fmla="*/ 6158529 w 12050057"/>
                <a:gd name="connsiteY853" fmla="*/ 1842347 h 6072782"/>
                <a:gd name="connsiteX854" fmla="*/ 6158529 w 12050057"/>
                <a:gd name="connsiteY854" fmla="*/ 2065327 h 6072782"/>
                <a:gd name="connsiteX855" fmla="*/ 6123241 w 12050057"/>
                <a:gd name="connsiteY855" fmla="*/ 2065327 h 6072782"/>
                <a:gd name="connsiteX856" fmla="*/ 6123241 w 12050057"/>
                <a:gd name="connsiteY856" fmla="*/ 1885543 h 6072782"/>
                <a:gd name="connsiteX857" fmla="*/ 6102632 w 12050057"/>
                <a:gd name="connsiteY857" fmla="*/ 1897179 h 6072782"/>
                <a:gd name="connsiteX858" fmla="*/ 6077459 w 12050057"/>
                <a:gd name="connsiteY858" fmla="*/ 1905621 h 6072782"/>
                <a:gd name="connsiteX859" fmla="*/ 6077459 w 12050057"/>
                <a:gd name="connsiteY859" fmla="*/ 1875505 h 6072782"/>
                <a:gd name="connsiteX860" fmla="*/ 6094494 w 12050057"/>
                <a:gd name="connsiteY860" fmla="*/ 1869421 h 6072782"/>
                <a:gd name="connsiteX861" fmla="*/ 6110693 w 12050057"/>
                <a:gd name="connsiteY861" fmla="*/ 1862272 h 6072782"/>
                <a:gd name="connsiteX862" fmla="*/ 6126816 w 12050057"/>
                <a:gd name="connsiteY862" fmla="*/ 1853450 h 6072782"/>
                <a:gd name="connsiteX863" fmla="*/ 6143623 w 12050057"/>
                <a:gd name="connsiteY863" fmla="*/ 1842347 h 6072782"/>
                <a:gd name="connsiteX864" fmla="*/ 4222720 w 12050057"/>
                <a:gd name="connsiteY864" fmla="*/ 1842347 h 6072782"/>
                <a:gd name="connsiteX865" fmla="*/ 4237627 w 12050057"/>
                <a:gd name="connsiteY865" fmla="*/ 1842347 h 6072782"/>
                <a:gd name="connsiteX866" fmla="*/ 4237627 w 12050057"/>
                <a:gd name="connsiteY866" fmla="*/ 2065327 h 6072782"/>
                <a:gd name="connsiteX867" fmla="*/ 4202339 w 12050057"/>
                <a:gd name="connsiteY867" fmla="*/ 2065327 h 6072782"/>
                <a:gd name="connsiteX868" fmla="*/ 4202339 w 12050057"/>
                <a:gd name="connsiteY868" fmla="*/ 1885543 h 6072782"/>
                <a:gd name="connsiteX869" fmla="*/ 4181729 w 12050057"/>
                <a:gd name="connsiteY869" fmla="*/ 1897179 h 6072782"/>
                <a:gd name="connsiteX870" fmla="*/ 4156556 w 12050057"/>
                <a:gd name="connsiteY870" fmla="*/ 1905621 h 6072782"/>
                <a:gd name="connsiteX871" fmla="*/ 4156556 w 12050057"/>
                <a:gd name="connsiteY871" fmla="*/ 1875505 h 6072782"/>
                <a:gd name="connsiteX872" fmla="*/ 4173591 w 12050057"/>
                <a:gd name="connsiteY872" fmla="*/ 1869421 h 6072782"/>
                <a:gd name="connsiteX873" fmla="*/ 4189791 w 12050057"/>
                <a:gd name="connsiteY873" fmla="*/ 1862272 h 6072782"/>
                <a:gd name="connsiteX874" fmla="*/ 4205915 w 12050057"/>
                <a:gd name="connsiteY874" fmla="*/ 1853450 h 6072782"/>
                <a:gd name="connsiteX875" fmla="*/ 4222720 w 12050057"/>
                <a:gd name="connsiteY875" fmla="*/ 1842347 h 6072782"/>
                <a:gd name="connsiteX876" fmla="*/ 3333016 w 12050057"/>
                <a:gd name="connsiteY876" fmla="*/ 1842347 h 6072782"/>
                <a:gd name="connsiteX877" fmla="*/ 3347923 w 12050057"/>
                <a:gd name="connsiteY877" fmla="*/ 1842347 h 6072782"/>
                <a:gd name="connsiteX878" fmla="*/ 3347923 w 12050057"/>
                <a:gd name="connsiteY878" fmla="*/ 2065327 h 6072782"/>
                <a:gd name="connsiteX879" fmla="*/ 3312636 w 12050057"/>
                <a:gd name="connsiteY879" fmla="*/ 2065327 h 6072782"/>
                <a:gd name="connsiteX880" fmla="*/ 3312636 w 12050057"/>
                <a:gd name="connsiteY880" fmla="*/ 1885543 h 6072782"/>
                <a:gd name="connsiteX881" fmla="*/ 3292025 w 12050057"/>
                <a:gd name="connsiteY881" fmla="*/ 1897179 h 6072782"/>
                <a:gd name="connsiteX882" fmla="*/ 3266852 w 12050057"/>
                <a:gd name="connsiteY882" fmla="*/ 1905621 h 6072782"/>
                <a:gd name="connsiteX883" fmla="*/ 3266852 w 12050057"/>
                <a:gd name="connsiteY883" fmla="*/ 1875505 h 6072782"/>
                <a:gd name="connsiteX884" fmla="*/ 3283887 w 12050057"/>
                <a:gd name="connsiteY884" fmla="*/ 1869421 h 6072782"/>
                <a:gd name="connsiteX885" fmla="*/ 3300088 w 12050057"/>
                <a:gd name="connsiteY885" fmla="*/ 1862272 h 6072782"/>
                <a:gd name="connsiteX886" fmla="*/ 3316209 w 12050057"/>
                <a:gd name="connsiteY886" fmla="*/ 1853450 h 6072782"/>
                <a:gd name="connsiteX887" fmla="*/ 3333016 w 12050057"/>
                <a:gd name="connsiteY887" fmla="*/ 1842347 h 6072782"/>
                <a:gd name="connsiteX888" fmla="*/ 1449476 w 12050057"/>
                <a:gd name="connsiteY888" fmla="*/ 1842347 h 6072782"/>
                <a:gd name="connsiteX889" fmla="*/ 1464382 w 12050057"/>
                <a:gd name="connsiteY889" fmla="*/ 1842347 h 6072782"/>
                <a:gd name="connsiteX890" fmla="*/ 1464382 w 12050057"/>
                <a:gd name="connsiteY890" fmla="*/ 2065327 h 6072782"/>
                <a:gd name="connsiteX891" fmla="*/ 1429094 w 12050057"/>
                <a:gd name="connsiteY891" fmla="*/ 2065327 h 6072782"/>
                <a:gd name="connsiteX892" fmla="*/ 1429094 w 12050057"/>
                <a:gd name="connsiteY892" fmla="*/ 1885543 h 6072782"/>
                <a:gd name="connsiteX893" fmla="*/ 1408485 w 12050057"/>
                <a:gd name="connsiteY893" fmla="*/ 1897179 h 6072782"/>
                <a:gd name="connsiteX894" fmla="*/ 1383312 w 12050057"/>
                <a:gd name="connsiteY894" fmla="*/ 1905621 h 6072782"/>
                <a:gd name="connsiteX895" fmla="*/ 1383312 w 12050057"/>
                <a:gd name="connsiteY895" fmla="*/ 1875505 h 6072782"/>
                <a:gd name="connsiteX896" fmla="*/ 1400347 w 12050057"/>
                <a:gd name="connsiteY896" fmla="*/ 1869421 h 6072782"/>
                <a:gd name="connsiteX897" fmla="*/ 1416546 w 12050057"/>
                <a:gd name="connsiteY897" fmla="*/ 1862272 h 6072782"/>
                <a:gd name="connsiteX898" fmla="*/ 1432669 w 12050057"/>
                <a:gd name="connsiteY898" fmla="*/ 1853450 h 6072782"/>
                <a:gd name="connsiteX899" fmla="*/ 1449476 w 12050057"/>
                <a:gd name="connsiteY899" fmla="*/ 1842347 h 6072782"/>
                <a:gd name="connsiteX900" fmla="*/ 77530 w 12050057"/>
                <a:gd name="connsiteY900" fmla="*/ 1842347 h 6072782"/>
                <a:gd name="connsiteX901" fmla="*/ 92436 w 12050057"/>
                <a:gd name="connsiteY901" fmla="*/ 1842347 h 6072782"/>
                <a:gd name="connsiteX902" fmla="*/ 92436 w 12050057"/>
                <a:gd name="connsiteY902" fmla="*/ 2065327 h 6072782"/>
                <a:gd name="connsiteX903" fmla="*/ 57148 w 12050057"/>
                <a:gd name="connsiteY903" fmla="*/ 2065327 h 6072782"/>
                <a:gd name="connsiteX904" fmla="*/ 57148 w 12050057"/>
                <a:gd name="connsiteY904" fmla="*/ 1885543 h 6072782"/>
                <a:gd name="connsiteX905" fmla="*/ 36539 w 12050057"/>
                <a:gd name="connsiteY905" fmla="*/ 1897179 h 6072782"/>
                <a:gd name="connsiteX906" fmla="*/ 11366 w 12050057"/>
                <a:gd name="connsiteY906" fmla="*/ 1905621 h 6072782"/>
                <a:gd name="connsiteX907" fmla="*/ 11366 w 12050057"/>
                <a:gd name="connsiteY907" fmla="*/ 1875505 h 6072782"/>
                <a:gd name="connsiteX908" fmla="*/ 28401 w 12050057"/>
                <a:gd name="connsiteY908" fmla="*/ 1869421 h 6072782"/>
                <a:gd name="connsiteX909" fmla="*/ 44600 w 12050057"/>
                <a:gd name="connsiteY909" fmla="*/ 1862272 h 6072782"/>
                <a:gd name="connsiteX910" fmla="*/ 60723 w 12050057"/>
                <a:gd name="connsiteY910" fmla="*/ 1853450 h 6072782"/>
                <a:gd name="connsiteX911" fmla="*/ 77530 w 12050057"/>
                <a:gd name="connsiteY911" fmla="*/ 1842347 h 6072782"/>
                <a:gd name="connsiteX912" fmla="*/ 12035151 w 12050057"/>
                <a:gd name="connsiteY912" fmla="*/ 1522003 h 6072782"/>
                <a:gd name="connsiteX913" fmla="*/ 12050057 w 12050057"/>
                <a:gd name="connsiteY913" fmla="*/ 1522003 h 6072782"/>
                <a:gd name="connsiteX914" fmla="*/ 12050057 w 12050057"/>
                <a:gd name="connsiteY914" fmla="*/ 1744983 h 6072782"/>
                <a:gd name="connsiteX915" fmla="*/ 12014769 w 12050057"/>
                <a:gd name="connsiteY915" fmla="*/ 1744983 h 6072782"/>
                <a:gd name="connsiteX916" fmla="*/ 12014769 w 12050057"/>
                <a:gd name="connsiteY916" fmla="*/ 1565200 h 6072782"/>
                <a:gd name="connsiteX917" fmla="*/ 11994160 w 12050057"/>
                <a:gd name="connsiteY917" fmla="*/ 1576835 h 6072782"/>
                <a:gd name="connsiteX918" fmla="*/ 11968987 w 12050057"/>
                <a:gd name="connsiteY918" fmla="*/ 1585277 h 6072782"/>
                <a:gd name="connsiteX919" fmla="*/ 11968987 w 12050057"/>
                <a:gd name="connsiteY919" fmla="*/ 1555161 h 6072782"/>
                <a:gd name="connsiteX920" fmla="*/ 11986022 w 12050057"/>
                <a:gd name="connsiteY920" fmla="*/ 1549077 h 6072782"/>
                <a:gd name="connsiteX921" fmla="*/ 12002221 w 12050057"/>
                <a:gd name="connsiteY921" fmla="*/ 1541928 h 6072782"/>
                <a:gd name="connsiteX922" fmla="*/ 12018344 w 12050057"/>
                <a:gd name="connsiteY922" fmla="*/ 1533106 h 6072782"/>
                <a:gd name="connsiteX923" fmla="*/ 12035151 w 12050057"/>
                <a:gd name="connsiteY923" fmla="*/ 1522003 h 6072782"/>
                <a:gd name="connsiteX924" fmla="*/ 10410370 w 12050057"/>
                <a:gd name="connsiteY924" fmla="*/ 1522003 h 6072782"/>
                <a:gd name="connsiteX925" fmla="*/ 10425276 w 12050057"/>
                <a:gd name="connsiteY925" fmla="*/ 1522003 h 6072782"/>
                <a:gd name="connsiteX926" fmla="*/ 10425276 w 12050057"/>
                <a:gd name="connsiteY926" fmla="*/ 1744983 h 6072782"/>
                <a:gd name="connsiteX927" fmla="*/ 10389988 w 12050057"/>
                <a:gd name="connsiteY927" fmla="*/ 1744983 h 6072782"/>
                <a:gd name="connsiteX928" fmla="*/ 10389988 w 12050057"/>
                <a:gd name="connsiteY928" fmla="*/ 1565200 h 6072782"/>
                <a:gd name="connsiteX929" fmla="*/ 10369379 w 12050057"/>
                <a:gd name="connsiteY929" fmla="*/ 1576835 h 6072782"/>
                <a:gd name="connsiteX930" fmla="*/ 10344206 w 12050057"/>
                <a:gd name="connsiteY930" fmla="*/ 1585277 h 6072782"/>
                <a:gd name="connsiteX931" fmla="*/ 10344206 w 12050057"/>
                <a:gd name="connsiteY931" fmla="*/ 1555161 h 6072782"/>
                <a:gd name="connsiteX932" fmla="*/ 10361241 w 12050057"/>
                <a:gd name="connsiteY932" fmla="*/ 1549077 h 6072782"/>
                <a:gd name="connsiteX933" fmla="*/ 10377440 w 12050057"/>
                <a:gd name="connsiteY933" fmla="*/ 1541928 h 6072782"/>
                <a:gd name="connsiteX934" fmla="*/ 10393563 w 12050057"/>
                <a:gd name="connsiteY934" fmla="*/ 1533106 h 6072782"/>
                <a:gd name="connsiteX935" fmla="*/ 10410370 w 12050057"/>
                <a:gd name="connsiteY935" fmla="*/ 1522003 h 6072782"/>
                <a:gd name="connsiteX936" fmla="*/ 9532663 w 12050057"/>
                <a:gd name="connsiteY936" fmla="*/ 1522003 h 6072782"/>
                <a:gd name="connsiteX937" fmla="*/ 9547569 w 12050057"/>
                <a:gd name="connsiteY937" fmla="*/ 1522003 h 6072782"/>
                <a:gd name="connsiteX938" fmla="*/ 9547569 w 12050057"/>
                <a:gd name="connsiteY938" fmla="*/ 1744983 h 6072782"/>
                <a:gd name="connsiteX939" fmla="*/ 9512281 w 12050057"/>
                <a:gd name="connsiteY939" fmla="*/ 1744983 h 6072782"/>
                <a:gd name="connsiteX940" fmla="*/ 9512281 w 12050057"/>
                <a:gd name="connsiteY940" fmla="*/ 1565200 h 6072782"/>
                <a:gd name="connsiteX941" fmla="*/ 9491672 w 12050057"/>
                <a:gd name="connsiteY941" fmla="*/ 1576835 h 6072782"/>
                <a:gd name="connsiteX942" fmla="*/ 9466499 w 12050057"/>
                <a:gd name="connsiteY942" fmla="*/ 1585277 h 6072782"/>
                <a:gd name="connsiteX943" fmla="*/ 9466499 w 12050057"/>
                <a:gd name="connsiteY943" fmla="*/ 1555161 h 6072782"/>
                <a:gd name="connsiteX944" fmla="*/ 9483534 w 12050057"/>
                <a:gd name="connsiteY944" fmla="*/ 1549077 h 6072782"/>
                <a:gd name="connsiteX945" fmla="*/ 9499733 w 12050057"/>
                <a:gd name="connsiteY945" fmla="*/ 1541928 h 6072782"/>
                <a:gd name="connsiteX946" fmla="*/ 9515856 w 12050057"/>
                <a:gd name="connsiteY946" fmla="*/ 1533106 h 6072782"/>
                <a:gd name="connsiteX947" fmla="*/ 9532663 w 12050057"/>
                <a:gd name="connsiteY947" fmla="*/ 1522003 h 6072782"/>
                <a:gd name="connsiteX948" fmla="*/ 8660208 w 12050057"/>
                <a:gd name="connsiteY948" fmla="*/ 1522003 h 6072782"/>
                <a:gd name="connsiteX949" fmla="*/ 8675114 w 12050057"/>
                <a:gd name="connsiteY949" fmla="*/ 1522003 h 6072782"/>
                <a:gd name="connsiteX950" fmla="*/ 8675114 w 12050057"/>
                <a:gd name="connsiteY950" fmla="*/ 1744983 h 6072782"/>
                <a:gd name="connsiteX951" fmla="*/ 8639826 w 12050057"/>
                <a:gd name="connsiteY951" fmla="*/ 1744983 h 6072782"/>
                <a:gd name="connsiteX952" fmla="*/ 8639826 w 12050057"/>
                <a:gd name="connsiteY952" fmla="*/ 1565200 h 6072782"/>
                <a:gd name="connsiteX953" fmla="*/ 8619217 w 12050057"/>
                <a:gd name="connsiteY953" fmla="*/ 1576835 h 6072782"/>
                <a:gd name="connsiteX954" fmla="*/ 8594044 w 12050057"/>
                <a:gd name="connsiteY954" fmla="*/ 1585277 h 6072782"/>
                <a:gd name="connsiteX955" fmla="*/ 8594044 w 12050057"/>
                <a:gd name="connsiteY955" fmla="*/ 1555161 h 6072782"/>
                <a:gd name="connsiteX956" fmla="*/ 8611079 w 12050057"/>
                <a:gd name="connsiteY956" fmla="*/ 1549077 h 6072782"/>
                <a:gd name="connsiteX957" fmla="*/ 8627278 w 12050057"/>
                <a:gd name="connsiteY957" fmla="*/ 1541928 h 6072782"/>
                <a:gd name="connsiteX958" fmla="*/ 8643401 w 12050057"/>
                <a:gd name="connsiteY958" fmla="*/ 1533106 h 6072782"/>
                <a:gd name="connsiteX959" fmla="*/ 8660208 w 12050057"/>
                <a:gd name="connsiteY959" fmla="*/ 1522003 h 6072782"/>
                <a:gd name="connsiteX960" fmla="*/ 6671076 w 12050057"/>
                <a:gd name="connsiteY960" fmla="*/ 1522003 h 6072782"/>
                <a:gd name="connsiteX961" fmla="*/ 6685982 w 12050057"/>
                <a:gd name="connsiteY961" fmla="*/ 1522003 h 6072782"/>
                <a:gd name="connsiteX962" fmla="*/ 6685982 w 12050057"/>
                <a:gd name="connsiteY962" fmla="*/ 1744983 h 6072782"/>
                <a:gd name="connsiteX963" fmla="*/ 6650694 w 12050057"/>
                <a:gd name="connsiteY963" fmla="*/ 1744983 h 6072782"/>
                <a:gd name="connsiteX964" fmla="*/ 6650694 w 12050057"/>
                <a:gd name="connsiteY964" fmla="*/ 1565200 h 6072782"/>
                <a:gd name="connsiteX965" fmla="*/ 6630085 w 12050057"/>
                <a:gd name="connsiteY965" fmla="*/ 1576835 h 6072782"/>
                <a:gd name="connsiteX966" fmla="*/ 6604912 w 12050057"/>
                <a:gd name="connsiteY966" fmla="*/ 1585277 h 6072782"/>
                <a:gd name="connsiteX967" fmla="*/ 6604912 w 12050057"/>
                <a:gd name="connsiteY967" fmla="*/ 1555161 h 6072782"/>
                <a:gd name="connsiteX968" fmla="*/ 6621947 w 12050057"/>
                <a:gd name="connsiteY968" fmla="*/ 1549077 h 6072782"/>
                <a:gd name="connsiteX969" fmla="*/ 6638146 w 12050057"/>
                <a:gd name="connsiteY969" fmla="*/ 1541928 h 6072782"/>
                <a:gd name="connsiteX970" fmla="*/ 6654269 w 12050057"/>
                <a:gd name="connsiteY970" fmla="*/ 1533106 h 6072782"/>
                <a:gd name="connsiteX971" fmla="*/ 6671076 w 12050057"/>
                <a:gd name="connsiteY971" fmla="*/ 1522003 h 6072782"/>
                <a:gd name="connsiteX972" fmla="*/ 5979098 w 12050057"/>
                <a:gd name="connsiteY972" fmla="*/ 1522003 h 6072782"/>
                <a:gd name="connsiteX973" fmla="*/ 5994004 w 12050057"/>
                <a:gd name="connsiteY973" fmla="*/ 1522003 h 6072782"/>
                <a:gd name="connsiteX974" fmla="*/ 5994004 w 12050057"/>
                <a:gd name="connsiteY974" fmla="*/ 1744983 h 6072782"/>
                <a:gd name="connsiteX975" fmla="*/ 5958716 w 12050057"/>
                <a:gd name="connsiteY975" fmla="*/ 1744983 h 6072782"/>
                <a:gd name="connsiteX976" fmla="*/ 5958716 w 12050057"/>
                <a:gd name="connsiteY976" fmla="*/ 1565200 h 6072782"/>
                <a:gd name="connsiteX977" fmla="*/ 5938107 w 12050057"/>
                <a:gd name="connsiteY977" fmla="*/ 1576835 h 6072782"/>
                <a:gd name="connsiteX978" fmla="*/ 5912934 w 12050057"/>
                <a:gd name="connsiteY978" fmla="*/ 1585277 h 6072782"/>
                <a:gd name="connsiteX979" fmla="*/ 5912934 w 12050057"/>
                <a:gd name="connsiteY979" fmla="*/ 1555161 h 6072782"/>
                <a:gd name="connsiteX980" fmla="*/ 5929969 w 12050057"/>
                <a:gd name="connsiteY980" fmla="*/ 1549077 h 6072782"/>
                <a:gd name="connsiteX981" fmla="*/ 5946168 w 12050057"/>
                <a:gd name="connsiteY981" fmla="*/ 1541928 h 6072782"/>
                <a:gd name="connsiteX982" fmla="*/ 5962291 w 12050057"/>
                <a:gd name="connsiteY982" fmla="*/ 1533106 h 6072782"/>
                <a:gd name="connsiteX983" fmla="*/ 5979098 w 12050057"/>
                <a:gd name="connsiteY983" fmla="*/ 1522003 h 6072782"/>
                <a:gd name="connsiteX984" fmla="*/ 4354317 w 12050057"/>
                <a:gd name="connsiteY984" fmla="*/ 1522003 h 6072782"/>
                <a:gd name="connsiteX985" fmla="*/ 4369223 w 12050057"/>
                <a:gd name="connsiteY985" fmla="*/ 1522003 h 6072782"/>
                <a:gd name="connsiteX986" fmla="*/ 4369223 w 12050057"/>
                <a:gd name="connsiteY986" fmla="*/ 1744983 h 6072782"/>
                <a:gd name="connsiteX987" fmla="*/ 4333935 w 12050057"/>
                <a:gd name="connsiteY987" fmla="*/ 1744983 h 6072782"/>
                <a:gd name="connsiteX988" fmla="*/ 4333935 w 12050057"/>
                <a:gd name="connsiteY988" fmla="*/ 1565200 h 6072782"/>
                <a:gd name="connsiteX989" fmla="*/ 4313326 w 12050057"/>
                <a:gd name="connsiteY989" fmla="*/ 1576835 h 6072782"/>
                <a:gd name="connsiteX990" fmla="*/ 4288153 w 12050057"/>
                <a:gd name="connsiteY990" fmla="*/ 1585277 h 6072782"/>
                <a:gd name="connsiteX991" fmla="*/ 4288153 w 12050057"/>
                <a:gd name="connsiteY991" fmla="*/ 1555161 h 6072782"/>
                <a:gd name="connsiteX992" fmla="*/ 4305188 w 12050057"/>
                <a:gd name="connsiteY992" fmla="*/ 1549077 h 6072782"/>
                <a:gd name="connsiteX993" fmla="*/ 4321387 w 12050057"/>
                <a:gd name="connsiteY993" fmla="*/ 1541928 h 6072782"/>
                <a:gd name="connsiteX994" fmla="*/ 4337511 w 12050057"/>
                <a:gd name="connsiteY994" fmla="*/ 1533106 h 6072782"/>
                <a:gd name="connsiteX995" fmla="*/ 4354317 w 12050057"/>
                <a:gd name="connsiteY995" fmla="*/ 1522003 h 6072782"/>
                <a:gd name="connsiteX996" fmla="*/ 3476610 w 12050057"/>
                <a:gd name="connsiteY996" fmla="*/ 1522003 h 6072782"/>
                <a:gd name="connsiteX997" fmla="*/ 3491517 w 12050057"/>
                <a:gd name="connsiteY997" fmla="*/ 1522003 h 6072782"/>
                <a:gd name="connsiteX998" fmla="*/ 3491517 w 12050057"/>
                <a:gd name="connsiteY998" fmla="*/ 1744983 h 6072782"/>
                <a:gd name="connsiteX999" fmla="*/ 3456229 w 12050057"/>
                <a:gd name="connsiteY999" fmla="*/ 1744983 h 6072782"/>
                <a:gd name="connsiteX1000" fmla="*/ 3456229 w 12050057"/>
                <a:gd name="connsiteY1000" fmla="*/ 1565200 h 6072782"/>
                <a:gd name="connsiteX1001" fmla="*/ 3435619 w 12050057"/>
                <a:gd name="connsiteY1001" fmla="*/ 1576835 h 6072782"/>
                <a:gd name="connsiteX1002" fmla="*/ 3410446 w 12050057"/>
                <a:gd name="connsiteY1002" fmla="*/ 1585277 h 6072782"/>
                <a:gd name="connsiteX1003" fmla="*/ 3410446 w 12050057"/>
                <a:gd name="connsiteY1003" fmla="*/ 1555161 h 6072782"/>
                <a:gd name="connsiteX1004" fmla="*/ 3427481 w 12050057"/>
                <a:gd name="connsiteY1004" fmla="*/ 1549077 h 6072782"/>
                <a:gd name="connsiteX1005" fmla="*/ 3443681 w 12050057"/>
                <a:gd name="connsiteY1005" fmla="*/ 1541928 h 6072782"/>
                <a:gd name="connsiteX1006" fmla="*/ 3459803 w 12050057"/>
                <a:gd name="connsiteY1006" fmla="*/ 1533106 h 6072782"/>
                <a:gd name="connsiteX1007" fmla="*/ 3476610 w 12050057"/>
                <a:gd name="connsiteY1007" fmla="*/ 1522003 h 6072782"/>
                <a:gd name="connsiteX1008" fmla="*/ 2604155 w 12050057"/>
                <a:gd name="connsiteY1008" fmla="*/ 1522003 h 6072782"/>
                <a:gd name="connsiteX1009" fmla="*/ 2619062 w 12050057"/>
                <a:gd name="connsiteY1009" fmla="*/ 1522003 h 6072782"/>
                <a:gd name="connsiteX1010" fmla="*/ 2619062 w 12050057"/>
                <a:gd name="connsiteY1010" fmla="*/ 1744983 h 6072782"/>
                <a:gd name="connsiteX1011" fmla="*/ 2583774 w 12050057"/>
                <a:gd name="connsiteY1011" fmla="*/ 1744983 h 6072782"/>
                <a:gd name="connsiteX1012" fmla="*/ 2583774 w 12050057"/>
                <a:gd name="connsiteY1012" fmla="*/ 1565200 h 6072782"/>
                <a:gd name="connsiteX1013" fmla="*/ 2563164 w 12050057"/>
                <a:gd name="connsiteY1013" fmla="*/ 1576835 h 6072782"/>
                <a:gd name="connsiteX1014" fmla="*/ 2537992 w 12050057"/>
                <a:gd name="connsiteY1014" fmla="*/ 1585277 h 6072782"/>
                <a:gd name="connsiteX1015" fmla="*/ 2537992 w 12050057"/>
                <a:gd name="connsiteY1015" fmla="*/ 1555161 h 6072782"/>
                <a:gd name="connsiteX1016" fmla="*/ 2555027 w 12050057"/>
                <a:gd name="connsiteY1016" fmla="*/ 1549077 h 6072782"/>
                <a:gd name="connsiteX1017" fmla="*/ 2571226 w 12050057"/>
                <a:gd name="connsiteY1017" fmla="*/ 1541928 h 6072782"/>
                <a:gd name="connsiteX1018" fmla="*/ 2587348 w 12050057"/>
                <a:gd name="connsiteY1018" fmla="*/ 1533106 h 6072782"/>
                <a:gd name="connsiteX1019" fmla="*/ 2604155 w 12050057"/>
                <a:gd name="connsiteY1019" fmla="*/ 1522003 h 6072782"/>
                <a:gd name="connsiteX1020" fmla="*/ 619557 w 12050057"/>
                <a:gd name="connsiteY1020" fmla="*/ 1522003 h 6072782"/>
                <a:gd name="connsiteX1021" fmla="*/ 634463 w 12050057"/>
                <a:gd name="connsiteY1021" fmla="*/ 1522003 h 6072782"/>
                <a:gd name="connsiteX1022" fmla="*/ 634463 w 12050057"/>
                <a:gd name="connsiteY1022" fmla="*/ 1744983 h 6072782"/>
                <a:gd name="connsiteX1023" fmla="*/ 599175 w 12050057"/>
                <a:gd name="connsiteY1023" fmla="*/ 1744983 h 6072782"/>
                <a:gd name="connsiteX1024" fmla="*/ 599175 w 12050057"/>
                <a:gd name="connsiteY1024" fmla="*/ 1565200 h 6072782"/>
                <a:gd name="connsiteX1025" fmla="*/ 578566 w 12050057"/>
                <a:gd name="connsiteY1025" fmla="*/ 1576835 h 6072782"/>
                <a:gd name="connsiteX1026" fmla="*/ 553393 w 12050057"/>
                <a:gd name="connsiteY1026" fmla="*/ 1585277 h 6072782"/>
                <a:gd name="connsiteX1027" fmla="*/ 553393 w 12050057"/>
                <a:gd name="connsiteY1027" fmla="*/ 1555161 h 6072782"/>
                <a:gd name="connsiteX1028" fmla="*/ 570428 w 12050057"/>
                <a:gd name="connsiteY1028" fmla="*/ 1549077 h 6072782"/>
                <a:gd name="connsiteX1029" fmla="*/ 586627 w 12050057"/>
                <a:gd name="connsiteY1029" fmla="*/ 1541928 h 6072782"/>
                <a:gd name="connsiteX1030" fmla="*/ 602750 w 12050057"/>
                <a:gd name="connsiteY1030" fmla="*/ 1533107 h 6072782"/>
                <a:gd name="connsiteX1031" fmla="*/ 619557 w 12050057"/>
                <a:gd name="connsiteY1031" fmla="*/ 1522003 h 6072782"/>
                <a:gd name="connsiteX1032" fmla="*/ 10298213 w 12050057"/>
                <a:gd name="connsiteY1032" fmla="*/ 1208699 h 6072782"/>
                <a:gd name="connsiteX1033" fmla="*/ 10313119 w 12050057"/>
                <a:gd name="connsiteY1033" fmla="*/ 1208699 h 6072782"/>
                <a:gd name="connsiteX1034" fmla="*/ 10313119 w 12050057"/>
                <a:gd name="connsiteY1034" fmla="*/ 1431679 h 6072782"/>
                <a:gd name="connsiteX1035" fmla="*/ 10277831 w 12050057"/>
                <a:gd name="connsiteY1035" fmla="*/ 1431679 h 6072782"/>
                <a:gd name="connsiteX1036" fmla="*/ 10277831 w 12050057"/>
                <a:gd name="connsiteY1036" fmla="*/ 1251896 h 6072782"/>
                <a:gd name="connsiteX1037" fmla="*/ 10257222 w 12050057"/>
                <a:gd name="connsiteY1037" fmla="*/ 1263531 h 6072782"/>
                <a:gd name="connsiteX1038" fmla="*/ 10232049 w 12050057"/>
                <a:gd name="connsiteY1038" fmla="*/ 1271973 h 6072782"/>
                <a:gd name="connsiteX1039" fmla="*/ 10232049 w 12050057"/>
                <a:gd name="connsiteY1039" fmla="*/ 1241857 h 6072782"/>
                <a:gd name="connsiteX1040" fmla="*/ 10249084 w 12050057"/>
                <a:gd name="connsiteY1040" fmla="*/ 1235773 h 6072782"/>
                <a:gd name="connsiteX1041" fmla="*/ 10265283 w 12050057"/>
                <a:gd name="connsiteY1041" fmla="*/ 1228624 h 6072782"/>
                <a:gd name="connsiteX1042" fmla="*/ 10281406 w 12050057"/>
                <a:gd name="connsiteY1042" fmla="*/ 1219802 h 6072782"/>
                <a:gd name="connsiteX1043" fmla="*/ 10298213 w 12050057"/>
                <a:gd name="connsiteY1043" fmla="*/ 1208699 h 6072782"/>
                <a:gd name="connsiteX1044" fmla="*/ 7177509 w 12050057"/>
                <a:gd name="connsiteY1044" fmla="*/ 1208699 h 6072782"/>
                <a:gd name="connsiteX1045" fmla="*/ 7192415 w 12050057"/>
                <a:gd name="connsiteY1045" fmla="*/ 1208699 h 6072782"/>
                <a:gd name="connsiteX1046" fmla="*/ 7192415 w 12050057"/>
                <a:gd name="connsiteY1046" fmla="*/ 1431679 h 6072782"/>
                <a:gd name="connsiteX1047" fmla="*/ 7157127 w 12050057"/>
                <a:gd name="connsiteY1047" fmla="*/ 1431679 h 6072782"/>
                <a:gd name="connsiteX1048" fmla="*/ 7157127 w 12050057"/>
                <a:gd name="connsiteY1048" fmla="*/ 1251896 h 6072782"/>
                <a:gd name="connsiteX1049" fmla="*/ 7136518 w 12050057"/>
                <a:gd name="connsiteY1049" fmla="*/ 1263531 h 6072782"/>
                <a:gd name="connsiteX1050" fmla="*/ 7111345 w 12050057"/>
                <a:gd name="connsiteY1050" fmla="*/ 1271973 h 6072782"/>
                <a:gd name="connsiteX1051" fmla="*/ 7111345 w 12050057"/>
                <a:gd name="connsiteY1051" fmla="*/ 1241857 h 6072782"/>
                <a:gd name="connsiteX1052" fmla="*/ 7128380 w 12050057"/>
                <a:gd name="connsiteY1052" fmla="*/ 1235773 h 6072782"/>
                <a:gd name="connsiteX1053" fmla="*/ 7144579 w 12050057"/>
                <a:gd name="connsiteY1053" fmla="*/ 1228624 h 6072782"/>
                <a:gd name="connsiteX1054" fmla="*/ 7160702 w 12050057"/>
                <a:gd name="connsiteY1054" fmla="*/ 1219802 h 6072782"/>
                <a:gd name="connsiteX1055" fmla="*/ 7177509 w 12050057"/>
                <a:gd name="connsiteY1055" fmla="*/ 1208699 h 6072782"/>
                <a:gd name="connsiteX1056" fmla="*/ 6285479 w 12050057"/>
                <a:gd name="connsiteY1056" fmla="*/ 1208699 h 6072782"/>
                <a:gd name="connsiteX1057" fmla="*/ 6300385 w 12050057"/>
                <a:gd name="connsiteY1057" fmla="*/ 1208699 h 6072782"/>
                <a:gd name="connsiteX1058" fmla="*/ 6300385 w 12050057"/>
                <a:gd name="connsiteY1058" fmla="*/ 1431679 h 6072782"/>
                <a:gd name="connsiteX1059" fmla="*/ 6265097 w 12050057"/>
                <a:gd name="connsiteY1059" fmla="*/ 1431679 h 6072782"/>
                <a:gd name="connsiteX1060" fmla="*/ 6265097 w 12050057"/>
                <a:gd name="connsiteY1060" fmla="*/ 1251896 h 6072782"/>
                <a:gd name="connsiteX1061" fmla="*/ 6244488 w 12050057"/>
                <a:gd name="connsiteY1061" fmla="*/ 1263531 h 6072782"/>
                <a:gd name="connsiteX1062" fmla="*/ 6219315 w 12050057"/>
                <a:gd name="connsiteY1062" fmla="*/ 1271973 h 6072782"/>
                <a:gd name="connsiteX1063" fmla="*/ 6219315 w 12050057"/>
                <a:gd name="connsiteY1063" fmla="*/ 1241857 h 6072782"/>
                <a:gd name="connsiteX1064" fmla="*/ 6236350 w 12050057"/>
                <a:gd name="connsiteY1064" fmla="*/ 1235773 h 6072782"/>
                <a:gd name="connsiteX1065" fmla="*/ 6252549 w 12050057"/>
                <a:gd name="connsiteY1065" fmla="*/ 1228624 h 6072782"/>
                <a:gd name="connsiteX1066" fmla="*/ 6268672 w 12050057"/>
                <a:gd name="connsiteY1066" fmla="*/ 1219802 h 6072782"/>
                <a:gd name="connsiteX1067" fmla="*/ 6285479 w 12050057"/>
                <a:gd name="connsiteY1067" fmla="*/ 1208699 h 6072782"/>
                <a:gd name="connsiteX1068" fmla="*/ 4235746 w 12050057"/>
                <a:gd name="connsiteY1068" fmla="*/ 1208699 h 6072782"/>
                <a:gd name="connsiteX1069" fmla="*/ 4250651 w 12050057"/>
                <a:gd name="connsiteY1069" fmla="*/ 1208699 h 6072782"/>
                <a:gd name="connsiteX1070" fmla="*/ 4250651 w 12050057"/>
                <a:gd name="connsiteY1070" fmla="*/ 1431679 h 6072782"/>
                <a:gd name="connsiteX1071" fmla="*/ 4215364 w 12050057"/>
                <a:gd name="connsiteY1071" fmla="*/ 1431679 h 6072782"/>
                <a:gd name="connsiteX1072" fmla="*/ 4215364 w 12050057"/>
                <a:gd name="connsiteY1072" fmla="*/ 1251896 h 6072782"/>
                <a:gd name="connsiteX1073" fmla="*/ 4194755 w 12050057"/>
                <a:gd name="connsiteY1073" fmla="*/ 1263531 h 6072782"/>
                <a:gd name="connsiteX1074" fmla="*/ 4169582 w 12050057"/>
                <a:gd name="connsiteY1074" fmla="*/ 1271973 h 6072782"/>
                <a:gd name="connsiteX1075" fmla="*/ 4169582 w 12050057"/>
                <a:gd name="connsiteY1075" fmla="*/ 1241857 h 6072782"/>
                <a:gd name="connsiteX1076" fmla="*/ 4186616 w 12050057"/>
                <a:gd name="connsiteY1076" fmla="*/ 1235773 h 6072782"/>
                <a:gd name="connsiteX1077" fmla="*/ 4202816 w 12050057"/>
                <a:gd name="connsiteY1077" fmla="*/ 1228624 h 6072782"/>
                <a:gd name="connsiteX1078" fmla="*/ 4218938 w 12050057"/>
                <a:gd name="connsiteY1078" fmla="*/ 1219802 h 6072782"/>
                <a:gd name="connsiteX1079" fmla="*/ 4235746 w 12050057"/>
                <a:gd name="connsiteY1079" fmla="*/ 1208699 h 6072782"/>
                <a:gd name="connsiteX1080" fmla="*/ 1114158 w 12050057"/>
                <a:gd name="connsiteY1080" fmla="*/ 1208699 h 6072782"/>
                <a:gd name="connsiteX1081" fmla="*/ 1129064 w 12050057"/>
                <a:gd name="connsiteY1081" fmla="*/ 1208699 h 6072782"/>
                <a:gd name="connsiteX1082" fmla="*/ 1129064 w 12050057"/>
                <a:gd name="connsiteY1082" fmla="*/ 1431679 h 6072782"/>
                <a:gd name="connsiteX1083" fmla="*/ 1093776 w 12050057"/>
                <a:gd name="connsiteY1083" fmla="*/ 1431679 h 6072782"/>
                <a:gd name="connsiteX1084" fmla="*/ 1093776 w 12050057"/>
                <a:gd name="connsiteY1084" fmla="*/ 1251896 h 6072782"/>
                <a:gd name="connsiteX1085" fmla="*/ 1073167 w 12050057"/>
                <a:gd name="connsiteY1085" fmla="*/ 1263531 h 6072782"/>
                <a:gd name="connsiteX1086" fmla="*/ 1047995 w 12050057"/>
                <a:gd name="connsiteY1086" fmla="*/ 1271973 h 6072782"/>
                <a:gd name="connsiteX1087" fmla="*/ 1047995 w 12050057"/>
                <a:gd name="connsiteY1087" fmla="*/ 1241857 h 6072782"/>
                <a:gd name="connsiteX1088" fmla="*/ 1065030 w 12050057"/>
                <a:gd name="connsiteY1088" fmla="*/ 1235773 h 6072782"/>
                <a:gd name="connsiteX1089" fmla="*/ 1081228 w 12050057"/>
                <a:gd name="connsiteY1089" fmla="*/ 1228624 h 6072782"/>
                <a:gd name="connsiteX1090" fmla="*/ 1097351 w 12050057"/>
                <a:gd name="connsiteY1090" fmla="*/ 1219802 h 6072782"/>
                <a:gd name="connsiteX1091" fmla="*/ 1114158 w 12050057"/>
                <a:gd name="connsiteY1091" fmla="*/ 1208699 h 6072782"/>
                <a:gd name="connsiteX1092" fmla="*/ 220216 w 12050057"/>
                <a:gd name="connsiteY1092" fmla="*/ 1208699 h 6072782"/>
                <a:gd name="connsiteX1093" fmla="*/ 235122 w 12050057"/>
                <a:gd name="connsiteY1093" fmla="*/ 1208699 h 6072782"/>
                <a:gd name="connsiteX1094" fmla="*/ 235122 w 12050057"/>
                <a:gd name="connsiteY1094" fmla="*/ 1431679 h 6072782"/>
                <a:gd name="connsiteX1095" fmla="*/ 199834 w 12050057"/>
                <a:gd name="connsiteY1095" fmla="*/ 1431679 h 6072782"/>
                <a:gd name="connsiteX1096" fmla="*/ 199834 w 12050057"/>
                <a:gd name="connsiteY1096" fmla="*/ 1251896 h 6072782"/>
                <a:gd name="connsiteX1097" fmla="*/ 179225 w 12050057"/>
                <a:gd name="connsiteY1097" fmla="*/ 1263531 h 6072782"/>
                <a:gd name="connsiteX1098" fmla="*/ 154052 w 12050057"/>
                <a:gd name="connsiteY1098" fmla="*/ 1271973 h 6072782"/>
                <a:gd name="connsiteX1099" fmla="*/ 154052 w 12050057"/>
                <a:gd name="connsiteY1099" fmla="*/ 1241857 h 6072782"/>
                <a:gd name="connsiteX1100" fmla="*/ 171087 w 12050057"/>
                <a:gd name="connsiteY1100" fmla="*/ 1235773 h 6072782"/>
                <a:gd name="connsiteX1101" fmla="*/ 187287 w 12050057"/>
                <a:gd name="connsiteY1101" fmla="*/ 1228624 h 6072782"/>
                <a:gd name="connsiteX1102" fmla="*/ 203409 w 12050057"/>
                <a:gd name="connsiteY1102" fmla="*/ 1219802 h 6072782"/>
                <a:gd name="connsiteX1103" fmla="*/ 220216 w 12050057"/>
                <a:gd name="connsiteY1103" fmla="*/ 1208699 h 6072782"/>
                <a:gd name="connsiteX1104" fmla="*/ 11447193 w 12050057"/>
                <a:gd name="connsiteY1104" fmla="*/ 915060 h 6072782"/>
                <a:gd name="connsiteX1105" fmla="*/ 11462099 w 12050057"/>
                <a:gd name="connsiteY1105" fmla="*/ 915060 h 6072782"/>
                <a:gd name="connsiteX1106" fmla="*/ 11462099 w 12050057"/>
                <a:gd name="connsiteY1106" fmla="*/ 1138040 h 6072782"/>
                <a:gd name="connsiteX1107" fmla="*/ 11426811 w 12050057"/>
                <a:gd name="connsiteY1107" fmla="*/ 1138040 h 6072782"/>
                <a:gd name="connsiteX1108" fmla="*/ 11426811 w 12050057"/>
                <a:gd name="connsiteY1108" fmla="*/ 958257 h 6072782"/>
                <a:gd name="connsiteX1109" fmla="*/ 11406202 w 12050057"/>
                <a:gd name="connsiteY1109" fmla="*/ 969892 h 6072782"/>
                <a:gd name="connsiteX1110" fmla="*/ 11381029 w 12050057"/>
                <a:gd name="connsiteY1110" fmla="*/ 978334 h 6072782"/>
                <a:gd name="connsiteX1111" fmla="*/ 11381029 w 12050057"/>
                <a:gd name="connsiteY1111" fmla="*/ 948218 h 6072782"/>
                <a:gd name="connsiteX1112" fmla="*/ 11398064 w 12050057"/>
                <a:gd name="connsiteY1112" fmla="*/ 942134 h 6072782"/>
                <a:gd name="connsiteX1113" fmla="*/ 11414263 w 12050057"/>
                <a:gd name="connsiteY1113" fmla="*/ 934985 h 6072782"/>
                <a:gd name="connsiteX1114" fmla="*/ 11430386 w 12050057"/>
                <a:gd name="connsiteY1114" fmla="*/ 926163 h 6072782"/>
                <a:gd name="connsiteX1115" fmla="*/ 11447193 w 12050057"/>
                <a:gd name="connsiteY1115" fmla="*/ 915060 h 6072782"/>
                <a:gd name="connsiteX1116" fmla="*/ 9440313 w 12050057"/>
                <a:gd name="connsiteY1116" fmla="*/ 915060 h 6072782"/>
                <a:gd name="connsiteX1117" fmla="*/ 9455219 w 12050057"/>
                <a:gd name="connsiteY1117" fmla="*/ 915060 h 6072782"/>
                <a:gd name="connsiteX1118" fmla="*/ 9455219 w 12050057"/>
                <a:gd name="connsiteY1118" fmla="*/ 1138040 h 6072782"/>
                <a:gd name="connsiteX1119" fmla="*/ 9419931 w 12050057"/>
                <a:gd name="connsiteY1119" fmla="*/ 1138040 h 6072782"/>
                <a:gd name="connsiteX1120" fmla="*/ 9419931 w 12050057"/>
                <a:gd name="connsiteY1120" fmla="*/ 958257 h 6072782"/>
                <a:gd name="connsiteX1121" fmla="*/ 9399322 w 12050057"/>
                <a:gd name="connsiteY1121" fmla="*/ 969892 h 6072782"/>
                <a:gd name="connsiteX1122" fmla="*/ 9374149 w 12050057"/>
                <a:gd name="connsiteY1122" fmla="*/ 978334 h 6072782"/>
                <a:gd name="connsiteX1123" fmla="*/ 9374149 w 12050057"/>
                <a:gd name="connsiteY1123" fmla="*/ 948218 h 6072782"/>
                <a:gd name="connsiteX1124" fmla="*/ 9391184 w 12050057"/>
                <a:gd name="connsiteY1124" fmla="*/ 942134 h 6072782"/>
                <a:gd name="connsiteX1125" fmla="*/ 9407383 w 12050057"/>
                <a:gd name="connsiteY1125" fmla="*/ 934985 h 6072782"/>
                <a:gd name="connsiteX1126" fmla="*/ 9423506 w 12050057"/>
                <a:gd name="connsiteY1126" fmla="*/ 926163 h 6072782"/>
                <a:gd name="connsiteX1127" fmla="*/ 9440313 w 12050057"/>
                <a:gd name="connsiteY1127" fmla="*/ 915060 h 6072782"/>
                <a:gd name="connsiteX1128" fmla="*/ 8939983 w 12050057"/>
                <a:gd name="connsiteY1128" fmla="*/ 915060 h 6072782"/>
                <a:gd name="connsiteX1129" fmla="*/ 8954889 w 12050057"/>
                <a:gd name="connsiteY1129" fmla="*/ 915060 h 6072782"/>
                <a:gd name="connsiteX1130" fmla="*/ 8954889 w 12050057"/>
                <a:gd name="connsiteY1130" fmla="*/ 1138040 h 6072782"/>
                <a:gd name="connsiteX1131" fmla="*/ 8919601 w 12050057"/>
                <a:gd name="connsiteY1131" fmla="*/ 1138040 h 6072782"/>
                <a:gd name="connsiteX1132" fmla="*/ 8919601 w 12050057"/>
                <a:gd name="connsiteY1132" fmla="*/ 958257 h 6072782"/>
                <a:gd name="connsiteX1133" fmla="*/ 8898992 w 12050057"/>
                <a:gd name="connsiteY1133" fmla="*/ 969892 h 6072782"/>
                <a:gd name="connsiteX1134" fmla="*/ 8873819 w 12050057"/>
                <a:gd name="connsiteY1134" fmla="*/ 978334 h 6072782"/>
                <a:gd name="connsiteX1135" fmla="*/ 8873819 w 12050057"/>
                <a:gd name="connsiteY1135" fmla="*/ 948218 h 6072782"/>
                <a:gd name="connsiteX1136" fmla="*/ 8890854 w 12050057"/>
                <a:gd name="connsiteY1136" fmla="*/ 942134 h 6072782"/>
                <a:gd name="connsiteX1137" fmla="*/ 8907053 w 12050057"/>
                <a:gd name="connsiteY1137" fmla="*/ 934985 h 6072782"/>
                <a:gd name="connsiteX1138" fmla="*/ 8923176 w 12050057"/>
                <a:gd name="connsiteY1138" fmla="*/ 926163 h 6072782"/>
                <a:gd name="connsiteX1139" fmla="*/ 8939983 w 12050057"/>
                <a:gd name="connsiteY1139" fmla="*/ 915060 h 6072782"/>
                <a:gd name="connsiteX1140" fmla="*/ 7311086 w 12050057"/>
                <a:gd name="connsiteY1140" fmla="*/ 915060 h 6072782"/>
                <a:gd name="connsiteX1141" fmla="*/ 7325992 w 12050057"/>
                <a:gd name="connsiteY1141" fmla="*/ 915060 h 6072782"/>
                <a:gd name="connsiteX1142" fmla="*/ 7325992 w 12050057"/>
                <a:gd name="connsiteY1142" fmla="*/ 1138040 h 6072782"/>
                <a:gd name="connsiteX1143" fmla="*/ 7290704 w 12050057"/>
                <a:gd name="connsiteY1143" fmla="*/ 1138040 h 6072782"/>
                <a:gd name="connsiteX1144" fmla="*/ 7290704 w 12050057"/>
                <a:gd name="connsiteY1144" fmla="*/ 958257 h 6072782"/>
                <a:gd name="connsiteX1145" fmla="*/ 7270095 w 12050057"/>
                <a:gd name="connsiteY1145" fmla="*/ 969892 h 6072782"/>
                <a:gd name="connsiteX1146" fmla="*/ 7244922 w 12050057"/>
                <a:gd name="connsiteY1146" fmla="*/ 978334 h 6072782"/>
                <a:gd name="connsiteX1147" fmla="*/ 7244922 w 12050057"/>
                <a:gd name="connsiteY1147" fmla="*/ 948218 h 6072782"/>
                <a:gd name="connsiteX1148" fmla="*/ 7261957 w 12050057"/>
                <a:gd name="connsiteY1148" fmla="*/ 942134 h 6072782"/>
                <a:gd name="connsiteX1149" fmla="*/ 7278156 w 12050057"/>
                <a:gd name="connsiteY1149" fmla="*/ 934985 h 6072782"/>
                <a:gd name="connsiteX1150" fmla="*/ 7294279 w 12050057"/>
                <a:gd name="connsiteY1150" fmla="*/ 926163 h 6072782"/>
                <a:gd name="connsiteX1151" fmla="*/ 7311086 w 12050057"/>
                <a:gd name="connsiteY1151" fmla="*/ 915060 h 6072782"/>
                <a:gd name="connsiteX1152" fmla="*/ 6441143 w 12050057"/>
                <a:gd name="connsiteY1152" fmla="*/ 915060 h 6072782"/>
                <a:gd name="connsiteX1153" fmla="*/ 6456049 w 12050057"/>
                <a:gd name="connsiteY1153" fmla="*/ 915060 h 6072782"/>
                <a:gd name="connsiteX1154" fmla="*/ 6456049 w 12050057"/>
                <a:gd name="connsiteY1154" fmla="*/ 1138040 h 6072782"/>
                <a:gd name="connsiteX1155" fmla="*/ 6420761 w 12050057"/>
                <a:gd name="connsiteY1155" fmla="*/ 1138040 h 6072782"/>
                <a:gd name="connsiteX1156" fmla="*/ 6420761 w 12050057"/>
                <a:gd name="connsiteY1156" fmla="*/ 958257 h 6072782"/>
                <a:gd name="connsiteX1157" fmla="*/ 6400152 w 12050057"/>
                <a:gd name="connsiteY1157" fmla="*/ 969892 h 6072782"/>
                <a:gd name="connsiteX1158" fmla="*/ 6374979 w 12050057"/>
                <a:gd name="connsiteY1158" fmla="*/ 978334 h 6072782"/>
                <a:gd name="connsiteX1159" fmla="*/ 6374979 w 12050057"/>
                <a:gd name="connsiteY1159" fmla="*/ 948218 h 6072782"/>
                <a:gd name="connsiteX1160" fmla="*/ 6392014 w 12050057"/>
                <a:gd name="connsiteY1160" fmla="*/ 942134 h 6072782"/>
                <a:gd name="connsiteX1161" fmla="*/ 6408213 w 12050057"/>
                <a:gd name="connsiteY1161" fmla="*/ 934985 h 6072782"/>
                <a:gd name="connsiteX1162" fmla="*/ 6424336 w 12050057"/>
                <a:gd name="connsiteY1162" fmla="*/ 926163 h 6072782"/>
                <a:gd name="connsiteX1163" fmla="*/ 6441143 w 12050057"/>
                <a:gd name="connsiteY1163" fmla="*/ 915060 h 6072782"/>
                <a:gd name="connsiteX1164" fmla="*/ 5371778 w 12050057"/>
                <a:gd name="connsiteY1164" fmla="*/ 915060 h 6072782"/>
                <a:gd name="connsiteX1165" fmla="*/ 5386684 w 12050057"/>
                <a:gd name="connsiteY1165" fmla="*/ 915060 h 6072782"/>
                <a:gd name="connsiteX1166" fmla="*/ 5386684 w 12050057"/>
                <a:gd name="connsiteY1166" fmla="*/ 1138040 h 6072782"/>
                <a:gd name="connsiteX1167" fmla="*/ 5351396 w 12050057"/>
                <a:gd name="connsiteY1167" fmla="*/ 1138040 h 6072782"/>
                <a:gd name="connsiteX1168" fmla="*/ 5351396 w 12050057"/>
                <a:gd name="connsiteY1168" fmla="*/ 958257 h 6072782"/>
                <a:gd name="connsiteX1169" fmla="*/ 5330786 w 12050057"/>
                <a:gd name="connsiteY1169" fmla="*/ 969892 h 6072782"/>
                <a:gd name="connsiteX1170" fmla="*/ 5305614 w 12050057"/>
                <a:gd name="connsiteY1170" fmla="*/ 978334 h 6072782"/>
                <a:gd name="connsiteX1171" fmla="*/ 5305614 w 12050057"/>
                <a:gd name="connsiteY1171" fmla="*/ 948218 h 6072782"/>
                <a:gd name="connsiteX1172" fmla="*/ 5322648 w 12050057"/>
                <a:gd name="connsiteY1172" fmla="*/ 942134 h 6072782"/>
                <a:gd name="connsiteX1173" fmla="*/ 5338848 w 12050057"/>
                <a:gd name="connsiteY1173" fmla="*/ 934985 h 6072782"/>
                <a:gd name="connsiteX1174" fmla="*/ 5354970 w 12050057"/>
                <a:gd name="connsiteY1174" fmla="*/ 926163 h 6072782"/>
                <a:gd name="connsiteX1175" fmla="*/ 5371778 w 12050057"/>
                <a:gd name="connsiteY1175" fmla="*/ 915060 h 6072782"/>
                <a:gd name="connsiteX1176" fmla="*/ 3379468 w 12050057"/>
                <a:gd name="connsiteY1176" fmla="*/ 915060 h 6072782"/>
                <a:gd name="connsiteX1177" fmla="*/ 3394374 w 12050057"/>
                <a:gd name="connsiteY1177" fmla="*/ 915060 h 6072782"/>
                <a:gd name="connsiteX1178" fmla="*/ 3394374 w 12050057"/>
                <a:gd name="connsiteY1178" fmla="*/ 1138040 h 6072782"/>
                <a:gd name="connsiteX1179" fmla="*/ 3359086 w 12050057"/>
                <a:gd name="connsiteY1179" fmla="*/ 1138040 h 6072782"/>
                <a:gd name="connsiteX1180" fmla="*/ 3359086 w 12050057"/>
                <a:gd name="connsiteY1180" fmla="*/ 958257 h 6072782"/>
                <a:gd name="connsiteX1181" fmla="*/ 3338478 w 12050057"/>
                <a:gd name="connsiteY1181" fmla="*/ 969892 h 6072782"/>
                <a:gd name="connsiteX1182" fmla="*/ 3313304 w 12050057"/>
                <a:gd name="connsiteY1182" fmla="*/ 978334 h 6072782"/>
                <a:gd name="connsiteX1183" fmla="*/ 3313304 w 12050057"/>
                <a:gd name="connsiteY1183" fmla="*/ 948218 h 6072782"/>
                <a:gd name="connsiteX1184" fmla="*/ 3330339 w 12050057"/>
                <a:gd name="connsiteY1184" fmla="*/ 942134 h 6072782"/>
                <a:gd name="connsiteX1185" fmla="*/ 3346539 w 12050057"/>
                <a:gd name="connsiteY1185" fmla="*/ 934985 h 6072782"/>
                <a:gd name="connsiteX1186" fmla="*/ 3362660 w 12050057"/>
                <a:gd name="connsiteY1186" fmla="*/ 926163 h 6072782"/>
                <a:gd name="connsiteX1187" fmla="*/ 3379468 w 12050057"/>
                <a:gd name="connsiteY1187" fmla="*/ 915060 h 6072782"/>
                <a:gd name="connsiteX1188" fmla="*/ 2867263 w 12050057"/>
                <a:gd name="connsiteY1188" fmla="*/ 915060 h 6072782"/>
                <a:gd name="connsiteX1189" fmla="*/ 2882170 w 12050057"/>
                <a:gd name="connsiteY1189" fmla="*/ 915060 h 6072782"/>
                <a:gd name="connsiteX1190" fmla="*/ 2882170 w 12050057"/>
                <a:gd name="connsiteY1190" fmla="*/ 1138040 h 6072782"/>
                <a:gd name="connsiteX1191" fmla="*/ 2846882 w 12050057"/>
                <a:gd name="connsiteY1191" fmla="*/ 1138040 h 6072782"/>
                <a:gd name="connsiteX1192" fmla="*/ 2846882 w 12050057"/>
                <a:gd name="connsiteY1192" fmla="*/ 958257 h 6072782"/>
                <a:gd name="connsiteX1193" fmla="*/ 2826273 w 12050057"/>
                <a:gd name="connsiteY1193" fmla="*/ 969892 h 6072782"/>
                <a:gd name="connsiteX1194" fmla="*/ 2801100 w 12050057"/>
                <a:gd name="connsiteY1194" fmla="*/ 978334 h 6072782"/>
                <a:gd name="connsiteX1195" fmla="*/ 2801100 w 12050057"/>
                <a:gd name="connsiteY1195" fmla="*/ 948218 h 6072782"/>
                <a:gd name="connsiteX1196" fmla="*/ 2818135 w 12050057"/>
                <a:gd name="connsiteY1196" fmla="*/ 942134 h 6072782"/>
                <a:gd name="connsiteX1197" fmla="*/ 2834335 w 12050057"/>
                <a:gd name="connsiteY1197" fmla="*/ 934985 h 6072782"/>
                <a:gd name="connsiteX1198" fmla="*/ 2850456 w 12050057"/>
                <a:gd name="connsiteY1198" fmla="*/ 926163 h 6072782"/>
                <a:gd name="connsiteX1199" fmla="*/ 2867263 w 12050057"/>
                <a:gd name="connsiteY1199" fmla="*/ 915060 h 6072782"/>
                <a:gd name="connsiteX1200" fmla="*/ 1259910 w 12050057"/>
                <a:gd name="connsiteY1200" fmla="*/ 915060 h 6072782"/>
                <a:gd name="connsiteX1201" fmla="*/ 1274816 w 12050057"/>
                <a:gd name="connsiteY1201" fmla="*/ 915060 h 6072782"/>
                <a:gd name="connsiteX1202" fmla="*/ 1274816 w 12050057"/>
                <a:gd name="connsiteY1202" fmla="*/ 1138040 h 6072782"/>
                <a:gd name="connsiteX1203" fmla="*/ 1239527 w 12050057"/>
                <a:gd name="connsiteY1203" fmla="*/ 1138040 h 6072782"/>
                <a:gd name="connsiteX1204" fmla="*/ 1239527 w 12050057"/>
                <a:gd name="connsiteY1204" fmla="*/ 958257 h 6072782"/>
                <a:gd name="connsiteX1205" fmla="*/ 1218918 w 12050057"/>
                <a:gd name="connsiteY1205" fmla="*/ 969892 h 6072782"/>
                <a:gd name="connsiteX1206" fmla="*/ 1193745 w 12050057"/>
                <a:gd name="connsiteY1206" fmla="*/ 978334 h 6072782"/>
                <a:gd name="connsiteX1207" fmla="*/ 1193745 w 12050057"/>
                <a:gd name="connsiteY1207" fmla="*/ 948218 h 6072782"/>
                <a:gd name="connsiteX1208" fmla="*/ 1210781 w 12050057"/>
                <a:gd name="connsiteY1208" fmla="*/ 942134 h 6072782"/>
                <a:gd name="connsiteX1209" fmla="*/ 1226979 w 12050057"/>
                <a:gd name="connsiteY1209" fmla="*/ 934985 h 6072782"/>
                <a:gd name="connsiteX1210" fmla="*/ 1243103 w 12050057"/>
                <a:gd name="connsiteY1210" fmla="*/ 926163 h 6072782"/>
                <a:gd name="connsiteX1211" fmla="*/ 1259910 w 12050057"/>
                <a:gd name="connsiteY1211" fmla="*/ 915060 h 6072782"/>
                <a:gd name="connsiteX1212" fmla="*/ 386669 w 12050057"/>
                <a:gd name="connsiteY1212" fmla="*/ 915060 h 6072782"/>
                <a:gd name="connsiteX1213" fmla="*/ 401575 w 12050057"/>
                <a:gd name="connsiteY1213" fmla="*/ 915060 h 6072782"/>
                <a:gd name="connsiteX1214" fmla="*/ 401575 w 12050057"/>
                <a:gd name="connsiteY1214" fmla="*/ 1138040 h 6072782"/>
                <a:gd name="connsiteX1215" fmla="*/ 366287 w 12050057"/>
                <a:gd name="connsiteY1215" fmla="*/ 1138040 h 6072782"/>
                <a:gd name="connsiteX1216" fmla="*/ 366287 w 12050057"/>
                <a:gd name="connsiteY1216" fmla="*/ 958257 h 6072782"/>
                <a:gd name="connsiteX1217" fmla="*/ 345678 w 12050057"/>
                <a:gd name="connsiteY1217" fmla="*/ 969892 h 6072782"/>
                <a:gd name="connsiteX1218" fmla="*/ 320505 w 12050057"/>
                <a:gd name="connsiteY1218" fmla="*/ 978334 h 6072782"/>
                <a:gd name="connsiteX1219" fmla="*/ 320505 w 12050057"/>
                <a:gd name="connsiteY1219" fmla="*/ 948218 h 6072782"/>
                <a:gd name="connsiteX1220" fmla="*/ 337540 w 12050057"/>
                <a:gd name="connsiteY1220" fmla="*/ 942134 h 6072782"/>
                <a:gd name="connsiteX1221" fmla="*/ 353739 w 12050057"/>
                <a:gd name="connsiteY1221" fmla="*/ 934985 h 6072782"/>
                <a:gd name="connsiteX1222" fmla="*/ 369861 w 12050057"/>
                <a:gd name="connsiteY1222" fmla="*/ 926163 h 6072782"/>
                <a:gd name="connsiteX1223" fmla="*/ 386669 w 12050057"/>
                <a:gd name="connsiteY1223" fmla="*/ 915060 h 6072782"/>
                <a:gd name="connsiteX1224" fmla="*/ 10303805 w 12050057"/>
                <a:gd name="connsiteY1224" fmla="*/ 632755 h 6072782"/>
                <a:gd name="connsiteX1225" fmla="*/ 10318711 w 12050057"/>
                <a:gd name="connsiteY1225" fmla="*/ 632755 h 6072782"/>
                <a:gd name="connsiteX1226" fmla="*/ 10318711 w 12050057"/>
                <a:gd name="connsiteY1226" fmla="*/ 855735 h 6072782"/>
                <a:gd name="connsiteX1227" fmla="*/ 10283423 w 12050057"/>
                <a:gd name="connsiteY1227" fmla="*/ 855735 h 6072782"/>
                <a:gd name="connsiteX1228" fmla="*/ 10283423 w 12050057"/>
                <a:gd name="connsiteY1228" fmla="*/ 675952 h 6072782"/>
                <a:gd name="connsiteX1229" fmla="*/ 10262814 w 12050057"/>
                <a:gd name="connsiteY1229" fmla="*/ 687587 h 6072782"/>
                <a:gd name="connsiteX1230" fmla="*/ 10237641 w 12050057"/>
                <a:gd name="connsiteY1230" fmla="*/ 696029 h 6072782"/>
                <a:gd name="connsiteX1231" fmla="*/ 10237641 w 12050057"/>
                <a:gd name="connsiteY1231" fmla="*/ 665913 h 6072782"/>
                <a:gd name="connsiteX1232" fmla="*/ 10254676 w 12050057"/>
                <a:gd name="connsiteY1232" fmla="*/ 659829 h 6072782"/>
                <a:gd name="connsiteX1233" fmla="*/ 10270875 w 12050057"/>
                <a:gd name="connsiteY1233" fmla="*/ 652680 h 6072782"/>
                <a:gd name="connsiteX1234" fmla="*/ 10286998 w 12050057"/>
                <a:gd name="connsiteY1234" fmla="*/ 643858 h 6072782"/>
                <a:gd name="connsiteX1235" fmla="*/ 10303805 w 12050057"/>
                <a:gd name="connsiteY1235" fmla="*/ 632755 h 6072782"/>
                <a:gd name="connsiteX1236" fmla="*/ 7183101 w 12050057"/>
                <a:gd name="connsiteY1236" fmla="*/ 632755 h 6072782"/>
                <a:gd name="connsiteX1237" fmla="*/ 7198007 w 12050057"/>
                <a:gd name="connsiteY1237" fmla="*/ 632755 h 6072782"/>
                <a:gd name="connsiteX1238" fmla="*/ 7198007 w 12050057"/>
                <a:gd name="connsiteY1238" fmla="*/ 855735 h 6072782"/>
                <a:gd name="connsiteX1239" fmla="*/ 7162719 w 12050057"/>
                <a:gd name="connsiteY1239" fmla="*/ 855735 h 6072782"/>
                <a:gd name="connsiteX1240" fmla="*/ 7162719 w 12050057"/>
                <a:gd name="connsiteY1240" fmla="*/ 675952 h 6072782"/>
                <a:gd name="connsiteX1241" fmla="*/ 7142110 w 12050057"/>
                <a:gd name="connsiteY1241" fmla="*/ 687587 h 6072782"/>
                <a:gd name="connsiteX1242" fmla="*/ 7116937 w 12050057"/>
                <a:gd name="connsiteY1242" fmla="*/ 696029 h 6072782"/>
                <a:gd name="connsiteX1243" fmla="*/ 7116937 w 12050057"/>
                <a:gd name="connsiteY1243" fmla="*/ 665913 h 6072782"/>
                <a:gd name="connsiteX1244" fmla="*/ 7133972 w 12050057"/>
                <a:gd name="connsiteY1244" fmla="*/ 659829 h 6072782"/>
                <a:gd name="connsiteX1245" fmla="*/ 7150171 w 12050057"/>
                <a:gd name="connsiteY1245" fmla="*/ 652680 h 6072782"/>
                <a:gd name="connsiteX1246" fmla="*/ 7166294 w 12050057"/>
                <a:gd name="connsiteY1246" fmla="*/ 643858 h 6072782"/>
                <a:gd name="connsiteX1247" fmla="*/ 7183101 w 12050057"/>
                <a:gd name="connsiteY1247" fmla="*/ 632755 h 6072782"/>
                <a:gd name="connsiteX1248" fmla="*/ 6291071 w 12050057"/>
                <a:gd name="connsiteY1248" fmla="*/ 632755 h 6072782"/>
                <a:gd name="connsiteX1249" fmla="*/ 6305977 w 12050057"/>
                <a:gd name="connsiteY1249" fmla="*/ 632755 h 6072782"/>
                <a:gd name="connsiteX1250" fmla="*/ 6305977 w 12050057"/>
                <a:gd name="connsiteY1250" fmla="*/ 855735 h 6072782"/>
                <a:gd name="connsiteX1251" fmla="*/ 6270689 w 12050057"/>
                <a:gd name="connsiteY1251" fmla="*/ 855735 h 6072782"/>
                <a:gd name="connsiteX1252" fmla="*/ 6270689 w 12050057"/>
                <a:gd name="connsiteY1252" fmla="*/ 675952 h 6072782"/>
                <a:gd name="connsiteX1253" fmla="*/ 6250080 w 12050057"/>
                <a:gd name="connsiteY1253" fmla="*/ 687587 h 6072782"/>
                <a:gd name="connsiteX1254" fmla="*/ 6224907 w 12050057"/>
                <a:gd name="connsiteY1254" fmla="*/ 696029 h 6072782"/>
                <a:gd name="connsiteX1255" fmla="*/ 6224907 w 12050057"/>
                <a:gd name="connsiteY1255" fmla="*/ 665913 h 6072782"/>
                <a:gd name="connsiteX1256" fmla="*/ 6241942 w 12050057"/>
                <a:gd name="connsiteY1256" fmla="*/ 659829 h 6072782"/>
                <a:gd name="connsiteX1257" fmla="*/ 6258141 w 12050057"/>
                <a:gd name="connsiteY1257" fmla="*/ 652680 h 6072782"/>
                <a:gd name="connsiteX1258" fmla="*/ 6274264 w 12050057"/>
                <a:gd name="connsiteY1258" fmla="*/ 643858 h 6072782"/>
                <a:gd name="connsiteX1259" fmla="*/ 6291071 w 12050057"/>
                <a:gd name="connsiteY1259" fmla="*/ 632755 h 6072782"/>
                <a:gd name="connsiteX1260" fmla="*/ 4241338 w 12050057"/>
                <a:gd name="connsiteY1260" fmla="*/ 632755 h 6072782"/>
                <a:gd name="connsiteX1261" fmla="*/ 4256243 w 12050057"/>
                <a:gd name="connsiteY1261" fmla="*/ 632755 h 6072782"/>
                <a:gd name="connsiteX1262" fmla="*/ 4256243 w 12050057"/>
                <a:gd name="connsiteY1262" fmla="*/ 855735 h 6072782"/>
                <a:gd name="connsiteX1263" fmla="*/ 4220955 w 12050057"/>
                <a:gd name="connsiteY1263" fmla="*/ 855735 h 6072782"/>
                <a:gd name="connsiteX1264" fmla="*/ 4220955 w 12050057"/>
                <a:gd name="connsiteY1264" fmla="*/ 675952 h 6072782"/>
                <a:gd name="connsiteX1265" fmla="*/ 4200346 w 12050057"/>
                <a:gd name="connsiteY1265" fmla="*/ 687587 h 6072782"/>
                <a:gd name="connsiteX1266" fmla="*/ 4175174 w 12050057"/>
                <a:gd name="connsiteY1266" fmla="*/ 696029 h 6072782"/>
                <a:gd name="connsiteX1267" fmla="*/ 4175174 w 12050057"/>
                <a:gd name="connsiteY1267" fmla="*/ 665913 h 6072782"/>
                <a:gd name="connsiteX1268" fmla="*/ 4192209 w 12050057"/>
                <a:gd name="connsiteY1268" fmla="*/ 659829 h 6072782"/>
                <a:gd name="connsiteX1269" fmla="*/ 4208407 w 12050057"/>
                <a:gd name="connsiteY1269" fmla="*/ 652680 h 6072782"/>
                <a:gd name="connsiteX1270" fmla="*/ 4224530 w 12050057"/>
                <a:gd name="connsiteY1270" fmla="*/ 643858 h 6072782"/>
                <a:gd name="connsiteX1271" fmla="*/ 4241338 w 12050057"/>
                <a:gd name="connsiteY1271" fmla="*/ 632755 h 6072782"/>
                <a:gd name="connsiteX1272" fmla="*/ 1119751 w 12050057"/>
                <a:gd name="connsiteY1272" fmla="*/ 632755 h 6072782"/>
                <a:gd name="connsiteX1273" fmla="*/ 1134657 w 12050057"/>
                <a:gd name="connsiteY1273" fmla="*/ 632755 h 6072782"/>
                <a:gd name="connsiteX1274" fmla="*/ 1134657 w 12050057"/>
                <a:gd name="connsiteY1274" fmla="*/ 855735 h 6072782"/>
                <a:gd name="connsiteX1275" fmla="*/ 1099369 w 12050057"/>
                <a:gd name="connsiteY1275" fmla="*/ 855735 h 6072782"/>
                <a:gd name="connsiteX1276" fmla="*/ 1099369 w 12050057"/>
                <a:gd name="connsiteY1276" fmla="*/ 675952 h 6072782"/>
                <a:gd name="connsiteX1277" fmla="*/ 1078760 w 12050057"/>
                <a:gd name="connsiteY1277" fmla="*/ 687587 h 6072782"/>
                <a:gd name="connsiteX1278" fmla="*/ 1053588 w 12050057"/>
                <a:gd name="connsiteY1278" fmla="*/ 696029 h 6072782"/>
                <a:gd name="connsiteX1279" fmla="*/ 1053588 w 12050057"/>
                <a:gd name="connsiteY1279" fmla="*/ 665913 h 6072782"/>
                <a:gd name="connsiteX1280" fmla="*/ 1070623 w 12050057"/>
                <a:gd name="connsiteY1280" fmla="*/ 659829 h 6072782"/>
                <a:gd name="connsiteX1281" fmla="*/ 1086821 w 12050057"/>
                <a:gd name="connsiteY1281" fmla="*/ 652680 h 6072782"/>
                <a:gd name="connsiteX1282" fmla="*/ 1102944 w 12050057"/>
                <a:gd name="connsiteY1282" fmla="*/ 643858 h 6072782"/>
                <a:gd name="connsiteX1283" fmla="*/ 1119751 w 12050057"/>
                <a:gd name="connsiteY1283" fmla="*/ 632755 h 6072782"/>
                <a:gd name="connsiteX1284" fmla="*/ 225809 w 12050057"/>
                <a:gd name="connsiteY1284" fmla="*/ 632755 h 6072782"/>
                <a:gd name="connsiteX1285" fmla="*/ 240715 w 12050057"/>
                <a:gd name="connsiteY1285" fmla="*/ 632755 h 6072782"/>
                <a:gd name="connsiteX1286" fmla="*/ 240715 w 12050057"/>
                <a:gd name="connsiteY1286" fmla="*/ 855735 h 6072782"/>
                <a:gd name="connsiteX1287" fmla="*/ 205427 w 12050057"/>
                <a:gd name="connsiteY1287" fmla="*/ 855735 h 6072782"/>
                <a:gd name="connsiteX1288" fmla="*/ 205427 w 12050057"/>
                <a:gd name="connsiteY1288" fmla="*/ 675952 h 6072782"/>
                <a:gd name="connsiteX1289" fmla="*/ 184818 w 12050057"/>
                <a:gd name="connsiteY1289" fmla="*/ 687587 h 6072782"/>
                <a:gd name="connsiteX1290" fmla="*/ 159645 w 12050057"/>
                <a:gd name="connsiteY1290" fmla="*/ 696029 h 6072782"/>
                <a:gd name="connsiteX1291" fmla="*/ 159645 w 12050057"/>
                <a:gd name="connsiteY1291" fmla="*/ 665913 h 6072782"/>
                <a:gd name="connsiteX1292" fmla="*/ 176680 w 12050057"/>
                <a:gd name="connsiteY1292" fmla="*/ 659829 h 6072782"/>
                <a:gd name="connsiteX1293" fmla="*/ 192880 w 12050057"/>
                <a:gd name="connsiteY1293" fmla="*/ 652680 h 6072782"/>
                <a:gd name="connsiteX1294" fmla="*/ 209002 w 12050057"/>
                <a:gd name="connsiteY1294" fmla="*/ 643858 h 6072782"/>
                <a:gd name="connsiteX1295" fmla="*/ 225809 w 12050057"/>
                <a:gd name="connsiteY1295" fmla="*/ 632755 h 6072782"/>
                <a:gd name="connsiteX1296" fmla="*/ 11454451 w 12050057"/>
                <a:gd name="connsiteY1296" fmla="*/ 328247 h 6072782"/>
                <a:gd name="connsiteX1297" fmla="*/ 11469357 w 12050057"/>
                <a:gd name="connsiteY1297" fmla="*/ 328247 h 6072782"/>
                <a:gd name="connsiteX1298" fmla="*/ 11469357 w 12050057"/>
                <a:gd name="connsiteY1298" fmla="*/ 551227 h 6072782"/>
                <a:gd name="connsiteX1299" fmla="*/ 11434069 w 12050057"/>
                <a:gd name="connsiteY1299" fmla="*/ 551227 h 6072782"/>
                <a:gd name="connsiteX1300" fmla="*/ 11434069 w 12050057"/>
                <a:gd name="connsiteY1300" fmla="*/ 371444 h 6072782"/>
                <a:gd name="connsiteX1301" fmla="*/ 11413460 w 12050057"/>
                <a:gd name="connsiteY1301" fmla="*/ 383079 h 6072782"/>
                <a:gd name="connsiteX1302" fmla="*/ 11388287 w 12050057"/>
                <a:gd name="connsiteY1302" fmla="*/ 391521 h 6072782"/>
                <a:gd name="connsiteX1303" fmla="*/ 11388287 w 12050057"/>
                <a:gd name="connsiteY1303" fmla="*/ 361405 h 6072782"/>
                <a:gd name="connsiteX1304" fmla="*/ 11405322 w 12050057"/>
                <a:gd name="connsiteY1304" fmla="*/ 355321 h 6072782"/>
                <a:gd name="connsiteX1305" fmla="*/ 11421521 w 12050057"/>
                <a:gd name="connsiteY1305" fmla="*/ 348172 h 6072782"/>
                <a:gd name="connsiteX1306" fmla="*/ 11437644 w 12050057"/>
                <a:gd name="connsiteY1306" fmla="*/ 339350 h 6072782"/>
                <a:gd name="connsiteX1307" fmla="*/ 11454451 w 12050057"/>
                <a:gd name="connsiteY1307" fmla="*/ 328247 h 6072782"/>
                <a:gd name="connsiteX1308" fmla="*/ 9447571 w 12050057"/>
                <a:gd name="connsiteY1308" fmla="*/ 328247 h 6072782"/>
                <a:gd name="connsiteX1309" fmla="*/ 9462477 w 12050057"/>
                <a:gd name="connsiteY1309" fmla="*/ 328247 h 6072782"/>
                <a:gd name="connsiteX1310" fmla="*/ 9462477 w 12050057"/>
                <a:gd name="connsiteY1310" fmla="*/ 551227 h 6072782"/>
                <a:gd name="connsiteX1311" fmla="*/ 9427189 w 12050057"/>
                <a:gd name="connsiteY1311" fmla="*/ 551227 h 6072782"/>
                <a:gd name="connsiteX1312" fmla="*/ 9427189 w 12050057"/>
                <a:gd name="connsiteY1312" fmla="*/ 371444 h 6072782"/>
                <a:gd name="connsiteX1313" fmla="*/ 9406580 w 12050057"/>
                <a:gd name="connsiteY1313" fmla="*/ 383079 h 6072782"/>
                <a:gd name="connsiteX1314" fmla="*/ 9381407 w 12050057"/>
                <a:gd name="connsiteY1314" fmla="*/ 391521 h 6072782"/>
                <a:gd name="connsiteX1315" fmla="*/ 9381407 w 12050057"/>
                <a:gd name="connsiteY1315" fmla="*/ 361405 h 6072782"/>
                <a:gd name="connsiteX1316" fmla="*/ 9398442 w 12050057"/>
                <a:gd name="connsiteY1316" fmla="*/ 355321 h 6072782"/>
                <a:gd name="connsiteX1317" fmla="*/ 9414641 w 12050057"/>
                <a:gd name="connsiteY1317" fmla="*/ 348172 h 6072782"/>
                <a:gd name="connsiteX1318" fmla="*/ 9430764 w 12050057"/>
                <a:gd name="connsiteY1318" fmla="*/ 339350 h 6072782"/>
                <a:gd name="connsiteX1319" fmla="*/ 9447571 w 12050057"/>
                <a:gd name="connsiteY1319" fmla="*/ 328247 h 6072782"/>
                <a:gd name="connsiteX1320" fmla="*/ 8947241 w 12050057"/>
                <a:gd name="connsiteY1320" fmla="*/ 328247 h 6072782"/>
                <a:gd name="connsiteX1321" fmla="*/ 8962147 w 12050057"/>
                <a:gd name="connsiteY1321" fmla="*/ 328247 h 6072782"/>
                <a:gd name="connsiteX1322" fmla="*/ 8962147 w 12050057"/>
                <a:gd name="connsiteY1322" fmla="*/ 551227 h 6072782"/>
                <a:gd name="connsiteX1323" fmla="*/ 8926859 w 12050057"/>
                <a:gd name="connsiteY1323" fmla="*/ 551227 h 6072782"/>
                <a:gd name="connsiteX1324" fmla="*/ 8926859 w 12050057"/>
                <a:gd name="connsiteY1324" fmla="*/ 371444 h 6072782"/>
                <a:gd name="connsiteX1325" fmla="*/ 8906250 w 12050057"/>
                <a:gd name="connsiteY1325" fmla="*/ 383079 h 6072782"/>
                <a:gd name="connsiteX1326" fmla="*/ 8881077 w 12050057"/>
                <a:gd name="connsiteY1326" fmla="*/ 391521 h 6072782"/>
                <a:gd name="connsiteX1327" fmla="*/ 8881077 w 12050057"/>
                <a:gd name="connsiteY1327" fmla="*/ 361405 h 6072782"/>
                <a:gd name="connsiteX1328" fmla="*/ 8898112 w 12050057"/>
                <a:gd name="connsiteY1328" fmla="*/ 355321 h 6072782"/>
                <a:gd name="connsiteX1329" fmla="*/ 8914311 w 12050057"/>
                <a:gd name="connsiteY1329" fmla="*/ 348172 h 6072782"/>
                <a:gd name="connsiteX1330" fmla="*/ 8930434 w 12050057"/>
                <a:gd name="connsiteY1330" fmla="*/ 339350 h 6072782"/>
                <a:gd name="connsiteX1331" fmla="*/ 8947241 w 12050057"/>
                <a:gd name="connsiteY1331" fmla="*/ 328247 h 6072782"/>
                <a:gd name="connsiteX1332" fmla="*/ 7318344 w 12050057"/>
                <a:gd name="connsiteY1332" fmla="*/ 328247 h 6072782"/>
                <a:gd name="connsiteX1333" fmla="*/ 7333250 w 12050057"/>
                <a:gd name="connsiteY1333" fmla="*/ 328247 h 6072782"/>
                <a:gd name="connsiteX1334" fmla="*/ 7333250 w 12050057"/>
                <a:gd name="connsiteY1334" fmla="*/ 551227 h 6072782"/>
                <a:gd name="connsiteX1335" fmla="*/ 7297962 w 12050057"/>
                <a:gd name="connsiteY1335" fmla="*/ 551227 h 6072782"/>
                <a:gd name="connsiteX1336" fmla="*/ 7297962 w 12050057"/>
                <a:gd name="connsiteY1336" fmla="*/ 371444 h 6072782"/>
                <a:gd name="connsiteX1337" fmla="*/ 7277353 w 12050057"/>
                <a:gd name="connsiteY1337" fmla="*/ 383079 h 6072782"/>
                <a:gd name="connsiteX1338" fmla="*/ 7252180 w 12050057"/>
                <a:gd name="connsiteY1338" fmla="*/ 391521 h 6072782"/>
                <a:gd name="connsiteX1339" fmla="*/ 7252180 w 12050057"/>
                <a:gd name="connsiteY1339" fmla="*/ 361405 h 6072782"/>
                <a:gd name="connsiteX1340" fmla="*/ 7269215 w 12050057"/>
                <a:gd name="connsiteY1340" fmla="*/ 355321 h 6072782"/>
                <a:gd name="connsiteX1341" fmla="*/ 7285414 w 12050057"/>
                <a:gd name="connsiteY1341" fmla="*/ 348172 h 6072782"/>
                <a:gd name="connsiteX1342" fmla="*/ 7301537 w 12050057"/>
                <a:gd name="connsiteY1342" fmla="*/ 339350 h 6072782"/>
                <a:gd name="connsiteX1343" fmla="*/ 7318344 w 12050057"/>
                <a:gd name="connsiteY1343" fmla="*/ 328247 h 6072782"/>
                <a:gd name="connsiteX1344" fmla="*/ 6448401 w 12050057"/>
                <a:gd name="connsiteY1344" fmla="*/ 328247 h 6072782"/>
                <a:gd name="connsiteX1345" fmla="*/ 6463307 w 12050057"/>
                <a:gd name="connsiteY1345" fmla="*/ 328247 h 6072782"/>
                <a:gd name="connsiteX1346" fmla="*/ 6463307 w 12050057"/>
                <a:gd name="connsiteY1346" fmla="*/ 551227 h 6072782"/>
                <a:gd name="connsiteX1347" fmla="*/ 6428019 w 12050057"/>
                <a:gd name="connsiteY1347" fmla="*/ 551227 h 6072782"/>
                <a:gd name="connsiteX1348" fmla="*/ 6428019 w 12050057"/>
                <a:gd name="connsiteY1348" fmla="*/ 371444 h 6072782"/>
                <a:gd name="connsiteX1349" fmla="*/ 6407410 w 12050057"/>
                <a:gd name="connsiteY1349" fmla="*/ 383079 h 6072782"/>
                <a:gd name="connsiteX1350" fmla="*/ 6382237 w 12050057"/>
                <a:gd name="connsiteY1350" fmla="*/ 391521 h 6072782"/>
                <a:gd name="connsiteX1351" fmla="*/ 6382237 w 12050057"/>
                <a:gd name="connsiteY1351" fmla="*/ 361405 h 6072782"/>
                <a:gd name="connsiteX1352" fmla="*/ 6399272 w 12050057"/>
                <a:gd name="connsiteY1352" fmla="*/ 355321 h 6072782"/>
                <a:gd name="connsiteX1353" fmla="*/ 6415471 w 12050057"/>
                <a:gd name="connsiteY1353" fmla="*/ 348172 h 6072782"/>
                <a:gd name="connsiteX1354" fmla="*/ 6431594 w 12050057"/>
                <a:gd name="connsiteY1354" fmla="*/ 339350 h 6072782"/>
                <a:gd name="connsiteX1355" fmla="*/ 6448401 w 12050057"/>
                <a:gd name="connsiteY1355" fmla="*/ 328247 h 6072782"/>
                <a:gd name="connsiteX1356" fmla="*/ 5379035 w 12050057"/>
                <a:gd name="connsiteY1356" fmla="*/ 328247 h 6072782"/>
                <a:gd name="connsiteX1357" fmla="*/ 5393942 w 12050057"/>
                <a:gd name="connsiteY1357" fmla="*/ 328247 h 6072782"/>
                <a:gd name="connsiteX1358" fmla="*/ 5393942 w 12050057"/>
                <a:gd name="connsiteY1358" fmla="*/ 551227 h 6072782"/>
                <a:gd name="connsiteX1359" fmla="*/ 5358654 w 12050057"/>
                <a:gd name="connsiteY1359" fmla="*/ 551227 h 6072782"/>
                <a:gd name="connsiteX1360" fmla="*/ 5358654 w 12050057"/>
                <a:gd name="connsiteY1360" fmla="*/ 371444 h 6072782"/>
                <a:gd name="connsiteX1361" fmla="*/ 5338044 w 12050057"/>
                <a:gd name="connsiteY1361" fmla="*/ 383079 h 6072782"/>
                <a:gd name="connsiteX1362" fmla="*/ 5312871 w 12050057"/>
                <a:gd name="connsiteY1362" fmla="*/ 391521 h 6072782"/>
                <a:gd name="connsiteX1363" fmla="*/ 5312871 w 12050057"/>
                <a:gd name="connsiteY1363" fmla="*/ 361405 h 6072782"/>
                <a:gd name="connsiteX1364" fmla="*/ 5329907 w 12050057"/>
                <a:gd name="connsiteY1364" fmla="*/ 355321 h 6072782"/>
                <a:gd name="connsiteX1365" fmla="*/ 5346106 w 12050057"/>
                <a:gd name="connsiteY1365" fmla="*/ 348172 h 6072782"/>
                <a:gd name="connsiteX1366" fmla="*/ 5362228 w 12050057"/>
                <a:gd name="connsiteY1366" fmla="*/ 339350 h 6072782"/>
                <a:gd name="connsiteX1367" fmla="*/ 5379035 w 12050057"/>
                <a:gd name="connsiteY1367" fmla="*/ 328247 h 6072782"/>
                <a:gd name="connsiteX1368" fmla="*/ 3386726 w 12050057"/>
                <a:gd name="connsiteY1368" fmla="*/ 328247 h 6072782"/>
                <a:gd name="connsiteX1369" fmla="*/ 3401632 w 12050057"/>
                <a:gd name="connsiteY1369" fmla="*/ 328247 h 6072782"/>
                <a:gd name="connsiteX1370" fmla="*/ 3401632 w 12050057"/>
                <a:gd name="connsiteY1370" fmla="*/ 551227 h 6072782"/>
                <a:gd name="connsiteX1371" fmla="*/ 3366344 w 12050057"/>
                <a:gd name="connsiteY1371" fmla="*/ 551227 h 6072782"/>
                <a:gd name="connsiteX1372" fmla="*/ 3366344 w 12050057"/>
                <a:gd name="connsiteY1372" fmla="*/ 371444 h 6072782"/>
                <a:gd name="connsiteX1373" fmla="*/ 3345736 w 12050057"/>
                <a:gd name="connsiteY1373" fmla="*/ 383079 h 6072782"/>
                <a:gd name="connsiteX1374" fmla="*/ 3320562 w 12050057"/>
                <a:gd name="connsiteY1374" fmla="*/ 391521 h 6072782"/>
                <a:gd name="connsiteX1375" fmla="*/ 3320562 w 12050057"/>
                <a:gd name="connsiteY1375" fmla="*/ 361405 h 6072782"/>
                <a:gd name="connsiteX1376" fmla="*/ 3337597 w 12050057"/>
                <a:gd name="connsiteY1376" fmla="*/ 355321 h 6072782"/>
                <a:gd name="connsiteX1377" fmla="*/ 3353797 w 12050057"/>
                <a:gd name="connsiteY1377" fmla="*/ 348172 h 6072782"/>
                <a:gd name="connsiteX1378" fmla="*/ 3369919 w 12050057"/>
                <a:gd name="connsiteY1378" fmla="*/ 339350 h 6072782"/>
                <a:gd name="connsiteX1379" fmla="*/ 3386726 w 12050057"/>
                <a:gd name="connsiteY1379" fmla="*/ 328247 h 6072782"/>
                <a:gd name="connsiteX1380" fmla="*/ 2874522 w 12050057"/>
                <a:gd name="connsiteY1380" fmla="*/ 328247 h 6072782"/>
                <a:gd name="connsiteX1381" fmla="*/ 2889428 w 12050057"/>
                <a:gd name="connsiteY1381" fmla="*/ 328247 h 6072782"/>
                <a:gd name="connsiteX1382" fmla="*/ 2889428 w 12050057"/>
                <a:gd name="connsiteY1382" fmla="*/ 551227 h 6072782"/>
                <a:gd name="connsiteX1383" fmla="*/ 2854142 w 12050057"/>
                <a:gd name="connsiteY1383" fmla="*/ 551227 h 6072782"/>
                <a:gd name="connsiteX1384" fmla="*/ 2854142 w 12050057"/>
                <a:gd name="connsiteY1384" fmla="*/ 371444 h 6072782"/>
                <a:gd name="connsiteX1385" fmla="*/ 2833531 w 12050057"/>
                <a:gd name="connsiteY1385" fmla="*/ 383079 h 6072782"/>
                <a:gd name="connsiteX1386" fmla="*/ 2808358 w 12050057"/>
                <a:gd name="connsiteY1386" fmla="*/ 391521 h 6072782"/>
                <a:gd name="connsiteX1387" fmla="*/ 2808358 w 12050057"/>
                <a:gd name="connsiteY1387" fmla="*/ 361405 h 6072782"/>
                <a:gd name="connsiteX1388" fmla="*/ 2825393 w 12050057"/>
                <a:gd name="connsiteY1388" fmla="*/ 355321 h 6072782"/>
                <a:gd name="connsiteX1389" fmla="*/ 2841593 w 12050057"/>
                <a:gd name="connsiteY1389" fmla="*/ 348172 h 6072782"/>
                <a:gd name="connsiteX1390" fmla="*/ 2857715 w 12050057"/>
                <a:gd name="connsiteY1390" fmla="*/ 339350 h 6072782"/>
                <a:gd name="connsiteX1391" fmla="*/ 2874522 w 12050057"/>
                <a:gd name="connsiteY1391" fmla="*/ 328247 h 6072782"/>
                <a:gd name="connsiteX1392" fmla="*/ 1267168 w 12050057"/>
                <a:gd name="connsiteY1392" fmla="*/ 328247 h 6072782"/>
                <a:gd name="connsiteX1393" fmla="*/ 1282074 w 12050057"/>
                <a:gd name="connsiteY1393" fmla="*/ 328247 h 6072782"/>
                <a:gd name="connsiteX1394" fmla="*/ 1282074 w 12050057"/>
                <a:gd name="connsiteY1394" fmla="*/ 551227 h 6072782"/>
                <a:gd name="connsiteX1395" fmla="*/ 1246786 w 12050057"/>
                <a:gd name="connsiteY1395" fmla="*/ 551227 h 6072782"/>
                <a:gd name="connsiteX1396" fmla="*/ 1246786 w 12050057"/>
                <a:gd name="connsiteY1396" fmla="*/ 371444 h 6072782"/>
                <a:gd name="connsiteX1397" fmla="*/ 1226177 w 12050057"/>
                <a:gd name="connsiteY1397" fmla="*/ 383079 h 6072782"/>
                <a:gd name="connsiteX1398" fmla="*/ 1201004 w 12050057"/>
                <a:gd name="connsiteY1398" fmla="*/ 391521 h 6072782"/>
                <a:gd name="connsiteX1399" fmla="*/ 1201004 w 12050057"/>
                <a:gd name="connsiteY1399" fmla="*/ 361405 h 6072782"/>
                <a:gd name="connsiteX1400" fmla="*/ 1218039 w 12050057"/>
                <a:gd name="connsiteY1400" fmla="*/ 355321 h 6072782"/>
                <a:gd name="connsiteX1401" fmla="*/ 1234238 w 12050057"/>
                <a:gd name="connsiteY1401" fmla="*/ 348172 h 6072782"/>
                <a:gd name="connsiteX1402" fmla="*/ 1250361 w 12050057"/>
                <a:gd name="connsiteY1402" fmla="*/ 339350 h 6072782"/>
                <a:gd name="connsiteX1403" fmla="*/ 1267168 w 12050057"/>
                <a:gd name="connsiteY1403" fmla="*/ 328247 h 6072782"/>
                <a:gd name="connsiteX1404" fmla="*/ 393927 w 12050057"/>
                <a:gd name="connsiteY1404" fmla="*/ 328247 h 6072782"/>
                <a:gd name="connsiteX1405" fmla="*/ 408833 w 12050057"/>
                <a:gd name="connsiteY1405" fmla="*/ 328247 h 6072782"/>
                <a:gd name="connsiteX1406" fmla="*/ 408833 w 12050057"/>
                <a:gd name="connsiteY1406" fmla="*/ 551227 h 6072782"/>
                <a:gd name="connsiteX1407" fmla="*/ 373545 w 12050057"/>
                <a:gd name="connsiteY1407" fmla="*/ 551227 h 6072782"/>
                <a:gd name="connsiteX1408" fmla="*/ 373545 w 12050057"/>
                <a:gd name="connsiteY1408" fmla="*/ 371444 h 6072782"/>
                <a:gd name="connsiteX1409" fmla="*/ 352936 w 12050057"/>
                <a:gd name="connsiteY1409" fmla="*/ 383079 h 6072782"/>
                <a:gd name="connsiteX1410" fmla="*/ 327763 w 12050057"/>
                <a:gd name="connsiteY1410" fmla="*/ 391521 h 6072782"/>
                <a:gd name="connsiteX1411" fmla="*/ 327763 w 12050057"/>
                <a:gd name="connsiteY1411" fmla="*/ 361405 h 6072782"/>
                <a:gd name="connsiteX1412" fmla="*/ 344798 w 12050057"/>
                <a:gd name="connsiteY1412" fmla="*/ 355321 h 6072782"/>
                <a:gd name="connsiteX1413" fmla="*/ 360997 w 12050057"/>
                <a:gd name="connsiteY1413" fmla="*/ 348172 h 6072782"/>
                <a:gd name="connsiteX1414" fmla="*/ 377120 w 12050057"/>
                <a:gd name="connsiteY1414" fmla="*/ 339350 h 6072782"/>
                <a:gd name="connsiteX1415" fmla="*/ 393927 w 12050057"/>
                <a:gd name="connsiteY1415" fmla="*/ 328247 h 6072782"/>
                <a:gd name="connsiteX1416" fmla="*/ 10287594 w 12050057"/>
                <a:gd name="connsiteY1416" fmla="*/ 0 h 6072782"/>
                <a:gd name="connsiteX1417" fmla="*/ 10302500 w 12050057"/>
                <a:gd name="connsiteY1417" fmla="*/ 0 h 6072782"/>
                <a:gd name="connsiteX1418" fmla="*/ 10302500 w 12050057"/>
                <a:gd name="connsiteY1418" fmla="*/ 222980 h 6072782"/>
                <a:gd name="connsiteX1419" fmla="*/ 10267212 w 12050057"/>
                <a:gd name="connsiteY1419" fmla="*/ 222980 h 6072782"/>
                <a:gd name="connsiteX1420" fmla="*/ 10267212 w 12050057"/>
                <a:gd name="connsiteY1420" fmla="*/ 43196 h 6072782"/>
                <a:gd name="connsiteX1421" fmla="*/ 10246603 w 12050057"/>
                <a:gd name="connsiteY1421" fmla="*/ 54832 h 6072782"/>
                <a:gd name="connsiteX1422" fmla="*/ 10221430 w 12050057"/>
                <a:gd name="connsiteY1422" fmla="*/ 63274 h 6072782"/>
                <a:gd name="connsiteX1423" fmla="*/ 10221430 w 12050057"/>
                <a:gd name="connsiteY1423" fmla="*/ 33158 h 6072782"/>
                <a:gd name="connsiteX1424" fmla="*/ 10238465 w 12050057"/>
                <a:gd name="connsiteY1424" fmla="*/ 27074 h 6072782"/>
                <a:gd name="connsiteX1425" fmla="*/ 10254664 w 12050057"/>
                <a:gd name="connsiteY1425" fmla="*/ 19925 h 6072782"/>
                <a:gd name="connsiteX1426" fmla="*/ 10270787 w 12050057"/>
                <a:gd name="connsiteY1426" fmla="*/ 11103 h 6072782"/>
                <a:gd name="connsiteX1427" fmla="*/ 10287594 w 12050057"/>
                <a:gd name="connsiteY1427" fmla="*/ 0 h 6072782"/>
                <a:gd name="connsiteX1428" fmla="*/ 9399570 w 12050057"/>
                <a:gd name="connsiteY1428" fmla="*/ 0 h 6072782"/>
                <a:gd name="connsiteX1429" fmla="*/ 9414476 w 12050057"/>
                <a:gd name="connsiteY1429" fmla="*/ 0 h 6072782"/>
                <a:gd name="connsiteX1430" fmla="*/ 9414476 w 12050057"/>
                <a:gd name="connsiteY1430" fmla="*/ 222980 h 6072782"/>
                <a:gd name="connsiteX1431" fmla="*/ 9379188 w 12050057"/>
                <a:gd name="connsiteY1431" fmla="*/ 222980 h 6072782"/>
                <a:gd name="connsiteX1432" fmla="*/ 9379188 w 12050057"/>
                <a:gd name="connsiteY1432" fmla="*/ 43196 h 6072782"/>
                <a:gd name="connsiteX1433" fmla="*/ 9358579 w 12050057"/>
                <a:gd name="connsiteY1433" fmla="*/ 54832 h 6072782"/>
                <a:gd name="connsiteX1434" fmla="*/ 9333406 w 12050057"/>
                <a:gd name="connsiteY1434" fmla="*/ 63274 h 6072782"/>
                <a:gd name="connsiteX1435" fmla="*/ 9333406 w 12050057"/>
                <a:gd name="connsiteY1435" fmla="*/ 33158 h 6072782"/>
                <a:gd name="connsiteX1436" fmla="*/ 9350441 w 12050057"/>
                <a:gd name="connsiteY1436" fmla="*/ 27074 h 6072782"/>
                <a:gd name="connsiteX1437" fmla="*/ 9366640 w 12050057"/>
                <a:gd name="connsiteY1437" fmla="*/ 19925 h 6072782"/>
                <a:gd name="connsiteX1438" fmla="*/ 9382763 w 12050057"/>
                <a:gd name="connsiteY1438" fmla="*/ 11103 h 6072782"/>
                <a:gd name="connsiteX1439" fmla="*/ 9399570 w 12050057"/>
                <a:gd name="connsiteY1439" fmla="*/ 0 h 6072782"/>
                <a:gd name="connsiteX1440" fmla="*/ 7529739 w 12050057"/>
                <a:gd name="connsiteY1440" fmla="*/ 0 h 6072782"/>
                <a:gd name="connsiteX1441" fmla="*/ 7544645 w 12050057"/>
                <a:gd name="connsiteY1441" fmla="*/ 0 h 6072782"/>
                <a:gd name="connsiteX1442" fmla="*/ 7544645 w 12050057"/>
                <a:gd name="connsiteY1442" fmla="*/ 222980 h 6072782"/>
                <a:gd name="connsiteX1443" fmla="*/ 7509357 w 12050057"/>
                <a:gd name="connsiteY1443" fmla="*/ 222980 h 6072782"/>
                <a:gd name="connsiteX1444" fmla="*/ 7509357 w 12050057"/>
                <a:gd name="connsiteY1444" fmla="*/ 43196 h 6072782"/>
                <a:gd name="connsiteX1445" fmla="*/ 7488748 w 12050057"/>
                <a:gd name="connsiteY1445" fmla="*/ 54832 h 6072782"/>
                <a:gd name="connsiteX1446" fmla="*/ 7463575 w 12050057"/>
                <a:gd name="connsiteY1446" fmla="*/ 63274 h 6072782"/>
                <a:gd name="connsiteX1447" fmla="*/ 7463575 w 12050057"/>
                <a:gd name="connsiteY1447" fmla="*/ 33158 h 6072782"/>
                <a:gd name="connsiteX1448" fmla="*/ 7480610 w 12050057"/>
                <a:gd name="connsiteY1448" fmla="*/ 27074 h 6072782"/>
                <a:gd name="connsiteX1449" fmla="*/ 7496809 w 12050057"/>
                <a:gd name="connsiteY1449" fmla="*/ 19925 h 6072782"/>
                <a:gd name="connsiteX1450" fmla="*/ 7512932 w 12050057"/>
                <a:gd name="connsiteY1450" fmla="*/ 11103 h 6072782"/>
                <a:gd name="connsiteX1451" fmla="*/ 7529739 w 12050057"/>
                <a:gd name="connsiteY1451" fmla="*/ 0 h 6072782"/>
                <a:gd name="connsiteX1452" fmla="*/ 6158139 w 12050057"/>
                <a:gd name="connsiteY1452" fmla="*/ 0 h 6072782"/>
                <a:gd name="connsiteX1453" fmla="*/ 6173045 w 12050057"/>
                <a:gd name="connsiteY1453" fmla="*/ 0 h 6072782"/>
                <a:gd name="connsiteX1454" fmla="*/ 6173045 w 12050057"/>
                <a:gd name="connsiteY1454" fmla="*/ 222980 h 6072782"/>
                <a:gd name="connsiteX1455" fmla="*/ 6137757 w 12050057"/>
                <a:gd name="connsiteY1455" fmla="*/ 222980 h 6072782"/>
                <a:gd name="connsiteX1456" fmla="*/ 6137757 w 12050057"/>
                <a:gd name="connsiteY1456" fmla="*/ 43196 h 6072782"/>
                <a:gd name="connsiteX1457" fmla="*/ 6117148 w 12050057"/>
                <a:gd name="connsiteY1457" fmla="*/ 54832 h 6072782"/>
                <a:gd name="connsiteX1458" fmla="*/ 6091975 w 12050057"/>
                <a:gd name="connsiteY1458" fmla="*/ 63274 h 6072782"/>
                <a:gd name="connsiteX1459" fmla="*/ 6091975 w 12050057"/>
                <a:gd name="connsiteY1459" fmla="*/ 33158 h 6072782"/>
                <a:gd name="connsiteX1460" fmla="*/ 6109010 w 12050057"/>
                <a:gd name="connsiteY1460" fmla="*/ 27074 h 6072782"/>
                <a:gd name="connsiteX1461" fmla="*/ 6125209 w 12050057"/>
                <a:gd name="connsiteY1461" fmla="*/ 19925 h 6072782"/>
                <a:gd name="connsiteX1462" fmla="*/ 6141332 w 12050057"/>
                <a:gd name="connsiteY1462" fmla="*/ 11103 h 6072782"/>
                <a:gd name="connsiteX1463" fmla="*/ 6158139 w 12050057"/>
                <a:gd name="connsiteY1463" fmla="*/ 0 h 6072782"/>
                <a:gd name="connsiteX1464" fmla="*/ 4237236 w 12050057"/>
                <a:gd name="connsiteY1464" fmla="*/ 0 h 6072782"/>
                <a:gd name="connsiteX1465" fmla="*/ 4252143 w 12050057"/>
                <a:gd name="connsiteY1465" fmla="*/ 0 h 6072782"/>
                <a:gd name="connsiteX1466" fmla="*/ 4252143 w 12050057"/>
                <a:gd name="connsiteY1466" fmla="*/ 222980 h 6072782"/>
                <a:gd name="connsiteX1467" fmla="*/ 4216854 w 12050057"/>
                <a:gd name="connsiteY1467" fmla="*/ 222980 h 6072782"/>
                <a:gd name="connsiteX1468" fmla="*/ 4216854 w 12050057"/>
                <a:gd name="connsiteY1468" fmla="*/ 43196 h 6072782"/>
                <a:gd name="connsiteX1469" fmla="*/ 4196246 w 12050057"/>
                <a:gd name="connsiteY1469" fmla="*/ 54832 h 6072782"/>
                <a:gd name="connsiteX1470" fmla="*/ 4171072 w 12050057"/>
                <a:gd name="connsiteY1470" fmla="*/ 63274 h 6072782"/>
                <a:gd name="connsiteX1471" fmla="*/ 4171072 w 12050057"/>
                <a:gd name="connsiteY1471" fmla="*/ 33158 h 6072782"/>
                <a:gd name="connsiteX1472" fmla="*/ 4188108 w 12050057"/>
                <a:gd name="connsiteY1472" fmla="*/ 27074 h 6072782"/>
                <a:gd name="connsiteX1473" fmla="*/ 4204308 w 12050057"/>
                <a:gd name="connsiteY1473" fmla="*/ 19925 h 6072782"/>
                <a:gd name="connsiteX1474" fmla="*/ 4220430 w 12050057"/>
                <a:gd name="connsiteY1474" fmla="*/ 11103 h 6072782"/>
                <a:gd name="connsiteX1475" fmla="*/ 4237236 w 12050057"/>
                <a:gd name="connsiteY1475" fmla="*/ 0 h 6072782"/>
                <a:gd name="connsiteX1476" fmla="*/ 3347533 w 12050057"/>
                <a:gd name="connsiteY1476" fmla="*/ 0 h 6072782"/>
                <a:gd name="connsiteX1477" fmla="*/ 3362439 w 12050057"/>
                <a:gd name="connsiteY1477" fmla="*/ 0 h 6072782"/>
                <a:gd name="connsiteX1478" fmla="*/ 3362439 w 12050057"/>
                <a:gd name="connsiteY1478" fmla="*/ 222980 h 6072782"/>
                <a:gd name="connsiteX1479" fmla="*/ 3327152 w 12050057"/>
                <a:gd name="connsiteY1479" fmla="*/ 222980 h 6072782"/>
                <a:gd name="connsiteX1480" fmla="*/ 3327152 w 12050057"/>
                <a:gd name="connsiteY1480" fmla="*/ 43196 h 6072782"/>
                <a:gd name="connsiteX1481" fmla="*/ 3306542 w 12050057"/>
                <a:gd name="connsiteY1481" fmla="*/ 54832 h 6072782"/>
                <a:gd name="connsiteX1482" fmla="*/ 3281369 w 12050057"/>
                <a:gd name="connsiteY1482" fmla="*/ 63274 h 6072782"/>
                <a:gd name="connsiteX1483" fmla="*/ 3281369 w 12050057"/>
                <a:gd name="connsiteY1483" fmla="*/ 33158 h 6072782"/>
                <a:gd name="connsiteX1484" fmla="*/ 3298404 w 12050057"/>
                <a:gd name="connsiteY1484" fmla="*/ 27074 h 6072782"/>
                <a:gd name="connsiteX1485" fmla="*/ 3314604 w 12050057"/>
                <a:gd name="connsiteY1485" fmla="*/ 19925 h 6072782"/>
                <a:gd name="connsiteX1486" fmla="*/ 3330727 w 12050057"/>
                <a:gd name="connsiteY1486" fmla="*/ 11103 h 6072782"/>
                <a:gd name="connsiteX1487" fmla="*/ 3347533 w 12050057"/>
                <a:gd name="connsiteY1487" fmla="*/ 0 h 6072782"/>
                <a:gd name="connsiteX1488" fmla="*/ 1463993 w 12050057"/>
                <a:gd name="connsiteY1488" fmla="*/ 0 h 6072782"/>
                <a:gd name="connsiteX1489" fmla="*/ 1478899 w 12050057"/>
                <a:gd name="connsiteY1489" fmla="*/ 0 h 6072782"/>
                <a:gd name="connsiteX1490" fmla="*/ 1478899 w 12050057"/>
                <a:gd name="connsiteY1490" fmla="*/ 222980 h 6072782"/>
                <a:gd name="connsiteX1491" fmla="*/ 1443611 w 12050057"/>
                <a:gd name="connsiteY1491" fmla="*/ 222980 h 6072782"/>
                <a:gd name="connsiteX1492" fmla="*/ 1443611 w 12050057"/>
                <a:gd name="connsiteY1492" fmla="*/ 43196 h 6072782"/>
                <a:gd name="connsiteX1493" fmla="*/ 1423002 w 12050057"/>
                <a:gd name="connsiteY1493" fmla="*/ 54832 h 6072782"/>
                <a:gd name="connsiteX1494" fmla="*/ 1397829 w 12050057"/>
                <a:gd name="connsiteY1494" fmla="*/ 63274 h 6072782"/>
                <a:gd name="connsiteX1495" fmla="*/ 1397829 w 12050057"/>
                <a:gd name="connsiteY1495" fmla="*/ 33158 h 6072782"/>
                <a:gd name="connsiteX1496" fmla="*/ 1414864 w 12050057"/>
                <a:gd name="connsiteY1496" fmla="*/ 27074 h 6072782"/>
                <a:gd name="connsiteX1497" fmla="*/ 1431063 w 12050057"/>
                <a:gd name="connsiteY1497" fmla="*/ 19925 h 6072782"/>
                <a:gd name="connsiteX1498" fmla="*/ 1447186 w 12050057"/>
                <a:gd name="connsiteY1498" fmla="*/ 11103 h 6072782"/>
                <a:gd name="connsiteX1499" fmla="*/ 1463993 w 12050057"/>
                <a:gd name="connsiteY1499" fmla="*/ 0 h 6072782"/>
                <a:gd name="connsiteX1500" fmla="*/ 92047 w 12050057"/>
                <a:gd name="connsiteY1500" fmla="*/ 0 h 6072782"/>
                <a:gd name="connsiteX1501" fmla="*/ 106953 w 12050057"/>
                <a:gd name="connsiteY1501" fmla="*/ 0 h 6072782"/>
                <a:gd name="connsiteX1502" fmla="*/ 106953 w 12050057"/>
                <a:gd name="connsiteY1502" fmla="*/ 222980 h 6072782"/>
                <a:gd name="connsiteX1503" fmla="*/ 71665 w 12050057"/>
                <a:gd name="connsiteY1503" fmla="*/ 222980 h 6072782"/>
                <a:gd name="connsiteX1504" fmla="*/ 71665 w 12050057"/>
                <a:gd name="connsiteY1504" fmla="*/ 43196 h 6072782"/>
                <a:gd name="connsiteX1505" fmla="*/ 51056 w 12050057"/>
                <a:gd name="connsiteY1505" fmla="*/ 54832 h 6072782"/>
                <a:gd name="connsiteX1506" fmla="*/ 25883 w 12050057"/>
                <a:gd name="connsiteY1506" fmla="*/ 63274 h 6072782"/>
                <a:gd name="connsiteX1507" fmla="*/ 25883 w 12050057"/>
                <a:gd name="connsiteY1507" fmla="*/ 33158 h 6072782"/>
                <a:gd name="connsiteX1508" fmla="*/ 42918 w 12050057"/>
                <a:gd name="connsiteY1508" fmla="*/ 27074 h 6072782"/>
                <a:gd name="connsiteX1509" fmla="*/ 59117 w 12050057"/>
                <a:gd name="connsiteY1509" fmla="*/ 19925 h 6072782"/>
                <a:gd name="connsiteX1510" fmla="*/ 75240 w 12050057"/>
                <a:gd name="connsiteY1510" fmla="*/ 11103 h 6072782"/>
                <a:gd name="connsiteX1511" fmla="*/ 92047 w 12050057"/>
                <a:gd name="connsiteY1511" fmla="*/ 0 h 607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Lst>
              <a:rect l="l" t="t" r="r" b="b"/>
              <a:pathLst>
                <a:path w="12050057" h="6072782">
                  <a:moveTo>
                    <a:pt x="3287783" y="5849802"/>
                  </a:moveTo>
                  <a:lnTo>
                    <a:pt x="3302689" y="5849802"/>
                  </a:lnTo>
                  <a:lnTo>
                    <a:pt x="3302689" y="6072782"/>
                  </a:lnTo>
                  <a:lnTo>
                    <a:pt x="3267400" y="6072782"/>
                  </a:lnTo>
                  <a:lnTo>
                    <a:pt x="3267400" y="5892999"/>
                  </a:lnTo>
                  <a:cubicBezTo>
                    <a:pt x="3261013" y="5897562"/>
                    <a:pt x="3254142" y="5901440"/>
                    <a:pt x="3246791" y="5904635"/>
                  </a:cubicBezTo>
                  <a:cubicBezTo>
                    <a:pt x="3239440" y="5907829"/>
                    <a:pt x="3231049" y="5910642"/>
                    <a:pt x="3221618" y="5913076"/>
                  </a:cubicBezTo>
                  <a:lnTo>
                    <a:pt x="3221618" y="5882960"/>
                  </a:lnTo>
                  <a:cubicBezTo>
                    <a:pt x="3227499" y="5881034"/>
                    <a:pt x="3233178" y="5879006"/>
                    <a:pt x="3238653" y="5876876"/>
                  </a:cubicBezTo>
                  <a:cubicBezTo>
                    <a:pt x="3244129" y="5874747"/>
                    <a:pt x="3249529" y="5872364"/>
                    <a:pt x="3254853" y="5869727"/>
                  </a:cubicBezTo>
                  <a:cubicBezTo>
                    <a:pt x="3260176" y="5867091"/>
                    <a:pt x="3265551" y="5864150"/>
                    <a:pt x="3270976" y="5860906"/>
                  </a:cubicBezTo>
                  <a:cubicBezTo>
                    <a:pt x="3276401" y="5857661"/>
                    <a:pt x="3282003" y="5853960"/>
                    <a:pt x="3287783" y="5849802"/>
                  </a:cubicBezTo>
                  <a:close/>
                  <a:moveTo>
                    <a:pt x="3287783" y="5494671"/>
                  </a:moveTo>
                  <a:lnTo>
                    <a:pt x="3302689" y="5494671"/>
                  </a:lnTo>
                  <a:lnTo>
                    <a:pt x="3302689" y="5717651"/>
                  </a:lnTo>
                  <a:lnTo>
                    <a:pt x="3267400" y="5717651"/>
                  </a:lnTo>
                  <a:lnTo>
                    <a:pt x="3267400" y="5537867"/>
                  </a:lnTo>
                  <a:cubicBezTo>
                    <a:pt x="3261013" y="5542430"/>
                    <a:pt x="3254142" y="5546309"/>
                    <a:pt x="3246791" y="5549503"/>
                  </a:cubicBezTo>
                  <a:cubicBezTo>
                    <a:pt x="3239440" y="5552697"/>
                    <a:pt x="3231049" y="5555511"/>
                    <a:pt x="3221618" y="5557945"/>
                  </a:cubicBezTo>
                  <a:lnTo>
                    <a:pt x="3221618" y="5527829"/>
                  </a:lnTo>
                  <a:cubicBezTo>
                    <a:pt x="3227499" y="5525902"/>
                    <a:pt x="3233178" y="5523874"/>
                    <a:pt x="3238653" y="5521745"/>
                  </a:cubicBezTo>
                  <a:cubicBezTo>
                    <a:pt x="3244129" y="5519616"/>
                    <a:pt x="3249529" y="5517232"/>
                    <a:pt x="3254853" y="5514596"/>
                  </a:cubicBezTo>
                  <a:cubicBezTo>
                    <a:pt x="3260176" y="5511960"/>
                    <a:pt x="3265551" y="5509019"/>
                    <a:pt x="3270976" y="5505774"/>
                  </a:cubicBezTo>
                  <a:cubicBezTo>
                    <a:pt x="3276401" y="5502529"/>
                    <a:pt x="3282003" y="5498828"/>
                    <a:pt x="3287783" y="5494671"/>
                  </a:cubicBezTo>
                  <a:close/>
                  <a:moveTo>
                    <a:pt x="1423455" y="5494671"/>
                  </a:moveTo>
                  <a:lnTo>
                    <a:pt x="1438362" y="5494671"/>
                  </a:lnTo>
                  <a:lnTo>
                    <a:pt x="1438362" y="5717651"/>
                  </a:lnTo>
                  <a:lnTo>
                    <a:pt x="1403074" y="5717651"/>
                  </a:lnTo>
                  <a:lnTo>
                    <a:pt x="1403074" y="5537868"/>
                  </a:lnTo>
                  <a:cubicBezTo>
                    <a:pt x="1396686" y="5542431"/>
                    <a:pt x="1389815" y="5546309"/>
                    <a:pt x="1382465" y="5549504"/>
                  </a:cubicBezTo>
                  <a:cubicBezTo>
                    <a:pt x="1375112" y="5552698"/>
                    <a:pt x="1366721" y="5555511"/>
                    <a:pt x="1357292" y="5557945"/>
                  </a:cubicBezTo>
                  <a:lnTo>
                    <a:pt x="1357292" y="5527829"/>
                  </a:lnTo>
                  <a:cubicBezTo>
                    <a:pt x="1363172" y="5525903"/>
                    <a:pt x="1368852" y="5523875"/>
                    <a:pt x="1374327" y="5521745"/>
                  </a:cubicBezTo>
                  <a:cubicBezTo>
                    <a:pt x="1379802" y="5519616"/>
                    <a:pt x="1385202" y="5517233"/>
                    <a:pt x="1390525" y="5514596"/>
                  </a:cubicBezTo>
                  <a:cubicBezTo>
                    <a:pt x="1395850" y="5511960"/>
                    <a:pt x="1401224" y="5509019"/>
                    <a:pt x="1406649" y="5505775"/>
                  </a:cubicBezTo>
                  <a:cubicBezTo>
                    <a:pt x="1412074" y="5502530"/>
                    <a:pt x="1417675" y="5498829"/>
                    <a:pt x="1423455" y="5494671"/>
                  </a:cubicBezTo>
                  <a:close/>
                  <a:moveTo>
                    <a:pt x="9366501" y="5157041"/>
                  </a:moveTo>
                  <a:lnTo>
                    <a:pt x="9381407" y="5157041"/>
                  </a:lnTo>
                  <a:lnTo>
                    <a:pt x="9381407" y="5380021"/>
                  </a:lnTo>
                  <a:lnTo>
                    <a:pt x="9346119" y="5380021"/>
                  </a:lnTo>
                  <a:lnTo>
                    <a:pt x="9346119" y="5200238"/>
                  </a:lnTo>
                  <a:cubicBezTo>
                    <a:pt x="9339731" y="5204801"/>
                    <a:pt x="9332861" y="5208679"/>
                    <a:pt x="9325510" y="5211874"/>
                  </a:cubicBezTo>
                  <a:cubicBezTo>
                    <a:pt x="9318158" y="5215068"/>
                    <a:pt x="9309767" y="5217881"/>
                    <a:pt x="9300337" y="5220315"/>
                  </a:cubicBezTo>
                  <a:lnTo>
                    <a:pt x="9300337" y="5190199"/>
                  </a:lnTo>
                  <a:cubicBezTo>
                    <a:pt x="9306218" y="5188273"/>
                    <a:pt x="9311897" y="5186245"/>
                    <a:pt x="9317372" y="5184115"/>
                  </a:cubicBezTo>
                  <a:cubicBezTo>
                    <a:pt x="9322848" y="5181986"/>
                    <a:pt x="9328248" y="5179603"/>
                    <a:pt x="9333571" y="5176966"/>
                  </a:cubicBezTo>
                  <a:cubicBezTo>
                    <a:pt x="9338895" y="5174330"/>
                    <a:pt x="9344269" y="5171389"/>
                    <a:pt x="9349694" y="5168145"/>
                  </a:cubicBezTo>
                  <a:cubicBezTo>
                    <a:pt x="9355119" y="5164900"/>
                    <a:pt x="9360721" y="5161199"/>
                    <a:pt x="9366501" y="5157041"/>
                  </a:cubicBezTo>
                  <a:close/>
                  <a:moveTo>
                    <a:pt x="7520355" y="5157041"/>
                  </a:moveTo>
                  <a:lnTo>
                    <a:pt x="7535261" y="5157041"/>
                  </a:lnTo>
                  <a:lnTo>
                    <a:pt x="7535261" y="5380021"/>
                  </a:lnTo>
                  <a:lnTo>
                    <a:pt x="7499973" y="5380021"/>
                  </a:lnTo>
                  <a:lnTo>
                    <a:pt x="7499973" y="5200238"/>
                  </a:lnTo>
                  <a:cubicBezTo>
                    <a:pt x="7493585" y="5204801"/>
                    <a:pt x="7486716" y="5208679"/>
                    <a:pt x="7479364" y="5211874"/>
                  </a:cubicBezTo>
                  <a:cubicBezTo>
                    <a:pt x="7472012" y="5215068"/>
                    <a:pt x="7463622" y="5217881"/>
                    <a:pt x="7454191" y="5220315"/>
                  </a:cubicBezTo>
                  <a:lnTo>
                    <a:pt x="7454191" y="5190199"/>
                  </a:lnTo>
                  <a:cubicBezTo>
                    <a:pt x="7460072" y="5188273"/>
                    <a:pt x="7465751" y="5186245"/>
                    <a:pt x="7471226" y="5184115"/>
                  </a:cubicBezTo>
                  <a:cubicBezTo>
                    <a:pt x="7476702" y="5181986"/>
                    <a:pt x="7482102" y="5179603"/>
                    <a:pt x="7487425" y="5176966"/>
                  </a:cubicBezTo>
                  <a:cubicBezTo>
                    <a:pt x="7492749" y="5174330"/>
                    <a:pt x="7498123" y="5171389"/>
                    <a:pt x="7503548" y="5168145"/>
                  </a:cubicBezTo>
                  <a:cubicBezTo>
                    <a:pt x="7508973" y="5164900"/>
                    <a:pt x="7514575" y="5161199"/>
                    <a:pt x="7520355" y="5157041"/>
                  </a:cubicBezTo>
                  <a:close/>
                  <a:moveTo>
                    <a:pt x="3287783" y="5157041"/>
                  </a:moveTo>
                  <a:lnTo>
                    <a:pt x="3302689" y="5157041"/>
                  </a:lnTo>
                  <a:lnTo>
                    <a:pt x="3302689" y="5380021"/>
                  </a:lnTo>
                  <a:lnTo>
                    <a:pt x="3267400" y="5380021"/>
                  </a:lnTo>
                  <a:lnTo>
                    <a:pt x="3267400" y="5200237"/>
                  </a:lnTo>
                  <a:cubicBezTo>
                    <a:pt x="3261013" y="5204800"/>
                    <a:pt x="3254142" y="5208679"/>
                    <a:pt x="3246791" y="5211873"/>
                  </a:cubicBezTo>
                  <a:cubicBezTo>
                    <a:pt x="3239440" y="5215067"/>
                    <a:pt x="3231049" y="5217881"/>
                    <a:pt x="3221618" y="5220315"/>
                  </a:cubicBezTo>
                  <a:lnTo>
                    <a:pt x="3221618" y="5190199"/>
                  </a:lnTo>
                  <a:cubicBezTo>
                    <a:pt x="3227499" y="5188272"/>
                    <a:pt x="3233178" y="5186244"/>
                    <a:pt x="3238653" y="5184115"/>
                  </a:cubicBezTo>
                  <a:cubicBezTo>
                    <a:pt x="3244129" y="5181986"/>
                    <a:pt x="3249529" y="5179602"/>
                    <a:pt x="3254853" y="5176966"/>
                  </a:cubicBezTo>
                  <a:cubicBezTo>
                    <a:pt x="3260176" y="5174330"/>
                    <a:pt x="3265551" y="5171389"/>
                    <a:pt x="3270976" y="5168144"/>
                  </a:cubicBezTo>
                  <a:cubicBezTo>
                    <a:pt x="3276401" y="5164899"/>
                    <a:pt x="3282003" y="5161198"/>
                    <a:pt x="3287783" y="5157041"/>
                  </a:cubicBezTo>
                  <a:close/>
                  <a:moveTo>
                    <a:pt x="1423455" y="5157041"/>
                  </a:moveTo>
                  <a:lnTo>
                    <a:pt x="1438362" y="5157041"/>
                  </a:lnTo>
                  <a:lnTo>
                    <a:pt x="1438362" y="5380021"/>
                  </a:lnTo>
                  <a:lnTo>
                    <a:pt x="1403074" y="5380021"/>
                  </a:lnTo>
                  <a:lnTo>
                    <a:pt x="1403074" y="5200238"/>
                  </a:lnTo>
                  <a:cubicBezTo>
                    <a:pt x="1396686" y="5204801"/>
                    <a:pt x="1389815" y="5208679"/>
                    <a:pt x="1382465" y="5211874"/>
                  </a:cubicBezTo>
                  <a:cubicBezTo>
                    <a:pt x="1375112" y="5215068"/>
                    <a:pt x="1366721" y="5217881"/>
                    <a:pt x="1357292" y="5220315"/>
                  </a:cubicBezTo>
                  <a:lnTo>
                    <a:pt x="1357292" y="5190199"/>
                  </a:lnTo>
                  <a:cubicBezTo>
                    <a:pt x="1363172" y="5188273"/>
                    <a:pt x="1368852" y="5186245"/>
                    <a:pt x="1374327" y="5184115"/>
                  </a:cubicBezTo>
                  <a:cubicBezTo>
                    <a:pt x="1379802" y="5181986"/>
                    <a:pt x="1385202" y="5179603"/>
                    <a:pt x="1390525" y="5176966"/>
                  </a:cubicBezTo>
                  <a:cubicBezTo>
                    <a:pt x="1395850" y="5174330"/>
                    <a:pt x="1401224" y="5171389"/>
                    <a:pt x="1406649" y="5168145"/>
                  </a:cubicBezTo>
                  <a:cubicBezTo>
                    <a:pt x="1412074" y="5164900"/>
                    <a:pt x="1417675" y="5161199"/>
                    <a:pt x="1423455" y="5157041"/>
                  </a:cubicBezTo>
                  <a:close/>
                  <a:moveTo>
                    <a:pt x="9366501" y="4843971"/>
                  </a:moveTo>
                  <a:lnTo>
                    <a:pt x="9381407" y="4843971"/>
                  </a:lnTo>
                  <a:lnTo>
                    <a:pt x="9381407" y="5066951"/>
                  </a:lnTo>
                  <a:lnTo>
                    <a:pt x="9346119" y="5066951"/>
                  </a:lnTo>
                  <a:lnTo>
                    <a:pt x="9346119" y="4887167"/>
                  </a:lnTo>
                  <a:cubicBezTo>
                    <a:pt x="9339731" y="4891730"/>
                    <a:pt x="9332861" y="4895609"/>
                    <a:pt x="9325510" y="4898803"/>
                  </a:cubicBezTo>
                  <a:cubicBezTo>
                    <a:pt x="9318158" y="4901997"/>
                    <a:pt x="9309767" y="4904811"/>
                    <a:pt x="9300337" y="4907245"/>
                  </a:cubicBezTo>
                  <a:lnTo>
                    <a:pt x="9300337" y="4877129"/>
                  </a:lnTo>
                  <a:cubicBezTo>
                    <a:pt x="9306218" y="4875202"/>
                    <a:pt x="9311897" y="4873174"/>
                    <a:pt x="9317372" y="4871045"/>
                  </a:cubicBezTo>
                  <a:cubicBezTo>
                    <a:pt x="9322848" y="4868916"/>
                    <a:pt x="9328248" y="4866532"/>
                    <a:pt x="9333571" y="4863896"/>
                  </a:cubicBezTo>
                  <a:cubicBezTo>
                    <a:pt x="9338895" y="4861260"/>
                    <a:pt x="9344269" y="4858319"/>
                    <a:pt x="9349694" y="4855074"/>
                  </a:cubicBezTo>
                  <a:cubicBezTo>
                    <a:pt x="9355119" y="4851829"/>
                    <a:pt x="9360721" y="4848128"/>
                    <a:pt x="9366501" y="4843971"/>
                  </a:cubicBezTo>
                  <a:close/>
                  <a:moveTo>
                    <a:pt x="7520355" y="4843971"/>
                  </a:moveTo>
                  <a:lnTo>
                    <a:pt x="7535261" y="4843971"/>
                  </a:lnTo>
                  <a:lnTo>
                    <a:pt x="7535261" y="5066951"/>
                  </a:lnTo>
                  <a:lnTo>
                    <a:pt x="7499973" y="5066951"/>
                  </a:lnTo>
                  <a:lnTo>
                    <a:pt x="7499973" y="4887167"/>
                  </a:lnTo>
                  <a:cubicBezTo>
                    <a:pt x="7493585" y="4891730"/>
                    <a:pt x="7486716" y="4895609"/>
                    <a:pt x="7479364" y="4898803"/>
                  </a:cubicBezTo>
                  <a:cubicBezTo>
                    <a:pt x="7472012" y="4901997"/>
                    <a:pt x="7463622" y="4904811"/>
                    <a:pt x="7454191" y="4907245"/>
                  </a:cubicBezTo>
                  <a:lnTo>
                    <a:pt x="7454191" y="4877129"/>
                  </a:lnTo>
                  <a:cubicBezTo>
                    <a:pt x="7460072" y="4875202"/>
                    <a:pt x="7465751" y="4873174"/>
                    <a:pt x="7471226" y="4871045"/>
                  </a:cubicBezTo>
                  <a:cubicBezTo>
                    <a:pt x="7476702" y="4868916"/>
                    <a:pt x="7482102" y="4866532"/>
                    <a:pt x="7487425" y="4863896"/>
                  </a:cubicBezTo>
                  <a:cubicBezTo>
                    <a:pt x="7492749" y="4861260"/>
                    <a:pt x="7498123" y="4858319"/>
                    <a:pt x="7503548" y="4855074"/>
                  </a:cubicBezTo>
                  <a:cubicBezTo>
                    <a:pt x="7508973" y="4851829"/>
                    <a:pt x="7514575" y="4848128"/>
                    <a:pt x="7520355" y="4843971"/>
                  </a:cubicBezTo>
                  <a:close/>
                  <a:moveTo>
                    <a:pt x="3287783" y="4843971"/>
                  </a:moveTo>
                  <a:lnTo>
                    <a:pt x="3302689" y="4843971"/>
                  </a:lnTo>
                  <a:lnTo>
                    <a:pt x="3302689" y="5066951"/>
                  </a:lnTo>
                  <a:lnTo>
                    <a:pt x="3267400" y="5066951"/>
                  </a:lnTo>
                  <a:lnTo>
                    <a:pt x="3267400" y="4887167"/>
                  </a:lnTo>
                  <a:cubicBezTo>
                    <a:pt x="3261013" y="4891730"/>
                    <a:pt x="3254142" y="4895609"/>
                    <a:pt x="3246791" y="4898803"/>
                  </a:cubicBezTo>
                  <a:cubicBezTo>
                    <a:pt x="3239440" y="4901997"/>
                    <a:pt x="3231049" y="4904811"/>
                    <a:pt x="3221618" y="4907245"/>
                  </a:cubicBezTo>
                  <a:lnTo>
                    <a:pt x="3221618" y="4877129"/>
                  </a:lnTo>
                  <a:cubicBezTo>
                    <a:pt x="3227499" y="4875202"/>
                    <a:pt x="3233178" y="4873174"/>
                    <a:pt x="3238653" y="4871045"/>
                  </a:cubicBezTo>
                  <a:cubicBezTo>
                    <a:pt x="3244129" y="4868916"/>
                    <a:pt x="3249529" y="4866532"/>
                    <a:pt x="3254853" y="4863896"/>
                  </a:cubicBezTo>
                  <a:cubicBezTo>
                    <a:pt x="3260176" y="4861260"/>
                    <a:pt x="3265551" y="4858319"/>
                    <a:pt x="3270976" y="4855074"/>
                  </a:cubicBezTo>
                  <a:cubicBezTo>
                    <a:pt x="3276401" y="4851829"/>
                    <a:pt x="3282003" y="4848128"/>
                    <a:pt x="3287783" y="4843971"/>
                  </a:cubicBezTo>
                  <a:close/>
                  <a:moveTo>
                    <a:pt x="1423455" y="4843971"/>
                  </a:moveTo>
                  <a:lnTo>
                    <a:pt x="1438362" y="4843971"/>
                  </a:lnTo>
                  <a:lnTo>
                    <a:pt x="1438362" y="5066951"/>
                  </a:lnTo>
                  <a:lnTo>
                    <a:pt x="1403074" y="5066951"/>
                  </a:lnTo>
                  <a:lnTo>
                    <a:pt x="1403074" y="4887167"/>
                  </a:lnTo>
                  <a:cubicBezTo>
                    <a:pt x="1396686" y="4891730"/>
                    <a:pt x="1389815" y="4895609"/>
                    <a:pt x="1382465" y="4898803"/>
                  </a:cubicBezTo>
                  <a:cubicBezTo>
                    <a:pt x="1375112" y="4901997"/>
                    <a:pt x="1366721" y="4904811"/>
                    <a:pt x="1357292" y="4907245"/>
                  </a:cubicBezTo>
                  <a:lnTo>
                    <a:pt x="1357292" y="4877129"/>
                  </a:lnTo>
                  <a:cubicBezTo>
                    <a:pt x="1363172" y="4875202"/>
                    <a:pt x="1368852" y="4873174"/>
                    <a:pt x="1374327" y="4871045"/>
                  </a:cubicBezTo>
                  <a:cubicBezTo>
                    <a:pt x="1379802" y="4868916"/>
                    <a:pt x="1385202" y="4866532"/>
                    <a:pt x="1390525" y="4863896"/>
                  </a:cubicBezTo>
                  <a:cubicBezTo>
                    <a:pt x="1395850" y="4861260"/>
                    <a:pt x="1401224" y="4858319"/>
                    <a:pt x="1406649" y="4855074"/>
                  </a:cubicBezTo>
                  <a:cubicBezTo>
                    <a:pt x="1412074" y="4851829"/>
                    <a:pt x="1417675" y="4848128"/>
                    <a:pt x="1423455" y="4843971"/>
                  </a:cubicBezTo>
                  <a:close/>
                  <a:moveTo>
                    <a:pt x="9366501" y="4506341"/>
                  </a:moveTo>
                  <a:lnTo>
                    <a:pt x="9381407" y="4506341"/>
                  </a:lnTo>
                  <a:lnTo>
                    <a:pt x="9381407" y="4729321"/>
                  </a:lnTo>
                  <a:lnTo>
                    <a:pt x="9346119" y="4729321"/>
                  </a:lnTo>
                  <a:lnTo>
                    <a:pt x="9346119" y="4549537"/>
                  </a:lnTo>
                  <a:cubicBezTo>
                    <a:pt x="9339731" y="4554100"/>
                    <a:pt x="9332861" y="4557979"/>
                    <a:pt x="9325510" y="4561173"/>
                  </a:cubicBezTo>
                  <a:cubicBezTo>
                    <a:pt x="9318158" y="4564367"/>
                    <a:pt x="9309767" y="4567181"/>
                    <a:pt x="9300337" y="4569615"/>
                  </a:cubicBezTo>
                  <a:lnTo>
                    <a:pt x="9300337" y="4539499"/>
                  </a:lnTo>
                  <a:cubicBezTo>
                    <a:pt x="9306218" y="4537572"/>
                    <a:pt x="9311897" y="4535544"/>
                    <a:pt x="9317372" y="4533415"/>
                  </a:cubicBezTo>
                  <a:cubicBezTo>
                    <a:pt x="9322848" y="4531286"/>
                    <a:pt x="9328248" y="4528902"/>
                    <a:pt x="9333571" y="4526266"/>
                  </a:cubicBezTo>
                  <a:cubicBezTo>
                    <a:pt x="9338895" y="4523630"/>
                    <a:pt x="9344269" y="4520689"/>
                    <a:pt x="9349694" y="4517444"/>
                  </a:cubicBezTo>
                  <a:cubicBezTo>
                    <a:pt x="9355119" y="4514199"/>
                    <a:pt x="9360721" y="4510498"/>
                    <a:pt x="9366501" y="4506341"/>
                  </a:cubicBezTo>
                  <a:close/>
                  <a:moveTo>
                    <a:pt x="7520355" y="4506341"/>
                  </a:moveTo>
                  <a:lnTo>
                    <a:pt x="7535261" y="4506341"/>
                  </a:lnTo>
                  <a:lnTo>
                    <a:pt x="7535261" y="4729321"/>
                  </a:lnTo>
                  <a:lnTo>
                    <a:pt x="7499973" y="4729321"/>
                  </a:lnTo>
                  <a:lnTo>
                    <a:pt x="7499973" y="4549537"/>
                  </a:lnTo>
                  <a:cubicBezTo>
                    <a:pt x="7493585" y="4554100"/>
                    <a:pt x="7486716" y="4557979"/>
                    <a:pt x="7479364" y="4561173"/>
                  </a:cubicBezTo>
                  <a:cubicBezTo>
                    <a:pt x="7472012" y="4564367"/>
                    <a:pt x="7463622" y="4567181"/>
                    <a:pt x="7454191" y="4569615"/>
                  </a:cubicBezTo>
                  <a:lnTo>
                    <a:pt x="7454191" y="4539499"/>
                  </a:lnTo>
                  <a:cubicBezTo>
                    <a:pt x="7460072" y="4537572"/>
                    <a:pt x="7465751" y="4535544"/>
                    <a:pt x="7471226" y="4533415"/>
                  </a:cubicBezTo>
                  <a:cubicBezTo>
                    <a:pt x="7476702" y="4531286"/>
                    <a:pt x="7482102" y="4528902"/>
                    <a:pt x="7487425" y="4526266"/>
                  </a:cubicBezTo>
                  <a:cubicBezTo>
                    <a:pt x="7492749" y="4523630"/>
                    <a:pt x="7498123" y="4520689"/>
                    <a:pt x="7503548" y="4517444"/>
                  </a:cubicBezTo>
                  <a:cubicBezTo>
                    <a:pt x="7508973" y="4514199"/>
                    <a:pt x="7514575" y="4510498"/>
                    <a:pt x="7520355" y="4506341"/>
                  </a:cubicBezTo>
                  <a:close/>
                  <a:moveTo>
                    <a:pt x="3287783" y="4506341"/>
                  </a:moveTo>
                  <a:lnTo>
                    <a:pt x="3302689" y="4506341"/>
                  </a:lnTo>
                  <a:lnTo>
                    <a:pt x="3302689" y="4729321"/>
                  </a:lnTo>
                  <a:lnTo>
                    <a:pt x="3267400" y="4729321"/>
                  </a:lnTo>
                  <a:lnTo>
                    <a:pt x="3267400" y="4549537"/>
                  </a:lnTo>
                  <a:cubicBezTo>
                    <a:pt x="3261013" y="4554100"/>
                    <a:pt x="3254142" y="4557979"/>
                    <a:pt x="3246791" y="4561173"/>
                  </a:cubicBezTo>
                  <a:cubicBezTo>
                    <a:pt x="3239440" y="4564367"/>
                    <a:pt x="3231049" y="4567181"/>
                    <a:pt x="3221618" y="4569615"/>
                  </a:cubicBezTo>
                  <a:lnTo>
                    <a:pt x="3221618" y="4539499"/>
                  </a:lnTo>
                  <a:cubicBezTo>
                    <a:pt x="3227499" y="4537572"/>
                    <a:pt x="3233178" y="4535544"/>
                    <a:pt x="3238653" y="4533415"/>
                  </a:cubicBezTo>
                  <a:cubicBezTo>
                    <a:pt x="3244129" y="4531286"/>
                    <a:pt x="3249529" y="4528902"/>
                    <a:pt x="3254853" y="4526266"/>
                  </a:cubicBezTo>
                  <a:cubicBezTo>
                    <a:pt x="3260176" y="4523630"/>
                    <a:pt x="3265551" y="4520689"/>
                    <a:pt x="3270976" y="4517444"/>
                  </a:cubicBezTo>
                  <a:cubicBezTo>
                    <a:pt x="3276401" y="4514199"/>
                    <a:pt x="3282003" y="4510498"/>
                    <a:pt x="3287783" y="4506341"/>
                  </a:cubicBezTo>
                  <a:close/>
                  <a:moveTo>
                    <a:pt x="1423455" y="4506341"/>
                  </a:moveTo>
                  <a:lnTo>
                    <a:pt x="1438362" y="4506341"/>
                  </a:lnTo>
                  <a:lnTo>
                    <a:pt x="1438362" y="4729321"/>
                  </a:lnTo>
                  <a:lnTo>
                    <a:pt x="1403074" y="4729321"/>
                  </a:lnTo>
                  <a:lnTo>
                    <a:pt x="1403074" y="4549537"/>
                  </a:lnTo>
                  <a:cubicBezTo>
                    <a:pt x="1396686" y="4554100"/>
                    <a:pt x="1389815" y="4557979"/>
                    <a:pt x="1382465" y="4561173"/>
                  </a:cubicBezTo>
                  <a:cubicBezTo>
                    <a:pt x="1375112" y="4564367"/>
                    <a:pt x="1366721" y="4567181"/>
                    <a:pt x="1357292" y="4569615"/>
                  </a:cubicBezTo>
                  <a:lnTo>
                    <a:pt x="1357292" y="4539499"/>
                  </a:lnTo>
                  <a:cubicBezTo>
                    <a:pt x="1363172" y="4537572"/>
                    <a:pt x="1368852" y="4535544"/>
                    <a:pt x="1374327" y="4533415"/>
                  </a:cubicBezTo>
                  <a:cubicBezTo>
                    <a:pt x="1379802" y="4531286"/>
                    <a:pt x="1385202" y="4528902"/>
                    <a:pt x="1390525" y="4526266"/>
                  </a:cubicBezTo>
                  <a:cubicBezTo>
                    <a:pt x="1395850" y="4523630"/>
                    <a:pt x="1401224" y="4520689"/>
                    <a:pt x="1406649" y="4517444"/>
                  </a:cubicBezTo>
                  <a:cubicBezTo>
                    <a:pt x="1412074" y="4514199"/>
                    <a:pt x="1417675" y="4510498"/>
                    <a:pt x="1423455" y="4506341"/>
                  </a:cubicBezTo>
                  <a:close/>
                  <a:moveTo>
                    <a:pt x="10276410" y="4158870"/>
                  </a:moveTo>
                  <a:lnTo>
                    <a:pt x="10291316" y="4158870"/>
                  </a:lnTo>
                  <a:lnTo>
                    <a:pt x="10291316" y="4381850"/>
                  </a:lnTo>
                  <a:lnTo>
                    <a:pt x="10256028" y="4381850"/>
                  </a:lnTo>
                  <a:lnTo>
                    <a:pt x="10256028" y="4202067"/>
                  </a:lnTo>
                  <a:cubicBezTo>
                    <a:pt x="10249640" y="4206630"/>
                    <a:pt x="10242770" y="4210508"/>
                    <a:pt x="10235419" y="4213703"/>
                  </a:cubicBezTo>
                  <a:cubicBezTo>
                    <a:pt x="10228067" y="4216897"/>
                    <a:pt x="10219676" y="4219710"/>
                    <a:pt x="10210246" y="4222144"/>
                  </a:cubicBezTo>
                  <a:lnTo>
                    <a:pt x="10210246" y="4192028"/>
                  </a:lnTo>
                  <a:cubicBezTo>
                    <a:pt x="10216127" y="4190102"/>
                    <a:pt x="10221806" y="4188074"/>
                    <a:pt x="10227281" y="4185944"/>
                  </a:cubicBezTo>
                  <a:cubicBezTo>
                    <a:pt x="10232757" y="4183815"/>
                    <a:pt x="10238157" y="4181432"/>
                    <a:pt x="10243480" y="4178795"/>
                  </a:cubicBezTo>
                  <a:cubicBezTo>
                    <a:pt x="10248804" y="4176159"/>
                    <a:pt x="10254178" y="4173218"/>
                    <a:pt x="10259603" y="4169974"/>
                  </a:cubicBezTo>
                  <a:cubicBezTo>
                    <a:pt x="10265028" y="4166729"/>
                    <a:pt x="10270630" y="4163028"/>
                    <a:pt x="10276410" y="4158870"/>
                  </a:cubicBezTo>
                  <a:close/>
                  <a:moveTo>
                    <a:pt x="9366501" y="4158870"/>
                  </a:moveTo>
                  <a:lnTo>
                    <a:pt x="9381407" y="4158870"/>
                  </a:lnTo>
                  <a:lnTo>
                    <a:pt x="9381407" y="4381850"/>
                  </a:lnTo>
                  <a:lnTo>
                    <a:pt x="9346119" y="4381850"/>
                  </a:lnTo>
                  <a:lnTo>
                    <a:pt x="9346119" y="4202066"/>
                  </a:lnTo>
                  <a:cubicBezTo>
                    <a:pt x="9339731" y="4206629"/>
                    <a:pt x="9332861" y="4210508"/>
                    <a:pt x="9325510" y="4213702"/>
                  </a:cubicBezTo>
                  <a:cubicBezTo>
                    <a:pt x="9318158" y="4216896"/>
                    <a:pt x="9309767" y="4219710"/>
                    <a:pt x="9300337" y="4222144"/>
                  </a:cubicBezTo>
                  <a:lnTo>
                    <a:pt x="9300337" y="4192028"/>
                  </a:lnTo>
                  <a:cubicBezTo>
                    <a:pt x="9306218" y="4190101"/>
                    <a:pt x="9311897" y="4188073"/>
                    <a:pt x="9317372" y="4185944"/>
                  </a:cubicBezTo>
                  <a:cubicBezTo>
                    <a:pt x="9322848" y="4183815"/>
                    <a:pt x="9328248" y="4181431"/>
                    <a:pt x="9333571" y="4178795"/>
                  </a:cubicBezTo>
                  <a:cubicBezTo>
                    <a:pt x="9338895" y="4176159"/>
                    <a:pt x="9344269" y="4173218"/>
                    <a:pt x="9349694" y="4169973"/>
                  </a:cubicBezTo>
                  <a:cubicBezTo>
                    <a:pt x="9355119" y="4166728"/>
                    <a:pt x="9360721" y="4163027"/>
                    <a:pt x="9366501" y="4158870"/>
                  </a:cubicBezTo>
                  <a:close/>
                  <a:moveTo>
                    <a:pt x="7520355" y="4158870"/>
                  </a:moveTo>
                  <a:lnTo>
                    <a:pt x="7535261" y="4158870"/>
                  </a:lnTo>
                  <a:lnTo>
                    <a:pt x="7535261" y="4381850"/>
                  </a:lnTo>
                  <a:lnTo>
                    <a:pt x="7499973" y="4381850"/>
                  </a:lnTo>
                  <a:lnTo>
                    <a:pt x="7499973" y="4202066"/>
                  </a:lnTo>
                  <a:cubicBezTo>
                    <a:pt x="7493585" y="4206629"/>
                    <a:pt x="7486716" y="4210508"/>
                    <a:pt x="7479364" y="4213702"/>
                  </a:cubicBezTo>
                  <a:cubicBezTo>
                    <a:pt x="7472012" y="4216896"/>
                    <a:pt x="7463622" y="4219710"/>
                    <a:pt x="7454191" y="4222144"/>
                  </a:cubicBezTo>
                  <a:lnTo>
                    <a:pt x="7454191" y="4192028"/>
                  </a:lnTo>
                  <a:cubicBezTo>
                    <a:pt x="7460072" y="4190101"/>
                    <a:pt x="7465751" y="4188073"/>
                    <a:pt x="7471226" y="4185944"/>
                  </a:cubicBezTo>
                  <a:cubicBezTo>
                    <a:pt x="7476702" y="4183815"/>
                    <a:pt x="7482102" y="4181431"/>
                    <a:pt x="7487425" y="4178795"/>
                  </a:cubicBezTo>
                  <a:cubicBezTo>
                    <a:pt x="7492749" y="4176159"/>
                    <a:pt x="7498123" y="4173218"/>
                    <a:pt x="7503548" y="4169973"/>
                  </a:cubicBezTo>
                  <a:cubicBezTo>
                    <a:pt x="7508973" y="4166728"/>
                    <a:pt x="7514575" y="4163027"/>
                    <a:pt x="7520355" y="4158870"/>
                  </a:cubicBezTo>
                  <a:close/>
                  <a:moveTo>
                    <a:pt x="4159688" y="4158870"/>
                  </a:moveTo>
                  <a:lnTo>
                    <a:pt x="4174594" y="4158870"/>
                  </a:lnTo>
                  <a:lnTo>
                    <a:pt x="4174594" y="4381850"/>
                  </a:lnTo>
                  <a:lnTo>
                    <a:pt x="4139306" y="4381850"/>
                  </a:lnTo>
                  <a:lnTo>
                    <a:pt x="4139306" y="4202067"/>
                  </a:lnTo>
                  <a:cubicBezTo>
                    <a:pt x="4132918" y="4206630"/>
                    <a:pt x="4126048" y="4210508"/>
                    <a:pt x="4118697" y="4213703"/>
                  </a:cubicBezTo>
                  <a:cubicBezTo>
                    <a:pt x="4111345" y="4216897"/>
                    <a:pt x="4102955" y="4219710"/>
                    <a:pt x="4093525" y="4222144"/>
                  </a:cubicBezTo>
                  <a:lnTo>
                    <a:pt x="4093525" y="4192028"/>
                  </a:lnTo>
                  <a:cubicBezTo>
                    <a:pt x="4099406" y="4190102"/>
                    <a:pt x="4105085" y="4188074"/>
                    <a:pt x="4110559" y="4185944"/>
                  </a:cubicBezTo>
                  <a:cubicBezTo>
                    <a:pt x="4116035" y="4183815"/>
                    <a:pt x="4121435" y="4181432"/>
                    <a:pt x="4126758" y="4178795"/>
                  </a:cubicBezTo>
                  <a:cubicBezTo>
                    <a:pt x="4132083" y="4176159"/>
                    <a:pt x="4137456" y="4173218"/>
                    <a:pt x="4142881" y="4169974"/>
                  </a:cubicBezTo>
                  <a:cubicBezTo>
                    <a:pt x="4148307" y="4166729"/>
                    <a:pt x="4153908" y="4163028"/>
                    <a:pt x="4159688" y="4158870"/>
                  </a:cubicBezTo>
                  <a:close/>
                  <a:moveTo>
                    <a:pt x="3287783" y="4158870"/>
                  </a:moveTo>
                  <a:lnTo>
                    <a:pt x="3302689" y="4158870"/>
                  </a:lnTo>
                  <a:lnTo>
                    <a:pt x="3302689" y="4381850"/>
                  </a:lnTo>
                  <a:lnTo>
                    <a:pt x="3267400" y="4381850"/>
                  </a:lnTo>
                  <a:lnTo>
                    <a:pt x="3267400" y="4202066"/>
                  </a:lnTo>
                  <a:cubicBezTo>
                    <a:pt x="3261013" y="4206629"/>
                    <a:pt x="3254142" y="4210508"/>
                    <a:pt x="3246791" y="4213702"/>
                  </a:cubicBezTo>
                  <a:cubicBezTo>
                    <a:pt x="3239440" y="4216896"/>
                    <a:pt x="3231049" y="4219710"/>
                    <a:pt x="3221618" y="4222144"/>
                  </a:cubicBezTo>
                  <a:lnTo>
                    <a:pt x="3221618" y="4192028"/>
                  </a:lnTo>
                  <a:cubicBezTo>
                    <a:pt x="3227499" y="4190101"/>
                    <a:pt x="3233178" y="4188073"/>
                    <a:pt x="3238653" y="4185944"/>
                  </a:cubicBezTo>
                  <a:cubicBezTo>
                    <a:pt x="3244129" y="4183815"/>
                    <a:pt x="3249529" y="4181431"/>
                    <a:pt x="3254853" y="4178795"/>
                  </a:cubicBezTo>
                  <a:cubicBezTo>
                    <a:pt x="3260176" y="4176159"/>
                    <a:pt x="3265551" y="4173218"/>
                    <a:pt x="3270976" y="4169973"/>
                  </a:cubicBezTo>
                  <a:cubicBezTo>
                    <a:pt x="3276401" y="4166728"/>
                    <a:pt x="3282003" y="4163027"/>
                    <a:pt x="3287783" y="4158870"/>
                  </a:cubicBezTo>
                  <a:close/>
                  <a:moveTo>
                    <a:pt x="1423455" y="4158870"/>
                  </a:moveTo>
                  <a:lnTo>
                    <a:pt x="1438362" y="4158870"/>
                  </a:lnTo>
                  <a:lnTo>
                    <a:pt x="1438362" y="4381850"/>
                  </a:lnTo>
                  <a:lnTo>
                    <a:pt x="1403074" y="4381850"/>
                  </a:lnTo>
                  <a:lnTo>
                    <a:pt x="1403074" y="4202066"/>
                  </a:lnTo>
                  <a:cubicBezTo>
                    <a:pt x="1396686" y="4206629"/>
                    <a:pt x="1389815" y="4210508"/>
                    <a:pt x="1382465" y="4213702"/>
                  </a:cubicBezTo>
                  <a:cubicBezTo>
                    <a:pt x="1375112" y="4216896"/>
                    <a:pt x="1366721" y="4219710"/>
                    <a:pt x="1357292" y="4222144"/>
                  </a:cubicBezTo>
                  <a:lnTo>
                    <a:pt x="1357292" y="4192028"/>
                  </a:lnTo>
                  <a:cubicBezTo>
                    <a:pt x="1363172" y="4190101"/>
                    <a:pt x="1368852" y="4188073"/>
                    <a:pt x="1374327" y="4185944"/>
                  </a:cubicBezTo>
                  <a:cubicBezTo>
                    <a:pt x="1379802" y="4183815"/>
                    <a:pt x="1385202" y="4181431"/>
                    <a:pt x="1390525" y="4178795"/>
                  </a:cubicBezTo>
                  <a:cubicBezTo>
                    <a:pt x="1395850" y="4176159"/>
                    <a:pt x="1401224" y="4173218"/>
                    <a:pt x="1406649" y="4169973"/>
                  </a:cubicBezTo>
                  <a:cubicBezTo>
                    <a:pt x="1412074" y="4166728"/>
                    <a:pt x="1417675" y="4163027"/>
                    <a:pt x="1423455" y="4158870"/>
                  </a:cubicBezTo>
                  <a:close/>
                  <a:moveTo>
                    <a:pt x="66164" y="4158870"/>
                  </a:moveTo>
                  <a:lnTo>
                    <a:pt x="81070" y="4158870"/>
                  </a:lnTo>
                  <a:lnTo>
                    <a:pt x="81070" y="4381850"/>
                  </a:lnTo>
                  <a:lnTo>
                    <a:pt x="45782" y="4381850"/>
                  </a:lnTo>
                  <a:lnTo>
                    <a:pt x="45782" y="4202067"/>
                  </a:lnTo>
                  <a:cubicBezTo>
                    <a:pt x="39394" y="4206630"/>
                    <a:pt x="32525" y="4210508"/>
                    <a:pt x="25173" y="4213703"/>
                  </a:cubicBezTo>
                  <a:cubicBezTo>
                    <a:pt x="17821" y="4216897"/>
                    <a:pt x="9431" y="4219710"/>
                    <a:pt x="0" y="4222144"/>
                  </a:cubicBezTo>
                  <a:lnTo>
                    <a:pt x="0" y="4192028"/>
                  </a:lnTo>
                  <a:cubicBezTo>
                    <a:pt x="5881" y="4190102"/>
                    <a:pt x="11560" y="4188074"/>
                    <a:pt x="17035" y="4185944"/>
                  </a:cubicBezTo>
                  <a:cubicBezTo>
                    <a:pt x="22511" y="4183815"/>
                    <a:pt x="27911" y="4181432"/>
                    <a:pt x="33234" y="4178795"/>
                  </a:cubicBezTo>
                  <a:cubicBezTo>
                    <a:pt x="38558" y="4176159"/>
                    <a:pt x="43932" y="4173218"/>
                    <a:pt x="49357" y="4169974"/>
                  </a:cubicBezTo>
                  <a:cubicBezTo>
                    <a:pt x="54782" y="4166729"/>
                    <a:pt x="60384" y="4163028"/>
                    <a:pt x="66164" y="4158870"/>
                  </a:cubicBezTo>
                  <a:close/>
                  <a:moveTo>
                    <a:pt x="10276410" y="3811399"/>
                  </a:moveTo>
                  <a:lnTo>
                    <a:pt x="10291316" y="3811399"/>
                  </a:lnTo>
                  <a:lnTo>
                    <a:pt x="10291316" y="4034379"/>
                  </a:lnTo>
                  <a:lnTo>
                    <a:pt x="10256028" y="4034379"/>
                  </a:lnTo>
                  <a:lnTo>
                    <a:pt x="10256028" y="3854595"/>
                  </a:lnTo>
                  <a:cubicBezTo>
                    <a:pt x="10249640" y="3859159"/>
                    <a:pt x="10242770" y="3863037"/>
                    <a:pt x="10235419" y="3866231"/>
                  </a:cubicBezTo>
                  <a:cubicBezTo>
                    <a:pt x="10228067" y="3869425"/>
                    <a:pt x="10219676" y="3872239"/>
                    <a:pt x="10210246" y="3874673"/>
                  </a:cubicBezTo>
                  <a:lnTo>
                    <a:pt x="10210246" y="3844557"/>
                  </a:lnTo>
                  <a:cubicBezTo>
                    <a:pt x="10216127" y="3842630"/>
                    <a:pt x="10221806" y="3840602"/>
                    <a:pt x="10227281" y="3838473"/>
                  </a:cubicBezTo>
                  <a:cubicBezTo>
                    <a:pt x="10232757" y="3836344"/>
                    <a:pt x="10238157" y="3833960"/>
                    <a:pt x="10243480" y="3831324"/>
                  </a:cubicBezTo>
                  <a:cubicBezTo>
                    <a:pt x="10248804" y="3828688"/>
                    <a:pt x="10254178" y="3825747"/>
                    <a:pt x="10259603" y="3822502"/>
                  </a:cubicBezTo>
                  <a:cubicBezTo>
                    <a:pt x="10265028" y="3819257"/>
                    <a:pt x="10270630" y="3815556"/>
                    <a:pt x="10276410" y="3811399"/>
                  </a:cubicBezTo>
                  <a:close/>
                  <a:moveTo>
                    <a:pt x="9366501" y="3811399"/>
                  </a:moveTo>
                  <a:lnTo>
                    <a:pt x="9381407" y="3811399"/>
                  </a:lnTo>
                  <a:lnTo>
                    <a:pt x="9381407" y="4034379"/>
                  </a:lnTo>
                  <a:lnTo>
                    <a:pt x="9346119" y="4034379"/>
                  </a:lnTo>
                  <a:lnTo>
                    <a:pt x="9346119" y="3854595"/>
                  </a:lnTo>
                  <a:cubicBezTo>
                    <a:pt x="9339731" y="3859159"/>
                    <a:pt x="9332861" y="3863037"/>
                    <a:pt x="9325510" y="3866231"/>
                  </a:cubicBezTo>
                  <a:cubicBezTo>
                    <a:pt x="9318158" y="3869425"/>
                    <a:pt x="9309767" y="3872239"/>
                    <a:pt x="9300337" y="3874673"/>
                  </a:cubicBezTo>
                  <a:lnTo>
                    <a:pt x="9300337" y="3844557"/>
                  </a:lnTo>
                  <a:cubicBezTo>
                    <a:pt x="9306218" y="3842630"/>
                    <a:pt x="9311897" y="3840602"/>
                    <a:pt x="9317372" y="3838473"/>
                  </a:cubicBezTo>
                  <a:cubicBezTo>
                    <a:pt x="9322848" y="3836344"/>
                    <a:pt x="9328248" y="3833960"/>
                    <a:pt x="9333571" y="3831324"/>
                  </a:cubicBezTo>
                  <a:cubicBezTo>
                    <a:pt x="9338895" y="3828688"/>
                    <a:pt x="9344269" y="3825747"/>
                    <a:pt x="9349694" y="3822502"/>
                  </a:cubicBezTo>
                  <a:cubicBezTo>
                    <a:pt x="9355119" y="3819257"/>
                    <a:pt x="9360721" y="3815556"/>
                    <a:pt x="9366501" y="3811399"/>
                  </a:cubicBezTo>
                  <a:close/>
                  <a:moveTo>
                    <a:pt x="7520355" y="3811399"/>
                  </a:moveTo>
                  <a:lnTo>
                    <a:pt x="7535261" y="3811399"/>
                  </a:lnTo>
                  <a:lnTo>
                    <a:pt x="7535261" y="4034379"/>
                  </a:lnTo>
                  <a:lnTo>
                    <a:pt x="7499973" y="4034379"/>
                  </a:lnTo>
                  <a:lnTo>
                    <a:pt x="7499973" y="3854595"/>
                  </a:lnTo>
                  <a:cubicBezTo>
                    <a:pt x="7493585" y="3859159"/>
                    <a:pt x="7486716" y="3863037"/>
                    <a:pt x="7479364" y="3866231"/>
                  </a:cubicBezTo>
                  <a:cubicBezTo>
                    <a:pt x="7472012" y="3869425"/>
                    <a:pt x="7463622" y="3872239"/>
                    <a:pt x="7454191" y="3874673"/>
                  </a:cubicBezTo>
                  <a:lnTo>
                    <a:pt x="7454191" y="3844557"/>
                  </a:lnTo>
                  <a:cubicBezTo>
                    <a:pt x="7460072" y="3842630"/>
                    <a:pt x="7465751" y="3840602"/>
                    <a:pt x="7471226" y="3838473"/>
                  </a:cubicBezTo>
                  <a:cubicBezTo>
                    <a:pt x="7476702" y="3836344"/>
                    <a:pt x="7482102" y="3833960"/>
                    <a:pt x="7487425" y="3831324"/>
                  </a:cubicBezTo>
                  <a:cubicBezTo>
                    <a:pt x="7492749" y="3828688"/>
                    <a:pt x="7498123" y="3825747"/>
                    <a:pt x="7503548" y="3822502"/>
                  </a:cubicBezTo>
                  <a:cubicBezTo>
                    <a:pt x="7508973" y="3819257"/>
                    <a:pt x="7514575" y="3815556"/>
                    <a:pt x="7520355" y="3811399"/>
                  </a:cubicBezTo>
                  <a:close/>
                  <a:moveTo>
                    <a:pt x="4159688" y="3811399"/>
                  </a:moveTo>
                  <a:lnTo>
                    <a:pt x="4174594" y="3811399"/>
                  </a:lnTo>
                  <a:lnTo>
                    <a:pt x="4174594" y="4034379"/>
                  </a:lnTo>
                  <a:lnTo>
                    <a:pt x="4139306" y="4034379"/>
                  </a:lnTo>
                  <a:lnTo>
                    <a:pt x="4139306" y="3854595"/>
                  </a:lnTo>
                  <a:cubicBezTo>
                    <a:pt x="4132918" y="3859159"/>
                    <a:pt x="4126048" y="3863037"/>
                    <a:pt x="4118697" y="3866231"/>
                  </a:cubicBezTo>
                  <a:cubicBezTo>
                    <a:pt x="4111345" y="3869425"/>
                    <a:pt x="4102955" y="3872239"/>
                    <a:pt x="4093525" y="3874673"/>
                  </a:cubicBezTo>
                  <a:lnTo>
                    <a:pt x="4093525" y="3844557"/>
                  </a:lnTo>
                  <a:cubicBezTo>
                    <a:pt x="4099406" y="3842630"/>
                    <a:pt x="4105085" y="3840602"/>
                    <a:pt x="4110559" y="3838473"/>
                  </a:cubicBezTo>
                  <a:cubicBezTo>
                    <a:pt x="4116035" y="3836344"/>
                    <a:pt x="4121435" y="3833960"/>
                    <a:pt x="4126758" y="3831324"/>
                  </a:cubicBezTo>
                  <a:cubicBezTo>
                    <a:pt x="4132083" y="3828688"/>
                    <a:pt x="4137456" y="3825747"/>
                    <a:pt x="4142881" y="3822502"/>
                  </a:cubicBezTo>
                  <a:cubicBezTo>
                    <a:pt x="4148307" y="3819257"/>
                    <a:pt x="4153908" y="3815556"/>
                    <a:pt x="4159688" y="3811399"/>
                  </a:cubicBezTo>
                  <a:close/>
                  <a:moveTo>
                    <a:pt x="3287783" y="3811399"/>
                  </a:moveTo>
                  <a:lnTo>
                    <a:pt x="3302689" y="3811399"/>
                  </a:lnTo>
                  <a:lnTo>
                    <a:pt x="3302689" y="4034379"/>
                  </a:lnTo>
                  <a:lnTo>
                    <a:pt x="3267400" y="4034379"/>
                  </a:lnTo>
                  <a:lnTo>
                    <a:pt x="3267400" y="3854595"/>
                  </a:lnTo>
                  <a:cubicBezTo>
                    <a:pt x="3261013" y="3859159"/>
                    <a:pt x="3254142" y="3863037"/>
                    <a:pt x="3246791" y="3866231"/>
                  </a:cubicBezTo>
                  <a:cubicBezTo>
                    <a:pt x="3239440" y="3869425"/>
                    <a:pt x="3231049" y="3872239"/>
                    <a:pt x="3221618" y="3874673"/>
                  </a:cubicBezTo>
                  <a:lnTo>
                    <a:pt x="3221618" y="3844557"/>
                  </a:lnTo>
                  <a:cubicBezTo>
                    <a:pt x="3227499" y="3842630"/>
                    <a:pt x="3233178" y="3840602"/>
                    <a:pt x="3238653" y="3838473"/>
                  </a:cubicBezTo>
                  <a:cubicBezTo>
                    <a:pt x="3244129" y="3836344"/>
                    <a:pt x="3249529" y="3833960"/>
                    <a:pt x="3254853" y="3831324"/>
                  </a:cubicBezTo>
                  <a:cubicBezTo>
                    <a:pt x="3260176" y="3828688"/>
                    <a:pt x="3265551" y="3825747"/>
                    <a:pt x="3270976" y="3822502"/>
                  </a:cubicBezTo>
                  <a:cubicBezTo>
                    <a:pt x="3276401" y="3819257"/>
                    <a:pt x="3282003" y="3815556"/>
                    <a:pt x="3287783" y="3811399"/>
                  </a:cubicBezTo>
                  <a:close/>
                  <a:moveTo>
                    <a:pt x="1423455" y="3811399"/>
                  </a:moveTo>
                  <a:lnTo>
                    <a:pt x="1438362" y="3811399"/>
                  </a:lnTo>
                  <a:lnTo>
                    <a:pt x="1438362" y="4034379"/>
                  </a:lnTo>
                  <a:lnTo>
                    <a:pt x="1403074" y="4034379"/>
                  </a:lnTo>
                  <a:lnTo>
                    <a:pt x="1403074" y="3854595"/>
                  </a:lnTo>
                  <a:cubicBezTo>
                    <a:pt x="1396686" y="3859159"/>
                    <a:pt x="1389815" y="3863037"/>
                    <a:pt x="1382465" y="3866231"/>
                  </a:cubicBezTo>
                  <a:cubicBezTo>
                    <a:pt x="1375112" y="3869425"/>
                    <a:pt x="1366721" y="3872239"/>
                    <a:pt x="1357292" y="3874673"/>
                  </a:cubicBezTo>
                  <a:lnTo>
                    <a:pt x="1357292" y="3844557"/>
                  </a:lnTo>
                  <a:cubicBezTo>
                    <a:pt x="1363172" y="3842630"/>
                    <a:pt x="1368852" y="3840602"/>
                    <a:pt x="1374327" y="3838473"/>
                  </a:cubicBezTo>
                  <a:cubicBezTo>
                    <a:pt x="1379802" y="3836344"/>
                    <a:pt x="1385202" y="3833960"/>
                    <a:pt x="1390525" y="3831324"/>
                  </a:cubicBezTo>
                  <a:cubicBezTo>
                    <a:pt x="1395850" y="3828688"/>
                    <a:pt x="1401224" y="3825747"/>
                    <a:pt x="1406649" y="3822502"/>
                  </a:cubicBezTo>
                  <a:cubicBezTo>
                    <a:pt x="1412074" y="3819257"/>
                    <a:pt x="1417675" y="3815556"/>
                    <a:pt x="1423455" y="3811399"/>
                  </a:cubicBezTo>
                  <a:close/>
                  <a:moveTo>
                    <a:pt x="66164" y="3811399"/>
                  </a:moveTo>
                  <a:lnTo>
                    <a:pt x="81070" y="3811399"/>
                  </a:lnTo>
                  <a:lnTo>
                    <a:pt x="81070" y="4034379"/>
                  </a:lnTo>
                  <a:lnTo>
                    <a:pt x="45782" y="4034379"/>
                  </a:lnTo>
                  <a:lnTo>
                    <a:pt x="45782" y="3854596"/>
                  </a:lnTo>
                  <a:cubicBezTo>
                    <a:pt x="39395" y="3859159"/>
                    <a:pt x="32525" y="3863037"/>
                    <a:pt x="25173" y="3866231"/>
                  </a:cubicBezTo>
                  <a:cubicBezTo>
                    <a:pt x="17821" y="3869426"/>
                    <a:pt x="9431" y="3872239"/>
                    <a:pt x="0" y="3874673"/>
                  </a:cubicBezTo>
                  <a:lnTo>
                    <a:pt x="0" y="3844557"/>
                  </a:lnTo>
                  <a:cubicBezTo>
                    <a:pt x="5881" y="3842631"/>
                    <a:pt x="11560" y="3840603"/>
                    <a:pt x="17035" y="3838473"/>
                  </a:cubicBezTo>
                  <a:cubicBezTo>
                    <a:pt x="22511" y="3836344"/>
                    <a:pt x="27911" y="3833961"/>
                    <a:pt x="33234" y="3831324"/>
                  </a:cubicBezTo>
                  <a:cubicBezTo>
                    <a:pt x="38558" y="3828688"/>
                    <a:pt x="43932" y="3825747"/>
                    <a:pt x="49357" y="3822503"/>
                  </a:cubicBezTo>
                  <a:cubicBezTo>
                    <a:pt x="54782" y="3819258"/>
                    <a:pt x="60384" y="3815557"/>
                    <a:pt x="66164" y="3811399"/>
                  </a:cubicBezTo>
                  <a:close/>
                  <a:moveTo>
                    <a:pt x="10276410" y="3487025"/>
                  </a:moveTo>
                  <a:lnTo>
                    <a:pt x="10291316" y="3487025"/>
                  </a:lnTo>
                  <a:lnTo>
                    <a:pt x="10291316" y="3710005"/>
                  </a:lnTo>
                  <a:lnTo>
                    <a:pt x="10256028" y="3710005"/>
                  </a:lnTo>
                  <a:lnTo>
                    <a:pt x="10256028" y="3530221"/>
                  </a:lnTo>
                  <a:cubicBezTo>
                    <a:pt x="10249640" y="3534785"/>
                    <a:pt x="10242770" y="3538663"/>
                    <a:pt x="10235419" y="3541857"/>
                  </a:cubicBezTo>
                  <a:cubicBezTo>
                    <a:pt x="10228067" y="3545051"/>
                    <a:pt x="10219676" y="3547865"/>
                    <a:pt x="10210246" y="3550299"/>
                  </a:cubicBezTo>
                  <a:lnTo>
                    <a:pt x="10210246" y="3520183"/>
                  </a:lnTo>
                  <a:cubicBezTo>
                    <a:pt x="10216127" y="3518256"/>
                    <a:pt x="10221806" y="3516228"/>
                    <a:pt x="10227281" y="3514099"/>
                  </a:cubicBezTo>
                  <a:cubicBezTo>
                    <a:pt x="10232757" y="3511970"/>
                    <a:pt x="10238157" y="3509586"/>
                    <a:pt x="10243480" y="3506950"/>
                  </a:cubicBezTo>
                  <a:cubicBezTo>
                    <a:pt x="10248804" y="3504314"/>
                    <a:pt x="10254178" y="3501373"/>
                    <a:pt x="10259603" y="3498128"/>
                  </a:cubicBezTo>
                  <a:cubicBezTo>
                    <a:pt x="10265028" y="3494883"/>
                    <a:pt x="10270630" y="3491182"/>
                    <a:pt x="10276410" y="3487025"/>
                  </a:cubicBezTo>
                  <a:close/>
                  <a:moveTo>
                    <a:pt x="9366501" y="3487025"/>
                  </a:moveTo>
                  <a:lnTo>
                    <a:pt x="9381407" y="3487025"/>
                  </a:lnTo>
                  <a:lnTo>
                    <a:pt x="9381407" y="3710005"/>
                  </a:lnTo>
                  <a:lnTo>
                    <a:pt x="9346119" y="3710005"/>
                  </a:lnTo>
                  <a:lnTo>
                    <a:pt x="9346119" y="3530221"/>
                  </a:lnTo>
                  <a:cubicBezTo>
                    <a:pt x="9339731" y="3534785"/>
                    <a:pt x="9332861" y="3538663"/>
                    <a:pt x="9325510" y="3541857"/>
                  </a:cubicBezTo>
                  <a:cubicBezTo>
                    <a:pt x="9318158" y="3545051"/>
                    <a:pt x="9309767" y="3547865"/>
                    <a:pt x="9300337" y="3550299"/>
                  </a:cubicBezTo>
                  <a:lnTo>
                    <a:pt x="9300337" y="3520183"/>
                  </a:lnTo>
                  <a:cubicBezTo>
                    <a:pt x="9306218" y="3518256"/>
                    <a:pt x="9311897" y="3516228"/>
                    <a:pt x="9317372" y="3514099"/>
                  </a:cubicBezTo>
                  <a:cubicBezTo>
                    <a:pt x="9322848" y="3511970"/>
                    <a:pt x="9328248" y="3509586"/>
                    <a:pt x="9333571" y="3506950"/>
                  </a:cubicBezTo>
                  <a:cubicBezTo>
                    <a:pt x="9338895" y="3504314"/>
                    <a:pt x="9344269" y="3501373"/>
                    <a:pt x="9349694" y="3498128"/>
                  </a:cubicBezTo>
                  <a:cubicBezTo>
                    <a:pt x="9355119" y="3494883"/>
                    <a:pt x="9360721" y="3491182"/>
                    <a:pt x="9366501" y="3487025"/>
                  </a:cubicBezTo>
                  <a:close/>
                  <a:moveTo>
                    <a:pt x="7520355" y="3487025"/>
                  </a:moveTo>
                  <a:lnTo>
                    <a:pt x="7535261" y="3487025"/>
                  </a:lnTo>
                  <a:lnTo>
                    <a:pt x="7535261" y="3710005"/>
                  </a:lnTo>
                  <a:lnTo>
                    <a:pt x="7499973" y="3710005"/>
                  </a:lnTo>
                  <a:lnTo>
                    <a:pt x="7499973" y="3530221"/>
                  </a:lnTo>
                  <a:cubicBezTo>
                    <a:pt x="7493585" y="3534785"/>
                    <a:pt x="7486716" y="3538663"/>
                    <a:pt x="7479364" y="3541857"/>
                  </a:cubicBezTo>
                  <a:cubicBezTo>
                    <a:pt x="7472012" y="3545051"/>
                    <a:pt x="7463622" y="3547865"/>
                    <a:pt x="7454191" y="3550299"/>
                  </a:cubicBezTo>
                  <a:lnTo>
                    <a:pt x="7454191" y="3520183"/>
                  </a:lnTo>
                  <a:cubicBezTo>
                    <a:pt x="7460072" y="3518256"/>
                    <a:pt x="7465751" y="3516228"/>
                    <a:pt x="7471226" y="3514099"/>
                  </a:cubicBezTo>
                  <a:cubicBezTo>
                    <a:pt x="7476702" y="3511970"/>
                    <a:pt x="7482102" y="3509586"/>
                    <a:pt x="7487425" y="3506950"/>
                  </a:cubicBezTo>
                  <a:cubicBezTo>
                    <a:pt x="7492749" y="3504314"/>
                    <a:pt x="7498123" y="3501373"/>
                    <a:pt x="7503548" y="3498128"/>
                  </a:cubicBezTo>
                  <a:cubicBezTo>
                    <a:pt x="7508973" y="3494883"/>
                    <a:pt x="7514575" y="3491182"/>
                    <a:pt x="7520355" y="3487025"/>
                  </a:cubicBezTo>
                  <a:close/>
                  <a:moveTo>
                    <a:pt x="4159688" y="3487025"/>
                  </a:moveTo>
                  <a:lnTo>
                    <a:pt x="4174594" y="3487025"/>
                  </a:lnTo>
                  <a:lnTo>
                    <a:pt x="4174594" y="3710005"/>
                  </a:lnTo>
                  <a:lnTo>
                    <a:pt x="4139306" y="3710005"/>
                  </a:lnTo>
                  <a:lnTo>
                    <a:pt x="4139306" y="3530221"/>
                  </a:lnTo>
                  <a:cubicBezTo>
                    <a:pt x="4132918" y="3534785"/>
                    <a:pt x="4126048" y="3538663"/>
                    <a:pt x="4118697" y="3541857"/>
                  </a:cubicBezTo>
                  <a:cubicBezTo>
                    <a:pt x="4111345" y="3545051"/>
                    <a:pt x="4102955" y="3547865"/>
                    <a:pt x="4093525" y="3550299"/>
                  </a:cubicBezTo>
                  <a:lnTo>
                    <a:pt x="4093525" y="3520183"/>
                  </a:lnTo>
                  <a:cubicBezTo>
                    <a:pt x="4099406" y="3518256"/>
                    <a:pt x="4105085" y="3516228"/>
                    <a:pt x="4110559" y="3514099"/>
                  </a:cubicBezTo>
                  <a:cubicBezTo>
                    <a:pt x="4116035" y="3511970"/>
                    <a:pt x="4121435" y="3509586"/>
                    <a:pt x="4126758" y="3506950"/>
                  </a:cubicBezTo>
                  <a:cubicBezTo>
                    <a:pt x="4132083" y="3504314"/>
                    <a:pt x="4137456" y="3501373"/>
                    <a:pt x="4142881" y="3498128"/>
                  </a:cubicBezTo>
                  <a:cubicBezTo>
                    <a:pt x="4148307" y="3494883"/>
                    <a:pt x="4153908" y="3491182"/>
                    <a:pt x="4159688" y="3487025"/>
                  </a:cubicBezTo>
                  <a:close/>
                  <a:moveTo>
                    <a:pt x="3287783" y="3487025"/>
                  </a:moveTo>
                  <a:lnTo>
                    <a:pt x="3302689" y="3487025"/>
                  </a:lnTo>
                  <a:lnTo>
                    <a:pt x="3302689" y="3710005"/>
                  </a:lnTo>
                  <a:lnTo>
                    <a:pt x="3267400" y="3710005"/>
                  </a:lnTo>
                  <a:lnTo>
                    <a:pt x="3267400" y="3530221"/>
                  </a:lnTo>
                  <a:cubicBezTo>
                    <a:pt x="3261013" y="3534785"/>
                    <a:pt x="3254142" y="3538663"/>
                    <a:pt x="3246791" y="3541857"/>
                  </a:cubicBezTo>
                  <a:cubicBezTo>
                    <a:pt x="3239440" y="3545051"/>
                    <a:pt x="3231049" y="3547865"/>
                    <a:pt x="3221618" y="3550299"/>
                  </a:cubicBezTo>
                  <a:lnTo>
                    <a:pt x="3221618" y="3520183"/>
                  </a:lnTo>
                  <a:cubicBezTo>
                    <a:pt x="3227499" y="3518256"/>
                    <a:pt x="3233178" y="3516228"/>
                    <a:pt x="3238653" y="3514099"/>
                  </a:cubicBezTo>
                  <a:cubicBezTo>
                    <a:pt x="3244129" y="3511970"/>
                    <a:pt x="3249529" y="3509586"/>
                    <a:pt x="3254853" y="3506950"/>
                  </a:cubicBezTo>
                  <a:cubicBezTo>
                    <a:pt x="3260176" y="3504314"/>
                    <a:pt x="3265551" y="3501373"/>
                    <a:pt x="3270976" y="3498128"/>
                  </a:cubicBezTo>
                  <a:cubicBezTo>
                    <a:pt x="3276401" y="3494883"/>
                    <a:pt x="3282003" y="3491182"/>
                    <a:pt x="3287783" y="3487025"/>
                  </a:cubicBezTo>
                  <a:close/>
                  <a:moveTo>
                    <a:pt x="1423455" y="3487025"/>
                  </a:moveTo>
                  <a:lnTo>
                    <a:pt x="1438362" y="3487025"/>
                  </a:lnTo>
                  <a:lnTo>
                    <a:pt x="1438362" y="3710005"/>
                  </a:lnTo>
                  <a:lnTo>
                    <a:pt x="1403074" y="3710005"/>
                  </a:lnTo>
                  <a:lnTo>
                    <a:pt x="1403074" y="3530221"/>
                  </a:lnTo>
                  <a:cubicBezTo>
                    <a:pt x="1396686" y="3534785"/>
                    <a:pt x="1389815" y="3538663"/>
                    <a:pt x="1382465" y="3541857"/>
                  </a:cubicBezTo>
                  <a:cubicBezTo>
                    <a:pt x="1375112" y="3545051"/>
                    <a:pt x="1366721" y="3547865"/>
                    <a:pt x="1357292" y="3550299"/>
                  </a:cubicBezTo>
                  <a:lnTo>
                    <a:pt x="1357292" y="3520183"/>
                  </a:lnTo>
                  <a:cubicBezTo>
                    <a:pt x="1363172" y="3518256"/>
                    <a:pt x="1368852" y="3516228"/>
                    <a:pt x="1374327" y="3514099"/>
                  </a:cubicBezTo>
                  <a:cubicBezTo>
                    <a:pt x="1379802" y="3511970"/>
                    <a:pt x="1385202" y="3509586"/>
                    <a:pt x="1390525" y="3506950"/>
                  </a:cubicBezTo>
                  <a:cubicBezTo>
                    <a:pt x="1395850" y="3504314"/>
                    <a:pt x="1401224" y="3501373"/>
                    <a:pt x="1406649" y="3498128"/>
                  </a:cubicBezTo>
                  <a:cubicBezTo>
                    <a:pt x="1412074" y="3494883"/>
                    <a:pt x="1417675" y="3491182"/>
                    <a:pt x="1423455" y="3487025"/>
                  </a:cubicBezTo>
                  <a:close/>
                  <a:moveTo>
                    <a:pt x="66164" y="3487025"/>
                  </a:moveTo>
                  <a:lnTo>
                    <a:pt x="81070" y="3487025"/>
                  </a:lnTo>
                  <a:lnTo>
                    <a:pt x="81070" y="3710005"/>
                  </a:lnTo>
                  <a:lnTo>
                    <a:pt x="45783" y="3710005"/>
                  </a:lnTo>
                  <a:lnTo>
                    <a:pt x="45783" y="3530222"/>
                  </a:lnTo>
                  <a:cubicBezTo>
                    <a:pt x="39395" y="3534785"/>
                    <a:pt x="32525" y="3538663"/>
                    <a:pt x="25173" y="3541857"/>
                  </a:cubicBezTo>
                  <a:cubicBezTo>
                    <a:pt x="17821" y="3545052"/>
                    <a:pt x="9431" y="3547865"/>
                    <a:pt x="0" y="3550299"/>
                  </a:cubicBezTo>
                  <a:lnTo>
                    <a:pt x="0" y="3520183"/>
                  </a:lnTo>
                  <a:cubicBezTo>
                    <a:pt x="5882" y="3518257"/>
                    <a:pt x="11560" y="3516229"/>
                    <a:pt x="17035" y="3514099"/>
                  </a:cubicBezTo>
                  <a:cubicBezTo>
                    <a:pt x="22511" y="3511970"/>
                    <a:pt x="27911" y="3509587"/>
                    <a:pt x="33235" y="3506950"/>
                  </a:cubicBezTo>
                  <a:cubicBezTo>
                    <a:pt x="38558" y="3504314"/>
                    <a:pt x="43932" y="3501373"/>
                    <a:pt x="49357" y="3498129"/>
                  </a:cubicBezTo>
                  <a:cubicBezTo>
                    <a:pt x="54782" y="3494884"/>
                    <a:pt x="60384" y="3491183"/>
                    <a:pt x="66164" y="3487025"/>
                  </a:cubicBezTo>
                  <a:close/>
                  <a:moveTo>
                    <a:pt x="10253447" y="3110161"/>
                  </a:moveTo>
                  <a:lnTo>
                    <a:pt x="10268353" y="3110161"/>
                  </a:lnTo>
                  <a:lnTo>
                    <a:pt x="10268353" y="3333141"/>
                  </a:lnTo>
                  <a:lnTo>
                    <a:pt x="10233065" y="3333141"/>
                  </a:lnTo>
                  <a:lnTo>
                    <a:pt x="10233065" y="3153358"/>
                  </a:lnTo>
                  <a:cubicBezTo>
                    <a:pt x="10226677" y="3157921"/>
                    <a:pt x="10219807" y="3161799"/>
                    <a:pt x="10212456" y="3164993"/>
                  </a:cubicBezTo>
                  <a:cubicBezTo>
                    <a:pt x="10205104" y="3168188"/>
                    <a:pt x="10196713" y="3171001"/>
                    <a:pt x="10187283" y="3173435"/>
                  </a:cubicBezTo>
                  <a:lnTo>
                    <a:pt x="10187283" y="3143319"/>
                  </a:lnTo>
                  <a:cubicBezTo>
                    <a:pt x="10193164" y="3141393"/>
                    <a:pt x="10198843" y="3139365"/>
                    <a:pt x="10204318" y="3137235"/>
                  </a:cubicBezTo>
                  <a:cubicBezTo>
                    <a:pt x="10209794" y="3135106"/>
                    <a:pt x="10215194" y="3132723"/>
                    <a:pt x="10220517" y="3130086"/>
                  </a:cubicBezTo>
                  <a:cubicBezTo>
                    <a:pt x="10225841" y="3127450"/>
                    <a:pt x="10231215" y="3124509"/>
                    <a:pt x="10236640" y="3121265"/>
                  </a:cubicBezTo>
                  <a:cubicBezTo>
                    <a:pt x="10242065" y="3118020"/>
                    <a:pt x="10247667" y="3114319"/>
                    <a:pt x="10253447" y="3110161"/>
                  </a:cubicBezTo>
                  <a:close/>
                  <a:moveTo>
                    <a:pt x="9361419" y="3110161"/>
                  </a:moveTo>
                  <a:lnTo>
                    <a:pt x="9376325" y="3110161"/>
                  </a:lnTo>
                  <a:lnTo>
                    <a:pt x="9376325" y="3333141"/>
                  </a:lnTo>
                  <a:lnTo>
                    <a:pt x="9341037" y="3333141"/>
                  </a:lnTo>
                  <a:lnTo>
                    <a:pt x="9341037" y="3153358"/>
                  </a:lnTo>
                  <a:cubicBezTo>
                    <a:pt x="9334649" y="3157921"/>
                    <a:pt x="9327779" y="3161799"/>
                    <a:pt x="9320428" y="3164993"/>
                  </a:cubicBezTo>
                  <a:cubicBezTo>
                    <a:pt x="9313076" y="3168188"/>
                    <a:pt x="9304685" y="3171001"/>
                    <a:pt x="9295255" y="3173435"/>
                  </a:cubicBezTo>
                  <a:lnTo>
                    <a:pt x="9295255" y="3143319"/>
                  </a:lnTo>
                  <a:cubicBezTo>
                    <a:pt x="9301136" y="3141393"/>
                    <a:pt x="9306815" y="3139365"/>
                    <a:pt x="9312290" y="3137235"/>
                  </a:cubicBezTo>
                  <a:cubicBezTo>
                    <a:pt x="9317766" y="3135106"/>
                    <a:pt x="9323166" y="3132723"/>
                    <a:pt x="9328489" y="3130086"/>
                  </a:cubicBezTo>
                  <a:cubicBezTo>
                    <a:pt x="9333813" y="3127450"/>
                    <a:pt x="9339187" y="3124509"/>
                    <a:pt x="9344612" y="3121265"/>
                  </a:cubicBezTo>
                  <a:cubicBezTo>
                    <a:pt x="9350037" y="3118020"/>
                    <a:pt x="9355639" y="3114319"/>
                    <a:pt x="9361419" y="3110161"/>
                  </a:cubicBezTo>
                  <a:close/>
                  <a:moveTo>
                    <a:pt x="7495249" y="3110161"/>
                  </a:moveTo>
                  <a:lnTo>
                    <a:pt x="7510155" y="3110161"/>
                  </a:lnTo>
                  <a:lnTo>
                    <a:pt x="7510155" y="3333141"/>
                  </a:lnTo>
                  <a:lnTo>
                    <a:pt x="7474867" y="3333141"/>
                  </a:lnTo>
                  <a:lnTo>
                    <a:pt x="7474867" y="3153358"/>
                  </a:lnTo>
                  <a:cubicBezTo>
                    <a:pt x="7468479" y="3157921"/>
                    <a:pt x="7461610" y="3161799"/>
                    <a:pt x="7454258" y="3164993"/>
                  </a:cubicBezTo>
                  <a:cubicBezTo>
                    <a:pt x="7446906" y="3168188"/>
                    <a:pt x="7438516" y="3171001"/>
                    <a:pt x="7429085" y="3173435"/>
                  </a:cubicBezTo>
                  <a:lnTo>
                    <a:pt x="7429085" y="3143319"/>
                  </a:lnTo>
                  <a:cubicBezTo>
                    <a:pt x="7434966" y="3141393"/>
                    <a:pt x="7440645" y="3139365"/>
                    <a:pt x="7446120" y="3137235"/>
                  </a:cubicBezTo>
                  <a:cubicBezTo>
                    <a:pt x="7451596" y="3135106"/>
                    <a:pt x="7456996" y="3132723"/>
                    <a:pt x="7462319" y="3130086"/>
                  </a:cubicBezTo>
                  <a:cubicBezTo>
                    <a:pt x="7467643" y="3127450"/>
                    <a:pt x="7473017" y="3124509"/>
                    <a:pt x="7478442" y="3121265"/>
                  </a:cubicBezTo>
                  <a:cubicBezTo>
                    <a:pt x="7483867" y="3118020"/>
                    <a:pt x="7489469" y="3114319"/>
                    <a:pt x="7495249" y="3110161"/>
                  </a:cubicBezTo>
                  <a:close/>
                  <a:moveTo>
                    <a:pt x="4199831" y="3110161"/>
                  </a:moveTo>
                  <a:lnTo>
                    <a:pt x="4214738" y="3110161"/>
                  </a:lnTo>
                  <a:lnTo>
                    <a:pt x="4214738" y="3333141"/>
                  </a:lnTo>
                  <a:lnTo>
                    <a:pt x="4179450" y="3333141"/>
                  </a:lnTo>
                  <a:lnTo>
                    <a:pt x="4179450" y="3153358"/>
                  </a:lnTo>
                  <a:cubicBezTo>
                    <a:pt x="4173062" y="3157921"/>
                    <a:pt x="4166192" y="3161799"/>
                    <a:pt x="4158840" y="3164993"/>
                  </a:cubicBezTo>
                  <a:cubicBezTo>
                    <a:pt x="4151489" y="3168188"/>
                    <a:pt x="4143098" y="3171001"/>
                    <a:pt x="4133668" y="3173435"/>
                  </a:cubicBezTo>
                  <a:lnTo>
                    <a:pt x="4133668" y="3143319"/>
                  </a:lnTo>
                  <a:cubicBezTo>
                    <a:pt x="4139550" y="3141393"/>
                    <a:pt x="4145227" y="3139365"/>
                    <a:pt x="4150703" y="3137235"/>
                  </a:cubicBezTo>
                  <a:cubicBezTo>
                    <a:pt x="4156179" y="3135106"/>
                    <a:pt x="4161578" y="3132723"/>
                    <a:pt x="4166902" y="3130086"/>
                  </a:cubicBezTo>
                  <a:cubicBezTo>
                    <a:pt x="4172225" y="3127450"/>
                    <a:pt x="4177600" y="3124509"/>
                    <a:pt x="4183024" y="3121265"/>
                  </a:cubicBezTo>
                  <a:cubicBezTo>
                    <a:pt x="4188450" y="3118020"/>
                    <a:pt x="4194052" y="3114319"/>
                    <a:pt x="4199831" y="3110161"/>
                  </a:cubicBezTo>
                  <a:close/>
                  <a:moveTo>
                    <a:pt x="3304505" y="3110161"/>
                  </a:moveTo>
                  <a:lnTo>
                    <a:pt x="3319411" y="3110161"/>
                  </a:lnTo>
                  <a:lnTo>
                    <a:pt x="3319411" y="3333141"/>
                  </a:lnTo>
                  <a:lnTo>
                    <a:pt x="3284123" y="3333141"/>
                  </a:lnTo>
                  <a:lnTo>
                    <a:pt x="3284123" y="3153358"/>
                  </a:lnTo>
                  <a:cubicBezTo>
                    <a:pt x="3277736" y="3157921"/>
                    <a:pt x="3270866" y="3161799"/>
                    <a:pt x="3263514" y="3164993"/>
                  </a:cubicBezTo>
                  <a:cubicBezTo>
                    <a:pt x="3256163" y="3168188"/>
                    <a:pt x="3247772" y="3171001"/>
                    <a:pt x="3238342" y="3173435"/>
                  </a:cubicBezTo>
                  <a:lnTo>
                    <a:pt x="3238342" y="3143319"/>
                  </a:lnTo>
                  <a:cubicBezTo>
                    <a:pt x="3244223" y="3141393"/>
                    <a:pt x="3249901" y="3139365"/>
                    <a:pt x="3255376" y="3137235"/>
                  </a:cubicBezTo>
                  <a:cubicBezTo>
                    <a:pt x="3260853" y="3135106"/>
                    <a:pt x="3266253" y="3132723"/>
                    <a:pt x="3271575" y="3130086"/>
                  </a:cubicBezTo>
                  <a:cubicBezTo>
                    <a:pt x="3276900" y="3127450"/>
                    <a:pt x="3282273" y="3124509"/>
                    <a:pt x="3287699" y="3121265"/>
                  </a:cubicBezTo>
                  <a:cubicBezTo>
                    <a:pt x="3293124" y="3118020"/>
                    <a:pt x="3298725" y="3114319"/>
                    <a:pt x="3304505" y="3110161"/>
                  </a:cubicBezTo>
                  <a:close/>
                  <a:moveTo>
                    <a:pt x="1423456" y="3110161"/>
                  </a:moveTo>
                  <a:lnTo>
                    <a:pt x="1438361" y="3110161"/>
                  </a:lnTo>
                  <a:lnTo>
                    <a:pt x="1438361" y="3333141"/>
                  </a:lnTo>
                  <a:lnTo>
                    <a:pt x="1403074" y="3333141"/>
                  </a:lnTo>
                  <a:lnTo>
                    <a:pt x="1403074" y="3153358"/>
                  </a:lnTo>
                  <a:cubicBezTo>
                    <a:pt x="1396685" y="3157921"/>
                    <a:pt x="1389816" y="3161799"/>
                    <a:pt x="1382464" y="3164993"/>
                  </a:cubicBezTo>
                  <a:cubicBezTo>
                    <a:pt x="1375112" y="3168188"/>
                    <a:pt x="1366721" y="3171001"/>
                    <a:pt x="1357291" y="3173435"/>
                  </a:cubicBezTo>
                  <a:lnTo>
                    <a:pt x="1357291" y="3143319"/>
                  </a:lnTo>
                  <a:cubicBezTo>
                    <a:pt x="1363172" y="3141393"/>
                    <a:pt x="1368851" y="3139365"/>
                    <a:pt x="1374326" y="3137235"/>
                  </a:cubicBezTo>
                  <a:cubicBezTo>
                    <a:pt x="1379802" y="3135106"/>
                    <a:pt x="1385202" y="3132723"/>
                    <a:pt x="1390526" y="3130086"/>
                  </a:cubicBezTo>
                  <a:cubicBezTo>
                    <a:pt x="1395849" y="3127450"/>
                    <a:pt x="1401223" y="3124509"/>
                    <a:pt x="1406648" y="3121265"/>
                  </a:cubicBezTo>
                  <a:cubicBezTo>
                    <a:pt x="1412073" y="3118020"/>
                    <a:pt x="1417676" y="3114319"/>
                    <a:pt x="1423456" y="3110161"/>
                  </a:cubicBezTo>
                  <a:close/>
                  <a:moveTo>
                    <a:pt x="12035151" y="2809130"/>
                  </a:moveTo>
                  <a:lnTo>
                    <a:pt x="12050057" y="2809130"/>
                  </a:lnTo>
                  <a:lnTo>
                    <a:pt x="12050057" y="3032110"/>
                  </a:lnTo>
                  <a:lnTo>
                    <a:pt x="12014769" y="3032110"/>
                  </a:lnTo>
                  <a:lnTo>
                    <a:pt x="12014769" y="2852327"/>
                  </a:lnTo>
                  <a:cubicBezTo>
                    <a:pt x="12008381" y="2856890"/>
                    <a:pt x="12001511" y="2860768"/>
                    <a:pt x="11994160" y="2863962"/>
                  </a:cubicBezTo>
                  <a:cubicBezTo>
                    <a:pt x="11986808" y="2867157"/>
                    <a:pt x="11978417" y="2869970"/>
                    <a:pt x="11968987" y="2872404"/>
                  </a:cubicBezTo>
                  <a:lnTo>
                    <a:pt x="11968987" y="2842288"/>
                  </a:lnTo>
                  <a:cubicBezTo>
                    <a:pt x="11974868" y="2840362"/>
                    <a:pt x="11980547" y="2838334"/>
                    <a:pt x="11986022" y="2836204"/>
                  </a:cubicBezTo>
                  <a:cubicBezTo>
                    <a:pt x="11991498" y="2834075"/>
                    <a:pt x="11996898" y="2831692"/>
                    <a:pt x="12002221" y="2829055"/>
                  </a:cubicBezTo>
                  <a:cubicBezTo>
                    <a:pt x="12007545" y="2826419"/>
                    <a:pt x="12012919" y="2823478"/>
                    <a:pt x="12018344" y="2820234"/>
                  </a:cubicBezTo>
                  <a:cubicBezTo>
                    <a:pt x="12023769" y="2816989"/>
                    <a:pt x="12029371" y="2813288"/>
                    <a:pt x="12035151" y="2809130"/>
                  </a:cubicBezTo>
                  <a:close/>
                  <a:moveTo>
                    <a:pt x="10410370" y="2809130"/>
                  </a:moveTo>
                  <a:lnTo>
                    <a:pt x="10425276" y="2809130"/>
                  </a:lnTo>
                  <a:lnTo>
                    <a:pt x="10425276" y="3032110"/>
                  </a:lnTo>
                  <a:lnTo>
                    <a:pt x="10389988" y="3032110"/>
                  </a:lnTo>
                  <a:lnTo>
                    <a:pt x="10389988" y="2852327"/>
                  </a:lnTo>
                  <a:cubicBezTo>
                    <a:pt x="10383600" y="2856890"/>
                    <a:pt x="10376730" y="2860768"/>
                    <a:pt x="10369379" y="2863962"/>
                  </a:cubicBezTo>
                  <a:cubicBezTo>
                    <a:pt x="10362027" y="2867157"/>
                    <a:pt x="10353636" y="2869970"/>
                    <a:pt x="10344206" y="2872404"/>
                  </a:cubicBezTo>
                  <a:lnTo>
                    <a:pt x="10344206" y="2842288"/>
                  </a:lnTo>
                  <a:cubicBezTo>
                    <a:pt x="10350087" y="2840362"/>
                    <a:pt x="10355766" y="2838334"/>
                    <a:pt x="10361241" y="2836204"/>
                  </a:cubicBezTo>
                  <a:cubicBezTo>
                    <a:pt x="10366717" y="2834075"/>
                    <a:pt x="10372117" y="2831692"/>
                    <a:pt x="10377440" y="2829055"/>
                  </a:cubicBezTo>
                  <a:cubicBezTo>
                    <a:pt x="10382764" y="2826419"/>
                    <a:pt x="10388138" y="2823478"/>
                    <a:pt x="10393563" y="2820234"/>
                  </a:cubicBezTo>
                  <a:cubicBezTo>
                    <a:pt x="10398988" y="2816989"/>
                    <a:pt x="10404590" y="2813288"/>
                    <a:pt x="10410370" y="2809130"/>
                  </a:cubicBezTo>
                  <a:close/>
                  <a:moveTo>
                    <a:pt x="9532663" y="2809130"/>
                  </a:moveTo>
                  <a:lnTo>
                    <a:pt x="9547569" y="2809130"/>
                  </a:lnTo>
                  <a:lnTo>
                    <a:pt x="9547569" y="3032110"/>
                  </a:lnTo>
                  <a:lnTo>
                    <a:pt x="9512281" y="3032110"/>
                  </a:lnTo>
                  <a:lnTo>
                    <a:pt x="9512281" y="2852327"/>
                  </a:lnTo>
                  <a:cubicBezTo>
                    <a:pt x="9505893" y="2856890"/>
                    <a:pt x="9499023" y="2860768"/>
                    <a:pt x="9491672" y="2863962"/>
                  </a:cubicBezTo>
                  <a:cubicBezTo>
                    <a:pt x="9484320" y="2867157"/>
                    <a:pt x="9475929" y="2869970"/>
                    <a:pt x="9466499" y="2872404"/>
                  </a:cubicBezTo>
                  <a:lnTo>
                    <a:pt x="9466499" y="2842288"/>
                  </a:lnTo>
                  <a:cubicBezTo>
                    <a:pt x="9472380" y="2840362"/>
                    <a:pt x="9478059" y="2838334"/>
                    <a:pt x="9483534" y="2836204"/>
                  </a:cubicBezTo>
                  <a:cubicBezTo>
                    <a:pt x="9489010" y="2834075"/>
                    <a:pt x="9494410" y="2831692"/>
                    <a:pt x="9499733" y="2829055"/>
                  </a:cubicBezTo>
                  <a:cubicBezTo>
                    <a:pt x="9505057" y="2826419"/>
                    <a:pt x="9510431" y="2823478"/>
                    <a:pt x="9515856" y="2820234"/>
                  </a:cubicBezTo>
                  <a:cubicBezTo>
                    <a:pt x="9521281" y="2816989"/>
                    <a:pt x="9526883" y="2813288"/>
                    <a:pt x="9532663" y="2809130"/>
                  </a:cubicBezTo>
                  <a:close/>
                  <a:moveTo>
                    <a:pt x="8660208" y="2809130"/>
                  </a:moveTo>
                  <a:lnTo>
                    <a:pt x="8675114" y="2809130"/>
                  </a:lnTo>
                  <a:lnTo>
                    <a:pt x="8675114" y="3032110"/>
                  </a:lnTo>
                  <a:lnTo>
                    <a:pt x="8639826" y="3032110"/>
                  </a:lnTo>
                  <a:lnTo>
                    <a:pt x="8639826" y="2852327"/>
                  </a:lnTo>
                  <a:cubicBezTo>
                    <a:pt x="8633438" y="2856890"/>
                    <a:pt x="8626568" y="2860768"/>
                    <a:pt x="8619217" y="2863962"/>
                  </a:cubicBezTo>
                  <a:cubicBezTo>
                    <a:pt x="8611865" y="2867157"/>
                    <a:pt x="8603474" y="2869970"/>
                    <a:pt x="8594044" y="2872404"/>
                  </a:cubicBezTo>
                  <a:lnTo>
                    <a:pt x="8594044" y="2842288"/>
                  </a:lnTo>
                  <a:cubicBezTo>
                    <a:pt x="8599925" y="2840362"/>
                    <a:pt x="8605604" y="2838334"/>
                    <a:pt x="8611079" y="2836204"/>
                  </a:cubicBezTo>
                  <a:cubicBezTo>
                    <a:pt x="8616555" y="2834075"/>
                    <a:pt x="8621955" y="2831692"/>
                    <a:pt x="8627278" y="2829055"/>
                  </a:cubicBezTo>
                  <a:cubicBezTo>
                    <a:pt x="8632602" y="2826419"/>
                    <a:pt x="8637976" y="2823478"/>
                    <a:pt x="8643401" y="2820234"/>
                  </a:cubicBezTo>
                  <a:cubicBezTo>
                    <a:pt x="8648826" y="2816989"/>
                    <a:pt x="8654428" y="2813288"/>
                    <a:pt x="8660208" y="2809130"/>
                  </a:cubicBezTo>
                  <a:close/>
                  <a:moveTo>
                    <a:pt x="6671075" y="2809130"/>
                  </a:moveTo>
                  <a:lnTo>
                    <a:pt x="6685982" y="2809130"/>
                  </a:lnTo>
                  <a:lnTo>
                    <a:pt x="6685982" y="3032110"/>
                  </a:lnTo>
                  <a:lnTo>
                    <a:pt x="6650694" y="3032110"/>
                  </a:lnTo>
                  <a:lnTo>
                    <a:pt x="6650694" y="2852327"/>
                  </a:lnTo>
                  <a:cubicBezTo>
                    <a:pt x="6644306" y="2856890"/>
                    <a:pt x="6637436" y="2860768"/>
                    <a:pt x="6630084" y="2863962"/>
                  </a:cubicBezTo>
                  <a:cubicBezTo>
                    <a:pt x="6622733" y="2867157"/>
                    <a:pt x="6614342" y="2869970"/>
                    <a:pt x="6604912" y="2872404"/>
                  </a:cubicBezTo>
                  <a:lnTo>
                    <a:pt x="6604912" y="2842288"/>
                  </a:lnTo>
                  <a:cubicBezTo>
                    <a:pt x="6610793" y="2840362"/>
                    <a:pt x="6616471" y="2838334"/>
                    <a:pt x="6621947" y="2836204"/>
                  </a:cubicBezTo>
                  <a:cubicBezTo>
                    <a:pt x="6627423" y="2834075"/>
                    <a:pt x="6632822" y="2831692"/>
                    <a:pt x="6638146" y="2829055"/>
                  </a:cubicBezTo>
                  <a:cubicBezTo>
                    <a:pt x="6643469" y="2826419"/>
                    <a:pt x="6648844" y="2823478"/>
                    <a:pt x="6654268" y="2820234"/>
                  </a:cubicBezTo>
                  <a:cubicBezTo>
                    <a:pt x="6659694" y="2816989"/>
                    <a:pt x="6665296" y="2813288"/>
                    <a:pt x="6671075" y="2809130"/>
                  </a:cubicBezTo>
                  <a:close/>
                  <a:moveTo>
                    <a:pt x="5979097" y="2809130"/>
                  </a:moveTo>
                  <a:lnTo>
                    <a:pt x="5994004" y="2809130"/>
                  </a:lnTo>
                  <a:lnTo>
                    <a:pt x="5994004" y="3032110"/>
                  </a:lnTo>
                  <a:lnTo>
                    <a:pt x="5958717" y="3032110"/>
                  </a:lnTo>
                  <a:lnTo>
                    <a:pt x="5958717" y="2852327"/>
                  </a:lnTo>
                  <a:cubicBezTo>
                    <a:pt x="5952328" y="2856890"/>
                    <a:pt x="5945458" y="2860768"/>
                    <a:pt x="5938106" y="2863962"/>
                  </a:cubicBezTo>
                  <a:cubicBezTo>
                    <a:pt x="5930755" y="2867157"/>
                    <a:pt x="5922364" y="2869970"/>
                    <a:pt x="5912934" y="2872404"/>
                  </a:cubicBezTo>
                  <a:lnTo>
                    <a:pt x="5912934" y="2842288"/>
                  </a:lnTo>
                  <a:cubicBezTo>
                    <a:pt x="5918816" y="2840362"/>
                    <a:pt x="5924493" y="2838334"/>
                    <a:pt x="5929969" y="2836204"/>
                  </a:cubicBezTo>
                  <a:cubicBezTo>
                    <a:pt x="5935446" y="2834075"/>
                    <a:pt x="5940845" y="2831692"/>
                    <a:pt x="5946169" y="2829055"/>
                  </a:cubicBezTo>
                  <a:cubicBezTo>
                    <a:pt x="5951492" y="2826419"/>
                    <a:pt x="5956866" y="2823478"/>
                    <a:pt x="5962291" y="2820234"/>
                  </a:cubicBezTo>
                  <a:cubicBezTo>
                    <a:pt x="5967716" y="2816989"/>
                    <a:pt x="5973318" y="2813288"/>
                    <a:pt x="5979097" y="2809130"/>
                  </a:cubicBezTo>
                  <a:close/>
                  <a:moveTo>
                    <a:pt x="4354317" y="2809130"/>
                  </a:moveTo>
                  <a:lnTo>
                    <a:pt x="4369224" y="2809130"/>
                  </a:lnTo>
                  <a:lnTo>
                    <a:pt x="4369224" y="3032110"/>
                  </a:lnTo>
                  <a:lnTo>
                    <a:pt x="4333935" y="3032110"/>
                  </a:lnTo>
                  <a:lnTo>
                    <a:pt x="4333935" y="2852327"/>
                  </a:lnTo>
                  <a:cubicBezTo>
                    <a:pt x="4327548" y="2856890"/>
                    <a:pt x="4320677" y="2860768"/>
                    <a:pt x="4313325" y="2863962"/>
                  </a:cubicBezTo>
                  <a:cubicBezTo>
                    <a:pt x="4305974" y="2867157"/>
                    <a:pt x="4297583" y="2869970"/>
                    <a:pt x="4288153" y="2872404"/>
                  </a:cubicBezTo>
                  <a:lnTo>
                    <a:pt x="4288153" y="2842288"/>
                  </a:lnTo>
                  <a:cubicBezTo>
                    <a:pt x="4294034" y="2840362"/>
                    <a:pt x="4299712" y="2838334"/>
                    <a:pt x="4305189" y="2836204"/>
                  </a:cubicBezTo>
                  <a:cubicBezTo>
                    <a:pt x="4310665" y="2834075"/>
                    <a:pt x="4316064" y="2831692"/>
                    <a:pt x="4321387" y="2829055"/>
                  </a:cubicBezTo>
                  <a:cubicBezTo>
                    <a:pt x="4326710" y="2826419"/>
                    <a:pt x="4332085" y="2823478"/>
                    <a:pt x="4337509" y="2820234"/>
                  </a:cubicBezTo>
                  <a:cubicBezTo>
                    <a:pt x="4342935" y="2816989"/>
                    <a:pt x="4348538" y="2813288"/>
                    <a:pt x="4354317" y="2809130"/>
                  </a:cubicBezTo>
                  <a:close/>
                  <a:moveTo>
                    <a:pt x="3476611" y="2809130"/>
                  </a:moveTo>
                  <a:lnTo>
                    <a:pt x="3491518" y="2809130"/>
                  </a:lnTo>
                  <a:lnTo>
                    <a:pt x="3491518" y="3032110"/>
                  </a:lnTo>
                  <a:lnTo>
                    <a:pt x="3456230" y="3032110"/>
                  </a:lnTo>
                  <a:lnTo>
                    <a:pt x="3456230" y="2852327"/>
                  </a:lnTo>
                  <a:cubicBezTo>
                    <a:pt x="3449841" y="2856890"/>
                    <a:pt x="3442972" y="2860768"/>
                    <a:pt x="3435620" y="2863962"/>
                  </a:cubicBezTo>
                  <a:cubicBezTo>
                    <a:pt x="3428268" y="2867157"/>
                    <a:pt x="3419878" y="2869970"/>
                    <a:pt x="3410447" y="2872404"/>
                  </a:cubicBezTo>
                  <a:lnTo>
                    <a:pt x="3410447" y="2842288"/>
                  </a:lnTo>
                  <a:cubicBezTo>
                    <a:pt x="3416328" y="2840362"/>
                    <a:pt x="3422007" y="2838334"/>
                    <a:pt x="3427483" y="2836204"/>
                  </a:cubicBezTo>
                  <a:cubicBezTo>
                    <a:pt x="3432958" y="2834075"/>
                    <a:pt x="3438357" y="2831692"/>
                    <a:pt x="3443682" y="2829055"/>
                  </a:cubicBezTo>
                  <a:cubicBezTo>
                    <a:pt x="3449005" y="2826419"/>
                    <a:pt x="3454379" y="2823478"/>
                    <a:pt x="3459804" y="2820234"/>
                  </a:cubicBezTo>
                  <a:cubicBezTo>
                    <a:pt x="3465229" y="2816989"/>
                    <a:pt x="3470831" y="2813288"/>
                    <a:pt x="3476611" y="2809130"/>
                  </a:cubicBezTo>
                  <a:close/>
                  <a:moveTo>
                    <a:pt x="2604156" y="2809130"/>
                  </a:moveTo>
                  <a:lnTo>
                    <a:pt x="2619062" y="2809130"/>
                  </a:lnTo>
                  <a:lnTo>
                    <a:pt x="2619062" y="3032110"/>
                  </a:lnTo>
                  <a:lnTo>
                    <a:pt x="2583774" y="3032110"/>
                  </a:lnTo>
                  <a:lnTo>
                    <a:pt x="2583774" y="2852327"/>
                  </a:lnTo>
                  <a:cubicBezTo>
                    <a:pt x="2577387" y="2856890"/>
                    <a:pt x="2570515" y="2860768"/>
                    <a:pt x="2563165" y="2863962"/>
                  </a:cubicBezTo>
                  <a:cubicBezTo>
                    <a:pt x="2555813" y="2867157"/>
                    <a:pt x="2547423" y="2869970"/>
                    <a:pt x="2537992" y="2872404"/>
                  </a:cubicBezTo>
                  <a:lnTo>
                    <a:pt x="2537992" y="2842288"/>
                  </a:lnTo>
                  <a:cubicBezTo>
                    <a:pt x="2543873" y="2840362"/>
                    <a:pt x="2549552" y="2838334"/>
                    <a:pt x="2555027" y="2836204"/>
                  </a:cubicBezTo>
                  <a:cubicBezTo>
                    <a:pt x="2560503" y="2834075"/>
                    <a:pt x="2565903" y="2831692"/>
                    <a:pt x="2571226" y="2829055"/>
                  </a:cubicBezTo>
                  <a:cubicBezTo>
                    <a:pt x="2576550" y="2826419"/>
                    <a:pt x="2581923" y="2823478"/>
                    <a:pt x="2587349" y="2820234"/>
                  </a:cubicBezTo>
                  <a:cubicBezTo>
                    <a:pt x="2592774" y="2816989"/>
                    <a:pt x="2598376" y="2813288"/>
                    <a:pt x="2604156" y="2809130"/>
                  </a:cubicBezTo>
                  <a:close/>
                  <a:moveTo>
                    <a:pt x="619557" y="2809130"/>
                  </a:moveTo>
                  <a:lnTo>
                    <a:pt x="634463" y="2809130"/>
                  </a:lnTo>
                  <a:lnTo>
                    <a:pt x="634463" y="3032110"/>
                  </a:lnTo>
                  <a:lnTo>
                    <a:pt x="599174" y="3032110"/>
                  </a:lnTo>
                  <a:lnTo>
                    <a:pt x="599174" y="2852327"/>
                  </a:lnTo>
                  <a:cubicBezTo>
                    <a:pt x="592787" y="2856890"/>
                    <a:pt x="585917" y="2860768"/>
                    <a:pt x="578566" y="2863962"/>
                  </a:cubicBezTo>
                  <a:cubicBezTo>
                    <a:pt x="571214" y="2867157"/>
                    <a:pt x="562824" y="2869970"/>
                    <a:pt x="553393" y="2872404"/>
                  </a:cubicBezTo>
                  <a:lnTo>
                    <a:pt x="553393" y="2842288"/>
                  </a:lnTo>
                  <a:cubicBezTo>
                    <a:pt x="559274" y="2840362"/>
                    <a:pt x="564952" y="2838334"/>
                    <a:pt x="570428" y="2836204"/>
                  </a:cubicBezTo>
                  <a:cubicBezTo>
                    <a:pt x="575904" y="2834075"/>
                    <a:pt x="581304" y="2831692"/>
                    <a:pt x="586626" y="2829055"/>
                  </a:cubicBezTo>
                  <a:cubicBezTo>
                    <a:pt x="591951" y="2826419"/>
                    <a:pt x="597325" y="2823478"/>
                    <a:pt x="602749" y="2820234"/>
                  </a:cubicBezTo>
                  <a:cubicBezTo>
                    <a:pt x="608174" y="2816989"/>
                    <a:pt x="613777" y="2813288"/>
                    <a:pt x="619557" y="2809130"/>
                  </a:cubicBezTo>
                  <a:close/>
                  <a:moveTo>
                    <a:pt x="10291704" y="2480736"/>
                  </a:moveTo>
                  <a:lnTo>
                    <a:pt x="10306610" y="2480736"/>
                  </a:lnTo>
                  <a:lnTo>
                    <a:pt x="10306610" y="2703716"/>
                  </a:lnTo>
                  <a:lnTo>
                    <a:pt x="10271322" y="2703716"/>
                  </a:lnTo>
                  <a:lnTo>
                    <a:pt x="10271322" y="2523933"/>
                  </a:lnTo>
                  <a:cubicBezTo>
                    <a:pt x="10264934" y="2528496"/>
                    <a:pt x="10258064" y="2532374"/>
                    <a:pt x="10250713" y="2535568"/>
                  </a:cubicBezTo>
                  <a:cubicBezTo>
                    <a:pt x="10243361" y="2538763"/>
                    <a:pt x="10234970" y="2541576"/>
                    <a:pt x="10225540" y="2544010"/>
                  </a:cubicBezTo>
                  <a:lnTo>
                    <a:pt x="10225540" y="2513894"/>
                  </a:lnTo>
                  <a:cubicBezTo>
                    <a:pt x="10231421" y="2511968"/>
                    <a:pt x="10237100" y="2509939"/>
                    <a:pt x="10242575" y="2507810"/>
                  </a:cubicBezTo>
                  <a:cubicBezTo>
                    <a:pt x="10248051" y="2505681"/>
                    <a:pt x="10253451" y="2503298"/>
                    <a:pt x="10258774" y="2500661"/>
                  </a:cubicBezTo>
                  <a:cubicBezTo>
                    <a:pt x="10264098" y="2498025"/>
                    <a:pt x="10269472" y="2495084"/>
                    <a:pt x="10274897" y="2491839"/>
                  </a:cubicBezTo>
                  <a:cubicBezTo>
                    <a:pt x="10280322" y="2488595"/>
                    <a:pt x="10285924" y="2484893"/>
                    <a:pt x="10291704" y="2480736"/>
                  </a:cubicBezTo>
                  <a:close/>
                  <a:moveTo>
                    <a:pt x="7171000" y="2480736"/>
                  </a:moveTo>
                  <a:lnTo>
                    <a:pt x="7185906" y="2480736"/>
                  </a:lnTo>
                  <a:lnTo>
                    <a:pt x="7185906" y="2703716"/>
                  </a:lnTo>
                  <a:lnTo>
                    <a:pt x="7150618" y="2703716"/>
                  </a:lnTo>
                  <a:lnTo>
                    <a:pt x="7150618" y="2523933"/>
                  </a:lnTo>
                  <a:cubicBezTo>
                    <a:pt x="7144230" y="2528496"/>
                    <a:pt x="7137361" y="2532374"/>
                    <a:pt x="7130009" y="2535568"/>
                  </a:cubicBezTo>
                  <a:cubicBezTo>
                    <a:pt x="7122657" y="2538763"/>
                    <a:pt x="7114267" y="2541576"/>
                    <a:pt x="7104836" y="2544010"/>
                  </a:cubicBezTo>
                  <a:lnTo>
                    <a:pt x="7104836" y="2513894"/>
                  </a:lnTo>
                  <a:cubicBezTo>
                    <a:pt x="7110717" y="2511968"/>
                    <a:pt x="7116396" y="2509939"/>
                    <a:pt x="7121871" y="2507810"/>
                  </a:cubicBezTo>
                  <a:cubicBezTo>
                    <a:pt x="7127347" y="2505681"/>
                    <a:pt x="7132747" y="2503298"/>
                    <a:pt x="7138070" y="2500661"/>
                  </a:cubicBezTo>
                  <a:cubicBezTo>
                    <a:pt x="7143394" y="2498025"/>
                    <a:pt x="7148768" y="2495084"/>
                    <a:pt x="7154193" y="2491839"/>
                  </a:cubicBezTo>
                  <a:cubicBezTo>
                    <a:pt x="7159618" y="2488595"/>
                    <a:pt x="7165220" y="2484893"/>
                    <a:pt x="7171000" y="2480736"/>
                  </a:cubicBezTo>
                  <a:close/>
                  <a:moveTo>
                    <a:pt x="6278970" y="2480736"/>
                  </a:moveTo>
                  <a:lnTo>
                    <a:pt x="6293876" y="2480736"/>
                  </a:lnTo>
                  <a:lnTo>
                    <a:pt x="6293876" y="2703716"/>
                  </a:lnTo>
                  <a:lnTo>
                    <a:pt x="6258588" y="2703716"/>
                  </a:lnTo>
                  <a:lnTo>
                    <a:pt x="6258588" y="2523933"/>
                  </a:lnTo>
                  <a:cubicBezTo>
                    <a:pt x="6252200" y="2528496"/>
                    <a:pt x="6245331" y="2532374"/>
                    <a:pt x="6237979" y="2535568"/>
                  </a:cubicBezTo>
                  <a:cubicBezTo>
                    <a:pt x="6230627" y="2538763"/>
                    <a:pt x="6222237" y="2541576"/>
                    <a:pt x="6212806" y="2544010"/>
                  </a:cubicBezTo>
                  <a:lnTo>
                    <a:pt x="6212806" y="2513894"/>
                  </a:lnTo>
                  <a:cubicBezTo>
                    <a:pt x="6218687" y="2511968"/>
                    <a:pt x="6224366" y="2509939"/>
                    <a:pt x="6229841" y="2507810"/>
                  </a:cubicBezTo>
                  <a:cubicBezTo>
                    <a:pt x="6235317" y="2505681"/>
                    <a:pt x="6240717" y="2503298"/>
                    <a:pt x="6246040" y="2500661"/>
                  </a:cubicBezTo>
                  <a:cubicBezTo>
                    <a:pt x="6251364" y="2498025"/>
                    <a:pt x="6256738" y="2495084"/>
                    <a:pt x="6262163" y="2491839"/>
                  </a:cubicBezTo>
                  <a:cubicBezTo>
                    <a:pt x="6267588" y="2488595"/>
                    <a:pt x="6273190" y="2484893"/>
                    <a:pt x="6278970" y="2480736"/>
                  </a:cubicBezTo>
                  <a:close/>
                  <a:moveTo>
                    <a:pt x="4229236" y="2480736"/>
                  </a:moveTo>
                  <a:lnTo>
                    <a:pt x="4244142" y="2480736"/>
                  </a:lnTo>
                  <a:lnTo>
                    <a:pt x="4244142" y="2703716"/>
                  </a:lnTo>
                  <a:lnTo>
                    <a:pt x="4208855" y="2703716"/>
                  </a:lnTo>
                  <a:lnTo>
                    <a:pt x="4208855" y="2523933"/>
                  </a:lnTo>
                  <a:cubicBezTo>
                    <a:pt x="4202466" y="2528496"/>
                    <a:pt x="4195597" y="2532374"/>
                    <a:pt x="4188245" y="2535568"/>
                  </a:cubicBezTo>
                  <a:cubicBezTo>
                    <a:pt x="4180894" y="2538763"/>
                    <a:pt x="4172503" y="2541576"/>
                    <a:pt x="4163072" y="2544010"/>
                  </a:cubicBezTo>
                  <a:lnTo>
                    <a:pt x="4163072" y="2513894"/>
                  </a:lnTo>
                  <a:cubicBezTo>
                    <a:pt x="4168953" y="2511968"/>
                    <a:pt x="4174632" y="2509939"/>
                    <a:pt x="4180107" y="2507810"/>
                  </a:cubicBezTo>
                  <a:cubicBezTo>
                    <a:pt x="4185583" y="2505681"/>
                    <a:pt x="4190984" y="2503298"/>
                    <a:pt x="4196307" y="2500661"/>
                  </a:cubicBezTo>
                  <a:cubicBezTo>
                    <a:pt x="4201631" y="2498025"/>
                    <a:pt x="4207006" y="2495084"/>
                    <a:pt x="4212429" y="2491839"/>
                  </a:cubicBezTo>
                  <a:cubicBezTo>
                    <a:pt x="4217854" y="2488595"/>
                    <a:pt x="4223456" y="2484893"/>
                    <a:pt x="4229236" y="2480736"/>
                  </a:cubicBezTo>
                  <a:close/>
                  <a:moveTo>
                    <a:pt x="1107649" y="2480736"/>
                  </a:moveTo>
                  <a:lnTo>
                    <a:pt x="1122555" y="2480736"/>
                  </a:lnTo>
                  <a:lnTo>
                    <a:pt x="1122555" y="2703716"/>
                  </a:lnTo>
                  <a:lnTo>
                    <a:pt x="1087267" y="2703716"/>
                  </a:lnTo>
                  <a:lnTo>
                    <a:pt x="1087267" y="2523933"/>
                  </a:lnTo>
                  <a:cubicBezTo>
                    <a:pt x="1080880" y="2528496"/>
                    <a:pt x="1074010" y="2532374"/>
                    <a:pt x="1066658" y="2535568"/>
                  </a:cubicBezTo>
                  <a:cubicBezTo>
                    <a:pt x="1059306" y="2538763"/>
                    <a:pt x="1050916" y="2541576"/>
                    <a:pt x="1041486" y="2544010"/>
                  </a:cubicBezTo>
                  <a:lnTo>
                    <a:pt x="1041486" y="2513894"/>
                  </a:lnTo>
                  <a:cubicBezTo>
                    <a:pt x="1047367" y="2511968"/>
                    <a:pt x="1053045" y="2509939"/>
                    <a:pt x="1058521" y="2507810"/>
                  </a:cubicBezTo>
                  <a:cubicBezTo>
                    <a:pt x="1063996" y="2505681"/>
                    <a:pt x="1069396" y="2503298"/>
                    <a:pt x="1074719" y="2500661"/>
                  </a:cubicBezTo>
                  <a:cubicBezTo>
                    <a:pt x="1080043" y="2498025"/>
                    <a:pt x="1085417" y="2495084"/>
                    <a:pt x="1090842" y="2491839"/>
                  </a:cubicBezTo>
                  <a:cubicBezTo>
                    <a:pt x="1096267" y="2488595"/>
                    <a:pt x="1101869" y="2484893"/>
                    <a:pt x="1107649" y="2480736"/>
                  </a:cubicBezTo>
                  <a:close/>
                  <a:moveTo>
                    <a:pt x="213707" y="2480736"/>
                  </a:moveTo>
                  <a:lnTo>
                    <a:pt x="228613" y="2480736"/>
                  </a:lnTo>
                  <a:lnTo>
                    <a:pt x="228613" y="2703716"/>
                  </a:lnTo>
                  <a:lnTo>
                    <a:pt x="193325" y="2703716"/>
                  </a:lnTo>
                  <a:lnTo>
                    <a:pt x="193325" y="2523933"/>
                  </a:lnTo>
                  <a:cubicBezTo>
                    <a:pt x="186938" y="2528496"/>
                    <a:pt x="180068" y="2532374"/>
                    <a:pt x="172716" y="2535568"/>
                  </a:cubicBezTo>
                  <a:cubicBezTo>
                    <a:pt x="165364" y="2538763"/>
                    <a:pt x="156974" y="2541576"/>
                    <a:pt x="147543" y="2544010"/>
                  </a:cubicBezTo>
                  <a:lnTo>
                    <a:pt x="147543" y="2513894"/>
                  </a:lnTo>
                  <a:cubicBezTo>
                    <a:pt x="153424" y="2511968"/>
                    <a:pt x="159103" y="2509939"/>
                    <a:pt x="164578" y="2507810"/>
                  </a:cubicBezTo>
                  <a:cubicBezTo>
                    <a:pt x="170054" y="2505681"/>
                    <a:pt x="175454" y="2503298"/>
                    <a:pt x="180778" y="2500661"/>
                  </a:cubicBezTo>
                  <a:cubicBezTo>
                    <a:pt x="186101" y="2498025"/>
                    <a:pt x="191475" y="2495084"/>
                    <a:pt x="196900" y="2491839"/>
                  </a:cubicBezTo>
                  <a:cubicBezTo>
                    <a:pt x="202325" y="2488595"/>
                    <a:pt x="207927" y="2484893"/>
                    <a:pt x="213707" y="2480736"/>
                  </a:cubicBezTo>
                  <a:close/>
                  <a:moveTo>
                    <a:pt x="11444638" y="2176765"/>
                  </a:moveTo>
                  <a:lnTo>
                    <a:pt x="11459544" y="2176765"/>
                  </a:lnTo>
                  <a:lnTo>
                    <a:pt x="11459544" y="2399745"/>
                  </a:lnTo>
                  <a:lnTo>
                    <a:pt x="11424256" y="2399745"/>
                  </a:lnTo>
                  <a:lnTo>
                    <a:pt x="11424256" y="2219962"/>
                  </a:lnTo>
                  <a:cubicBezTo>
                    <a:pt x="11417868" y="2224525"/>
                    <a:pt x="11410998" y="2228403"/>
                    <a:pt x="11403647" y="2231597"/>
                  </a:cubicBezTo>
                  <a:cubicBezTo>
                    <a:pt x="11396295" y="2234792"/>
                    <a:pt x="11387904" y="2237605"/>
                    <a:pt x="11378474" y="2240039"/>
                  </a:cubicBezTo>
                  <a:lnTo>
                    <a:pt x="11378474" y="2209923"/>
                  </a:lnTo>
                  <a:cubicBezTo>
                    <a:pt x="11384355" y="2207997"/>
                    <a:pt x="11390034" y="2205968"/>
                    <a:pt x="11395509" y="2203839"/>
                  </a:cubicBezTo>
                  <a:cubicBezTo>
                    <a:pt x="11400985" y="2201710"/>
                    <a:pt x="11406385" y="2199326"/>
                    <a:pt x="11411708" y="2196690"/>
                  </a:cubicBezTo>
                  <a:cubicBezTo>
                    <a:pt x="11417032" y="2194054"/>
                    <a:pt x="11422406" y="2191113"/>
                    <a:pt x="11427831" y="2187868"/>
                  </a:cubicBezTo>
                  <a:cubicBezTo>
                    <a:pt x="11433256" y="2184624"/>
                    <a:pt x="11438858" y="2180922"/>
                    <a:pt x="11444638" y="2176765"/>
                  </a:cubicBezTo>
                  <a:close/>
                  <a:moveTo>
                    <a:pt x="9437758" y="2176765"/>
                  </a:moveTo>
                  <a:lnTo>
                    <a:pt x="9452664" y="2176765"/>
                  </a:lnTo>
                  <a:lnTo>
                    <a:pt x="9452664" y="2399745"/>
                  </a:lnTo>
                  <a:lnTo>
                    <a:pt x="9417376" y="2399745"/>
                  </a:lnTo>
                  <a:lnTo>
                    <a:pt x="9417376" y="2219962"/>
                  </a:lnTo>
                  <a:cubicBezTo>
                    <a:pt x="9410988" y="2224525"/>
                    <a:pt x="9404118" y="2228403"/>
                    <a:pt x="9396767" y="2231597"/>
                  </a:cubicBezTo>
                  <a:cubicBezTo>
                    <a:pt x="9389415" y="2234792"/>
                    <a:pt x="9381024" y="2237605"/>
                    <a:pt x="9371594" y="2240039"/>
                  </a:cubicBezTo>
                  <a:lnTo>
                    <a:pt x="9371594" y="2209923"/>
                  </a:lnTo>
                  <a:cubicBezTo>
                    <a:pt x="9377475" y="2207997"/>
                    <a:pt x="9383154" y="2205968"/>
                    <a:pt x="9388629" y="2203839"/>
                  </a:cubicBezTo>
                  <a:cubicBezTo>
                    <a:pt x="9394105" y="2201710"/>
                    <a:pt x="9399505" y="2199326"/>
                    <a:pt x="9404828" y="2196690"/>
                  </a:cubicBezTo>
                  <a:cubicBezTo>
                    <a:pt x="9410152" y="2194054"/>
                    <a:pt x="9415526" y="2191113"/>
                    <a:pt x="9420951" y="2187868"/>
                  </a:cubicBezTo>
                  <a:cubicBezTo>
                    <a:pt x="9426376" y="2184624"/>
                    <a:pt x="9431978" y="2180922"/>
                    <a:pt x="9437758" y="2176765"/>
                  </a:cubicBezTo>
                  <a:close/>
                  <a:moveTo>
                    <a:pt x="8937428" y="2176765"/>
                  </a:moveTo>
                  <a:lnTo>
                    <a:pt x="8952334" y="2176765"/>
                  </a:lnTo>
                  <a:lnTo>
                    <a:pt x="8952334" y="2399745"/>
                  </a:lnTo>
                  <a:lnTo>
                    <a:pt x="8917046" y="2399745"/>
                  </a:lnTo>
                  <a:lnTo>
                    <a:pt x="8917046" y="2219962"/>
                  </a:lnTo>
                  <a:cubicBezTo>
                    <a:pt x="8910658" y="2224525"/>
                    <a:pt x="8903788" y="2228403"/>
                    <a:pt x="8896437" y="2231597"/>
                  </a:cubicBezTo>
                  <a:cubicBezTo>
                    <a:pt x="8889085" y="2234792"/>
                    <a:pt x="8880694" y="2237605"/>
                    <a:pt x="8871264" y="2240039"/>
                  </a:cubicBezTo>
                  <a:lnTo>
                    <a:pt x="8871264" y="2209923"/>
                  </a:lnTo>
                  <a:cubicBezTo>
                    <a:pt x="8877145" y="2207997"/>
                    <a:pt x="8882824" y="2205968"/>
                    <a:pt x="8888299" y="2203839"/>
                  </a:cubicBezTo>
                  <a:cubicBezTo>
                    <a:pt x="8893775" y="2201710"/>
                    <a:pt x="8899175" y="2199326"/>
                    <a:pt x="8904498" y="2196690"/>
                  </a:cubicBezTo>
                  <a:cubicBezTo>
                    <a:pt x="8909822" y="2194054"/>
                    <a:pt x="8915196" y="2191113"/>
                    <a:pt x="8920621" y="2187868"/>
                  </a:cubicBezTo>
                  <a:cubicBezTo>
                    <a:pt x="8926046" y="2184624"/>
                    <a:pt x="8931648" y="2180922"/>
                    <a:pt x="8937428" y="2176765"/>
                  </a:cubicBezTo>
                  <a:close/>
                  <a:moveTo>
                    <a:pt x="7308531" y="2176765"/>
                  </a:moveTo>
                  <a:lnTo>
                    <a:pt x="7323437" y="2176765"/>
                  </a:lnTo>
                  <a:lnTo>
                    <a:pt x="7323437" y="2399745"/>
                  </a:lnTo>
                  <a:lnTo>
                    <a:pt x="7288149" y="2399745"/>
                  </a:lnTo>
                  <a:lnTo>
                    <a:pt x="7288149" y="2219962"/>
                  </a:lnTo>
                  <a:cubicBezTo>
                    <a:pt x="7281761" y="2224525"/>
                    <a:pt x="7274892" y="2228403"/>
                    <a:pt x="7267540" y="2231597"/>
                  </a:cubicBezTo>
                  <a:cubicBezTo>
                    <a:pt x="7260188" y="2234792"/>
                    <a:pt x="7251798" y="2237605"/>
                    <a:pt x="7242367" y="2240039"/>
                  </a:cubicBezTo>
                  <a:lnTo>
                    <a:pt x="7242367" y="2209923"/>
                  </a:lnTo>
                  <a:cubicBezTo>
                    <a:pt x="7248248" y="2207997"/>
                    <a:pt x="7253927" y="2205968"/>
                    <a:pt x="7259402" y="2203839"/>
                  </a:cubicBezTo>
                  <a:cubicBezTo>
                    <a:pt x="7264878" y="2201710"/>
                    <a:pt x="7270278" y="2199326"/>
                    <a:pt x="7275601" y="2196690"/>
                  </a:cubicBezTo>
                  <a:cubicBezTo>
                    <a:pt x="7280925" y="2194054"/>
                    <a:pt x="7286299" y="2191113"/>
                    <a:pt x="7291724" y="2187868"/>
                  </a:cubicBezTo>
                  <a:cubicBezTo>
                    <a:pt x="7297149" y="2184624"/>
                    <a:pt x="7302751" y="2180922"/>
                    <a:pt x="7308531" y="2176765"/>
                  </a:cubicBezTo>
                  <a:close/>
                  <a:moveTo>
                    <a:pt x="6438588" y="2176765"/>
                  </a:moveTo>
                  <a:lnTo>
                    <a:pt x="6453494" y="2176765"/>
                  </a:lnTo>
                  <a:lnTo>
                    <a:pt x="6453494" y="2399745"/>
                  </a:lnTo>
                  <a:lnTo>
                    <a:pt x="6418206" y="2399745"/>
                  </a:lnTo>
                  <a:lnTo>
                    <a:pt x="6418206" y="2219962"/>
                  </a:lnTo>
                  <a:cubicBezTo>
                    <a:pt x="6411818" y="2224525"/>
                    <a:pt x="6404949" y="2228403"/>
                    <a:pt x="6397597" y="2231597"/>
                  </a:cubicBezTo>
                  <a:cubicBezTo>
                    <a:pt x="6390245" y="2234792"/>
                    <a:pt x="6381855" y="2237605"/>
                    <a:pt x="6372424" y="2240039"/>
                  </a:cubicBezTo>
                  <a:lnTo>
                    <a:pt x="6372424" y="2209923"/>
                  </a:lnTo>
                  <a:cubicBezTo>
                    <a:pt x="6378305" y="2207997"/>
                    <a:pt x="6383984" y="2205968"/>
                    <a:pt x="6389459" y="2203839"/>
                  </a:cubicBezTo>
                  <a:cubicBezTo>
                    <a:pt x="6394935" y="2201710"/>
                    <a:pt x="6400335" y="2199326"/>
                    <a:pt x="6405658" y="2196690"/>
                  </a:cubicBezTo>
                  <a:cubicBezTo>
                    <a:pt x="6410982" y="2194054"/>
                    <a:pt x="6416356" y="2191113"/>
                    <a:pt x="6421781" y="2187868"/>
                  </a:cubicBezTo>
                  <a:cubicBezTo>
                    <a:pt x="6427206" y="2184624"/>
                    <a:pt x="6432808" y="2180922"/>
                    <a:pt x="6438588" y="2176765"/>
                  </a:cubicBezTo>
                  <a:close/>
                  <a:moveTo>
                    <a:pt x="5369222" y="2176765"/>
                  </a:moveTo>
                  <a:lnTo>
                    <a:pt x="5384128" y="2176765"/>
                  </a:lnTo>
                  <a:lnTo>
                    <a:pt x="5384128" y="2399745"/>
                  </a:lnTo>
                  <a:lnTo>
                    <a:pt x="5348840" y="2399745"/>
                  </a:lnTo>
                  <a:lnTo>
                    <a:pt x="5348840" y="2219962"/>
                  </a:lnTo>
                  <a:cubicBezTo>
                    <a:pt x="5342452" y="2224525"/>
                    <a:pt x="5335584" y="2228403"/>
                    <a:pt x="5328231" y="2231597"/>
                  </a:cubicBezTo>
                  <a:cubicBezTo>
                    <a:pt x="5320879" y="2234792"/>
                    <a:pt x="5312490" y="2237605"/>
                    <a:pt x="5303059" y="2240039"/>
                  </a:cubicBezTo>
                  <a:lnTo>
                    <a:pt x="5303059" y="2209923"/>
                  </a:lnTo>
                  <a:cubicBezTo>
                    <a:pt x="5308939" y="2207997"/>
                    <a:pt x="5314620" y="2205968"/>
                    <a:pt x="5320094" y="2203839"/>
                  </a:cubicBezTo>
                  <a:cubicBezTo>
                    <a:pt x="5325569" y="2201710"/>
                    <a:pt x="5330970" y="2199326"/>
                    <a:pt x="5336292" y="2196690"/>
                  </a:cubicBezTo>
                  <a:cubicBezTo>
                    <a:pt x="5341617" y="2194054"/>
                    <a:pt x="5346990" y="2191113"/>
                    <a:pt x="5352415" y="2187868"/>
                  </a:cubicBezTo>
                  <a:cubicBezTo>
                    <a:pt x="5357840" y="2184624"/>
                    <a:pt x="5363442" y="2180922"/>
                    <a:pt x="5369222" y="2176765"/>
                  </a:cubicBezTo>
                  <a:close/>
                  <a:moveTo>
                    <a:pt x="3376912" y="2176765"/>
                  </a:moveTo>
                  <a:lnTo>
                    <a:pt x="3391818" y="2176765"/>
                  </a:lnTo>
                  <a:lnTo>
                    <a:pt x="3391818" y="2399745"/>
                  </a:lnTo>
                  <a:lnTo>
                    <a:pt x="3356530" y="2399745"/>
                  </a:lnTo>
                  <a:lnTo>
                    <a:pt x="3356530" y="2219962"/>
                  </a:lnTo>
                  <a:cubicBezTo>
                    <a:pt x="3350142" y="2224525"/>
                    <a:pt x="3343273" y="2228403"/>
                    <a:pt x="3335922" y="2231597"/>
                  </a:cubicBezTo>
                  <a:cubicBezTo>
                    <a:pt x="3328569" y="2234792"/>
                    <a:pt x="3320179" y="2237605"/>
                    <a:pt x="3310748" y="2240039"/>
                  </a:cubicBezTo>
                  <a:lnTo>
                    <a:pt x="3310748" y="2209923"/>
                  </a:lnTo>
                  <a:cubicBezTo>
                    <a:pt x="3316629" y="2207997"/>
                    <a:pt x="3322308" y="2205968"/>
                    <a:pt x="3327783" y="2203839"/>
                  </a:cubicBezTo>
                  <a:cubicBezTo>
                    <a:pt x="3333259" y="2201710"/>
                    <a:pt x="3338659" y="2199326"/>
                    <a:pt x="3343983" y="2196690"/>
                  </a:cubicBezTo>
                  <a:cubicBezTo>
                    <a:pt x="3349306" y="2194054"/>
                    <a:pt x="3354680" y="2191113"/>
                    <a:pt x="3360105" y="2187868"/>
                  </a:cubicBezTo>
                  <a:cubicBezTo>
                    <a:pt x="3365530" y="2184624"/>
                    <a:pt x="3371132" y="2180922"/>
                    <a:pt x="3376912" y="2176765"/>
                  </a:cubicBezTo>
                  <a:close/>
                  <a:moveTo>
                    <a:pt x="2864708" y="2176765"/>
                  </a:moveTo>
                  <a:lnTo>
                    <a:pt x="2879614" y="2176765"/>
                  </a:lnTo>
                  <a:lnTo>
                    <a:pt x="2879614" y="2399745"/>
                  </a:lnTo>
                  <a:lnTo>
                    <a:pt x="2844327" y="2399745"/>
                  </a:lnTo>
                  <a:lnTo>
                    <a:pt x="2844327" y="2219962"/>
                  </a:lnTo>
                  <a:cubicBezTo>
                    <a:pt x="2837938" y="2224525"/>
                    <a:pt x="2831069" y="2228403"/>
                    <a:pt x="2823717" y="2231597"/>
                  </a:cubicBezTo>
                  <a:cubicBezTo>
                    <a:pt x="2816365" y="2234792"/>
                    <a:pt x="2807975" y="2237605"/>
                    <a:pt x="2798544" y="2240039"/>
                  </a:cubicBezTo>
                  <a:lnTo>
                    <a:pt x="2798544" y="2209923"/>
                  </a:lnTo>
                  <a:cubicBezTo>
                    <a:pt x="2804425" y="2207997"/>
                    <a:pt x="2810104" y="2205968"/>
                    <a:pt x="2815579" y="2203839"/>
                  </a:cubicBezTo>
                  <a:cubicBezTo>
                    <a:pt x="2821055" y="2201710"/>
                    <a:pt x="2826455" y="2199326"/>
                    <a:pt x="2831779" y="2196690"/>
                  </a:cubicBezTo>
                  <a:cubicBezTo>
                    <a:pt x="2837102" y="2194054"/>
                    <a:pt x="2842476" y="2191113"/>
                    <a:pt x="2847901" y="2187868"/>
                  </a:cubicBezTo>
                  <a:cubicBezTo>
                    <a:pt x="2853326" y="2184624"/>
                    <a:pt x="2858928" y="2180922"/>
                    <a:pt x="2864708" y="2176765"/>
                  </a:cubicBezTo>
                  <a:close/>
                  <a:moveTo>
                    <a:pt x="1257354" y="2176765"/>
                  </a:moveTo>
                  <a:lnTo>
                    <a:pt x="1272260" y="2176765"/>
                  </a:lnTo>
                  <a:lnTo>
                    <a:pt x="1272260" y="2399745"/>
                  </a:lnTo>
                  <a:lnTo>
                    <a:pt x="1236972" y="2399745"/>
                  </a:lnTo>
                  <a:lnTo>
                    <a:pt x="1236972" y="2219962"/>
                  </a:lnTo>
                  <a:cubicBezTo>
                    <a:pt x="1230584" y="2224525"/>
                    <a:pt x="1223715" y="2228403"/>
                    <a:pt x="1216363" y="2231597"/>
                  </a:cubicBezTo>
                  <a:cubicBezTo>
                    <a:pt x="1209011" y="2234792"/>
                    <a:pt x="1200621" y="2237605"/>
                    <a:pt x="1191190" y="2240039"/>
                  </a:cubicBezTo>
                  <a:lnTo>
                    <a:pt x="1191190" y="2209923"/>
                  </a:lnTo>
                  <a:cubicBezTo>
                    <a:pt x="1197071" y="2207997"/>
                    <a:pt x="1202750" y="2205968"/>
                    <a:pt x="1208225" y="2203839"/>
                  </a:cubicBezTo>
                  <a:cubicBezTo>
                    <a:pt x="1213701" y="2201710"/>
                    <a:pt x="1219101" y="2199326"/>
                    <a:pt x="1224424" y="2196690"/>
                  </a:cubicBezTo>
                  <a:cubicBezTo>
                    <a:pt x="1229748" y="2194054"/>
                    <a:pt x="1235122" y="2191113"/>
                    <a:pt x="1240547" y="2187868"/>
                  </a:cubicBezTo>
                  <a:cubicBezTo>
                    <a:pt x="1245972" y="2184624"/>
                    <a:pt x="1251574" y="2180922"/>
                    <a:pt x="1257354" y="2176765"/>
                  </a:cubicBezTo>
                  <a:close/>
                  <a:moveTo>
                    <a:pt x="384113" y="2176765"/>
                  </a:moveTo>
                  <a:lnTo>
                    <a:pt x="399019" y="2176765"/>
                  </a:lnTo>
                  <a:lnTo>
                    <a:pt x="399019" y="2399745"/>
                  </a:lnTo>
                  <a:lnTo>
                    <a:pt x="363731" y="2399745"/>
                  </a:lnTo>
                  <a:lnTo>
                    <a:pt x="363731" y="2219962"/>
                  </a:lnTo>
                  <a:cubicBezTo>
                    <a:pt x="357343" y="2224525"/>
                    <a:pt x="350474" y="2228403"/>
                    <a:pt x="343122" y="2231597"/>
                  </a:cubicBezTo>
                  <a:cubicBezTo>
                    <a:pt x="335770" y="2234792"/>
                    <a:pt x="327380" y="2237605"/>
                    <a:pt x="317949" y="2240039"/>
                  </a:cubicBezTo>
                  <a:lnTo>
                    <a:pt x="317949" y="2209923"/>
                  </a:lnTo>
                  <a:cubicBezTo>
                    <a:pt x="323830" y="2207997"/>
                    <a:pt x="329509" y="2205968"/>
                    <a:pt x="334984" y="2203839"/>
                  </a:cubicBezTo>
                  <a:cubicBezTo>
                    <a:pt x="340460" y="2201710"/>
                    <a:pt x="345860" y="2199326"/>
                    <a:pt x="351183" y="2196690"/>
                  </a:cubicBezTo>
                  <a:cubicBezTo>
                    <a:pt x="356507" y="2194054"/>
                    <a:pt x="361881" y="2191113"/>
                    <a:pt x="367306" y="2187868"/>
                  </a:cubicBezTo>
                  <a:cubicBezTo>
                    <a:pt x="372731" y="2184624"/>
                    <a:pt x="378333" y="2180922"/>
                    <a:pt x="384113" y="2176765"/>
                  </a:cubicBezTo>
                  <a:close/>
                  <a:moveTo>
                    <a:pt x="10273078" y="1842347"/>
                  </a:moveTo>
                  <a:lnTo>
                    <a:pt x="10287984" y="1842347"/>
                  </a:lnTo>
                  <a:lnTo>
                    <a:pt x="10287984" y="2065327"/>
                  </a:lnTo>
                  <a:lnTo>
                    <a:pt x="10252696" y="2065327"/>
                  </a:lnTo>
                  <a:lnTo>
                    <a:pt x="10252696" y="1885543"/>
                  </a:lnTo>
                  <a:cubicBezTo>
                    <a:pt x="10246308" y="1890107"/>
                    <a:pt x="10239438" y="1893985"/>
                    <a:pt x="10232087" y="1897179"/>
                  </a:cubicBezTo>
                  <a:cubicBezTo>
                    <a:pt x="10224735" y="1900374"/>
                    <a:pt x="10216344" y="1903187"/>
                    <a:pt x="10206914" y="1905621"/>
                  </a:cubicBezTo>
                  <a:lnTo>
                    <a:pt x="10206914" y="1875505"/>
                  </a:lnTo>
                  <a:cubicBezTo>
                    <a:pt x="10212795" y="1873579"/>
                    <a:pt x="10218474" y="1871550"/>
                    <a:pt x="10223949" y="1869421"/>
                  </a:cubicBezTo>
                  <a:cubicBezTo>
                    <a:pt x="10229425" y="1867292"/>
                    <a:pt x="10234825" y="1864908"/>
                    <a:pt x="10240148" y="1862272"/>
                  </a:cubicBezTo>
                  <a:cubicBezTo>
                    <a:pt x="10245472" y="1859636"/>
                    <a:pt x="10250846" y="1856695"/>
                    <a:pt x="10256271" y="1853450"/>
                  </a:cubicBezTo>
                  <a:cubicBezTo>
                    <a:pt x="10261696" y="1850206"/>
                    <a:pt x="10267298" y="1846504"/>
                    <a:pt x="10273078" y="1842347"/>
                  </a:cubicBezTo>
                  <a:close/>
                  <a:moveTo>
                    <a:pt x="9385054" y="1842347"/>
                  </a:moveTo>
                  <a:lnTo>
                    <a:pt x="9399960" y="1842347"/>
                  </a:lnTo>
                  <a:lnTo>
                    <a:pt x="9399960" y="2065327"/>
                  </a:lnTo>
                  <a:lnTo>
                    <a:pt x="9364672" y="2065327"/>
                  </a:lnTo>
                  <a:lnTo>
                    <a:pt x="9364672" y="1885543"/>
                  </a:lnTo>
                  <a:cubicBezTo>
                    <a:pt x="9358284" y="1890107"/>
                    <a:pt x="9351414" y="1893985"/>
                    <a:pt x="9344063" y="1897179"/>
                  </a:cubicBezTo>
                  <a:cubicBezTo>
                    <a:pt x="9336711" y="1900374"/>
                    <a:pt x="9328320" y="1903187"/>
                    <a:pt x="9318890" y="1905621"/>
                  </a:cubicBezTo>
                  <a:lnTo>
                    <a:pt x="9318890" y="1875505"/>
                  </a:lnTo>
                  <a:cubicBezTo>
                    <a:pt x="9324771" y="1873579"/>
                    <a:pt x="9330450" y="1871550"/>
                    <a:pt x="9335925" y="1869421"/>
                  </a:cubicBezTo>
                  <a:cubicBezTo>
                    <a:pt x="9341401" y="1867292"/>
                    <a:pt x="9346801" y="1864908"/>
                    <a:pt x="9352124" y="1862272"/>
                  </a:cubicBezTo>
                  <a:cubicBezTo>
                    <a:pt x="9357448" y="1859636"/>
                    <a:pt x="9362822" y="1856695"/>
                    <a:pt x="9368247" y="1853450"/>
                  </a:cubicBezTo>
                  <a:cubicBezTo>
                    <a:pt x="9373672" y="1850206"/>
                    <a:pt x="9379274" y="1846504"/>
                    <a:pt x="9385054" y="1842347"/>
                  </a:cubicBezTo>
                  <a:close/>
                  <a:moveTo>
                    <a:pt x="7515223" y="1842347"/>
                  </a:moveTo>
                  <a:lnTo>
                    <a:pt x="7530129" y="1842347"/>
                  </a:lnTo>
                  <a:lnTo>
                    <a:pt x="7530129" y="2065327"/>
                  </a:lnTo>
                  <a:lnTo>
                    <a:pt x="7494841" y="2065327"/>
                  </a:lnTo>
                  <a:lnTo>
                    <a:pt x="7494841" y="1885543"/>
                  </a:lnTo>
                  <a:cubicBezTo>
                    <a:pt x="7488453" y="1890107"/>
                    <a:pt x="7481584" y="1893985"/>
                    <a:pt x="7474232" y="1897179"/>
                  </a:cubicBezTo>
                  <a:cubicBezTo>
                    <a:pt x="7466880" y="1900374"/>
                    <a:pt x="7458490" y="1903187"/>
                    <a:pt x="7449059" y="1905621"/>
                  </a:cubicBezTo>
                  <a:lnTo>
                    <a:pt x="7449059" y="1875505"/>
                  </a:lnTo>
                  <a:cubicBezTo>
                    <a:pt x="7454940" y="1873579"/>
                    <a:pt x="7460619" y="1871550"/>
                    <a:pt x="7466094" y="1869421"/>
                  </a:cubicBezTo>
                  <a:cubicBezTo>
                    <a:pt x="7471570" y="1867292"/>
                    <a:pt x="7476970" y="1864908"/>
                    <a:pt x="7482293" y="1862272"/>
                  </a:cubicBezTo>
                  <a:cubicBezTo>
                    <a:pt x="7487617" y="1859636"/>
                    <a:pt x="7492991" y="1856695"/>
                    <a:pt x="7498416" y="1853450"/>
                  </a:cubicBezTo>
                  <a:cubicBezTo>
                    <a:pt x="7503841" y="1850206"/>
                    <a:pt x="7509443" y="1846504"/>
                    <a:pt x="7515223" y="1842347"/>
                  </a:cubicBezTo>
                  <a:close/>
                  <a:moveTo>
                    <a:pt x="6143623" y="1842347"/>
                  </a:moveTo>
                  <a:lnTo>
                    <a:pt x="6158529" y="1842347"/>
                  </a:lnTo>
                  <a:lnTo>
                    <a:pt x="6158529" y="2065327"/>
                  </a:lnTo>
                  <a:lnTo>
                    <a:pt x="6123241" y="2065327"/>
                  </a:lnTo>
                  <a:lnTo>
                    <a:pt x="6123241" y="1885543"/>
                  </a:lnTo>
                  <a:cubicBezTo>
                    <a:pt x="6116853" y="1890107"/>
                    <a:pt x="6109984" y="1893985"/>
                    <a:pt x="6102632" y="1897179"/>
                  </a:cubicBezTo>
                  <a:cubicBezTo>
                    <a:pt x="6095280" y="1900374"/>
                    <a:pt x="6086890" y="1903187"/>
                    <a:pt x="6077459" y="1905621"/>
                  </a:cubicBezTo>
                  <a:lnTo>
                    <a:pt x="6077459" y="1875505"/>
                  </a:lnTo>
                  <a:cubicBezTo>
                    <a:pt x="6083340" y="1873579"/>
                    <a:pt x="6089019" y="1871550"/>
                    <a:pt x="6094494" y="1869421"/>
                  </a:cubicBezTo>
                  <a:cubicBezTo>
                    <a:pt x="6099970" y="1867292"/>
                    <a:pt x="6105370" y="1864908"/>
                    <a:pt x="6110693" y="1862272"/>
                  </a:cubicBezTo>
                  <a:cubicBezTo>
                    <a:pt x="6116017" y="1859636"/>
                    <a:pt x="6121391" y="1856695"/>
                    <a:pt x="6126816" y="1853450"/>
                  </a:cubicBezTo>
                  <a:cubicBezTo>
                    <a:pt x="6132241" y="1850206"/>
                    <a:pt x="6137843" y="1846504"/>
                    <a:pt x="6143623" y="1842347"/>
                  </a:cubicBezTo>
                  <a:close/>
                  <a:moveTo>
                    <a:pt x="4222720" y="1842347"/>
                  </a:moveTo>
                  <a:lnTo>
                    <a:pt x="4237627" y="1842347"/>
                  </a:lnTo>
                  <a:lnTo>
                    <a:pt x="4237627" y="2065327"/>
                  </a:lnTo>
                  <a:lnTo>
                    <a:pt x="4202339" y="2065327"/>
                  </a:lnTo>
                  <a:lnTo>
                    <a:pt x="4202339" y="1885543"/>
                  </a:lnTo>
                  <a:cubicBezTo>
                    <a:pt x="4195950" y="1890107"/>
                    <a:pt x="4189081" y="1893985"/>
                    <a:pt x="4181729" y="1897179"/>
                  </a:cubicBezTo>
                  <a:cubicBezTo>
                    <a:pt x="4174378" y="1900374"/>
                    <a:pt x="4165987" y="1903187"/>
                    <a:pt x="4156556" y="1905621"/>
                  </a:cubicBezTo>
                  <a:lnTo>
                    <a:pt x="4156556" y="1875505"/>
                  </a:lnTo>
                  <a:cubicBezTo>
                    <a:pt x="4162438" y="1873579"/>
                    <a:pt x="4168116" y="1871550"/>
                    <a:pt x="4173591" y="1869421"/>
                  </a:cubicBezTo>
                  <a:cubicBezTo>
                    <a:pt x="4179067" y="1867292"/>
                    <a:pt x="4184468" y="1864908"/>
                    <a:pt x="4189791" y="1862272"/>
                  </a:cubicBezTo>
                  <a:cubicBezTo>
                    <a:pt x="4195115" y="1859636"/>
                    <a:pt x="4200489" y="1856695"/>
                    <a:pt x="4205915" y="1853450"/>
                  </a:cubicBezTo>
                  <a:cubicBezTo>
                    <a:pt x="4211338" y="1850206"/>
                    <a:pt x="4216940" y="1846504"/>
                    <a:pt x="4222720" y="1842347"/>
                  </a:cubicBezTo>
                  <a:close/>
                  <a:moveTo>
                    <a:pt x="3333016" y="1842347"/>
                  </a:moveTo>
                  <a:lnTo>
                    <a:pt x="3347923" y="1842347"/>
                  </a:lnTo>
                  <a:lnTo>
                    <a:pt x="3347923" y="2065327"/>
                  </a:lnTo>
                  <a:lnTo>
                    <a:pt x="3312636" y="2065327"/>
                  </a:lnTo>
                  <a:lnTo>
                    <a:pt x="3312636" y="1885543"/>
                  </a:lnTo>
                  <a:cubicBezTo>
                    <a:pt x="3306247" y="1890107"/>
                    <a:pt x="3299377" y="1893985"/>
                    <a:pt x="3292025" y="1897179"/>
                  </a:cubicBezTo>
                  <a:cubicBezTo>
                    <a:pt x="3284674" y="1900374"/>
                    <a:pt x="3276283" y="1903187"/>
                    <a:pt x="3266852" y="1905621"/>
                  </a:cubicBezTo>
                  <a:lnTo>
                    <a:pt x="3266852" y="1875505"/>
                  </a:lnTo>
                  <a:cubicBezTo>
                    <a:pt x="3272734" y="1873579"/>
                    <a:pt x="3278412" y="1871550"/>
                    <a:pt x="3283887" y="1869421"/>
                  </a:cubicBezTo>
                  <a:cubicBezTo>
                    <a:pt x="3289365" y="1867292"/>
                    <a:pt x="3294763" y="1864908"/>
                    <a:pt x="3300088" y="1862272"/>
                  </a:cubicBezTo>
                  <a:cubicBezTo>
                    <a:pt x="3305410" y="1859636"/>
                    <a:pt x="3310784" y="1856695"/>
                    <a:pt x="3316209" y="1853450"/>
                  </a:cubicBezTo>
                  <a:cubicBezTo>
                    <a:pt x="3321634" y="1850206"/>
                    <a:pt x="3327236" y="1846504"/>
                    <a:pt x="3333016" y="1842347"/>
                  </a:cubicBezTo>
                  <a:close/>
                  <a:moveTo>
                    <a:pt x="1449476" y="1842347"/>
                  </a:moveTo>
                  <a:lnTo>
                    <a:pt x="1464382" y="1842347"/>
                  </a:lnTo>
                  <a:lnTo>
                    <a:pt x="1464382" y="2065327"/>
                  </a:lnTo>
                  <a:lnTo>
                    <a:pt x="1429094" y="2065327"/>
                  </a:lnTo>
                  <a:lnTo>
                    <a:pt x="1429094" y="1885543"/>
                  </a:lnTo>
                  <a:cubicBezTo>
                    <a:pt x="1422706" y="1890107"/>
                    <a:pt x="1415836" y="1893985"/>
                    <a:pt x="1408485" y="1897179"/>
                  </a:cubicBezTo>
                  <a:cubicBezTo>
                    <a:pt x="1401133" y="1900374"/>
                    <a:pt x="1392742" y="1903187"/>
                    <a:pt x="1383312" y="1905621"/>
                  </a:cubicBezTo>
                  <a:lnTo>
                    <a:pt x="1383312" y="1875505"/>
                  </a:lnTo>
                  <a:cubicBezTo>
                    <a:pt x="1389193" y="1873579"/>
                    <a:pt x="1394872" y="1871550"/>
                    <a:pt x="1400347" y="1869421"/>
                  </a:cubicBezTo>
                  <a:cubicBezTo>
                    <a:pt x="1405823" y="1867292"/>
                    <a:pt x="1411223" y="1864908"/>
                    <a:pt x="1416546" y="1862272"/>
                  </a:cubicBezTo>
                  <a:cubicBezTo>
                    <a:pt x="1421870" y="1859636"/>
                    <a:pt x="1427244" y="1856695"/>
                    <a:pt x="1432669" y="1853450"/>
                  </a:cubicBezTo>
                  <a:cubicBezTo>
                    <a:pt x="1438094" y="1850206"/>
                    <a:pt x="1443696" y="1846504"/>
                    <a:pt x="1449476" y="1842347"/>
                  </a:cubicBezTo>
                  <a:close/>
                  <a:moveTo>
                    <a:pt x="77530" y="1842347"/>
                  </a:moveTo>
                  <a:lnTo>
                    <a:pt x="92436" y="1842347"/>
                  </a:lnTo>
                  <a:lnTo>
                    <a:pt x="92436" y="2065327"/>
                  </a:lnTo>
                  <a:lnTo>
                    <a:pt x="57148" y="2065327"/>
                  </a:lnTo>
                  <a:lnTo>
                    <a:pt x="57148" y="1885543"/>
                  </a:lnTo>
                  <a:cubicBezTo>
                    <a:pt x="50760" y="1890107"/>
                    <a:pt x="43891" y="1893985"/>
                    <a:pt x="36539" y="1897179"/>
                  </a:cubicBezTo>
                  <a:cubicBezTo>
                    <a:pt x="29187" y="1900374"/>
                    <a:pt x="20797" y="1903187"/>
                    <a:pt x="11366" y="1905621"/>
                  </a:cubicBezTo>
                  <a:lnTo>
                    <a:pt x="11366" y="1875505"/>
                  </a:lnTo>
                  <a:cubicBezTo>
                    <a:pt x="17247" y="1873579"/>
                    <a:pt x="22926" y="1871550"/>
                    <a:pt x="28401" y="1869421"/>
                  </a:cubicBezTo>
                  <a:cubicBezTo>
                    <a:pt x="33877" y="1867292"/>
                    <a:pt x="39277" y="1864908"/>
                    <a:pt x="44600" y="1862272"/>
                  </a:cubicBezTo>
                  <a:cubicBezTo>
                    <a:pt x="49924" y="1859636"/>
                    <a:pt x="55298" y="1856695"/>
                    <a:pt x="60723" y="1853450"/>
                  </a:cubicBezTo>
                  <a:cubicBezTo>
                    <a:pt x="66148" y="1850206"/>
                    <a:pt x="71750" y="1846504"/>
                    <a:pt x="77530" y="1842347"/>
                  </a:cubicBezTo>
                  <a:close/>
                  <a:moveTo>
                    <a:pt x="12035151" y="1522003"/>
                  </a:moveTo>
                  <a:lnTo>
                    <a:pt x="12050057" y="1522003"/>
                  </a:lnTo>
                  <a:lnTo>
                    <a:pt x="12050057" y="1744983"/>
                  </a:lnTo>
                  <a:lnTo>
                    <a:pt x="12014769" y="1744983"/>
                  </a:lnTo>
                  <a:lnTo>
                    <a:pt x="12014769" y="1565200"/>
                  </a:lnTo>
                  <a:cubicBezTo>
                    <a:pt x="12008381" y="1569763"/>
                    <a:pt x="12001511" y="1573641"/>
                    <a:pt x="11994160" y="1576835"/>
                  </a:cubicBezTo>
                  <a:cubicBezTo>
                    <a:pt x="11986808" y="1580030"/>
                    <a:pt x="11978417" y="1582843"/>
                    <a:pt x="11968987" y="1585277"/>
                  </a:cubicBezTo>
                  <a:lnTo>
                    <a:pt x="11968987" y="1555161"/>
                  </a:lnTo>
                  <a:cubicBezTo>
                    <a:pt x="11974868" y="1553235"/>
                    <a:pt x="11980547" y="1551206"/>
                    <a:pt x="11986022" y="1549077"/>
                  </a:cubicBezTo>
                  <a:cubicBezTo>
                    <a:pt x="11991498" y="1546948"/>
                    <a:pt x="11996898" y="1544565"/>
                    <a:pt x="12002221" y="1541928"/>
                  </a:cubicBezTo>
                  <a:cubicBezTo>
                    <a:pt x="12007545" y="1539292"/>
                    <a:pt x="12012919" y="1536351"/>
                    <a:pt x="12018344" y="1533106"/>
                  </a:cubicBezTo>
                  <a:cubicBezTo>
                    <a:pt x="12023769" y="1529862"/>
                    <a:pt x="12029371" y="1526161"/>
                    <a:pt x="12035151" y="1522003"/>
                  </a:cubicBezTo>
                  <a:close/>
                  <a:moveTo>
                    <a:pt x="10410370" y="1522003"/>
                  </a:moveTo>
                  <a:lnTo>
                    <a:pt x="10425276" y="1522003"/>
                  </a:lnTo>
                  <a:lnTo>
                    <a:pt x="10425276" y="1744983"/>
                  </a:lnTo>
                  <a:lnTo>
                    <a:pt x="10389988" y="1744983"/>
                  </a:lnTo>
                  <a:lnTo>
                    <a:pt x="10389988" y="1565200"/>
                  </a:lnTo>
                  <a:cubicBezTo>
                    <a:pt x="10383600" y="1569763"/>
                    <a:pt x="10376730" y="1573641"/>
                    <a:pt x="10369379" y="1576835"/>
                  </a:cubicBezTo>
                  <a:cubicBezTo>
                    <a:pt x="10362027" y="1580030"/>
                    <a:pt x="10353636" y="1582843"/>
                    <a:pt x="10344206" y="1585277"/>
                  </a:cubicBezTo>
                  <a:lnTo>
                    <a:pt x="10344206" y="1555161"/>
                  </a:lnTo>
                  <a:cubicBezTo>
                    <a:pt x="10350087" y="1553235"/>
                    <a:pt x="10355766" y="1551206"/>
                    <a:pt x="10361241" y="1549077"/>
                  </a:cubicBezTo>
                  <a:cubicBezTo>
                    <a:pt x="10366717" y="1546948"/>
                    <a:pt x="10372117" y="1544565"/>
                    <a:pt x="10377440" y="1541928"/>
                  </a:cubicBezTo>
                  <a:cubicBezTo>
                    <a:pt x="10382764" y="1539292"/>
                    <a:pt x="10388138" y="1536351"/>
                    <a:pt x="10393563" y="1533106"/>
                  </a:cubicBezTo>
                  <a:cubicBezTo>
                    <a:pt x="10398988" y="1529862"/>
                    <a:pt x="10404590" y="1526161"/>
                    <a:pt x="10410370" y="1522003"/>
                  </a:cubicBezTo>
                  <a:close/>
                  <a:moveTo>
                    <a:pt x="9532663" y="1522003"/>
                  </a:moveTo>
                  <a:lnTo>
                    <a:pt x="9547569" y="1522003"/>
                  </a:lnTo>
                  <a:lnTo>
                    <a:pt x="9547569" y="1744983"/>
                  </a:lnTo>
                  <a:lnTo>
                    <a:pt x="9512281" y="1744983"/>
                  </a:lnTo>
                  <a:lnTo>
                    <a:pt x="9512281" y="1565200"/>
                  </a:lnTo>
                  <a:cubicBezTo>
                    <a:pt x="9505893" y="1569763"/>
                    <a:pt x="9499023" y="1573641"/>
                    <a:pt x="9491672" y="1576835"/>
                  </a:cubicBezTo>
                  <a:cubicBezTo>
                    <a:pt x="9484320" y="1580030"/>
                    <a:pt x="9475929" y="1582843"/>
                    <a:pt x="9466499" y="1585277"/>
                  </a:cubicBezTo>
                  <a:lnTo>
                    <a:pt x="9466499" y="1555161"/>
                  </a:lnTo>
                  <a:cubicBezTo>
                    <a:pt x="9472380" y="1553235"/>
                    <a:pt x="9478059" y="1551206"/>
                    <a:pt x="9483534" y="1549077"/>
                  </a:cubicBezTo>
                  <a:cubicBezTo>
                    <a:pt x="9489010" y="1546948"/>
                    <a:pt x="9494410" y="1544565"/>
                    <a:pt x="9499733" y="1541928"/>
                  </a:cubicBezTo>
                  <a:cubicBezTo>
                    <a:pt x="9505057" y="1539292"/>
                    <a:pt x="9510431" y="1536351"/>
                    <a:pt x="9515856" y="1533106"/>
                  </a:cubicBezTo>
                  <a:cubicBezTo>
                    <a:pt x="9521281" y="1529862"/>
                    <a:pt x="9526883" y="1526161"/>
                    <a:pt x="9532663" y="1522003"/>
                  </a:cubicBezTo>
                  <a:close/>
                  <a:moveTo>
                    <a:pt x="8660208" y="1522003"/>
                  </a:moveTo>
                  <a:lnTo>
                    <a:pt x="8675114" y="1522003"/>
                  </a:lnTo>
                  <a:lnTo>
                    <a:pt x="8675114" y="1744983"/>
                  </a:lnTo>
                  <a:lnTo>
                    <a:pt x="8639826" y="1744983"/>
                  </a:lnTo>
                  <a:lnTo>
                    <a:pt x="8639826" y="1565200"/>
                  </a:lnTo>
                  <a:cubicBezTo>
                    <a:pt x="8633438" y="1569763"/>
                    <a:pt x="8626568" y="1573641"/>
                    <a:pt x="8619217" y="1576835"/>
                  </a:cubicBezTo>
                  <a:cubicBezTo>
                    <a:pt x="8611865" y="1580030"/>
                    <a:pt x="8603474" y="1582843"/>
                    <a:pt x="8594044" y="1585277"/>
                  </a:cubicBezTo>
                  <a:lnTo>
                    <a:pt x="8594044" y="1555161"/>
                  </a:lnTo>
                  <a:cubicBezTo>
                    <a:pt x="8599925" y="1553235"/>
                    <a:pt x="8605604" y="1551206"/>
                    <a:pt x="8611079" y="1549077"/>
                  </a:cubicBezTo>
                  <a:cubicBezTo>
                    <a:pt x="8616555" y="1546948"/>
                    <a:pt x="8621955" y="1544565"/>
                    <a:pt x="8627278" y="1541928"/>
                  </a:cubicBezTo>
                  <a:cubicBezTo>
                    <a:pt x="8632602" y="1539292"/>
                    <a:pt x="8637976" y="1536351"/>
                    <a:pt x="8643401" y="1533106"/>
                  </a:cubicBezTo>
                  <a:cubicBezTo>
                    <a:pt x="8648826" y="1529862"/>
                    <a:pt x="8654428" y="1526161"/>
                    <a:pt x="8660208" y="1522003"/>
                  </a:cubicBezTo>
                  <a:close/>
                  <a:moveTo>
                    <a:pt x="6671076" y="1522003"/>
                  </a:moveTo>
                  <a:lnTo>
                    <a:pt x="6685982" y="1522003"/>
                  </a:lnTo>
                  <a:lnTo>
                    <a:pt x="6685982" y="1744983"/>
                  </a:lnTo>
                  <a:lnTo>
                    <a:pt x="6650694" y="1744983"/>
                  </a:lnTo>
                  <a:lnTo>
                    <a:pt x="6650694" y="1565200"/>
                  </a:lnTo>
                  <a:cubicBezTo>
                    <a:pt x="6644306" y="1569763"/>
                    <a:pt x="6637437" y="1573641"/>
                    <a:pt x="6630085" y="1576835"/>
                  </a:cubicBezTo>
                  <a:cubicBezTo>
                    <a:pt x="6622733" y="1580030"/>
                    <a:pt x="6614343" y="1582843"/>
                    <a:pt x="6604912" y="1585277"/>
                  </a:cubicBezTo>
                  <a:lnTo>
                    <a:pt x="6604912" y="1555161"/>
                  </a:lnTo>
                  <a:cubicBezTo>
                    <a:pt x="6610793" y="1553235"/>
                    <a:pt x="6616472" y="1551206"/>
                    <a:pt x="6621947" y="1549077"/>
                  </a:cubicBezTo>
                  <a:cubicBezTo>
                    <a:pt x="6627423" y="1546948"/>
                    <a:pt x="6632823" y="1544565"/>
                    <a:pt x="6638146" y="1541928"/>
                  </a:cubicBezTo>
                  <a:cubicBezTo>
                    <a:pt x="6643470" y="1539292"/>
                    <a:pt x="6648844" y="1536351"/>
                    <a:pt x="6654269" y="1533106"/>
                  </a:cubicBezTo>
                  <a:cubicBezTo>
                    <a:pt x="6659694" y="1529862"/>
                    <a:pt x="6665296" y="1526161"/>
                    <a:pt x="6671076" y="1522003"/>
                  </a:cubicBezTo>
                  <a:close/>
                  <a:moveTo>
                    <a:pt x="5979098" y="1522003"/>
                  </a:moveTo>
                  <a:lnTo>
                    <a:pt x="5994004" y="1522003"/>
                  </a:lnTo>
                  <a:lnTo>
                    <a:pt x="5994004" y="1744983"/>
                  </a:lnTo>
                  <a:lnTo>
                    <a:pt x="5958716" y="1744983"/>
                  </a:lnTo>
                  <a:lnTo>
                    <a:pt x="5958716" y="1565200"/>
                  </a:lnTo>
                  <a:cubicBezTo>
                    <a:pt x="5952328" y="1569763"/>
                    <a:pt x="5945459" y="1573641"/>
                    <a:pt x="5938107" y="1576835"/>
                  </a:cubicBezTo>
                  <a:cubicBezTo>
                    <a:pt x="5930755" y="1580030"/>
                    <a:pt x="5922365" y="1582843"/>
                    <a:pt x="5912934" y="1585277"/>
                  </a:cubicBezTo>
                  <a:lnTo>
                    <a:pt x="5912934" y="1555161"/>
                  </a:lnTo>
                  <a:cubicBezTo>
                    <a:pt x="5918815" y="1553235"/>
                    <a:pt x="5924495" y="1551206"/>
                    <a:pt x="5929969" y="1549077"/>
                  </a:cubicBezTo>
                  <a:cubicBezTo>
                    <a:pt x="5935446" y="1546948"/>
                    <a:pt x="5940845" y="1544565"/>
                    <a:pt x="5946168" y="1541928"/>
                  </a:cubicBezTo>
                  <a:cubicBezTo>
                    <a:pt x="5951492" y="1539292"/>
                    <a:pt x="5956866" y="1536351"/>
                    <a:pt x="5962291" y="1533106"/>
                  </a:cubicBezTo>
                  <a:cubicBezTo>
                    <a:pt x="5967716" y="1529862"/>
                    <a:pt x="5973318" y="1526161"/>
                    <a:pt x="5979098" y="1522003"/>
                  </a:cubicBezTo>
                  <a:close/>
                  <a:moveTo>
                    <a:pt x="4354317" y="1522003"/>
                  </a:moveTo>
                  <a:lnTo>
                    <a:pt x="4369223" y="1522003"/>
                  </a:lnTo>
                  <a:lnTo>
                    <a:pt x="4369223" y="1744983"/>
                  </a:lnTo>
                  <a:lnTo>
                    <a:pt x="4333935" y="1744983"/>
                  </a:lnTo>
                  <a:lnTo>
                    <a:pt x="4333935" y="1565200"/>
                  </a:lnTo>
                  <a:cubicBezTo>
                    <a:pt x="4327547" y="1569763"/>
                    <a:pt x="4320678" y="1573641"/>
                    <a:pt x="4313326" y="1576835"/>
                  </a:cubicBezTo>
                  <a:cubicBezTo>
                    <a:pt x="4305974" y="1580030"/>
                    <a:pt x="4297584" y="1582843"/>
                    <a:pt x="4288153" y="1585277"/>
                  </a:cubicBezTo>
                  <a:lnTo>
                    <a:pt x="4288153" y="1555161"/>
                  </a:lnTo>
                  <a:cubicBezTo>
                    <a:pt x="4294034" y="1553235"/>
                    <a:pt x="4299713" y="1551206"/>
                    <a:pt x="4305188" y="1549077"/>
                  </a:cubicBezTo>
                  <a:cubicBezTo>
                    <a:pt x="4310665" y="1546948"/>
                    <a:pt x="4316064" y="1544565"/>
                    <a:pt x="4321387" y="1541928"/>
                  </a:cubicBezTo>
                  <a:cubicBezTo>
                    <a:pt x="4326711" y="1539292"/>
                    <a:pt x="4332085" y="1536351"/>
                    <a:pt x="4337511" y="1533106"/>
                  </a:cubicBezTo>
                  <a:cubicBezTo>
                    <a:pt x="4342935" y="1529862"/>
                    <a:pt x="4348537" y="1526161"/>
                    <a:pt x="4354317" y="1522003"/>
                  </a:cubicBezTo>
                  <a:close/>
                  <a:moveTo>
                    <a:pt x="3476610" y="1522003"/>
                  </a:moveTo>
                  <a:lnTo>
                    <a:pt x="3491517" y="1522003"/>
                  </a:lnTo>
                  <a:lnTo>
                    <a:pt x="3491517" y="1744983"/>
                  </a:lnTo>
                  <a:lnTo>
                    <a:pt x="3456229" y="1744983"/>
                  </a:lnTo>
                  <a:lnTo>
                    <a:pt x="3456229" y="1565200"/>
                  </a:lnTo>
                  <a:cubicBezTo>
                    <a:pt x="3449840" y="1569763"/>
                    <a:pt x="3442970" y="1573641"/>
                    <a:pt x="3435619" y="1576835"/>
                  </a:cubicBezTo>
                  <a:cubicBezTo>
                    <a:pt x="3428268" y="1580030"/>
                    <a:pt x="3419877" y="1582843"/>
                    <a:pt x="3410446" y="1585277"/>
                  </a:cubicBezTo>
                  <a:lnTo>
                    <a:pt x="3410446" y="1555161"/>
                  </a:lnTo>
                  <a:cubicBezTo>
                    <a:pt x="3416328" y="1553235"/>
                    <a:pt x="3422006" y="1551206"/>
                    <a:pt x="3427481" y="1549077"/>
                  </a:cubicBezTo>
                  <a:cubicBezTo>
                    <a:pt x="3432958" y="1546948"/>
                    <a:pt x="3438357" y="1544565"/>
                    <a:pt x="3443681" y="1541928"/>
                  </a:cubicBezTo>
                  <a:cubicBezTo>
                    <a:pt x="3449004" y="1539292"/>
                    <a:pt x="3454378" y="1536351"/>
                    <a:pt x="3459803" y="1533106"/>
                  </a:cubicBezTo>
                  <a:cubicBezTo>
                    <a:pt x="3465228" y="1529862"/>
                    <a:pt x="3470830" y="1526161"/>
                    <a:pt x="3476610" y="1522003"/>
                  </a:cubicBezTo>
                  <a:close/>
                  <a:moveTo>
                    <a:pt x="2604155" y="1522003"/>
                  </a:moveTo>
                  <a:lnTo>
                    <a:pt x="2619062" y="1522003"/>
                  </a:lnTo>
                  <a:lnTo>
                    <a:pt x="2619062" y="1744983"/>
                  </a:lnTo>
                  <a:lnTo>
                    <a:pt x="2583774" y="1744983"/>
                  </a:lnTo>
                  <a:lnTo>
                    <a:pt x="2583774" y="1565200"/>
                  </a:lnTo>
                  <a:cubicBezTo>
                    <a:pt x="2577386" y="1569763"/>
                    <a:pt x="2570516" y="1573641"/>
                    <a:pt x="2563164" y="1576835"/>
                  </a:cubicBezTo>
                  <a:cubicBezTo>
                    <a:pt x="2555812" y="1580030"/>
                    <a:pt x="2547422" y="1582843"/>
                    <a:pt x="2537992" y="1585277"/>
                  </a:cubicBezTo>
                  <a:lnTo>
                    <a:pt x="2537992" y="1555161"/>
                  </a:lnTo>
                  <a:cubicBezTo>
                    <a:pt x="2543872" y="1553235"/>
                    <a:pt x="2549552" y="1551206"/>
                    <a:pt x="2555027" y="1549077"/>
                  </a:cubicBezTo>
                  <a:cubicBezTo>
                    <a:pt x="2560503" y="1546948"/>
                    <a:pt x="2565902" y="1544565"/>
                    <a:pt x="2571226" y="1541928"/>
                  </a:cubicBezTo>
                  <a:cubicBezTo>
                    <a:pt x="2576549" y="1539292"/>
                    <a:pt x="2581923" y="1536351"/>
                    <a:pt x="2587348" y="1533106"/>
                  </a:cubicBezTo>
                  <a:cubicBezTo>
                    <a:pt x="2592773" y="1529862"/>
                    <a:pt x="2598375" y="1526161"/>
                    <a:pt x="2604155" y="1522003"/>
                  </a:cubicBezTo>
                  <a:close/>
                  <a:moveTo>
                    <a:pt x="619557" y="1522003"/>
                  </a:moveTo>
                  <a:lnTo>
                    <a:pt x="634463" y="1522003"/>
                  </a:lnTo>
                  <a:lnTo>
                    <a:pt x="634463" y="1744983"/>
                  </a:lnTo>
                  <a:lnTo>
                    <a:pt x="599175" y="1744983"/>
                  </a:lnTo>
                  <a:lnTo>
                    <a:pt x="599175" y="1565200"/>
                  </a:lnTo>
                  <a:cubicBezTo>
                    <a:pt x="592787" y="1569763"/>
                    <a:pt x="585918" y="1573641"/>
                    <a:pt x="578566" y="1576835"/>
                  </a:cubicBezTo>
                  <a:cubicBezTo>
                    <a:pt x="571214" y="1580030"/>
                    <a:pt x="562824" y="1582843"/>
                    <a:pt x="553393" y="1585277"/>
                  </a:cubicBezTo>
                  <a:lnTo>
                    <a:pt x="553393" y="1555161"/>
                  </a:lnTo>
                  <a:cubicBezTo>
                    <a:pt x="559274" y="1553235"/>
                    <a:pt x="564953" y="1551206"/>
                    <a:pt x="570428" y="1549077"/>
                  </a:cubicBezTo>
                  <a:cubicBezTo>
                    <a:pt x="575904" y="1546948"/>
                    <a:pt x="581304" y="1544565"/>
                    <a:pt x="586627" y="1541928"/>
                  </a:cubicBezTo>
                  <a:cubicBezTo>
                    <a:pt x="591951" y="1539292"/>
                    <a:pt x="597325" y="1536351"/>
                    <a:pt x="602750" y="1533107"/>
                  </a:cubicBezTo>
                  <a:cubicBezTo>
                    <a:pt x="608175" y="1529862"/>
                    <a:pt x="613777" y="1526161"/>
                    <a:pt x="619557" y="1522003"/>
                  </a:cubicBezTo>
                  <a:close/>
                  <a:moveTo>
                    <a:pt x="10298213" y="1208699"/>
                  </a:moveTo>
                  <a:lnTo>
                    <a:pt x="10313119" y="1208699"/>
                  </a:lnTo>
                  <a:lnTo>
                    <a:pt x="10313119" y="1431679"/>
                  </a:lnTo>
                  <a:lnTo>
                    <a:pt x="10277831" y="1431679"/>
                  </a:lnTo>
                  <a:lnTo>
                    <a:pt x="10277831" y="1251896"/>
                  </a:lnTo>
                  <a:cubicBezTo>
                    <a:pt x="10271443" y="1256459"/>
                    <a:pt x="10264573" y="1260337"/>
                    <a:pt x="10257222" y="1263531"/>
                  </a:cubicBezTo>
                  <a:cubicBezTo>
                    <a:pt x="10249870" y="1266726"/>
                    <a:pt x="10241479" y="1269539"/>
                    <a:pt x="10232049" y="1271973"/>
                  </a:cubicBezTo>
                  <a:lnTo>
                    <a:pt x="10232049" y="1241857"/>
                  </a:lnTo>
                  <a:cubicBezTo>
                    <a:pt x="10237930" y="1239931"/>
                    <a:pt x="10243609" y="1237902"/>
                    <a:pt x="10249084" y="1235773"/>
                  </a:cubicBezTo>
                  <a:cubicBezTo>
                    <a:pt x="10254560" y="1233644"/>
                    <a:pt x="10259960" y="1231261"/>
                    <a:pt x="10265283" y="1228624"/>
                  </a:cubicBezTo>
                  <a:cubicBezTo>
                    <a:pt x="10270607" y="1225988"/>
                    <a:pt x="10275981" y="1223047"/>
                    <a:pt x="10281406" y="1219802"/>
                  </a:cubicBezTo>
                  <a:cubicBezTo>
                    <a:pt x="10286831" y="1216558"/>
                    <a:pt x="10292433" y="1212856"/>
                    <a:pt x="10298213" y="1208699"/>
                  </a:cubicBezTo>
                  <a:close/>
                  <a:moveTo>
                    <a:pt x="7177509" y="1208699"/>
                  </a:moveTo>
                  <a:lnTo>
                    <a:pt x="7192415" y="1208699"/>
                  </a:lnTo>
                  <a:lnTo>
                    <a:pt x="7192415" y="1431679"/>
                  </a:lnTo>
                  <a:lnTo>
                    <a:pt x="7157127" y="1431679"/>
                  </a:lnTo>
                  <a:lnTo>
                    <a:pt x="7157127" y="1251896"/>
                  </a:lnTo>
                  <a:cubicBezTo>
                    <a:pt x="7150739" y="1256459"/>
                    <a:pt x="7143870" y="1260337"/>
                    <a:pt x="7136518" y="1263531"/>
                  </a:cubicBezTo>
                  <a:cubicBezTo>
                    <a:pt x="7129166" y="1266726"/>
                    <a:pt x="7120776" y="1269539"/>
                    <a:pt x="7111345" y="1271973"/>
                  </a:cubicBezTo>
                  <a:lnTo>
                    <a:pt x="7111345" y="1241857"/>
                  </a:lnTo>
                  <a:cubicBezTo>
                    <a:pt x="7117226" y="1239931"/>
                    <a:pt x="7122905" y="1237902"/>
                    <a:pt x="7128380" y="1235773"/>
                  </a:cubicBezTo>
                  <a:cubicBezTo>
                    <a:pt x="7133856" y="1233644"/>
                    <a:pt x="7139256" y="1231261"/>
                    <a:pt x="7144579" y="1228624"/>
                  </a:cubicBezTo>
                  <a:cubicBezTo>
                    <a:pt x="7149903" y="1225988"/>
                    <a:pt x="7155277" y="1223047"/>
                    <a:pt x="7160702" y="1219802"/>
                  </a:cubicBezTo>
                  <a:cubicBezTo>
                    <a:pt x="7166127" y="1216558"/>
                    <a:pt x="7171729" y="1212856"/>
                    <a:pt x="7177509" y="1208699"/>
                  </a:cubicBezTo>
                  <a:close/>
                  <a:moveTo>
                    <a:pt x="6285479" y="1208699"/>
                  </a:moveTo>
                  <a:lnTo>
                    <a:pt x="6300385" y="1208699"/>
                  </a:lnTo>
                  <a:lnTo>
                    <a:pt x="6300385" y="1431679"/>
                  </a:lnTo>
                  <a:lnTo>
                    <a:pt x="6265097" y="1431679"/>
                  </a:lnTo>
                  <a:lnTo>
                    <a:pt x="6265097" y="1251896"/>
                  </a:lnTo>
                  <a:cubicBezTo>
                    <a:pt x="6258709" y="1256459"/>
                    <a:pt x="6251840" y="1260337"/>
                    <a:pt x="6244488" y="1263531"/>
                  </a:cubicBezTo>
                  <a:cubicBezTo>
                    <a:pt x="6237136" y="1266726"/>
                    <a:pt x="6228746" y="1269539"/>
                    <a:pt x="6219315" y="1271973"/>
                  </a:cubicBezTo>
                  <a:lnTo>
                    <a:pt x="6219315" y="1241857"/>
                  </a:lnTo>
                  <a:cubicBezTo>
                    <a:pt x="6225196" y="1239931"/>
                    <a:pt x="6230875" y="1237902"/>
                    <a:pt x="6236350" y="1235773"/>
                  </a:cubicBezTo>
                  <a:cubicBezTo>
                    <a:pt x="6241826" y="1233644"/>
                    <a:pt x="6247226" y="1231261"/>
                    <a:pt x="6252549" y="1228624"/>
                  </a:cubicBezTo>
                  <a:cubicBezTo>
                    <a:pt x="6257873" y="1225988"/>
                    <a:pt x="6263247" y="1223047"/>
                    <a:pt x="6268672" y="1219802"/>
                  </a:cubicBezTo>
                  <a:cubicBezTo>
                    <a:pt x="6274097" y="1216558"/>
                    <a:pt x="6279699" y="1212856"/>
                    <a:pt x="6285479" y="1208699"/>
                  </a:cubicBezTo>
                  <a:close/>
                  <a:moveTo>
                    <a:pt x="4235746" y="1208699"/>
                  </a:moveTo>
                  <a:lnTo>
                    <a:pt x="4250651" y="1208699"/>
                  </a:lnTo>
                  <a:lnTo>
                    <a:pt x="4250651" y="1431679"/>
                  </a:lnTo>
                  <a:lnTo>
                    <a:pt x="4215364" y="1431679"/>
                  </a:lnTo>
                  <a:lnTo>
                    <a:pt x="4215364" y="1251896"/>
                  </a:lnTo>
                  <a:cubicBezTo>
                    <a:pt x="4208975" y="1256459"/>
                    <a:pt x="4202106" y="1260337"/>
                    <a:pt x="4194755" y="1263531"/>
                  </a:cubicBezTo>
                  <a:cubicBezTo>
                    <a:pt x="4187404" y="1266726"/>
                    <a:pt x="4179012" y="1269539"/>
                    <a:pt x="4169582" y="1271973"/>
                  </a:cubicBezTo>
                  <a:lnTo>
                    <a:pt x="4169582" y="1241857"/>
                  </a:lnTo>
                  <a:cubicBezTo>
                    <a:pt x="4175462" y="1239931"/>
                    <a:pt x="4181141" y="1237902"/>
                    <a:pt x="4186616" y="1235773"/>
                  </a:cubicBezTo>
                  <a:cubicBezTo>
                    <a:pt x="4192092" y="1233644"/>
                    <a:pt x="4197494" y="1231261"/>
                    <a:pt x="4202816" y="1228624"/>
                  </a:cubicBezTo>
                  <a:cubicBezTo>
                    <a:pt x="4208141" y="1225988"/>
                    <a:pt x="4213514" y="1223047"/>
                    <a:pt x="4218938" y="1219802"/>
                  </a:cubicBezTo>
                  <a:cubicBezTo>
                    <a:pt x="4224363" y="1216558"/>
                    <a:pt x="4229965" y="1212856"/>
                    <a:pt x="4235746" y="1208699"/>
                  </a:cubicBezTo>
                  <a:close/>
                  <a:moveTo>
                    <a:pt x="1114158" y="1208699"/>
                  </a:moveTo>
                  <a:lnTo>
                    <a:pt x="1129064" y="1208699"/>
                  </a:lnTo>
                  <a:lnTo>
                    <a:pt x="1129064" y="1431679"/>
                  </a:lnTo>
                  <a:lnTo>
                    <a:pt x="1093776" y="1431679"/>
                  </a:lnTo>
                  <a:lnTo>
                    <a:pt x="1093776" y="1251896"/>
                  </a:lnTo>
                  <a:cubicBezTo>
                    <a:pt x="1087390" y="1256459"/>
                    <a:pt x="1080519" y="1260337"/>
                    <a:pt x="1073167" y="1263531"/>
                  </a:cubicBezTo>
                  <a:cubicBezTo>
                    <a:pt x="1065815" y="1266726"/>
                    <a:pt x="1057425" y="1269539"/>
                    <a:pt x="1047995" y="1271973"/>
                  </a:cubicBezTo>
                  <a:lnTo>
                    <a:pt x="1047995" y="1241857"/>
                  </a:lnTo>
                  <a:cubicBezTo>
                    <a:pt x="1053877" y="1239931"/>
                    <a:pt x="1059555" y="1237902"/>
                    <a:pt x="1065030" y="1235773"/>
                  </a:cubicBezTo>
                  <a:cubicBezTo>
                    <a:pt x="1070505" y="1233644"/>
                    <a:pt x="1075905" y="1231261"/>
                    <a:pt x="1081228" y="1228624"/>
                  </a:cubicBezTo>
                  <a:cubicBezTo>
                    <a:pt x="1086552" y="1225988"/>
                    <a:pt x="1091926" y="1223047"/>
                    <a:pt x="1097351" y="1219802"/>
                  </a:cubicBezTo>
                  <a:cubicBezTo>
                    <a:pt x="1102776" y="1216558"/>
                    <a:pt x="1108378" y="1212856"/>
                    <a:pt x="1114158" y="1208699"/>
                  </a:cubicBezTo>
                  <a:close/>
                  <a:moveTo>
                    <a:pt x="220216" y="1208699"/>
                  </a:moveTo>
                  <a:lnTo>
                    <a:pt x="235122" y="1208699"/>
                  </a:lnTo>
                  <a:lnTo>
                    <a:pt x="235122" y="1431679"/>
                  </a:lnTo>
                  <a:lnTo>
                    <a:pt x="199834" y="1431679"/>
                  </a:lnTo>
                  <a:lnTo>
                    <a:pt x="199834" y="1251896"/>
                  </a:lnTo>
                  <a:cubicBezTo>
                    <a:pt x="193447" y="1256459"/>
                    <a:pt x="186577" y="1260337"/>
                    <a:pt x="179225" y="1263531"/>
                  </a:cubicBezTo>
                  <a:cubicBezTo>
                    <a:pt x="171873" y="1266726"/>
                    <a:pt x="163483" y="1269539"/>
                    <a:pt x="154052" y="1271973"/>
                  </a:cubicBezTo>
                  <a:lnTo>
                    <a:pt x="154052" y="1241857"/>
                  </a:lnTo>
                  <a:cubicBezTo>
                    <a:pt x="159933" y="1239931"/>
                    <a:pt x="165612" y="1237902"/>
                    <a:pt x="171087" y="1235773"/>
                  </a:cubicBezTo>
                  <a:cubicBezTo>
                    <a:pt x="176563" y="1233644"/>
                    <a:pt x="181963" y="1231261"/>
                    <a:pt x="187287" y="1228624"/>
                  </a:cubicBezTo>
                  <a:cubicBezTo>
                    <a:pt x="192610" y="1225988"/>
                    <a:pt x="197984" y="1223047"/>
                    <a:pt x="203409" y="1219802"/>
                  </a:cubicBezTo>
                  <a:cubicBezTo>
                    <a:pt x="208834" y="1216558"/>
                    <a:pt x="214436" y="1212856"/>
                    <a:pt x="220216" y="1208699"/>
                  </a:cubicBezTo>
                  <a:close/>
                  <a:moveTo>
                    <a:pt x="11447193" y="915060"/>
                  </a:moveTo>
                  <a:lnTo>
                    <a:pt x="11462099" y="915060"/>
                  </a:lnTo>
                  <a:lnTo>
                    <a:pt x="11462099" y="1138040"/>
                  </a:lnTo>
                  <a:lnTo>
                    <a:pt x="11426811" y="1138040"/>
                  </a:lnTo>
                  <a:lnTo>
                    <a:pt x="11426811" y="958257"/>
                  </a:lnTo>
                  <a:cubicBezTo>
                    <a:pt x="11420423" y="962820"/>
                    <a:pt x="11413553" y="966698"/>
                    <a:pt x="11406202" y="969892"/>
                  </a:cubicBezTo>
                  <a:cubicBezTo>
                    <a:pt x="11398850" y="973087"/>
                    <a:pt x="11390459" y="975900"/>
                    <a:pt x="11381029" y="978334"/>
                  </a:cubicBezTo>
                  <a:lnTo>
                    <a:pt x="11381029" y="948218"/>
                  </a:lnTo>
                  <a:cubicBezTo>
                    <a:pt x="11386910" y="946292"/>
                    <a:pt x="11392589" y="944263"/>
                    <a:pt x="11398064" y="942134"/>
                  </a:cubicBezTo>
                  <a:cubicBezTo>
                    <a:pt x="11403540" y="940005"/>
                    <a:pt x="11408940" y="937621"/>
                    <a:pt x="11414263" y="934985"/>
                  </a:cubicBezTo>
                  <a:cubicBezTo>
                    <a:pt x="11419587" y="932349"/>
                    <a:pt x="11424961" y="929408"/>
                    <a:pt x="11430386" y="926163"/>
                  </a:cubicBezTo>
                  <a:cubicBezTo>
                    <a:pt x="11435811" y="922919"/>
                    <a:pt x="11441413" y="919217"/>
                    <a:pt x="11447193" y="915060"/>
                  </a:cubicBezTo>
                  <a:close/>
                  <a:moveTo>
                    <a:pt x="9440313" y="915060"/>
                  </a:moveTo>
                  <a:lnTo>
                    <a:pt x="9455219" y="915060"/>
                  </a:lnTo>
                  <a:lnTo>
                    <a:pt x="9455219" y="1138040"/>
                  </a:lnTo>
                  <a:lnTo>
                    <a:pt x="9419931" y="1138040"/>
                  </a:lnTo>
                  <a:lnTo>
                    <a:pt x="9419931" y="958257"/>
                  </a:lnTo>
                  <a:cubicBezTo>
                    <a:pt x="9413543" y="962820"/>
                    <a:pt x="9406673" y="966698"/>
                    <a:pt x="9399322" y="969892"/>
                  </a:cubicBezTo>
                  <a:cubicBezTo>
                    <a:pt x="9391970" y="973087"/>
                    <a:pt x="9383579" y="975900"/>
                    <a:pt x="9374149" y="978334"/>
                  </a:cubicBezTo>
                  <a:lnTo>
                    <a:pt x="9374149" y="948218"/>
                  </a:lnTo>
                  <a:cubicBezTo>
                    <a:pt x="9380030" y="946292"/>
                    <a:pt x="9385709" y="944263"/>
                    <a:pt x="9391184" y="942134"/>
                  </a:cubicBezTo>
                  <a:cubicBezTo>
                    <a:pt x="9396660" y="940005"/>
                    <a:pt x="9402060" y="937621"/>
                    <a:pt x="9407383" y="934985"/>
                  </a:cubicBezTo>
                  <a:cubicBezTo>
                    <a:pt x="9412707" y="932349"/>
                    <a:pt x="9418081" y="929408"/>
                    <a:pt x="9423506" y="926163"/>
                  </a:cubicBezTo>
                  <a:cubicBezTo>
                    <a:pt x="9428931" y="922919"/>
                    <a:pt x="9434533" y="919217"/>
                    <a:pt x="9440313" y="915060"/>
                  </a:cubicBezTo>
                  <a:close/>
                  <a:moveTo>
                    <a:pt x="8939983" y="915060"/>
                  </a:moveTo>
                  <a:lnTo>
                    <a:pt x="8954889" y="915060"/>
                  </a:lnTo>
                  <a:lnTo>
                    <a:pt x="8954889" y="1138040"/>
                  </a:lnTo>
                  <a:lnTo>
                    <a:pt x="8919601" y="1138040"/>
                  </a:lnTo>
                  <a:lnTo>
                    <a:pt x="8919601" y="958257"/>
                  </a:lnTo>
                  <a:cubicBezTo>
                    <a:pt x="8913213" y="962820"/>
                    <a:pt x="8906343" y="966698"/>
                    <a:pt x="8898992" y="969892"/>
                  </a:cubicBezTo>
                  <a:cubicBezTo>
                    <a:pt x="8891640" y="973087"/>
                    <a:pt x="8883249" y="975900"/>
                    <a:pt x="8873819" y="978334"/>
                  </a:cubicBezTo>
                  <a:lnTo>
                    <a:pt x="8873819" y="948218"/>
                  </a:lnTo>
                  <a:cubicBezTo>
                    <a:pt x="8879700" y="946292"/>
                    <a:pt x="8885379" y="944263"/>
                    <a:pt x="8890854" y="942134"/>
                  </a:cubicBezTo>
                  <a:cubicBezTo>
                    <a:pt x="8896330" y="940005"/>
                    <a:pt x="8901730" y="937621"/>
                    <a:pt x="8907053" y="934985"/>
                  </a:cubicBezTo>
                  <a:cubicBezTo>
                    <a:pt x="8912377" y="932349"/>
                    <a:pt x="8917751" y="929408"/>
                    <a:pt x="8923176" y="926163"/>
                  </a:cubicBezTo>
                  <a:cubicBezTo>
                    <a:pt x="8928601" y="922919"/>
                    <a:pt x="8934203" y="919217"/>
                    <a:pt x="8939983" y="915060"/>
                  </a:cubicBezTo>
                  <a:close/>
                  <a:moveTo>
                    <a:pt x="7311086" y="915060"/>
                  </a:moveTo>
                  <a:lnTo>
                    <a:pt x="7325992" y="915060"/>
                  </a:lnTo>
                  <a:lnTo>
                    <a:pt x="7325992" y="1138040"/>
                  </a:lnTo>
                  <a:lnTo>
                    <a:pt x="7290704" y="1138040"/>
                  </a:lnTo>
                  <a:lnTo>
                    <a:pt x="7290704" y="958257"/>
                  </a:lnTo>
                  <a:cubicBezTo>
                    <a:pt x="7284316" y="962820"/>
                    <a:pt x="7277447" y="966698"/>
                    <a:pt x="7270095" y="969892"/>
                  </a:cubicBezTo>
                  <a:cubicBezTo>
                    <a:pt x="7262743" y="973087"/>
                    <a:pt x="7254353" y="975900"/>
                    <a:pt x="7244922" y="978334"/>
                  </a:cubicBezTo>
                  <a:lnTo>
                    <a:pt x="7244922" y="948218"/>
                  </a:lnTo>
                  <a:cubicBezTo>
                    <a:pt x="7250803" y="946292"/>
                    <a:pt x="7256482" y="944263"/>
                    <a:pt x="7261957" y="942134"/>
                  </a:cubicBezTo>
                  <a:cubicBezTo>
                    <a:pt x="7267433" y="940005"/>
                    <a:pt x="7272833" y="937621"/>
                    <a:pt x="7278156" y="934985"/>
                  </a:cubicBezTo>
                  <a:cubicBezTo>
                    <a:pt x="7283480" y="932349"/>
                    <a:pt x="7288854" y="929408"/>
                    <a:pt x="7294279" y="926163"/>
                  </a:cubicBezTo>
                  <a:cubicBezTo>
                    <a:pt x="7299704" y="922919"/>
                    <a:pt x="7305306" y="919217"/>
                    <a:pt x="7311086" y="915060"/>
                  </a:cubicBezTo>
                  <a:close/>
                  <a:moveTo>
                    <a:pt x="6441143" y="915060"/>
                  </a:moveTo>
                  <a:lnTo>
                    <a:pt x="6456049" y="915060"/>
                  </a:lnTo>
                  <a:lnTo>
                    <a:pt x="6456049" y="1138040"/>
                  </a:lnTo>
                  <a:lnTo>
                    <a:pt x="6420761" y="1138040"/>
                  </a:lnTo>
                  <a:lnTo>
                    <a:pt x="6420761" y="958257"/>
                  </a:lnTo>
                  <a:cubicBezTo>
                    <a:pt x="6414373" y="962820"/>
                    <a:pt x="6407504" y="966698"/>
                    <a:pt x="6400152" y="969892"/>
                  </a:cubicBezTo>
                  <a:cubicBezTo>
                    <a:pt x="6392800" y="973087"/>
                    <a:pt x="6384410" y="975900"/>
                    <a:pt x="6374979" y="978334"/>
                  </a:cubicBezTo>
                  <a:lnTo>
                    <a:pt x="6374979" y="948218"/>
                  </a:lnTo>
                  <a:cubicBezTo>
                    <a:pt x="6380860" y="946292"/>
                    <a:pt x="6386539" y="944263"/>
                    <a:pt x="6392014" y="942134"/>
                  </a:cubicBezTo>
                  <a:cubicBezTo>
                    <a:pt x="6397490" y="940005"/>
                    <a:pt x="6402890" y="937621"/>
                    <a:pt x="6408213" y="934985"/>
                  </a:cubicBezTo>
                  <a:cubicBezTo>
                    <a:pt x="6413537" y="932349"/>
                    <a:pt x="6418911" y="929408"/>
                    <a:pt x="6424336" y="926163"/>
                  </a:cubicBezTo>
                  <a:cubicBezTo>
                    <a:pt x="6429761" y="922919"/>
                    <a:pt x="6435363" y="919217"/>
                    <a:pt x="6441143" y="915060"/>
                  </a:cubicBezTo>
                  <a:close/>
                  <a:moveTo>
                    <a:pt x="5371778" y="915060"/>
                  </a:moveTo>
                  <a:lnTo>
                    <a:pt x="5386684" y="915060"/>
                  </a:lnTo>
                  <a:lnTo>
                    <a:pt x="5386684" y="1138040"/>
                  </a:lnTo>
                  <a:lnTo>
                    <a:pt x="5351396" y="1138040"/>
                  </a:lnTo>
                  <a:lnTo>
                    <a:pt x="5351396" y="958257"/>
                  </a:lnTo>
                  <a:cubicBezTo>
                    <a:pt x="5345008" y="962820"/>
                    <a:pt x="5338140" y="966698"/>
                    <a:pt x="5330786" y="969892"/>
                  </a:cubicBezTo>
                  <a:cubicBezTo>
                    <a:pt x="5323434" y="973087"/>
                    <a:pt x="5315044" y="975900"/>
                    <a:pt x="5305614" y="978334"/>
                  </a:cubicBezTo>
                  <a:lnTo>
                    <a:pt x="5305614" y="948218"/>
                  </a:lnTo>
                  <a:cubicBezTo>
                    <a:pt x="5311494" y="946292"/>
                    <a:pt x="5317173" y="944263"/>
                    <a:pt x="5322648" y="942134"/>
                  </a:cubicBezTo>
                  <a:cubicBezTo>
                    <a:pt x="5328124" y="940005"/>
                    <a:pt x="5333524" y="937621"/>
                    <a:pt x="5338848" y="934985"/>
                  </a:cubicBezTo>
                  <a:cubicBezTo>
                    <a:pt x="5344171" y="932349"/>
                    <a:pt x="5349546" y="929408"/>
                    <a:pt x="5354970" y="926163"/>
                  </a:cubicBezTo>
                  <a:cubicBezTo>
                    <a:pt x="5360395" y="922919"/>
                    <a:pt x="5365998" y="919217"/>
                    <a:pt x="5371778" y="915060"/>
                  </a:cubicBezTo>
                  <a:close/>
                  <a:moveTo>
                    <a:pt x="3379468" y="915060"/>
                  </a:moveTo>
                  <a:lnTo>
                    <a:pt x="3394374" y="915060"/>
                  </a:lnTo>
                  <a:lnTo>
                    <a:pt x="3394374" y="1138040"/>
                  </a:lnTo>
                  <a:lnTo>
                    <a:pt x="3359086" y="1138040"/>
                  </a:lnTo>
                  <a:lnTo>
                    <a:pt x="3359086" y="958257"/>
                  </a:lnTo>
                  <a:cubicBezTo>
                    <a:pt x="3352698" y="962820"/>
                    <a:pt x="3345829" y="966698"/>
                    <a:pt x="3338478" y="969892"/>
                  </a:cubicBezTo>
                  <a:cubicBezTo>
                    <a:pt x="3331125" y="973087"/>
                    <a:pt x="3322734" y="975900"/>
                    <a:pt x="3313304" y="978334"/>
                  </a:cubicBezTo>
                  <a:lnTo>
                    <a:pt x="3313304" y="948218"/>
                  </a:lnTo>
                  <a:cubicBezTo>
                    <a:pt x="3319185" y="946292"/>
                    <a:pt x="3324864" y="944263"/>
                    <a:pt x="3330339" y="942134"/>
                  </a:cubicBezTo>
                  <a:cubicBezTo>
                    <a:pt x="3335815" y="940005"/>
                    <a:pt x="3341215" y="937621"/>
                    <a:pt x="3346539" y="934985"/>
                  </a:cubicBezTo>
                  <a:cubicBezTo>
                    <a:pt x="3351862" y="932349"/>
                    <a:pt x="3357236" y="929408"/>
                    <a:pt x="3362660" y="926163"/>
                  </a:cubicBezTo>
                  <a:cubicBezTo>
                    <a:pt x="3368085" y="922919"/>
                    <a:pt x="3373687" y="919217"/>
                    <a:pt x="3379468" y="915060"/>
                  </a:cubicBezTo>
                  <a:close/>
                  <a:moveTo>
                    <a:pt x="2867263" y="915060"/>
                  </a:moveTo>
                  <a:lnTo>
                    <a:pt x="2882170" y="915060"/>
                  </a:lnTo>
                  <a:lnTo>
                    <a:pt x="2882170" y="1138040"/>
                  </a:lnTo>
                  <a:lnTo>
                    <a:pt x="2846882" y="1138040"/>
                  </a:lnTo>
                  <a:lnTo>
                    <a:pt x="2846882" y="958257"/>
                  </a:lnTo>
                  <a:cubicBezTo>
                    <a:pt x="2840494" y="962820"/>
                    <a:pt x="2833625" y="966698"/>
                    <a:pt x="2826273" y="969892"/>
                  </a:cubicBezTo>
                  <a:cubicBezTo>
                    <a:pt x="2818921" y="973087"/>
                    <a:pt x="2810531" y="975900"/>
                    <a:pt x="2801100" y="978334"/>
                  </a:cubicBezTo>
                  <a:lnTo>
                    <a:pt x="2801100" y="948218"/>
                  </a:lnTo>
                  <a:cubicBezTo>
                    <a:pt x="2806981" y="946292"/>
                    <a:pt x="2812660" y="944263"/>
                    <a:pt x="2818135" y="942134"/>
                  </a:cubicBezTo>
                  <a:cubicBezTo>
                    <a:pt x="2823611" y="940005"/>
                    <a:pt x="2829011" y="937621"/>
                    <a:pt x="2834335" y="934985"/>
                  </a:cubicBezTo>
                  <a:cubicBezTo>
                    <a:pt x="2839658" y="932349"/>
                    <a:pt x="2845032" y="929408"/>
                    <a:pt x="2850456" y="926163"/>
                  </a:cubicBezTo>
                  <a:cubicBezTo>
                    <a:pt x="2855882" y="922919"/>
                    <a:pt x="2861484" y="919217"/>
                    <a:pt x="2867263" y="915060"/>
                  </a:cubicBezTo>
                  <a:close/>
                  <a:moveTo>
                    <a:pt x="1259910" y="915060"/>
                  </a:moveTo>
                  <a:lnTo>
                    <a:pt x="1274816" y="915060"/>
                  </a:lnTo>
                  <a:lnTo>
                    <a:pt x="1274816" y="1138040"/>
                  </a:lnTo>
                  <a:lnTo>
                    <a:pt x="1239527" y="1138040"/>
                  </a:lnTo>
                  <a:lnTo>
                    <a:pt x="1239527" y="958257"/>
                  </a:lnTo>
                  <a:cubicBezTo>
                    <a:pt x="1233140" y="962820"/>
                    <a:pt x="1226270" y="966698"/>
                    <a:pt x="1218918" y="969892"/>
                  </a:cubicBezTo>
                  <a:cubicBezTo>
                    <a:pt x="1211567" y="973087"/>
                    <a:pt x="1203176" y="975900"/>
                    <a:pt x="1193745" y="978334"/>
                  </a:cubicBezTo>
                  <a:lnTo>
                    <a:pt x="1193745" y="948218"/>
                  </a:lnTo>
                  <a:cubicBezTo>
                    <a:pt x="1199627" y="946292"/>
                    <a:pt x="1205305" y="944263"/>
                    <a:pt x="1210781" y="942134"/>
                  </a:cubicBezTo>
                  <a:cubicBezTo>
                    <a:pt x="1216257" y="940005"/>
                    <a:pt x="1221657" y="937621"/>
                    <a:pt x="1226979" y="934985"/>
                  </a:cubicBezTo>
                  <a:cubicBezTo>
                    <a:pt x="1232304" y="932349"/>
                    <a:pt x="1237678" y="929408"/>
                    <a:pt x="1243103" y="926163"/>
                  </a:cubicBezTo>
                  <a:cubicBezTo>
                    <a:pt x="1248527" y="922919"/>
                    <a:pt x="1254130" y="919217"/>
                    <a:pt x="1259910" y="915060"/>
                  </a:cubicBezTo>
                  <a:close/>
                  <a:moveTo>
                    <a:pt x="386669" y="915060"/>
                  </a:moveTo>
                  <a:lnTo>
                    <a:pt x="401575" y="915060"/>
                  </a:lnTo>
                  <a:lnTo>
                    <a:pt x="401575" y="1138040"/>
                  </a:lnTo>
                  <a:lnTo>
                    <a:pt x="366287" y="1138040"/>
                  </a:lnTo>
                  <a:lnTo>
                    <a:pt x="366287" y="958257"/>
                  </a:lnTo>
                  <a:cubicBezTo>
                    <a:pt x="359899" y="962820"/>
                    <a:pt x="353030" y="966698"/>
                    <a:pt x="345678" y="969892"/>
                  </a:cubicBezTo>
                  <a:cubicBezTo>
                    <a:pt x="338325" y="973087"/>
                    <a:pt x="329936" y="975900"/>
                    <a:pt x="320505" y="978334"/>
                  </a:cubicBezTo>
                  <a:lnTo>
                    <a:pt x="320505" y="948218"/>
                  </a:lnTo>
                  <a:cubicBezTo>
                    <a:pt x="326386" y="946292"/>
                    <a:pt x="332065" y="944263"/>
                    <a:pt x="337540" y="942134"/>
                  </a:cubicBezTo>
                  <a:cubicBezTo>
                    <a:pt x="343016" y="940005"/>
                    <a:pt x="348415" y="937621"/>
                    <a:pt x="353739" y="934985"/>
                  </a:cubicBezTo>
                  <a:cubicBezTo>
                    <a:pt x="359062" y="932349"/>
                    <a:pt x="364437" y="929408"/>
                    <a:pt x="369861" y="926163"/>
                  </a:cubicBezTo>
                  <a:cubicBezTo>
                    <a:pt x="375287" y="922919"/>
                    <a:pt x="380889" y="919217"/>
                    <a:pt x="386669" y="915060"/>
                  </a:cubicBezTo>
                  <a:close/>
                  <a:moveTo>
                    <a:pt x="10303805" y="632755"/>
                  </a:moveTo>
                  <a:lnTo>
                    <a:pt x="10318711" y="632755"/>
                  </a:lnTo>
                  <a:lnTo>
                    <a:pt x="10318711" y="855735"/>
                  </a:lnTo>
                  <a:lnTo>
                    <a:pt x="10283423" y="855735"/>
                  </a:lnTo>
                  <a:lnTo>
                    <a:pt x="10283423" y="675952"/>
                  </a:lnTo>
                  <a:cubicBezTo>
                    <a:pt x="10277035" y="680515"/>
                    <a:pt x="10270165" y="684393"/>
                    <a:pt x="10262814" y="687587"/>
                  </a:cubicBezTo>
                  <a:cubicBezTo>
                    <a:pt x="10255462" y="690782"/>
                    <a:pt x="10247071" y="693595"/>
                    <a:pt x="10237641" y="696029"/>
                  </a:cubicBezTo>
                  <a:lnTo>
                    <a:pt x="10237641" y="665913"/>
                  </a:lnTo>
                  <a:cubicBezTo>
                    <a:pt x="10243522" y="663987"/>
                    <a:pt x="10249201" y="661958"/>
                    <a:pt x="10254676" y="659829"/>
                  </a:cubicBezTo>
                  <a:cubicBezTo>
                    <a:pt x="10260152" y="657700"/>
                    <a:pt x="10265552" y="655317"/>
                    <a:pt x="10270875" y="652680"/>
                  </a:cubicBezTo>
                  <a:cubicBezTo>
                    <a:pt x="10276199" y="650044"/>
                    <a:pt x="10281573" y="647103"/>
                    <a:pt x="10286998" y="643858"/>
                  </a:cubicBezTo>
                  <a:cubicBezTo>
                    <a:pt x="10292423" y="640614"/>
                    <a:pt x="10298025" y="636912"/>
                    <a:pt x="10303805" y="632755"/>
                  </a:cubicBezTo>
                  <a:close/>
                  <a:moveTo>
                    <a:pt x="7183101" y="632755"/>
                  </a:moveTo>
                  <a:lnTo>
                    <a:pt x="7198007" y="632755"/>
                  </a:lnTo>
                  <a:lnTo>
                    <a:pt x="7198007" y="855735"/>
                  </a:lnTo>
                  <a:lnTo>
                    <a:pt x="7162719" y="855735"/>
                  </a:lnTo>
                  <a:lnTo>
                    <a:pt x="7162719" y="675952"/>
                  </a:lnTo>
                  <a:cubicBezTo>
                    <a:pt x="7156331" y="680515"/>
                    <a:pt x="7149462" y="684393"/>
                    <a:pt x="7142110" y="687587"/>
                  </a:cubicBezTo>
                  <a:cubicBezTo>
                    <a:pt x="7134758" y="690782"/>
                    <a:pt x="7126368" y="693595"/>
                    <a:pt x="7116937" y="696029"/>
                  </a:cubicBezTo>
                  <a:lnTo>
                    <a:pt x="7116937" y="665913"/>
                  </a:lnTo>
                  <a:cubicBezTo>
                    <a:pt x="7122818" y="663987"/>
                    <a:pt x="7128497" y="661958"/>
                    <a:pt x="7133972" y="659829"/>
                  </a:cubicBezTo>
                  <a:cubicBezTo>
                    <a:pt x="7139448" y="657700"/>
                    <a:pt x="7144848" y="655317"/>
                    <a:pt x="7150171" y="652680"/>
                  </a:cubicBezTo>
                  <a:cubicBezTo>
                    <a:pt x="7155495" y="650044"/>
                    <a:pt x="7160869" y="647103"/>
                    <a:pt x="7166294" y="643858"/>
                  </a:cubicBezTo>
                  <a:cubicBezTo>
                    <a:pt x="7171719" y="640614"/>
                    <a:pt x="7177321" y="636912"/>
                    <a:pt x="7183101" y="632755"/>
                  </a:cubicBezTo>
                  <a:close/>
                  <a:moveTo>
                    <a:pt x="6291071" y="632755"/>
                  </a:moveTo>
                  <a:lnTo>
                    <a:pt x="6305977" y="632755"/>
                  </a:lnTo>
                  <a:lnTo>
                    <a:pt x="6305977" y="855735"/>
                  </a:lnTo>
                  <a:lnTo>
                    <a:pt x="6270689" y="855735"/>
                  </a:lnTo>
                  <a:lnTo>
                    <a:pt x="6270689" y="675952"/>
                  </a:lnTo>
                  <a:cubicBezTo>
                    <a:pt x="6264301" y="680515"/>
                    <a:pt x="6257432" y="684393"/>
                    <a:pt x="6250080" y="687587"/>
                  </a:cubicBezTo>
                  <a:cubicBezTo>
                    <a:pt x="6242728" y="690782"/>
                    <a:pt x="6234338" y="693595"/>
                    <a:pt x="6224907" y="696029"/>
                  </a:cubicBezTo>
                  <a:lnTo>
                    <a:pt x="6224907" y="665913"/>
                  </a:lnTo>
                  <a:cubicBezTo>
                    <a:pt x="6230788" y="663987"/>
                    <a:pt x="6236467" y="661958"/>
                    <a:pt x="6241942" y="659829"/>
                  </a:cubicBezTo>
                  <a:cubicBezTo>
                    <a:pt x="6247418" y="657700"/>
                    <a:pt x="6252818" y="655317"/>
                    <a:pt x="6258141" y="652680"/>
                  </a:cubicBezTo>
                  <a:cubicBezTo>
                    <a:pt x="6263465" y="650044"/>
                    <a:pt x="6268839" y="647103"/>
                    <a:pt x="6274264" y="643858"/>
                  </a:cubicBezTo>
                  <a:cubicBezTo>
                    <a:pt x="6279689" y="640614"/>
                    <a:pt x="6285291" y="636912"/>
                    <a:pt x="6291071" y="632755"/>
                  </a:cubicBezTo>
                  <a:close/>
                  <a:moveTo>
                    <a:pt x="4241338" y="632755"/>
                  </a:moveTo>
                  <a:lnTo>
                    <a:pt x="4256243" y="632755"/>
                  </a:lnTo>
                  <a:lnTo>
                    <a:pt x="4256243" y="855735"/>
                  </a:lnTo>
                  <a:lnTo>
                    <a:pt x="4220955" y="855735"/>
                  </a:lnTo>
                  <a:lnTo>
                    <a:pt x="4220955" y="675952"/>
                  </a:lnTo>
                  <a:cubicBezTo>
                    <a:pt x="4214568" y="680515"/>
                    <a:pt x="4207698" y="684393"/>
                    <a:pt x="4200346" y="687587"/>
                  </a:cubicBezTo>
                  <a:cubicBezTo>
                    <a:pt x="4192994" y="690782"/>
                    <a:pt x="4184605" y="693595"/>
                    <a:pt x="4175174" y="696029"/>
                  </a:cubicBezTo>
                  <a:lnTo>
                    <a:pt x="4175174" y="665913"/>
                  </a:lnTo>
                  <a:cubicBezTo>
                    <a:pt x="4181055" y="663987"/>
                    <a:pt x="4186734" y="661958"/>
                    <a:pt x="4192209" y="659829"/>
                  </a:cubicBezTo>
                  <a:cubicBezTo>
                    <a:pt x="4197684" y="657700"/>
                    <a:pt x="4203084" y="655317"/>
                    <a:pt x="4208407" y="652680"/>
                  </a:cubicBezTo>
                  <a:cubicBezTo>
                    <a:pt x="4213732" y="650044"/>
                    <a:pt x="4219106" y="647103"/>
                    <a:pt x="4224530" y="643858"/>
                  </a:cubicBezTo>
                  <a:cubicBezTo>
                    <a:pt x="4229955" y="640614"/>
                    <a:pt x="4235558" y="636912"/>
                    <a:pt x="4241338" y="632755"/>
                  </a:cubicBezTo>
                  <a:close/>
                  <a:moveTo>
                    <a:pt x="1119751" y="632755"/>
                  </a:moveTo>
                  <a:lnTo>
                    <a:pt x="1134657" y="632755"/>
                  </a:lnTo>
                  <a:lnTo>
                    <a:pt x="1134657" y="855735"/>
                  </a:lnTo>
                  <a:lnTo>
                    <a:pt x="1099369" y="855735"/>
                  </a:lnTo>
                  <a:lnTo>
                    <a:pt x="1099369" y="675952"/>
                  </a:lnTo>
                  <a:cubicBezTo>
                    <a:pt x="1092982" y="680515"/>
                    <a:pt x="1086112" y="684393"/>
                    <a:pt x="1078760" y="687587"/>
                  </a:cubicBezTo>
                  <a:cubicBezTo>
                    <a:pt x="1071408" y="690782"/>
                    <a:pt x="1063018" y="693595"/>
                    <a:pt x="1053588" y="696029"/>
                  </a:cubicBezTo>
                  <a:lnTo>
                    <a:pt x="1053588" y="665913"/>
                  </a:lnTo>
                  <a:cubicBezTo>
                    <a:pt x="1059469" y="663987"/>
                    <a:pt x="1065147" y="661958"/>
                    <a:pt x="1070623" y="659829"/>
                  </a:cubicBezTo>
                  <a:cubicBezTo>
                    <a:pt x="1076098" y="657700"/>
                    <a:pt x="1081498" y="655317"/>
                    <a:pt x="1086821" y="652680"/>
                  </a:cubicBezTo>
                  <a:cubicBezTo>
                    <a:pt x="1092145" y="650044"/>
                    <a:pt x="1097519" y="647103"/>
                    <a:pt x="1102944" y="643858"/>
                  </a:cubicBezTo>
                  <a:cubicBezTo>
                    <a:pt x="1108369" y="640614"/>
                    <a:pt x="1113971" y="636912"/>
                    <a:pt x="1119751" y="632755"/>
                  </a:cubicBezTo>
                  <a:close/>
                  <a:moveTo>
                    <a:pt x="225809" y="632755"/>
                  </a:moveTo>
                  <a:lnTo>
                    <a:pt x="240715" y="632755"/>
                  </a:lnTo>
                  <a:lnTo>
                    <a:pt x="240715" y="855735"/>
                  </a:lnTo>
                  <a:lnTo>
                    <a:pt x="205427" y="855735"/>
                  </a:lnTo>
                  <a:lnTo>
                    <a:pt x="205427" y="675952"/>
                  </a:lnTo>
                  <a:cubicBezTo>
                    <a:pt x="199040" y="680515"/>
                    <a:pt x="192169" y="684393"/>
                    <a:pt x="184818" y="687587"/>
                  </a:cubicBezTo>
                  <a:cubicBezTo>
                    <a:pt x="177466" y="690782"/>
                    <a:pt x="169076" y="693595"/>
                    <a:pt x="159645" y="696029"/>
                  </a:cubicBezTo>
                  <a:lnTo>
                    <a:pt x="159645" y="665913"/>
                  </a:lnTo>
                  <a:cubicBezTo>
                    <a:pt x="165526" y="663987"/>
                    <a:pt x="171205" y="661958"/>
                    <a:pt x="176680" y="659829"/>
                  </a:cubicBezTo>
                  <a:cubicBezTo>
                    <a:pt x="182156" y="657700"/>
                    <a:pt x="187556" y="655317"/>
                    <a:pt x="192880" y="652680"/>
                  </a:cubicBezTo>
                  <a:cubicBezTo>
                    <a:pt x="198203" y="650044"/>
                    <a:pt x="203577" y="647103"/>
                    <a:pt x="209002" y="643858"/>
                  </a:cubicBezTo>
                  <a:cubicBezTo>
                    <a:pt x="214427" y="640614"/>
                    <a:pt x="220029" y="636912"/>
                    <a:pt x="225809" y="632755"/>
                  </a:cubicBezTo>
                  <a:close/>
                  <a:moveTo>
                    <a:pt x="11454451" y="328247"/>
                  </a:moveTo>
                  <a:lnTo>
                    <a:pt x="11469357" y="328247"/>
                  </a:lnTo>
                  <a:lnTo>
                    <a:pt x="11469357" y="551227"/>
                  </a:lnTo>
                  <a:lnTo>
                    <a:pt x="11434069" y="551227"/>
                  </a:lnTo>
                  <a:lnTo>
                    <a:pt x="11434069" y="371444"/>
                  </a:lnTo>
                  <a:cubicBezTo>
                    <a:pt x="11427681" y="376007"/>
                    <a:pt x="11420811" y="379885"/>
                    <a:pt x="11413460" y="383079"/>
                  </a:cubicBezTo>
                  <a:cubicBezTo>
                    <a:pt x="11406108" y="386274"/>
                    <a:pt x="11397717" y="389087"/>
                    <a:pt x="11388287" y="391521"/>
                  </a:cubicBezTo>
                  <a:lnTo>
                    <a:pt x="11388287" y="361405"/>
                  </a:lnTo>
                  <a:cubicBezTo>
                    <a:pt x="11394168" y="359479"/>
                    <a:pt x="11399847" y="357450"/>
                    <a:pt x="11405322" y="355321"/>
                  </a:cubicBezTo>
                  <a:cubicBezTo>
                    <a:pt x="11410798" y="353192"/>
                    <a:pt x="11416198" y="350808"/>
                    <a:pt x="11421521" y="348172"/>
                  </a:cubicBezTo>
                  <a:cubicBezTo>
                    <a:pt x="11426845" y="345536"/>
                    <a:pt x="11432219" y="342595"/>
                    <a:pt x="11437644" y="339350"/>
                  </a:cubicBezTo>
                  <a:cubicBezTo>
                    <a:pt x="11443069" y="336106"/>
                    <a:pt x="11448671" y="332404"/>
                    <a:pt x="11454451" y="328247"/>
                  </a:cubicBezTo>
                  <a:close/>
                  <a:moveTo>
                    <a:pt x="9447571" y="328247"/>
                  </a:moveTo>
                  <a:lnTo>
                    <a:pt x="9462477" y="328247"/>
                  </a:lnTo>
                  <a:lnTo>
                    <a:pt x="9462477" y="551227"/>
                  </a:lnTo>
                  <a:lnTo>
                    <a:pt x="9427189" y="551227"/>
                  </a:lnTo>
                  <a:lnTo>
                    <a:pt x="9427189" y="371444"/>
                  </a:lnTo>
                  <a:cubicBezTo>
                    <a:pt x="9420801" y="376007"/>
                    <a:pt x="9413931" y="379885"/>
                    <a:pt x="9406580" y="383079"/>
                  </a:cubicBezTo>
                  <a:cubicBezTo>
                    <a:pt x="9399228" y="386274"/>
                    <a:pt x="9390837" y="389087"/>
                    <a:pt x="9381407" y="391521"/>
                  </a:cubicBezTo>
                  <a:lnTo>
                    <a:pt x="9381407" y="361405"/>
                  </a:lnTo>
                  <a:cubicBezTo>
                    <a:pt x="9387288" y="359479"/>
                    <a:pt x="9392967" y="357450"/>
                    <a:pt x="9398442" y="355321"/>
                  </a:cubicBezTo>
                  <a:cubicBezTo>
                    <a:pt x="9403918" y="353192"/>
                    <a:pt x="9409318" y="350808"/>
                    <a:pt x="9414641" y="348172"/>
                  </a:cubicBezTo>
                  <a:cubicBezTo>
                    <a:pt x="9419965" y="345536"/>
                    <a:pt x="9425339" y="342595"/>
                    <a:pt x="9430764" y="339350"/>
                  </a:cubicBezTo>
                  <a:cubicBezTo>
                    <a:pt x="9436189" y="336106"/>
                    <a:pt x="9441791" y="332404"/>
                    <a:pt x="9447571" y="328247"/>
                  </a:cubicBezTo>
                  <a:close/>
                  <a:moveTo>
                    <a:pt x="8947241" y="328247"/>
                  </a:moveTo>
                  <a:lnTo>
                    <a:pt x="8962147" y="328247"/>
                  </a:lnTo>
                  <a:lnTo>
                    <a:pt x="8962147" y="551227"/>
                  </a:lnTo>
                  <a:lnTo>
                    <a:pt x="8926859" y="551227"/>
                  </a:lnTo>
                  <a:lnTo>
                    <a:pt x="8926859" y="371444"/>
                  </a:lnTo>
                  <a:cubicBezTo>
                    <a:pt x="8920471" y="376007"/>
                    <a:pt x="8913601" y="379885"/>
                    <a:pt x="8906250" y="383079"/>
                  </a:cubicBezTo>
                  <a:cubicBezTo>
                    <a:pt x="8898898" y="386274"/>
                    <a:pt x="8890507" y="389087"/>
                    <a:pt x="8881077" y="391521"/>
                  </a:cubicBezTo>
                  <a:lnTo>
                    <a:pt x="8881077" y="361405"/>
                  </a:lnTo>
                  <a:cubicBezTo>
                    <a:pt x="8886958" y="359479"/>
                    <a:pt x="8892637" y="357450"/>
                    <a:pt x="8898112" y="355321"/>
                  </a:cubicBezTo>
                  <a:cubicBezTo>
                    <a:pt x="8903588" y="353192"/>
                    <a:pt x="8908988" y="350808"/>
                    <a:pt x="8914311" y="348172"/>
                  </a:cubicBezTo>
                  <a:cubicBezTo>
                    <a:pt x="8919635" y="345536"/>
                    <a:pt x="8925009" y="342595"/>
                    <a:pt x="8930434" y="339350"/>
                  </a:cubicBezTo>
                  <a:cubicBezTo>
                    <a:pt x="8935859" y="336106"/>
                    <a:pt x="8941461" y="332404"/>
                    <a:pt x="8947241" y="328247"/>
                  </a:cubicBezTo>
                  <a:close/>
                  <a:moveTo>
                    <a:pt x="7318344" y="328247"/>
                  </a:moveTo>
                  <a:lnTo>
                    <a:pt x="7333250" y="328247"/>
                  </a:lnTo>
                  <a:lnTo>
                    <a:pt x="7333250" y="551227"/>
                  </a:lnTo>
                  <a:lnTo>
                    <a:pt x="7297962" y="551227"/>
                  </a:lnTo>
                  <a:lnTo>
                    <a:pt x="7297962" y="371444"/>
                  </a:lnTo>
                  <a:cubicBezTo>
                    <a:pt x="7291574" y="376007"/>
                    <a:pt x="7284705" y="379885"/>
                    <a:pt x="7277353" y="383079"/>
                  </a:cubicBezTo>
                  <a:cubicBezTo>
                    <a:pt x="7270001" y="386274"/>
                    <a:pt x="7261611" y="389087"/>
                    <a:pt x="7252180" y="391521"/>
                  </a:cubicBezTo>
                  <a:lnTo>
                    <a:pt x="7252180" y="361405"/>
                  </a:lnTo>
                  <a:cubicBezTo>
                    <a:pt x="7258061" y="359479"/>
                    <a:pt x="7263740" y="357450"/>
                    <a:pt x="7269215" y="355321"/>
                  </a:cubicBezTo>
                  <a:cubicBezTo>
                    <a:pt x="7274691" y="353192"/>
                    <a:pt x="7280091" y="350808"/>
                    <a:pt x="7285414" y="348172"/>
                  </a:cubicBezTo>
                  <a:cubicBezTo>
                    <a:pt x="7290738" y="345536"/>
                    <a:pt x="7296112" y="342595"/>
                    <a:pt x="7301537" y="339350"/>
                  </a:cubicBezTo>
                  <a:cubicBezTo>
                    <a:pt x="7306962" y="336106"/>
                    <a:pt x="7312564" y="332404"/>
                    <a:pt x="7318344" y="328247"/>
                  </a:cubicBezTo>
                  <a:close/>
                  <a:moveTo>
                    <a:pt x="6448401" y="328247"/>
                  </a:moveTo>
                  <a:lnTo>
                    <a:pt x="6463307" y="328247"/>
                  </a:lnTo>
                  <a:lnTo>
                    <a:pt x="6463307" y="551227"/>
                  </a:lnTo>
                  <a:lnTo>
                    <a:pt x="6428019" y="551227"/>
                  </a:lnTo>
                  <a:lnTo>
                    <a:pt x="6428019" y="371444"/>
                  </a:lnTo>
                  <a:cubicBezTo>
                    <a:pt x="6421631" y="376007"/>
                    <a:pt x="6414762" y="379885"/>
                    <a:pt x="6407410" y="383079"/>
                  </a:cubicBezTo>
                  <a:cubicBezTo>
                    <a:pt x="6400058" y="386274"/>
                    <a:pt x="6391668" y="389087"/>
                    <a:pt x="6382237" y="391521"/>
                  </a:cubicBezTo>
                  <a:lnTo>
                    <a:pt x="6382237" y="361405"/>
                  </a:lnTo>
                  <a:cubicBezTo>
                    <a:pt x="6388118" y="359479"/>
                    <a:pt x="6393797" y="357450"/>
                    <a:pt x="6399272" y="355321"/>
                  </a:cubicBezTo>
                  <a:cubicBezTo>
                    <a:pt x="6404748" y="353192"/>
                    <a:pt x="6410148" y="350808"/>
                    <a:pt x="6415471" y="348172"/>
                  </a:cubicBezTo>
                  <a:cubicBezTo>
                    <a:pt x="6420795" y="345536"/>
                    <a:pt x="6426169" y="342595"/>
                    <a:pt x="6431594" y="339350"/>
                  </a:cubicBezTo>
                  <a:cubicBezTo>
                    <a:pt x="6437019" y="336106"/>
                    <a:pt x="6442621" y="332404"/>
                    <a:pt x="6448401" y="328247"/>
                  </a:cubicBezTo>
                  <a:close/>
                  <a:moveTo>
                    <a:pt x="5379035" y="328247"/>
                  </a:moveTo>
                  <a:lnTo>
                    <a:pt x="5393942" y="328247"/>
                  </a:lnTo>
                  <a:lnTo>
                    <a:pt x="5393942" y="551227"/>
                  </a:lnTo>
                  <a:lnTo>
                    <a:pt x="5358654" y="551227"/>
                  </a:lnTo>
                  <a:lnTo>
                    <a:pt x="5358654" y="371444"/>
                  </a:lnTo>
                  <a:cubicBezTo>
                    <a:pt x="5352265" y="376007"/>
                    <a:pt x="5345396" y="379885"/>
                    <a:pt x="5338044" y="383079"/>
                  </a:cubicBezTo>
                  <a:cubicBezTo>
                    <a:pt x="5330692" y="386274"/>
                    <a:pt x="5322303" y="389087"/>
                    <a:pt x="5312871" y="391521"/>
                  </a:cubicBezTo>
                  <a:lnTo>
                    <a:pt x="5312871" y="361405"/>
                  </a:lnTo>
                  <a:cubicBezTo>
                    <a:pt x="5318752" y="359479"/>
                    <a:pt x="5324432" y="357450"/>
                    <a:pt x="5329907" y="355321"/>
                  </a:cubicBezTo>
                  <a:cubicBezTo>
                    <a:pt x="5335382" y="353192"/>
                    <a:pt x="5340783" y="350808"/>
                    <a:pt x="5346106" y="348172"/>
                  </a:cubicBezTo>
                  <a:cubicBezTo>
                    <a:pt x="5351430" y="345536"/>
                    <a:pt x="5356804" y="342595"/>
                    <a:pt x="5362228" y="339350"/>
                  </a:cubicBezTo>
                  <a:cubicBezTo>
                    <a:pt x="5367654" y="336106"/>
                    <a:pt x="5373256" y="332404"/>
                    <a:pt x="5379035" y="328247"/>
                  </a:cubicBezTo>
                  <a:close/>
                  <a:moveTo>
                    <a:pt x="3386726" y="328247"/>
                  </a:moveTo>
                  <a:lnTo>
                    <a:pt x="3401632" y="328247"/>
                  </a:lnTo>
                  <a:lnTo>
                    <a:pt x="3401632" y="551227"/>
                  </a:lnTo>
                  <a:lnTo>
                    <a:pt x="3366344" y="551227"/>
                  </a:lnTo>
                  <a:lnTo>
                    <a:pt x="3366344" y="371444"/>
                  </a:lnTo>
                  <a:cubicBezTo>
                    <a:pt x="3359956" y="376007"/>
                    <a:pt x="3353087" y="379885"/>
                    <a:pt x="3345736" y="383079"/>
                  </a:cubicBezTo>
                  <a:cubicBezTo>
                    <a:pt x="3338383" y="386274"/>
                    <a:pt x="3329993" y="389087"/>
                    <a:pt x="3320562" y="391521"/>
                  </a:cubicBezTo>
                  <a:lnTo>
                    <a:pt x="3320562" y="361405"/>
                  </a:lnTo>
                  <a:cubicBezTo>
                    <a:pt x="3326442" y="359479"/>
                    <a:pt x="3332122" y="357450"/>
                    <a:pt x="3337597" y="355321"/>
                  </a:cubicBezTo>
                  <a:cubicBezTo>
                    <a:pt x="3343073" y="353192"/>
                    <a:pt x="3348473" y="350808"/>
                    <a:pt x="3353797" y="348172"/>
                  </a:cubicBezTo>
                  <a:cubicBezTo>
                    <a:pt x="3359120" y="345536"/>
                    <a:pt x="3364494" y="342595"/>
                    <a:pt x="3369919" y="339350"/>
                  </a:cubicBezTo>
                  <a:cubicBezTo>
                    <a:pt x="3375344" y="336106"/>
                    <a:pt x="3380947" y="332404"/>
                    <a:pt x="3386726" y="328247"/>
                  </a:cubicBezTo>
                  <a:close/>
                  <a:moveTo>
                    <a:pt x="2874522" y="328247"/>
                  </a:moveTo>
                  <a:lnTo>
                    <a:pt x="2889428" y="328247"/>
                  </a:lnTo>
                  <a:lnTo>
                    <a:pt x="2889428" y="551227"/>
                  </a:lnTo>
                  <a:lnTo>
                    <a:pt x="2854142" y="551227"/>
                  </a:lnTo>
                  <a:lnTo>
                    <a:pt x="2854142" y="371444"/>
                  </a:lnTo>
                  <a:cubicBezTo>
                    <a:pt x="2847752" y="376007"/>
                    <a:pt x="2840883" y="379885"/>
                    <a:pt x="2833531" y="383079"/>
                  </a:cubicBezTo>
                  <a:cubicBezTo>
                    <a:pt x="2826179" y="386274"/>
                    <a:pt x="2817789" y="389087"/>
                    <a:pt x="2808358" y="391521"/>
                  </a:cubicBezTo>
                  <a:lnTo>
                    <a:pt x="2808358" y="361405"/>
                  </a:lnTo>
                  <a:cubicBezTo>
                    <a:pt x="2814239" y="359479"/>
                    <a:pt x="2819918" y="357450"/>
                    <a:pt x="2825393" y="355321"/>
                  </a:cubicBezTo>
                  <a:cubicBezTo>
                    <a:pt x="2830869" y="353192"/>
                    <a:pt x="2836269" y="350808"/>
                    <a:pt x="2841593" y="348172"/>
                  </a:cubicBezTo>
                  <a:cubicBezTo>
                    <a:pt x="2846916" y="345536"/>
                    <a:pt x="2852290" y="342595"/>
                    <a:pt x="2857715" y="339350"/>
                  </a:cubicBezTo>
                  <a:cubicBezTo>
                    <a:pt x="2863141" y="336106"/>
                    <a:pt x="2868742" y="332404"/>
                    <a:pt x="2874522" y="328247"/>
                  </a:cubicBezTo>
                  <a:close/>
                  <a:moveTo>
                    <a:pt x="1267168" y="328247"/>
                  </a:moveTo>
                  <a:lnTo>
                    <a:pt x="1282074" y="328247"/>
                  </a:lnTo>
                  <a:lnTo>
                    <a:pt x="1282074" y="551227"/>
                  </a:lnTo>
                  <a:lnTo>
                    <a:pt x="1246786" y="551227"/>
                  </a:lnTo>
                  <a:lnTo>
                    <a:pt x="1246786" y="371444"/>
                  </a:lnTo>
                  <a:cubicBezTo>
                    <a:pt x="1240398" y="376007"/>
                    <a:pt x="1233529" y="379885"/>
                    <a:pt x="1226177" y="383079"/>
                  </a:cubicBezTo>
                  <a:cubicBezTo>
                    <a:pt x="1218825" y="386274"/>
                    <a:pt x="1210435" y="389087"/>
                    <a:pt x="1201004" y="391521"/>
                  </a:cubicBezTo>
                  <a:lnTo>
                    <a:pt x="1201004" y="361405"/>
                  </a:lnTo>
                  <a:cubicBezTo>
                    <a:pt x="1206885" y="359479"/>
                    <a:pt x="1212564" y="357450"/>
                    <a:pt x="1218039" y="355321"/>
                  </a:cubicBezTo>
                  <a:cubicBezTo>
                    <a:pt x="1223515" y="353192"/>
                    <a:pt x="1228915" y="350808"/>
                    <a:pt x="1234238" y="348172"/>
                  </a:cubicBezTo>
                  <a:cubicBezTo>
                    <a:pt x="1239562" y="345536"/>
                    <a:pt x="1244936" y="342595"/>
                    <a:pt x="1250361" y="339350"/>
                  </a:cubicBezTo>
                  <a:cubicBezTo>
                    <a:pt x="1255786" y="336106"/>
                    <a:pt x="1261388" y="332404"/>
                    <a:pt x="1267168" y="328247"/>
                  </a:cubicBezTo>
                  <a:close/>
                  <a:moveTo>
                    <a:pt x="393927" y="328247"/>
                  </a:moveTo>
                  <a:lnTo>
                    <a:pt x="408833" y="328247"/>
                  </a:lnTo>
                  <a:lnTo>
                    <a:pt x="408833" y="551227"/>
                  </a:lnTo>
                  <a:lnTo>
                    <a:pt x="373545" y="551227"/>
                  </a:lnTo>
                  <a:lnTo>
                    <a:pt x="373545" y="371444"/>
                  </a:lnTo>
                  <a:cubicBezTo>
                    <a:pt x="367157" y="376007"/>
                    <a:pt x="360288" y="379885"/>
                    <a:pt x="352936" y="383079"/>
                  </a:cubicBezTo>
                  <a:cubicBezTo>
                    <a:pt x="345584" y="386274"/>
                    <a:pt x="337194" y="389087"/>
                    <a:pt x="327763" y="391521"/>
                  </a:cubicBezTo>
                  <a:lnTo>
                    <a:pt x="327763" y="361405"/>
                  </a:lnTo>
                  <a:cubicBezTo>
                    <a:pt x="333644" y="359479"/>
                    <a:pt x="339323" y="357450"/>
                    <a:pt x="344798" y="355321"/>
                  </a:cubicBezTo>
                  <a:cubicBezTo>
                    <a:pt x="350274" y="353192"/>
                    <a:pt x="355674" y="350808"/>
                    <a:pt x="360997" y="348172"/>
                  </a:cubicBezTo>
                  <a:cubicBezTo>
                    <a:pt x="366321" y="345536"/>
                    <a:pt x="371695" y="342595"/>
                    <a:pt x="377120" y="339350"/>
                  </a:cubicBezTo>
                  <a:cubicBezTo>
                    <a:pt x="382545" y="336106"/>
                    <a:pt x="388147" y="332404"/>
                    <a:pt x="393927" y="328247"/>
                  </a:cubicBezTo>
                  <a:close/>
                  <a:moveTo>
                    <a:pt x="10287594" y="0"/>
                  </a:moveTo>
                  <a:lnTo>
                    <a:pt x="10302500" y="0"/>
                  </a:lnTo>
                  <a:lnTo>
                    <a:pt x="10302500" y="222980"/>
                  </a:lnTo>
                  <a:lnTo>
                    <a:pt x="10267212" y="222980"/>
                  </a:lnTo>
                  <a:lnTo>
                    <a:pt x="10267212" y="43196"/>
                  </a:lnTo>
                  <a:cubicBezTo>
                    <a:pt x="10260824" y="47760"/>
                    <a:pt x="10253954" y="51638"/>
                    <a:pt x="10246603" y="54832"/>
                  </a:cubicBezTo>
                  <a:cubicBezTo>
                    <a:pt x="10239251" y="58027"/>
                    <a:pt x="10230860" y="60840"/>
                    <a:pt x="10221430" y="63274"/>
                  </a:cubicBezTo>
                  <a:lnTo>
                    <a:pt x="10221430" y="33158"/>
                  </a:lnTo>
                  <a:cubicBezTo>
                    <a:pt x="10227311" y="31232"/>
                    <a:pt x="10232990" y="29203"/>
                    <a:pt x="10238465" y="27074"/>
                  </a:cubicBezTo>
                  <a:cubicBezTo>
                    <a:pt x="10243941" y="24945"/>
                    <a:pt x="10249341" y="22561"/>
                    <a:pt x="10254664" y="19925"/>
                  </a:cubicBezTo>
                  <a:cubicBezTo>
                    <a:pt x="10259988" y="17289"/>
                    <a:pt x="10265362" y="14348"/>
                    <a:pt x="10270787" y="11103"/>
                  </a:cubicBezTo>
                  <a:cubicBezTo>
                    <a:pt x="10276212" y="7859"/>
                    <a:pt x="10281814" y="4157"/>
                    <a:pt x="10287594" y="0"/>
                  </a:cubicBezTo>
                  <a:close/>
                  <a:moveTo>
                    <a:pt x="9399570" y="0"/>
                  </a:moveTo>
                  <a:lnTo>
                    <a:pt x="9414476" y="0"/>
                  </a:lnTo>
                  <a:lnTo>
                    <a:pt x="9414476" y="222980"/>
                  </a:lnTo>
                  <a:lnTo>
                    <a:pt x="9379188" y="222980"/>
                  </a:lnTo>
                  <a:lnTo>
                    <a:pt x="9379188" y="43196"/>
                  </a:lnTo>
                  <a:cubicBezTo>
                    <a:pt x="9372800" y="47760"/>
                    <a:pt x="9365930" y="51638"/>
                    <a:pt x="9358579" y="54832"/>
                  </a:cubicBezTo>
                  <a:cubicBezTo>
                    <a:pt x="9351227" y="58027"/>
                    <a:pt x="9342836" y="60840"/>
                    <a:pt x="9333406" y="63274"/>
                  </a:cubicBezTo>
                  <a:lnTo>
                    <a:pt x="9333406" y="33158"/>
                  </a:lnTo>
                  <a:cubicBezTo>
                    <a:pt x="9339287" y="31232"/>
                    <a:pt x="9344966" y="29203"/>
                    <a:pt x="9350441" y="27074"/>
                  </a:cubicBezTo>
                  <a:cubicBezTo>
                    <a:pt x="9355917" y="24945"/>
                    <a:pt x="9361317" y="22561"/>
                    <a:pt x="9366640" y="19925"/>
                  </a:cubicBezTo>
                  <a:cubicBezTo>
                    <a:pt x="9371964" y="17289"/>
                    <a:pt x="9377338" y="14348"/>
                    <a:pt x="9382763" y="11103"/>
                  </a:cubicBezTo>
                  <a:cubicBezTo>
                    <a:pt x="9388188" y="7859"/>
                    <a:pt x="9393790" y="4157"/>
                    <a:pt x="9399570" y="0"/>
                  </a:cubicBezTo>
                  <a:close/>
                  <a:moveTo>
                    <a:pt x="7529739" y="0"/>
                  </a:moveTo>
                  <a:lnTo>
                    <a:pt x="7544645" y="0"/>
                  </a:lnTo>
                  <a:lnTo>
                    <a:pt x="7544645" y="222980"/>
                  </a:lnTo>
                  <a:lnTo>
                    <a:pt x="7509357" y="222980"/>
                  </a:lnTo>
                  <a:lnTo>
                    <a:pt x="7509357" y="43196"/>
                  </a:lnTo>
                  <a:cubicBezTo>
                    <a:pt x="7502969" y="47760"/>
                    <a:pt x="7496100" y="51638"/>
                    <a:pt x="7488748" y="54832"/>
                  </a:cubicBezTo>
                  <a:cubicBezTo>
                    <a:pt x="7481396" y="58027"/>
                    <a:pt x="7473006" y="60840"/>
                    <a:pt x="7463575" y="63274"/>
                  </a:cubicBezTo>
                  <a:lnTo>
                    <a:pt x="7463575" y="33158"/>
                  </a:lnTo>
                  <a:cubicBezTo>
                    <a:pt x="7469456" y="31232"/>
                    <a:pt x="7475135" y="29203"/>
                    <a:pt x="7480610" y="27074"/>
                  </a:cubicBezTo>
                  <a:cubicBezTo>
                    <a:pt x="7486086" y="24945"/>
                    <a:pt x="7491486" y="22561"/>
                    <a:pt x="7496809" y="19925"/>
                  </a:cubicBezTo>
                  <a:cubicBezTo>
                    <a:pt x="7502133" y="17289"/>
                    <a:pt x="7507507" y="14348"/>
                    <a:pt x="7512932" y="11103"/>
                  </a:cubicBezTo>
                  <a:cubicBezTo>
                    <a:pt x="7518357" y="7859"/>
                    <a:pt x="7523959" y="4157"/>
                    <a:pt x="7529739" y="0"/>
                  </a:cubicBezTo>
                  <a:close/>
                  <a:moveTo>
                    <a:pt x="6158139" y="0"/>
                  </a:moveTo>
                  <a:lnTo>
                    <a:pt x="6173045" y="0"/>
                  </a:lnTo>
                  <a:lnTo>
                    <a:pt x="6173045" y="222980"/>
                  </a:lnTo>
                  <a:lnTo>
                    <a:pt x="6137757" y="222980"/>
                  </a:lnTo>
                  <a:lnTo>
                    <a:pt x="6137757" y="43196"/>
                  </a:lnTo>
                  <a:cubicBezTo>
                    <a:pt x="6131369" y="47760"/>
                    <a:pt x="6124500" y="51638"/>
                    <a:pt x="6117148" y="54832"/>
                  </a:cubicBezTo>
                  <a:cubicBezTo>
                    <a:pt x="6109796" y="58027"/>
                    <a:pt x="6101406" y="60840"/>
                    <a:pt x="6091975" y="63274"/>
                  </a:cubicBezTo>
                  <a:lnTo>
                    <a:pt x="6091975" y="33158"/>
                  </a:lnTo>
                  <a:cubicBezTo>
                    <a:pt x="6097856" y="31232"/>
                    <a:pt x="6103535" y="29203"/>
                    <a:pt x="6109010" y="27074"/>
                  </a:cubicBezTo>
                  <a:cubicBezTo>
                    <a:pt x="6114486" y="24945"/>
                    <a:pt x="6119886" y="22561"/>
                    <a:pt x="6125209" y="19925"/>
                  </a:cubicBezTo>
                  <a:cubicBezTo>
                    <a:pt x="6130533" y="17289"/>
                    <a:pt x="6135907" y="14348"/>
                    <a:pt x="6141332" y="11103"/>
                  </a:cubicBezTo>
                  <a:cubicBezTo>
                    <a:pt x="6146757" y="7859"/>
                    <a:pt x="6152359" y="4157"/>
                    <a:pt x="6158139" y="0"/>
                  </a:cubicBezTo>
                  <a:close/>
                  <a:moveTo>
                    <a:pt x="4237236" y="0"/>
                  </a:moveTo>
                  <a:lnTo>
                    <a:pt x="4252143" y="0"/>
                  </a:lnTo>
                  <a:lnTo>
                    <a:pt x="4252143" y="222980"/>
                  </a:lnTo>
                  <a:lnTo>
                    <a:pt x="4216854" y="222980"/>
                  </a:lnTo>
                  <a:lnTo>
                    <a:pt x="4216854" y="43196"/>
                  </a:lnTo>
                  <a:cubicBezTo>
                    <a:pt x="4210467" y="47760"/>
                    <a:pt x="4203597" y="51638"/>
                    <a:pt x="4196246" y="54832"/>
                  </a:cubicBezTo>
                  <a:cubicBezTo>
                    <a:pt x="4188893" y="58027"/>
                    <a:pt x="4180504" y="60840"/>
                    <a:pt x="4171072" y="63274"/>
                  </a:cubicBezTo>
                  <a:lnTo>
                    <a:pt x="4171072" y="33158"/>
                  </a:lnTo>
                  <a:cubicBezTo>
                    <a:pt x="4176954" y="31232"/>
                    <a:pt x="4182634" y="29203"/>
                    <a:pt x="4188108" y="27074"/>
                  </a:cubicBezTo>
                  <a:cubicBezTo>
                    <a:pt x="4193583" y="24945"/>
                    <a:pt x="4198984" y="22561"/>
                    <a:pt x="4204308" y="19925"/>
                  </a:cubicBezTo>
                  <a:cubicBezTo>
                    <a:pt x="4209631" y="17289"/>
                    <a:pt x="4215005" y="14348"/>
                    <a:pt x="4220430" y="11103"/>
                  </a:cubicBezTo>
                  <a:cubicBezTo>
                    <a:pt x="4225855" y="7859"/>
                    <a:pt x="4231457" y="4157"/>
                    <a:pt x="4237236" y="0"/>
                  </a:cubicBezTo>
                  <a:close/>
                  <a:moveTo>
                    <a:pt x="3347533" y="0"/>
                  </a:moveTo>
                  <a:lnTo>
                    <a:pt x="3362439" y="0"/>
                  </a:lnTo>
                  <a:lnTo>
                    <a:pt x="3362439" y="222980"/>
                  </a:lnTo>
                  <a:lnTo>
                    <a:pt x="3327152" y="222980"/>
                  </a:lnTo>
                  <a:lnTo>
                    <a:pt x="3327152" y="43196"/>
                  </a:lnTo>
                  <a:cubicBezTo>
                    <a:pt x="3320764" y="47760"/>
                    <a:pt x="3313894" y="51638"/>
                    <a:pt x="3306542" y="54832"/>
                  </a:cubicBezTo>
                  <a:cubicBezTo>
                    <a:pt x="3299191" y="58027"/>
                    <a:pt x="3290800" y="60840"/>
                    <a:pt x="3281369" y="63274"/>
                  </a:cubicBezTo>
                  <a:lnTo>
                    <a:pt x="3281369" y="33158"/>
                  </a:lnTo>
                  <a:cubicBezTo>
                    <a:pt x="3287251" y="31232"/>
                    <a:pt x="3292929" y="29203"/>
                    <a:pt x="3298404" y="27074"/>
                  </a:cubicBezTo>
                  <a:cubicBezTo>
                    <a:pt x="3303881" y="24945"/>
                    <a:pt x="3309280" y="22561"/>
                    <a:pt x="3314604" y="19925"/>
                  </a:cubicBezTo>
                  <a:cubicBezTo>
                    <a:pt x="3319927" y="17289"/>
                    <a:pt x="3325301" y="14348"/>
                    <a:pt x="3330727" y="11103"/>
                  </a:cubicBezTo>
                  <a:cubicBezTo>
                    <a:pt x="3336151" y="7859"/>
                    <a:pt x="3341753" y="4157"/>
                    <a:pt x="3347533" y="0"/>
                  </a:cubicBezTo>
                  <a:close/>
                  <a:moveTo>
                    <a:pt x="1463993" y="0"/>
                  </a:moveTo>
                  <a:lnTo>
                    <a:pt x="1478899" y="0"/>
                  </a:lnTo>
                  <a:lnTo>
                    <a:pt x="1478899" y="222980"/>
                  </a:lnTo>
                  <a:lnTo>
                    <a:pt x="1443611" y="222980"/>
                  </a:lnTo>
                  <a:lnTo>
                    <a:pt x="1443611" y="43196"/>
                  </a:lnTo>
                  <a:cubicBezTo>
                    <a:pt x="1437223" y="47760"/>
                    <a:pt x="1430353" y="51638"/>
                    <a:pt x="1423002" y="54832"/>
                  </a:cubicBezTo>
                  <a:cubicBezTo>
                    <a:pt x="1415650" y="58027"/>
                    <a:pt x="1407259" y="60840"/>
                    <a:pt x="1397829" y="63274"/>
                  </a:cubicBezTo>
                  <a:lnTo>
                    <a:pt x="1397829" y="33158"/>
                  </a:lnTo>
                  <a:cubicBezTo>
                    <a:pt x="1403710" y="31232"/>
                    <a:pt x="1409389" y="29203"/>
                    <a:pt x="1414864" y="27074"/>
                  </a:cubicBezTo>
                  <a:cubicBezTo>
                    <a:pt x="1420340" y="24945"/>
                    <a:pt x="1425740" y="22561"/>
                    <a:pt x="1431063" y="19925"/>
                  </a:cubicBezTo>
                  <a:cubicBezTo>
                    <a:pt x="1436387" y="17289"/>
                    <a:pt x="1441761" y="14348"/>
                    <a:pt x="1447186" y="11103"/>
                  </a:cubicBezTo>
                  <a:cubicBezTo>
                    <a:pt x="1452611" y="7859"/>
                    <a:pt x="1458213" y="4157"/>
                    <a:pt x="1463993" y="0"/>
                  </a:cubicBezTo>
                  <a:close/>
                  <a:moveTo>
                    <a:pt x="92047" y="0"/>
                  </a:moveTo>
                  <a:lnTo>
                    <a:pt x="106953" y="0"/>
                  </a:lnTo>
                  <a:lnTo>
                    <a:pt x="106953" y="222980"/>
                  </a:lnTo>
                  <a:lnTo>
                    <a:pt x="71665" y="222980"/>
                  </a:lnTo>
                  <a:lnTo>
                    <a:pt x="71665" y="43196"/>
                  </a:lnTo>
                  <a:cubicBezTo>
                    <a:pt x="65277" y="47760"/>
                    <a:pt x="58408" y="51638"/>
                    <a:pt x="51056" y="54832"/>
                  </a:cubicBezTo>
                  <a:cubicBezTo>
                    <a:pt x="43704" y="58027"/>
                    <a:pt x="35314" y="60840"/>
                    <a:pt x="25883" y="63274"/>
                  </a:cubicBezTo>
                  <a:lnTo>
                    <a:pt x="25883" y="33158"/>
                  </a:lnTo>
                  <a:cubicBezTo>
                    <a:pt x="31764" y="31232"/>
                    <a:pt x="37443" y="29203"/>
                    <a:pt x="42918" y="27074"/>
                  </a:cubicBezTo>
                  <a:cubicBezTo>
                    <a:pt x="48394" y="24945"/>
                    <a:pt x="53794" y="22561"/>
                    <a:pt x="59117" y="19925"/>
                  </a:cubicBezTo>
                  <a:cubicBezTo>
                    <a:pt x="64441" y="17289"/>
                    <a:pt x="69815" y="14348"/>
                    <a:pt x="75240" y="11103"/>
                  </a:cubicBezTo>
                  <a:cubicBezTo>
                    <a:pt x="80665" y="7859"/>
                    <a:pt x="86267" y="4157"/>
                    <a:pt x="92047" y="0"/>
                  </a:cubicBezTo>
                  <a:close/>
                </a:path>
              </a:pathLst>
            </a:custGeom>
            <a:solidFill>
              <a:srgbClr val="D8D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p:cNvSpPr/>
            <p:nvPr/>
          </p:nvSpPr>
          <p:spPr>
            <a:xfrm>
              <a:off x="257712" y="73882"/>
              <a:ext cx="11537287" cy="6072782"/>
            </a:xfrm>
            <a:custGeom>
              <a:avLst/>
              <a:gdLst>
                <a:gd name="connsiteX0" fmla="*/ 8823577 w 11537287"/>
                <a:gd name="connsiteY0" fmla="*/ 5849802 h 6072782"/>
                <a:gd name="connsiteX1" fmla="*/ 8868426 w 11537287"/>
                <a:gd name="connsiteY1" fmla="*/ 5888824 h 6072782"/>
                <a:gd name="connsiteX2" fmla="*/ 8868426 w 11537287"/>
                <a:gd name="connsiteY2" fmla="*/ 5925184 h 6072782"/>
                <a:gd name="connsiteX3" fmla="*/ 8888064 w 11537287"/>
                <a:gd name="connsiteY3" fmla="*/ 5952044 h 6072782"/>
                <a:gd name="connsiteX4" fmla="*/ 8888064 w 11537287"/>
                <a:gd name="connsiteY4" fmla="*/ 5970541 h 6072782"/>
                <a:gd name="connsiteX5" fmla="*/ 8868426 w 11537287"/>
                <a:gd name="connsiteY5" fmla="*/ 5996893 h 6072782"/>
                <a:gd name="connsiteX6" fmla="*/ 8868426 w 11537287"/>
                <a:gd name="connsiteY6" fmla="*/ 6034268 h 6072782"/>
                <a:gd name="connsiteX7" fmla="*/ 8823577 w 11537287"/>
                <a:gd name="connsiteY7" fmla="*/ 6072782 h 6072782"/>
                <a:gd name="connsiteX8" fmla="*/ 8823577 w 11537287"/>
                <a:gd name="connsiteY8" fmla="*/ 6053272 h 6072782"/>
                <a:gd name="connsiteX9" fmla="*/ 8839224 w 11537287"/>
                <a:gd name="connsiteY9" fmla="*/ 6047190 h 6072782"/>
                <a:gd name="connsiteX10" fmla="*/ 8843848 w 11537287"/>
                <a:gd name="connsiteY10" fmla="*/ 6027933 h 6072782"/>
                <a:gd name="connsiteX11" fmla="*/ 8843848 w 11537287"/>
                <a:gd name="connsiteY11" fmla="*/ 5992586 h 6072782"/>
                <a:gd name="connsiteX12" fmla="*/ 8868807 w 11537287"/>
                <a:gd name="connsiteY12" fmla="*/ 5961292 h 6072782"/>
                <a:gd name="connsiteX13" fmla="*/ 8868807 w 11537287"/>
                <a:gd name="connsiteY13" fmla="*/ 5960912 h 6072782"/>
                <a:gd name="connsiteX14" fmla="*/ 8843848 w 11537287"/>
                <a:gd name="connsiteY14" fmla="*/ 5929366 h 6072782"/>
                <a:gd name="connsiteX15" fmla="*/ 8843848 w 11537287"/>
                <a:gd name="connsiteY15" fmla="*/ 5893638 h 6072782"/>
                <a:gd name="connsiteX16" fmla="*/ 8823577 w 11537287"/>
                <a:gd name="connsiteY16" fmla="*/ 5869440 h 6072782"/>
                <a:gd name="connsiteX17" fmla="*/ 8806093 w 11537287"/>
                <a:gd name="connsiteY17" fmla="*/ 5849802 h 6072782"/>
                <a:gd name="connsiteX18" fmla="*/ 8806093 w 11537287"/>
                <a:gd name="connsiteY18" fmla="*/ 5869440 h 6072782"/>
                <a:gd name="connsiteX19" fmla="*/ 8785949 w 11537287"/>
                <a:gd name="connsiteY19" fmla="*/ 5893638 h 6072782"/>
                <a:gd name="connsiteX20" fmla="*/ 8785949 w 11537287"/>
                <a:gd name="connsiteY20" fmla="*/ 5929366 h 6072782"/>
                <a:gd name="connsiteX21" fmla="*/ 8760737 w 11537287"/>
                <a:gd name="connsiteY21" fmla="*/ 5960912 h 6072782"/>
                <a:gd name="connsiteX22" fmla="*/ 8760737 w 11537287"/>
                <a:gd name="connsiteY22" fmla="*/ 5961292 h 6072782"/>
                <a:gd name="connsiteX23" fmla="*/ 8785949 w 11537287"/>
                <a:gd name="connsiteY23" fmla="*/ 5992586 h 6072782"/>
                <a:gd name="connsiteX24" fmla="*/ 8785949 w 11537287"/>
                <a:gd name="connsiteY24" fmla="*/ 6027933 h 6072782"/>
                <a:gd name="connsiteX25" fmla="*/ 8790447 w 11537287"/>
                <a:gd name="connsiteY25" fmla="*/ 6047253 h 6072782"/>
                <a:gd name="connsiteX26" fmla="*/ 8806093 w 11537287"/>
                <a:gd name="connsiteY26" fmla="*/ 6053272 h 6072782"/>
                <a:gd name="connsiteX27" fmla="*/ 8806093 w 11537287"/>
                <a:gd name="connsiteY27" fmla="*/ 6072782 h 6072782"/>
                <a:gd name="connsiteX28" fmla="*/ 8760990 w 11537287"/>
                <a:gd name="connsiteY28" fmla="*/ 6034268 h 6072782"/>
                <a:gd name="connsiteX29" fmla="*/ 8760990 w 11537287"/>
                <a:gd name="connsiteY29" fmla="*/ 5996893 h 6072782"/>
                <a:gd name="connsiteX30" fmla="*/ 8741226 w 11537287"/>
                <a:gd name="connsiteY30" fmla="*/ 5970541 h 6072782"/>
                <a:gd name="connsiteX31" fmla="*/ 8741226 w 11537287"/>
                <a:gd name="connsiteY31" fmla="*/ 5952044 h 6072782"/>
                <a:gd name="connsiteX32" fmla="*/ 8760990 w 11537287"/>
                <a:gd name="connsiteY32" fmla="*/ 5925184 h 6072782"/>
                <a:gd name="connsiteX33" fmla="*/ 8760990 w 11537287"/>
                <a:gd name="connsiteY33" fmla="*/ 5888824 h 6072782"/>
                <a:gd name="connsiteX34" fmla="*/ 8806093 w 11537287"/>
                <a:gd name="connsiteY34" fmla="*/ 5849802 h 6072782"/>
                <a:gd name="connsiteX35" fmla="*/ 8823577 w 11537287"/>
                <a:gd name="connsiteY35" fmla="*/ 5494671 h 6072782"/>
                <a:gd name="connsiteX36" fmla="*/ 8868426 w 11537287"/>
                <a:gd name="connsiteY36" fmla="*/ 5533692 h 6072782"/>
                <a:gd name="connsiteX37" fmla="*/ 8868426 w 11537287"/>
                <a:gd name="connsiteY37" fmla="*/ 5570053 h 6072782"/>
                <a:gd name="connsiteX38" fmla="*/ 8888064 w 11537287"/>
                <a:gd name="connsiteY38" fmla="*/ 5596912 h 6072782"/>
                <a:gd name="connsiteX39" fmla="*/ 8888064 w 11537287"/>
                <a:gd name="connsiteY39" fmla="*/ 5615409 h 6072782"/>
                <a:gd name="connsiteX40" fmla="*/ 8868426 w 11537287"/>
                <a:gd name="connsiteY40" fmla="*/ 5641762 h 6072782"/>
                <a:gd name="connsiteX41" fmla="*/ 8868426 w 11537287"/>
                <a:gd name="connsiteY41" fmla="*/ 5679136 h 6072782"/>
                <a:gd name="connsiteX42" fmla="*/ 8823577 w 11537287"/>
                <a:gd name="connsiteY42" fmla="*/ 5717651 h 6072782"/>
                <a:gd name="connsiteX43" fmla="*/ 8823577 w 11537287"/>
                <a:gd name="connsiteY43" fmla="*/ 5698140 h 6072782"/>
                <a:gd name="connsiteX44" fmla="*/ 8839224 w 11537287"/>
                <a:gd name="connsiteY44" fmla="*/ 5692059 h 6072782"/>
                <a:gd name="connsiteX45" fmla="*/ 8843848 w 11537287"/>
                <a:gd name="connsiteY45" fmla="*/ 5672802 h 6072782"/>
                <a:gd name="connsiteX46" fmla="*/ 8843848 w 11537287"/>
                <a:gd name="connsiteY46" fmla="*/ 5637454 h 6072782"/>
                <a:gd name="connsiteX47" fmla="*/ 8868807 w 11537287"/>
                <a:gd name="connsiteY47" fmla="*/ 5606161 h 6072782"/>
                <a:gd name="connsiteX48" fmla="*/ 8868807 w 11537287"/>
                <a:gd name="connsiteY48" fmla="*/ 5605781 h 6072782"/>
                <a:gd name="connsiteX49" fmla="*/ 8843848 w 11537287"/>
                <a:gd name="connsiteY49" fmla="*/ 5574234 h 6072782"/>
                <a:gd name="connsiteX50" fmla="*/ 8843848 w 11537287"/>
                <a:gd name="connsiteY50" fmla="*/ 5538507 h 6072782"/>
                <a:gd name="connsiteX51" fmla="*/ 8823577 w 11537287"/>
                <a:gd name="connsiteY51" fmla="*/ 5514308 h 6072782"/>
                <a:gd name="connsiteX52" fmla="*/ 8806093 w 11537287"/>
                <a:gd name="connsiteY52" fmla="*/ 5494671 h 6072782"/>
                <a:gd name="connsiteX53" fmla="*/ 8806093 w 11537287"/>
                <a:gd name="connsiteY53" fmla="*/ 5514308 h 6072782"/>
                <a:gd name="connsiteX54" fmla="*/ 8785949 w 11537287"/>
                <a:gd name="connsiteY54" fmla="*/ 5538507 h 6072782"/>
                <a:gd name="connsiteX55" fmla="*/ 8785949 w 11537287"/>
                <a:gd name="connsiteY55" fmla="*/ 5574234 h 6072782"/>
                <a:gd name="connsiteX56" fmla="*/ 8760737 w 11537287"/>
                <a:gd name="connsiteY56" fmla="*/ 5605781 h 6072782"/>
                <a:gd name="connsiteX57" fmla="*/ 8760737 w 11537287"/>
                <a:gd name="connsiteY57" fmla="*/ 5606161 h 6072782"/>
                <a:gd name="connsiteX58" fmla="*/ 8785949 w 11537287"/>
                <a:gd name="connsiteY58" fmla="*/ 5637454 h 6072782"/>
                <a:gd name="connsiteX59" fmla="*/ 8785949 w 11537287"/>
                <a:gd name="connsiteY59" fmla="*/ 5672802 h 6072782"/>
                <a:gd name="connsiteX60" fmla="*/ 8790447 w 11537287"/>
                <a:gd name="connsiteY60" fmla="*/ 5692122 h 6072782"/>
                <a:gd name="connsiteX61" fmla="*/ 8806093 w 11537287"/>
                <a:gd name="connsiteY61" fmla="*/ 5698140 h 6072782"/>
                <a:gd name="connsiteX62" fmla="*/ 8806093 w 11537287"/>
                <a:gd name="connsiteY62" fmla="*/ 5717651 h 6072782"/>
                <a:gd name="connsiteX63" fmla="*/ 8760990 w 11537287"/>
                <a:gd name="connsiteY63" fmla="*/ 5679136 h 6072782"/>
                <a:gd name="connsiteX64" fmla="*/ 8760990 w 11537287"/>
                <a:gd name="connsiteY64" fmla="*/ 5641762 h 6072782"/>
                <a:gd name="connsiteX65" fmla="*/ 8741226 w 11537287"/>
                <a:gd name="connsiteY65" fmla="*/ 5615409 h 6072782"/>
                <a:gd name="connsiteX66" fmla="*/ 8741226 w 11537287"/>
                <a:gd name="connsiteY66" fmla="*/ 5596912 h 6072782"/>
                <a:gd name="connsiteX67" fmla="*/ 8760990 w 11537287"/>
                <a:gd name="connsiteY67" fmla="*/ 5570053 h 6072782"/>
                <a:gd name="connsiteX68" fmla="*/ 8760990 w 11537287"/>
                <a:gd name="connsiteY68" fmla="*/ 5533692 h 6072782"/>
                <a:gd name="connsiteX69" fmla="*/ 8806093 w 11537287"/>
                <a:gd name="connsiteY69" fmla="*/ 5494671 h 6072782"/>
                <a:gd name="connsiteX70" fmla="*/ 8823577 w 11537287"/>
                <a:gd name="connsiteY70" fmla="*/ 5157041 h 6072782"/>
                <a:gd name="connsiteX71" fmla="*/ 8868426 w 11537287"/>
                <a:gd name="connsiteY71" fmla="*/ 5196062 h 6072782"/>
                <a:gd name="connsiteX72" fmla="*/ 8868426 w 11537287"/>
                <a:gd name="connsiteY72" fmla="*/ 5232423 h 6072782"/>
                <a:gd name="connsiteX73" fmla="*/ 8888064 w 11537287"/>
                <a:gd name="connsiteY73" fmla="*/ 5259282 h 6072782"/>
                <a:gd name="connsiteX74" fmla="*/ 8888064 w 11537287"/>
                <a:gd name="connsiteY74" fmla="*/ 5277779 h 6072782"/>
                <a:gd name="connsiteX75" fmla="*/ 8868426 w 11537287"/>
                <a:gd name="connsiteY75" fmla="*/ 5304132 h 6072782"/>
                <a:gd name="connsiteX76" fmla="*/ 8868426 w 11537287"/>
                <a:gd name="connsiteY76" fmla="*/ 5341506 h 6072782"/>
                <a:gd name="connsiteX77" fmla="*/ 8823577 w 11537287"/>
                <a:gd name="connsiteY77" fmla="*/ 5380021 h 6072782"/>
                <a:gd name="connsiteX78" fmla="*/ 8823577 w 11537287"/>
                <a:gd name="connsiteY78" fmla="*/ 5360510 h 6072782"/>
                <a:gd name="connsiteX79" fmla="*/ 8839224 w 11537287"/>
                <a:gd name="connsiteY79" fmla="*/ 5354429 h 6072782"/>
                <a:gd name="connsiteX80" fmla="*/ 8843848 w 11537287"/>
                <a:gd name="connsiteY80" fmla="*/ 5335172 h 6072782"/>
                <a:gd name="connsiteX81" fmla="*/ 8843848 w 11537287"/>
                <a:gd name="connsiteY81" fmla="*/ 5299824 h 6072782"/>
                <a:gd name="connsiteX82" fmla="*/ 8868807 w 11537287"/>
                <a:gd name="connsiteY82" fmla="*/ 5268531 h 6072782"/>
                <a:gd name="connsiteX83" fmla="*/ 8868807 w 11537287"/>
                <a:gd name="connsiteY83" fmla="*/ 5268151 h 6072782"/>
                <a:gd name="connsiteX84" fmla="*/ 8843848 w 11537287"/>
                <a:gd name="connsiteY84" fmla="*/ 5236604 h 6072782"/>
                <a:gd name="connsiteX85" fmla="*/ 8843848 w 11537287"/>
                <a:gd name="connsiteY85" fmla="*/ 5200877 h 6072782"/>
                <a:gd name="connsiteX86" fmla="*/ 8823577 w 11537287"/>
                <a:gd name="connsiteY86" fmla="*/ 5176678 h 6072782"/>
                <a:gd name="connsiteX87" fmla="*/ 8806093 w 11537287"/>
                <a:gd name="connsiteY87" fmla="*/ 5157041 h 6072782"/>
                <a:gd name="connsiteX88" fmla="*/ 8806093 w 11537287"/>
                <a:gd name="connsiteY88" fmla="*/ 5176678 h 6072782"/>
                <a:gd name="connsiteX89" fmla="*/ 8785949 w 11537287"/>
                <a:gd name="connsiteY89" fmla="*/ 5200877 h 6072782"/>
                <a:gd name="connsiteX90" fmla="*/ 8785949 w 11537287"/>
                <a:gd name="connsiteY90" fmla="*/ 5236604 h 6072782"/>
                <a:gd name="connsiteX91" fmla="*/ 8760737 w 11537287"/>
                <a:gd name="connsiteY91" fmla="*/ 5268151 h 6072782"/>
                <a:gd name="connsiteX92" fmla="*/ 8760737 w 11537287"/>
                <a:gd name="connsiteY92" fmla="*/ 5268531 h 6072782"/>
                <a:gd name="connsiteX93" fmla="*/ 8785949 w 11537287"/>
                <a:gd name="connsiteY93" fmla="*/ 5299824 h 6072782"/>
                <a:gd name="connsiteX94" fmla="*/ 8785949 w 11537287"/>
                <a:gd name="connsiteY94" fmla="*/ 5335172 h 6072782"/>
                <a:gd name="connsiteX95" fmla="*/ 8790447 w 11537287"/>
                <a:gd name="connsiteY95" fmla="*/ 5354492 h 6072782"/>
                <a:gd name="connsiteX96" fmla="*/ 8806093 w 11537287"/>
                <a:gd name="connsiteY96" fmla="*/ 5360510 h 6072782"/>
                <a:gd name="connsiteX97" fmla="*/ 8806093 w 11537287"/>
                <a:gd name="connsiteY97" fmla="*/ 5380021 h 6072782"/>
                <a:gd name="connsiteX98" fmla="*/ 8760990 w 11537287"/>
                <a:gd name="connsiteY98" fmla="*/ 5341506 h 6072782"/>
                <a:gd name="connsiteX99" fmla="*/ 8760990 w 11537287"/>
                <a:gd name="connsiteY99" fmla="*/ 5304132 h 6072782"/>
                <a:gd name="connsiteX100" fmla="*/ 8741226 w 11537287"/>
                <a:gd name="connsiteY100" fmla="*/ 5277779 h 6072782"/>
                <a:gd name="connsiteX101" fmla="*/ 8741226 w 11537287"/>
                <a:gd name="connsiteY101" fmla="*/ 5259282 h 6072782"/>
                <a:gd name="connsiteX102" fmla="*/ 8760990 w 11537287"/>
                <a:gd name="connsiteY102" fmla="*/ 5232423 h 6072782"/>
                <a:gd name="connsiteX103" fmla="*/ 8760990 w 11537287"/>
                <a:gd name="connsiteY103" fmla="*/ 5196062 h 6072782"/>
                <a:gd name="connsiteX104" fmla="*/ 8806093 w 11537287"/>
                <a:gd name="connsiteY104" fmla="*/ 5157041 h 6072782"/>
                <a:gd name="connsiteX105" fmla="*/ 8823577 w 11537287"/>
                <a:gd name="connsiteY105" fmla="*/ 4843971 h 6072782"/>
                <a:gd name="connsiteX106" fmla="*/ 8868426 w 11537287"/>
                <a:gd name="connsiteY106" fmla="*/ 4882992 h 6072782"/>
                <a:gd name="connsiteX107" fmla="*/ 8868426 w 11537287"/>
                <a:gd name="connsiteY107" fmla="*/ 4919353 h 6072782"/>
                <a:gd name="connsiteX108" fmla="*/ 8888064 w 11537287"/>
                <a:gd name="connsiteY108" fmla="*/ 4946212 h 6072782"/>
                <a:gd name="connsiteX109" fmla="*/ 8888064 w 11537287"/>
                <a:gd name="connsiteY109" fmla="*/ 4964709 h 6072782"/>
                <a:gd name="connsiteX110" fmla="*/ 8868426 w 11537287"/>
                <a:gd name="connsiteY110" fmla="*/ 4991062 h 6072782"/>
                <a:gd name="connsiteX111" fmla="*/ 8868426 w 11537287"/>
                <a:gd name="connsiteY111" fmla="*/ 5028436 h 6072782"/>
                <a:gd name="connsiteX112" fmla="*/ 8823577 w 11537287"/>
                <a:gd name="connsiteY112" fmla="*/ 5066951 h 6072782"/>
                <a:gd name="connsiteX113" fmla="*/ 8823577 w 11537287"/>
                <a:gd name="connsiteY113" fmla="*/ 5047440 h 6072782"/>
                <a:gd name="connsiteX114" fmla="*/ 8839224 w 11537287"/>
                <a:gd name="connsiteY114" fmla="*/ 5041359 h 6072782"/>
                <a:gd name="connsiteX115" fmla="*/ 8843848 w 11537287"/>
                <a:gd name="connsiteY115" fmla="*/ 5022102 h 6072782"/>
                <a:gd name="connsiteX116" fmla="*/ 8843848 w 11537287"/>
                <a:gd name="connsiteY116" fmla="*/ 4986754 h 6072782"/>
                <a:gd name="connsiteX117" fmla="*/ 8868807 w 11537287"/>
                <a:gd name="connsiteY117" fmla="*/ 4955461 h 6072782"/>
                <a:gd name="connsiteX118" fmla="*/ 8868807 w 11537287"/>
                <a:gd name="connsiteY118" fmla="*/ 4955081 h 6072782"/>
                <a:gd name="connsiteX119" fmla="*/ 8843848 w 11537287"/>
                <a:gd name="connsiteY119" fmla="*/ 4923534 h 6072782"/>
                <a:gd name="connsiteX120" fmla="*/ 8843848 w 11537287"/>
                <a:gd name="connsiteY120" fmla="*/ 4887807 h 6072782"/>
                <a:gd name="connsiteX121" fmla="*/ 8823577 w 11537287"/>
                <a:gd name="connsiteY121" fmla="*/ 4863608 h 6072782"/>
                <a:gd name="connsiteX122" fmla="*/ 8806093 w 11537287"/>
                <a:gd name="connsiteY122" fmla="*/ 4843971 h 6072782"/>
                <a:gd name="connsiteX123" fmla="*/ 8806093 w 11537287"/>
                <a:gd name="connsiteY123" fmla="*/ 4863608 h 6072782"/>
                <a:gd name="connsiteX124" fmla="*/ 8785949 w 11537287"/>
                <a:gd name="connsiteY124" fmla="*/ 4887807 h 6072782"/>
                <a:gd name="connsiteX125" fmla="*/ 8785949 w 11537287"/>
                <a:gd name="connsiteY125" fmla="*/ 4923534 h 6072782"/>
                <a:gd name="connsiteX126" fmla="*/ 8760737 w 11537287"/>
                <a:gd name="connsiteY126" fmla="*/ 4955081 h 6072782"/>
                <a:gd name="connsiteX127" fmla="*/ 8760737 w 11537287"/>
                <a:gd name="connsiteY127" fmla="*/ 4955461 h 6072782"/>
                <a:gd name="connsiteX128" fmla="*/ 8785949 w 11537287"/>
                <a:gd name="connsiteY128" fmla="*/ 4986754 h 6072782"/>
                <a:gd name="connsiteX129" fmla="*/ 8785949 w 11537287"/>
                <a:gd name="connsiteY129" fmla="*/ 5022102 h 6072782"/>
                <a:gd name="connsiteX130" fmla="*/ 8790447 w 11537287"/>
                <a:gd name="connsiteY130" fmla="*/ 5041422 h 6072782"/>
                <a:gd name="connsiteX131" fmla="*/ 8806093 w 11537287"/>
                <a:gd name="connsiteY131" fmla="*/ 5047440 h 6072782"/>
                <a:gd name="connsiteX132" fmla="*/ 8806093 w 11537287"/>
                <a:gd name="connsiteY132" fmla="*/ 5066951 h 6072782"/>
                <a:gd name="connsiteX133" fmla="*/ 8760990 w 11537287"/>
                <a:gd name="connsiteY133" fmla="*/ 5028436 h 6072782"/>
                <a:gd name="connsiteX134" fmla="*/ 8760990 w 11537287"/>
                <a:gd name="connsiteY134" fmla="*/ 4991062 h 6072782"/>
                <a:gd name="connsiteX135" fmla="*/ 8741226 w 11537287"/>
                <a:gd name="connsiteY135" fmla="*/ 4964709 h 6072782"/>
                <a:gd name="connsiteX136" fmla="*/ 8741226 w 11537287"/>
                <a:gd name="connsiteY136" fmla="*/ 4946212 h 6072782"/>
                <a:gd name="connsiteX137" fmla="*/ 8760990 w 11537287"/>
                <a:gd name="connsiteY137" fmla="*/ 4919353 h 6072782"/>
                <a:gd name="connsiteX138" fmla="*/ 8760990 w 11537287"/>
                <a:gd name="connsiteY138" fmla="*/ 4882992 h 6072782"/>
                <a:gd name="connsiteX139" fmla="*/ 8806093 w 11537287"/>
                <a:gd name="connsiteY139" fmla="*/ 4843971 h 6072782"/>
                <a:gd name="connsiteX140" fmla="*/ 8825269 w 11537287"/>
                <a:gd name="connsiteY140" fmla="*/ 4503767 h 6072782"/>
                <a:gd name="connsiteX141" fmla="*/ 8870118 w 11537287"/>
                <a:gd name="connsiteY141" fmla="*/ 4542788 h 6072782"/>
                <a:gd name="connsiteX142" fmla="*/ 8870118 w 11537287"/>
                <a:gd name="connsiteY142" fmla="*/ 4579149 h 6072782"/>
                <a:gd name="connsiteX143" fmla="*/ 8889756 w 11537287"/>
                <a:gd name="connsiteY143" fmla="*/ 4606008 h 6072782"/>
                <a:gd name="connsiteX144" fmla="*/ 8889756 w 11537287"/>
                <a:gd name="connsiteY144" fmla="*/ 4624505 h 6072782"/>
                <a:gd name="connsiteX145" fmla="*/ 8870118 w 11537287"/>
                <a:gd name="connsiteY145" fmla="*/ 4650858 h 6072782"/>
                <a:gd name="connsiteX146" fmla="*/ 8870118 w 11537287"/>
                <a:gd name="connsiteY146" fmla="*/ 4688232 h 6072782"/>
                <a:gd name="connsiteX147" fmla="*/ 8825269 w 11537287"/>
                <a:gd name="connsiteY147" fmla="*/ 4726747 h 6072782"/>
                <a:gd name="connsiteX148" fmla="*/ 8825269 w 11537287"/>
                <a:gd name="connsiteY148" fmla="*/ 4707236 h 6072782"/>
                <a:gd name="connsiteX149" fmla="*/ 8840916 w 11537287"/>
                <a:gd name="connsiteY149" fmla="*/ 4701155 h 6072782"/>
                <a:gd name="connsiteX150" fmla="*/ 8845540 w 11537287"/>
                <a:gd name="connsiteY150" fmla="*/ 4681898 h 6072782"/>
                <a:gd name="connsiteX151" fmla="*/ 8845540 w 11537287"/>
                <a:gd name="connsiteY151" fmla="*/ 4646550 h 6072782"/>
                <a:gd name="connsiteX152" fmla="*/ 8870499 w 11537287"/>
                <a:gd name="connsiteY152" fmla="*/ 4615257 h 6072782"/>
                <a:gd name="connsiteX153" fmla="*/ 8870499 w 11537287"/>
                <a:gd name="connsiteY153" fmla="*/ 4614877 h 6072782"/>
                <a:gd name="connsiteX154" fmla="*/ 8845540 w 11537287"/>
                <a:gd name="connsiteY154" fmla="*/ 4583330 h 6072782"/>
                <a:gd name="connsiteX155" fmla="*/ 8845540 w 11537287"/>
                <a:gd name="connsiteY155" fmla="*/ 4547603 h 6072782"/>
                <a:gd name="connsiteX156" fmla="*/ 8825269 w 11537287"/>
                <a:gd name="connsiteY156" fmla="*/ 4523404 h 6072782"/>
                <a:gd name="connsiteX157" fmla="*/ 8807785 w 11537287"/>
                <a:gd name="connsiteY157" fmla="*/ 4503767 h 6072782"/>
                <a:gd name="connsiteX158" fmla="*/ 8807785 w 11537287"/>
                <a:gd name="connsiteY158" fmla="*/ 4523404 h 6072782"/>
                <a:gd name="connsiteX159" fmla="*/ 8787641 w 11537287"/>
                <a:gd name="connsiteY159" fmla="*/ 4547603 h 6072782"/>
                <a:gd name="connsiteX160" fmla="*/ 8787641 w 11537287"/>
                <a:gd name="connsiteY160" fmla="*/ 4583330 h 6072782"/>
                <a:gd name="connsiteX161" fmla="*/ 8762429 w 11537287"/>
                <a:gd name="connsiteY161" fmla="*/ 4614877 h 6072782"/>
                <a:gd name="connsiteX162" fmla="*/ 8762429 w 11537287"/>
                <a:gd name="connsiteY162" fmla="*/ 4615257 h 6072782"/>
                <a:gd name="connsiteX163" fmla="*/ 8787641 w 11537287"/>
                <a:gd name="connsiteY163" fmla="*/ 4646550 h 6072782"/>
                <a:gd name="connsiteX164" fmla="*/ 8787641 w 11537287"/>
                <a:gd name="connsiteY164" fmla="*/ 4681898 h 6072782"/>
                <a:gd name="connsiteX165" fmla="*/ 8792139 w 11537287"/>
                <a:gd name="connsiteY165" fmla="*/ 4701218 h 6072782"/>
                <a:gd name="connsiteX166" fmla="*/ 8807785 w 11537287"/>
                <a:gd name="connsiteY166" fmla="*/ 4707236 h 6072782"/>
                <a:gd name="connsiteX167" fmla="*/ 8807785 w 11537287"/>
                <a:gd name="connsiteY167" fmla="*/ 4726747 h 6072782"/>
                <a:gd name="connsiteX168" fmla="*/ 8762682 w 11537287"/>
                <a:gd name="connsiteY168" fmla="*/ 4688232 h 6072782"/>
                <a:gd name="connsiteX169" fmla="*/ 8762682 w 11537287"/>
                <a:gd name="connsiteY169" fmla="*/ 4650858 h 6072782"/>
                <a:gd name="connsiteX170" fmla="*/ 8742918 w 11537287"/>
                <a:gd name="connsiteY170" fmla="*/ 4624505 h 6072782"/>
                <a:gd name="connsiteX171" fmla="*/ 8742918 w 11537287"/>
                <a:gd name="connsiteY171" fmla="*/ 4606008 h 6072782"/>
                <a:gd name="connsiteX172" fmla="*/ 8762682 w 11537287"/>
                <a:gd name="connsiteY172" fmla="*/ 4579149 h 6072782"/>
                <a:gd name="connsiteX173" fmla="*/ 8762682 w 11537287"/>
                <a:gd name="connsiteY173" fmla="*/ 4542788 h 6072782"/>
                <a:gd name="connsiteX174" fmla="*/ 8807785 w 11537287"/>
                <a:gd name="connsiteY174" fmla="*/ 4503767 h 6072782"/>
                <a:gd name="connsiteX175" fmla="*/ 8826961 w 11537287"/>
                <a:gd name="connsiteY175" fmla="*/ 4163562 h 6072782"/>
                <a:gd name="connsiteX176" fmla="*/ 8871810 w 11537287"/>
                <a:gd name="connsiteY176" fmla="*/ 4202583 h 6072782"/>
                <a:gd name="connsiteX177" fmla="*/ 8871810 w 11537287"/>
                <a:gd name="connsiteY177" fmla="*/ 4238944 h 6072782"/>
                <a:gd name="connsiteX178" fmla="*/ 8891448 w 11537287"/>
                <a:gd name="connsiteY178" fmla="*/ 4265803 h 6072782"/>
                <a:gd name="connsiteX179" fmla="*/ 8891448 w 11537287"/>
                <a:gd name="connsiteY179" fmla="*/ 4284300 h 6072782"/>
                <a:gd name="connsiteX180" fmla="*/ 8871810 w 11537287"/>
                <a:gd name="connsiteY180" fmla="*/ 4310653 h 6072782"/>
                <a:gd name="connsiteX181" fmla="*/ 8871810 w 11537287"/>
                <a:gd name="connsiteY181" fmla="*/ 4348027 h 6072782"/>
                <a:gd name="connsiteX182" fmla="*/ 8826961 w 11537287"/>
                <a:gd name="connsiteY182" fmla="*/ 4386542 h 6072782"/>
                <a:gd name="connsiteX183" fmla="*/ 8826961 w 11537287"/>
                <a:gd name="connsiteY183" fmla="*/ 4367031 h 6072782"/>
                <a:gd name="connsiteX184" fmla="*/ 8842608 w 11537287"/>
                <a:gd name="connsiteY184" fmla="*/ 4360950 h 6072782"/>
                <a:gd name="connsiteX185" fmla="*/ 8847232 w 11537287"/>
                <a:gd name="connsiteY185" fmla="*/ 4341693 h 6072782"/>
                <a:gd name="connsiteX186" fmla="*/ 8847232 w 11537287"/>
                <a:gd name="connsiteY186" fmla="*/ 4306345 h 6072782"/>
                <a:gd name="connsiteX187" fmla="*/ 8872191 w 11537287"/>
                <a:gd name="connsiteY187" fmla="*/ 4275052 h 6072782"/>
                <a:gd name="connsiteX188" fmla="*/ 8872191 w 11537287"/>
                <a:gd name="connsiteY188" fmla="*/ 4274672 h 6072782"/>
                <a:gd name="connsiteX189" fmla="*/ 8847232 w 11537287"/>
                <a:gd name="connsiteY189" fmla="*/ 4243125 h 6072782"/>
                <a:gd name="connsiteX190" fmla="*/ 8847232 w 11537287"/>
                <a:gd name="connsiteY190" fmla="*/ 4207398 h 6072782"/>
                <a:gd name="connsiteX191" fmla="*/ 8826961 w 11537287"/>
                <a:gd name="connsiteY191" fmla="*/ 4183199 h 6072782"/>
                <a:gd name="connsiteX192" fmla="*/ 8809477 w 11537287"/>
                <a:gd name="connsiteY192" fmla="*/ 4163562 h 6072782"/>
                <a:gd name="connsiteX193" fmla="*/ 8809477 w 11537287"/>
                <a:gd name="connsiteY193" fmla="*/ 4183199 h 6072782"/>
                <a:gd name="connsiteX194" fmla="*/ 8789333 w 11537287"/>
                <a:gd name="connsiteY194" fmla="*/ 4207398 h 6072782"/>
                <a:gd name="connsiteX195" fmla="*/ 8789333 w 11537287"/>
                <a:gd name="connsiteY195" fmla="*/ 4243125 h 6072782"/>
                <a:gd name="connsiteX196" fmla="*/ 8764121 w 11537287"/>
                <a:gd name="connsiteY196" fmla="*/ 4274672 h 6072782"/>
                <a:gd name="connsiteX197" fmla="*/ 8764121 w 11537287"/>
                <a:gd name="connsiteY197" fmla="*/ 4275052 h 6072782"/>
                <a:gd name="connsiteX198" fmla="*/ 8789333 w 11537287"/>
                <a:gd name="connsiteY198" fmla="*/ 4306345 h 6072782"/>
                <a:gd name="connsiteX199" fmla="*/ 8789333 w 11537287"/>
                <a:gd name="connsiteY199" fmla="*/ 4341693 h 6072782"/>
                <a:gd name="connsiteX200" fmla="*/ 8793831 w 11537287"/>
                <a:gd name="connsiteY200" fmla="*/ 4361013 h 6072782"/>
                <a:gd name="connsiteX201" fmla="*/ 8809477 w 11537287"/>
                <a:gd name="connsiteY201" fmla="*/ 4367031 h 6072782"/>
                <a:gd name="connsiteX202" fmla="*/ 8809477 w 11537287"/>
                <a:gd name="connsiteY202" fmla="*/ 4386542 h 6072782"/>
                <a:gd name="connsiteX203" fmla="*/ 8764374 w 11537287"/>
                <a:gd name="connsiteY203" fmla="*/ 4348027 h 6072782"/>
                <a:gd name="connsiteX204" fmla="*/ 8764374 w 11537287"/>
                <a:gd name="connsiteY204" fmla="*/ 4310653 h 6072782"/>
                <a:gd name="connsiteX205" fmla="*/ 8744610 w 11537287"/>
                <a:gd name="connsiteY205" fmla="*/ 4284300 h 6072782"/>
                <a:gd name="connsiteX206" fmla="*/ 8744610 w 11537287"/>
                <a:gd name="connsiteY206" fmla="*/ 4265803 h 6072782"/>
                <a:gd name="connsiteX207" fmla="*/ 8764374 w 11537287"/>
                <a:gd name="connsiteY207" fmla="*/ 4238944 h 6072782"/>
                <a:gd name="connsiteX208" fmla="*/ 8764374 w 11537287"/>
                <a:gd name="connsiteY208" fmla="*/ 4202583 h 6072782"/>
                <a:gd name="connsiteX209" fmla="*/ 8809477 w 11537287"/>
                <a:gd name="connsiteY209" fmla="*/ 4163562 h 6072782"/>
                <a:gd name="connsiteX210" fmla="*/ 8828653 w 11537287"/>
                <a:gd name="connsiteY210" fmla="*/ 3823357 h 6072782"/>
                <a:gd name="connsiteX211" fmla="*/ 8873502 w 11537287"/>
                <a:gd name="connsiteY211" fmla="*/ 3862378 h 6072782"/>
                <a:gd name="connsiteX212" fmla="*/ 8873502 w 11537287"/>
                <a:gd name="connsiteY212" fmla="*/ 3898739 h 6072782"/>
                <a:gd name="connsiteX213" fmla="*/ 8893140 w 11537287"/>
                <a:gd name="connsiteY213" fmla="*/ 3925598 h 6072782"/>
                <a:gd name="connsiteX214" fmla="*/ 8893140 w 11537287"/>
                <a:gd name="connsiteY214" fmla="*/ 3944095 h 6072782"/>
                <a:gd name="connsiteX215" fmla="*/ 8873502 w 11537287"/>
                <a:gd name="connsiteY215" fmla="*/ 3970448 h 6072782"/>
                <a:gd name="connsiteX216" fmla="*/ 8873502 w 11537287"/>
                <a:gd name="connsiteY216" fmla="*/ 4007822 h 6072782"/>
                <a:gd name="connsiteX217" fmla="*/ 8828653 w 11537287"/>
                <a:gd name="connsiteY217" fmla="*/ 4046337 h 6072782"/>
                <a:gd name="connsiteX218" fmla="*/ 8828653 w 11537287"/>
                <a:gd name="connsiteY218" fmla="*/ 4026826 h 6072782"/>
                <a:gd name="connsiteX219" fmla="*/ 8844300 w 11537287"/>
                <a:gd name="connsiteY219" fmla="*/ 4020745 h 6072782"/>
                <a:gd name="connsiteX220" fmla="*/ 8848924 w 11537287"/>
                <a:gd name="connsiteY220" fmla="*/ 4001488 h 6072782"/>
                <a:gd name="connsiteX221" fmla="*/ 8848924 w 11537287"/>
                <a:gd name="connsiteY221" fmla="*/ 3966140 h 6072782"/>
                <a:gd name="connsiteX222" fmla="*/ 8873883 w 11537287"/>
                <a:gd name="connsiteY222" fmla="*/ 3934847 h 6072782"/>
                <a:gd name="connsiteX223" fmla="*/ 8873883 w 11537287"/>
                <a:gd name="connsiteY223" fmla="*/ 3934467 h 6072782"/>
                <a:gd name="connsiteX224" fmla="*/ 8848924 w 11537287"/>
                <a:gd name="connsiteY224" fmla="*/ 3902920 h 6072782"/>
                <a:gd name="connsiteX225" fmla="*/ 8848924 w 11537287"/>
                <a:gd name="connsiteY225" fmla="*/ 3867193 h 6072782"/>
                <a:gd name="connsiteX226" fmla="*/ 8828653 w 11537287"/>
                <a:gd name="connsiteY226" fmla="*/ 3842994 h 6072782"/>
                <a:gd name="connsiteX227" fmla="*/ 8811169 w 11537287"/>
                <a:gd name="connsiteY227" fmla="*/ 3823357 h 6072782"/>
                <a:gd name="connsiteX228" fmla="*/ 8811169 w 11537287"/>
                <a:gd name="connsiteY228" fmla="*/ 3842994 h 6072782"/>
                <a:gd name="connsiteX229" fmla="*/ 8791025 w 11537287"/>
                <a:gd name="connsiteY229" fmla="*/ 3867193 h 6072782"/>
                <a:gd name="connsiteX230" fmla="*/ 8791025 w 11537287"/>
                <a:gd name="connsiteY230" fmla="*/ 3902920 h 6072782"/>
                <a:gd name="connsiteX231" fmla="*/ 8765813 w 11537287"/>
                <a:gd name="connsiteY231" fmla="*/ 3934467 h 6072782"/>
                <a:gd name="connsiteX232" fmla="*/ 8765813 w 11537287"/>
                <a:gd name="connsiteY232" fmla="*/ 3934847 h 6072782"/>
                <a:gd name="connsiteX233" fmla="*/ 8791025 w 11537287"/>
                <a:gd name="connsiteY233" fmla="*/ 3966140 h 6072782"/>
                <a:gd name="connsiteX234" fmla="*/ 8791025 w 11537287"/>
                <a:gd name="connsiteY234" fmla="*/ 4001488 h 6072782"/>
                <a:gd name="connsiteX235" fmla="*/ 8795523 w 11537287"/>
                <a:gd name="connsiteY235" fmla="*/ 4020808 h 6072782"/>
                <a:gd name="connsiteX236" fmla="*/ 8811169 w 11537287"/>
                <a:gd name="connsiteY236" fmla="*/ 4026826 h 6072782"/>
                <a:gd name="connsiteX237" fmla="*/ 8811169 w 11537287"/>
                <a:gd name="connsiteY237" fmla="*/ 4046337 h 6072782"/>
                <a:gd name="connsiteX238" fmla="*/ 8766066 w 11537287"/>
                <a:gd name="connsiteY238" fmla="*/ 4007822 h 6072782"/>
                <a:gd name="connsiteX239" fmla="*/ 8766066 w 11537287"/>
                <a:gd name="connsiteY239" fmla="*/ 3970448 h 6072782"/>
                <a:gd name="connsiteX240" fmla="*/ 8746302 w 11537287"/>
                <a:gd name="connsiteY240" fmla="*/ 3944095 h 6072782"/>
                <a:gd name="connsiteX241" fmla="*/ 8746302 w 11537287"/>
                <a:gd name="connsiteY241" fmla="*/ 3925598 h 6072782"/>
                <a:gd name="connsiteX242" fmla="*/ 8766066 w 11537287"/>
                <a:gd name="connsiteY242" fmla="*/ 3898739 h 6072782"/>
                <a:gd name="connsiteX243" fmla="*/ 8766066 w 11537287"/>
                <a:gd name="connsiteY243" fmla="*/ 3862378 h 6072782"/>
                <a:gd name="connsiteX244" fmla="*/ 8811169 w 11537287"/>
                <a:gd name="connsiteY244" fmla="*/ 3823357 h 6072782"/>
                <a:gd name="connsiteX245" fmla="*/ 8830345 w 11537287"/>
                <a:gd name="connsiteY245" fmla="*/ 3483152 h 6072782"/>
                <a:gd name="connsiteX246" fmla="*/ 8875194 w 11537287"/>
                <a:gd name="connsiteY246" fmla="*/ 3522173 h 6072782"/>
                <a:gd name="connsiteX247" fmla="*/ 8875194 w 11537287"/>
                <a:gd name="connsiteY247" fmla="*/ 3558534 h 6072782"/>
                <a:gd name="connsiteX248" fmla="*/ 8894832 w 11537287"/>
                <a:gd name="connsiteY248" fmla="*/ 3585393 h 6072782"/>
                <a:gd name="connsiteX249" fmla="*/ 8894832 w 11537287"/>
                <a:gd name="connsiteY249" fmla="*/ 3603890 h 6072782"/>
                <a:gd name="connsiteX250" fmla="*/ 8875194 w 11537287"/>
                <a:gd name="connsiteY250" fmla="*/ 3630243 h 6072782"/>
                <a:gd name="connsiteX251" fmla="*/ 8875194 w 11537287"/>
                <a:gd name="connsiteY251" fmla="*/ 3667617 h 6072782"/>
                <a:gd name="connsiteX252" fmla="*/ 8830345 w 11537287"/>
                <a:gd name="connsiteY252" fmla="*/ 3706132 h 6072782"/>
                <a:gd name="connsiteX253" fmla="*/ 8830345 w 11537287"/>
                <a:gd name="connsiteY253" fmla="*/ 3686621 h 6072782"/>
                <a:gd name="connsiteX254" fmla="*/ 8845992 w 11537287"/>
                <a:gd name="connsiteY254" fmla="*/ 3680540 h 6072782"/>
                <a:gd name="connsiteX255" fmla="*/ 8850616 w 11537287"/>
                <a:gd name="connsiteY255" fmla="*/ 3661283 h 6072782"/>
                <a:gd name="connsiteX256" fmla="*/ 8850616 w 11537287"/>
                <a:gd name="connsiteY256" fmla="*/ 3625935 h 6072782"/>
                <a:gd name="connsiteX257" fmla="*/ 8875575 w 11537287"/>
                <a:gd name="connsiteY257" fmla="*/ 3594642 h 6072782"/>
                <a:gd name="connsiteX258" fmla="*/ 8875575 w 11537287"/>
                <a:gd name="connsiteY258" fmla="*/ 3594262 h 6072782"/>
                <a:gd name="connsiteX259" fmla="*/ 8850616 w 11537287"/>
                <a:gd name="connsiteY259" fmla="*/ 3562715 h 6072782"/>
                <a:gd name="connsiteX260" fmla="*/ 8850616 w 11537287"/>
                <a:gd name="connsiteY260" fmla="*/ 3526988 h 6072782"/>
                <a:gd name="connsiteX261" fmla="*/ 8830345 w 11537287"/>
                <a:gd name="connsiteY261" fmla="*/ 3502789 h 6072782"/>
                <a:gd name="connsiteX262" fmla="*/ 8812861 w 11537287"/>
                <a:gd name="connsiteY262" fmla="*/ 3483152 h 6072782"/>
                <a:gd name="connsiteX263" fmla="*/ 8812861 w 11537287"/>
                <a:gd name="connsiteY263" fmla="*/ 3502789 h 6072782"/>
                <a:gd name="connsiteX264" fmla="*/ 8792717 w 11537287"/>
                <a:gd name="connsiteY264" fmla="*/ 3526988 h 6072782"/>
                <a:gd name="connsiteX265" fmla="*/ 8792717 w 11537287"/>
                <a:gd name="connsiteY265" fmla="*/ 3562715 h 6072782"/>
                <a:gd name="connsiteX266" fmla="*/ 8767505 w 11537287"/>
                <a:gd name="connsiteY266" fmla="*/ 3594262 h 6072782"/>
                <a:gd name="connsiteX267" fmla="*/ 8767505 w 11537287"/>
                <a:gd name="connsiteY267" fmla="*/ 3594642 h 6072782"/>
                <a:gd name="connsiteX268" fmla="*/ 8792717 w 11537287"/>
                <a:gd name="connsiteY268" fmla="*/ 3625935 h 6072782"/>
                <a:gd name="connsiteX269" fmla="*/ 8792717 w 11537287"/>
                <a:gd name="connsiteY269" fmla="*/ 3661283 h 6072782"/>
                <a:gd name="connsiteX270" fmla="*/ 8797215 w 11537287"/>
                <a:gd name="connsiteY270" fmla="*/ 3680603 h 6072782"/>
                <a:gd name="connsiteX271" fmla="*/ 8812861 w 11537287"/>
                <a:gd name="connsiteY271" fmla="*/ 3686621 h 6072782"/>
                <a:gd name="connsiteX272" fmla="*/ 8812861 w 11537287"/>
                <a:gd name="connsiteY272" fmla="*/ 3706132 h 6072782"/>
                <a:gd name="connsiteX273" fmla="*/ 8767758 w 11537287"/>
                <a:gd name="connsiteY273" fmla="*/ 3667617 h 6072782"/>
                <a:gd name="connsiteX274" fmla="*/ 8767758 w 11537287"/>
                <a:gd name="connsiteY274" fmla="*/ 3630243 h 6072782"/>
                <a:gd name="connsiteX275" fmla="*/ 8747994 w 11537287"/>
                <a:gd name="connsiteY275" fmla="*/ 3603890 h 6072782"/>
                <a:gd name="connsiteX276" fmla="*/ 8747994 w 11537287"/>
                <a:gd name="connsiteY276" fmla="*/ 3585393 h 6072782"/>
                <a:gd name="connsiteX277" fmla="*/ 8767758 w 11537287"/>
                <a:gd name="connsiteY277" fmla="*/ 3558534 h 6072782"/>
                <a:gd name="connsiteX278" fmla="*/ 8767758 w 11537287"/>
                <a:gd name="connsiteY278" fmla="*/ 3522173 h 6072782"/>
                <a:gd name="connsiteX279" fmla="*/ 8812861 w 11537287"/>
                <a:gd name="connsiteY279" fmla="*/ 3483152 h 6072782"/>
                <a:gd name="connsiteX280" fmla="*/ 11401347 w 11537287"/>
                <a:gd name="connsiteY280" fmla="*/ 3198895 h 6072782"/>
                <a:gd name="connsiteX281" fmla="*/ 11390885 w 11537287"/>
                <a:gd name="connsiteY281" fmla="*/ 3247024 h 6072782"/>
                <a:gd name="connsiteX282" fmla="*/ 11433608 w 11537287"/>
                <a:gd name="connsiteY282" fmla="*/ 3247024 h 6072782"/>
                <a:gd name="connsiteX283" fmla="*/ 11443896 w 11537287"/>
                <a:gd name="connsiteY283" fmla="*/ 3198895 h 6072782"/>
                <a:gd name="connsiteX284" fmla="*/ 5351000 w 11537287"/>
                <a:gd name="connsiteY284" fmla="*/ 3198895 h 6072782"/>
                <a:gd name="connsiteX285" fmla="*/ 5340537 w 11537287"/>
                <a:gd name="connsiteY285" fmla="*/ 3247024 h 6072782"/>
                <a:gd name="connsiteX286" fmla="*/ 5383260 w 11537287"/>
                <a:gd name="connsiteY286" fmla="*/ 3247024 h 6072782"/>
                <a:gd name="connsiteX287" fmla="*/ 5393549 w 11537287"/>
                <a:gd name="connsiteY287" fmla="*/ 3198895 h 6072782"/>
                <a:gd name="connsiteX288" fmla="*/ 8818841 w 11537287"/>
                <a:gd name="connsiteY288" fmla="*/ 3110161 h 6072782"/>
                <a:gd name="connsiteX289" fmla="*/ 8863690 w 11537287"/>
                <a:gd name="connsiteY289" fmla="*/ 3149183 h 6072782"/>
                <a:gd name="connsiteX290" fmla="*/ 8863690 w 11537287"/>
                <a:gd name="connsiteY290" fmla="*/ 3185543 h 6072782"/>
                <a:gd name="connsiteX291" fmla="*/ 8883328 w 11537287"/>
                <a:gd name="connsiteY291" fmla="*/ 3212403 h 6072782"/>
                <a:gd name="connsiteX292" fmla="*/ 8883328 w 11537287"/>
                <a:gd name="connsiteY292" fmla="*/ 3230900 h 6072782"/>
                <a:gd name="connsiteX293" fmla="*/ 8863690 w 11537287"/>
                <a:gd name="connsiteY293" fmla="*/ 3257252 h 6072782"/>
                <a:gd name="connsiteX294" fmla="*/ 8863690 w 11537287"/>
                <a:gd name="connsiteY294" fmla="*/ 3294627 h 6072782"/>
                <a:gd name="connsiteX295" fmla="*/ 8818841 w 11537287"/>
                <a:gd name="connsiteY295" fmla="*/ 3333141 h 6072782"/>
                <a:gd name="connsiteX296" fmla="*/ 8818841 w 11537287"/>
                <a:gd name="connsiteY296" fmla="*/ 3313630 h 6072782"/>
                <a:gd name="connsiteX297" fmla="*/ 8834488 w 11537287"/>
                <a:gd name="connsiteY297" fmla="*/ 3307549 h 6072782"/>
                <a:gd name="connsiteX298" fmla="*/ 8839112 w 11537287"/>
                <a:gd name="connsiteY298" fmla="*/ 3288292 h 6072782"/>
                <a:gd name="connsiteX299" fmla="*/ 8839112 w 11537287"/>
                <a:gd name="connsiteY299" fmla="*/ 3252945 h 6072782"/>
                <a:gd name="connsiteX300" fmla="*/ 8864071 w 11537287"/>
                <a:gd name="connsiteY300" fmla="*/ 3221651 h 6072782"/>
                <a:gd name="connsiteX301" fmla="*/ 8864071 w 11537287"/>
                <a:gd name="connsiteY301" fmla="*/ 3221271 h 6072782"/>
                <a:gd name="connsiteX302" fmla="*/ 8839112 w 11537287"/>
                <a:gd name="connsiteY302" fmla="*/ 3189724 h 6072782"/>
                <a:gd name="connsiteX303" fmla="*/ 8839112 w 11537287"/>
                <a:gd name="connsiteY303" fmla="*/ 3153997 h 6072782"/>
                <a:gd name="connsiteX304" fmla="*/ 8818841 w 11537287"/>
                <a:gd name="connsiteY304" fmla="*/ 3129799 h 6072782"/>
                <a:gd name="connsiteX305" fmla="*/ 8801357 w 11537287"/>
                <a:gd name="connsiteY305" fmla="*/ 3110161 h 6072782"/>
                <a:gd name="connsiteX306" fmla="*/ 8801357 w 11537287"/>
                <a:gd name="connsiteY306" fmla="*/ 3129799 h 6072782"/>
                <a:gd name="connsiteX307" fmla="*/ 8781213 w 11537287"/>
                <a:gd name="connsiteY307" fmla="*/ 3153997 h 6072782"/>
                <a:gd name="connsiteX308" fmla="*/ 8781213 w 11537287"/>
                <a:gd name="connsiteY308" fmla="*/ 3189724 h 6072782"/>
                <a:gd name="connsiteX309" fmla="*/ 8756001 w 11537287"/>
                <a:gd name="connsiteY309" fmla="*/ 3221271 h 6072782"/>
                <a:gd name="connsiteX310" fmla="*/ 8756001 w 11537287"/>
                <a:gd name="connsiteY310" fmla="*/ 3221651 h 6072782"/>
                <a:gd name="connsiteX311" fmla="*/ 8781213 w 11537287"/>
                <a:gd name="connsiteY311" fmla="*/ 3252945 h 6072782"/>
                <a:gd name="connsiteX312" fmla="*/ 8781213 w 11537287"/>
                <a:gd name="connsiteY312" fmla="*/ 3288292 h 6072782"/>
                <a:gd name="connsiteX313" fmla="*/ 8785711 w 11537287"/>
                <a:gd name="connsiteY313" fmla="*/ 3307612 h 6072782"/>
                <a:gd name="connsiteX314" fmla="*/ 8801357 w 11537287"/>
                <a:gd name="connsiteY314" fmla="*/ 3313630 h 6072782"/>
                <a:gd name="connsiteX315" fmla="*/ 8801357 w 11537287"/>
                <a:gd name="connsiteY315" fmla="*/ 3333141 h 6072782"/>
                <a:gd name="connsiteX316" fmla="*/ 8756254 w 11537287"/>
                <a:gd name="connsiteY316" fmla="*/ 3294627 h 6072782"/>
                <a:gd name="connsiteX317" fmla="*/ 8756254 w 11537287"/>
                <a:gd name="connsiteY317" fmla="*/ 3257252 h 6072782"/>
                <a:gd name="connsiteX318" fmla="*/ 8736490 w 11537287"/>
                <a:gd name="connsiteY318" fmla="*/ 3230900 h 6072782"/>
                <a:gd name="connsiteX319" fmla="*/ 8736490 w 11537287"/>
                <a:gd name="connsiteY319" fmla="*/ 3212403 h 6072782"/>
                <a:gd name="connsiteX320" fmla="*/ 8756254 w 11537287"/>
                <a:gd name="connsiteY320" fmla="*/ 3185543 h 6072782"/>
                <a:gd name="connsiteX321" fmla="*/ 8756254 w 11537287"/>
                <a:gd name="connsiteY321" fmla="*/ 3149183 h 6072782"/>
                <a:gd name="connsiteX322" fmla="*/ 8801357 w 11537287"/>
                <a:gd name="connsiteY322" fmla="*/ 3110161 h 6072782"/>
                <a:gd name="connsiteX323" fmla="*/ 6939855 w 11537287"/>
                <a:gd name="connsiteY323" fmla="*/ 3110161 h 6072782"/>
                <a:gd name="connsiteX324" fmla="*/ 6984705 w 11537287"/>
                <a:gd name="connsiteY324" fmla="*/ 3149183 h 6072782"/>
                <a:gd name="connsiteX325" fmla="*/ 6984705 w 11537287"/>
                <a:gd name="connsiteY325" fmla="*/ 3185543 h 6072782"/>
                <a:gd name="connsiteX326" fmla="*/ 7004342 w 11537287"/>
                <a:gd name="connsiteY326" fmla="*/ 3212403 h 6072782"/>
                <a:gd name="connsiteX327" fmla="*/ 7004342 w 11537287"/>
                <a:gd name="connsiteY327" fmla="*/ 3230900 h 6072782"/>
                <a:gd name="connsiteX328" fmla="*/ 6984705 w 11537287"/>
                <a:gd name="connsiteY328" fmla="*/ 3257252 h 6072782"/>
                <a:gd name="connsiteX329" fmla="*/ 6984705 w 11537287"/>
                <a:gd name="connsiteY329" fmla="*/ 3294627 h 6072782"/>
                <a:gd name="connsiteX330" fmla="*/ 6939855 w 11537287"/>
                <a:gd name="connsiteY330" fmla="*/ 3333141 h 6072782"/>
                <a:gd name="connsiteX331" fmla="*/ 6939855 w 11537287"/>
                <a:gd name="connsiteY331" fmla="*/ 3313630 h 6072782"/>
                <a:gd name="connsiteX332" fmla="*/ 6955502 w 11537287"/>
                <a:gd name="connsiteY332" fmla="*/ 3307549 h 6072782"/>
                <a:gd name="connsiteX333" fmla="*/ 6960126 w 11537287"/>
                <a:gd name="connsiteY333" fmla="*/ 3288292 h 6072782"/>
                <a:gd name="connsiteX334" fmla="*/ 6960126 w 11537287"/>
                <a:gd name="connsiteY334" fmla="*/ 3252945 h 6072782"/>
                <a:gd name="connsiteX335" fmla="*/ 6985085 w 11537287"/>
                <a:gd name="connsiteY335" fmla="*/ 3221651 h 6072782"/>
                <a:gd name="connsiteX336" fmla="*/ 6985085 w 11537287"/>
                <a:gd name="connsiteY336" fmla="*/ 3221271 h 6072782"/>
                <a:gd name="connsiteX337" fmla="*/ 6960126 w 11537287"/>
                <a:gd name="connsiteY337" fmla="*/ 3189724 h 6072782"/>
                <a:gd name="connsiteX338" fmla="*/ 6960126 w 11537287"/>
                <a:gd name="connsiteY338" fmla="*/ 3153997 h 6072782"/>
                <a:gd name="connsiteX339" fmla="*/ 6939855 w 11537287"/>
                <a:gd name="connsiteY339" fmla="*/ 3129799 h 6072782"/>
                <a:gd name="connsiteX340" fmla="*/ 6922371 w 11537287"/>
                <a:gd name="connsiteY340" fmla="*/ 3110161 h 6072782"/>
                <a:gd name="connsiteX341" fmla="*/ 6922371 w 11537287"/>
                <a:gd name="connsiteY341" fmla="*/ 3129799 h 6072782"/>
                <a:gd name="connsiteX342" fmla="*/ 6902227 w 11537287"/>
                <a:gd name="connsiteY342" fmla="*/ 3153997 h 6072782"/>
                <a:gd name="connsiteX343" fmla="*/ 6902227 w 11537287"/>
                <a:gd name="connsiteY343" fmla="*/ 3189724 h 6072782"/>
                <a:gd name="connsiteX344" fmla="*/ 6877015 w 11537287"/>
                <a:gd name="connsiteY344" fmla="*/ 3221271 h 6072782"/>
                <a:gd name="connsiteX345" fmla="*/ 6877015 w 11537287"/>
                <a:gd name="connsiteY345" fmla="*/ 3221651 h 6072782"/>
                <a:gd name="connsiteX346" fmla="*/ 6902227 w 11537287"/>
                <a:gd name="connsiteY346" fmla="*/ 3252945 h 6072782"/>
                <a:gd name="connsiteX347" fmla="*/ 6902227 w 11537287"/>
                <a:gd name="connsiteY347" fmla="*/ 3288292 h 6072782"/>
                <a:gd name="connsiteX348" fmla="*/ 6906725 w 11537287"/>
                <a:gd name="connsiteY348" fmla="*/ 3307612 h 6072782"/>
                <a:gd name="connsiteX349" fmla="*/ 6922371 w 11537287"/>
                <a:gd name="connsiteY349" fmla="*/ 3313630 h 6072782"/>
                <a:gd name="connsiteX350" fmla="*/ 6922371 w 11537287"/>
                <a:gd name="connsiteY350" fmla="*/ 3333141 h 6072782"/>
                <a:gd name="connsiteX351" fmla="*/ 6877269 w 11537287"/>
                <a:gd name="connsiteY351" fmla="*/ 3294627 h 6072782"/>
                <a:gd name="connsiteX352" fmla="*/ 6877269 w 11537287"/>
                <a:gd name="connsiteY352" fmla="*/ 3257252 h 6072782"/>
                <a:gd name="connsiteX353" fmla="*/ 6857504 w 11537287"/>
                <a:gd name="connsiteY353" fmla="*/ 3230900 h 6072782"/>
                <a:gd name="connsiteX354" fmla="*/ 6857504 w 11537287"/>
                <a:gd name="connsiteY354" fmla="*/ 3212403 h 6072782"/>
                <a:gd name="connsiteX355" fmla="*/ 6877269 w 11537287"/>
                <a:gd name="connsiteY355" fmla="*/ 3185543 h 6072782"/>
                <a:gd name="connsiteX356" fmla="*/ 6877269 w 11537287"/>
                <a:gd name="connsiteY356" fmla="*/ 3149183 h 6072782"/>
                <a:gd name="connsiteX357" fmla="*/ 6922371 w 11537287"/>
                <a:gd name="connsiteY357" fmla="*/ 3110161 h 6072782"/>
                <a:gd name="connsiteX358" fmla="*/ 2753674 w 11537287"/>
                <a:gd name="connsiteY358" fmla="*/ 3110161 h 6072782"/>
                <a:gd name="connsiteX359" fmla="*/ 2798522 w 11537287"/>
                <a:gd name="connsiteY359" fmla="*/ 3149183 h 6072782"/>
                <a:gd name="connsiteX360" fmla="*/ 2798522 w 11537287"/>
                <a:gd name="connsiteY360" fmla="*/ 3185543 h 6072782"/>
                <a:gd name="connsiteX361" fmla="*/ 2818160 w 11537287"/>
                <a:gd name="connsiteY361" fmla="*/ 3212403 h 6072782"/>
                <a:gd name="connsiteX362" fmla="*/ 2818160 w 11537287"/>
                <a:gd name="connsiteY362" fmla="*/ 3230900 h 6072782"/>
                <a:gd name="connsiteX363" fmla="*/ 2798522 w 11537287"/>
                <a:gd name="connsiteY363" fmla="*/ 3257252 h 6072782"/>
                <a:gd name="connsiteX364" fmla="*/ 2798522 w 11537287"/>
                <a:gd name="connsiteY364" fmla="*/ 3294627 h 6072782"/>
                <a:gd name="connsiteX365" fmla="*/ 2753674 w 11537287"/>
                <a:gd name="connsiteY365" fmla="*/ 3333141 h 6072782"/>
                <a:gd name="connsiteX366" fmla="*/ 2753674 w 11537287"/>
                <a:gd name="connsiteY366" fmla="*/ 3313630 h 6072782"/>
                <a:gd name="connsiteX367" fmla="*/ 2769320 w 11537287"/>
                <a:gd name="connsiteY367" fmla="*/ 3307549 h 6072782"/>
                <a:gd name="connsiteX368" fmla="*/ 2773944 w 11537287"/>
                <a:gd name="connsiteY368" fmla="*/ 3288292 h 6072782"/>
                <a:gd name="connsiteX369" fmla="*/ 2773944 w 11537287"/>
                <a:gd name="connsiteY369" fmla="*/ 3252945 h 6072782"/>
                <a:gd name="connsiteX370" fmla="*/ 2798903 w 11537287"/>
                <a:gd name="connsiteY370" fmla="*/ 3221651 h 6072782"/>
                <a:gd name="connsiteX371" fmla="*/ 2798903 w 11537287"/>
                <a:gd name="connsiteY371" fmla="*/ 3221271 h 6072782"/>
                <a:gd name="connsiteX372" fmla="*/ 2773944 w 11537287"/>
                <a:gd name="connsiteY372" fmla="*/ 3189724 h 6072782"/>
                <a:gd name="connsiteX373" fmla="*/ 2773944 w 11537287"/>
                <a:gd name="connsiteY373" fmla="*/ 3153997 h 6072782"/>
                <a:gd name="connsiteX374" fmla="*/ 2753674 w 11537287"/>
                <a:gd name="connsiteY374" fmla="*/ 3129799 h 6072782"/>
                <a:gd name="connsiteX375" fmla="*/ 2736189 w 11537287"/>
                <a:gd name="connsiteY375" fmla="*/ 3110161 h 6072782"/>
                <a:gd name="connsiteX376" fmla="*/ 2736189 w 11537287"/>
                <a:gd name="connsiteY376" fmla="*/ 3129799 h 6072782"/>
                <a:gd name="connsiteX377" fmla="*/ 2716044 w 11537287"/>
                <a:gd name="connsiteY377" fmla="*/ 3153997 h 6072782"/>
                <a:gd name="connsiteX378" fmla="*/ 2716044 w 11537287"/>
                <a:gd name="connsiteY378" fmla="*/ 3189724 h 6072782"/>
                <a:gd name="connsiteX379" fmla="*/ 2690833 w 11537287"/>
                <a:gd name="connsiteY379" fmla="*/ 3221271 h 6072782"/>
                <a:gd name="connsiteX380" fmla="*/ 2690833 w 11537287"/>
                <a:gd name="connsiteY380" fmla="*/ 3221651 h 6072782"/>
                <a:gd name="connsiteX381" fmla="*/ 2716044 w 11537287"/>
                <a:gd name="connsiteY381" fmla="*/ 3252945 h 6072782"/>
                <a:gd name="connsiteX382" fmla="*/ 2716044 w 11537287"/>
                <a:gd name="connsiteY382" fmla="*/ 3288292 h 6072782"/>
                <a:gd name="connsiteX383" fmla="*/ 2720543 w 11537287"/>
                <a:gd name="connsiteY383" fmla="*/ 3307612 h 6072782"/>
                <a:gd name="connsiteX384" fmla="*/ 2736189 w 11537287"/>
                <a:gd name="connsiteY384" fmla="*/ 3313630 h 6072782"/>
                <a:gd name="connsiteX385" fmla="*/ 2736189 w 11537287"/>
                <a:gd name="connsiteY385" fmla="*/ 3333141 h 6072782"/>
                <a:gd name="connsiteX386" fmla="*/ 2691086 w 11537287"/>
                <a:gd name="connsiteY386" fmla="*/ 3294627 h 6072782"/>
                <a:gd name="connsiteX387" fmla="*/ 2691086 w 11537287"/>
                <a:gd name="connsiteY387" fmla="*/ 3257252 h 6072782"/>
                <a:gd name="connsiteX388" fmla="*/ 2671322 w 11537287"/>
                <a:gd name="connsiteY388" fmla="*/ 3230900 h 6072782"/>
                <a:gd name="connsiteX389" fmla="*/ 2671322 w 11537287"/>
                <a:gd name="connsiteY389" fmla="*/ 3212403 h 6072782"/>
                <a:gd name="connsiteX390" fmla="*/ 2691086 w 11537287"/>
                <a:gd name="connsiteY390" fmla="*/ 3185543 h 6072782"/>
                <a:gd name="connsiteX391" fmla="*/ 2691086 w 11537287"/>
                <a:gd name="connsiteY391" fmla="*/ 3149183 h 6072782"/>
                <a:gd name="connsiteX392" fmla="*/ 2736189 w 11537287"/>
                <a:gd name="connsiteY392" fmla="*/ 3110161 h 6072782"/>
                <a:gd name="connsiteX393" fmla="*/ 886774 w 11537287"/>
                <a:gd name="connsiteY393" fmla="*/ 3110161 h 6072782"/>
                <a:gd name="connsiteX394" fmla="*/ 931623 w 11537287"/>
                <a:gd name="connsiteY394" fmla="*/ 3149183 h 6072782"/>
                <a:gd name="connsiteX395" fmla="*/ 931623 w 11537287"/>
                <a:gd name="connsiteY395" fmla="*/ 3185543 h 6072782"/>
                <a:gd name="connsiteX396" fmla="*/ 951260 w 11537287"/>
                <a:gd name="connsiteY396" fmla="*/ 3212403 h 6072782"/>
                <a:gd name="connsiteX397" fmla="*/ 951260 w 11537287"/>
                <a:gd name="connsiteY397" fmla="*/ 3230900 h 6072782"/>
                <a:gd name="connsiteX398" fmla="*/ 931623 w 11537287"/>
                <a:gd name="connsiteY398" fmla="*/ 3257252 h 6072782"/>
                <a:gd name="connsiteX399" fmla="*/ 931623 w 11537287"/>
                <a:gd name="connsiteY399" fmla="*/ 3294627 h 6072782"/>
                <a:gd name="connsiteX400" fmla="*/ 886774 w 11537287"/>
                <a:gd name="connsiteY400" fmla="*/ 3333141 h 6072782"/>
                <a:gd name="connsiteX401" fmla="*/ 886774 w 11537287"/>
                <a:gd name="connsiteY401" fmla="*/ 3313630 h 6072782"/>
                <a:gd name="connsiteX402" fmla="*/ 902420 w 11537287"/>
                <a:gd name="connsiteY402" fmla="*/ 3307549 h 6072782"/>
                <a:gd name="connsiteX403" fmla="*/ 907044 w 11537287"/>
                <a:gd name="connsiteY403" fmla="*/ 3288292 h 6072782"/>
                <a:gd name="connsiteX404" fmla="*/ 907044 w 11537287"/>
                <a:gd name="connsiteY404" fmla="*/ 3252945 h 6072782"/>
                <a:gd name="connsiteX405" fmla="*/ 932003 w 11537287"/>
                <a:gd name="connsiteY405" fmla="*/ 3221651 h 6072782"/>
                <a:gd name="connsiteX406" fmla="*/ 932003 w 11537287"/>
                <a:gd name="connsiteY406" fmla="*/ 3221271 h 6072782"/>
                <a:gd name="connsiteX407" fmla="*/ 907044 w 11537287"/>
                <a:gd name="connsiteY407" fmla="*/ 3189724 h 6072782"/>
                <a:gd name="connsiteX408" fmla="*/ 907044 w 11537287"/>
                <a:gd name="connsiteY408" fmla="*/ 3153997 h 6072782"/>
                <a:gd name="connsiteX409" fmla="*/ 886774 w 11537287"/>
                <a:gd name="connsiteY409" fmla="*/ 3129799 h 6072782"/>
                <a:gd name="connsiteX410" fmla="*/ 869289 w 11537287"/>
                <a:gd name="connsiteY410" fmla="*/ 3110161 h 6072782"/>
                <a:gd name="connsiteX411" fmla="*/ 869289 w 11537287"/>
                <a:gd name="connsiteY411" fmla="*/ 3129799 h 6072782"/>
                <a:gd name="connsiteX412" fmla="*/ 849145 w 11537287"/>
                <a:gd name="connsiteY412" fmla="*/ 3153997 h 6072782"/>
                <a:gd name="connsiteX413" fmla="*/ 849145 w 11537287"/>
                <a:gd name="connsiteY413" fmla="*/ 3189724 h 6072782"/>
                <a:gd name="connsiteX414" fmla="*/ 823933 w 11537287"/>
                <a:gd name="connsiteY414" fmla="*/ 3221271 h 6072782"/>
                <a:gd name="connsiteX415" fmla="*/ 823933 w 11537287"/>
                <a:gd name="connsiteY415" fmla="*/ 3221651 h 6072782"/>
                <a:gd name="connsiteX416" fmla="*/ 849145 w 11537287"/>
                <a:gd name="connsiteY416" fmla="*/ 3252945 h 6072782"/>
                <a:gd name="connsiteX417" fmla="*/ 849145 w 11537287"/>
                <a:gd name="connsiteY417" fmla="*/ 3288292 h 6072782"/>
                <a:gd name="connsiteX418" fmla="*/ 853643 w 11537287"/>
                <a:gd name="connsiteY418" fmla="*/ 3307612 h 6072782"/>
                <a:gd name="connsiteX419" fmla="*/ 869289 w 11537287"/>
                <a:gd name="connsiteY419" fmla="*/ 3313630 h 6072782"/>
                <a:gd name="connsiteX420" fmla="*/ 869289 w 11537287"/>
                <a:gd name="connsiteY420" fmla="*/ 3333141 h 6072782"/>
                <a:gd name="connsiteX421" fmla="*/ 824187 w 11537287"/>
                <a:gd name="connsiteY421" fmla="*/ 3294627 h 6072782"/>
                <a:gd name="connsiteX422" fmla="*/ 824187 w 11537287"/>
                <a:gd name="connsiteY422" fmla="*/ 3257252 h 6072782"/>
                <a:gd name="connsiteX423" fmla="*/ 804422 w 11537287"/>
                <a:gd name="connsiteY423" fmla="*/ 3230900 h 6072782"/>
                <a:gd name="connsiteX424" fmla="*/ 804422 w 11537287"/>
                <a:gd name="connsiteY424" fmla="*/ 3212403 h 6072782"/>
                <a:gd name="connsiteX425" fmla="*/ 824187 w 11537287"/>
                <a:gd name="connsiteY425" fmla="*/ 3185543 h 6072782"/>
                <a:gd name="connsiteX426" fmla="*/ 824187 w 11537287"/>
                <a:gd name="connsiteY426" fmla="*/ 3149183 h 6072782"/>
                <a:gd name="connsiteX427" fmla="*/ 869289 w 11537287"/>
                <a:gd name="connsiteY427" fmla="*/ 3110161 h 6072782"/>
                <a:gd name="connsiteX428" fmla="*/ 11392280 w 11537287"/>
                <a:gd name="connsiteY428" fmla="*/ 3107344 h 6072782"/>
                <a:gd name="connsiteX429" fmla="*/ 11420355 w 11537287"/>
                <a:gd name="connsiteY429" fmla="*/ 3107344 h 6072782"/>
                <a:gd name="connsiteX430" fmla="*/ 11406579 w 11537287"/>
                <a:gd name="connsiteY430" fmla="*/ 3174481 h 6072782"/>
                <a:gd name="connsiteX431" fmla="*/ 11448779 w 11537287"/>
                <a:gd name="connsiteY431" fmla="*/ 3174481 h 6072782"/>
                <a:gd name="connsiteX432" fmla="*/ 11463078 w 11537287"/>
                <a:gd name="connsiteY432" fmla="*/ 3107344 h 6072782"/>
                <a:gd name="connsiteX433" fmla="*/ 11490631 w 11537287"/>
                <a:gd name="connsiteY433" fmla="*/ 3107344 h 6072782"/>
                <a:gd name="connsiteX434" fmla="*/ 11476680 w 11537287"/>
                <a:gd name="connsiteY434" fmla="*/ 3174481 h 6072782"/>
                <a:gd name="connsiteX435" fmla="*/ 11516439 w 11537287"/>
                <a:gd name="connsiteY435" fmla="*/ 3174481 h 6072782"/>
                <a:gd name="connsiteX436" fmla="*/ 11511033 w 11537287"/>
                <a:gd name="connsiteY436" fmla="*/ 3198895 h 6072782"/>
                <a:gd name="connsiteX437" fmla="*/ 11471449 w 11537287"/>
                <a:gd name="connsiteY437" fmla="*/ 3198895 h 6072782"/>
                <a:gd name="connsiteX438" fmla="*/ 11461335 w 11537287"/>
                <a:gd name="connsiteY438" fmla="*/ 3247024 h 6072782"/>
                <a:gd name="connsiteX439" fmla="*/ 11504581 w 11537287"/>
                <a:gd name="connsiteY439" fmla="*/ 3247024 h 6072782"/>
                <a:gd name="connsiteX440" fmla="*/ 11498477 w 11537287"/>
                <a:gd name="connsiteY440" fmla="*/ 3271437 h 6072782"/>
                <a:gd name="connsiteX441" fmla="*/ 11456278 w 11537287"/>
                <a:gd name="connsiteY441" fmla="*/ 3271437 h 6072782"/>
                <a:gd name="connsiteX442" fmla="*/ 11441978 w 11537287"/>
                <a:gd name="connsiteY442" fmla="*/ 3335958 h 6072782"/>
                <a:gd name="connsiteX443" fmla="*/ 11414251 w 11537287"/>
                <a:gd name="connsiteY443" fmla="*/ 3335958 h 6072782"/>
                <a:gd name="connsiteX444" fmla="*/ 11428202 w 11537287"/>
                <a:gd name="connsiteY444" fmla="*/ 3271437 h 6072782"/>
                <a:gd name="connsiteX445" fmla="*/ 11386002 w 11537287"/>
                <a:gd name="connsiteY445" fmla="*/ 3271437 h 6072782"/>
                <a:gd name="connsiteX446" fmla="*/ 11372400 w 11537287"/>
                <a:gd name="connsiteY446" fmla="*/ 3335958 h 6072782"/>
                <a:gd name="connsiteX447" fmla="*/ 11344674 w 11537287"/>
                <a:gd name="connsiteY447" fmla="*/ 3335958 h 6072782"/>
                <a:gd name="connsiteX448" fmla="*/ 11358275 w 11537287"/>
                <a:gd name="connsiteY448" fmla="*/ 3271437 h 6072782"/>
                <a:gd name="connsiteX449" fmla="*/ 11318342 w 11537287"/>
                <a:gd name="connsiteY449" fmla="*/ 3271437 h 6072782"/>
                <a:gd name="connsiteX450" fmla="*/ 11323224 w 11537287"/>
                <a:gd name="connsiteY450" fmla="*/ 3247024 h 6072782"/>
                <a:gd name="connsiteX451" fmla="*/ 11363681 w 11537287"/>
                <a:gd name="connsiteY451" fmla="*/ 3247024 h 6072782"/>
                <a:gd name="connsiteX452" fmla="*/ 11373272 w 11537287"/>
                <a:gd name="connsiteY452" fmla="*/ 3198895 h 6072782"/>
                <a:gd name="connsiteX453" fmla="*/ 11330723 w 11537287"/>
                <a:gd name="connsiteY453" fmla="*/ 3198895 h 6072782"/>
                <a:gd name="connsiteX454" fmla="*/ 11335780 w 11537287"/>
                <a:gd name="connsiteY454" fmla="*/ 3174481 h 6072782"/>
                <a:gd name="connsiteX455" fmla="*/ 11378329 w 11537287"/>
                <a:gd name="connsiteY455" fmla="*/ 3174481 h 6072782"/>
                <a:gd name="connsiteX456" fmla="*/ 5341932 w 11537287"/>
                <a:gd name="connsiteY456" fmla="*/ 3107344 h 6072782"/>
                <a:gd name="connsiteX457" fmla="*/ 5370007 w 11537287"/>
                <a:gd name="connsiteY457" fmla="*/ 3107344 h 6072782"/>
                <a:gd name="connsiteX458" fmla="*/ 5356231 w 11537287"/>
                <a:gd name="connsiteY458" fmla="*/ 3174481 h 6072782"/>
                <a:gd name="connsiteX459" fmla="*/ 5398431 w 11537287"/>
                <a:gd name="connsiteY459" fmla="*/ 3174481 h 6072782"/>
                <a:gd name="connsiteX460" fmla="*/ 5412730 w 11537287"/>
                <a:gd name="connsiteY460" fmla="*/ 3107344 h 6072782"/>
                <a:gd name="connsiteX461" fmla="*/ 5440283 w 11537287"/>
                <a:gd name="connsiteY461" fmla="*/ 3107344 h 6072782"/>
                <a:gd name="connsiteX462" fmla="*/ 5426332 w 11537287"/>
                <a:gd name="connsiteY462" fmla="*/ 3174481 h 6072782"/>
                <a:gd name="connsiteX463" fmla="*/ 5466091 w 11537287"/>
                <a:gd name="connsiteY463" fmla="*/ 3174481 h 6072782"/>
                <a:gd name="connsiteX464" fmla="*/ 5460686 w 11537287"/>
                <a:gd name="connsiteY464" fmla="*/ 3198895 h 6072782"/>
                <a:gd name="connsiteX465" fmla="*/ 5421101 w 11537287"/>
                <a:gd name="connsiteY465" fmla="*/ 3198895 h 6072782"/>
                <a:gd name="connsiteX466" fmla="*/ 5410987 w 11537287"/>
                <a:gd name="connsiteY466" fmla="*/ 3247024 h 6072782"/>
                <a:gd name="connsiteX467" fmla="*/ 5454233 w 11537287"/>
                <a:gd name="connsiteY467" fmla="*/ 3247024 h 6072782"/>
                <a:gd name="connsiteX468" fmla="*/ 5448130 w 11537287"/>
                <a:gd name="connsiteY468" fmla="*/ 3271437 h 6072782"/>
                <a:gd name="connsiteX469" fmla="*/ 5405930 w 11537287"/>
                <a:gd name="connsiteY469" fmla="*/ 3271437 h 6072782"/>
                <a:gd name="connsiteX470" fmla="*/ 5391631 w 11537287"/>
                <a:gd name="connsiteY470" fmla="*/ 3335958 h 6072782"/>
                <a:gd name="connsiteX471" fmla="*/ 5363903 w 11537287"/>
                <a:gd name="connsiteY471" fmla="*/ 3335958 h 6072782"/>
                <a:gd name="connsiteX472" fmla="*/ 5377854 w 11537287"/>
                <a:gd name="connsiteY472" fmla="*/ 3271437 h 6072782"/>
                <a:gd name="connsiteX473" fmla="*/ 5335654 w 11537287"/>
                <a:gd name="connsiteY473" fmla="*/ 3271437 h 6072782"/>
                <a:gd name="connsiteX474" fmla="*/ 5322052 w 11537287"/>
                <a:gd name="connsiteY474" fmla="*/ 3335958 h 6072782"/>
                <a:gd name="connsiteX475" fmla="*/ 5294326 w 11537287"/>
                <a:gd name="connsiteY475" fmla="*/ 3335958 h 6072782"/>
                <a:gd name="connsiteX476" fmla="*/ 5307927 w 11537287"/>
                <a:gd name="connsiteY476" fmla="*/ 3271437 h 6072782"/>
                <a:gd name="connsiteX477" fmla="*/ 5267994 w 11537287"/>
                <a:gd name="connsiteY477" fmla="*/ 3271437 h 6072782"/>
                <a:gd name="connsiteX478" fmla="*/ 5272877 w 11537287"/>
                <a:gd name="connsiteY478" fmla="*/ 3247024 h 6072782"/>
                <a:gd name="connsiteX479" fmla="*/ 5313333 w 11537287"/>
                <a:gd name="connsiteY479" fmla="*/ 3247024 h 6072782"/>
                <a:gd name="connsiteX480" fmla="*/ 5322924 w 11537287"/>
                <a:gd name="connsiteY480" fmla="*/ 3198895 h 6072782"/>
                <a:gd name="connsiteX481" fmla="*/ 5280375 w 11537287"/>
                <a:gd name="connsiteY481" fmla="*/ 3198895 h 6072782"/>
                <a:gd name="connsiteX482" fmla="*/ 5285432 w 11537287"/>
                <a:gd name="connsiteY482" fmla="*/ 3174481 h 6072782"/>
                <a:gd name="connsiteX483" fmla="*/ 5327981 w 11537287"/>
                <a:gd name="connsiteY483" fmla="*/ 3174481 h 6072782"/>
                <a:gd name="connsiteX484" fmla="*/ 179757 w 11537287"/>
                <a:gd name="connsiteY484" fmla="*/ 2978567 h 6072782"/>
                <a:gd name="connsiteX485" fmla="*/ 156566 w 11537287"/>
                <a:gd name="connsiteY485" fmla="*/ 3017814 h 6072782"/>
                <a:gd name="connsiteX486" fmla="*/ 172979 w 11537287"/>
                <a:gd name="connsiteY486" fmla="*/ 3021204 h 6072782"/>
                <a:gd name="connsiteX487" fmla="*/ 189390 w 11537287"/>
                <a:gd name="connsiteY487" fmla="*/ 3017636 h 6072782"/>
                <a:gd name="connsiteX488" fmla="*/ 186448 w 11537287"/>
                <a:gd name="connsiteY488" fmla="*/ 3008181 h 6072782"/>
                <a:gd name="connsiteX489" fmla="*/ 187429 w 11537287"/>
                <a:gd name="connsiteY489" fmla="*/ 2994980 h 6072782"/>
                <a:gd name="connsiteX490" fmla="*/ 179757 w 11537287"/>
                <a:gd name="connsiteY490" fmla="*/ 2978567 h 6072782"/>
                <a:gd name="connsiteX491" fmla="*/ 19737 w 11537287"/>
                <a:gd name="connsiteY491" fmla="*/ 2962155 h 6072782"/>
                <a:gd name="connsiteX492" fmla="*/ 6089 w 11537287"/>
                <a:gd name="connsiteY492" fmla="*/ 2982403 h 6072782"/>
                <a:gd name="connsiteX493" fmla="*/ 27587 w 11537287"/>
                <a:gd name="connsiteY493" fmla="*/ 3003989 h 6072782"/>
                <a:gd name="connsiteX494" fmla="*/ 36505 w 11537287"/>
                <a:gd name="connsiteY494" fmla="*/ 2996764 h 6072782"/>
                <a:gd name="connsiteX495" fmla="*/ 19737 w 11537287"/>
                <a:gd name="connsiteY495" fmla="*/ 2962155 h 6072782"/>
                <a:gd name="connsiteX496" fmla="*/ 3349 w 11537287"/>
                <a:gd name="connsiteY496" fmla="*/ 2893864 h 6072782"/>
                <a:gd name="connsiteX497" fmla="*/ 3148 w 11537287"/>
                <a:gd name="connsiteY497" fmla="*/ 2895381 h 6072782"/>
                <a:gd name="connsiteX498" fmla="*/ 3082 w 11537287"/>
                <a:gd name="connsiteY498" fmla="*/ 2894121 h 6072782"/>
                <a:gd name="connsiteX499" fmla="*/ 205269 w 11537287"/>
                <a:gd name="connsiteY499" fmla="*/ 2866669 h 6072782"/>
                <a:gd name="connsiteX500" fmla="*/ 201276 w 11537287"/>
                <a:gd name="connsiteY500" fmla="*/ 2869523 h 6072782"/>
                <a:gd name="connsiteX501" fmla="*/ 208199 w 11537287"/>
                <a:gd name="connsiteY501" fmla="*/ 2877894 h 6072782"/>
                <a:gd name="connsiteX502" fmla="*/ 215079 w 11537287"/>
                <a:gd name="connsiteY502" fmla="*/ 2876168 h 6072782"/>
                <a:gd name="connsiteX503" fmla="*/ 188855 w 11537287"/>
                <a:gd name="connsiteY503" fmla="*/ 2895346 h 6072782"/>
                <a:gd name="connsiteX504" fmla="*/ 193873 w 11537287"/>
                <a:gd name="connsiteY504" fmla="*/ 2887723 h 6072782"/>
                <a:gd name="connsiteX505" fmla="*/ 186090 w 11537287"/>
                <a:gd name="connsiteY505" fmla="*/ 2880762 h 6072782"/>
                <a:gd name="connsiteX506" fmla="*/ 181273 w 11537287"/>
                <a:gd name="connsiteY506" fmla="*/ 2884821 h 6072782"/>
                <a:gd name="connsiteX507" fmla="*/ 205269 w 11537287"/>
                <a:gd name="connsiteY507" fmla="*/ 2866669 h 6072782"/>
                <a:gd name="connsiteX508" fmla="*/ 178700 w 11537287"/>
                <a:gd name="connsiteY508" fmla="*/ 2850257 h 6072782"/>
                <a:gd name="connsiteX509" fmla="*/ 180984 w 11537287"/>
                <a:gd name="connsiteY509" fmla="*/ 2850294 h 6072782"/>
                <a:gd name="connsiteX510" fmla="*/ 189123 w 11537287"/>
                <a:gd name="connsiteY510" fmla="*/ 2851550 h 6072782"/>
                <a:gd name="connsiteX511" fmla="*/ 170213 w 11537287"/>
                <a:gd name="connsiteY511" fmla="*/ 2870460 h 6072782"/>
                <a:gd name="connsiteX512" fmla="*/ 178700 w 11537287"/>
                <a:gd name="connsiteY512" fmla="*/ 2850257 h 6072782"/>
                <a:gd name="connsiteX513" fmla="*/ 281302 w 11537287"/>
                <a:gd name="connsiteY513" fmla="*/ 2828180 h 6072782"/>
                <a:gd name="connsiteX514" fmla="*/ 273106 w 11537287"/>
                <a:gd name="connsiteY514" fmla="*/ 2842101 h 6072782"/>
                <a:gd name="connsiteX515" fmla="*/ 260930 w 11537287"/>
                <a:gd name="connsiteY515" fmla="*/ 2844092 h 6072782"/>
                <a:gd name="connsiteX516" fmla="*/ 272070 w 11537287"/>
                <a:gd name="connsiteY516" fmla="*/ 2837463 h 6072782"/>
                <a:gd name="connsiteX517" fmla="*/ 281302 w 11537287"/>
                <a:gd name="connsiteY517" fmla="*/ 2828180 h 6072782"/>
                <a:gd name="connsiteX518" fmla="*/ 177365 w 11537287"/>
                <a:gd name="connsiteY518" fmla="*/ 2809175 h 6072782"/>
                <a:gd name="connsiteX519" fmla="*/ 183229 w 11537287"/>
                <a:gd name="connsiteY519" fmla="*/ 2809689 h 6072782"/>
                <a:gd name="connsiteX520" fmla="*/ 226213 w 11537287"/>
                <a:gd name="connsiteY520" fmla="*/ 2838909 h 6072782"/>
                <a:gd name="connsiteX521" fmla="*/ 244084 w 11537287"/>
                <a:gd name="connsiteY521" fmla="*/ 2859919 h 6072782"/>
                <a:gd name="connsiteX522" fmla="*/ 240944 w 11537287"/>
                <a:gd name="connsiteY522" fmla="*/ 2867646 h 6072782"/>
                <a:gd name="connsiteX523" fmla="*/ 253970 w 11537287"/>
                <a:gd name="connsiteY523" fmla="*/ 2877683 h 6072782"/>
                <a:gd name="connsiteX524" fmla="*/ 252294 w 11537287"/>
                <a:gd name="connsiteY524" fmla="*/ 2840600 h 6072782"/>
                <a:gd name="connsiteX525" fmla="*/ 267509 w 11537287"/>
                <a:gd name="connsiteY525" fmla="*/ 2830940 h 6072782"/>
                <a:gd name="connsiteX526" fmla="*/ 279342 w 11537287"/>
                <a:gd name="connsiteY526" fmla="*/ 2819832 h 6072782"/>
                <a:gd name="connsiteX527" fmla="*/ 302041 w 11537287"/>
                <a:gd name="connsiteY527" fmla="*/ 2881894 h 6072782"/>
                <a:gd name="connsiteX528" fmla="*/ 264611 w 11537287"/>
                <a:gd name="connsiteY528" fmla="*/ 2949753 h 6072782"/>
                <a:gd name="connsiteX529" fmla="*/ 232799 w 11537287"/>
                <a:gd name="connsiteY529" fmla="*/ 2950466 h 6072782"/>
                <a:gd name="connsiteX530" fmla="*/ 228820 w 11537287"/>
                <a:gd name="connsiteY530" fmla="*/ 2949080 h 6072782"/>
                <a:gd name="connsiteX531" fmla="*/ 228342 w 11537287"/>
                <a:gd name="connsiteY531" fmla="*/ 2951341 h 6072782"/>
                <a:gd name="connsiteX532" fmla="*/ 203755 w 11537287"/>
                <a:gd name="connsiteY532" fmla="*/ 2971245 h 6072782"/>
                <a:gd name="connsiteX533" fmla="*/ 182263 w 11537287"/>
                <a:gd name="connsiteY533" fmla="*/ 2961586 h 6072782"/>
                <a:gd name="connsiteX534" fmla="*/ 181297 w 11537287"/>
                <a:gd name="connsiteY534" fmla="*/ 2974143 h 6072782"/>
                <a:gd name="connsiteX535" fmla="*/ 190956 w 11537287"/>
                <a:gd name="connsiteY535" fmla="*/ 2994669 h 6072782"/>
                <a:gd name="connsiteX536" fmla="*/ 190474 w 11537287"/>
                <a:gd name="connsiteY536" fmla="*/ 3005778 h 6072782"/>
                <a:gd name="connsiteX537" fmla="*/ 192646 w 11537287"/>
                <a:gd name="connsiteY537" fmla="*/ 3019543 h 6072782"/>
                <a:gd name="connsiteX538" fmla="*/ 176709 w 11537287"/>
                <a:gd name="connsiteY538" fmla="*/ 3025339 h 6072782"/>
                <a:gd name="connsiteX539" fmla="*/ 151834 w 11537287"/>
                <a:gd name="connsiteY539" fmla="*/ 3020026 h 6072782"/>
                <a:gd name="connsiteX540" fmla="*/ 151076 w 11537287"/>
                <a:gd name="connsiteY540" fmla="*/ 3015572 h 6072782"/>
                <a:gd name="connsiteX541" fmla="*/ 151036 w 11537287"/>
                <a:gd name="connsiteY541" fmla="*/ 3014227 h 6072782"/>
                <a:gd name="connsiteX542" fmla="*/ 147296 w 11537287"/>
                <a:gd name="connsiteY542" fmla="*/ 3017771 h 6072782"/>
                <a:gd name="connsiteX543" fmla="*/ 123822 w 11537287"/>
                <a:gd name="connsiteY543" fmla="*/ 3032100 h 6072782"/>
                <a:gd name="connsiteX544" fmla="*/ 100397 w 11537287"/>
                <a:gd name="connsiteY544" fmla="*/ 3003846 h 6072782"/>
                <a:gd name="connsiteX545" fmla="*/ 111264 w 11537287"/>
                <a:gd name="connsiteY545" fmla="*/ 2992013 h 6072782"/>
                <a:gd name="connsiteX546" fmla="*/ 86392 w 11537287"/>
                <a:gd name="connsiteY546" fmla="*/ 2989598 h 6072782"/>
                <a:gd name="connsiteX547" fmla="*/ 85426 w 11537287"/>
                <a:gd name="connsiteY547" fmla="*/ 3000465 h 6072782"/>
                <a:gd name="connsiteX548" fmla="*/ 79147 w 11537287"/>
                <a:gd name="connsiteY548" fmla="*/ 3011091 h 6072782"/>
                <a:gd name="connsiteX549" fmla="*/ 74075 w 11537287"/>
                <a:gd name="connsiteY549" fmla="*/ 3030168 h 6072782"/>
                <a:gd name="connsiteX550" fmla="*/ 33988 w 11537287"/>
                <a:gd name="connsiteY550" fmla="*/ 3021716 h 6072782"/>
                <a:gd name="connsiteX551" fmla="*/ 34954 w 11537287"/>
                <a:gd name="connsiteY551" fmla="*/ 3007710 h 6072782"/>
                <a:gd name="connsiteX552" fmla="*/ 25294 w 11537287"/>
                <a:gd name="connsiteY552" fmla="*/ 3009642 h 6072782"/>
                <a:gd name="connsiteX553" fmla="*/ 180 w 11537287"/>
                <a:gd name="connsiteY553" fmla="*/ 2983802 h 6072782"/>
                <a:gd name="connsiteX554" fmla="*/ 15393 w 11537287"/>
                <a:gd name="connsiteY554" fmla="*/ 2957239 h 6072782"/>
                <a:gd name="connsiteX555" fmla="*/ 16842 w 11537287"/>
                <a:gd name="connsiteY555" fmla="*/ 2930675 h 6072782"/>
                <a:gd name="connsiteX556" fmla="*/ 1387 w 11537287"/>
                <a:gd name="connsiteY556" fmla="*/ 2908699 h 6072782"/>
                <a:gd name="connsiteX557" fmla="*/ 3148 w 11537287"/>
                <a:gd name="connsiteY557" fmla="*/ 2895381 h 6072782"/>
                <a:gd name="connsiteX558" fmla="*/ 3607 w 11537287"/>
                <a:gd name="connsiteY558" fmla="*/ 2904101 h 6072782"/>
                <a:gd name="connsiteX559" fmla="*/ 4431 w 11537287"/>
                <a:gd name="connsiteY559" fmla="*/ 2904497 h 6072782"/>
                <a:gd name="connsiteX560" fmla="*/ 4552 w 11537287"/>
                <a:gd name="connsiteY560" fmla="*/ 2905671 h 6072782"/>
                <a:gd name="connsiteX561" fmla="*/ 24108 w 11537287"/>
                <a:gd name="connsiteY561" fmla="*/ 2919518 h 6072782"/>
                <a:gd name="connsiteX562" fmla="*/ 42330 w 11537287"/>
                <a:gd name="connsiteY562" fmla="*/ 2990148 h 6072782"/>
                <a:gd name="connsiteX563" fmla="*/ 43293 w 11537287"/>
                <a:gd name="connsiteY563" fmla="*/ 2991998 h 6072782"/>
                <a:gd name="connsiteX564" fmla="*/ 43258 w 11537287"/>
                <a:gd name="connsiteY564" fmla="*/ 2992865 h 6072782"/>
                <a:gd name="connsiteX565" fmla="*/ 41857 w 11537287"/>
                <a:gd name="connsiteY565" fmla="*/ 3006308 h 6072782"/>
                <a:gd name="connsiteX566" fmla="*/ 38558 w 11537287"/>
                <a:gd name="connsiteY566" fmla="*/ 3017636 h 6072782"/>
                <a:gd name="connsiteX567" fmla="*/ 72721 w 11537287"/>
                <a:gd name="connsiteY567" fmla="*/ 3024237 h 6072782"/>
                <a:gd name="connsiteX568" fmla="*/ 73879 w 11537287"/>
                <a:gd name="connsiteY568" fmla="*/ 3013354 h 6072782"/>
                <a:gd name="connsiteX569" fmla="*/ 80480 w 11537287"/>
                <a:gd name="connsiteY569" fmla="*/ 2999172 h 6072782"/>
                <a:gd name="connsiteX570" fmla="*/ 80759 w 11537287"/>
                <a:gd name="connsiteY570" fmla="*/ 2984064 h 6072782"/>
                <a:gd name="connsiteX571" fmla="*/ 80551 w 11537287"/>
                <a:gd name="connsiteY571" fmla="*/ 2978385 h 6072782"/>
                <a:gd name="connsiteX572" fmla="*/ 82139 w 11537287"/>
                <a:gd name="connsiteY572" fmla="*/ 2980235 h 6072782"/>
                <a:gd name="connsiteX573" fmla="*/ 121512 w 11537287"/>
                <a:gd name="connsiteY573" fmla="*/ 2978032 h 6072782"/>
                <a:gd name="connsiteX574" fmla="*/ 122403 w 11537287"/>
                <a:gd name="connsiteY574" fmla="*/ 2991769 h 6072782"/>
                <a:gd name="connsiteX575" fmla="*/ 105366 w 11537287"/>
                <a:gd name="connsiteY575" fmla="*/ 3004435 h 6072782"/>
                <a:gd name="connsiteX576" fmla="*/ 124276 w 11537287"/>
                <a:gd name="connsiteY576" fmla="*/ 3027358 h 6072782"/>
                <a:gd name="connsiteX577" fmla="*/ 159331 w 11537287"/>
                <a:gd name="connsiteY577" fmla="*/ 2999618 h 6072782"/>
                <a:gd name="connsiteX578" fmla="*/ 178419 w 11537287"/>
                <a:gd name="connsiteY578" fmla="*/ 2957784 h 6072782"/>
                <a:gd name="connsiteX579" fmla="*/ 161556 w 11537287"/>
                <a:gd name="connsiteY579" fmla="*/ 2939521 h 6072782"/>
                <a:gd name="connsiteX580" fmla="*/ 161363 w 11537287"/>
                <a:gd name="connsiteY580" fmla="*/ 2939013 h 6072782"/>
                <a:gd name="connsiteX581" fmla="*/ 163980 w 11537287"/>
                <a:gd name="connsiteY581" fmla="*/ 2940661 h 6072782"/>
                <a:gd name="connsiteX582" fmla="*/ 183147 w 11537287"/>
                <a:gd name="connsiteY582" fmla="*/ 2951273 h 6072782"/>
                <a:gd name="connsiteX583" fmla="*/ 204466 w 11537287"/>
                <a:gd name="connsiteY583" fmla="*/ 2965723 h 6072782"/>
                <a:gd name="connsiteX584" fmla="*/ 225427 w 11537287"/>
                <a:gd name="connsiteY584" fmla="*/ 2947348 h 6072782"/>
                <a:gd name="connsiteX585" fmla="*/ 222126 w 11537287"/>
                <a:gd name="connsiteY585" fmla="*/ 2947081 h 6072782"/>
                <a:gd name="connsiteX586" fmla="*/ 194333 w 11537287"/>
                <a:gd name="connsiteY586" fmla="*/ 2924933 h 6072782"/>
                <a:gd name="connsiteX587" fmla="*/ 195258 w 11537287"/>
                <a:gd name="connsiteY587" fmla="*/ 2920157 h 6072782"/>
                <a:gd name="connsiteX588" fmla="*/ 197010 w 11537287"/>
                <a:gd name="connsiteY588" fmla="*/ 2922067 h 6072782"/>
                <a:gd name="connsiteX589" fmla="*/ 268776 w 11537287"/>
                <a:gd name="connsiteY589" fmla="*/ 2940212 h 6072782"/>
                <a:gd name="connsiteX590" fmla="*/ 280640 w 11537287"/>
                <a:gd name="connsiteY590" fmla="*/ 2823096 h 6072782"/>
                <a:gd name="connsiteX591" fmla="*/ 271363 w 11537287"/>
                <a:gd name="connsiteY591" fmla="*/ 2833800 h 6072782"/>
                <a:gd name="connsiteX592" fmla="*/ 257805 w 11537287"/>
                <a:gd name="connsiteY592" fmla="*/ 2840668 h 6072782"/>
                <a:gd name="connsiteX593" fmla="*/ 249328 w 11537287"/>
                <a:gd name="connsiteY593" fmla="*/ 2901463 h 6072782"/>
                <a:gd name="connsiteX594" fmla="*/ 247848 w 11537287"/>
                <a:gd name="connsiteY594" fmla="*/ 2902631 h 6072782"/>
                <a:gd name="connsiteX595" fmla="*/ 248159 w 11537287"/>
                <a:gd name="connsiteY595" fmla="*/ 2902030 h 6072782"/>
                <a:gd name="connsiteX596" fmla="*/ 251383 w 11537287"/>
                <a:gd name="connsiteY596" fmla="*/ 2882948 h 6072782"/>
                <a:gd name="connsiteX597" fmla="*/ 238807 w 11537287"/>
                <a:gd name="connsiteY597" fmla="*/ 2885356 h 6072782"/>
                <a:gd name="connsiteX598" fmla="*/ 240145 w 11537287"/>
                <a:gd name="connsiteY598" fmla="*/ 2874920 h 6072782"/>
                <a:gd name="connsiteX599" fmla="*/ 228371 w 11537287"/>
                <a:gd name="connsiteY599" fmla="*/ 2874830 h 6072782"/>
                <a:gd name="connsiteX600" fmla="*/ 231760 w 11537287"/>
                <a:gd name="connsiteY600" fmla="*/ 2867070 h 6072782"/>
                <a:gd name="connsiteX601" fmla="*/ 224953 w 11537287"/>
                <a:gd name="connsiteY601" fmla="*/ 2863926 h 6072782"/>
                <a:gd name="connsiteX602" fmla="*/ 223066 w 11537287"/>
                <a:gd name="connsiteY602" fmla="*/ 2863939 h 6072782"/>
                <a:gd name="connsiteX603" fmla="*/ 224618 w 11537287"/>
                <a:gd name="connsiteY603" fmla="*/ 2863382 h 6072782"/>
                <a:gd name="connsiteX604" fmla="*/ 226943 w 11537287"/>
                <a:gd name="connsiteY604" fmla="*/ 2862700 h 6072782"/>
                <a:gd name="connsiteX605" fmla="*/ 238182 w 11537287"/>
                <a:gd name="connsiteY605" fmla="*/ 2860113 h 6072782"/>
                <a:gd name="connsiteX606" fmla="*/ 226764 w 11537287"/>
                <a:gd name="connsiteY606" fmla="*/ 2845574 h 6072782"/>
                <a:gd name="connsiteX607" fmla="*/ 214865 w 11537287"/>
                <a:gd name="connsiteY607" fmla="*/ 2844114 h 6072782"/>
                <a:gd name="connsiteX608" fmla="*/ 213767 w 11537287"/>
                <a:gd name="connsiteY608" fmla="*/ 2844056 h 6072782"/>
                <a:gd name="connsiteX609" fmla="*/ 213775 w 11537287"/>
                <a:gd name="connsiteY609" fmla="*/ 2844032 h 6072782"/>
                <a:gd name="connsiteX610" fmla="*/ 221503 w 11537287"/>
                <a:gd name="connsiteY610" fmla="*/ 2841649 h 6072782"/>
                <a:gd name="connsiteX611" fmla="*/ 179133 w 11537287"/>
                <a:gd name="connsiteY611" fmla="*/ 2815693 h 6072782"/>
                <a:gd name="connsiteX612" fmla="*/ 129003 w 11537287"/>
                <a:gd name="connsiteY612" fmla="*/ 2839152 h 6072782"/>
                <a:gd name="connsiteX613" fmla="*/ 143140 w 11537287"/>
                <a:gd name="connsiteY613" fmla="*/ 2839476 h 6072782"/>
                <a:gd name="connsiteX614" fmla="*/ 143713 w 11537287"/>
                <a:gd name="connsiteY614" fmla="*/ 2839559 h 6072782"/>
                <a:gd name="connsiteX615" fmla="*/ 141320 w 11537287"/>
                <a:gd name="connsiteY615" fmla="*/ 2840210 h 6072782"/>
                <a:gd name="connsiteX616" fmla="*/ 116887 w 11537287"/>
                <a:gd name="connsiteY616" fmla="*/ 2845292 h 6072782"/>
                <a:gd name="connsiteX617" fmla="*/ 70724 w 11537287"/>
                <a:gd name="connsiteY617" fmla="*/ 2905171 h 6072782"/>
                <a:gd name="connsiteX618" fmla="*/ 84610 w 11537287"/>
                <a:gd name="connsiteY618" fmla="*/ 2927135 h 6072782"/>
                <a:gd name="connsiteX619" fmla="*/ 99020 w 11537287"/>
                <a:gd name="connsiteY619" fmla="*/ 2910709 h 6072782"/>
                <a:gd name="connsiteX620" fmla="*/ 82161 w 11537287"/>
                <a:gd name="connsiteY620" fmla="*/ 2945578 h 6072782"/>
                <a:gd name="connsiteX621" fmla="*/ 97984 w 11537287"/>
                <a:gd name="connsiteY621" fmla="*/ 2954896 h 6072782"/>
                <a:gd name="connsiteX622" fmla="*/ 124956 w 11537287"/>
                <a:gd name="connsiteY622" fmla="*/ 2941543 h 6072782"/>
                <a:gd name="connsiteX623" fmla="*/ 142246 w 11537287"/>
                <a:gd name="connsiteY623" fmla="*/ 2939814 h 6072782"/>
                <a:gd name="connsiteX624" fmla="*/ 148442 w 11537287"/>
                <a:gd name="connsiteY624" fmla="*/ 2871228 h 6072782"/>
                <a:gd name="connsiteX625" fmla="*/ 149162 w 11537287"/>
                <a:gd name="connsiteY625" fmla="*/ 2948604 h 6072782"/>
                <a:gd name="connsiteX626" fmla="*/ 147070 w 11537287"/>
                <a:gd name="connsiteY626" fmla="*/ 2948261 h 6072782"/>
                <a:gd name="connsiteX627" fmla="*/ 144419 w 11537287"/>
                <a:gd name="connsiteY627" fmla="*/ 2947583 h 6072782"/>
                <a:gd name="connsiteX628" fmla="*/ 141703 w 11537287"/>
                <a:gd name="connsiteY628" fmla="*/ 2947159 h 6072782"/>
                <a:gd name="connsiteX629" fmla="*/ 140941 w 11537287"/>
                <a:gd name="connsiteY629" fmla="*/ 2946983 h 6072782"/>
                <a:gd name="connsiteX630" fmla="*/ 134217 w 11537287"/>
                <a:gd name="connsiteY630" fmla="*/ 2946755 h 6072782"/>
                <a:gd name="connsiteX631" fmla="*/ 133237 w 11537287"/>
                <a:gd name="connsiteY631" fmla="*/ 2946983 h 6072782"/>
                <a:gd name="connsiteX632" fmla="*/ 132646 w 11537287"/>
                <a:gd name="connsiteY632" fmla="*/ 2947035 h 6072782"/>
                <a:gd name="connsiteX633" fmla="*/ 93681 w 11537287"/>
                <a:gd name="connsiteY633" fmla="*/ 2962869 h 6072782"/>
                <a:gd name="connsiteX634" fmla="*/ 71492 w 11537287"/>
                <a:gd name="connsiteY634" fmla="*/ 2945269 h 6072782"/>
                <a:gd name="connsiteX635" fmla="*/ 71036 w 11537287"/>
                <a:gd name="connsiteY635" fmla="*/ 2944680 h 6072782"/>
                <a:gd name="connsiteX636" fmla="*/ 72748 w 11537287"/>
                <a:gd name="connsiteY636" fmla="*/ 2941821 h 6072782"/>
                <a:gd name="connsiteX637" fmla="*/ 78786 w 11537287"/>
                <a:gd name="connsiteY637" fmla="*/ 2933077 h 6072782"/>
                <a:gd name="connsiteX638" fmla="*/ 61837 w 11537287"/>
                <a:gd name="connsiteY638" fmla="*/ 2906228 h 6072782"/>
                <a:gd name="connsiteX639" fmla="*/ 91897 w 11537287"/>
                <a:gd name="connsiteY639" fmla="*/ 2860380 h 6072782"/>
                <a:gd name="connsiteX640" fmla="*/ 12381 w 11537287"/>
                <a:gd name="connsiteY640" fmla="*/ 2907443 h 6072782"/>
                <a:gd name="connsiteX641" fmla="*/ 8781 w 11537287"/>
                <a:gd name="connsiteY641" fmla="*/ 2904202 h 6072782"/>
                <a:gd name="connsiteX642" fmla="*/ 9833 w 11537287"/>
                <a:gd name="connsiteY642" fmla="*/ 2903611 h 6072782"/>
                <a:gd name="connsiteX643" fmla="*/ 13760 w 11537287"/>
                <a:gd name="connsiteY643" fmla="*/ 2883839 h 6072782"/>
                <a:gd name="connsiteX644" fmla="*/ 3349 w 11537287"/>
                <a:gd name="connsiteY644" fmla="*/ 2893864 h 6072782"/>
                <a:gd name="connsiteX645" fmla="*/ 4255 w 11537287"/>
                <a:gd name="connsiteY645" fmla="*/ 2887011 h 6072782"/>
                <a:gd name="connsiteX646" fmla="*/ 17808 w 11537287"/>
                <a:gd name="connsiteY646" fmla="*/ 2878513 h 6072782"/>
                <a:gd name="connsiteX647" fmla="*/ 17808 w 11537287"/>
                <a:gd name="connsiteY647" fmla="*/ 2902179 h 6072782"/>
                <a:gd name="connsiteX648" fmla="*/ 93637 w 11537287"/>
                <a:gd name="connsiteY648" fmla="*/ 2854123 h 6072782"/>
                <a:gd name="connsiteX649" fmla="*/ 116095 w 11537287"/>
                <a:gd name="connsiteY649" fmla="*/ 2837702 h 6072782"/>
                <a:gd name="connsiteX650" fmla="*/ 122090 w 11537287"/>
                <a:gd name="connsiteY650" fmla="*/ 2837073 h 6072782"/>
                <a:gd name="connsiteX651" fmla="*/ 122784 w 11537287"/>
                <a:gd name="connsiteY651" fmla="*/ 2835586 h 6072782"/>
                <a:gd name="connsiteX652" fmla="*/ 141934 w 11537287"/>
                <a:gd name="connsiteY652" fmla="*/ 2817175 h 6072782"/>
                <a:gd name="connsiteX653" fmla="*/ 177365 w 11537287"/>
                <a:gd name="connsiteY653" fmla="*/ 2809175 h 6072782"/>
                <a:gd name="connsiteX654" fmla="*/ 8115172 w 11537287"/>
                <a:gd name="connsiteY654" fmla="*/ 2809129 h 6072782"/>
                <a:gd name="connsiteX655" fmla="*/ 8160021 w 11537287"/>
                <a:gd name="connsiteY655" fmla="*/ 2848151 h 6072782"/>
                <a:gd name="connsiteX656" fmla="*/ 8160021 w 11537287"/>
                <a:gd name="connsiteY656" fmla="*/ 2884511 h 6072782"/>
                <a:gd name="connsiteX657" fmla="*/ 8179659 w 11537287"/>
                <a:gd name="connsiteY657" fmla="*/ 2911371 h 6072782"/>
                <a:gd name="connsiteX658" fmla="*/ 8179659 w 11537287"/>
                <a:gd name="connsiteY658" fmla="*/ 2929868 h 6072782"/>
                <a:gd name="connsiteX659" fmla="*/ 8160021 w 11537287"/>
                <a:gd name="connsiteY659" fmla="*/ 2956220 h 6072782"/>
                <a:gd name="connsiteX660" fmla="*/ 8160021 w 11537287"/>
                <a:gd name="connsiteY660" fmla="*/ 2993595 h 6072782"/>
                <a:gd name="connsiteX661" fmla="*/ 8115172 w 11537287"/>
                <a:gd name="connsiteY661" fmla="*/ 3032109 h 6072782"/>
                <a:gd name="connsiteX662" fmla="*/ 8115172 w 11537287"/>
                <a:gd name="connsiteY662" fmla="*/ 3012598 h 6072782"/>
                <a:gd name="connsiteX663" fmla="*/ 8130819 w 11537287"/>
                <a:gd name="connsiteY663" fmla="*/ 3006517 h 6072782"/>
                <a:gd name="connsiteX664" fmla="*/ 8135443 w 11537287"/>
                <a:gd name="connsiteY664" fmla="*/ 2987260 h 6072782"/>
                <a:gd name="connsiteX665" fmla="*/ 8135443 w 11537287"/>
                <a:gd name="connsiteY665" fmla="*/ 2951913 h 6072782"/>
                <a:gd name="connsiteX666" fmla="*/ 8160402 w 11537287"/>
                <a:gd name="connsiteY666" fmla="*/ 2920619 h 6072782"/>
                <a:gd name="connsiteX667" fmla="*/ 8160402 w 11537287"/>
                <a:gd name="connsiteY667" fmla="*/ 2920239 h 6072782"/>
                <a:gd name="connsiteX668" fmla="*/ 8135443 w 11537287"/>
                <a:gd name="connsiteY668" fmla="*/ 2888692 h 6072782"/>
                <a:gd name="connsiteX669" fmla="*/ 8135443 w 11537287"/>
                <a:gd name="connsiteY669" fmla="*/ 2852965 h 6072782"/>
                <a:gd name="connsiteX670" fmla="*/ 8115172 w 11537287"/>
                <a:gd name="connsiteY670" fmla="*/ 2828767 h 6072782"/>
                <a:gd name="connsiteX671" fmla="*/ 8097688 w 11537287"/>
                <a:gd name="connsiteY671" fmla="*/ 2809129 h 6072782"/>
                <a:gd name="connsiteX672" fmla="*/ 8097688 w 11537287"/>
                <a:gd name="connsiteY672" fmla="*/ 2828767 h 6072782"/>
                <a:gd name="connsiteX673" fmla="*/ 8077544 w 11537287"/>
                <a:gd name="connsiteY673" fmla="*/ 2852965 h 6072782"/>
                <a:gd name="connsiteX674" fmla="*/ 8077544 w 11537287"/>
                <a:gd name="connsiteY674" fmla="*/ 2888692 h 6072782"/>
                <a:gd name="connsiteX675" fmla="*/ 8052332 w 11537287"/>
                <a:gd name="connsiteY675" fmla="*/ 2920239 h 6072782"/>
                <a:gd name="connsiteX676" fmla="*/ 8052332 w 11537287"/>
                <a:gd name="connsiteY676" fmla="*/ 2920619 h 6072782"/>
                <a:gd name="connsiteX677" fmla="*/ 8077544 w 11537287"/>
                <a:gd name="connsiteY677" fmla="*/ 2951913 h 6072782"/>
                <a:gd name="connsiteX678" fmla="*/ 8077544 w 11537287"/>
                <a:gd name="connsiteY678" fmla="*/ 2987260 h 6072782"/>
                <a:gd name="connsiteX679" fmla="*/ 8082042 w 11537287"/>
                <a:gd name="connsiteY679" fmla="*/ 3006580 h 6072782"/>
                <a:gd name="connsiteX680" fmla="*/ 8097688 w 11537287"/>
                <a:gd name="connsiteY680" fmla="*/ 3012598 h 6072782"/>
                <a:gd name="connsiteX681" fmla="*/ 8097688 w 11537287"/>
                <a:gd name="connsiteY681" fmla="*/ 3032109 h 6072782"/>
                <a:gd name="connsiteX682" fmla="*/ 8052586 w 11537287"/>
                <a:gd name="connsiteY682" fmla="*/ 2993595 h 6072782"/>
                <a:gd name="connsiteX683" fmla="*/ 8052586 w 11537287"/>
                <a:gd name="connsiteY683" fmla="*/ 2956220 h 6072782"/>
                <a:gd name="connsiteX684" fmla="*/ 8032821 w 11537287"/>
                <a:gd name="connsiteY684" fmla="*/ 2929868 h 6072782"/>
                <a:gd name="connsiteX685" fmla="*/ 8032821 w 11537287"/>
                <a:gd name="connsiteY685" fmla="*/ 2911371 h 6072782"/>
                <a:gd name="connsiteX686" fmla="*/ 8052586 w 11537287"/>
                <a:gd name="connsiteY686" fmla="*/ 2884511 h 6072782"/>
                <a:gd name="connsiteX687" fmla="*/ 8052586 w 11537287"/>
                <a:gd name="connsiteY687" fmla="*/ 2848151 h 6072782"/>
                <a:gd name="connsiteX688" fmla="*/ 8097688 w 11537287"/>
                <a:gd name="connsiteY688" fmla="*/ 2809129 h 6072782"/>
                <a:gd name="connsiteX689" fmla="*/ 5416747 w 11537287"/>
                <a:gd name="connsiteY689" fmla="*/ 2809129 h 6072782"/>
                <a:gd name="connsiteX690" fmla="*/ 5461597 w 11537287"/>
                <a:gd name="connsiteY690" fmla="*/ 2848151 h 6072782"/>
                <a:gd name="connsiteX691" fmla="*/ 5461597 w 11537287"/>
                <a:gd name="connsiteY691" fmla="*/ 2884511 h 6072782"/>
                <a:gd name="connsiteX692" fmla="*/ 5481234 w 11537287"/>
                <a:gd name="connsiteY692" fmla="*/ 2911371 h 6072782"/>
                <a:gd name="connsiteX693" fmla="*/ 5481234 w 11537287"/>
                <a:gd name="connsiteY693" fmla="*/ 2929868 h 6072782"/>
                <a:gd name="connsiteX694" fmla="*/ 5461597 w 11537287"/>
                <a:gd name="connsiteY694" fmla="*/ 2956220 h 6072782"/>
                <a:gd name="connsiteX695" fmla="*/ 5461597 w 11537287"/>
                <a:gd name="connsiteY695" fmla="*/ 2993595 h 6072782"/>
                <a:gd name="connsiteX696" fmla="*/ 5416747 w 11537287"/>
                <a:gd name="connsiteY696" fmla="*/ 3032109 h 6072782"/>
                <a:gd name="connsiteX697" fmla="*/ 5416747 w 11537287"/>
                <a:gd name="connsiteY697" fmla="*/ 3012598 h 6072782"/>
                <a:gd name="connsiteX698" fmla="*/ 5432394 w 11537287"/>
                <a:gd name="connsiteY698" fmla="*/ 3006517 h 6072782"/>
                <a:gd name="connsiteX699" fmla="*/ 5437018 w 11537287"/>
                <a:gd name="connsiteY699" fmla="*/ 2987260 h 6072782"/>
                <a:gd name="connsiteX700" fmla="*/ 5437018 w 11537287"/>
                <a:gd name="connsiteY700" fmla="*/ 2951913 h 6072782"/>
                <a:gd name="connsiteX701" fmla="*/ 5461977 w 11537287"/>
                <a:gd name="connsiteY701" fmla="*/ 2920619 h 6072782"/>
                <a:gd name="connsiteX702" fmla="*/ 5461977 w 11537287"/>
                <a:gd name="connsiteY702" fmla="*/ 2920239 h 6072782"/>
                <a:gd name="connsiteX703" fmla="*/ 5437018 w 11537287"/>
                <a:gd name="connsiteY703" fmla="*/ 2888692 h 6072782"/>
                <a:gd name="connsiteX704" fmla="*/ 5437018 w 11537287"/>
                <a:gd name="connsiteY704" fmla="*/ 2852965 h 6072782"/>
                <a:gd name="connsiteX705" fmla="*/ 5416747 w 11537287"/>
                <a:gd name="connsiteY705" fmla="*/ 2828767 h 6072782"/>
                <a:gd name="connsiteX706" fmla="*/ 5399263 w 11537287"/>
                <a:gd name="connsiteY706" fmla="*/ 2809129 h 6072782"/>
                <a:gd name="connsiteX707" fmla="*/ 5399263 w 11537287"/>
                <a:gd name="connsiteY707" fmla="*/ 2828767 h 6072782"/>
                <a:gd name="connsiteX708" fmla="*/ 5379119 w 11537287"/>
                <a:gd name="connsiteY708" fmla="*/ 2852965 h 6072782"/>
                <a:gd name="connsiteX709" fmla="*/ 5379119 w 11537287"/>
                <a:gd name="connsiteY709" fmla="*/ 2888692 h 6072782"/>
                <a:gd name="connsiteX710" fmla="*/ 5353907 w 11537287"/>
                <a:gd name="connsiteY710" fmla="*/ 2920239 h 6072782"/>
                <a:gd name="connsiteX711" fmla="*/ 5353907 w 11537287"/>
                <a:gd name="connsiteY711" fmla="*/ 2920619 h 6072782"/>
                <a:gd name="connsiteX712" fmla="*/ 5379119 w 11537287"/>
                <a:gd name="connsiteY712" fmla="*/ 2951913 h 6072782"/>
                <a:gd name="connsiteX713" fmla="*/ 5379119 w 11537287"/>
                <a:gd name="connsiteY713" fmla="*/ 2987260 h 6072782"/>
                <a:gd name="connsiteX714" fmla="*/ 5383617 w 11537287"/>
                <a:gd name="connsiteY714" fmla="*/ 3006580 h 6072782"/>
                <a:gd name="connsiteX715" fmla="*/ 5399263 w 11537287"/>
                <a:gd name="connsiteY715" fmla="*/ 3012598 h 6072782"/>
                <a:gd name="connsiteX716" fmla="*/ 5399263 w 11537287"/>
                <a:gd name="connsiteY716" fmla="*/ 3032109 h 6072782"/>
                <a:gd name="connsiteX717" fmla="*/ 5354161 w 11537287"/>
                <a:gd name="connsiteY717" fmla="*/ 2993595 h 6072782"/>
                <a:gd name="connsiteX718" fmla="*/ 5354161 w 11537287"/>
                <a:gd name="connsiteY718" fmla="*/ 2956220 h 6072782"/>
                <a:gd name="connsiteX719" fmla="*/ 5334396 w 11537287"/>
                <a:gd name="connsiteY719" fmla="*/ 2929868 h 6072782"/>
                <a:gd name="connsiteX720" fmla="*/ 5334396 w 11537287"/>
                <a:gd name="connsiteY720" fmla="*/ 2911371 h 6072782"/>
                <a:gd name="connsiteX721" fmla="*/ 5354161 w 11537287"/>
                <a:gd name="connsiteY721" fmla="*/ 2884511 h 6072782"/>
                <a:gd name="connsiteX722" fmla="*/ 5354161 w 11537287"/>
                <a:gd name="connsiteY722" fmla="*/ 2848151 h 6072782"/>
                <a:gd name="connsiteX723" fmla="*/ 5399263 w 11537287"/>
                <a:gd name="connsiteY723" fmla="*/ 2809129 h 6072782"/>
                <a:gd name="connsiteX724" fmla="*/ 2059119 w 11537287"/>
                <a:gd name="connsiteY724" fmla="*/ 2809129 h 6072782"/>
                <a:gd name="connsiteX725" fmla="*/ 2103969 w 11537287"/>
                <a:gd name="connsiteY725" fmla="*/ 2848151 h 6072782"/>
                <a:gd name="connsiteX726" fmla="*/ 2103969 w 11537287"/>
                <a:gd name="connsiteY726" fmla="*/ 2884511 h 6072782"/>
                <a:gd name="connsiteX727" fmla="*/ 2123606 w 11537287"/>
                <a:gd name="connsiteY727" fmla="*/ 2911371 h 6072782"/>
                <a:gd name="connsiteX728" fmla="*/ 2123606 w 11537287"/>
                <a:gd name="connsiteY728" fmla="*/ 2929868 h 6072782"/>
                <a:gd name="connsiteX729" fmla="*/ 2103969 w 11537287"/>
                <a:gd name="connsiteY729" fmla="*/ 2956220 h 6072782"/>
                <a:gd name="connsiteX730" fmla="*/ 2103969 w 11537287"/>
                <a:gd name="connsiteY730" fmla="*/ 2993595 h 6072782"/>
                <a:gd name="connsiteX731" fmla="*/ 2059119 w 11537287"/>
                <a:gd name="connsiteY731" fmla="*/ 3032109 h 6072782"/>
                <a:gd name="connsiteX732" fmla="*/ 2059119 w 11537287"/>
                <a:gd name="connsiteY732" fmla="*/ 3012598 h 6072782"/>
                <a:gd name="connsiteX733" fmla="*/ 2074767 w 11537287"/>
                <a:gd name="connsiteY733" fmla="*/ 3006517 h 6072782"/>
                <a:gd name="connsiteX734" fmla="*/ 2079391 w 11537287"/>
                <a:gd name="connsiteY734" fmla="*/ 2987260 h 6072782"/>
                <a:gd name="connsiteX735" fmla="*/ 2079391 w 11537287"/>
                <a:gd name="connsiteY735" fmla="*/ 2951913 h 6072782"/>
                <a:gd name="connsiteX736" fmla="*/ 2104349 w 11537287"/>
                <a:gd name="connsiteY736" fmla="*/ 2920619 h 6072782"/>
                <a:gd name="connsiteX737" fmla="*/ 2104349 w 11537287"/>
                <a:gd name="connsiteY737" fmla="*/ 2920239 h 6072782"/>
                <a:gd name="connsiteX738" fmla="*/ 2079391 w 11537287"/>
                <a:gd name="connsiteY738" fmla="*/ 2888692 h 6072782"/>
                <a:gd name="connsiteX739" fmla="*/ 2079391 w 11537287"/>
                <a:gd name="connsiteY739" fmla="*/ 2852965 h 6072782"/>
                <a:gd name="connsiteX740" fmla="*/ 2059119 w 11537287"/>
                <a:gd name="connsiteY740" fmla="*/ 2828767 h 6072782"/>
                <a:gd name="connsiteX741" fmla="*/ 2041635 w 11537287"/>
                <a:gd name="connsiteY741" fmla="*/ 2809129 h 6072782"/>
                <a:gd name="connsiteX742" fmla="*/ 2041635 w 11537287"/>
                <a:gd name="connsiteY742" fmla="*/ 2828767 h 6072782"/>
                <a:gd name="connsiteX743" fmla="*/ 2021492 w 11537287"/>
                <a:gd name="connsiteY743" fmla="*/ 2852965 h 6072782"/>
                <a:gd name="connsiteX744" fmla="*/ 2021492 w 11537287"/>
                <a:gd name="connsiteY744" fmla="*/ 2888692 h 6072782"/>
                <a:gd name="connsiteX745" fmla="*/ 1996279 w 11537287"/>
                <a:gd name="connsiteY745" fmla="*/ 2920239 h 6072782"/>
                <a:gd name="connsiteX746" fmla="*/ 1996279 w 11537287"/>
                <a:gd name="connsiteY746" fmla="*/ 2920619 h 6072782"/>
                <a:gd name="connsiteX747" fmla="*/ 2021492 w 11537287"/>
                <a:gd name="connsiteY747" fmla="*/ 2951913 h 6072782"/>
                <a:gd name="connsiteX748" fmla="*/ 2021492 w 11537287"/>
                <a:gd name="connsiteY748" fmla="*/ 2987260 h 6072782"/>
                <a:gd name="connsiteX749" fmla="*/ 2025989 w 11537287"/>
                <a:gd name="connsiteY749" fmla="*/ 3006580 h 6072782"/>
                <a:gd name="connsiteX750" fmla="*/ 2041635 w 11537287"/>
                <a:gd name="connsiteY750" fmla="*/ 3012598 h 6072782"/>
                <a:gd name="connsiteX751" fmla="*/ 2041635 w 11537287"/>
                <a:gd name="connsiteY751" fmla="*/ 3032109 h 6072782"/>
                <a:gd name="connsiteX752" fmla="*/ 1996533 w 11537287"/>
                <a:gd name="connsiteY752" fmla="*/ 2993595 h 6072782"/>
                <a:gd name="connsiteX753" fmla="*/ 1996533 w 11537287"/>
                <a:gd name="connsiteY753" fmla="*/ 2956220 h 6072782"/>
                <a:gd name="connsiteX754" fmla="*/ 1976769 w 11537287"/>
                <a:gd name="connsiteY754" fmla="*/ 2929868 h 6072782"/>
                <a:gd name="connsiteX755" fmla="*/ 1976769 w 11537287"/>
                <a:gd name="connsiteY755" fmla="*/ 2911371 h 6072782"/>
                <a:gd name="connsiteX756" fmla="*/ 1996533 w 11537287"/>
                <a:gd name="connsiteY756" fmla="*/ 2884511 h 6072782"/>
                <a:gd name="connsiteX757" fmla="*/ 1996533 w 11537287"/>
                <a:gd name="connsiteY757" fmla="*/ 2848151 h 6072782"/>
                <a:gd name="connsiteX758" fmla="*/ 2041635 w 11537287"/>
                <a:gd name="connsiteY758" fmla="*/ 2809129 h 6072782"/>
                <a:gd name="connsiteX759" fmla="*/ 8323201 w 11537287"/>
                <a:gd name="connsiteY759" fmla="*/ 2569470 h 6072782"/>
                <a:gd name="connsiteX760" fmla="*/ 8312739 w 11537287"/>
                <a:gd name="connsiteY760" fmla="*/ 2617599 h 6072782"/>
                <a:gd name="connsiteX761" fmla="*/ 8355462 w 11537287"/>
                <a:gd name="connsiteY761" fmla="*/ 2617599 h 6072782"/>
                <a:gd name="connsiteX762" fmla="*/ 8365750 w 11537287"/>
                <a:gd name="connsiteY762" fmla="*/ 2569470 h 6072782"/>
                <a:gd name="connsiteX763" fmla="*/ 2259954 w 11537287"/>
                <a:gd name="connsiteY763" fmla="*/ 2569470 h 6072782"/>
                <a:gd name="connsiteX764" fmla="*/ 2249492 w 11537287"/>
                <a:gd name="connsiteY764" fmla="*/ 2617599 h 6072782"/>
                <a:gd name="connsiteX765" fmla="*/ 2292215 w 11537287"/>
                <a:gd name="connsiteY765" fmla="*/ 2617599 h 6072782"/>
                <a:gd name="connsiteX766" fmla="*/ 2302504 w 11537287"/>
                <a:gd name="connsiteY766" fmla="*/ 2569470 h 6072782"/>
                <a:gd name="connsiteX767" fmla="*/ 3665391 w 11537287"/>
                <a:gd name="connsiteY767" fmla="*/ 2480736 h 6072782"/>
                <a:gd name="connsiteX768" fmla="*/ 3710240 w 11537287"/>
                <a:gd name="connsiteY768" fmla="*/ 2519757 h 6072782"/>
                <a:gd name="connsiteX769" fmla="*/ 3710240 w 11537287"/>
                <a:gd name="connsiteY769" fmla="*/ 2556118 h 6072782"/>
                <a:gd name="connsiteX770" fmla="*/ 3729877 w 11537287"/>
                <a:gd name="connsiteY770" fmla="*/ 2582978 h 6072782"/>
                <a:gd name="connsiteX771" fmla="*/ 3729877 w 11537287"/>
                <a:gd name="connsiteY771" fmla="*/ 2601474 h 6072782"/>
                <a:gd name="connsiteX772" fmla="*/ 3710240 w 11537287"/>
                <a:gd name="connsiteY772" fmla="*/ 2627827 h 6072782"/>
                <a:gd name="connsiteX773" fmla="*/ 3710240 w 11537287"/>
                <a:gd name="connsiteY773" fmla="*/ 2665202 h 6072782"/>
                <a:gd name="connsiteX774" fmla="*/ 3665391 w 11537287"/>
                <a:gd name="connsiteY774" fmla="*/ 2703716 h 6072782"/>
                <a:gd name="connsiteX775" fmla="*/ 3665391 w 11537287"/>
                <a:gd name="connsiteY775" fmla="*/ 2684205 h 6072782"/>
                <a:gd name="connsiteX776" fmla="*/ 3681037 w 11537287"/>
                <a:gd name="connsiteY776" fmla="*/ 2678124 h 6072782"/>
                <a:gd name="connsiteX777" fmla="*/ 3685661 w 11537287"/>
                <a:gd name="connsiteY777" fmla="*/ 2658867 h 6072782"/>
                <a:gd name="connsiteX778" fmla="*/ 3685661 w 11537287"/>
                <a:gd name="connsiteY778" fmla="*/ 2623519 h 6072782"/>
                <a:gd name="connsiteX779" fmla="*/ 3710620 w 11537287"/>
                <a:gd name="connsiteY779" fmla="*/ 2592226 h 6072782"/>
                <a:gd name="connsiteX780" fmla="*/ 3710620 w 11537287"/>
                <a:gd name="connsiteY780" fmla="*/ 2591846 h 6072782"/>
                <a:gd name="connsiteX781" fmla="*/ 3685661 w 11537287"/>
                <a:gd name="connsiteY781" fmla="*/ 2560299 h 6072782"/>
                <a:gd name="connsiteX782" fmla="*/ 3685661 w 11537287"/>
                <a:gd name="connsiteY782" fmla="*/ 2524572 h 6072782"/>
                <a:gd name="connsiteX783" fmla="*/ 3665391 w 11537287"/>
                <a:gd name="connsiteY783" fmla="*/ 2500374 h 6072782"/>
                <a:gd name="connsiteX784" fmla="*/ 3647906 w 11537287"/>
                <a:gd name="connsiteY784" fmla="*/ 2480736 h 6072782"/>
                <a:gd name="connsiteX785" fmla="*/ 3647906 w 11537287"/>
                <a:gd name="connsiteY785" fmla="*/ 2500374 h 6072782"/>
                <a:gd name="connsiteX786" fmla="*/ 3627762 w 11537287"/>
                <a:gd name="connsiteY786" fmla="*/ 2524572 h 6072782"/>
                <a:gd name="connsiteX787" fmla="*/ 3627762 w 11537287"/>
                <a:gd name="connsiteY787" fmla="*/ 2560299 h 6072782"/>
                <a:gd name="connsiteX788" fmla="*/ 3602550 w 11537287"/>
                <a:gd name="connsiteY788" fmla="*/ 2591846 h 6072782"/>
                <a:gd name="connsiteX789" fmla="*/ 3602550 w 11537287"/>
                <a:gd name="connsiteY789" fmla="*/ 2592226 h 6072782"/>
                <a:gd name="connsiteX790" fmla="*/ 3627762 w 11537287"/>
                <a:gd name="connsiteY790" fmla="*/ 2623519 h 6072782"/>
                <a:gd name="connsiteX791" fmla="*/ 3627762 w 11537287"/>
                <a:gd name="connsiteY791" fmla="*/ 2658867 h 6072782"/>
                <a:gd name="connsiteX792" fmla="*/ 3632260 w 11537287"/>
                <a:gd name="connsiteY792" fmla="*/ 2678187 h 6072782"/>
                <a:gd name="connsiteX793" fmla="*/ 3647906 w 11537287"/>
                <a:gd name="connsiteY793" fmla="*/ 2684205 h 6072782"/>
                <a:gd name="connsiteX794" fmla="*/ 3647906 w 11537287"/>
                <a:gd name="connsiteY794" fmla="*/ 2703716 h 6072782"/>
                <a:gd name="connsiteX795" fmla="*/ 3602804 w 11537287"/>
                <a:gd name="connsiteY795" fmla="*/ 2665202 h 6072782"/>
                <a:gd name="connsiteX796" fmla="*/ 3602804 w 11537287"/>
                <a:gd name="connsiteY796" fmla="*/ 2627827 h 6072782"/>
                <a:gd name="connsiteX797" fmla="*/ 3583039 w 11537287"/>
                <a:gd name="connsiteY797" fmla="*/ 2601474 h 6072782"/>
                <a:gd name="connsiteX798" fmla="*/ 3583039 w 11537287"/>
                <a:gd name="connsiteY798" fmla="*/ 2582978 h 6072782"/>
                <a:gd name="connsiteX799" fmla="*/ 3602804 w 11537287"/>
                <a:gd name="connsiteY799" fmla="*/ 2556118 h 6072782"/>
                <a:gd name="connsiteX800" fmla="*/ 3602804 w 11537287"/>
                <a:gd name="connsiteY800" fmla="*/ 2519757 h 6072782"/>
                <a:gd name="connsiteX801" fmla="*/ 3647906 w 11537287"/>
                <a:gd name="connsiteY801" fmla="*/ 2480736 h 6072782"/>
                <a:gd name="connsiteX802" fmla="*/ 8314134 w 11537287"/>
                <a:gd name="connsiteY802" fmla="*/ 2477919 h 6072782"/>
                <a:gd name="connsiteX803" fmla="*/ 8342209 w 11537287"/>
                <a:gd name="connsiteY803" fmla="*/ 2477919 h 6072782"/>
                <a:gd name="connsiteX804" fmla="*/ 8328433 w 11537287"/>
                <a:gd name="connsiteY804" fmla="*/ 2545056 h 6072782"/>
                <a:gd name="connsiteX805" fmla="*/ 8370633 w 11537287"/>
                <a:gd name="connsiteY805" fmla="*/ 2545056 h 6072782"/>
                <a:gd name="connsiteX806" fmla="*/ 8384932 w 11537287"/>
                <a:gd name="connsiteY806" fmla="*/ 2477919 h 6072782"/>
                <a:gd name="connsiteX807" fmla="*/ 8412485 w 11537287"/>
                <a:gd name="connsiteY807" fmla="*/ 2477919 h 6072782"/>
                <a:gd name="connsiteX808" fmla="*/ 8398534 w 11537287"/>
                <a:gd name="connsiteY808" fmla="*/ 2545056 h 6072782"/>
                <a:gd name="connsiteX809" fmla="*/ 8438293 w 11537287"/>
                <a:gd name="connsiteY809" fmla="*/ 2545056 h 6072782"/>
                <a:gd name="connsiteX810" fmla="*/ 8432887 w 11537287"/>
                <a:gd name="connsiteY810" fmla="*/ 2569470 h 6072782"/>
                <a:gd name="connsiteX811" fmla="*/ 8393303 w 11537287"/>
                <a:gd name="connsiteY811" fmla="*/ 2569470 h 6072782"/>
                <a:gd name="connsiteX812" fmla="*/ 8383189 w 11537287"/>
                <a:gd name="connsiteY812" fmla="*/ 2617599 h 6072782"/>
                <a:gd name="connsiteX813" fmla="*/ 8426435 w 11537287"/>
                <a:gd name="connsiteY813" fmla="*/ 2617599 h 6072782"/>
                <a:gd name="connsiteX814" fmla="*/ 8420331 w 11537287"/>
                <a:gd name="connsiteY814" fmla="*/ 2642012 h 6072782"/>
                <a:gd name="connsiteX815" fmla="*/ 8378132 w 11537287"/>
                <a:gd name="connsiteY815" fmla="*/ 2642012 h 6072782"/>
                <a:gd name="connsiteX816" fmla="*/ 8363832 w 11537287"/>
                <a:gd name="connsiteY816" fmla="*/ 2706533 h 6072782"/>
                <a:gd name="connsiteX817" fmla="*/ 8336105 w 11537287"/>
                <a:gd name="connsiteY817" fmla="*/ 2706533 h 6072782"/>
                <a:gd name="connsiteX818" fmla="*/ 8350056 w 11537287"/>
                <a:gd name="connsiteY818" fmla="*/ 2642012 h 6072782"/>
                <a:gd name="connsiteX819" fmla="*/ 8307856 w 11537287"/>
                <a:gd name="connsiteY819" fmla="*/ 2642012 h 6072782"/>
                <a:gd name="connsiteX820" fmla="*/ 8294254 w 11537287"/>
                <a:gd name="connsiteY820" fmla="*/ 2706533 h 6072782"/>
                <a:gd name="connsiteX821" fmla="*/ 8266528 w 11537287"/>
                <a:gd name="connsiteY821" fmla="*/ 2706533 h 6072782"/>
                <a:gd name="connsiteX822" fmla="*/ 8280129 w 11537287"/>
                <a:gd name="connsiteY822" fmla="*/ 2642012 h 6072782"/>
                <a:gd name="connsiteX823" fmla="*/ 8240196 w 11537287"/>
                <a:gd name="connsiteY823" fmla="*/ 2642012 h 6072782"/>
                <a:gd name="connsiteX824" fmla="*/ 8245078 w 11537287"/>
                <a:gd name="connsiteY824" fmla="*/ 2617599 h 6072782"/>
                <a:gd name="connsiteX825" fmla="*/ 8285535 w 11537287"/>
                <a:gd name="connsiteY825" fmla="*/ 2617599 h 6072782"/>
                <a:gd name="connsiteX826" fmla="*/ 8295126 w 11537287"/>
                <a:gd name="connsiteY826" fmla="*/ 2569470 h 6072782"/>
                <a:gd name="connsiteX827" fmla="*/ 8252577 w 11537287"/>
                <a:gd name="connsiteY827" fmla="*/ 2569470 h 6072782"/>
                <a:gd name="connsiteX828" fmla="*/ 8257634 w 11537287"/>
                <a:gd name="connsiteY828" fmla="*/ 2545056 h 6072782"/>
                <a:gd name="connsiteX829" fmla="*/ 8300183 w 11537287"/>
                <a:gd name="connsiteY829" fmla="*/ 2545056 h 6072782"/>
                <a:gd name="connsiteX830" fmla="*/ 2250888 w 11537287"/>
                <a:gd name="connsiteY830" fmla="*/ 2477919 h 6072782"/>
                <a:gd name="connsiteX831" fmla="*/ 2278962 w 11537287"/>
                <a:gd name="connsiteY831" fmla="*/ 2477919 h 6072782"/>
                <a:gd name="connsiteX832" fmla="*/ 2265187 w 11537287"/>
                <a:gd name="connsiteY832" fmla="*/ 2545056 h 6072782"/>
                <a:gd name="connsiteX833" fmla="*/ 2307386 w 11537287"/>
                <a:gd name="connsiteY833" fmla="*/ 2545056 h 6072782"/>
                <a:gd name="connsiteX834" fmla="*/ 2321686 w 11537287"/>
                <a:gd name="connsiteY834" fmla="*/ 2477919 h 6072782"/>
                <a:gd name="connsiteX835" fmla="*/ 2349239 w 11537287"/>
                <a:gd name="connsiteY835" fmla="*/ 2477919 h 6072782"/>
                <a:gd name="connsiteX836" fmla="*/ 2335288 w 11537287"/>
                <a:gd name="connsiteY836" fmla="*/ 2545056 h 6072782"/>
                <a:gd name="connsiteX837" fmla="*/ 2375047 w 11537287"/>
                <a:gd name="connsiteY837" fmla="*/ 2545056 h 6072782"/>
                <a:gd name="connsiteX838" fmla="*/ 2369642 w 11537287"/>
                <a:gd name="connsiteY838" fmla="*/ 2569470 h 6072782"/>
                <a:gd name="connsiteX839" fmla="*/ 2330056 w 11537287"/>
                <a:gd name="connsiteY839" fmla="*/ 2569470 h 6072782"/>
                <a:gd name="connsiteX840" fmla="*/ 2319942 w 11537287"/>
                <a:gd name="connsiteY840" fmla="*/ 2617599 h 6072782"/>
                <a:gd name="connsiteX841" fmla="*/ 2363188 w 11537287"/>
                <a:gd name="connsiteY841" fmla="*/ 2617599 h 6072782"/>
                <a:gd name="connsiteX842" fmla="*/ 2357086 w 11537287"/>
                <a:gd name="connsiteY842" fmla="*/ 2642012 h 6072782"/>
                <a:gd name="connsiteX843" fmla="*/ 2314885 w 11537287"/>
                <a:gd name="connsiteY843" fmla="*/ 2642012 h 6072782"/>
                <a:gd name="connsiteX844" fmla="*/ 2300585 w 11537287"/>
                <a:gd name="connsiteY844" fmla="*/ 2706533 h 6072782"/>
                <a:gd name="connsiteX845" fmla="*/ 2272859 w 11537287"/>
                <a:gd name="connsiteY845" fmla="*/ 2706533 h 6072782"/>
                <a:gd name="connsiteX846" fmla="*/ 2286810 w 11537287"/>
                <a:gd name="connsiteY846" fmla="*/ 2642012 h 6072782"/>
                <a:gd name="connsiteX847" fmla="*/ 2244610 w 11537287"/>
                <a:gd name="connsiteY847" fmla="*/ 2642012 h 6072782"/>
                <a:gd name="connsiteX848" fmla="*/ 2231007 w 11537287"/>
                <a:gd name="connsiteY848" fmla="*/ 2706533 h 6072782"/>
                <a:gd name="connsiteX849" fmla="*/ 2203282 w 11537287"/>
                <a:gd name="connsiteY849" fmla="*/ 2706533 h 6072782"/>
                <a:gd name="connsiteX850" fmla="*/ 2216884 w 11537287"/>
                <a:gd name="connsiteY850" fmla="*/ 2642012 h 6072782"/>
                <a:gd name="connsiteX851" fmla="*/ 2176949 w 11537287"/>
                <a:gd name="connsiteY851" fmla="*/ 2642012 h 6072782"/>
                <a:gd name="connsiteX852" fmla="*/ 2181833 w 11537287"/>
                <a:gd name="connsiteY852" fmla="*/ 2617599 h 6072782"/>
                <a:gd name="connsiteX853" fmla="*/ 2222288 w 11537287"/>
                <a:gd name="connsiteY853" fmla="*/ 2617599 h 6072782"/>
                <a:gd name="connsiteX854" fmla="*/ 2231879 w 11537287"/>
                <a:gd name="connsiteY854" fmla="*/ 2569470 h 6072782"/>
                <a:gd name="connsiteX855" fmla="*/ 2189331 w 11537287"/>
                <a:gd name="connsiteY855" fmla="*/ 2569470 h 6072782"/>
                <a:gd name="connsiteX856" fmla="*/ 2194388 w 11537287"/>
                <a:gd name="connsiteY856" fmla="*/ 2545056 h 6072782"/>
                <a:gd name="connsiteX857" fmla="*/ 2236936 w 11537287"/>
                <a:gd name="connsiteY857" fmla="*/ 2545056 h 6072782"/>
                <a:gd name="connsiteX858" fmla="*/ 10887030 w 11537287"/>
                <a:gd name="connsiteY858" fmla="*/ 2172960 h 6072782"/>
                <a:gd name="connsiteX859" fmla="*/ 10941716 w 11537287"/>
                <a:gd name="connsiteY859" fmla="*/ 2211981 h 6072782"/>
                <a:gd name="connsiteX860" fmla="*/ 10941716 w 11537287"/>
                <a:gd name="connsiteY860" fmla="*/ 2248342 h 6072782"/>
                <a:gd name="connsiteX861" fmla="*/ 10965660 w 11537287"/>
                <a:gd name="connsiteY861" fmla="*/ 2275202 h 6072782"/>
                <a:gd name="connsiteX862" fmla="*/ 10965660 w 11537287"/>
                <a:gd name="connsiteY862" fmla="*/ 2293698 h 6072782"/>
                <a:gd name="connsiteX863" fmla="*/ 10941716 w 11537287"/>
                <a:gd name="connsiteY863" fmla="*/ 2320051 h 6072782"/>
                <a:gd name="connsiteX864" fmla="*/ 10941716 w 11537287"/>
                <a:gd name="connsiteY864" fmla="*/ 2357426 h 6072782"/>
                <a:gd name="connsiteX865" fmla="*/ 10887030 w 11537287"/>
                <a:gd name="connsiteY865" fmla="*/ 2395940 h 6072782"/>
                <a:gd name="connsiteX866" fmla="*/ 10887030 w 11537287"/>
                <a:gd name="connsiteY866" fmla="*/ 2376429 h 6072782"/>
                <a:gd name="connsiteX867" fmla="*/ 10906108 w 11537287"/>
                <a:gd name="connsiteY867" fmla="*/ 2370348 h 6072782"/>
                <a:gd name="connsiteX868" fmla="*/ 10911747 w 11537287"/>
                <a:gd name="connsiteY868" fmla="*/ 2351091 h 6072782"/>
                <a:gd name="connsiteX869" fmla="*/ 10911747 w 11537287"/>
                <a:gd name="connsiteY869" fmla="*/ 2315743 h 6072782"/>
                <a:gd name="connsiteX870" fmla="*/ 10942179 w 11537287"/>
                <a:gd name="connsiteY870" fmla="*/ 2284450 h 6072782"/>
                <a:gd name="connsiteX871" fmla="*/ 10942179 w 11537287"/>
                <a:gd name="connsiteY871" fmla="*/ 2284070 h 6072782"/>
                <a:gd name="connsiteX872" fmla="*/ 10911747 w 11537287"/>
                <a:gd name="connsiteY872" fmla="*/ 2252523 h 6072782"/>
                <a:gd name="connsiteX873" fmla="*/ 10911747 w 11537287"/>
                <a:gd name="connsiteY873" fmla="*/ 2216796 h 6072782"/>
                <a:gd name="connsiteX874" fmla="*/ 10887030 w 11537287"/>
                <a:gd name="connsiteY874" fmla="*/ 2192598 h 6072782"/>
                <a:gd name="connsiteX875" fmla="*/ 10865711 w 11537287"/>
                <a:gd name="connsiteY875" fmla="*/ 2172960 h 6072782"/>
                <a:gd name="connsiteX876" fmla="*/ 10865711 w 11537287"/>
                <a:gd name="connsiteY876" fmla="*/ 2192598 h 6072782"/>
                <a:gd name="connsiteX877" fmla="*/ 10841149 w 11537287"/>
                <a:gd name="connsiteY877" fmla="*/ 2216796 h 6072782"/>
                <a:gd name="connsiteX878" fmla="*/ 10841149 w 11537287"/>
                <a:gd name="connsiteY878" fmla="*/ 2252523 h 6072782"/>
                <a:gd name="connsiteX879" fmla="*/ 10810408 w 11537287"/>
                <a:gd name="connsiteY879" fmla="*/ 2284070 h 6072782"/>
                <a:gd name="connsiteX880" fmla="*/ 10810408 w 11537287"/>
                <a:gd name="connsiteY880" fmla="*/ 2284450 h 6072782"/>
                <a:gd name="connsiteX881" fmla="*/ 10841149 w 11537287"/>
                <a:gd name="connsiteY881" fmla="*/ 2315743 h 6072782"/>
                <a:gd name="connsiteX882" fmla="*/ 10841149 w 11537287"/>
                <a:gd name="connsiteY882" fmla="*/ 2351091 h 6072782"/>
                <a:gd name="connsiteX883" fmla="*/ 10846633 w 11537287"/>
                <a:gd name="connsiteY883" fmla="*/ 2370411 h 6072782"/>
                <a:gd name="connsiteX884" fmla="*/ 10865711 w 11537287"/>
                <a:gd name="connsiteY884" fmla="*/ 2376429 h 6072782"/>
                <a:gd name="connsiteX885" fmla="*/ 10865711 w 11537287"/>
                <a:gd name="connsiteY885" fmla="*/ 2395940 h 6072782"/>
                <a:gd name="connsiteX886" fmla="*/ 10810717 w 11537287"/>
                <a:gd name="connsiteY886" fmla="*/ 2357426 h 6072782"/>
                <a:gd name="connsiteX887" fmla="*/ 10810717 w 11537287"/>
                <a:gd name="connsiteY887" fmla="*/ 2320051 h 6072782"/>
                <a:gd name="connsiteX888" fmla="*/ 10786618 w 11537287"/>
                <a:gd name="connsiteY888" fmla="*/ 2293698 h 6072782"/>
                <a:gd name="connsiteX889" fmla="*/ 10786618 w 11537287"/>
                <a:gd name="connsiteY889" fmla="*/ 2275202 h 6072782"/>
                <a:gd name="connsiteX890" fmla="*/ 10810717 w 11537287"/>
                <a:gd name="connsiteY890" fmla="*/ 2248342 h 6072782"/>
                <a:gd name="connsiteX891" fmla="*/ 10810717 w 11537287"/>
                <a:gd name="connsiteY891" fmla="*/ 2211981 h 6072782"/>
                <a:gd name="connsiteX892" fmla="*/ 10865711 w 11537287"/>
                <a:gd name="connsiteY892" fmla="*/ 2172960 h 6072782"/>
                <a:gd name="connsiteX893" fmla="*/ 8381124 w 11537287"/>
                <a:gd name="connsiteY893" fmla="*/ 2172960 h 6072782"/>
                <a:gd name="connsiteX894" fmla="*/ 8435810 w 11537287"/>
                <a:gd name="connsiteY894" fmla="*/ 2211981 h 6072782"/>
                <a:gd name="connsiteX895" fmla="*/ 8435810 w 11537287"/>
                <a:gd name="connsiteY895" fmla="*/ 2248342 h 6072782"/>
                <a:gd name="connsiteX896" fmla="*/ 8459754 w 11537287"/>
                <a:gd name="connsiteY896" fmla="*/ 2275202 h 6072782"/>
                <a:gd name="connsiteX897" fmla="*/ 8459754 w 11537287"/>
                <a:gd name="connsiteY897" fmla="*/ 2293698 h 6072782"/>
                <a:gd name="connsiteX898" fmla="*/ 8435810 w 11537287"/>
                <a:gd name="connsiteY898" fmla="*/ 2320051 h 6072782"/>
                <a:gd name="connsiteX899" fmla="*/ 8435810 w 11537287"/>
                <a:gd name="connsiteY899" fmla="*/ 2357426 h 6072782"/>
                <a:gd name="connsiteX900" fmla="*/ 8381124 w 11537287"/>
                <a:gd name="connsiteY900" fmla="*/ 2395940 h 6072782"/>
                <a:gd name="connsiteX901" fmla="*/ 8381124 w 11537287"/>
                <a:gd name="connsiteY901" fmla="*/ 2376429 h 6072782"/>
                <a:gd name="connsiteX902" fmla="*/ 8400202 w 11537287"/>
                <a:gd name="connsiteY902" fmla="*/ 2370348 h 6072782"/>
                <a:gd name="connsiteX903" fmla="*/ 8405841 w 11537287"/>
                <a:gd name="connsiteY903" fmla="*/ 2351091 h 6072782"/>
                <a:gd name="connsiteX904" fmla="*/ 8405841 w 11537287"/>
                <a:gd name="connsiteY904" fmla="*/ 2315743 h 6072782"/>
                <a:gd name="connsiteX905" fmla="*/ 8436273 w 11537287"/>
                <a:gd name="connsiteY905" fmla="*/ 2284450 h 6072782"/>
                <a:gd name="connsiteX906" fmla="*/ 8436273 w 11537287"/>
                <a:gd name="connsiteY906" fmla="*/ 2284070 h 6072782"/>
                <a:gd name="connsiteX907" fmla="*/ 8405841 w 11537287"/>
                <a:gd name="connsiteY907" fmla="*/ 2252523 h 6072782"/>
                <a:gd name="connsiteX908" fmla="*/ 8405841 w 11537287"/>
                <a:gd name="connsiteY908" fmla="*/ 2216796 h 6072782"/>
                <a:gd name="connsiteX909" fmla="*/ 8381124 w 11537287"/>
                <a:gd name="connsiteY909" fmla="*/ 2192598 h 6072782"/>
                <a:gd name="connsiteX910" fmla="*/ 8359805 w 11537287"/>
                <a:gd name="connsiteY910" fmla="*/ 2172960 h 6072782"/>
                <a:gd name="connsiteX911" fmla="*/ 8359805 w 11537287"/>
                <a:gd name="connsiteY911" fmla="*/ 2192598 h 6072782"/>
                <a:gd name="connsiteX912" fmla="*/ 8335243 w 11537287"/>
                <a:gd name="connsiteY912" fmla="*/ 2216796 h 6072782"/>
                <a:gd name="connsiteX913" fmla="*/ 8335243 w 11537287"/>
                <a:gd name="connsiteY913" fmla="*/ 2252523 h 6072782"/>
                <a:gd name="connsiteX914" fmla="*/ 8304502 w 11537287"/>
                <a:gd name="connsiteY914" fmla="*/ 2284070 h 6072782"/>
                <a:gd name="connsiteX915" fmla="*/ 8304502 w 11537287"/>
                <a:gd name="connsiteY915" fmla="*/ 2284450 h 6072782"/>
                <a:gd name="connsiteX916" fmla="*/ 8335243 w 11537287"/>
                <a:gd name="connsiteY916" fmla="*/ 2315743 h 6072782"/>
                <a:gd name="connsiteX917" fmla="*/ 8335243 w 11537287"/>
                <a:gd name="connsiteY917" fmla="*/ 2351091 h 6072782"/>
                <a:gd name="connsiteX918" fmla="*/ 8340727 w 11537287"/>
                <a:gd name="connsiteY918" fmla="*/ 2370411 h 6072782"/>
                <a:gd name="connsiteX919" fmla="*/ 8359805 w 11537287"/>
                <a:gd name="connsiteY919" fmla="*/ 2376429 h 6072782"/>
                <a:gd name="connsiteX920" fmla="*/ 8359805 w 11537287"/>
                <a:gd name="connsiteY920" fmla="*/ 2395940 h 6072782"/>
                <a:gd name="connsiteX921" fmla="*/ 8304811 w 11537287"/>
                <a:gd name="connsiteY921" fmla="*/ 2357426 h 6072782"/>
                <a:gd name="connsiteX922" fmla="*/ 8304811 w 11537287"/>
                <a:gd name="connsiteY922" fmla="*/ 2320051 h 6072782"/>
                <a:gd name="connsiteX923" fmla="*/ 8280712 w 11537287"/>
                <a:gd name="connsiteY923" fmla="*/ 2293698 h 6072782"/>
                <a:gd name="connsiteX924" fmla="*/ 8280712 w 11537287"/>
                <a:gd name="connsiteY924" fmla="*/ 2275202 h 6072782"/>
                <a:gd name="connsiteX925" fmla="*/ 8304811 w 11537287"/>
                <a:gd name="connsiteY925" fmla="*/ 2248342 h 6072782"/>
                <a:gd name="connsiteX926" fmla="*/ 8304811 w 11537287"/>
                <a:gd name="connsiteY926" fmla="*/ 2211981 h 6072782"/>
                <a:gd name="connsiteX927" fmla="*/ 8359805 w 11537287"/>
                <a:gd name="connsiteY927" fmla="*/ 2172960 h 6072782"/>
                <a:gd name="connsiteX928" fmla="*/ 4831058 w 11537287"/>
                <a:gd name="connsiteY928" fmla="*/ 2172960 h 6072782"/>
                <a:gd name="connsiteX929" fmla="*/ 4885744 w 11537287"/>
                <a:gd name="connsiteY929" fmla="*/ 2211981 h 6072782"/>
                <a:gd name="connsiteX930" fmla="*/ 4885744 w 11537287"/>
                <a:gd name="connsiteY930" fmla="*/ 2248342 h 6072782"/>
                <a:gd name="connsiteX931" fmla="*/ 4909688 w 11537287"/>
                <a:gd name="connsiteY931" fmla="*/ 2275202 h 6072782"/>
                <a:gd name="connsiteX932" fmla="*/ 4909688 w 11537287"/>
                <a:gd name="connsiteY932" fmla="*/ 2293698 h 6072782"/>
                <a:gd name="connsiteX933" fmla="*/ 4885744 w 11537287"/>
                <a:gd name="connsiteY933" fmla="*/ 2320051 h 6072782"/>
                <a:gd name="connsiteX934" fmla="*/ 4885744 w 11537287"/>
                <a:gd name="connsiteY934" fmla="*/ 2357426 h 6072782"/>
                <a:gd name="connsiteX935" fmla="*/ 4831058 w 11537287"/>
                <a:gd name="connsiteY935" fmla="*/ 2395940 h 6072782"/>
                <a:gd name="connsiteX936" fmla="*/ 4831058 w 11537287"/>
                <a:gd name="connsiteY936" fmla="*/ 2376429 h 6072782"/>
                <a:gd name="connsiteX937" fmla="*/ 4850137 w 11537287"/>
                <a:gd name="connsiteY937" fmla="*/ 2370348 h 6072782"/>
                <a:gd name="connsiteX938" fmla="*/ 4855775 w 11537287"/>
                <a:gd name="connsiteY938" fmla="*/ 2351091 h 6072782"/>
                <a:gd name="connsiteX939" fmla="*/ 4855775 w 11537287"/>
                <a:gd name="connsiteY939" fmla="*/ 2315743 h 6072782"/>
                <a:gd name="connsiteX940" fmla="*/ 4886207 w 11537287"/>
                <a:gd name="connsiteY940" fmla="*/ 2284450 h 6072782"/>
                <a:gd name="connsiteX941" fmla="*/ 4886207 w 11537287"/>
                <a:gd name="connsiteY941" fmla="*/ 2284070 h 6072782"/>
                <a:gd name="connsiteX942" fmla="*/ 4855775 w 11537287"/>
                <a:gd name="connsiteY942" fmla="*/ 2252523 h 6072782"/>
                <a:gd name="connsiteX943" fmla="*/ 4855775 w 11537287"/>
                <a:gd name="connsiteY943" fmla="*/ 2216796 h 6072782"/>
                <a:gd name="connsiteX944" fmla="*/ 4831058 w 11537287"/>
                <a:gd name="connsiteY944" fmla="*/ 2192598 h 6072782"/>
                <a:gd name="connsiteX945" fmla="*/ 4809740 w 11537287"/>
                <a:gd name="connsiteY945" fmla="*/ 2172960 h 6072782"/>
                <a:gd name="connsiteX946" fmla="*/ 4809740 w 11537287"/>
                <a:gd name="connsiteY946" fmla="*/ 2192598 h 6072782"/>
                <a:gd name="connsiteX947" fmla="*/ 4785177 w 11537287"/>
                <a:gd name="connsiteY947" fmla="*/ 2216796 h 6072782"/>
                <a:gd name="connsiteX948" fmla="*/ 4785177 w 11537287"/>
                <a:gd name="connsiteY948" fmla="*/ 2252523 h 6072782"/>
                <a:gd name="connsiteX949" fmla="*/ 4754435 w 11537287"/>
                <a:gd name="connsiteY949" fmla="*/ 2284070 h 6072782"/>
                <a:gd name="connsiteX950" fmla="*/ 4754435 w 11537287"/>
                <a:gd name="connsiteY950" fmla="*/ 2284450 h 6072782"/>
                <a:gd name="connsiteX951" fmla="*/ 4785177 w 11537287"/>
                <a:gd name="connsiteY951" fmla="*/ 2315743 h 6072782"/>
                <a:gd name="connsiteX952" fmla="*/ 4785177 w 11537287"/>
                <a:gd name="connsiteY952" fmla="*/ 2351091 h 6072782"/>
                <a:gd name="connsiteX953" fmla="*/ 4790661 w 11537287"/>
                <a:gd name="connsiteY953" fmla="*/ 2370411 h 6072782"/>
                <a:gd name="connsiteX954" fmla="*/ 4809740 w 11537287"/>
                <a:gd name="connsiteY954" fmla="*/ 2376429 h 6072782"/>
                <a:gd name="connsiteX955" fmla="*/ 4809740 w 11537287"/>
                <a:gd name="connsiteY955" fmla="*/ 2395940 h 6072782"/>
                <a:gd name="connsiteX956" fmla="*/ 4754745 w 11537287"/>
                <a:gd name="connsiteY956" fmla="*/ 2357426 h 6072782"/>
                <a:gd name="connsiteX957" fmla="*/ 4754745 w 11537287"/>
                <a:gd name="connsiteY957" fmla="*/ 2320051 h 6072782"/>
                <a:gd name="connsiteX958" fmla="*/ 4730646 w 11537287"/>
                <a:gd name="connsiteY958" fmla="*/ 2293698 h 6072782"/>
                <a:gd name="connsiteX959" fmla="*/ 4730646 w 11537287"/>
                <a:gd name="connsiteY959" fmla="*/ 2275202 h 6072782"/>
                <a:gd name="connsiteX960" fmla="*/ 4754745 w 11537287"/>
                <a:gd name="connsiteY960" fmla="*/ 2248342 h 6072782"/>
                <a:gd name="connsiteX961" fmla="*/ 4754745 w 11537287"/>
                <a:gd name="connsiteY961" fmla="*/ 2211981 h 6072782"/>
                <a:gd name="connsiteX962" fmla="*/ 4809740 w 11537287"/>
                <a:gd name="connsiteY962" fmla="*/ 2172960 h 6072782"/>
                <a:gd name="connsiteX963" fmla="*/ 2326456 w 11537287"/>
                <a:gd name="connsiteY963" fmla="*/ 2172960 h 6072782"/>
                <a:gd name="connsiteX964" fmla="*/ 2381142 w 11537287"/>
                <a:gd name="connsiteY964" fmla="*/ 2211981 h 6072782"/>
                <a:gd name="connsiteX965" fmla="*/ 2381142 w 11537287"/>
                <a:gd name="connsiteY965" fmla="*/ 2248342 h 6072782"/>
                <a:gd name="connsiteX966" fmla="*/ 2405086 w 11537287"/>
                <a:gd name="connsiteY966" fmla="*/ 2275202 h 6072782"/>
                <a:gd name="connsiteX967" fmla="*/ 2405086 w 11537287"/>
                <a:gd name="connsiteY967" fmla="*/ 2293698 h 6072782"/>
                <a:gd name="connsiteX968" fmla="*/ 2381142 w 11537287"/>
                <a:gd name="connsiteY968" fmla="*/ 2320051 h 6072782"/>
                <a:gd name="connsiteX969" fmla="*/ 2381142 w 11537287"/>
                <a:gd name="connsiteY969" fmla="*/ 2357426 h 6072782"/>
                <a:gd name="connsiteX970" fmla="*/ 2326456 w 11537287"/>
                <a:gd name="connsiteY970" fmla="*/ 2395940 h 6072782"/>
                <a:gd name="connsiteX971" fmla="*/ 2326456 w 11537287"/>
                <a:gd name="connsiteY971" fmla="*/ 2376429 h 6072782"/>
                <a:gd name="connsiteX972" fmla="*/ 2345533 w 11537287"/>
                <a:gd name="connsiteY972" fmla="*/ 2370348 h 6072782"/>
                <a:gd name="connsiteX973" fmla="*/ 2351172 w 11537287"/>
                <a:gd name="connsiteY973" fmla="*/ 2351091 h 6072782"/>
                <a:gd name="connsiteX974" fmla="*/ 2351172 w 11537287"/>
                <a:gd name="connsiteY974" fmla="*/ 2315743 h 6072782"/>
                <a:gd name="connsiteX975" fmla="*/ 2381605 w 11537287"/>
                <a:gd name="connsiteY975" fmla="*/ 2284450 h 6072782"/>
                <a:gd name="connsiteX976" fmla="*/ 2381605 w 11537287"/>
                <a:gd name="connsiteY976" fmla="*/ 2284070 h 6072782"/>
                <a:gd name="connsiteX977" fmla="*/ 2351172 w 11537287"/>
                <a:gd name="connsiteY977" fmla="*/ 2252523 h 6072782"/>
                <a:gd name="connsiteX978" fmla="*/ 2351172 w 11537287"/>
                <a:gd name="connsiteY978" fmla="*/ 2216796 h 6072782"/>
                <a:gd name="connsiteX979" fmla="*/ 2326456 w 11537287"/>
                <a:gd name="connsiteY979" fmla="*/ 2192598 h 6072782"/>
                <a:gd name="connsiteX980" fmla="*/ 2305137 w 11537287"/>
                <a:gd name="connsiteY980" fmla="*/ 2172960 h 6072782"/>
                <a:gd name="connsiteX981" fmla="*/ 2305137 w 11537287"/>
                <a:gd name="connsiteY981" fmla="*/ 2192598 h 6072782"/>
                <a:gd name="connsiteX982" fmla="*/ 2280575 w 11537287"/>
                <a:gd name="connsiteY982" fmla="*/ 2216796 h 6072782"/>
                <a:gd name="connsiteX983" fmla="*/ 2280575 w 11537287"/>
                <a:gd name="connsiteY983" fmla="*/ 2252523 h 6072782"/>
                <a:gd name="connsiteX984" fmla="*/ 2249834 w 11537287"/>
                <a:gd name="connsiteY984" fmla="*/ 2284070 h 6072782"/>
                <a:gd name="connsiteX985" fmla="*/ 2249834 w 11537287"/>
                <a:gd name="connsiteY985" fmla="*/ 2284450 h 6072782"/>
                <a:gd name="connsiteX986" fmla="*/ 2280575 w 11537287"/>
                <a:gd name="connsiteY986" fmla="*/ 2315743 h 6072782"/>
                <a:gd name="connsiteX987" fmla="*/ 2280575 w 11537287"/>
                <a:gd name="connsiteY987" fmla="*/ 2351091 h 6072782"/>
                <a:gd name="connsiteX988" fmla="*/ 2286060 w 11537287"/>
                <a:gd name="connsiteY988" fmla="*/ 2370411 h 6072782"/>
                <a:gd name="connsiteX989" fmla="*/ 2305137 w 11537287"/>
                <a:gd name="connsiteY989" fmla="*/ 2376429 h 6072782"/>
                <a:gd name="connsiteX990" fmla="*/ 2305137 w 11537287"/>
                <a:gd name="connsiteY990" fmla="*/ 2395940 h 6072782"/>
                <a:gd name="connsiteX991" fmla="*/ 2250143 w 11537287"/>
                <a:gd name="connsiteY991" fmla="*/ 2357426 h 6072782"/>
                <a:gd name="connsiteX992" fmla="*/ 2250143 w 11537287"/>
                <a:gd name="connsiteY992" fmla="*/ 2320051 h 6072782"/>
                <a:gd name="connsiteX993" fmla="*/ 2226043 w 11537287"/>
                <a:gd name="connsiteY993" fmla="*/ 2293698 h 6072782"/>
                <a:gd name="connsiteX994" fmla="*/ 2226043 w 11537287"/>
                <a:gd name="connsiteY994" fmla="*/ 2275202 h 6072782"/>
                <a:gd name="connsiteX995" fmla="*/ 2250143 w 11537287"/>
                <a:gd name="connsiteY995" fmla="*/ 2248342 h 6072782"/>
                <a:gd name="connsiteX996" fmla="*/ 2250143 w 11537287"/>
                <a:gd name="connsiteY996" fmla="*/ 2211981 h 6072782"/>
                <a:gd name="connsiteX997" fmla="*/ 2305137 w 11537287"/>
                <a:gd name="connsiteY997" fmla="*/ 2172960 h 6072782"/>
                <a:gd name="connsiteX998" fmla="*/ 8838198 w 11537287"/>
                <a:gd name="connsiteY998" fmla="*/ 1842347 h 6072782"/>
                <a:gd name="connsiteX999" fmla="*/ 8892884 w 11537287"/>
                <a:gd name="connsiteY999" fmla="*/ 1881368 h 6072782"/>
                <a:gd name="connsiteX1000" fmla="*/ 8892884 w 11537287"/>
                <a:gd name="connsiteY1000" fmla="*/ 1917729 h 6072782"/>
                <a:gd name="connsiteX1001" fmla="*/ 8916828 w 11537287"/>
                <a:gd name="connsiteY1001" fmla="*/ 1944589 h 6072782"/>
                <a:gd name="connsiteX1002" fmla="*/ 8916828 w 11537287"/>
                <a:gd name="connsiteY1002" fmla="*/ 1963085 h 6072782"/>
                <a:gd name="connsiteX1003" fmla="*/ 8892884 w 11537287"/>
                <a:gd name="connsiteY1003" fmla="*/ 1989438 h 6072782"/>
                <a:gd name="connsiteX1004" fmla="*/ 8892884 w 11537287"/>
                <a:gd name="connsiteY1004" fmla="*/ 2026812 h 6072782"/>
                <a:gd name="connsiteX1005" fmla="*/ 8838198 w 11537287"/>
                <a:gd name="connsiteY1005" fmla="*/ 2065327 h 6072782"/>
                <a:gd name="connsiteX1006" fmla="*/ 8838198 w 11537287"/>
                <a:gd name="connsiteY1006" fmla="*/ 2045816 h 6072782"/>
                <a:gd name="connsiteX1007" fmla="*/ 8857276 w 11537287"/>
                <a:gd name="connsiteY1007" fmla="*/ 2039735 h 6072782"/>
                <a:gd name="connsiteX1008" fmla="*/ 8862915 w 11537287"/>
                <a:gd name="connsiteY1008" fmla="*/ 2020478 h 6072782"/>
                <a:gd name="connsiteX1009" fmla="*/ 8862915 w 11537287"/>
                <a:gd name="connsiteY1009" fmla="*/ 1985130 h 6072782"/>
                <a:gd name="connsiteX1010" fmla="*/ 8893347 w 11537287"/>
                <a:gd name="connsiteY1010" fmla="*/ 1953837 h 6072782"/>
                <a:gd name="connsiteX1011" fmla="*/ 8893347 w 11537287"/>
                <a:gd name="connsiteY1011" fmla="*/ 1953457 h 6072782"/>
                <a:gd name="connsiteX1012" fmla="*/ 8862915 w 11537287"/>
                <a:gd name="connsiteY1012" fmla="*/ 1921910 h 6072782"/>
                <a:gd name="connsiteX1013" fmla="*/ 8862915 w 11537287"/>
                <a:gd name="connsiteY1013" fmla="*/ 1886183 h 6072782"/>
                <a:gd name="connsiteX1014" fmla="*/ 8838198 w 11537287"/>
                <a:gd name="connsiteY1014" fmla="*/ 1861985 h 6072782"/>
                <a:gd name="connsiteX1015" fmla="*/ 8816879 w 11537287"/>
                <a:gd name="connsiteY1015" fmla="*/ 1842347 h 6072782"/>
                <a:gd name="connsiteX1016" fmla="*/ 8816879 w 11537287"/>
                <a:gd name="connsiteY1016" fmla="*/ 1861985 h 6072782"/>
                <a:gd name="connsiteX1017" fmla="*/ 8792317 w 11537287"/>
                <a:gd name="connsiteY1017" fmla="*/ 1886183 h 6072782"/>
                <a:gd name="connsiteX1018" fmla="*/ 8792317 w 11537287"/>
                <a:gd name="connsiteY1018" fmla="*/ 1921910 h 6072782"/>
                <a:gd name="connsiteX1019" fmla="*/ 8761576 w 11537287"/>
                <a:gd name="connsiteY1019" fmla="*/ 1953457 h 6072782"/>
                <a:gd name="connsiteX1020" fmla="*/ 8761576 w 11537287"/>
                <a:gd name="connsiteY1020" fmla="*/ 1953837 h 6072782"/>
                <a:gd name="connsiteX1021" fmla="*/ 8792317 w 11537287"/>
                <a:gd name="connsiteY1021" fmla="*/ 1985130 h 6072782"/>
                <a:gd name="connsiteX1022" fmla="*/ 8792317 w 11537287"/>
                <a:gd name="connsiteY1022" fmla="*/ 2020478 h 6072782"/>
                <a:gd name="connsiteX1023" fmla="*/ 8797801 w 11537287"/>
                <a:gd name="connsiteY1023" fmla="*/ 2039798 h 6072782"/>
                <a:gd name="connsiteX1024" fmla="*/ 8816879 w 11537287"/>
                <a:gd name="connsiteY1024" fmla="*/ 2045816 h 6072782"/>
                <a:gd name="connsiteX1025" fmla="*/ 8816879 w 11537287"/>
                <a:gd name="connsiteY1025" fmla="*/ 2065327 h 6072782"/>
                <a:gd name="connsiteX1026" fmla="*/ 8761885 w 11537287"/>
                <a:gd name="connsiteY1026" fmla="*/ 2026812 h 6072782"/>
                <a:gd name="connsiteX1027" fmla="*/ 8761885 w 11537287"/>
                <a:gd name="connsiteY1027" fmla="*/ 1989438 h 6072782"/>
                <a:gd name="connsiteX1028" fmla="*/ 8737786 w 11537287"/>
                <a:gd name="connsiteY1028" fmla="*/ 1963085 h 6072782"/>
                <a:gd name="connsiteX1029" fmla="*/ 8737786 w 11537287"/>
                <a:gd name="connsiteY1029" fmla="*/ 1944589 h 6072782"/>
                <a:gd name="connsiteX1030" fmla="*/ 8761885 w 11537287"/>
                <a:gd name="connsiteY1030" fmla="*/ 1917729 h 6072782"/>
                <a:gd name="connsiteX1031" fmla="*/ 8761885 w 11537287"/>
                <a:gd name="connsiteY1031" fmla="*/ 1881368 h 6072782"/>
                <a:gd name="connsiteX1032" fmla="*/ 8816879 w 11537287"/>
                <a:gd name="connsiteY1032" fmla="*/ 1842347 h 6072782"/>
                <a:gd name="connsiteX1033" fmla="*/ 2766419 w 11537287"/>
                <a:gd name="connsiteY1033" fmla="*/ 1842347 h 6072782"/>
                <a:gd name="connsiteX1034" fmla="*/ 2821104 w 11537287"/>
                <a:gd name="connsiteY1034" fmla="*/ 1881368 h 6072782"/>
                <a:gd name="connsiteX1035" fmla="*/ 2821104 w 11537287"/>
                <a:gd name="connsiteY1035" fmla="*/ 1917729 h 6072782"/>
                <a:gd name="connsiteX1036" fmla="*/ 2845049 w 11537287"/>
                <a:gd name="connsiteY1036" fmla="*/ 1944589 h 6072782"/>
                <a:gd name="connsiteX1037" fmla="*/ 2845049 w 11537287"/>
                <a:gd name="connsiteY1037" fmla="*/ 1963085 h 6072782"/>
                <a:gd name="connsiteX1038" fmla="*/ 2821104 w 11537287"/>
                <a:gd name="connsiteY1038" fmla="*/ 1989438 h 6072782"/>
                <a:gd name="connsiteX1039" fmla="*/ 2821104 w 11537287"/>
                <a:gd name="connsiteY1039" fmla="*/ 2026812 h 6072782"/>
                <a:gd name="connsiteX1040" fmla="*/ 2766419 w 11537287"/>
                <a:gd name="connsiteY1040" fmla="*/ 2065327 h 6072782"/>
                <a:gd name="connsiteX1041" fmla="*/ 2766419 w 11537287"/>
                <a:gd name="connsiteY1041" fmla="*/ 2045816 h 6072782"/>
                <a:gd name="connsiteX1042" fmla="*/ 2785497 w 11537287"/>
                <a:gd name="connsiteY1042" fmla="*/ 2039735 h 6072782"/>
                <a:gd name="connsiteX1043" fmla="*/ 2791136 w 11537287"/>
                <a:gd name="connsiteY1043" fmla="*/ 2020478 h 6072782"/>
                <a:gd name="connsiteX1044" fmla="*/ 2791136 w 11537287"/>
                <a:gd name="connsiteY1044" fmla="*/ 1985130 h 6072782"/>
                <a:gd name="connsiteX1045" fmla="*/ 2821568 w 11537287"/>
                <a:gd name="connsiteY1045" fmla="*/ 1953837 h 6072782"/>
                <a:gd name="connsiteX1046" fmla="*/ 2821568 w 11537287"/>
                <a:gd name="connsiteY1046" fmla="*/ 1953457 h 6072782"/>
                <a:gd name="connsiteX1047" fmla="*/ 2791136 w 11537287"/>
                <a:gd name="connsiteY1047" fmla="*/ 1921910 h 6072782"/>
                <a:gd name="connsiteX1048" fmla="*/ 2791136 w 11537287"/>
                <a:gd name="connsiteY1048" fmla="*/ 1886183 h 6072782"/>
                <a:gd name="connsiteX1049" fmla="*/ 2766419 w 11537287"/>
                <a:gd name="connsiteY1049" fmla="*/ 1861985 h 6072782"/>
                <a:gd name="connsiteX1050" fmla="*/ 2745100 w 11537287"/>
                <a:gd name="connsiteY1050" fmla="*/ 1842347 h 6072782"/>
                <a:gd name="connsiteX1051" fmla="*/ 2745100 w 11537287"/>
                <a:gd name="connsiteY1051" fmla="*/ 1861985 h 6072782"/>
                <a:gd name="connsiteX1052" fmla="*/ 2720538 w 11537287"/>
                <a:gd name="connsiteY1052" fmla="*/ 1886183 h 6072782"/>
                <a:gd name="connsiteX1053" fmla="*/ 2720538 w 11537287"/>
                <a:gd name="connsiteY1053" fmla="*/ 1921910 h 6072782"/>
                <a:gd name="connsiteX1054" fmla="*/ 2689797 w 11537287"/>
                <a:gd name="connsiteY1054" fmla="*/ 1953457 h 6072782"/>
                <a:gd name="connsiteX1055" fmla="*/ 2689797 w 11537287"/>
                <a:gd name="connsiteY1055" fmla="*/ 1953837 h 6072782"/>
                <a:gd name="connsiteX1056" fmla="*/ 2720538 w 11537287"/>
                <a:gd name="connsiteY1056" fmla="*/ 1985130 h 6072782"/>
                <a:gd name="connsiteX1057" fmla="*/ 2720538 w 11537287"/>
                <a:gd name="connsiteY1057" fmla="*/ 2020478 h 6072782"/>
                <a:gd name="connsiteX1058" fmla="*/ 2726022 w 11537287"/>
                <a:gd name="connsiteY1058" fmla="*/ 2039798 h 6072782"/>
                <a:gd name="connsiteX1059" fmla="*/ 2745100 w 11537287"/>
                <a:gd name="connsiteY1059" fmla="*/ 2045816 h 6072782"/>
                <a:gd name="connsiteX1060" fmla="*/ 2745100 w 11537287"/>
                <a:gd name="connsiteY1060" fmla="*/ 2065327 h 6072782"/>
                <a:gd name="connsiteX1061" fmla="*/ 2690106 w 11537287"/>
                <a:gd name="connsiteY1061" fmla="*/ 2026812 h 6072782"/>
                <a:gd name="connsiteX1062" fmla="*/ 2690106 w 11537287"/>
                <a:gd name="connsiteY1062" fmla="*/ 1989438 h 6072782"/>
                <a:gd name="connsiteX1063" fmla="*/ 2666006 w 11537287"/>
                <a:gd name="connsiteY1063" fmla="*/ 1963085 h 6072782"/>
                <a:gd name="connsiteX1064" fmla="*/ 2666006 w 11537287"/>
                <a:gd name="connsiteY1064" fmla="*/ 1944589 h 6072782"/>
                <a:gd name="connsiteX1065" fmla="*/ 2690106 w 11537287"/>
                <a:gd name="connsiteY1065" fmla="*/ 1917729 h 6072782"/>
                <a:gd name="connsiteX1066" fmla="*/ 2690106 w 11537287"/>
                <a:gd name="connsiteY1066" fmla="*/ 1881368 h 6072782"/>
                <a:gd name="connsiteX1067" fmla="*/ 2745100 w 11537287"/>
                <a:gd name="connsiteY1067" fmla="*/ 1842347 h 6072782"/>
                <a:gd name="connsiteX1068" fmla="*/ 11472800 w 11537287"/>
                <a:gd name="connsiteY1068" fmla="*/ 1522002 h 6072782"/>
                <a:gd name="connsiteX1069" fmla="*/ 11517649 w 11537287"/>
                <a:gd name="connsiteY1069" fmla="*/ 1561024 h 6072782"/>
                <a:gd name="connsiteX1070" fmla="*/ 11517649 w 11537287"/>
                <a:gd name="connsiteY1070" fmla="*/ 1597384 h 6072782"/>
                <a:gd name="connsiteX1071" fmla="*/ 11537287 w 11537287"/>
                <a:gd name="connsiteY1071" fmla="*/ 1624244 h 6072782"/>
                <a:gd name="connsiteX1072" fmla="*/ 11537287 w 11537287"/>
                <a:gd name="connsiteY1072" fmla="*/ 1642740 h 6072782"/>
                <a:gd name="connsiteX1073" fmla="*/ 11517649 w 11537287"/>
                <a:gd name="connsiteY1073" fmla="*/ 1669093 h 6072782"/>
                <a:gd name="connsiteX1074" fmla="*/ 11517649 w 11537287"/>
                <a:gd name="connsiteY1074" fmla="*/ 1706468 h 6072782"/>
                <a:gd name="connsiteX1075" fmla="*/ 11472800 w 11537287"/>
                <a:gd name="connsiteY1075" fmla="*/ 1744982 h 6072782"/>
                <a:gd name="connsiteX1076" fmla="*/ 11472800 w 11537287"/>
                <a:gd name="connsiteY1076" fmla="*/ 1725471 h 6072782"/>
                <a:gd name="connsiteX1077" fmla="*/ 11488447 w 11537287"/>
                <a:gd name="connsiteY1077" fmla="*/ 1719390 h 6072782"/>
                <a:gd name="connsiteX1078" fmla="*/ 11493071 w 11537287"/>
                <a:gd name="connsiteY1078" fmla="*/ 1700133 h 6072782"/>
                <a:gd name="connsiteX1079" fmla="*/ 11493071 w 11537287"/>
                <a:gd name="connsiteY1079" fmla="*/ 1664785 h 6072782"/>
                <a:gd name="connsiteX1080" fmla="*/ 11518030 w 11537287"/>
                <a:gd name="connsiteY1080" fmla="*/ 1633492 h 6072782"/>
                <a:gd name="connsiteX1081" fmla="*/ 11518030 w 11537287"/>
                <a:gd name="connsiteY1081" fmla="*/ 1633112 h 6072782"/>
                <a:gd name="connsiteX1082" fmla="*/ 11493071 w 11537287"/>
                <a:gd name="connsiteY1082" fmla="*/ 1601565 h 6072782"/>
                <a:gd name="connsiteX1083" fmla="*/ 11493071 w 11537287"/>
                <a:gd name="connsiteY1083" fmla="*/ 1565838 h 6072782"/>
                <a:gd name="connsiteX1084" fmla="*/ 11472800 w 11537287"/>
                <a:gd name="connsiteY1084" fmla="*/ 1541640 h 6072782"/>
                <a:gd name="connsiteX1085" fmla="*/ 11455316 w 11537287"/>
                <a:gd name="connsiteY1085" fmla="*/ 1522002 h 6072782"/>
                <a:gd name="connsiteX1086" fmla="*/ 11455316 w 11537287"/>
                <a:gd name="connsiteY1086" fmla="*/ 1541640 h 6072782"/>
                <a:gd name="connsiteX1087" fmla="*/ 11435172 w 11537287"/>
                <a:gd name="connsiteY1087" fmla="*/ 1565838 h 6072782"/>
                <a:gd name="connsiteX1088" fmla="*/ 11435172 w 11537287"/>
                <a:gd name="connsiteY1088" fmla="*/ 1601565 h 6072782"/>
                <a:gd name="connsiteX1089" fmla="*/ 11409960 w 11537287"/>
                <a:gd name="connsiteY1089" fmla="*/ 1633112 h 6072782"/>
                <a:gd name="connsiteX1090" fmla="*/ 11409960 w 11537287"/>
                <a:gd name="connsiteY1090" fmla="*/ 1633492 h 6072782"/>
                <a:gd name="connsiteX1091" fmla="*/ 11435172 w 11537287"/>
                <a:gd name="connsiteY1091" fmla="*/ 1664785 h 6072782"/>
                <a:gd name="connsiteX1092" fmla="*/ 11435172 w 11537287"/>
                <a:gd name="connsiteY1092" fmla="*/ 1700133 h 6072782"/>
                <a:gd name="connsiteX1093" fmla="*/ 11439670 w 11537287"/>
                <a:gd name="connsiteY1093" fmla="*/ 1719453 h 6072782"/>
                <a:gd name="connsiteX1094" fmla="*/ 11455316 w 11537287"/>
                <a:gd name="connsiteY1094" fmla="*/ 1725471 h 6072782"/>
                <a:gd name="connsiteX1095" fmla="*/ 11455316 w 11537287"/>
                <a:gd name="connsiteY1095" fmla="*/ 1744982 h 6072782"/>
                <a:gd name="connsiteX1096" fmla="*/ 11410213 w 11537287"/>
                <a:gd name="connsiteY1096" fmla="*/ 1706468 h 6072782"/>
                <a:gd name="connsiteX1097" fmla="*/ 11410213 w 11537287"/>
                <a:gd name="connsiteY1097" fmla="*/ 1669093 h 6072782"/>
                <a:gd name="connsiteX1098" fmla="*/ 11390449 w 11537287"/>
                <a:gd name="connsiteY1098" fmla="*/ 1642740 h 6072782"/>
                <a:gd name="connsiteX1099" fmla="*/ 11390449 w 11537287"/>
                <a:gd name="connsiteY1099" fmla="*/ 1624244 h 6072782"/>
                <a:gd name="connsiteX1100" fmla="*/ 11410213 w 11537287"/>
                <a:gd name="connsiteY1100" fmla="*/ 1597384 h 6072782"/>
                <a:gd name="connsiteX1101" fmla="*/ 11410213 w 11537287"/>
                <a:gd name="connsiteY1101" fmla="*/ 1561024 h 6072782"/>
                <a:gd name="connsiteX1102" fmla="*/ 11455316 w 11537287"/>
                <a:gd name="connsiteY1102" fmla="*/ 1522002 h 6072782"/>
                <a:gd name="connsiteX1103" fmla="*/ 8115172 w 11537287"/>
                <a:gd name="connsiteY1103" fmla="*/ 1522002 h 6072782"/>
                <a:gd name="connsiteX1104" fmla="*/ 8160021 w 11537287"/>
                <a:gd name="connsiteY1104" fmla="*/ 1561024 h 6072782"/>
                <a:gd name="connsiteX1105" fmla="*/ 8160021 w 11537287"/>
                <a:gd name="connsiteY1105" fmla="*/ 1597384 h 6072782"/>
                <a:gd name="connsiteX1106" fmla="*/ 8179659 w 11537287"/>
                <a:gd name="connsiteY1106" fmla="*/ 1624244 h 6072782"/>
                <a:gd name="connsiteX1107" fmla="*/ 8179659 w 11537287"/>
                <a:gd name="connsiteY1107" fmla="*/ 1642741 h 6072782"/>
                <a:gd name="connsiteX1108" fmla="*/ 8160021 w 11537287"/>
                <a:gd name="connsiteY1108" fmla="*/ 1669093 h 6072782"/>
                <a:gd name="connsiteX1109" fmla="*/ 8160021 w 11537287"/>
                <a:gd name="connsiteY1109" fmla="*/ 1706468 h 6072782"/>
                <a:gd name="connsiteX1110" fmla="*/ 8115172 w 11537287"/>
                <a:gd name="connsiteY1110" fmla="*/ 1744982 h 6072782"/>
                <a:gd name="connsiteX1111" fmla="*/ 8115172 w 11537287"/>
                <a:gd name="connsiteY1111" fmla="*/ 1725471 h 6072782"/>
                <a:gd name="connsiteX1112" fmla="*/ 8130819 w 11537287"/>
                <a:gd name="connsiteY1112" fmla="*/ 1719390 h 6072782"/>
                <a:gd name="connsiteX1113" fmla="*/ 8135443 w 11537287"/>
                <a:gd name="connsiteY1113" fmla="*/ 1700133 h 6072782"/>
                <a:gd name="connsiteX1114" fmla="*/ 8135443 w 11537287"/>
                <a:gd name="connsiteY1114" fmla="*/ 1664786 h 6072782"/>
                <a:gd name="connsiteX1115" fmla="*/ 8160402 w 11537287"/>
                <a:gd name="connsiteY1115" fmla="*/ 1633492 h 6072782"/>
                <a:gd name="connsiteX1116" fmla="*/ 8160402 w 11537287"/>
                <a:gd name="connsiteY1116" fmla="*/ 1633112 h 6072782"/>
                <a:gd name="connsiteX1117" fmla="*/ 8135443 w 11537287"/>
                <a:gd name="connsiteY1117" fmla="*/ 1601565 h 6072782"/>
                <a:gd name="connsiteX1118" fmla="*/ 8135443 w 11537287"/>
                <a:gd name="connsiteY1118" fmla="*/ 1565838 h 6072782"/>
                <a:gd name="connsiteX1119" fmla="*/ 8115172 w 11537287"/>
                <a:gd name="connsiteY1119" fmla="*/ 1541640 h 6072782"/>
                <a:gd name="connsiteX1120" fmla="*/ 8097688 w 11537287"/>
                <a:gd name="connsiteY1120" fmla="*/ 1522002 h 6072782"/>
                <a:gd name="connsiteX1121" fmla="*/ 8097688 w 11537287"/>
                <a:gd name="connsiteY1121" fmla="*/ 1541640 h 6072782"/>
                <a:gd name="connsiteX1122" fmla="*/ 8077544 w 11537287"/>
                <a:gd name="connsiteY1122" fmla="*/ 1565838 h 6072782"/>
                <a:gd name="connsiteX1123" fmla="*/ 8077544 w 11537287"/>
                <a:gd name="connsiteY1123" fmla="*/ 1601565 h 6072782"/>
                <a:gd name="connsiteX1124" fmla="*/ 8052332 w 11537287"/>
                <a:gd name="connsiteY1124" fmla="*/ 1633112 h 6072782"/>
                <a:gd name="connsiteX1125" fmla="*/ 8052332 w 11537287"/>
                <a:gd name="connsiteY1125" fmla="*/ 1633492 h 6072782"/>
                <a:gd name="connsiteX1126" fmla="*/ 8077544 w 11537287"/>
                <a:gd name="connsiteY1126" fmla="*/ 1664786 h 6072782"/>
                <a:gd name="connsiteX1127" fmla="*/ 8077544 w 11537287"/>
                <a:gd name="connsiteY1127" fmla="*/ 1700133 h 6072782"/>
                <a:gd name="connsiteX1128" fmla="*/ 8082042 w 11537287"/>
                <a:gd name="connsiteY1128" fmla="*/ 1719453 h 6072782"/>
                <a:gd name="connsiteX1129" fmla="*/ 8097688 w 11537287"/>
                <a:gd name="connsiteY1129" fmla="*/ 1725471 h 6072782"/>
                <a:gd name="connsiteX1130" fmla="*/ 8097688 w 11537287"/>
                <a:gd name="connsiteY1130" fmla="*/ 1744982 h 6072782"/>
                <a:gd name="connsiteX1131" fmla="*/ 8052586 w 11537287"/>
                <a:gd name="connsiteY1131" fmla="*/ 1706468 h 6072782"/>
                <a:gd name="connsiteX1132" fmla="*/ 8052586 w 11537287"/>
                <a:gd name="connsiteY1132" fmla="*/ 1669093 h 6072782"/>
                <a:gd name="connsiteX1133" fmla="*/ 8032821 w 11537287"/>
                <a:gd name="connsiteY1133" fmla="*/ 1642741 h 6072782"/>
                <a:gd name="connsiteX1134" fmla="*/ 8032821 w 11537287"/>
                <a:gd name="connsiteY1134" fmla="*/ 1624244 h 6072782"/>
                <a:gd name="connsiteX1135" fmla="*/ 8052586 w 11537287"/>
                <a:gd name="connsiteY1135" fmla="*/ 1597384 h 6072782"/>
                <a:gd name="connsiteX1136" fmla="*/ 8052586 w 11537287"/>
                <a:gd name="connsiteY1136" fmla="*/ 1561024 h 6072782"/>
                <a:gd name="connsiteX1137" fmla="*/ 8097688 w 11537287"/>
                <a:gd name="connsiteY1137" fmla="*/ 1522002 h 6072782"/>
                <a:gd name="connsiteX1138" fmla="*/ 5416747 w 11537287"/>
                <a:gd name="connsiteY1138" fmla="*/ 1522002 h 6072782"/>
                <a:gd name="connsiteX1139" fmla="*/ 5461597 w 11537287"/>
                <a:gd name="connsiteY1139" fmla="*/ 1561024 h 6072782"/>
                <a:gd name="connsiteX1140" fmla="*/ 5461597 w 11537287"/>
                <a:gd name="connsiteY1140" fmla="*/ 1597384 h 6072782"/>
                <a:gd name="connsiteX1141" fmla="*/ 5481234 w 11537287"/>
                <a:gd name="connsiteY1141" fmla="*/ 1624244 h 6072782"/>
                <a:gd name="connsiteX1142" fmla="*/ 5481234 w 11537287"/>
                <a:gd name="connsiteY1142" fmla="*/ 1642740 h 6072782"/>
                <a:gd name="connsiteX1143" fmla="*/ 5461597 w 11537287"/>
                <a:gd name="connsiteY1143" fmla="*/ 1669093 h 6072782"/>
                <a:gd name="connsiteX1144" fmla="*/ 5461597 w 11537287"/>
                <a:gd name="connsiteY1144" fmla="*/ 1706468 h 6072782"/>
                <a:gd name="connsiteX1145" fmla="*/ 5416747 w 11537287"/>
                <a:gd name="connsiteY1145" fmla="*/ 1744982 h 6072782"/>
                <a:gd name="connsiteX1146" fmla="*/ 5416747 w 11537287"/>
                <a:gd name="connsiteY1146" fmla="*/ 1725471 h 6072782"/>
                <a:gd name="connsiteX1147" fmla="*/ 5432394 w 11537287"/>
                <a:gd name="connsiteY1147" fmla="*/ 1719390 h 6072782"/>
                <a:gd name="connsiteX1148" fmla="*/ 5437018 w 11537287"/>
                <a:gd name="connsiteY1148" fmla="*/ 1700133 h 6072782"/>
                <a:gd name="connsiteX1149" fmla="*/ 5437018 w 11537287"/>
                <a:gd name="connsiteY1149" fmla="*/ 1664785 h 6072782"/>
                <a:gd name="connsiteX1150" fmla="*/ 5461977 w 11537287"/>
                <a:gd name="connsiteY1150" fmla="*/ 1633492 h 6072782"/>
                <a:gd name="connsiteX1151" fmla="*/ 5461977 w 11537287"/>
                <a:gd name="connsiteY1151" fmla="*/ 1633112 h 6072782"/>
                <a:gd name="connsiteX1152" fmla="*/ 5437018 w 11537287"/>
                <a:gd name="connsiteY1152" fmla="*/ 1601565 h 6072782"/>
                <a:gd name="connsiteX1153" fmla="*/ 5437018 w 11537287"/>
                <a:gd name="connsiteY1153" fmla="*/ 1565838 h 6072782"/>
                <a:gd name="connsiteX1154" fmla="*/ 5416747 w 11537287"/>
                <a:gd name="connsiteY1154" fmla="*/ 1541640 h 6072782"/>
                <a:gd name="connsiteX1155" fmla="*/ 5399263 w 11537287"/>
                <a:gd name="connsiteY1155" fmla="*/ 1522002 h 6072782"/>
                <a:gd name="connsiteX1156" fmla="*/ 5399263 w 11537287"/>
                <a:gd name="connsiteY1156" fmla="*/ 1541640 h 6072782"/>
                <a:gd name="connsiteX1157" fmla="*/ 5379119 w 11537287"/>
                <a:gd name="connsiteY1157" fmla="*/ 1565838 h 6072782"/>
                <a:gd name="connsiteX1158" fmla="*/ 5379119 w 11537287"/>
                <a:gd name="connsiteY1158" fmla="*/ 1601565 h 6072782"/>
                <a:gd name="connsiteX1159" fmla="*/ 5353907 w 11537287"/>
                <a:gd name="connsiteY1159" fmla="*/ 1633112 h 6072782"/>
                <a:gd name="connsiteX1160" fmla="*/ 5353907 w 11537287"/>
                <a:gd name="connsiteY1160" fmla="*/ 1633492 h 6072782"/>
                <a:gd name="connsiteX1161" fmla="*/ 5379119 w 11537287"/>
                <a:gd name="connsiteY1161" fmla="*/ 1664785 h 6072782"/>
                <a:gd name="connsiteX1162" fmla="*/ 5379119 w 11537287"/>
                <a:gd name="connsiteY1162" fmla="*/ 1700133 h 6072782"/>
                <a:gd name="connsiteX1163" fmla="*/ 5383617 w 11537287"/>
                <a:gd name="connsiteY1163" fmla="*/ 1719453 h 6072782"/>
                <a:gd name="connsiteX1164" fmla="*/ 5399263 w 11537287"/>
                <a:gd name="connsiteY1164" fmla="*/ 1725471 h 6072782"/>
                <a:gd name="connsiteX1165" fmla="*/ 5399263 w 11537287"/>
                <a:gd name="connsiteY1165" fmla="*/ 1744982 h 6072782"/>
                <a:gd name="connsiteX1166" fmla="*/ 5354161 w 11537287"/>
                <a:gd name="connsiteY1166" fmla="*/ 1706468 h 6072782"/>
                <a:gd name="connsiteX1167" fmla="*/ 5354161 w 11537287"/>
                <a:gd name="connsiteY1167" fmla="*/ 1669093 h 6072782"/>
                <a:gd name="connsiteX1168" fmla="*/ 5334396 w 11537287"/>
                <a:gd name="connsiteY1168" fmla="*/ 1642740 h 6072782"/>
                <a:gd name="connsiteX1169" fmla="*/ 5334396 w 11537287"/>
                <a:gd name="connsiteY1169" fmla="*/ 1624244 h 6072782"/>
                <a:gd name="connsiteX1170" fmla="*/ 5354161 w 11537287"/>
                <a:gd name="connsiteY1170" fmla="*/ 1597384 h 6072782"/>
                <a:gd name="connsiteX1171" fmla="*/ 5354161 w 11537287"/>
                <a:gd name="connsiteY1171" fmla="*/ 1561024 h 6072782"/>
                <a:gd name="connsiteX1172" fmla="*/ 5399263 w 11537287"/>
                <a:gd name="connsiteY1172" fmla="*/ 1522002 h 6072782"/>
                <a:gd name="connsiteX1173" fmla="*/ 2059120 w 11537287"/>
                <a:gd name="connsiteY1173" fmla="*/ 1522002 h 6072782"/>
                <a:gd name="connsiteX1174" fmla="*/ 2103970 w 11537287"/>
                <a:gd name="connsiteY1174" fmla="*/ 1561024 h 6072782"/>
                <a:gd name="connsiteX1175" fmla="*/ 2103970 w 11537287"/>
                <a:gd name="connsiteY1175" fmla="*/ 1597384 h 6072782"/>
                <a:gd name="connsiteX1176" fmla="*/ 2123607 w 11537287"/>
                <a:gd name="connsiteY1176" fmla="*/ 1624244 h 6072782"/>
                <a:gd name="connsiteX1177" fmla="*/ 2123607 w 11537287"/>
                <a:gd name="connsiteY1177" fmla="*/ 1642740 h 6072782"/>
                <a:gd name="connsiteX1178" fmla="*/ 2103970 w 11537287"/>
                <a:gd name="connsiteY1178" fmla="*/ 1669093 h 6072782"/>
                <a:gd name="connsiteX1179" fmla="*/ 2103970 w 11537287"/>
                <a:gd name="connsiteY1179" fmla="*/ 1706468 h 6072782"/>
                <a:gd name="connsiteX1180" fmla="*/ 2059120 w 11537287"/>
                <a:gd name="connsiteY1180" fmla="*/ 1744982 h 6072782"/>
                <a:gd name="connsiteX1181" fmla="*/ 2059120 w 11537287"/>
                <a:gd name="connsiteY1181" fmla="*/ 1725471 h 6072782"/>
                <a:gd name="connsiteX1182" fmla="*/ 2074767 w 11537287"/>
                <a:gd name="connsiteY1182" fmla="*/ 1719390 h 6072782"/>
                <a:gd name="connsiteX1183" fmla="*/ 2079391 w 11537287"/>
                <a:gd name="connsiteY1183" fmla="*/ 1700133 h 6072782"/>
                <a:gd name="connsiteX1184" fmla="*/ 2079391 w 11537287"/>
                <a:gd name="connsiteY1184" fmla="*/ 1664785 h 6072782"/>
                <a:gd name="connsiteX1185" fmla="*/ 2104351 w 11537287"/>
                <a:gd name="connsiteY1185" fmla="*/ 1633492 h 6072782"/>
                <a:gd name="connsiteX1186" fmla="*/ 2104351 w 11537287"/>
                <a:gd name="connsiteY1186" fmla="*/ 1633112 h 6072782"/>
                <a:gd name="connsiteX1187" fmla="*/ 2079391 w 11537287"/>
                <a:gd name="connsiteY1187" fmla="*/ 1601565 h 6072782"/>
                <a:gd name="connsiteX1188" fmla="*/ 2079391 w 11537287"/>
                <a:gd name="connsiteY1188" fmla="*/ 1565838 h 6072782"/>
                <a:gd name="connsiteX1189" fmla="*/ 2059120 w 11537287"/>
                <a:gd name="connsiteY1189" fmla="*/ 1541640 h 6072782"/>
                <a:gd name="connsiteX1190" fmla="*/ 2041636 w 11537287"/>
                <a:gd name="connsiteY1190" fmla="*/ 1522002 h 6072782"/>
                <a:gd name="connsiteX1191" fmla="*/ 2041636 w 11537287"/>
                <a:gd name="connsiteY1191" fmla="*/ 1541640 h 6072782"/>
                <a:gd name="connsiteX1192" fmla="*/ 2021492 w 11537287"/>
                <a:gd name="connsiteY1192" fmla="*/ 1565838 h 6072782"/>
                <a:gd name="connsiteX1193" fmla="*/ 2021492 w 11537287"/>
                <a:gd name="connsiteY1193" fmla="*/ 1601565 h 6072782"/>
                <a:gd name="connsiteX1194" fmla="*/ 1996279 w 11537287"/>
                <a:gd name="connsiteY1194" fmla="*/ 1633112 h 6072782"/>
                <a:gd name="connsiteX1195" fmla="*/ 1996279 w 11537287"/>
                <a:gd name="connsiteY1195" fmla="*/ 1633492 h 6072782"/>
                <a:gd name="connsiteX1196" fmla="*/ 2021492 w 11537287"/>
                <a:gd name="connsiteY1196" fmla="*/ 1664785 h 6072782"/>
                <a:gd name="connsiteX1197" fmla="*/ 2021492 w 11537287"/>
                <a:gd name="connsiteY1197" fmla="*/ 1700133 h 6072782"/>
                <a:gd name="connsiteX1198" fmla="*/ 2025990 w 11537287"/>
                <a:gd name="connsiteY1198" fmla="*/ 1719453 h 6072782"/>
                <a:gd name="connsiteX1199" fmla="*/ 2041636 w 11537287"/>
                <a:gd name="connsiteY1199" fmla="*/ 1725471 h 6072782"/>
                <a:gd name="connsiteX1200" fmla="*/ 2041636 w 11537287"/>
                <a:gd name="connsiteY1200" fmla="*/ 1744982 h 6072782"/>
                <a:gd name="connsiteX1201" fmla="*/ 1996534 w 11537287"/>
                <a:gd name="connsiteY1201" fmla="*/ 1706468 h 6072782"/>
                <a:gd name="connsiteX1202" fmla="*/ 1996534 w 11537287"/>
                <a:gd name="connsiteY1202" fmla="*/ 1669093 h 6072782"/>
                <a:gd name="connsiteX1203" fmla="*/ 1976769 w 11537287"/>
                <a:gd name="connsiteY1203" fmla="*/ 1642740 h 6072782"/>
                <a:gd name="connsiteX1204" fmla="*/ 1976769 w 11537287"/>
                <a:gd name="connsiteY1204" fmla="*/ 1624244 h 6072782"/>
                <a:gd name="connsiteX1205" fmla="*/ 1996534 w 11537287"/>
                <a:gd name="connsiteY1205" fmla="*/ 1597384 h 6072782"/>
                <a:gd name="connsiteX1206" fmla="*/ 1996534 w 11537287"/>
                <a:gd name="connsiteY1206" fmla="*/ 1561024 h 6072782"/>
                <a:gd name="connsiteX1207" fmla="*/ 2041636 w 11537287"/>
                <a:gd name="connsiteY1207" fmla="*/ 1522002 h 6072782"/>
                <a:gd name="connsiteX1208" fmla="*/ 8329710 w 11537287"/>
                <a:gd name="connsiteY1208" fmla="*/ 1297433 h 6072782"/>
                <a:gd name="connsiteX1209" fmla="*/ 8319248 w 11537287"/>
                <a:gd name="connsiteY1209" fmla="*/ 1345562 h 6072782"/>
                <a:gd name="connsiteX1210" fmla="*/ 8361971 w 11537287"/>
                <a:gd name="connsiteY1210" fmla="*/ 1345562 h 6072782"/>
                <a:gd name="connsiteX1211" fmla="*/ 8372259 w 11537287"/>
                <a:gd name="connsiteY1211" fmla="*/ 1297433 h 6072782"/>
                <a:gd name="connsiteX1212" fmla="*/ 2266464 w 11537287"/>
                <a:gd name="connsiteY1212" fmla="*/ 1297433 h 6072782"/>
                <a:gd name="connsiteX1213" fmla="*/ 2256002 w 11537287"/>
                <a:gd name="connsiteY1213" fmla="*/ 1345562 h 6072782"/>
                <a:gd name="connsiteX1214" fmla="*/ 2298725 w 11537287"/>
                <a:gd name="connsiteY1214" fmla="*/ 1345562 h 6072782"/>
                <a:gd name="connsiteX1215" fmla="*/ 2309012 w 11537287"/>
                <a:gd name="connsiteY1215" fmla="*/ 1297433 h 6072782"/>
                <a:gd name="connsiteX1216" fmla="*/ 3671901 w 11537287"/>
                <a:gd name="connsiteY1216" fmla="*/ 1208699 h 6072782"/>
                <a:gd name="connsiteX1217" fmla="*/ 3716748 w 11537287"/>
                <a:gd name="connsiteY1217" fmla="*/ 1247720 h 6072782"/>
                <a:gd name="connsiteX1218" fmla="*/ 3716748 w 11537287"/>
                <a:gd name="connsiteY1218" fmla="*/ 1284081 h 6072782"/>
                <a:gd name="connsiteX1219" fmla="*/ 3736386 w 11537287"/>
                <a:gd name="connsiteY1219" fmla="*/ 1310941 h 6072782"/>
                <a:gd name="connsiteX1220" fmla="*/ 3736386 w 11537287"/>
                <a:gd name="connsiteY1220" fmla="*/ 1329437 h 6072782"/>
                <a:gd name="connsiteX1221" fmla="*/ 3716748 w 11537287"/>
                <a:gd name="connsiteY1221" fmla="*/ 1355790 h 6072782"/>
                <a:gd name="connsiteX1222" fmla="*/ 3716748 w 11537287"/>
                <a:gd name="connsiteY1222" fmla="*/ 1393165 h 6072782"/>
                <a:gd name="connsiteX1223" fmla="*/ 3671901 w 11537287"/>
                <a:gd name="connsiteY1223" fmla="*/ 1431679 h 6072782"/>
                <a:gd name="connsiteX1224" fmla="*/ 3671901 w 11537287"/>
                <a:gd name="connsiteY1224" fmla="*/ 1412168 h 6072782"/>
                <a:gd name="connsiteX1225" fmla="*/ 3687546 w 11537287"/>
                <a:gd name="connsiteY1225" fmla="*/ 1406087 h 6072782"/>
                <a:gd name="connsiteX1226" fmla="*/ 3692171 w 11537287"/>
                <a:gd name="connsiteY1226" fmla="*/ 1386830 h 6072782"/>
                <a:gd name="connsiteX1227" fmla="*/ 3692171 w 11537287"/>
                <a:gd name="connsiteY1227" fmla="*/ 1351482 h 6072782"/>
                <a:gd name="connsiteX1228" fmla="*/ 3717130 w 11537287"/>
                <a:gd name="connsiteY1228" fmla="*/ 1320189 h 6072782"/>
                <a:gd name="connsiteX1229" fmla="*/ 3717130 w 11537287"/>
                <a:gd name="connsiteY1229" fmla="*/ 1319809 h 6072782"/>
                <a:gd name="connsiteX1230" fmla="*/ 3692171 w 11537287"/>
                <a:gd name="connsiteY1230" fmla="*/ 1288262 h 6072782"/>
                <a:gd name="connsiteX1231" fmla="*/ 3692171 w 11537287"/>
                <a:gd name="connsiteY1231" fmla="*/ 1252535 h 6072782"/>
                <a:gd name="connsiteX1232" fmla="*/ 3671901 w 11537287"/>
                <a:gd name="connsiteY1232" fmla="*/ 1228337 h 6072782"/>
                <a:gd name="connsiteX1233" fmla="*/ 3654416 w 11537287"/>
                <a:gd name="connsiteY1233" fmla="*/ 1208699 h 6072782"/>
                <a:gd name="connsiteX1234" fmla="*/ 3654416 w 11537287"/>
                <a:gd name="connsiteY1234" fmla="*/ 1228337 h 6072782"/>
                <a:gd name="connsiteX1235" fmla="*/ 3634271 w 11537287"/>
                <a:gd name="connsiteY1235" fmla="*/ 1252535 h 6072782"/>
                <a:gd name="connsiteX1236" fmla="*/ 3634271 w 11537287"/>
                <a:gd name="connsiteY1236" fmla="*/ 1288262 h 6072782"/>
                <a:gd name="connsiteX1237" fmla="*/ 3609059 w 11537287"/>
                <a:gd name="connsiteY1237" fmla="*/ 1319809 h 6072782"/>
                <a:gd name="connsiteX1238" fmla="*/ 3609059 w 11537287"/>
                <a:gd name="connsiteY1238" fmla="*/ 1320189 h 6072782"/>
                <a:gd name="connsiteX1239" fmla="*/ 3634271 w 11537287"/>
                <a:gd name="connsiteY1239" fmla="*/ 1351482 h 6072782"/>
                <a:gd name="connsiteX1240" fmla="*/ 3634271 w 11537287"/>
                <a:gd name="connsiteY1240" fmla="*/ 1386830 h 6072782"/>
                <a:gd name="connsiteX1241" fmla="*/ 3638770 w 11537287"/>
                <a:gd name="connsiteY1241" fmla="*/ 1406150 h 6072782"/>
                <a:gd name="connsiteX1242" fmla="*/ 3654416 w 11537287"/>
                <a:gd name="connsiteY1242" fmla="*/ 1412168 h 6072782"/>
                <a:gd name="connsiteX1243" fmla="*/ 3654416 w 11537287"/>
                <a:gd name="connsiteY1243" fmla="*/ 1431679 h 6072782"/>
                <a:gd name="connsiteX1244" fmla="*/ 3609313 w 11537287"/>
                <a:gd name="connsiteY1244" fmla="*/ 1393165 h 6072782"/>
                <a:gd name="connsiteX1245" fmla="*/ 3609313 w 11537287"/>
                <a:gd name="connsiteY1245" fmla="*/ 1355790 h 6072782"/>
                <a:gd name="connsiteX1246" fmla="*/ 3589548 w 11537287"/>
                <a:gd name="connsiteY1246" fmla="*/ 1329437 h 6072782"/>
                <a:gd name="connsiteX1247" fmla="*/ 3589548 w 11537287"/>
                <a:gd name="connsiteY1247" fmla="*/ 1310941 h 6072782"/>
                <a:gd name="connsiteX1248" fmla="*/ 3609313 w 11537287"/>
                <a:gd name="connsiteY1248" fmla="*/ 1284081 h 6072782"/>
                <a:gd name="connsiteX1249" fmla="*/ 3609313 w 11537287"/>
                <a:gd name="connsiteY1249" fmla="*/ 1247720 h 6072782"/>
                <a:gd name="connsiteX1250" fmla="*/ 3654416 w 11537287"/>
                <a:gd name="connsiteY1250" fmla="*/ 1208699 h 6072782"/>
                <a:gd name="connsiteX1251" fmla="*/ 8320643 w 11537287"/>
                <a:gd name="connsiteY1251" fmla="*/ 1205882 h 6072782"/>
                <a:gd name="connsiteX1252" fmla="*/ 8348718 w 11537287"/>
                <a:gd name="connsiteY1252" fmla="*/ 1205882 h 6072782"/>
                <a:gd name="connsiteX1253" fmla="*/ 8334942 w 11537287"/>
                <a:gd name="connsiteY1253" fmla="*/ 1273019 h 6072782"/>
                <a:gd name="connsiteX1254" fmla="*/ 8377142 w 11537287"/>
                <a:gd name="connsiteY1254" fmla="*/ 1273019 h 6072782"/>
                <a:gd name="connsiteX1255" fmla="*/ 8391441 w 11537287"/>
                <a:gd name="connsiteY1255" fmla="*/ 1205882 h 6072782"/>
                <a:gd name="connsiteX1256" fmla="*/ 8418994 w 11537287"/>
                <a:gd name="connsiteY1256" fmla="*/ 1205882 h 6072782"/>
                <a:gd name="connsiteX1257" fmla="*/ 8405043 w 11537287"/>
                <a:gd name="connsiteY1257" fmla="*/ 1273019 h 6072782"/>
                <a:gd name="connsiteX1258" fmla="*/ 8444802 w 11537287"/>
                <a:gd name="connsiteY1258" fmla="*/ 1273019 h 6072782"/>
                <a:gd name="connsiteX1259" fmla="*/ 8439396 w 11537287"/>
                <a:gd name="connsiteY1259" fmla="*/ 1297433 h 6072782"/>
                <a:gd name="connsiteX1260" fmla="*/ 8399812 w 11537287"/>
                <a:gd name="connsiteY1260" fmla="*/ 1297433 h 6072782"/>
                <a:gd name="connsiteX1261" fmla="*/ 8389698 w 11537287"/>
                <a:gd name="connsiteY1261" fmla="*/ 1345562 h 6072782"/>
                <a:gd name="connsiteX1262" fmla="*/ 8432944 w 11537287"/>
                <a:gd name="connsiteY1262" fmla="*/ 1345562 h 6072782"/>
                <a:gd name="connsiteX1263" fmla="*/ 8426840 w 11537287"/>
                <a:gd name="connsiteY1263" fmla="*/ 1369975 h 6072782"/>
                <a:gd name="connsiteX1264" fmla="*/ 8384641 w 11537287"/>
                <a:gd name="connsiteY1264" fmla="*/ 1369975 h 6072782"/>
                <a:gd name="connsiteX1265" fmla="*/ 8370341 w 11537287"/>
                <a:gd name="connsiteY1265" fmla="*/ 1434496 h 6072782"/>
                <a:gd name="connsiteX1266" fmla="*/ 8342614 w 11537287"/>
                <a:gd name="connsiteY1266" fmla="*/ 1434496 h 6072782"/>
                <a:gd name="connsiteX1267" fmla="*/ 8356565 w 11537287"/>
                <a:gd name="connsiteY1267" fmla="*/ 1369975 h 6072782"/>
                <a:gd name="connsiteX1268" fmla="*/ 8314365 w 11537287"/>
                <a:gd name="connsiteY1268" fmla="*/ 1369975 h 6072782"/>
                <a:gd name="connsiteX1269" fmla="*/ 8300763 w 11537287"/>
                <a:gd name="connsiteY1269" fmla="*/ 1434496 h 6072782"/>
                <a:gd name="connsiteX1270" fmla="*/ 8273037 w 11537287"/>
                <a:gd name="connsiteY1270" fmla="*/ 1434496 h 6072782"/>
                <a:gd name="connsiteX1271" fmla="*/ 8286638 w 11537287"/>
                <a:gd name="connsiteY1271" fmla="*/ 1369975 h 6072782"/>
                <a:gd name="connsiteX1272" fmla="*/ 8246705 w 11537287"/>
                <a:gd name="connsiteY1272" fmla="*/ 1369975 h 6072782"/>
                <a:gd name="connsiteX1273" fmla="*/ 8251587 w 11537287"/>
                <a:gd name="connsiteY1273" fmla="*/ 1345562 h 6072782"/>
                <a:gd name="connsiteX1274" fmla="*/ 8292044 w 11537287"/>
                <a:gd name="connsiteY1274" fmla="*/ 1345562 h 6072782"/>
                <a:gd name="connsiteX1275" fmla="*/ 8301635 w 11537287"/>
                <a:gd name="connsiteY1275" fmla="*/ 1297433 h 6072782"/>
                <a:gd name="connsiteX1276" fmla="*/ 8259086 w 11537287"/>
                <a:gd name="connsiteY1276" fmla="*/ 1297433 h 6072782"/>
                <a:gd name="connsiteX1277" fmla="*/ 8264143 w 11537287"/>
                <a:gd name="connsiteY1277" fmla="*/ 1273019 h 6072782"/>
                <a:gd name="connsiteX1278" fmla="*/ 8306692 w 11537287"/>
                <a:gd name="connsiteY1278" fmla="*/ 1273019 h 6072782"/>
                <a:gd name="connsiteX1279" fmla="*/ 2257398 w 11537287"/>
                <a:gd name="connsiteY1279" fmla="*/ 1205882 h 6072782"/>
                <a:gd name="connsiteX1280" fmla="*/ 2285472 w 11537287"/>
                <a:gd name="connsiteY1280" fmla="*/ 1205882 h 6072782"/>
                <a:gd name="connsiteX1281" fmla="*/ 2271696 w 11537287"/>
                <a:gd name="connsiteY1281" fmla="*/ 1273019 h 6072782"/>
                <a:gd name="connsiteX1282" fmla="*/ 2313896 w 11537287"/>
                <a:gd name="connsiteY1282" fmla="*/ 1273019 h 6072782"/>
                <a:gd name="connsiteX1283" fmla="*/ 2328196 w 11537287"/>
                <a:gd name="connsiteY1283" fmla="*/ 1205882 h 6072782"/>
                <a:gd name="connsiteX1284" fmla="*/ 2355748 w 11537287"/>
                <a:gd name="connsiteY1284" fmla="*/ 1205882 h 6072782"/>
                <a:gd name="connsiteX1285" fmla="*/ 2341797 w 11537287"/>
                <a:gd name="connsiteY1285" fmla="*/ 1273019 h 6072782"/>
                <a:gd name="connsiteX1286" fmla="*/ 2381556 w 11537287"/>
                <a:gd name="connsiteY1286" fmla="*/ 1273019 h 6072782"/>
                <a:gd name="connsiteX1287" fmla="*/ 2376151 w 11537287"/>
                <a:gd name="connsiteY1287" fmla="*/ 1297433 h 6072782"/>
                <a:gd name="connsiteX1288" fmla="*/ 2336566 w 11537287"/>
                <a:gd name="connsiteY1288" fmla="*/ 1297433 h 6072782"/>
                <a:gd name="connsiteX1289" fmla="*/ 2326453 w 11537287"/>
                <a:gd name="connsiteY1289" fmla="*/ 1345562 h 6072782"/>
                <a:gd name="connsiteX1290" fmla="*/ 2369698 w 11537287"/>
                <a:gd name="connsiteY1290" fmla="*/ 1345562 h 6072782"/>
                <a:gd name="connsiteX1291" fmla="*/ 2363595 w 11537287"/>
                <a:gd name="connsiteY1291" fmla="*/ 1369975 h 6072782"/>
                <a:gd name="connsiteX1292" fmla="*/ 2321395 w 11537287"/>
                <a:gd name="connsiteY1292" fmla="*/ 1369975 h 6072782"/>
                <a:gd name="connsiteX1293" fmla="*/ 2307095 w 11537287"/>
                <a:gd name="connsiteY1293" fmla="*/ 1434496 h 6072782"/>
                <a:gd name="connsiteX1294" fmla="*/ 2279369 w 11537287"/>
                <a:gd name="connsiteY1294" fmla="*/ 1434496 h 6072782"/>
                <a:gd name="connsiteX1295" fmla="*/ 2293320 w 11537287"/>
                <a:gd name="connsiteY1295" fmla="*/ 1369975 h 6072782"/>
                <a:gd name="connsiteX1296" fmla="*/ 2251119 w 11537287"/>
                <a:gd name="connsiteY1296" fmla="*/ 1369975 h 6072782"/>
                <a:gd name="connsiteX1297" fmla="*/ 2237517 w 11537287"/>
                <a:gd name="connsiteY1297" fmla="*/ 1434496 h 6072782"/>
                <a:gd name="connsiteX1298" fmla="*/ 2209792 w 11537287"/>
                <a:gd name="connsiteY1298" fmla="*/ 1434496 h 6072782"/>
                <a:gd name="connsiteX1299" fmla="*/ 2223393 w 11537287"/>
                <a:gd name="connsiteY1299" fmla="*/ 1369975 h 6072782"/>
                <a:gd name="connsiteX1300" fmla="*/ 2183459 w 11537287"/>
                <a:gd name="connsiteY1300" fmla="*/ 1369975 h 6072782"/>
                <a:gd name="connsiteX1301" fmla="*/ 2188342 w 11537287"/>
                <a:gd name="connsiteY1301" fmla="*/ 1345562 h 6072782"/>
                <a:gd name="connsiteX1302" fmla="*/ 2228798 w 11537287"/>
                <a:gd name="connsiteY1302" fmla="*/ 1345562 h 6072782"/>
                <a:gd name="connsiteX1303" fmla="*/ 2238389 w 11537287"/>
                <a:gd name="connsiteY1303" fmla="*/ 1297433 h 6072782"/>
                <a:gd name="connsiteX1304" fmla="*/ 2195840 w 11537287"/>
                <a:gd name="connsiteY1304" fmla="*/ 1297433 h 6072782"/>
                <a:gd name="connsiteX1305" fmla="*/ 2200897 w 11537287"/>
                <a:gd name="connsiteY1305" fmla="*/ 1273019 h 6072782"/>
                <a:gd name="connsiteX1306" fmla="*/ 2243446 w 11537287"/>
                <a:gd name="connsiteY1306" fmla="*/ 1273019 h 6072782"/>
                <a:gd name="connsiteX1307" fmla="*/ 10889585 w 11537287"/>
                <a:gd name="connsiteY1307" fmla="*/ 911255 h 6072782"/>
                <a:gd name="connsiteX1308" fmla="*/ 10944271 w 11537287"/>
                <a:gd name="connsiteY1308" fmla="*/ 950276 h 6072782"/>
                <a:gd name="connsiteX1309" fmla="*/ 10944271 w 11537287"/>
                <a:gd name="connsiteY1309" fmla="*/ 986637 h 6072782"/>
                <a:gd name="connsiteX1310" fmla="*/ 10968215 w 11537287"/>
                <a:gd name="connsiteY1310" fmla="*/ 1013497 h 6072782"/>
                <a:gd name="connsiteX1311" fmla="*/ 10968215 w 11537287"/>
                <a:gd name="connsiteY1311" fmla="*/ 1031993 h 6072782"/>
                <a:gd name="connsiteX1312" fmla="*/ 10944271 w 11537287"/>
                <a:gd name="connsiteY1312" fmla="*/ 1058346 h 6072782"/>
                <a:gd name="connsiteX1313" fmla="*/ 10944271 w 11537287"/>
                <a:gd name="connsiteY1313" fmla="*/ 1095721 h 6072782"/>
                <a:gd name="connsiteX1314" fmla="*/ 10889585 w 11537287"/>
                <a:gd name="connsiteY1314" fmla="*/ 1134235 h 6072782"/>
                <a:gd name="connsiteX1315" fmla="*/ 10889585 w 11537287"/>
                <a:gd name="connsiteY1315" fmla="*/ 1114724 h 6072782"/>
                <a:gd name="connsiteX1316" fmla="*/ 10908663 w 11537287"/>
                <a:gd name="connsiteY1316" fmla="*/ 1108643 h 6072782"/>
                <a:gd name="connsiteX1317" fmla="*/ 10914302 w 11537287"/>
                <a:gd name="connsiteY1317" fmla="*/ 1089386 h 6072782"/>
                <a:gd name="connsiteX1318" fmla="*/ 10914302 w 11537287"/>
                <a:gd name="connsiteY1318" fmla="*/ 1054038 h 6072782"/>
                <a:gd name="connsiteX1319" fmla="*/ 10944734 w 11537287"/>
                <a:gd name="connsiteY1319" fmla="*/ 1022745 h 6072782"/>
                <a:gd name="connsiteX1320" fmla="*/ 10944734 w 11537287"/>
                <a:gd name="connsiteY1320" fmla="*/ 1022365 h 6072782"/>
                <a:gd name="connsiteX1321" fmla="*/ 10914302 w 11537287"/>
                <a:gd name="connsiteY1321" fmla="*/ 990818 h 6072782"/>
                <a:gd name="connsiteX1322" fmla="*/ 10914302 w 11537287"/>
                <a:gd name="connsiteY1322" fmla="*/ 955091 h 6072782"/>
                <a:gd name="connsiteX1323" fmla="*/ 10889585 w 11537287"/>
                <a:gd name="connsiteY1323" fmla="*/ 930893 h 6072782"/>
                <a:gd name="connsiteX1324" fmla="*/ 10868266 w 11537287"/>
                <a:gd name="connsiteY1324" fmla="*/ 911255 h 6072782"/>
                <a:gd name="connsiteX1325" fmla="*/ 10868266 w 11537287"/>
                <a:gd name="connsiteY1325" fmla="*/ 930893 h 6072782"/>
                <a:gd name="connsiteX1326" fmla="*/ 10843704 w 11537287"/>
                <a:gd name="connsiteY1326" fmla="*/ 955091 h 6072782"/>
                <a:gd name="connsiteX1327" fmla="*/ 10843704 w 11537287"/>
                <a:gd name="connsiteY1327" fmla="*/ 990818 h 6072782"/>
                <a:gd name="connsiteX1328" fmla="*/ 10812963 w 11537287"/>
                <a:gd name="connsiteY1328" fmla="*/ 1022365 h 6072782"/>
                <a:gd name="connsiteX1329" fmla="*/ 10812963 w 11537287"/>
                <a:gd name="connsiteY1329" fmla="*/ 1022745 h 6072782"/>
                <a:gd name="connsiteX1330" fmla="*/ 10843704 w 11537287"/>
                <a:gd name="connsiteY1330" fmla="*/ 1054038 h 6072782"/>
                <a:gd name="connsiteX1331" fmla="*/ 10843704 w 11537287"/>
                <a:gd name="connsiteY1331" fmla="*/ 1089386 h 6072782"/>
                <a:gd name="connsiteX1332" fmla="*/ 10849188 w 11537287"/>
                <a:gd name="connsiteY1332" fmla="*/ 1108706 h 6072782"/>
                <a:gd name="connsiteX1333" fmla="*/ 10868266 w 11537287"/>
                <a:gd name="connsiteY1333" fmla="*/ 1114724 h 6072782"/>
                <a:gd name="connsiteX1334" fmla="*/ 10868266 w 11537287"/>
                <a:gd name="connsiteY1334" fmla="*/ 1134235 h 6072782"/>
                <a:gd name="connsiteX1335" fmla="*/ 10813272 w 11537287"/>
                <a:gd name="connsiteY1335" fmla="*/ 1095721 h 6072782"/>
                <a:gd name="connsiteX1336" fmla="*/ 10813272 w 11537287"/>
                <a:gd name="connsiteY1336" fmla="*/ 1058346 h 6072782"/>
                <a:gd name="connsiteX1337" fmla="*/ 10789173 w 11537287"/>
                <a:gd name="connsiteY1337" fmla="*/ 1031993 h 6072782"/>
                <a:gd name="connsiteX1338" fmla="*/ 10789173 w 11537287"/>
                <a:gd name="connsiteY1338" fmla="*/ 1013497 h 6072782"/>
                <a:gd name="connsiteX1339" fmla="*/ 10813272 w 11537287"/>
                <a:gd name="connsiteY1339" fmla="*/ 986637 h 6072782"/>
                <a:gd name="connsiteX1340" fmla="*/ 10813272 w 11537287"/>
                <a:gd name="connsiteY1340" fmla="*/ 950276 h 6072782"/>
                <a:gd name="connsiteX1341" fmla="*/ 10868266 w 11537287"/>
                <a:gd name="connsiteY1341" fmla="*/ 911255 h 6072782"/>
                <a:gd name="connsiteX1342" fmla="*/ 8383679 w 11537287"/>
                <a:gd name="connsiteY1342" fmla="*/ 911255 h 6072782"/>
                <a:gd name="connsiteX1343" fmla="*/ 8438365 w 11537287"/>
                <a:gd name="connsiteY1343" fmla="*/ 950276 h 6072782"/>
                <a:gd name="connsiteX1344" fmla="*/ 8438365 w 11537287"/>
                <a:gd name="connsiteY1344" fmla="*/ 986637 h 6072782"/>
                <a:gd name="connsiteX1345" fmla="*/ 8462309 w 11537287"/>
                <a:gd name="connsiteY1345" fmla="*/ 1013497 h 6072782"/>
                <a:gd name="connsiteX1346" fmla="*/ 8462309 w 11537287"/>
                <a:gd name="connsiteY1346" fmla="*/ 1031993 h 6072782"/>
                <a:gd name="connsiteX1347" fmla="*/ 8438365 w 11537287"/>
                <a:gd name="connsiteY1347" fmla="*/ 1058346 h 6072782"/>
                <a:gd name="connsiteX1348" fmla="*/ 8438365 w 11537287"/>
                <a:gd name="connsiteY1348" fmla="*/ 1095721 h 6072782"/>
                <a:gd name="connsiteX1349" fmla="*/ 8383679 w 11537287"/>
                <a:gd name="connsiteY1349" fmla="*/ 1134235 h 6072782"/>
                <a:gd name="connsiteX1350" fmla="*/ 8383679 w 11537287"/>
                <a:gd name="connsiteY1350" fmla="*/ 1114724 h 6072782"/>
                <a:gd name="connsiteX1351" fmla="*/ 8402757 w 11537287"/>
                <a:gd name="connsiteY1351" fmla="*/ 1108643 h 6072782"/>
                <a:gd name="connsiteX1352" fmla="*/ 8408396 w 11537287"/>
                <a:gd name="connsiteY1352" fmla="*/ 1089386 h 6072782"/>
                <a:gd name="connsiteX1353" fmla="*/ 8408396 w 11537287"/>
                <a:gd name="connsiteY1353" fmla="*/ 1054038 h 6072782"/>
                <a:gd name="connsiteX1354" fmla="*/ 8438828 w 11537287"/>
                <a:gd name="connsiteY1354" fmla="*/ 1022745 h 6072782"/>
                <a:gd name="connsiteX1355" fmla="*/ 8438828 w 11537287"/>
                <a:gd name="connsiteY1355" fmla="*/ 1022365 h 6072782"/>
                <a:gd name="connsiteX1356" fmla="*/ 8408396 w 11537287"/>
                <a:gd name="connsiteY1356" fmla="*/ 990818 h 6072782"/>
                <a:gd name="connsiteX1357" fmla="*/ 8408396 w 11537287"/>
                <a:gd name="connsiteY1357" fmla="*/ 955091 h 6072782"/>
                <a:gd name="connsiteX1358" fmla="*/ 8383679 w 11537287"/>
                <a:gd name="connsiteY1358" fmla="*/ 930893 h 6072782"/>
                <a:gd name="connsiteX1359" fmla="*/ 8362360 w 11537287"/>
                <a:gd name="connsiteY1359" fmla="*/ 911255 h 6072782"/>
                <a:gd name="connsiteX1360" fmla="*/ 8362360 w 11537287"/>
                <a:gd name="connsiteY1360" fmla="*/ 930893 h 6072782"/>
                <a:gd name="connsiteX1361" fmla="*/ 8337798 w 11537287"/>
                <a:gd name="connsiteY1361" fmla="*/ 955091 h 6072782"/>
                <a:gd name="connsiteX1362" fmla="*/ 8337798 w 11537287"/>
                <a:gd name="connsiteY1362" fmla="*/ 990818 h 6072782"/>
                <a:gd name="connsiteX1363" fmla="*/ 8307057 w 11537287"/>
                <a:gd name="connsiteY1363" fmla="*/ 1022365 h 6072782"/>
                <a:gd name="connsiteX1364" fmla="*/ 8307057 w 11537287"/>
                <a:gd name="connsiteY1364" fmla="*/ 1022745 h 6072782"/>
                <a:gd name="connsiteX1365" fmla="*/ 8337798 w 11537287"/>
                <a:gd name="connsiteY1365" fmla="*/ 1054038 h 6072782"/>
                <a:gd name="connsiteX1366" fmla="*/ 8337798 w 11537287"/>
                <a:gd name="connsiteY1366" fmla="*/ 1089386 h 6072782"/>
                <a:gd name="connsiteX1367" fmla="*/ 8343282 w 11537287"/>
                <a:gd name="connsiteY1367" fmla="*/ 1108706 h 6072782"/>
                <a:gd name="connsiteX1368" fmla="*/ 8362360 w 11537287"/>
                <a:gd name="connsiteY1368" fmla="*/ 1114724 h 6072782"/>
                <a:gd name="connsiteX1369" fmla="*/ 8362360 w 11537287"/>
                <a:gd name="connsiteY1369" fmla="*/ 1134235 h 6072782"/>
                <a:gd name="connsiteX1370" fmla="*/ 8307366 w 11537287"/>
                <a:gd name="connsiteY1370" fmla="*/ 1095721 h 6072782"/>
                <a:gd name="connsiteX1371" fmla="*/ 8307366 w 11537287"/>
                <a:gd name="connsiteY1371" fmla="*/ 1058346 h 6072782"/>
                <a:gd name="connsiteX1372" fmla="*/ 8283267 w 11537287"/>
                <a:gd name="connsiteY1372" fmla="*/ 1031993 h 6072782"/>
                <a:gd name="connsiteX1373" fmla="*/ 8283267 w 11537287"/>
                <a:gd name="connsiteY1373" fmla="*/ 1013497 h 6072782"/>
                <a:gd name="connsiteX1374" fmla="*/ 8307366 w 11537287"/>
                <a:gd name="connsiteY1374" fmla="*/ 986637 h 6072782"/>
                <a:gd name="connsiteX1375" fmla="*/ 8307366 w 11537287"/>
                <a:gd name="connsiteY1375" fmla="*/ 950276 h 6072782"/>
                <a:gd name="connsiteX1376" fmla="*/ 8362360 w 11537287"/>
                <a:gd name="connsiteY1376" fmla="*/ 911255 h 6072782"/>
                <a:gd name="connsiteX1377" fmla="*/ 4833613 w 11537287"/>
                <a:gd name="connsiteY1377" fmla="*/ 911255 h 6072782"/>
                <a:gd name="connsiteX1378" fmla="*/ 4888298 w 11537287"/>
                <a:gd name="connsiteY1378" fmla="*/ 950276 h 6072782"/>
                <a:gd name="connsiteX1379" fmla="*/ 4888298 w 11537287"/>
                <a:gd name="connsiteY1379" fmla="*/ 986637 h 6072782"/>
                <a:gd name="connsiteX1380" fmla="*/ 4912243 w 11537287"/>
                <a:gd name="connsiteY1380" fmla="*/ 1013497 h 6072782"/>
                <a:gd name="connsiteX1381" fmla="*/ 4912243 w 11537287"/>
                <a:gd name="connsiteY1381" fmla="*/ 1031993 h 6072782"/>
                <a:gd name="connsiteX1382" fmla="*/ 4888298 w 11537287"/>
                <a:gd name="connsiteY1382" fmla="*/ 1058346 h 6072782"/>
                <a:gd name="connsiteX1383" fmla="*/ 4888298 w 11537287"/>
                <a:gd name="connsiteY1383" fmla="*/ 1095721 h 6072782"/>
                <a:gd name="connsiteX1384" fmla="*/ 4833613 w 11537287"/>
                <a:gd name="connsiteY1384" fmla="*/ 1134235 h 6072782"/>
                <a:gd name="connsiteX1385" fmla="*/ 4833613 w 11537287"/>
                <a:gd name="connsiteY1385" fmla="*/ 1114724 h 6072782"/>
                <a:gd name="connsiteX1386" fmla="*/ 4852691 w 11537287"/>
                <a:gd name="connsiteY1386" fmla="*/ 1108643 h 6072782"/>
                <a:gd name="connsiteX1387" fmla="*/ 4858331 w 11537287"/>
                <a:gd name="connsiteY1387" fmla="*/ 1089386 h 6072782"/>
                <a:gd name="connsiteX1388" fmla="*/ 4858331 w 11537287"/>
                <a:gd name="connsiteY1388" fmla="*/ 1054038 h 6072782"/>
                <a:gd name="connsiteX1389" fmla="*/ 4888762 w 11537287"/>
                <a:gd name="connsiteY1389" fmla="*/ 1022745 h 6072782"/>
                <a:gd name="connsiteX1390" fmla="*/ 4888762 w 11537287"/>
                <a:gd name="connsiteY1390" fmla="*/ 1022365 h 6072782"/>
                <a:gd name="connsiteX1391" fmla="*/ 4858331 w 11537287"/>
                <a:gd name="connsiteY1391" fmla="*/ 990818 h 6072782"/>
                <a:gd name="connsiteX1392" fmla="*/ 4858331 w 11537287"/>
                <a:gd name="connsiteY1392" fmla="*/ 955091 h 6072782"/>
                <a:gd name="connsiteX1393" fmla="*/ 4833613 w 11537287"/>
                <a:gd name="connsiteY1393" fmla="*/ 930893 h 6072782"/>
                <a:gd name="connsiteX1394" fmla="*/ 4812294 w 11537287"/>
                <a:gd name="connsiteY1394" fmla="*/ 911255 h 6072782"/>
                <a:gd name="connsiteX1395" fmla="*/ 4812294 w 11537287"/>
                <a:gd name="connsiteY1395" fmla="*/ 930893 h 6072782"/>
                <a:gd name="connsiteX1396" fmla="*/ 4787733 w 11537287"/>
                <a:gd name="connsiteY1396" fmla="*/ 955091 h 6072782"/>
                <a:gd name="connsiteX1397" fmla="*/ 4787733 w 11537287"/>
                <a:gd name="connsiteY1397" fmla="*/ 990818 h 6072782"/>
                <a:gd name="connsiteX1398" fmla="*/ 4756990 w 11537287"/>
                <a:gd name="connsiteY1398" fmla="*/ 1022365 h 6072782"/>
                <a:gd name="connsiteX1399" fmla="*/ 4756990 w 11537287"/>
                <a:gd name="connsiteY1399" fmla="*/ 1022745 h 6072782"/>
                <a:gd name="connsiteX1400" fmla="*/ 4787733 w 11537287"/>
                <a:gd name="connsiteY1400" fmla="*/ 1054038 h 6072782"/>
                <a:gd name="connsiteX1401" fmla="*/ 4787733 w 11537287"/>
                <a:gd name="connsiteY1401" fmla="*/ 1089386 h 6072782"/>
                <a:gd name="connsiteX1402" fmla="*/ 4793216 w 11537287"/>
                <a:gd name="connsiteY1402" fmla="*/ 1108706 h 6072782"/>
                <a:gd name="connsiteX1403" fmla="*/ 4812294 w 11537287"/>
                <a:gd name="connsiteY1403" fmla="*/ 1114724 h 6072782"/>
                <a:gd name="connsiteX1404" fmla="*/ 4812294 w 11537287"/>
                <a:gd name="connsiteY1404" fmla="*/ 1134235 h 6072782"/>
                <a:gd name="connsiteX1405" fmla="*/ 4757300 w 11537287"/>
                <a:gd name="connsiteY1405" fmla="*/ 1095721 h 6072782"/>
                <a:gd name="connsiteX1406" fmla="*/ 4757300 w 11537287"/>
                <a:gd name="connsiteY1406" fmla="*/ 1058346 h 6072782"/>
                <a:gd name="connsiteX1407" fmla="*/ 4733202 w 11537287"/>
                <a:gd name="connsiteY1407" fmla="*/ 1031993 h 6072782"/>
                <a:gd name="connsiteX1408" fmla="*/ 4733202 w 11537287"/>
                <a:gd name="connsiteY1408" fmla="*/ 1013497 h 6072782"/>
                <a:gd name="connsiteX1409" fmla="*/ 4757300 w 11537287"/>
                <a:gd name="connsiteY1409" fmla="*/ 986637 h 6072782"/>
                <a:gd name="connsiteX1410" fmla="*/ 4757300 w 11537287"/>
                <a:gd name="connsiteY1410" fmla="*/ 950276 h 6072782"/>
                <a:gd name="connsiteX1411" fmla="*/ 4812294 w 11537287"/>
                <a:gd name="connsiteY1411" fmla="*/ 911255 h 6072782"/>
                <a:gd name="connsiteX1412" fmla="*/ 2329011 w 11537287"/>
                <a:gd name="connsiteY1412" fmla="*/ 911255 h 6072782"/>
                <a:gd name="connsiteX1413" fmla="*/ 2383698 w 11537287"/>
                <a:gd name="connsiteY1413" fmla="*/ 950276 h 6072782"/>
                <a:gd name="connsiteX1414" fmla="*/ 2383698 w 11537287"/>
                <a:gd name="connsiteY1414" fmla="*/ 986637 h 6072782"/>
                <a:gd name="connsiteX1415" fmla="*/ 2407642 w 11537287"/>
                <a:gd name="connsiteY1415" fmla="*/ 1013497 h 6072782"/>
                <a:gd name="connsiteX1416" fmla="*/ 2407642 w 11537287"/>
                <a:gd name="connsiteY1416" fmla="*/ 1031993 h 6072782"/>
                <a:gd name="connsiteX1417" fmla="*/ 2383698 w 11537287"/>
                <a:gd name="connsiteY1417" fmla="*/ 1058346 h 6072782"/>
                <a:gd name="connsiteX1418" fmla="*/ 2383698 w 11537287"/>
                <a:gd name="connsiteY1418" fmla="*/ 1095721 h 6072782"/>
                <a:gd name="connsiteX1419" fmla="*/ 2329011 w 11537287"/>
                <a:gd name="connsiteY1419" fmla="*/ 1134235 h 6072782"/>
                <a:gd name="connsiteX1420" fmla="*/ 2329011 w 11537287"/>
                <a:gd name="connsiteY1420" fmla="*/ 1114724 h 6072782"/>
                <a:gd name="connsiteX1421" fmla="*/ 2348089 w 11537287"/>
                <a:gd name="connsiteY1421" fmla="*/ 1108643 h 6072782"/>
                <a:gd name="connsiteX1422" fmla="*/ 2353729 w 11537287"/>
                <a:gd name="connsiteY1422" fmla="*/ 1089386 h 6072782"/>
                <a:gd name="connsiteX1423" fmla="*/ 2353729 w 11537287"/>
                <a:gd name="connsiteY1423" fmla="*/ 1054038 h 6072782"/>
                <a:gd name="connsiteX1424" fmla="*/ 2384161 w 11537287"/>
                <a:gd name="connsiteY1424" fmla="*/ 1022745 h 6072782"/>
                <a:gd name="connsiteX1425" fmla="*/ 2384161 w 11537287"/>
                <a:gd name="connsiteY1425" fmla="*/ 1022365 h 6072782"/>
                <a:gd name="connsiteX1426" fmla="*/ 2353729 w 11537287"/>
                <a:gd name="connsiteY1426" fmla="*/ 990818 h 6072782"/>
                <a:gd name="connsiteX1427" fmla="*/ 2353729 w 11537287"/>
                <a:gd name="connsiteY1427" fmla="*/ 955091 h 6072782"/>
                <a:gd name="connsiteX1428" fmla="*/ 2329011 w 11537287"/>
                <a:gd name="connsiteY1428" fmla="*/ 930893 h 6072782"/>
                <a:gd name="connsiteX1429" fmla="*/ 2307692 w 11537287"/>
                <a:gd name="connsiteY1429" fmla="*/ 911255 h 6072782"/>
                <a:gd name="connsiteX1430" fmla="*/ 2307692 w 11537287"/>
                <a:gd name="connsiteY1430" fmla="*/ 930893 h 6072782"/>
                <a:gd name="connsiteX1431" fmla="*/ 2283130 w 11537287"/>
                <a:gd name="connsiteY1431" fmla="*/ 955091 h 6072782"/>
                <a:gd name="connsiteX1432" fmla="*/ 2283130 w 11537287"/>
                <a:gd name="connsiteY1432" fmla="*/ 990818 h 6072782"/>
                <a:gd name="connsiteX1433" fmla="*/ 2252390 w 11537287"/>
                <a:gd name="connsiteY1433" fmla="*/ 1022365 h 6072782"/>
                <a:gd name="connsiteX1434" fmla="*/ 2252390 w 11537287"/>
                <a:gd name="connsiteY1434" fmla="*/ 1022745 h 6072782"/>
                <a:gd name="connsiteX1435" fmla="*/ 2283130 w 11537287"/>
                <a:gd name="connsiteY1435" fmla="*/ 1054038 h 6072782"/>
                <a:gd name="connsiteX1436" fmla="*/ 2283130 w 11537287"/>
                <a:gd name="connsiteY1436" fmla="*/ 1089386 h 6072782"/>
                <a:gd name="connsiteX1437" fmla="*/ 2288616 w 11537287"/>
                <a:gd name="connsiteY1437" fmla="*/ 1108706 h 6072782"/>
                <a:gd name="connsiteX1438" fmla="*/ 2307692 w 11537287"/>
                <a:gd name="connsiteY1438" fmla="*/ 1114724 h 6072782"/>
                <a:gd name="connsiteX1439" fmla="*/ 2307692 w 11537287"/>
                <a:gd name="connsiteY1439" fmla="*/ 1134235 h 6072782"/>
                <a:gd name="connsiteX1440" fmla="*/ 2252699 w 11537287"/>
                <a:gd name="connsiteY1440" fmla="*/ 1095721 h 6072782"/>
                <a:gd name="connsiteX1441" fmla="*/ 2252699 w 11537287"/>
                <a:gd name="connsiteY1441" fmla="*/ 1058346 h 6072782"/>
                <a:gd name="connsiteX1442" fmla="*/ 2228599 w 11537287"/>
                <a:gd name="connsiteY1442" fmla="*/ 1031993 h 6072782"/>
                <a:gd name="connsiteX1443" fmla="*/ 2228599 w 11537287"/>
                <a:gd name="connsiteY1443" fmla="*/ 1013497 h 6072782"/>
                <a:gd name="connsiteX1444" fmla="*/ 2252699 w 11537287"/>
                <a:gd name="connsiteY1444" fmla="*/ 986637 h 6072782"/>
                <a:gd name="connsiteX1445" fmla="*/ 2252699 w 11537287"/>
                <a:gd name="connsiteY1445" fmla="*/ 950276 h 6072782"/>
                <a:gd name="connsiteX1446" fmla="*/ 2307692 w 11537287"/>
                <a:gd name="connsiteY1446" fmla="*/ 911255 h 6072782"/>
                <a:gd name="connsiteX1447" fmla="*/ 8335302 w 11537287"/>
                <a:gd name="connsiteY1447" fmla="*/ 721489 h 6072782"/>
                <a:gd name="connsiteX1448" fmla="*/ 8324840 w 11537287"/>
                <a:gd name="connsiteY1448" fmla="*/ 769618 h 6072782"/>
                <a:gd name="connsiteX1449" fmla="*/ 8367563 w 11537287"/>
                <a:gd name="connsiteY1449" fmla="*/ 769618 h 6072782"/>
                <a:gd name="connsiteX1450" fmla="*/ 8377851 w 11537287"/>
                <a:gd name="connsiteY1450" fmla="*/ 721489 h 6072782"/>
                <a:gd name="connsiteX1451" fmla="*/ 2272056 w 11537287"/>
                <a:gd name="connsiteY1451" fmla="*/ 721489 h 6072782"/>
                <a:gd name="connsiteX1452" fmla="*/ 2261594 w 11537287"/>
                <a:gd name="connsiteY1452" fmla="*/ 769618 h 6072782"/>
                <a:gd name="connsiteX1453" fmla="*/ 2304318 w 11537287"/>
                <a:gd name="connsiteY1453" fmla="*/ 769618 h 6072782"/>
                <a:gd name="connsiteX1454" fmla="*/ 2314605 w 11537287"/>
                <a:gd name="connsiteY1454" fmla="*/ 721489 h 6072782"/>
                <a:gd name="connsiteX1455" fmla="*/ 3677493 w 11537287"/>
                <a:gd name="connsiteY1455" fmla="*/ 632755 h 6072782"/>
                <a:gd name="connsiteX1456" fmla="*/ 3722342 w 11537287"/>
                <a:gd name="connsiteY1456" fmla="*/ 671776 h 6072782"/>
                <a:gd name="connsiteX1457" fmla="*/ 3722342 w 11537287"/>
                <a:gd name="connsiteY1457" fmla="*/ 708137 h 6072782"/>
                <a:gd name="connsiteX1458" fmla="*/ 3741979 w 11537287"/>
                <a:gd name="connsiteY1458" fmla="*/ 734997 h 6072782"/>
                <a:gd name="connsiteX1459" fmla="*/ 3741979 w 11537287"/>
                <a:gd name="connsiteY1459" fmla="*/ 753493 h 6072782"/>
                <a:gd name="connsiteX1460" fmla="*/ 3722342 w 11537287"/>
                <a:gd name="connsiteY1460" fmla="*/ 779846 h 6072782"/>
                <a:gd name="connsiteX1461" fmla="*/ 3722342 w 11537287"/>
                <a:gd name="connsiteY1461" fmla="*/ 817221 h 6072782"/>
                <a:gd name="connsiteX1462" fmla="*/ 3677493 w 11537287"/>
                <a:gd name="connsiteY1462" fmla="*/ 855735 h 6072782"/>
                <a:gd name="connsiteX1463" fmla="*/ 3677493 w 11537287"/>
                <a:gd name="connsiteY1463" fmla="*/ 836224 h 6072782"/>
                <a:gd name="connsiteX1464" fmla="*/ 3693139 w 11537287"/>
                <a:gd name="connsiteY1464" fmla="*/ 830143 h 6072782"/>
                <a:gd name="connsiteX1465" fmla="*/ 3697763 w 11537287"/>
                <a:gd name="connsiteY1465" fmla="*/ 810886 h 6072782"/>
                <a:gd name="connsiteX1466" fmla="*/ 3697763 w 11537287"/>
                <a:gd name="connsiteY1466" fmla="*/ 775538 h 6072782"/>
                <a:gd name="connsiteX1467" fmla="*/ 3722721 w 11537287"/>
                <a:gd name="connsiteY1467" fmla="*/ 744245 h 6072782"/>
                <a:gd name="connsiteX1468" fmla="*/ 3722721 w 11537287"/>
                <a:gd name="connsiteY1468" fmla="*/ 743865 h 6072782"/>
                <a:gd name="connsiteX1469" fmla="*/ 3697763 w 11537287"/>
                <a:gd name="connsiteY1469" fmla="*/ 712318 h 6072782"/>
                <a:gd name="connsiteX1470" fmla="*/ 3697763 w 11537287"/>
                <a:gd name="connsiteY1470" fmla="*/ 676591 h 6072782"/>
                <a:gd name="connsiteX1471" fmla="*/ 3677493 w 11537287"/>
                <a:gd name="connsiteY1471" fmla="*/ 652393 h 6072782"/>
                <a:gd name="connsiteX1472" fmla="*/ 3660007 w 11537287"/>
                <a:gd name="connsiteY1472" fmla="*/ 632755 h 6072782"/>
                <a:gd name="connsiteX1473" fmla="*/ 3660007 w 11537287"/>
                <a:gd name="connsiteY1473" fmla="*/ 652393 h 6072782"/>
                <a:gd name="connsiteX1474" fmla="*/ 3639863 w 11537287"/>
                <a:gd name="connsiteY1474" fmla="*/ 676591 h 6072782"/>
                <a:gd name="connsiteX1475" fmla="*/ 3639863 w 11537287"/>
                <a:gd name="connsiteY1475" fmla="*/ 712318 h 6072782"/>
                <a:gd name="connsiteX1476" fmla="*/ 3614652 w 11537287"/>
                <a:gd name="connsiteY1476" fmla="*/ 743865 h 6072782"/>
                <a:gd name="connsiteX1477" fmla="*/ 3614652 w 11537287"/>
                <a:gd name="connsiteY1477" fmla="*/ 744245 h 6072782"/>
                <a:gd name="connsiteX1478" fmla="*/ 3639863 w 11537287"/>
                <a:gd name="connsiteY1478" fmla="*/ 775538 h 6072782"/>
                <a:gd name="connsiteX1479" fmla="*/ 3639863 w 11537287"/>
                <a:gd name="connsiteY1479" fmla="*/ 810886 h 6072782"/>
                <a:gd name="connsiteX1480" fmla="*/ 3644361 w 11537287"/>
                <a:gd name="connsiteY1480" fmla="*/ 830206 h 6072782"/>
                <a:gd name="connsiteX1481" fmla="*/ 3660007 w 11537287"/>
                <a:gd name="connsiteY1481" fmla="*/ 836224 h 6072782"/>
                <a:gd name="connsiteX1482" fmla="*/ 3660007 w 11537287"/>
                <a:gd name="connsiteY1482" fmla="*/ 855735 h 6072782"/>
                <a:gd name="connsiteX1483" fmla="*/ 3614905 w 11537287"/>
                <a:gd name="connsiteY1483" fmla="*/ 817221 h 6072782"/>
                <a:gd name="connsiteX1484" fmla="*/ 3614905 w 11537287"/>
                <a:gd name="connsiteY1484" fmla="*/ 779846 h 6072782"/>
                <a:gd name="connsiteX1485" fmla="*/ 3595140 w 11537287"/>
                <a:gd name="connsiteY1485" fmla="*/ 753493 h 6072782"/>
                <a:gd name="connsiteX1486" fmla="*/ 3595140 w 11537287"/>
                <a:gd name="connsiteY1486" fmla="*/ 734997 h 6072782"/>
                <a:gd name="connsiteX1487" fmla="*/ 3614905 w 11537287"/>
                <a:gd name="connsiteY1487" fmla="*/ 708137 h 6072782"/>
                <a:gd name="connsiteX1488" fmla="*/ 3614905 w 11537287"/>
                <a:gd name="connsiteY1488" fmla="*/ 671776 h 6072782"/>
                <a:gd name="connsiteX1489" fmla="*/ 3660007 w 11537287"/>
                <a:gd name="connsiteY1489" fmla="*/ 632755 h 6072782"/>
                <a:gd name="connsiteX1490" fmla="*/ 8326235 w 11537287"/>
                <a:gd name="connsiteY1490" fmla="*/ 629938 h 6072782"/>
                <a:gd name="connsiteX1491" fmla="*/ 8354310 w 11537287"/>
                <a:gd name="connsiteY1491" fmla="*/ 629938 h 6072782"/>
                <a:gd name="connsiteX1492" fmla="*/ 8340534 w 11537287"/>
                <a:gd name="connsiteY1492" fmla="*/ 697075 h 6072782"/>
                <a:gd name="connsiteX1493" fmla="*/ 8382734 w 11537287"/>
                <a:gd name="connsiteY1493" fmla="*/ 697075 h 6072782"/>
                <a:gd name="connsiteX1494" fmla="*/ 8397033 w 11537287"/>
                <a:gd name="connsiteY1494" fmla="*/ 629938 h 6072782"/>
                <a:gd name="connsiteX1495" fmla="*/ 8424586 w 11537287"/>
                <a:gd name="connsiteY1495" fmla="*/ 629938 h 6072782"/>
                <a:gd name="connsiteX1496" fmla="*/ 8410635 w 11537287"/>
                <a:gd name="connsiteY1496" fmla="*/ 697075 h 6072782"/>
                <a:gd name="connsiteX1497" fmla="*/ 8450394 w 11537287"/>
                <a:gd name="connsiteY1497" fmla="*/ 697075 h 6072782"/>
                <a:gd name="connsiteX1498" fmla="*/ 8444988 w 11537287"/>
                <a:gd name="connsiteY1498" fmla="*/ 721489 h 6072782"/>
                <a:gd name="connsiteX1499" fmla="*/ 8405404 w 11537287"/>
                <a:gd name="connsiteY1499" fmla="*/ 721489 h 6072782"/>
                <a:gd name="connsiteX1500" fmla="*/ 8395290 w 11537287"/>
                <a:gd name="connsiteY1500" fmla="*/ 769618 h 6072782"/>
                <a:gd name="connsiteX1501" fmla="*/ 8438536 w 11537287"/>
                <a:gd name="connsiteY1501" fmla="*/ 769618 h 6072782"/>
                <a:gd name="connsiteX1502" fmla="*/ 8432432 w 11537287"/>
                <a:gd name="connsiteY1502" fmla="*/ 794031 h 6072782"/>
                <a:gd name="connsiteX1503" fmla="*/ 8390233 w 11537287"/>
                <a:gd name="connsiteY1503" fmla="*/ 794031 h 6072782"/>
                <a:gd name="connsiteX1504" fmla="*/ 8375933 w 11537287"/>
                <a:gd name="connsiteY1504" fmla="*/ 858552 h 6072782"/>
                <a:gd name="connsiteX1505" fmla="*/ 8348206 w 11537287"/>
                <a:gd name="connsiteY1505" fmla="*/ 858552 h 6072782"/>
                <a:gd name="connsiteX1506" fmla="*/ 8362157 w 11537287"/>
                <a:gd name="connsiteY1506" fmla="*/ 794031 h 6072782"/>
                <a:gd name="connsiteX1507" fmla="*/ 8319957 w 11537287"/>
                <a:gd name="connsiteY1507" fmla="*/ 794031 h 6072782"/>
                <a:gd name="connsiteX1508" fmla="*/ 8306355 w 11537287"/>
                <a:gd name="connsiteY1508" fmla="*/ 858552 h 6072782"/>
                <a:gd name="connsiteX1509" fmla="*/ 8278629 w 11537287"/>
                <a:gd name="connsiteY1509" fmla="*/ 858552 h 6072782"/>
                <a:gd name="connsiteX1510" fmla="*/ 8292230 w 11537287"/>
                <a:gd name="connsiteY1510" fmla="*/ 794031 h 6072782"/>
                <a:gd name="connsiteX1511" fmla="*/ 8252297 w 11537287"/>
                <a:gd name="connsiteY1511" fmla="*/ 794031 h 6072782"/>
                <a:gd name="connsiteX1512" fmla="*/ 8257179 w 11537287"/>
                <a:gd name="connsiteY1512" fmla="*/ 769618 h 6072782"/>
                <a:gd name="connsiteX1513" fmla="*/ 8297636 w 11537287"/>
                <a:gd name="connsiteY1513" fmla="*/ 769618 h 6072782"/>
                <a:gd name="connsiteX1514" fmla="*/ 8307227 w 11537287"/>
                <a:gd name="connsiteY1514" fmla="*/ 721489 h 6072782"/>
                <a:gd name="connsiteX1515" fmla="*/ 8264678 w 11537287"/>
                <a:gd name="connsiteY1515" fmla="*/ 721489 h 6072782"/>
                <a:gd name="connsiteX1516" fmla="*/ 8269735 w 11537287"/>
                <a:gd name="connsiteY1516" fmla="*/ 697075 h 6072782"/>
                <a:gd name="connsiteX1517" fmla="*/ 8312284 w 11537287"/>
                <a:gd name="connsiteY1517" fmla="*/ 697075 h 6072782"/>
                <a:gd name="connsiteX1518" fmla="*/ 2262989 w 11537287"/>
                <a:gd name="connsiteY1518" fmla="*/ 629938 h 6072782"/>
                <a:gd name="connsiteX1519" fmla="*/ 2291064 w 11537287"/>
                <a:gd name="connsiteY1519" fmla="*/ 629938 h 6072782"/>
                <a:gd name="connsiteX1520" fmla="*/ 2277288 w 11537287"/>
                <a:gd name="connsiteY1520" fmla="*/ 697075 h 6072782"/>
                <a:gd name="connsiteX1521" fmla="*/ 2319489 w 11537287"/>
                <a:gd name="connsiteY1521" fmla="*/ 697075 h 6072782"/>
                <a:gd name="connsiteX1522" fmla="*/ 2333787 w 11537287"/>
                <a:gd name="connsiteY1522" fmla="*/ 629938 h 6072782"/>
                <a:gd name="connsiteX1523" fmla="*/ 2361341 w 11537287"/>
                <a:gd name="connsiteY1523" fmla="*/ 629938 h 6072782"/>
                <a:gd name="connsiteX1524" fmla="*/ 2347389 w 11537287"/>
                <a:gd name="connsiteY1524" fmla="*/ 697075 h 6072782"/>
                <a:gd name="connsiteX1525" fmla="*/ 2387149 w 11537287"/>
                <a:gd name="connsiteY1525" fmla="*/ 697075 h 6072782"/>
                <a:gd name="connsiteX1526" fmla="*/ 2381743 w 11537287"/>
                <a:gd name="connsiteY1526" fmla="*/ 721489 h 6072782"/>
                <a:gd name="connsiteX1527" fmla="*/ 2342158 w 11537287"/>
                <a:gd name="connsiteY1527" fmla="*/ 721489 h 6072782"/>
                <a:gd name="connsiteX1528" fmla="*/ 2332044 w 11537287"/>
                <a:gd name="connsiteY1528" fmla="*/ 769618 h 6072782"/>
                <a:gd name="connsiteX1529" fmla="*/ 2375291 w 11537287"/>
                <a:gd name="connsiteY1529" fmla="*/ 769618 h 6072782"/>
                <a:gd name="connsiteX1530" fmla="*/ 2369187 w 11537287"/>
                <a:gd name="connsiteY1530" fmla="*/ 794031 h 6072782"/>
                <a:gd name="connsiteX1531" fmla="*/ 2326987 w 11537287"/>
                <a:gd name="connsiteY1531" fmla="*/ 794031 h 6072782"/>
                <a:gd name="connsiteX1532" fmla="*/ 2312687 w 11537287"/>
                <a:gd name="connsiteY1532" fmla="*/ 858552 h 6072782"/>
                <a:gd name="connsiteX1533" fmla="*/ 2284959 w 11537287"/>
                <a:gd name="connsiteY1533" fmla="*/ 858552 h 6072782"/>
                <a:gd name="connsiteX1534" fmla="*/ 2298911 w 11537287"/>
                <a:gd name="connsiteY1534" fmla="*/ 794031 h 6072782"/>
                <a:gd name="connsiteX1535" fmla="*/ 2256711 w 11537287"/>
                <a:gd name="connsiteY1535" fmla="*/ 794031 h 6072782"/>
                <a:gd name="connsiteX1536" fmla="*/ 2243109 w 11537287"/>
                <a:gd name="connsiteY1536" fmla="*/ 858552 h 6072782"/>
                <a:gd name="connsiteX1537" fmla="*/ 2215384 w 11537287"/>
                <a:gd name="connsiteY1537" fmla="*/ 858552 h 6072782"/>
                <a:gd name="connsiteX1538" fmla="*/ 2228985 w 11537287"/>
                <a:gd name="connsiteY1538" fmla="*/ 794031 h 6072782"/>
                <a:gd name="connsiteX1539" fmla="*/ 2189051 w 11537287"/>
                <a:gd name="connsiteY1539" fmla="*/ 794031 h 6072782"/>
                <a:gd name="connsiteX1540" fmla="*/ 2193934 w 11537287"/>
                <a:gd name="connsiteY1540" fmla="*/ 769618 h 6072782"/>
                <a:gd name="connsiteX1541" fmla="*/ 2234391 w 11537287"/>
                <a:gd name="connsiteY1541" fmla="*/ 769618 h 6072782"/>
                <a:gd name="connsiteX1542" fmla="*/ 2243981 w 11537287"/>
                <a:gd name="connsiteY1542" fmla="*/ 721489 h 6072782"/>
                <a:gd name="connsiteX1543" fmla="*/ 2201432 w 11537287"/>
                <a:gd name="connsiteY1543" fmla="*/ 721489 h 6072782"/>
                <a:gd name="connsiteX1544" fmla="*/ 2206489 w 11537287"/>
                <a:gd name="connsiteY1544" fmla="*/ 697075 h 6072782"/>
                <a:gd name="connsiteX1545" fmla="*/ 2249038 w 11537287"/>
                <a:gd name="connsiteY1545" fmla="*/ 697075 h 6072782"/>
                <a:gd name="connsiteX1546" fmla="*/ 10896843 w 11537287"/>
                <a:gd name="connsiteY1546" fmla="*/ 324442 h 6072782"/>
                <a:gd name="connsiteX1547" fmla="*/ 10951529 w 11537287"/>
                <a:gd name="connsiteY1547" fmla="*/ 363463 h 6072782"/>
                <a:gd name="connsiteX1548" fmla="*/ 10951529 w 11537287"/>
                <a:gd name="connsiteY1548" fmla="*/ 399824 h 6072782"/>
                <a:gd name="connsiteX1549" fmla="*/ 10975473 w 11537287"/>
                <a:gd name="connsiteY1549" fmla="*/ 426684 h 6072782"/>
                <a:gd name="connsiteX1550" fmla="*/ 10975473 w 11537287"/>
                <a:gd name="connsiteY1550" fmla="*/ 445180 h 6072782"/>
                <a:gd name="connsiteX1551" fmla="*/ 10951529 w 11537287"/>
                <a:gd name="connsiteY1551" fmla="*/ 471533 h 6072782"/>
                <a:gd name="connsiteX1552" fmla="*/ 10951529 w 11537287"/>
                <a:gd name="connsiteY1552" fmla="*/ 508908 h 6072782"/>
                <a:gd name="connsiteX1553" fmla="*/ 10896843 w 11537287"/>
                <a:gd name="connsiteY1553" fmla="*/ 547422 h 6072782"/>
                <a:gd name="connsiteX1554" fmla="*/ 10896843 w 11537287"/>
                <a:gd name="connsiteY1554" fmla="*/ 527911 h 6072782"/>
                <a:gd name="connsiteX1555" fmla="*/ 10915921 w 11537287"/>
                <a:gd name="connsiteY1555" fmla="*/ 521830 h 6072782"/>
                <a:gd name="connsiteX1556" fmla="*/ 10921560 w 11537287"/>
                <a:gd name="connsiteY1556" fmla="*/ 502573 h 6072782"/>
                <a:gd name="connsiteX1557" fmla="*/ 10921560 w 11537287"/>
                <a:gd name="connsiteY1557" fmla="*/ 467225 h 6072782"/>
                <a:gd name="connsiteX1558" fmla="*/ 10951992 w 11537287"/>
                <a:gd name="connsiteY1558" fmla="*/ 435932 h 6072782"/>
                <a:gd name="connsiteX1559" fmla="*/ 10951992 w 11537287"/>
                <a:gd name="connsiteY1559" fmla="*/ 435552 h 6072782"/>
                <a:gd name="connsiteX1560" fmla="*/ 10921560 w 11537287"/>
                <a:gd name="connsiteY1560" fmla="*/ 404005 h 6072782"/>
                <a:gd name="connsiteX1561" fmla="*/ 10921560 w 11537287"/>
                <a:gd name="connsiteY1561" fmla="*/ 368278 h 6072782"/>
                <a:gd name="connsiteX1562" fmla="*/ 10896843 w 11537287"/>
                <a:gd name="connsiteY1562" fmla="*/ 344080 h 6072782"/>
                <a:gd name="connsiteX1563" fmla="*/ 10875524 w 11537287"/>
                <a:gd name="connsiteY1563" fmla="*/ 324442 h 6072782"/>
                <a:gd name="connsiteX1564" fmla="*/ 10875524 w 11537287"/>
                <a:gd name="connsiteY1564" fmla="*/ 344080 h 6072782"/>
                <a:gd name="connsiteX1565" fmla="*/ 10850962 w 11537287"/>
                <a:gd name="connsiteY1565" fmla="*/ 368278 h 6072782"/>
                <a:gd name="connsiteX1566" fmla="*/ 10850962 w 11537287"/>
                <a:gd name="connsiteY1566" fmla="*/ 404005 h 6072782"/>
                <a:gd name="connsiteX1567" fmla="*/ 10820221 w 11537287"/>
                <a:gd name="connsiteY1567" fmla="*/ 435552 h 6072782"/>
                <a:gd name="connsiteX1568" fmla="*/ 10820221 w 11537287"/>
                <a:gd name="connsiteY1568" fmla="*/ 435932 h 6072782"/>
                <a:gd name="connsiteX1569" fmla="*/ 10850962 w 11537287"/>
                <a:gd name="connsiteY1569" fmla="*/ 467225 h 6072782"/>
                <a:gd name="connsiteX1570" fmla="*/ 10850962 w 11537287"/>
                <a:gd name="connsiteY1570" fmla="*/ 502573 h 6072782"/>
                <a:gd name="connsiteX1571" fmla="*/ 10856446 w 11537287"/>
                <a:gd name="connsiteY1571" fmla="*/ 521893 h 6072782"/>
                <a:gd name="connsiteX1572" fmla="*/ 10875524 w 11537287"/>
                <a:gd name="connsiteY1572" fmla="*/ 527911 h 6072782"/>
                <a:gd name="connsiteX1573" fmla="*/ 10875524 w 11537287"/>
                <a:gd name="connsiteY1573" fmla="*/ 547422 h 6072782"/>
                <a:gd name="connsiteX1574" fmla="*/ 10820530 w 11537287"/>
                <a:gd name="connsiteY1574" fmla="*/ 508908 h 6072782"/>
                <a:gd name="connsiteX1575" fmla="*/ 10820530 w 11537287"/>
                <a:gd name="connsiteY1575" fmla="*/ 471533 h 6072782"/>
                <a:gd name="connsiteX1576" fmla="*/ 10796431 w 11537287"/>
                <a:gd name="connsiteY1576" fmla="*/ 445180 h 6072782"/>
                <a:gd name="connsiteX1577" fmla="*/ 10796431 w 11537287"/>
                <a:gd name="connsiteY1577" fmla="*/ 426684 h 6072782"/>
                <a:gd name="connsiteX1578" fmla="*/ 10820530 w 11537287"/>
                <a:gd name="connsiteY1578" fmla="*/ 399824 h 6072782"/>
                <a:gd name="connsiteX1579" fmla="*/ 10820530 w 11537287"/>
                <a:gd name="connsiteY1579" fmla="*/ 363463 h 6072782"/>
                <a:gd name="connsiteX1580" fmla="*/ 10875524 w 11537287"/>
                <a:gd name="connsiteY1580" fmla="*/ 324442 h 6072782"/>
                <a:gd name="connsiteX1581" fmla="*/ 8390937 w 11537287"/>
                <a:gd name="connsiteY1581" fmla="*/ 324442 h 6072782"/>
                <a:gd name="connsiteX1582" fmla="*/ 8445623 w 11537287"/>
                <a:gd name="connsiteY1582" fmla="*/ 363463 h 6072782"/>
                <a:gd name="connsiteX1583" fmla="*/ 8445623 w 11537287"/>
                <a:gd name="connsiteY1583" fmla="*/ 399824 h 6072782"/>
                <a:gd name="connsiteX1584" fmla="*/ 8469567 w 11537287"/>
                <a:gd name="connsiteY1584" fmla="*/ 426684 h 6072782"/>
                <a:gd name="connsiteX1585" fmla="*/ 8469567 w 11537287"/>
                <a:gd name="connsiteY1585" fmla="*/ 445180 h 6072782"/>
                <a:gd name="connsiteX1586" fmla="*/ 8445623 w 11537287"/>
                <a:gd name="connsiteY1586" fmla="*/ 471533 h 6072782"/>
                <a:gd name="connsiteX1587" fmla="*/ 8445623 w 11537287"/>
                <a:gd name="connsiteY1587" fmla="*/ 508908 h 6072782"/>
                <a:gd name="connsiteX1588" fmla="*/ 8390937 w 11537287"/>
                <a:gd name="connsiteY1588" fmla="*/ 547422 h 6072782"/>
                <a:gd name="connsiteX1589" fmla="*/ 8390937 w 11537287"/>
                <a:gd name="connsiteY1589" fmla="*/ 527911 h 6072782"/>
                <a:gd name="connsiteX1590" fmla="*/ 8410015 w 11537287"/>
                <a:gd name="connsiteY1590" fmla="*/ 521830 h 6072782"/>
                <a:gd name="connsiteX1591" fmla="*/ 8415654 w 11537287"/>
                <a:gd name="connsiteY1591" fmla="*/ 502573 h 6072782"/>
                <a:gd name="connsiteX1592" fmla="*/ 8415654 w 11537287"/>
                <a:gd name="connsiteY1592" fmla="*/ 467225 h 6072782"/>
                <a:gd name="connsiteX1593" fmla="*/ 8446086 w 11537287"/>
                <a:gd name="connsiteY1593" fmla="*/ 435932 h 6072782"/>
                <a:gd name="connsiteX1594" fmla="*/ 8446086 w 11537287"/>
                <a:gd name="connsiteY1594" fmla="*/ 435552 h 6072782"/>
                <a:gd name="connsiteX1595" fmla="*/ 8415654 w 11537287"/>
                <a:gd name="connsiteY1595" fmla="*/ 404005 h 6072782"/>
                <a:gd name="connsiteX1596" fmla="*/ 8415654 w 11537287"/>
                <a:gd name="connsiteY1596" fmla="*/ 368278 h 6072782"/>
                <a:gd name="connsiteX1597" fmla="*/ 8390937 w 11537287"/>
                <a:gd name="connsiteY1597" fmla="*/ 344080 h 6072782"/>
                <a:gd name="connsiteX1598" fmla="*/ 8369618 w 11537287"/>
                <a:gd name="connsiteY1598" fmla="*/ 324442 h 6072782"/>
                <a:gd name="connsiteX1599" fmla="*/ 8369618 w 11537287"/>
                <a:gd name="connsiteY1599" fmla="*/ 344080 h 6072782"/>
                <a:gd name="connsiteX1600" fmla="*/ 8345056 w 11537287"/>
                <a:gd name="connsiteY1600" fmla="*/ 368278 h 6072782"/>
                <a:gd name="connsiteX1601" fmla="*/ 8345056 w 11537287"/>
                <a:gd name="connsiteY1601" fmla="*/ 404005 h 6072782"/>
                <a:gd name="connsiteX1602" fmla="*/ 8314315 w 11537287"/>
                <a:gd name="connsiteY1602" fmla="*/ 435552 h 6072782"/>
                <a:gd name="connsiteX1603" fmla="*/ 8314315 w 11537287"/>
                <a:gd name="connsiteY1603" fmla="*/ 435932 h 6072782"/>
                <a:gd name="connsiteX1604" fmla="*/ 8345056 w 11537287"/>
                <a:gd name="connsiteY1604" fmla="*/ 467225 h 6072782"/>
                <a:gd name="connsiteX1605" fmla="*/ 8345056 w 11537287"/>
                <a:gd name="connsiteY1605" fmla="*/ 502573 h 6072782"/>
                <a:gd name="connsiteX1606" fmla="*/ 8350540 w 11537287"/>
                <a:gd name="connsiteY1606" fmla="*/ 521893 h 6072782"/>
                <a:gd name="connsiteX1607" fmla="*/ 8369618 w 11537287"/>
                <a:gd name="connsiteY1607" fmla="*/ 527911 h 6072782"/>
                <a:gd name="connsiteX1608" fmla="*/ 8369618 w 11537287"/>
                <a:gd name="connsiteY1608" fmla="*/ 547422 h 6072782"/>
                <a:gd name="connsiteX1609" fmla="*/ 8314624 w 11537287"/>
                <a:gd name="connsiteY1609" fmla="*/ 508908 h 6072782"/>
                <a:gd name="connsiteX1610" fmla="*/ 8314624 w 11537287"/>
                <a:gd name="connsiteY1610" fmla="*/ 471533 h 6072782"/>
                <a:gd name="connsiteX1611" fmla="*/ 8290525 w 11537287"/>
                <a:gd name="connsiteY1611" fmla="*/ 445180 h 6072782"/>
                <a:gd name="connsiteX1612" fmla="*/ 8290525 w 11537287"/>
                <a:gd name="connsiteY1612" fmla="*/ 426684 h 6072782"/>
                <a:gd name="connsiteX1613" fmla="*/ 8314624 w 11537287"/>
                <a:gd name="connsiteY1613" fmla="*/ 399824 h 6072782"/>
                <a:gd name="connsiteX1614" fmla="*/ 8314624 w 11537287"/>
                <a:gd name="connsiteY1614" fmla="*/ 363463 h 6072782"/>
                <a:gd name="connsiteX1615" fmla="*/ 8369618 w 11537287"/>
                <a:gd name="connsiteY1615" fmla="*/ 324442 h 6072782"/>
                <a:gd name="connsiteX1616" fmla="*/ 4840871 w 11537287"/>
                <a:gd name="connsiteY1616" fmla="*/ 324442 h 6072782"/>
                <a:gd name="connsiteX1617" fmla="*/ 4895556 w 11537287"/>
                <a:gd name="connsiteY1617" fmla="*/ 363463 h 6072782"/>
                <a:gd name="connsiteX1618" fmla="*/ 4895556 w 11537287"/>
                <a:gd name="connsiteY1618" fmla="*/ 399824 h 6072782"/>
                <a:gd name="connsiteX1619" fmla="*/ 4919501 w 11537287"/>
                <a:gd name="connsiteY1619" fmla="*/ 426684 h 6072782"/>
                <a:gd name="connsiteX1620" fmla="*/ 4919501 w 11537287"/>
                <a:gd name="connsiteY1620" fmla="*/ 445180 h 6072782"/>
                <a:gd name="connsiteX1621" fmla="*/ 4895556 w 11537287"/>
                <a:gd name="connsiteY1621" fmla="*/ 471533 h 6072782"/>
                <a:gd name="connsiteX1622" fmla="*/ 4895556 w 11537287"/>
                <a:gd name="connsiteY1622" fmla="*/ 508908 h 6072782"/>
                <a:gd name="connsiteX1623" fmla="*/ 4840871 w 11537287"/>
                <a:gd name="connsiteY1623" fmla="*/ 547422 h 6072782"/>
                <a:gd name="connsiteX1624" fmla="*/ 4840871 w 11537287"/>
                <a:gd name="connsiteY1624" fmla="*/ 527911 h 6072782"/>
                <a:gd name="connsiteX1625" fmla="*/ 4859949 w 11537287"/>
                <a:gd name="connsiteY1625" fmla="*/ 521830 h 6072782"/>
                <a:gd name="connsiteX1626" fmla="*/ 4865588 w 11537287"/>
                <a:gd name="connsiteY1626" fmla="*/ 502573 h 6072782"/>
                <a:gd name="connsiteX1627" fmla="*/ 4865588 w 11537287"/>
                <a:gd name="connsiteY1627" fmla="*/ 467225 h 6072782"/>
                <a:gd name="connsiteX1628" fmla="*/ 4896020 w 11537287"/>
                <a:gd name="connsiteY1628" fmla="*/ 435932 h 6072782"/>
                <a:gd name="connsiteX1629" fmla="*/ 4896020 w 11537287"/>
                <a:gd name="connsiteY1629" fmla="*/ 435552 h 6072782"/>
                <a:gd name="connsiteX1630" fmla="*/ 4865588 w 11537287"/>
                <a:gd name="connsiteY1630" fmla="*/ 404005 h 6072782"/>
                <a:gd name="connsiteX1631" fmla="*/ 4865588 w 11537287"/>
                <a:gd name="connsiteY1631" fmla="*/ 368278 h 6072782"/>
                <a:gd name="connsiteX1632" fmla="*/ 4840871 w 11537287"/>
                <a:gd name="connsiteY1632" fmla="*/ 344080 h 6072782"/>
                <a:gd name="connsiteX1633" fmla="*/ 4819552 w 11537287"/>
                <a:gd name="connsiteY1633" fmla="*/ 324442 h 6072782"/>
                <a:gd name="connsiteX1634" fmla="*/ 4819552 w 11537287"/>
                <a:gd name="connsiteY1634" fmla="*/ 344080 h 6072782"/>
                <a:gd name="connsiteX1635" fmla="*/ 4794990 w 11537287"/>
                <a:gd name="connsiteY1635" fmla="*/ 368278 h 6072782"/>
                <a:gd name="connsiteX1636" fmla="*/ 4794990 w 11537287"/>
                <a:gd name="connsiteY1636" fmla="*/ 404005 h 6072782"/>
                <a:gd name="connsiteX1637" fmla="*/ 4764248 w 11537287"/>
                <a:gd name="connsiteY1637" fmla="*/ 435552 h 6072782"/>
                <a:gd name="connsiteX1638" fmla="*/ 4764248 w 11537287"/>
                <a:gd name="connsiteY1638" fmla="*/ 435932 h 6072782"/>
                <a:gd name="connsiteX1639" fmla="*/ 4794990 w 11537287"/>
                <a:gd name="connsiteY1639" fmla="*/ 467225 h 6072782"/>
                <a:gd name="connsiteX1640" fmla="*/ 4794990 w 11537287"/>
                <a:gd name="connsiteY1640" fmla="*/ 502573 h 6072782"/>
                <a:gd name="connsiteX1641" fmla="*/ 4800474 w 11537287"/>
                <a:gd name="connsiteY1641" fmla="*/ 521893 h 6072782"/>
                <a:gd name="connsiteX1642" fmla="*/ 4819552 w 11537287"/>
                <a:gd name="connsiteY1642" fmla="*/ 527911 h 6072782"/>
                <a:gd name="connsiteX1643" fmla="*/ 4819552 w 11537287"/>
                <a:gd name="connsiteY1643" fmla="*/ 547422 h 6072782"/>
                <a:gd name="connsiteX1644" fmla="*/ 4764558 w 11537287"/>
                <a:gd name="connsiteY1644" fmla="*/ 508908 h 6072782"/>
                <a:gd name="connsiteX1645" fmla="*/ 4764558 w 11537287"/>
                <a:gd name="connsiteY1645" fmla="*/ 471533 h 6072782"/>
                <a:gd name="connsiteX1646" fmla="*/ 4740459 w 11537287"/>
                <a:gd name="connsiteY1646" fmla="*/ 445180 h 6072782"/>
                <a:gd name="connsiteX1647" fmla="*/ 4740459 w 11537287"/>
                <a:gd name="connsiteY1647" fmla="*/ 426684 h 6072782"/>
                <a:gd name="connsiteX1648" fmla="*/ 4764558 w 11537287"/>
                <a:gd name="connsiteY1648" fmla="*/ 399824 h 6072782"/>
                <a:gd name="connsiteX1649" fmla="*/ 4764558 w 11537287"/>
                <a:gd name="connsiteY1649" fmla="*/ 363463 h 6072782"/>
                <a:gd name="connsiteX1650" fmla="*/ 4819552 w 11537287"/>
                <a:gd name="connsiteY1650" fmla="*/ 324442 h 6072782"/>
                <a:gd name="connsiteX1651" fmla="*/ 2336269 w 11537287"/>
                <a:gd name="connsiteY1651" fmla="*/ 324442 h 6072782"/>
                <a:gd name="connsiteX1652" fmla="*/ 2390956 w 11537287"/>
                <a:gd name="connsiteY1652" fmla="*/ 363463 h 6072782"/>
                <a:gd name="connsiteX1653" fmla="*/ 2390956 w 11537287"/>
                <a:gd name="connsiteY1653" fmla="*/ 399824 h 6072782"/>
                <a:gd name="connsiteX1654" fmla="*/ 2414899 w 11537287"/>
                <a:gd name="connsiteY1654" fmla="*/ 426684 h 6072782"/>
                <a:gd name="connsiteX1655" fmla="*/ 2414899 w 11537287"/>
                <a:gd name="connsiteY1655" fmla="*/ 445180 h 6072782"/>
                <a:gd name="connsiteX1656" fmla="*/ 2390956 w 11537287"/>
                <a:gd name="connsiteY1656" fmla="*/ 471533 h 6072782"/>
                <a:gd name="connsiteX1657" fmla="*/ 2390956 w 11537287"/>
                <a:gd name="connsiteY1657" fmla="*/ 508908 h 6072782"/>
                <a:gd name="connsiteX1658" fmla="*/ 2336269 w 11537287"/>
                <a:gd name="connsiteY1658" fmla="*/ 547422 h 6072782"/>
                <a:gd name="connsiteX1659" fmla="*/ 2336269 w 11537287"/>
                <a:gd name="connsiteY1659" fmla="*/ 527911 h 6072782"/>
                <a:gd name="connsiteX1660" fmla="*/ 2355347 w 11537287"/>
                <a:gd name="connsiteY1660" fmla="*/ 521830 h 6072782"/>
                <a:gd name="connsiteX1661" fmla="*/ 2360986 w 11537287"/>
                <a:gd name="connsiteY1661" fmla="*/ 502573 h 6072782"/>
                <a:gd name="connsiteX1662" fmla="*/ 2360986 w 11537287"/>
                <a:gd name="connsiteY1662" fmla="*/ 467225 h 6072782"/>
                <a:gd name="connsiteX1663" fmla="*/ 2391418 w 11537287"/>
                <a:gd name="connsiteY1663" fmla="*/ 435932 h 6072782"/>
                <a:gd name="connsiteX1664" fmla="*/ 2391418 w 11537287"/>
                <a:gd name="connsiteY1664" fmla="*/ 435552 h 6072782"/>
                <a:gd name="connsiteX1665" fmla="*/ 2360986 w 11537287"/>
                <a:gd name="connsiteY1665" fmla="*/ 404005 h 6072782"/>
                <a:gd name="connsiteX1666" fmla="*/ 2360986 w 11537287"/>
                <a:gd name="connsiteY1666" fmla="*/ 368278 h 6072782"/>
                <a:gd name="connsiteX1667" fmla="*/ 2336269 w 11537287"/>
                <a:gd name="connsiteY1667" fmla="*/ 344080 h 6072782"/>
                <a:gd name="connsiteX1668" fmla="*/ 2314950 w 11537287"/>
                <a:gd name="connsiteY1668" fmla="*/ 324442 h 6072782"/>
                <a:gd name="connsiteX1669" fmla="*/ 2314950 w 11537287"/>
                <a:gd name="connsiteY1669" fmla="*/ 344080 h 6072782"/>
                <a:gd name="connsiteX1670" fmla="*/ 2290389 w 11537287"/>
                <a:gd name="connsiteY1670" fmla="*/ 368278 h 6072782"/>
                <a:gd name="connsiteX1671" fmla="*/ 2290389 w 11537287"/>
                <a:gd name="connsiteY1671" fmla="*/ 404005 h 6072782"/>
                <a:gd name="connsiteX1672" fmla="*/ 2259648 w 11537287"/>
                <a:gd name="connsiteY1672" fmla="*/ 435552 h 6072782"/>
                <a:gd name="connsiteX1673" fmla="*/ 2259648 w 11537287"/>
                <a:gd name="connsiteY1673" fmla="*/ 435932 h 6072782"/>
                <a:gd name="connsiteX1674" fmla="*/ 2290389 w 11537287"/>
                <a:gd name="connsiteY1674" fmla="*/ 467225 h 6072782"/>
                <a:gd name="connsiteX1675" fmla="*/ 2290389 w 11537287"/>
                <a:gd name="connsiteY1675" fmla="*/ 502573 h 6072782"/>
                <a:gd name="connsiteX1676" fmla="*/ 2295873 w 11537287"/>
                <a:gd name="connsiteY1676" fmla="*/ 521893 h 6072782"/>
                <a:gd name="connsiteX1677" fmla="*/ 2314950 w 11537287"/>
                <a:gd name="connsiteY1677" fmla="*/ 527911 h 6072782"/>
                <a:gd name="connsiteX1678" fmla="*/ 2314950 w 11537287"/>
                <a:gd name="connsiteY1678" fmla="*/ 547422 h 6072782"/>
                <a:gd name="connsiteX1679" fmla="*/ 2259956 w 11537287"/>
                <a:gd name="connsiteY1679" fmla="*/ 508908 h 6072782"/>
                <a:gd name="connsiteX1680" fmla="*/ 2259956 w 11537287"/>
                <a:gd name="connsiteY1680" fmla="*/ 471533 h 6072782"/>
                <a:gd name="connsiteX1681" fmla="*/ 2235857 w 11537287"/>
                <a:gd name="connsiteY1681" fmla="*/ 445180 h 6072782"/>
                <a:gd name="connsiteX1682" fmla="*/ 2235857 w 11537287"/>
                <a:gd name="connsiteY1682" fmla="*/ 426684 h 6072782"/>
                <a:gd name="connsiteX1683" fmla="*/ 2259956 w 11537287"/>
                <a:gd name="connsiteY1683" fmla="*/ 399824 h 6072782"/>
                <a:gd name="connsiteX1684" fmla="*/ 2259956 w 11537287"/>
                <a:gd name="connsiteY1684" fmla="*/ 363463 h 6072782"/>
                <a:gd name="connsiteX1685" fmla="*/ 2314950 w 11537287"/>
                <a:gd name="connsiteY1685" fmla="*/ 324442 h 6072782"/>
                <a:gd name="connsiteX1686" fmla="*/ 8852714 w 11537287"/>
                <a:gd name="connsiteY1686" fmla="*/ 0 h 6072782"/>
                <a:gd name="connsiteX1687" fmla="*/ 8907400 w 11537287"/>
                <a:gd name="connsiteY1687" fmla="*/ 39021 h 6072782"/>
                <a:gd name="connsiteX1688" fmla="*/ 8907400 w 11537287"/>
                <a:gd name="connsiteY1688" fmla="*/ 75382 h 6072782"/>
                <a:gd name="connsiteX1689" fmla="*/ 8931344 w 11537287"/>
                <a:gd name="connsiteY1689" fmla="*/ 102242 h 6072782"/>
                <a:gd name="connsiteX1690" fmla="*/ 8931344 w 11537287"/>
                <a:gd name="connsiteY1690" fmla="*/ 120738 h 6072782"/>
                <a:gd name="connsiteX1691" fmla="*/ 8907400 w 11537287"/>
                <a:gd name="connsiteY1691" fmla="*/ 147091 h 6072782"/>
                <a:gd name="connsiteX1692" fmla="*/ 8907400 w 11537287"/>
                <a:gd name="connsiteY1692" fmla="*/ 184465 h 6072782"/>
                <a:gd name="connsiteX1693" fmla="*/ 8852714 w 11537287"/>
                <a:gd name="connsiteY1693" fmla="*/ 222980 h 6072782"/>
                <a:gd name="connsiteX1694" fmla="*/ 8852714 w 11537287"/>
                <a:gd name="connsiteY1694" fmla="*/ 203469 h 6072782"/>
                <a:gd name="connsiteX1695" fmla="*/ 8871792 w 11537287"/>
                <a:gd name="connsiteY1695" fmla="*/ 197388 h 6072782"/>
                <a:gd name="connsiteX1696" fmla="*/ 8877431 w 11537287"/>
                <a:gd name="connsiteY1696" fmla="*/ 178131 h 6072782"/>
                <a:gd name="connsiteX1697" fmla="*/ 8877431 w 11537287"/>
                <a:gd name="connsiteY1697" fmla="*/ 142783 h 6072782"/>
                <a:gd name="connsiteX1698" fmla="*/ 8907863 w 11537287"/>
                <a:gd name="connsiteY1698" fmla="*/ 111490 h 6072782"/>
                <a:gd name="connsiteX1699" fmla="*/ 8907863 w 11537287"/>
                <a:gd name="connsiteY1699" fmla="*/ 111110 h 6072782"/>
                <a:gd name="connsiteX1700" fmla="*/ 8877431 w 11537287"/>
                <a:gd name="connsiteY1700" fmla="*/ 79563 h 6072782"/>
                <a:gd name="connsiteX1701" fmla="*/ 8877431 w 11537287"/>
                <a:gd name="connsiteY1701" fmla="*/ 43836 h 6072782"/>
                <a:gd name="connsiteX1702" fmla="*/ 8852714 w 11537287"/>
                <a:gd name="connsiteY1702" fmla="*/ 19638 h 6072782"/>
                <a:gd name="connsiteX1703" fmla="*/ 8831395 w 11537287"/>
                <a:gd name="connsiteY1703" fmla="*/ 0 h 6072782"/>
                <a:gd name="connsiteX1704" fmla="*/ 8831395 w 11537287"/>
                <a:gd name="connsiteY1704" fmla="*/ 19638 h 6072782"/>
                <a:gd name="connsiteX1705" fmla="*/ 8806833 w 11537287"/>
                <a:gd name="connsiteY1705" fmla="*/ 43836 h 6072782"/>
                <a:gd name="connsiteX1706" fmla="*/ 8806833 w 11537287"/>
                <a:gd name="connsiteY1706" fmla="*/ 79563 h 6072782"/>
                <a:gd name="connsiteX1707" fmla="*/ 8776092 w 11537287"/>
                <a:gd name="connsiteY1707" fmla="*/ 111110 h 6072782"/>
                <a:gd name="connsiteX1708" fmla="*/ 8776092 w 11537287"/>
                <a:gd name="connsiteY1708" fmla="*/ 111490 h 6072782"/>
                <a:gd name="connsiteX1709" fmla="*/ 8806833 w 11537287"/>
                <a:gd name="connsiteY1709" fmla="*/ 142783 h 6072782"/>
                <a:gd name="connsiteX1710" fmla="*/ 8806833 w 11537287"/>
                <a:gd name="connsiteY1710" fmla="*/ 178131 h 6072782"/>
                <a:gd name="connsiteX1711" fmla="*/ 8812317 w 11537287"/>
                <a:gd name="connsiteY1711" fmla="*/ 197451 h 6072782"/>
                <a:gd name="connsiteX1712" fmla="*/ 8831395 w 11537287"/>
                <a:gd name="connsiteY1712" fmla="*/ 203469 h 6072782"/>
                <a:gd name="connsiteX1713" fmla="*/ 8831395 w 11537287"/>
                <a:gd name="connsiteY1713" fmla="*/ 222980 h 6072782"/>
                <a:gd name="connsiteX1714" fmla="*/ 8776401 w 11537287"/>
                <a:gd name="connsiteY1714" fmla="*/ 184465 h 6072782"/>
                <a:gd name="connsiteX1715" fmla="*/ 8776401 w 11537287"/>
                <a:gd name="connsiteY1715" fmla="*/ 147091 h 6072782"/>
                <a:gd name="connsiteX1716" fmla="*/ 8752302 w 11537287"/>
                <a:gd name="connsiteY1716" fmla="*/ 120738 h 6072782"/>
                <a:gd name="connsiteX1717" fmla="*/ 8752302 w 11537287"/>
                <a:gd name="connsiteY1717" fmla="*/ 102242 h 6072782"/>
                <a:gd name="connsiteX1718" fmla="*/ 8776401 w 11537287"/>
                <a:gd name="connsiteY1718" fmla="*/ 75382 h 6072782"/>
                <a:gd name="connsiteX1719" fmla="*/ 8776401 w 11537287"/>
                <a:gd name="connsiteY1719" fmla="*/ 39021 h 6072782"/>
                <a:gd name="connsiteX1720" fmla="*/ 8831395 w 11537287"/>
                <a:gd name="connsiteY1720" fmla="*/ 0 h 6072782"/>
                <a:gd name="connsiteX1721" fmla="*/ 2780936 w 11537287"/>
                <a:gd name="connsiteY1721" fmla="*/ 0 h 6072782"/>
                <a:gd name="connsiteX1722" fmla="*/ 2835620 w 11537287"/>
                <a:gd name="connsiteY1722" fmla="*/ 39021 h 6072782"/>
                <a:gd name="connsiteX1723" fmla="*/ 2835620 w 11537287"/>
                <a:gd name="connsiteY1723" fmla="*/ 75382 h 6072782"/>
                <a:gd name="connsiteX1724" fmla="*/ 2859566 w 11537287"/>
                <a:gd name="connsiteY1724" fmla="*/ 102242 h 6072782"/>
                <a:gd name="connsiteX1725" fmla="*/ 2859566 w 11537287"/>
                <a:gd name="connsiteY1725" fmla="*/ 120738 h 6072782"/>
                <a:gd name="connsiteX1726" fmla="*/ 2835620 w 11537287"/>
                <a:gd name="connsiteY1726" fmla="*/ 147091 h 6072782"/>
                <a:gd name="connsiteX1727" fmla="*/ 2835620 w 11537287"/>
                <a:gd name="connsiteY1727" fmla="*/ 184465 h 6072782"/>
                <a:gd name="connsiteX1728" fmla="*/ 2780936 w 11537287"/>
                <a:gd name="connsiteY1728" fmla="*/ 222980 h 6072782"/>
                <a:gd name="connsiteX1729" fmla="*/ 2780936 w 11537287"/>
                <a:gd name="connsiteY1729" fmla="*/ 203469 h 6072782"/>
                <a:gd name="connsiteX1730" fmla="*/ 2800014 w 11537287"/>
                <a:gd name="connsiteY1730" fmla="*/ 197388 h 6072782"/>
                <a:gd name="connsiteX1731" fmla="*/ 2805652 w 11537287"/>
                <a:gd name="connsiteY1731" fmla="*/ 178131 h 6072782"/>
                <a:gd name="connsiteX1732" fmla="*/ 2805652 w 11537287"/>
                <a:gd name="connsiteY1732" fmla="*/ 142783 h 6072782"/>
                <a:gd name="connsiteX1733" fmla="*/ 2836085 w 11537287"/>
                <a:gd name="connsiteY1733" fmla="*/ 111490 h 6072782"/>
                <a:gd name="connsiteX1734" fmla="*/ 2836085 w 11537287"/>
                <a:gd name="connsiteY1734" fmla="*/ 111110 h 6072782"/>
                <a:gd name="connsiteX1735" fmla="*/ 2805652 w 11537287"/>
                <a:gd name="connsiteY1735" fmla="*/ 79563 h 6072782"/>
                <a:gd name="connsiteX1736" fmla="*/ 2805652 w 11537287"/>
                <a:gd name="connsiteY1736" fmla="*/ 43836 h 6072782"/>
                <a:gd name="connsiteX1737" fmla="*/ 2780936 w 11537287"/>
                <a:gd name="connsiteY1737" fmla="*/ 19638 h 6072782"/>
                <a:gd name="connsiteX1738" fmla="*/ 2759616 w 11537287"/>
                <a:gd name="connsiteY1738" fmla="*/ 0 h 6072782"/>
                <a:gd name="connsiteX1739" fmla="*/ 2759616 w 11537287"/>
                <a:gd name="connsiteY1739" fmla="*/ 19638 h 6072782"/>
                <a:gd name="connsiteX1740" fmla="*/ 2735055 w 11537287"/>
                <a:gd name="connsiteY1740" fmla="*/ 43836 h 6072782"/>
                <a:gd name="connsiteX1741" fmla="*/ 2735055 w 11537287"/>
                <a:gd name="connsiteY1741" fmla="*/ 79563 h 6072782"/>
                <a:gd name="connsiteX1742" fmla="*/ 2704314 w 11537287"/>
                <a:gd name="connsiteY1742" fmla="*/ 111110 h 6072782"/>
                <a:gd name="connsiteX1743" fmla="*/ 2704314 w 11537287"/>
                <a:gd name="connsiteY1743" fmla="*/ 111490 h 6072782"/>
                <a:gd name="connsiteX1744" fmla="*/ 2735055 w 11537287"/>
                <a:gd name="connsiteY1744" fmla="*/ 142783 h 6072782"/>
                <a:gd name="connsiteX1745" fmla="*/ 2735055 w 11537287"/>
                <a:gd name="connsiteY1745" fmla="*/ 178131 h 6072782"/>
                <a:gd name="connsiteX1746" fmla="*/ 2740539 w 11537287"/>
                <a:gd name="connsiteY1746" fmla="*/ 197451 h 6072782"/>
                <a:gd name="connsiteX1747" fmla="*/ 2759616 w 11537287"/>
                <a:gd name="connsiteY1747" fmla="*/ 203469 h 6072782"/>
                <a:gd name="connsiteX1748" fmla="*/ 2759616 w 11537287"/>
                <a:gd name="connsiteY1748" fmla="*/ 222980 h 6072782"/>
                <a:gd name="connsiteX1749" fmla="*/ 2704623 w 11537287"/>
                <a:gd name="connsiteY1749" fmla="*/ 184465 h 6072782"/>
                <a:gd name="connsiteX1750" fmla="*/ 2704623 w 11537287"/>
                <a:gd name="connsiteY1750" fmla="*/ 147091 h 6072782"/>
                <a:gd name="connsiteX1751" fmla="*/ 2680524 w 11537287"/>
                <a:gd name="connsiteY1751" fmla="*/ 120738 h 6072782"/>
                <a:gd name="connsiteX1752" fmla="*/ 2680524 w 11537287"/>
                <a:gd name="connsiteY1752" fmla="*/ 102242 h 6072782"/>
                <a:gd name="connsiteX1753" fmla="*/ 2704623 w 11537287"/>
                <a:gd name="connsiteY1753" fmla="*/ 75382 h 6072782"/>
                <a:gd name="connsiteX1754" fmla="*/ 2704623 w 11537287"/>
                <a:gd name="connsiteY1754" fmla="*/ 39021 h 6072782"/>
                <a:gd name="connsiteX1755" fmla="*/ 2759616 w 11537287"/>
                <a:gd name="connsiteY1755" fmla="*/ 0 h 607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Lst>
              <a:rect l="l" t="t" r="r" b="b"/>
              <a:pathLst>
                <a:path w="11537287" h="6072782">
                  <a:moveTo>
                    <a:pt x="8823577" y="5849802"/>
                  </a:moveTo>
                  <a:cubicBezTo>
                    <a:pt x="8853477" y="5850140"/>
                    <a:pt x="8868426" y="5863147"/>
                    <a:pt x="8868426" y="5888824"/>
                  </a:cubicBezTo>
                  <a:lnTo>
                    <a:pt x="8868426" y="5925184"/>
                  </a:lnTo>
                  <a:cubicBezTo>
                    <a:pt x="8868426" y="5942246"/>
                    <a:pt x="8874972" y="5951199"/>
                    <a:pt x="8888064" y="5952044"/>
                  </a:cubicBezTo>
                  <a:lnTo>
                    <a:pt x="8888064" y="5970541"/>
                  </a:lnTo>
                  <a:cubicBezTo>
                    <a:pt x="8874972" y="5971386"/>
                    <a:pt x="8868426" y="5980169"/>
                    <a:pt x="8868426" y="5996893"/>
                  </a:cubicBezTo>
                  <a:lnTo>
                    <a:pt x="8868426" y="6034268"/>
                  </a:lnTo>
                  <a:cubicBezTo>
                    <a:pt x="8868426" y="6059606"/>
                    <a:pt x="8853477" y="6072444"/>
                    <a:pt x="8823577" y="6072782"/>
                  </a:cubicBezTo>
                  <a:lnTo>
                    <a:pt x="8823577" y="6053272"/>
                  </a:lnTo>
                  <a:cubicBezTo>
                    <a:pt x="8830925" y="6053103"/>
                    <a:pt x="8836141" y="6051076"/>
                    <a:pt x="8839224" y="6047190"/>
                  </a:cubicBezTo>
                  <a:cubicBezTo>
                    <a:pt x="8842306" y="6043305"/>
                    <a:pt x="8843848" y="6036886"/>
                    <a:pt x="8843848" y="6027933"/>
                  </a:cubicBezTo>
                  <a:lnTo>
                    <a:pt x="8843848" y="5992586"/>
                  </a:lnTo>
                  <a:cubicBezTo>
                    <a:pt x="8843848" y="5975440"/>
                    <a:pt x="8852168" y="5965009"/>
                    <a:pt x="8868807" y="5961292"/>
                  </a:cubicBezTo>
                  <a:lnTo>
                    <a:pt x="8868807" y="5960912"/>
                  </a:lnTo>
                  <a:cubicBezTo>
                    <a:pt x="8852168" y="5956942"/>
                    <a:pt x="8843848" y="5946427"/>
                    <a:pt x="8843848" y="5929366"/>
                  </a:cubicBezTo>
                  <a:lnTo>
                    <a:pt x="8843848" y="5893638"/>
                  </a:lnTo>
                  <a:cubicBezTo>
                    <a:pt x="8843848" y="5877844"/>
                    <a:pt x="8837091" y="5869777"/>
                    <a:pt x="8823577" y="5869440"/>
                  </a:cubicBezTo>
                  <a:close/>
                  <a:moveTo>
                    <a:pt x="8806093" y="5849802"/>
                  </a:moveTo>
                  <a:lnTo>
                    <a:pt x="8806093" y="5869440"/>
                  </a:lnTo>
                  <a:cubicBezTo>
                    <a:pt x="8792664" y="5869777"/>
                    <a:pt x="8785949" y="5877844"/>
                    <a:pt x="8785949" y="5893638"/>
                  </a:cubicBezTo>
                  <a:lnTo>
                    <a:pt x="8785949" y="5929366"/>
                  </a:lnTo>
                  <a:cubicBezTo>
                    <a:pt x="8785949" y="5946427"/>
                    <a:pt x="8777545" y="5956942"/>
                    <a:pt x="8760737" y="5960912"/>
                  </a:cubicBezTo>
                  <a:lnTo>
                    <a:pt x="8760737" y="5961292"/>
                  </a:lnTo>
                  <a:cubicBezTo>
                    <a:pt x="8777545" y="5965009"/>
                    <a:pt x="8785949" y="5975440"/>
                    <a:pt x="8785949" y="5992586"/>
                  </a:cubicBezTo>
                  <a:lnTo>
                    <a:pt x="8785949" y="6027933"/>
                  </a:lnTo>
                  <a:cubicBezTo>
                    <a:pt x="8785949" y="6036971"/>
                    <a:pt x="8787448" y="6043410"/>
                    <a:pt x="8790447" y="6047253"/>
                  </a:cubicBezTo>
                  <a:cubicBezTo>
                    <a:pt x="8793445" y="6051097"/>
                    <a:pt x="8798660" y="6053103"/>
                    <a:pt x="8806093" y="6053272"/>
                  </a:cubicBezTo>
                  <a:lnTo>
                    <a:pt x="8806093" y="6072782"/>
                  </a:lnTo>
                  <a:cubicBezTo>
                    <a:pt x="8776024" y="6072444"/>
                    <a:pt x="8760990" y="6059606"/>
                    <a:pt x="8760990" y="6034268"/>
                  </a:cubicBezTo>
                  <a:lnTo>
                    <a:pt x="8760990" y="5996893"/>
                  </a:lnTo>
                  <a:cubicBezTo>
                    <a:pt x="8760990" y="5980169"/>
                    <a:pt x="8754402" y="5971386"/>
                    <a:pt x="8741226" y="5970541"/>
                  </a:cubicBezTo>
                  <a:lnTo>
                    <a:pt x="8741226" y="5952044"/>
                  </a:lnTo>
                  <a:cubicBezTo>
                    <a:pt x="8754402" y="5951199"/>
                    <a:pt x="8760990" y="5942246"/>
                    <a:pt x="8760990" y="5925184"/>
                  </a:cubicBezTo>
                  <a:lnTo>
                    <a:pt x="8760990" y="5888824"/>
                  </a:lnTo>
                  <a:cubicBezTo>
                    <a:pt x="8760990" y="5863147"/>
                    <a:pt x="8776024" y="5850140"/>
                    <a:pt x="8806093" y="5849802"/>
                  </a:cubicBezTo>
                  <a:close/>
                  <a:moveTo>
                    <a:pt x="8823577" y="5494671"/>
                  </a:moveTo>
                  <a:cubicBezTo>
                    <a:pt x="8853477" y="5495009"/>
                    <a:pt x="8868426" y="5508016"/>
                    <a:pt x="8868426" y="5533692"/>
                  </a:cubicBezTo>
                  <a:lnTo>
                    <a:pt x="8868426" y="5570053"/>
                  </a:lnTo>
                  <a:cubicBezTo>
                    <a:pt x="8868426" y="5587115"/>
                    <a:pt x="8874972" y="5596067"/>
                    <a:pt x="8888064" y="5596912"/>
                  </a:cubicBezTo>
                  <a:lnTo>
                    <a:pt x="8888064" y="5615409"/>
                  </a:lnTo>
                  <a:cubicBezTo>
                    <a:pt x="8874972" y="5616254"/>
                    <a:pt x="8868426" y="5625038"/>
                    <a:pt x="8868426" y="5641762"/>
                  </a:cubicBezTo>
                  <a:lnTo>
                    <a:pt x="8868426" y="5679136"/>
                  </a:lnTo>
                  <a:cubicBezTo>
                    <a:pt x="8868426" y="5704475"/>
                    <a:pt x="8853477" y="5717313"/>
                    <a:pt x="8823577" y="5717651"/>
                  </a:cubicBezTo>
                  <a:lnTo>
                    <a:pt x="8823577" y="5698140"/>
                  </a:lnTo>
                  <a:cubicBezTo>
                    <a:pt x="8830925" y="5697971"/>
                    <a:pt x="8836141" y="5695944"/>
                    <a:pt x="8839224" y="5692059"/>
                  </a:cubicBezTo>
                  <a:cubicBezTo>
                    <a:pt x="8842306" y="5688173"/>
                    <a:pt x="8843848" y="5681754"/>
                    <a:pt x="8843848" y="5672802"/>
                  </a:cubicBezTo>
                  <a:lnTo>
                    <a:pt x="8843848" y="5637454"/>
                  </a:lnTo>
                  <a:cubicBezTo>
                    <a:pt x="8843848" y="5620308"/>
                    <a:pt x="8852168" y="5609877"/>
                    <a:pt x="8868807" y="5606161"/>
                  </a:cubicBezTo>
                  <a:lnTo>
                    <a:pt x="8868807" y="5605781"/>
                  </a:lnTo>
                  <a:cubicBezTo>
                    <a:pt x="8852168" y="5601811"/>
                    <a:pt x="8843848" y="5591296"/>
                    <a:pt x="8843848" y="5574234"/>
                  </a:cubicBezTo>
                  <a:lnTo>
                    <a:pt x="8843848" y="5538507"/>
                  </a:lnTo>
                  <a:cubicBezTo>
                    <a:pt x="8843848" y="5522712"/>
                    <a:pt x="8837091" y="5514646"/>
                    <a:pt x="8823577" y="5514308"/>
                  </a:cubicBezTo>
                  <a:close/>
                  <a:moveTo>
                    <a:pt x="8806093" y="5494671"/>
                  </a:moveTo>
                  <a:lnTo>
                    <a:pt x="8806093" y="5514308"/>
                  </a:lnTo>
                  <a:cubicBezTo>
                    <a:pt x="8792664" y="5514646"/>
                    <a:pt x="8785949" y="5522712"/>
                    <a:pt x="8785949" y="5538507"/>
                  </a:cubicBezTo>
                  <a:lnTo>
                    <a:pt x="8785949" y="5574234"/>
                  </a:lnTo>
                  <a:cubicBezTo>
                    <a:pt x="8785949" y="5591296"/>
                    <a:pt x="8777545" y="5601811"/>
                    <a:pt x="8760737" y="5605781"/>
                  </a:cubicBezTo>
                  <a:lnTo>
                    <a:pt x="8760737" y="5606161"/>
                  </a:lnTo>
                  <a:cubicBezTo>
                    <a:pt x="8777545" y="5609877"/>
                    <a:pt x="8785949" y="5620308"/>
                    <a:pt x="8785949" y="5637454"/>
                  </a:cubicBezTo>
                  <a:lnTo>
                    <a:pt x="8785949" y="5672802"/>
                  </a:lnTo>
                  <a:cubicBezTo>
                    <a:pt x="8785949" y="5681839"/>
                    <a:pt x="8787448" y="5688279"/>
                    <a:pt x="8790447" y="5692122"/>
                  </a:cubicBezTo>
                  <a:cubicBezTo>
                    <a:pt x="8793445" y="5695965"/>
                    <a:pt x="8798660" y="5697971"/>
                    <a:pt x="8806093" y="5698140"/>
                  </a:cubicBezTo>
                  <a:lnTo>
                    <a:pt x="8806093" y="5717651"/>
                  </a:lnTo>
                  <a:cubicBezTo>
                    <a:pt x="8776024" y="5717313"/>
                    <a:pt x="8760990" y="5704475"/>
                    <a:pt x="8760990" y="5679136"/>
                  </a:cubicBezTo>
                  <a:lnTo>
                    <a:pt x="8760990" y="5641762"/>
                  </a:lnTo>
                  <a:cubicBezTo>
                    <a:pt x="8760990" y="5625038"/>
                    <a:pt x="8754402" y="5616254"/>
                    <a:pt x="8741226" y="5615409"/>
                  </a:cubicBezTo>
                  <a:lnTo>
                    <a:pt x="8741226" y="5596912"/>
                  </a:lnTo>
                  <a:cubicBezTo>
                    <a:pt x="8754402" y="5596067"/>
                    <a:pt x="8760990" y="5587115"/>
                    <a:pt x="8760990" y="5570053"/>
                  </a:cubicBezTo>
                  <a:lnTo>
                    <a:pt x="8760990" y="5533692"/>
                  </a:lnTo>
                  <a:cubicBezTo>
                    <a:pt x="8760990" y="5508016"/>
                    <a:pt x="8776024" y="5495009"/>
                    <a:pt x="8806093" y="5494671"/>
                  </a:cubicBezTo>
                  <a:close/>
                  <a:moveTo>
                    <a:pt x="8823577" y="5157041"/>
                  </a:moveTo>
                  <a:cubicBezTo>
                    <a:pt x="8853477" y="5157379"/>
                    <a:pt x="8868426" y="5170386"/>
                    <a:pt x="8868426" y="5196062"/>
                  </a:cubicBezTo>
                  <a:lnTo>
                    <a:pt x="8868426" y="5232423"/>
                  </a:lnTo>
                  <a:cubicBezTo>
                    <a:pt x="8868426" y="5249485"/>
                    <a:pt x="8874972" y="5258437"/>
                    <a:pt x="8888064" y="5259282"/>
                  </a:cubicBezTo>
                  <a:lnTo>
                    <a:pt x="8888064" y="5277779"/>
                  </a:lnTo>
                  <a:cubicBezTo>
                    <a:pt x="8874972" y="5278624"/>
                    <a:pt x="8868426" y="5287408"/>
                    <a:pt x="8868426" y="5304132"/>
                  </a:cubicBezTo>
                  <a:lnTo>
                    <a:pt x="8868426" y="5341506"/>
                  </a:lnTo>
                  <a:cubicBezTo>
                    <a:pt x="8868426" y="5366845"/>
                    <a:pt x="8853477" y="5379683"/>
                    <a:pt x="8823577" y="5380021"/>
                  </a:cubicBezTo>
                  <a:lnTo>
                    <a:pt x="8823577" y="5360510"/>
                  </a:lnTo>
                  <a:cubicBezTo>
                    <a:pt x="8830925" y="5360341"/>
                    <a:pt x="8836141" y="5358314"/>
                    <a:pt x="8839224" y="5354429"/>
                  </a:cubicBezTo>
                  <a:cubicBezTo>
                    <a:pt x="8842306" y="5350543"/>
                    <a:pt x="8843848" y="5344124"/>
                    <a:pt x="8843848" y="5335172"/>
                  </a:cubicBezTo>
                  <a:lnTo>
                    <a:pt x="8843848" y="5299824"/>
                  </a:lnTo>
                  <a:cubicBezTo>
                    <a:pt x="8843848" y="5282678"/>
                    <a:pt x="8852168" y="5272247"/>
                    <a:pt x="8868807" y="5268531"/>
                  </a:cubicBezTo>
                  <a:lnTo>
                    <a:pt x="8868807" y="5268151"/>
                  </a:lnTo>
                  <a:cubicBezTo>
                    <a:pt x="8852168" y="5264181"/>
                    <a:pt x="8843848" y="5253666"/>
                    <a:pt x="8843848" y="5236604"/>
                  </a:cubicBezTo>
                  <a:lnTo>
                    <a:pt x="8843848" y="5200877"/>
                  </a:lnTo>
                  <a:cubicBezTo>
                    <a:pt x="8843848" y="5185082"/>
                    <a:pt x="8837091" y="5177016"/>
                    <a:pt x="8823577" y="5176678"/>
                  </a:cubicBezTo>
                  <a:close/>
                  <a:moveTo>
                    <a:pt x="8806093" y="5157041"/>
                  </a:moveTo>
                  <a:lnTo>
                    <a:pt x="8806093" y="5176678"/>
                  </a:lnTo>
                  <a:cubicBezTo>
                    <a:pt x="8792664" y="5177016"/>
                    <a:pt x="8785949" y="5185082"/>
                    <a:pt x="8785949" y="5200877"/>
                  </a:cubicBezTo>
                  <a:lnTo>
                    <a:pt x="8785949" y="5236604"/>
                  </a:lnTo>
                  <a:cubicBezTo>
                    <a:pt x="8785949" y="5253666"/>
                    <a:pt x="8777545" y="5264181"/>
                    <a:pt x="8760737" y="5268151"/>
                  </a:cubicBezTo>
                  <a:lnTo>
                    <a:pt x="8760737" y="5268531"/>
                  </a:lnTo>
                  <a:cubicBezTo>
                    <a:pt x="8777545" y="5272247"/>
                    <a:pt x="8785949" y="5282678"/>
                    <a:pt x="8785949" y="5299824"/>
                  </a:cubicBezTo>
                  <a:lnTo>
                    <a:pt x="8785949" y="5335172"/>
                  </a:lnTo>
                  <a:cubicBezTo>
                    <a:pt x="8785949" y="5344209"/>
                    <a:pt x="8787448" y="5350649"/>
                    <a:pt x="8790447" y="5354492"/>
                  </a:cubicBezTo>
                  <a:cubicBezTo>
                    <a:pt x="8793445" y="5358335"/>
                    <a:pt x="8798660" y="5360341"/>
                    <a:pt x="8806093" y="5360510"/>
                  </a:cubicBezTo>
                  <a:lnTo>
                    <a:pt x="8806093" y="5380021"/>
                  </a:lnTo>
                  <a:cubicBezTo>
                    <a:pt x="8776024" y="5379683"/>
                    <a:pt x="8760990" y="5366845"/>
                    <a:pt x="8760990" y="5341506"/>
                  </a:cubicBezTo>
                  <a:lnTo>
                    <a:pt x="8760990" y="5304132"/>
                  </a:lnTo>
                  <a:cubicBezTo>
                    <a:pt x="8760990" y="5287408"/>
                    <a:pt x="8754402" y="5278624"/>
                    <a:pt x="8741226" y="5277779"/>
                  </a:cubicBezTo>
                  <a:lnTo>
                    <a:pt x="8741226" y="5259282"/>
                  </a:lnTo>
                  <a:cubicBezTo>
                    <a:pt x="8754402" y="5258437"/>
                    <a:pt x="8760990" y="5249485"/>
                    <a:pt x="8760990" y="5232423"/>
                  </a:cubicBezTo>
                  <a:lnTo>
                    <a:pt x="8760990" y="5196062"/>
                  </a:lnTo>
                  <a:cubicBezTo>
                    <a:pt x="8760990" y="5170386"/>
                    <a:pt x="8776024" y="5157379"/>
                    <a:pt x="8806093" y="5157041"/>
                  </a:cubicBezTo>
                  <a:close/>
                  <a:moveTo>
                    <a:pt x="8823577" y="4843971"/>
                  </a:moveTo>
                  <a:cubicBezTo>
                    <a:pt x="8853477" y="4844309"/>
                    <a:pt x="8868426" y="4857316"/>
                    <a:pt x="8868426" y="4882992"/>
                  </a:cubicBezTo>
                  <a:lnTo>
                    <a:pt x="8868426" y="4919353"/>
                  </a:lnTo>
                  <a:cubicBezTo>
                    <a:pt x="8868426" y="4936415"/>
                    <a:pt x="8874972" y="4945367"/>
                    <a:pt x="8888064" y="4946212"/>
                  </a:cubicBezTo>
                  <a:lnTo>
                    <a:pt x="8888064" y="4964709"/>
                  </a:lnTo>
                  <a:cubicBezTo>
                    <a:pt x="8874972" y="4965554"/>
                    <a:pt x="8868426" y="4974338"/>
                    <a:pt x="8868426" y="4991062"/>
                  </a:cubicBezTo>
                  <a:lnTo>
                    <a:pt x="8868426" y="5028436"/>
                  </a:lnTo>
                  <a:cubicBezTo>
                    <a:pt x="8868426" y="5053775"/>
                    <a:pt x="8853477" y="5066613"/>
                    <a:pt x="8823577" y="5066951"/>
                  </a:cubicBezTo>
                  <a:lnTo>
                    <a:pt x="8823577" y="5047440"/>
                  </a:lnTo>
                  <a:cubicBezTo>
                    <a:pt x="8830925" y="5047271"/>
                    <a:pt x="8836141" y="5045244"/>
                    <a:pt x="8839224" y="5041359"/>
                  </a:cubicBezTo>
                  <a:cubicBezTo>
                    <a:pt x="8842306" y="5037473"/>
                    <a:pt x="8843848" y="5031054"/>
                    <a:pt x="8843848" y="5022102"/>
                  </a:cubicBezTo>
                  <a:lnTo>
                    <a:pt x="8843848" y="4986754"/>
                  </a:lnTo>
                  <a:cubicBezTo>
                    <a:pt x="8843848" y="4969608"/>
                    <a:pt x="8852168" y="4959177"/>
                    <a:pt x="8868807" y="4955461"/>
                  </a:cubicBezTo>
                  <a:lnTo>
                    <a:pt x="8868807" y="4955081"/>
                  </a:lnTo>
                  <a:cubicBezTo>
                    <a:pt x="8852168" y="4951111"/>
                    <a:pt x="8843848" y="4940596"/>
                    <a:pt x="8843848" y="4923534"/>
                  </a:cubicBezTo>
                  <a:lnTo>
                    <a:pt x="8843848" y="4887807"/>
                  </a:lnTo>
                  <a:cubicBezTo>
                    <a:pt x="8843848" y="4872012"/>
                    <a:pt x="8837091" y="4863946"/>
                    <a:pt x="8823577" y="4863608"/>
                  </a:cubicBezTo>
                  <a:close/>
                  <a:moveTo>
                    <a:pt x="8806093" y="4843971"/>
                  </a:moveTo>
                  <a:lnTo>
                    <a:pt x="8806093" y="4863608"/>
                  </a:lnTo>
                  <a:cubicBezTo>
                    <a:pt x="8792664" y="4863946"/>
                    <a:pt x="8785949" y="4872012"/>
                    <a:pt x="8785949" y="4887807"/>
                  </a:cubicBezTo>
                  <a:lnTo>
                    <a:pt x="8785949" y="4923534"/>
                  </a:lnTo>
                  <a:cubicBezTo>
                    <a:pt x="8785949" y="4940596"/>
                    <a:pt x="8777545" y="4951111"/>
                    <a:pt x="8760737" y="4955081"/>
                  </a:cubicBezTo>
                  <a:lnTo>
                    <a:pt x="8760737" y="4955461"/>
                  </a:lnTo>
                  <a:cubicBezTo>
                    <a:pt x="8777545" y="4959177"/>
                    <a:pt x="8785949" y="4969608"/>
                    <a:pt x="8785949" y="4986754"/>
                  </a:cubicBezTo>
                  <a:lnTo>
                    <a:pt x="8785949" y="5022102"/>
                  </a:lnTo>
                  <a:cubicBezTo>
                    <a:pt x="8785949" y="5031139"/>
                    <a:pt x="8787448" y="5037579"/>
                    <a:pt x="8790447" y="5041422"/>
                  </a:cubicBezTo>
                  <a:cubicBezTo>
                    <a:pt x="8793445" y="5045265"/>
                    <a:pt x="8798660" y="5047271"/>
                    <a:pt x="8806093" y="5047440"/>
                  </a:cubicBezTo>
                  <a:lnTo>
                    <a:pt x="8806093" y="5066951"/>
                  </a:lnTo>
                  <a:cubicBezTo>
                    <a:pt x="8776024" y="5066613"/>
                    <a:pt x="8760990" y="5053775"/>
                    <a:pt x="8760990" y="5028436"/>
                  </a:cubicBezTo>
                  <a:lnTo>
                    <a:pt x="8760990" y="4991062"/>
                  </a:lnTo>
                  <a:cubicBezTo>
                    <a:pt x="8760990" y="4974338"/>
                    <a:pt x="8754402" y="4965554"/>
                    <a:pt x="8741226" y="4964709"/>
                  </a:cubicBezTo>
                  <a:lnTo>
                    <a:pt x="8741226" y="4946212"/>
                  </a:lnTo>
                  <a:cubicBezTo>
                    <a:pt x="8754402" y="4945367"/>
                    <a:pt x="8760990" y="4936415"/>
                    <a:pt x="8760990" y="4919353"/>
                  </a:cubicBezTo>
                  <a:lnTo>
                    <a:pt x="8760990" y="4882992"/>
                  </a:lnTo>
                  <a:cubicBezTo>
                    <a:pt x="8760990" y="4857316"/>
                    <a:pt x="8776024" y="4844309"/>
                    <a:pt x="8806093" y="4843971"/>
                  </a:cubicBezTo>
                  <a:close/>
                  <a:moveTo>
                    <a:pt x="8825269" y="4503767"/>
                  </a:moveTo>
                  <a:cubicBezTo>
                    <a:pt x="8855169" y="4504105"/>
                    <a:pt x="8870118" y="4517112"/>
                    <a:pt x="8870118" y="4542788"/>
                  </a:cubicBezTo>
                  <a:lnTo>
                    <a:pt x="8870118" y="4579149"/>
                  </a:lnTo>
                  <a:cubicBezTo>
                    <a:pt x="8870118" y="4596211"/>
                    <a:pt x="8876664" y="4605163"/>
                    <a:pt x="8889756" y="4606008"/>
                  </a:cubicBezTo>
                  <a:lnTo>
                    <a:pt x="8889756" y="4624505"/>
                  </a:lnTo>
                  <a:cubicBezTo>
                    <a:pt x="8876664" y="4625350"/>
                    <a:pt x="8870118" y="4634134"/>
                    <a:pt x="8870118" y="4650858"/>
                  </a:cubicBezTo>
                  <a:lnTo>
                    <a:pt x="8870118" y="4688232"/>
                  </a:lnTo>
                  <a:cubicBezTo>
                    <a:pt x="8870118" y="4713571"/>
                    <a:pt x="8855169" y="4726409"/>
                    <a:pt x="8825269" y="4726747"/>
                  </a:cubicBezTo>
                  <a:lnTo>
                    <a:pt x="8825269" y="4707236"/>
                  </a:lnTo>
                  <a:cubicBezTo>
                    <a:pt x="8832617" y="4707067"/>
                    <a:pt x="8837833" y="4705040"/>
                    <a:pt x="8840916" y="4701155"/>
                  </a:cubicBezTo>
                  <a:cubicBezTo>
                    <a:pt x="8843998" y="4697269"/>
                    <a:pt x="8845540" y="4690850"/>
                    <a:pt x="8845540" y="4681898"/>
                  </a:cubicBezTo>
                  <a:lnTo>
                    <a:pt x="8845540" y="4646550"/>
                  </a:lnTo>
                  <a:cubicBezTo>
                    <a:pt x="8845540" y="4629404"/>
                    <a:pt x="8853860" y="4618973"/>
                    <a:pt x="8870499" y="4615257"/>
                  </a:cubicBezTo>
                  <a:lnTo>
                    <a:pt x="8870499" y="4614877"/>
                  </a:lnTo>
                  <a:cubicBezTo>
                    <a:pt x="8853860" y="4610907"/>
                    <a:pt x="8845540" y="4600392"/>
                    <a:pt x="8845540" y="4583330"/>
                  </a:cubicBezTo>
                  <a:lnTo>
                    <a:pt x="8845540" y="4547603"/>
                  </a:lnTo>
                  <a:cubicBezTo>
                    <a:pt x="8845540" y="4531808"/>
                    <a:pt x="8838783" y="4523742"/>
                    <a:pt x="8825269" y="4523404"/>
                  </a:cubicBezTo>
                  <a:close/>
                  <a:moveTo>
                    <a:pt x="8807785" y="4503767"/>
                  </a:moveTo>
                  <a:lnTo>
                    <a:pt x="8807785" y="4523404"/>
                  </a:lnTo>
                  <a:cubicBezTo>
                    <a:pt x="8794356" y="4523742"/>
                    <a:pt x="8787641" y="4531808"/>
                    <a:pt x="8787641" y="4547603"/>
                  </a:cubicBezTo>
                  <a:lnTo>
                    <a:pt x="8787641" y="4583330"/>
                  </a:lnTo>
                  <a:cubicBezTo>
                    <a:pt x="8787641" y="4600392"/>
                    <a:pt x="8779237" y="4610907"/>
                    <a:pt x="8762429" y="4614877"/>
                  </a:cubicBezTo>
                  <a:lnTo>
                    <a:pt x="8762429" y="4615257"/>
                  </a:lnTo>
                  <a:cubicBezTo>
                    <a:pt x="8779237" y="4618973"/>
                    <a:pt x="8787641" y="4629404"/>
                    <a:pt x="8787641" y="4646550"/>
                  </a:cubicBezTo>
                  <a:lnTo>
                    <a:pt x="8787641" y="4681898"/>
                  </a:lnTo>
                  <a:cubicBezTo>
                    <a:pt x="8787641" y="4690935"/>
                    <a:pt x="8789140" y="4697375"/>
                    <a:pt x="8792139" y="4701218"/>
                  </a:cubicBezTo>
                  <a:cubicBezTo>
                    <a:pt x="8795137" y="4705061"/>
                    <a:pt x="8800352" y="4707067"/>
                    <a:pt x="8807785" y="4707236"/>
                  </a:cubicBezTo>
                  <a:lnTo>
                    <a:pt x="8807785" y="4726747"/>
                  </a:lnTo>
                  <a:cubicBezTo>
                    <a:pt x="8777716" y="4726409"/>
                    <a:pt x="8762682" y="4713571"/>
                    <a:pt x="8762682" y="4688232"/>
                  </a:cubicBezTo>
                  <a:lnTo>
                    <a:pt x="8762682" y="4650858"/>
                  </a:lnTo>
                  <a:cubicBezTo>
                    <a:pt x="8762682" y="4634134"/>
                    <a:pt x="8756094" y="4625350"/>
                    <a:pt x="8742918" y="4624505"/>
                  </a:cubicBezTo>
                  <a:lnTo>
                    <a:pt x="8742918" y="4606008"/>
                  </a:lnTo>
                  <a:cubicBezTo>
                    <a:pt x="8756094" y="4605163"/>
                    <a:pt x="8762682" y="4596211"/>
                    <a:pt x="8762682" y="4579149"/>
                  </a:cubicBezTo>
                  <a:lnTo>
                    <a:pt x="8762682" y="4542788"/>
                  </a:lnTo>
                  <a:cubicBezTo>
                    <a:pt x="8762682" y="4517112"/>
                    <a:pt x="8777716" y="4504105"/>
                    <a:pt x="8807785" y="4503767"/>
                  </a:cubicBezTo>
                  <a:close/>
                  <a:moveTo>
                    <a:pt x="8826961" y="4163562"/>
                  </a:moveTo>
                  <a:cubicBezTo>
                    <a:pt x="8856861" y="4163900"/>
                    <a:pt x="8871810" y="4176907"/>
                    <a:pt x="8871810" y="4202583"/>
                  </a:cubicBezTo>
                  <a:lnTo>
                    <a:pt x="8871810" y="4238944"/>
                  </a:lnTo>
                  <a:cubicBezTo>
                    <a:pt x="8871810" y="4256006"/>
                    <a:pt x="8878356" y="4264958"/>
                    <a:pt x="8891448" y="4265803"/>
                  </a:cubicBezTo>
                  <a:lnTo>
                    <a:pt x="8891448" y="4284300"/>
                  </a:lnTo>
                  <a:cubicBezTo>
                    <a:pt x="8878356" y="4285145"/>
                    <a:pt x="8871810" y="4293929"/>
                    <a:pt x="8871810" y="4310653"/>
                  </a:cubicBezTo>
                  <a:lnTo>
                    <a:pt x="8871810" y="4348027"/>
                  </a:lnTo>
                  <a:cubicBezTo>
                    <a:pt x="8871810" y="4373366"/>
                    <a:pt x="8856861" y="4386204"/>
                    <a:pt x="8826961" y="4386542"/>
                  </a:cubicBezTo>
                  <a:lnTo>
                    <a:pt x="8826961" y="4367031"/>
                  </a:lnTo>
                  <a:cubicBezTo>
                    <a:pt x="8834309" y="4366862"/>
                    <a:pt x="8839525" y="4364835"/>
                    <a:pt x="8842608" y="4360950"/>
                  </a:cubicBezTo>
                  <a:cubicBezTo>
                    <a:pt x="8845690" y="4357064"/>
                    <a:pt x="8847232" y="4350645"/>
                    <a:pt x="8847232" y="4341693"/>
                  </a:cubicBezTo>
                  <a:lnTo>
                    <a:pt x="8847232" y="4306345"/>
                  </a:lnTo>
                  <a:cubicBezTo>
                    <a:pt x="8847232" y="4289199"/>
                    <a:pt x="8855552" y="4278768"/>
                    <a:pt x="8872191" y="4275052"/>
                  </a:cubicBezTo>
                  <a:lnTo>
                    <a:pt x="8872191" y="4274672"/>
                  </a:lnTo>
                  <a:cubicBezTo>
                    <a:pt x="8855552" y="4270702"/>
                    <a:pt x="8847232" y="4260187"/>
                    <a:pt x="8847232" y="4243125"/>
                  </a:cubicBezTo>
                  <a:lnTo>
                    <a:pt x="8847232" y="4207398"/>
                  </a:lnTo>
                  <a:cubicBezTo>
                    <a:pt x="8847232" y="4191603"/>
                    <a:pt x="8840475" y="4183537"/>
                    <a:pt x="8826961" y="4183199"/>
                  </a:cubicBezTo>
                  <a:close/>
                  <a:moveTo>
                    <a:pt x="8809477" y="4163562"/>
                  </a:moveTo>
                  <a:lnTo>
                    <a:pt x="8809477" y="4183199"/>
                  </a:lnTo>
                  <a:cubicBezTo>
                    <a:pt x="8796048" y="4183537"/>
                    <a:pt x="8789333" y="4191603"/>
                    <a:pt x="8789333" y="4207398"/>
                  </a:cubicBezTo>
                  <a:lnTo>
                    <a:pt x="8789333" y="4243125"/>
                  </a:lnTo>
                  <a:cubicBezTo>
                    <a:pt x="8789333" y="4260187"/>
                    <a:pt x="8780929" y="4270702"/>
                    <a:pt x="8764121" y="4274672"/>
                  </a:cubicBezTo>
                  <a:lnTo>
                    <a:pt x="8764121" y="4275052"/>
                  </a:lnTo>
                  <a:cubicBezTo>
                    <a:pt x="8780929" y="4278768"/>
                    <a:pt x="8789333" y="4289199"/>
                    <a:pt x="8789333" y="4306345"/>
                  </a:cubicBezTo>
                  <a:lnTo>
                    <a:pt x="8789333" y="4341693"/>
                  </a:lnTo>
                  <a:cubicBezTo>
                    <a:pt x="8789333" y="4350730"/>
                    <a:pt x="8790832" y="4357170"/>
                    <a:pt x="8793831" y="4361013"/>
                  </a:cubicBezTo>
                  <a:cubicBezTo>
                    <a:pt x="8796829" y="4364856"/>
                    <a:pt x="8802044" y="4366862"/>
                    <a:pt x="8809477" y="4367031"/>
                  </a:cubicBezTo>
                  <a:lnTo>
                    <a:pt x="8809477" y="4386542"/>
                  </a:lnTo>
                  <a:cubicBezTo>
                    <a:pt x="8779408" y="4386204"/>
                    <a:pt x="8764374" y="4373366"/>
                    <a:pt x="8764374" y="4348027"/>
                  </a:cubicBezTo>
                  <a:lnTo>
                    <a:pt x="8764374" y="4310653"/>
                  </a:lnTo>
                  <a:cubicBezTo>
                    <a:pt x="8764374" y="4293929"/>
                    <a:pt x="8757786" y="4285145"/>
                    <a:pt x="8744610" y="4284300"/>
                  </a:cubicBezTo>
                  <a:lnTo>
                    <a:pt x="8744610" y="4265803"/>
                  </a:lnTo>
                  <a:cubicBezTo>
                    <a:pt x="8757786" y="4264958"/>
                    <a:pt x="8764374" y="4256006"/>
                    <a:pt x="8764374" y="4238944"/>
                  </a:cubicBezTo>
                  <a:lnTo>
                    <a:pt x="8764374" y="4202583"/>
                  </a:lnTo>
                  <a:cubicBezTo>
                    <a:pt x="8764374" y="4176907"/>
                    <a:pt x="8779408" y="4163900"/>
                    <a:pt x="8809477" y="4163562"/>
                  </a:cubicBezTo>
                  <a:close/>
                  <a:moveTo>
                    <a:pt x="8828653" y="3823357"/>
                  </a:moveTo>
                  <a:cubicBezTo>
                    <a:pt x="8858553" y="3823695"/>
                    <a:pt x="8873502" y="3836702"/>
                    <a:pt x="8873502" y="3862378"/>
                  </a:cubicBezTo>
                  <a:lnTo>
                    <a:pt x="8873502" y="3898739"/>
                  </a:lnTo>
                  <a:cubicBezTo>
                    <a:pt x="8873502" y="3915801"/>
                    <a:pt x="8880048" y="3924754"/>
                    <a:pt x="8893140" y="3925598"/>
                  </a:cubicBezTo>
                  <a:lnTo>
                    <a:pt x="8893140" y="3944095"/>
                  </a:lnTo>
                  <a:cubicBezTo>
                    <a:pt x="8880048" y="3944940"/>
                    <a:pt x="8873502" y="3953724"/>
                    <a:pt x="8873502" y="3970448"/>
                  </a:cubicBezTo>
                  <a:lnTo>
                    <a:pt x="8873502" y="4007822"/>
                  </a:lnTo>
                  <a:cubicBezTo>
                    <a:pt x="8873502" y="4033161"/>
                    <a:pt x="8858553" y="4045999"/>
                    <a:pt x="8828653" y="4046337"/>
                  </a:cubicBezTo>
                  <a:lnTo>
                    <a:pt x="8828653" y="4026826"/>
                  </a:lnTo>
                  <a:cubicBezTo>
                    <a:pt x="8836001" y="4026657"/>
                    <a:pt x="8841217" y="4024630"/>
                    <a:pt x="8844300" y="4020745"/>
                  </a:cubicBezTo>
                  <a:cubicBezTo>
                    <a:pt x="8847382" y="4016859"/>
                    <a:pt x="8848924" y="4010440"/>
                    <a:pt x="8848924" y="4001488"/>
                  </a:cubicBezTo>
                  <a:lnTo>
                    <a:pt x="8848924" y="3966140"/>
                  </a:lnTo>
                  <a:cubicBezTo>
                    <a:pt x="8848924" y="3948994"/>
                    <a:pt x="8857244" y="3938563"/>
                    <a:pt x="8873883" y="3934847"/>
                  </a:cubicBezTo>
                  <a:lnTo>
                    <a:pt x="8873883" y="3934467"/>
                  </a:lnTo>
                  <a:cubicBezTo>
                    <a:pt x="8857244" y="3930497"/>
                    <a:pt x="8848924" y="3919982"/>
                    <a:pt x="8848924" y="3902920"/>
                  </a:cubicBezTo>
                  <a:lnTo>
                    <a:pt x="8848924" y="3867193"/>
                  </a:lnTo>
                  <a:cubicBezTo>
                    <a:pt x="8848924" y="3851398"/>
                    <a:pt x="8842167" y="3843332"/>
                    <a:pt x="8828653" y="3842994"/>
                  </a:cubicBezTo>
                  <a:close/>
                  <a:moveTo>
                    <a:pt x="8811169" y="3823357"/>
                  </a:moveTo>
                  <a:lnTo>
                    <a:pt x="8811169" y="3842994"/>
                  </a:lnTo>
                  <a:cubicBezTo>
                    <a:pt x="8797740" y="3843332"/>
                    <a:pt x="8791025" y="3851398"/>
                    <a:pt x="8791025" y="3867193"/>
                  </a:cubicBezTo>
                  <a:lnTo>
                    <a:pt x="8791025" y="3902920"/>
                  </a:lnTo>
                  <a:cubicBezTo>
                    <a:pt x="8791025" y="3919982"/>
                    <a:pt x="8782621" y="3930497"/>
                    <a:pt x="8765813" y="3934467"/>
                  </a:cubicBezTo>
                  <a:lnTo>
                    <a:pt x="8765813" y="3934847"/>
                  </a:lnTo>
                  <a:cubicBezTo>
                    <a:pt x="8782621" y="3938563"/>
                    <a:pt x="8791025" y="3948994"/>
                    <a:pt x="8791025" y="3966140"/>
                  </a:cubicBezTo>
                  <a:lnTo>
                    <a:pt x="8791025" y="4001488"/>
                  </a:lnTo>
                  <a:cubicBezTo>
                    <a:pt x="8791025" y="4010525"/>
                    <a:pt x="8792524" y="4016965"/>
                    <a:pt x="8795523" y="4020808"/>
                  </a:cubicBezTo>
                  <a:cubicBezTo>
                    <a:pt x="8798521" y="4024651"/>
                    <a:pt x="8803736" y="4026657"/>
                    <a:pt x="8811169" y="4026826"/>
                  </a:cubicBezTo>
                  <a:lnTo>
                    <a:pt x="8811169" y="4046337"/>
                  </a:lnTo>
                  <a:cubicBezTo>
                    <a:pt x="8781100" y="4045999"/>
                    <a:pt x="8766066" y="4033161"/>
                    <a:pt x="8766066" y="4007822"/>
                  </a:cubicBezTo>
                  <a:lnTo>
                    <a:pt x="8766066" y="3970448"/>
                  </a:lnTo>
                  <a:cubicBezTo>
                    <a:pt x="8766066" y="3953724"/>
                    <a:pt x="8759478" y="3944940"/>
                    <a:pt x="8746302" y="3944095"/>
                  </a:cubicBezTo>
                  <a:lnTo>
                    <a:pt x="8746302" y="3925598"/>
                  </a:lnTo>
                  <a:cubicBezTo>
                    <a:pt x="8759478" y="3924754"/>
                    <a:pt x="8766066" y="3915801"/>
                    <a:pt x="8766066" y="3898739"/>
                  </a:cubicBezTo>
                  <a:lnTo>
                    <a:pt x="8766066" y="3862378"/>
                  </a:lnTo>
                  <a:cubicBezTo>
                    <a:pt x="8766066" y="3836702"/>
                    <a:pt x="8781100" y="3823695"/>
                    <a:pt x="8811169" y="3823357"/>
                  </a:cubicBezTo>
                  <a:close/>
                  <a:moveTo>
                    <a:pt x="8830345" y="3483152"/>
                  </a:moveTo>
                  <a:cubicBezTo>
                    <a:pt x="8860245" y="3483490"/>
                    <a:pt x="8875194" y="3496497"/>
                    <a:pt x="8875194" y="3522173"/>
                  </a:cubicBezTo>
                  <a:lnTo>
                    <a:pt x="8875194" y="3558534"/>
                  </a:lnTo>
                  <a:cubicBezTo>
                    <a:pt x="8875194" y="3575596"/>
                    <a:pt x="8881740" y="3584549"/>
                    <a:pt x="8894832" y="3585393"/>
                  </a:cubicBezTo>
                  <a:lnTo>
                    <a:pt x="8894832" y="3603890"/>
                  </a:lnTo>
                  <a:cubicBezTo>
                    <a:pt x="8881740" y="3604735"/>
                    <a:pt x="8875194" y="3613519"/>
                    <a:pt x="8875194" y="3630243"/>
                  </a:cubicBezTo>
                  <a:lnTo>
                    <a:pt x="8875194" y="3667617"/>
                  </a:lnTo>
                  <a:cubicBezTo>
                    <a:pt x="8875194" y="3692956"/>
                    <a:pt x="8860245" y="3705794"/>
                    <a:pt x="8830345" y="3706132"/>
                  </a:cubicBezTo>
                  <a:lnTo>
                    <a:pt x="8830345" y="3686621"/>
                  </a:lnTo>
                  <a:cubicBezTo>
                    <a:pt x="8837693" y="3686452"/>
                    <a:pt x="8842909" y="3684425"/>
                    <a:pt x="8845992" y="3680540"/>
                  </a:cubicBezTo>
                  <a:cubicBezTo>
                    <a:pt x="8849074" y="3676654"/>
                    <a:pt x="8850616" y="3670235"/>
                    <a:pt x="8850616" y="3661283"/>
                  </a:cubicBezTo>
                  <a:lnTo>
                    <a:pt x="8850616" y="3625935"/>
                  </a:lnTo>
                  <a:cubicBezTo>
                    <a:pt x="8850616" y="3608789"/>
                    <a:pt x="8858936" y="3598358"/>
                    <a:pt x="8875575" y="3594642"/>
                  </a:cubicBezTo>
                  <a:lnTo>
                    <a:pt x="8875575" y="3594262"/>
                  </a:lnTo>
                  <a:cubicBezTo>
                    <a:pt x="8858936" y="3590292"/>
                    <a:pt x="8850616" y="3579777"/>
                    <a:pt x="8850616" y="3562715"/>
                  </a:cubicBezTo>
                  <a:lnTo>
                    <a:pt x="8850616" y="3526988"/>
                  </a:lnTo>
                  <a:cubicBezTo>
                    <a:pt x="8850616" y="3511193"/>
                    <a:pt x="8843859" y="3503127"/>
                    <a:pt x="8830345" y="3502789"/>
                  </a:cubicBezTo>
                  <a:close/>
                  <a:moveTo>
                    <a:pt x="8812861" y="3483152"/>
                  </a:moveTo>
                  <a:lnTo>
                    <a:pt x="8812861" y="3502789"/>
                  </a:lnTo>
                  <a:cubicBezTo>
                    <a:pt x="8799432" y="3503127"/>
                    <a:pt x="8792717" y="3511193"/>
                    <a:pt x="8792717" y="3526988"/>
                  </a:cubicBezTo>
                  <a:lnTo>
                    <a:pt x="8792717" y="3562715"/>
                  </a:lnTo>
                  <a:cubicBezTo>
                    <a:pt x="8792717" y="3579777"/>
                    <a:pt x="8784313" y="3590292"/>
                    <a:pt x="8767505" y="3594262"/>
                  </a:cubicBezTo>
                  <a:lnTo>
                    <a:pt x="8767505" y="3594642"/>
                  </a:lnTo>
                  <a:cubicBezTo>
                    <a:pt x="8784313" y="3598358"/>
                    <a:pt x="8792717" y="3608789"/>
                    <a:pt x="8792717" y="3625935"/>
                  </a:cubicBezTo>
                  <a:lnTo>
                    <a:pt x="8792717" y="3661283"/>
                  </a:lnTo>
                  <a:cubicBezTo>
                    <a:pt x="8792717" y="3670320"/>
                    <a:pt x="8794216" y="3676760"/>
                    <a:pt x="8797215" y="3680603"/>
                  </a:cubicBezTo>
                  <a:cubicBezTo>
                    <a:pt x="8800213" y="3684446"/>
                    <a:pt x="8805428" y="3686452"/>
                    <a:pt x="8812861" y="3686621"/>
                  </a:cubicBezTo>
                  <a:lnTo>
                    <a:pt x="8812861" y="3706132"/>
                  </a:lnTo>
                  <a:cubicBezTo>
                    <a:pt x="8782792" y="3705794"/>
                    <a:pt x="8767758" y="3692956"/>
                    <a:pt x="8767758" y="3667617"/>
                  </a:cubicBezTo>
                  <a:lnTo>
                    <a:pt x="8767758" y="3630243"/>
                  </a:lnTo>
                  <a:cubicBezTo>
                    <a:pt x="8767758" y="3613519"/>
                    <a:pt x="8761170" y="3604735"/>
                    <a:pt x="8747994" y="3603890"/>
                  </a:cubicBezTo>
                  <a:lnTo>
                    <a:pt x="8747994" y="3585393"/>
                  </a:lnTo>
                  <a:cubicBezTo>
                    <a:pt x="8761170" y="3584549"/>
                    <a:pt x="8767758" y="3575596"/>
                    <a:pt x="8767758" y="3558534"/>
                  </a:cubicBezTo>
                  <a:lnTo>
                    <a:pt x="8767758" y="3522173"/>
                  </a:lnTo>
                  <a:cubicBezTo>
                    <a:pt x="8767758" y="3496497"/>
                    <a:pt x="8782792" y="3483490"/>
                    <a:pt x="8812861" y="3483152"/>
                  </a:cubicBezTo>
                  <a:close/>
                  <a:moveTo>
                    <a:pt x="11401347" y="3198895"/>
                  </a:moveTo>
                  <a:lnTo>
                    <a:pt x="11390885" y="3247024"/>
                  </a:lnTo>
                  <a:lnTo>
                    <a:pt x="11433608" y="3247024"/>
                  </a:lnTo>
                  <a:lnTo>
                    <a:pt x="11443896" y="3198895"/>
                  </a:lnTo>
                  <a:close/>
                  <a:moveTo>
                    <a:pt x="5351000" y="3198895"/>
                  </a:moveTo>
                  <a:lnTo>
                    <a:pt x="5340537" y="3247024"/>
                  </a:lnTo>
                  <a:lnTo>
                    <a:pt x="5383260" y="3247024"/>
                  </a:lnTo>
                  <a:lnTo>
                    <a:pt x="5393549" y="3198895"/>
                  </a:lnTo>
                  <a:close/>
                  <a:moveTo>
                    <a:pt x="8818841" y="3110161"/>
                  </a:moveTo>
                  <a:cubicBezTo>
                    <a:pt x="8848741" y="3110499"/>
                    <a:pt x="8863690" y="3123506"/>
                    <a:pt x="8863690" y="3149183"/>
                  </a:cubicBezTo>
                  <a:lnTo>
                    <a:pt x="8863690" y="3185543"/>
                  </a:lnTo>
                  <a:cubicBezTo>
                    <a:pt x="8863690" y="3202605"/>
                    <a:pt x="8870236" y="3211558"/>
                    <a:pt x="8883328" y="3212403"/>
                  </a:cubicBezTo>
                  <a:lnTo>
                    <a:pt x="8883328" y="3230900"/>
                  </a:lnTo>
                  <a:cubicBezTo>
                    <a:pt x="8870236" y="3231744"/>
                    <a:pt x="8863690" y="3240528"/>
                    <a:pt x="8863690" y="3257252"/>
                  </a:cubicBezTo>
                  <a:lnTo>
                    <a:pt x="8863690" y="3294627"/>
                  </a:lnTo>
                  <a:cubicBezTo>
                    <a:pt x="8863690" y="3319965"/>
                    <a:pt x="8848741" y="3332803"/>
                    <a:pt x="8818841" y="3333141"/>
                  </a:cubicBezTo>
                  <a:lnTo>
                    <a:pt x="8818841" y="3313630"/>
                  </a:lnTo>
                  <a:cubicBezTo>
                    <a:pt x="8826189" y="3313461"/>
                    <a:pt x="8831405" y="3311435"/>
                    <a:pt x="8834488" y="3307549"/>
                  </a:cubicBezTo>
                  <a:cubicBezTo>
                    <a:pt x="8837570" y="3303664"/>
                    <a:pt x="8839112" y="3297245"/>
                    <a:pt x="8839112" y="3288292"/>
                  </a:cubicBezTo>
                  <a:lnTo>
                    <a:pt x="8839112" y="3252945"/>
                  </a:lnTo>
                  <a:cubicBezTo>
                    <a:pt x="8839112" y="3235799"/>
                    <a:pt x="8847432" y="3225368"/>
                    <a:pt x="8864071" y="3221651"/>
                  </a:cubicBezTo>
                  <a:lnTo>
                    <a:pt x="8864071" y="3221271"/>
                  </a:lnTo>
                  <a:cubicBezTo>
                    <a:pt x="8847432" y="3217301"/>
                    <a:pt x="8839112" y="3206786"/>
                    <a:pt x="8839112" y="3189724"/>
                  </a:cubicBezTo>
                  <a:lnTo>
                    <a:pt x="8839112" y="3153997"/>
                  </a:lnTo>
                  <a:cubicBezTo>
                    <a:pt x="8839112" y="3138202"/>
                    <a:pt x="8832355" y="3130136"/>
                    <a:pt x="8818841" y="3129799"/>
                  </a:cubicBezTo>
                  <a:close/>
                  <a:moveTo>
                    <a:pt x="8801357" y="3110161"/>
                  </a:moveTo>
                  <a:lnTo>
                    <a:pt x="8801357" y="3129799"/>
                  </a:lnTo>
                  <a:cubicBezTo>
                    <a:pt x="8787928" y="3130136"/>
                    <a:pt x="8781213" y="3138202"/>
                    <a:pt x="8781213" y="3153997"/>
                  </a:cubicBezTo>
                  <a:lnTo>
                    <a:pt x="8781213" y="3189724"/>
                  </a:lnTo>
                  <a:cubicBezTo>
                    <a:pt x="8781213" y="3206786"/>
                    <a:pt x="8772809" y="3217301"/>
                    <a:pt x="8756001" y="3221271"/>
                  </a:cubicBezTo>
                  <a:lnTo>
                    <a:pt x="8756001" y="3221651"/>
                  </a:lnTo>
                  <a:cubicBezTo>
                    <a:pt x="8772809" y="3225368"/>
                    <a:pt x="8781213" y="3235799"/>
                    <a:pt x="8781213" y="3252945"/>
                  </a:cubicBezTo>
                  <a:lnTo>
                    <a:pt x="8781213" y="3288292"/>
                  </a:lnTo>
                  <a:cubicBezTo>
                    <a:pt x="8781213" y="3297329"/>
                    <a:pt x="8782712" y="3303769"/>
                    <a:pt x="8785711" y="3307612"/>
                  </a:cubicBezTo>
                  <a:cubicBezTo>
                    <a:pt x="8788709" y="3311455"/>
                    <a:pt x="8793924" y="3313461"/>
                    <a:pt x="8801357" y="3313630"/>
                  </a:cubicBezTo>
                  <a:lnTo>
                    <a:pt x="8801357" y="3333141"/>
                  </a:lnTo>
                  <a:cubicBezTo>
                    <a:pt x="8771288" y="3332803"/>
                    <a:pt x="8756254" y="3319965"/>
                    <a:pt x="8756254" y="3294627"/>
                  </a:cubicBezTo>
                  <a:lnTo>
                    <a:pt x="8756254" y="3257252"/>
                  </a:lnTo>
                  <a:cubicBezTo>
                    <a:pt x="8756254" y="3240528"/>
                    <a:pt x="8749666" y="3231744"/>
                    <a:pt x="8736490" y="3230900"/>
                  </a:cubicBezTo>
                  <a:lnTo>
                    <a:pt x="8736490" y="3212403"/>
                  </a:lnTo>
                  <a:cubicBezTo>
                    <a:pt x="8749666" y="3211558"/>
                    <a:pt x="8756254" y="3202605"/>
                    <a:pt x="8756254" y="3185543"/>
                  </a:cubicBezTo>
                  <a:lnTo>
                    <a:pt x="8756254" y="3149183"/>
                  </a:lnTo>
                  <a:cubicBezTo>
                    <a:pt x="8756254" y="3123506"/>
                    <a:pt x="8771288" y="3110499"/>
                    <a:pt x="8801357" y="3110161"/>
                  </a:cubicBezTo>
                  <a:close/>
                  <a:moveTo>
                    <a:pt x="6939855" y="3110161"/>
                  </a:moveTo>
                  <a:cubicBezTo>
                    <a:pt x="6969755" y="3110499"/>
                    <a:pt x="6984705" y="3123506"/>
                    <a:pt x="6984705" y="3149183"/>
                  </a:cubicBezTo>
                  <a:lnTo>
                    <a:pt x="6984705" y="3185543"/>
                  </a:lnTo>
                  <a:cubicBezTo>
                    <a:pt x="6984705" y="3202605"/>
                    <a:pt x="6991251" y="3211558"/>
                    <a:pt x="7004342" y="3212403"/>
                  </a:cubicBezTo>
                  <a:lnTo>
                    <a:pt x="7004342" y="3230900"/>
                  </a:lnTo>
                  <a:cubicBezTo>
                    <a:pt x="6991251" y="3231744"/>
                    <a:pt x="6984705" y="3240528"/>
                    <a:pt x="6984705" y="3257252"/>
                  </a:cubicBezTo>
                  <a:lnTo>
                    <a:pt x="6984705" y="3294627"/>
                  </a:lnTo>
                  <a:cubicBezTo>
                    <a:pt x="6984705" y="3319965"/>
                    <a:pt x="6969755" y="3332803"/>
                    <a:pt x="6939855" y="3333141"/>
                  </a:cubicBezTo>
                  <a:lnTo>
                    <a:pt x="6939855" y="3313630"/>
                  </a:lnTo>
                  <a:cubicBezTo>
                    <a:pt x="6947204" y="3313461"/>
                    <a:pt x="6952419" y="3311435"/>
                    <a:pt x="6955502" y="3307549"/>
                  </a:cubicBezTo>
                  <a:cubicBezTo>
                    <a:pt x="6958585" y="3303664"/>
                    <a:pt x="6960126" y="3297245"/>
                    <a:pt x="6960126" y="3288292"/>
                  </a:cubicBezTo>
                  <a:lnTo>
                    <a:pt x="6960126" y="3252945"/>
                  </a:lnTo>
                  <a:cubicBezTo>
                    <a:pt x="6960126" y="3235799"/>
                    <a:pt x="6968446" y="3225368"/>
                    <a:pt x="6985085" y="3221651"/>
                  </a:cubicBezTo>
                  <a:lnTo>
                    <a:pt x="6985085" y="3221271"/>
                  </a:lnTo>
                  <a:cubicBezTo>
                    <a:pt x="6968446" y="3217301"/>
                    <a:pt x="6960126" y="3206786"/>
                    <a:pt x="6960126" y="3189724"/>
                  </a:cubicBezTo>
                  <a:lnTo>
                    <a:pt x="6960126" y="3153997"/>
                  </a:lnTo>
                  <a:cubicBezTo>
                    <a:pt x="6960126" y="3138202"/>
                    <a:pt x="6953369" y="3130136"/>
                    <a:pt x="6939855" y="3129799"/>
                  </a:cubicBezTo>
                  <a:close/>
                  <a:moveTo>
                    <a:pt x="6922371" y="3110161"/>
                  </a:moveTo>
                  <a:lnTo>
                    <a:pt x="6922371" y="3129799"/>
                  </a:lnTo>
                  <a:cubicBezTo>
                    <a:pt x="6908942" y="3130136"/>
                    <a:pt x="6902227" y="3138202"/>
                    <a:pt x="6902227" y="3153997"/>
                  </a:cubicBezTo>
                  <a:lnTo>
                    <a:pt x="6902227" y="3189724"/>
                  </a:lnTo>
                  <a:cubicBezTo>
                    <a:pt x="6902227" y="3206786"/>
                    <a:pt x="6893823" y="3217301"/>
                    <a:pt x="6877015" y="3221271"/>
                  </a:cubicBezTo>
                  <a:lnTo>
                    <a:pt x="6877015" y="3221651"/>
                  </a:lnTo>
                  <a:cubicBezTo>
                    <a:pt x="6893823" y="3225368"/>
                    <a:pt x="6902227" y="3235799"/>
                    <a:pt x="6902227" y="3252945"/>
                  </a:cubicBezTo>
                  <a:lnTo>
                    <a:pt x="6902227" y="3288292"/>
                  </a:lnTo>
                  <a:cubicBezTo>
                    <a:pt x="6902227" y="3297329"/>
                    <a:pt x="6903726" y="3303769"/>
                    <a:pt x="6906725" y="3307612"/>
                  </a:cubicBezTo>
                  <a:cubicBezTo>
                    <a:pt x="6909723" y="3311455"/>
                    <a:pt x="6914939" y="3313461"/>
                    <a:pt x="6922371" y="3313630"/>
                  </a:cubicBezTo>
                  <a:lnTo>
                    <a:pt x="6922371" y="3333141"/>
                  </a:lnTo>
                  <a:cubicBezTo>
                    <a:pt x="6892303" y="3332803"/>
                    <a:pt x="6877269" y="3319965"/>
                    <a:pt x="6877269" y="3294627"/>
                  </a:cubicBezTo>
                  <a:lnTo>
                    <a:pt x="6877269" y="3257252"/>
                  </a:lnTo>
                  <a:cubicBezTo>
                    <a:pt x="6877269" y="3240528"/>
                    <a:pt x="6870680" y="3231744"/>
                    <a:pt x="6857504" y="3230900"/>
                  </a:cubicBezTo>
                  <a:lnTo>
                    <a:pt x="6857504" y="3212403"/>
                  </a:lnTo>
                  <a:cubicBezTo>
                    <a:pt x="6870680" y="3211558"/>
                    <a:pt x="6877269" y="3202605"/>
                    <a:pt x="6877269" y="3185543"/>
                  </a:cubicBezTo>
                  <a:lnTo>
                    <a:pt x="6877269" y="3149183"/>
                  </a:lnTo>
                  <a:cubicBezTo>
                    <a:pt x="6877269" y="3123506"/>
                    <a:pt x="6892303" y="3110499"/>
                    <a:pt x="6922371" y="3110161"/>
                  </a:cubicBezTo>
                  <a:close/>
                  <a:moveTo>
                    <a:pt x="2753674" y="3110161"/>
                  </a:moveTo>
                  <a:cubicBezTo>
                    <a:pt x="2783573" y="3110499"/>
                    <a:pt x="2798522" y="3123506"/>
                    <a:pt x="2798522" y="3149183"/>
                  </a:cubicBezTo>
                  <a:lnTo>
                    <a:pt x="2798522" y="3185543"/>
                  </a:lnTo>
                  <a:cubicBezTo>
                    <a:pt x="2798522" y="3202605"/>
                    <a:pt x="2805068" y="3211558"/>
                    <a:pt x="2818160" y="3212403"/>
                  </a:cubicBezTo>
                  <a:lnTo>
                    <a:pt x="2818160" y="3230900"/>
                  </a:lnTo>
                  <a:cubicBezTo>
                    <a:pt x="2805068" y="3231744"/>
                    <a:pt x="2798522" y="3240528"/>
                    <a:pt x="2798522" y="3257252"/>
                  </a:cubicBezTo>
                  <a:lnTo>
                    <a:pt x="2798522" y="3294627"/>
                  </a:lnTo>
                  <a:cubicBezTo>
                    <a:pt x="2798522" y="3319965"/>
                    <a:pt x="2783573" y="3332803"/>
                    <a:pt x="2753674" y="3333141"/>
                  </a:cubicBezTo>
                  <a:lnTo>
                    <a:pt x="2753674" y="3313630"/>
                  </a:lnTo>
                  <a:cubicBezTo>
                    <a:pt x="2761022" y="3313461"/>
                    <a:pt x="2766237" y="3311435"/>
                    <a:pt x="2769320" y="3307549"/>
                  </a:cubicBezTo>
                  <a:cubicBezTo>
                    <a:pt x="2772402" y="3303664"/>
                    <a:pt x="2773944" y="3297245"/>
                    <a:pt x="2773944" y="3288292"/>
                  </a:cubicBezTo>
                  <a:lnTo>
                    <a:pt x="2773944" y="3252945"/>
                  </a:lnTo>
                  <a:cubicBezTo>
                    <a:pt x="2773944" y="3235799"/>
                    <a:pt x="2782264" y="3225368"/>
                    <a:pt x="2798903" y="3221651"/>
                  </a:cubicBezTo>
                  <a:lnTo>
                    <a:pt x="2798903" y="3221271"/>
                  </a:lnTo>
                  <a:cubicBezTo>
                    <a:pt x="2782264" y="3217301"/>
                    <a:pt x="2773944" y="3206786"/>
                    <a:pt x="2773944" y="3189724"/>
                  </a:cubicBezTo>
                  <a:lnTo>
                    <a:pt x="2773944" y="3153997"/>
                  </a:lnTo>
                  <a:cubicBezTo>
                    <a:pt x="2773944" y="3138202"/>
                    <a:pt x="2767187" y="3130136"/>
                    <a:pt x="2753674" y="3129799"/>
                  </a:cubicBezTo>
                  <a:close/>
                  <a:moveTo>
                    <a:pt x="2736189" y="3110161"/>
                  </a:moveTo>
                  <a:lnTo>
                    <a:pt x="2736189" y="3129799"/>
                  </a:lnTo>
                  <a:cubicBezTo>
                    <a:pt x="2722759" y="3130136"/>
                    <a:pt x="2716044" y="3138202"/>
                    <a:pt x="2716044" y="3153997"/>
                  </a:cubicBezTo>
                  <a:lnTo>
                    <a:pt x="2716044" y="3189724"/>
                  </a:lnTo>
                  <a:cubicBezTo>
                    <a:pt x="2716044" y="3206786"/>
                    <a:pt x="2707641" y="3217301"/>
                    <a:pt x="2690833" y="3221271"/>
                  </a:cubicBezTo>
                  <a:lnTo>
                    <a:pt x="2690833" y="3221651"/>
                  </a:lnTo>
                  <a:cubicBezTo>
                    <a:pt x="2707641" y="3225368"/>
                    <a:pt x="2716044" y="3235799"/>
                    <a:pt x="2716044" y="3252945"/>
                  </a:cubicBezTo>
                  <a:lnTo>
                    <a:pt x="2716044" y="3288292"/>
                  </a:lnTo>
                  <a:cubicBezTo>
                    <a:pt x="2716044" y="3297329"/>
                    <a:pt x="2717543" y="3303769"/>
                    <a:pt x="2720543" y="3307612"/>
                  </a:cubicBezTo>
                  <a:cubicBezTo>
                    <a:pt x="2723540" y="3311455"/>
                    <a:pt x="2728756" y="3313461"/>
                    <a:pt x="2736189" y="3313630"/>
                  </a:cubicBezTo>
                  <a:lnTo>
                    <a:pt x="2736189" y="3333141"/>
                  </a:lnTo>
                  <a:cubicBezTo>
                    <a:pt x="2706120" y="3332803"/>
                    <a:pt x="2691086" y="3319965"/>
                    <a:pt x="2691086" y="3294627"/>
                  </a:cubicBezTo>
                  <a:lnTo>
                    <a:pt x="2691086" y="3257252"/>
                  </a:lnTo>
                  <a:cubicBezTo>
                    <a:pt x="2691086" y="3240528"/>
                    <a:pt x="2684498" y="3231744"/>
                    <a:pt x="2671322" y="3230900"/>
                  </a:cubicBezTo>
                  <a:lnTo>
                    <a:pt x="2671322" y="3212403"/>
                  </a:lnTo>
                  <a:cubicBezTo>
                    <a:pt x="2684498" y="3211558"/>
                    <a:pt x="2691086" y="3202605"/>
                    <a:pt x="2691086" y="3185543"/>
                  </a:cubicBezTo>
                  <a:lnTo>
                    <a:pt x="2691086" y="3149183"/>
                  </a:lnTo>
                  <a:cubicBezTo>
                    <a:pt x="2691086" y="3123506"/>
                    <a:pt x="2706120" y="3110499"/>
                    <a:pt x="2736189" y="3110161"/>
                  </a:cubicBezTo>
                  <a:close/>
                  <a:moveTo>
                    <a:pt x="886774" y="3110161"/>
                  </a:moveTo>
                  <a:cubicBezTo>
                    <a:pt x="916673" y="3110499"/>
                    <a:pt x="931623" y="3123506"/>
                    <a:pt x="931623" y="3149183"/>
                  </a:cubicBezTo>
                  <a:lnTo>
                    <a:pt x="931623" y="3185543"/>
                  </a:lnTo>
                  <a:cubicBezTo>
                    <a:pt x="931623" y="3202605"/>
                    <a:pt x="938169" y="3211558"/>
                    <a:pt x="951260" y="3212403"/>
                  </a:cubicBezTo>
                  <a:lnTo>
                    <a:pt x="951260" y="3230900"/>
                  </a:lnTo>
                  <a:cubicBezTo>
                    <a:pt x="938169" y="3231744"/>
                    <a:pt x="931623" y="3240528"/>
                    <a:pt x="931623" y="3257252"/>
                  </a:cubicBezTo>
                  <a:lnTo>
                    <a:pt x="931623" y="3294627"/>
                  </a:lnTo>
                  <a:cubicBezTo>
                    <a:pt x="931623" y="3319965"/>
                    <a:pt x="916673" y="3332803"/>
                    <a:pt x="886774" y="3333141"/>
                  </a:cubicBezTo>
                  <a:lnTo>
                    <a:pt x="886774" y="3313630"/>
                  </a:lnTo>
                  <a:cubicBezTo>
                    <a:pt x="894122" y="3313461"/>
                    <a:pt x="899337" y="3311435"/>
                    <a:pt x="902420" y="3307549"/>
                  </a:cubicBezTo>
                  <a:cubicBezTo>
                    <a:pt x="905503" y="3303664"/>
                    <a:pt x="907044" y="3297245"/>
                    <a:pt x="907044" y="3288292"/>
                  </a:cubicBezTo>
                  <a:lnTo>
                    <a:pt x="907044" y="3252945"/>
                  </a:lnTo>
                  <a:cubicBezTo>
                    <a:pt x="907044" y="3235799"/>
                    <a:pt x="915364" y="3225368"/>
                    <a:pt x="932003" y="3221651"/>
                  </a:cubicBezTo>
                  <a:lnTo>
                    <a:pt x="932003" y="3221271"/>
                  </a:lnTo>
                  <a:cubicBezTo>
                    <a:pt x="915364" y="3217301"/>
                    <a:pt x="907044" y="3206786"/>
                    <a:pt x="907044" y="3189724"/>
                  </a:cubicBezTo>
                  <a:lnTo>
                    <a:pt x="907044" y="3153997"/>
                  </a:lnTo>
                  <a:cubicBezTo>
                    <a:pt x="907044" y="3138202"/>
                    <a:pt x="900288" y="3130136"/>
                    <a:pt x="886774" y="3129799"/>
                  </a:cubicBezTo>
                  <a:close/>
                  <a:moveTo>
                    <a:pt x="869289" y="3110161"/>
                  </a:moveTo>
                  <a:lnTo>
                    <a:pt x="869289" y="3129799"/>
                  </a:lnTo>
                  <a:cubicBezTo>
                    <a:pt x="855860" y="3130136"/>
                    <a:pt x="849145" y="3138202"/>
                    <a:pt x="849145" y="3153997"/>
                  </a:cubicBezTo>
                  <a:lnTo>
                    <a:pt x="849145" y="3189724"/>
                  </a:lnTo>
                  <a:cubicBezTo>
                    <a:pt x="849145" y="3206786"/>
                    <a:pt x="840741" y="3217301"/>
                    <a:pt x="823933" y="3221271"/>
                  </a:cubicBezTo>
                  <a:lnTo>
                    <a:pt x="823933" y="3221651"/>
                  </a:lnTo>
                  <a:cubicBezTo>
                    <a:pt x="840741" y="3225368"/>
                    <a:pt x="849145" y="3235799"/>
                    <a:pt x="849145" y="3252945"/>
                  </a:cubicBezTo>
                  <a:lnTo>
                    <a:pt x="849145" y="3288292"/>
                  </a:lnTo>
                  <a:cubicBezTo>
                    <a:pt x="849145" y="3297329"/>
                    <a:pt x="850644" y="3303769"/>
                    <a:pt x="853643" y="3307612"/>
                  </a:cubicBezTo>
                  <a:cubicBezTo>
                    <a:pt x="856641" y="3311455"/>
                    <a:pt x="861857" y="3313461"/>
                    <a:pt x="869289" y="3313630"/>
                  </a:cubicBezTo>
                  <a:lnTo>
                    <a:pt x="869289" y="3333141"/>
                  </a:lnTo>
                  <a:cubicBezTo>
                    <a:pt x="839221" y="3332803"/>
                    <a:pt x="824187" y="3319965"/>
                    <a:pt x="824187" y="3294627"/>
                  </a:cubicBezTo>
                  <a:lnTo>
                    <a:pt x="824187" y="3257252"/>
                  </a:lnTo>
                  <a:cubicBezTo>
                    <a:pt x="824187" y="3240528"/>
                    <a:pt x="817598" y="3231744"/>
                    <a:pt x="804422" y="3230900"/>
                  </a:cubicBezTo>
                  <a:lnTo>
                    <a:pt x="804422" y="3212403"/>
                  </a:lnTo>
                  <a:cubicBezTo>
                    <a:pt x="817598" y="3211558"/>
                    <a:pt x="824187" y="3202605"/>
                    <a:pt x="824187" y="3185543"/>
                  </a:cubicBezTo>
                  <a:lnTo>
                    <a:pt x="824187" y="3149183"/>
                  </a:lnTo>
                  <a:cubicBezTo>
                    <a:pt x="824187" y="3123506"/>
                    <a:pt x="839221" y="3110499"/>
                    <a:pt x="869289" y="3110161"/>
                  </a:cubicBezTo>
                  <a:close/>
                  <a:moveTo>
                    <a:pt x="11392280" y="3107344"/>
                  </a:moveTo>
                  <a:lnTo>
                    <a:pt x="11420355" y="3107344"/>
                  </a:lnTo>
                  <a:lnTo>
                    <a:pt x="11406579" y="3174481"/>
                  </a:lnTo>
                  <a:lnTo>
                    <a:pt x="11448779" y="3174481"/>
                  </a:lnTo>
                  <a:lnTo>
                    <a:pt x="11463078" y="3107344"/>
                  </a:lnTo>
                  <a:lnTo>
                    <a:pt x="11490631" y="3107344"/>
                  </a:lnTo>
                  <a:lnTo>
                    <a:pt x="11476680" y="3174481"/>
                  </a:lnTo>
                  <a:lnTo>
                    <a:pt x="11516439" y="3174481"/>
                  </a:lnTo>
                  <a:lnTo>
                    <a:pt x="11511033" y="3198895"/>
                  </a:lnTo>
                  <a:lnTo>
                    <a:pt x="11471449" y="3198895"/>
                  </a:lnTo>
                  <a:lnTo>
                    <a:pt x="11461335" y="3247024"/>
                  </a:lnTo>
                  <a:lnTo>
                    <a:pt x="11504581" y="3247024"/>
                  </a:lnTo>
                  <a:lnTo>
                    <a:pt x="11498477" y="3271437"/>
                  </a:lnTo>
                  <a:lnTo>
                    <a:pt x="11456278" y="3271437"/>
                  </a:lnTo>
                  <a:lnTo>
                    <a:pt x="11441978" y="3335958"/>
                  </a:lnTo>
                  <a:lnTo>
                    <a:pt x="11414251" y="3335958"/>
                  </a:lnTo>
                  <a:lnTo>
                    <a:pt x="11428202" y="3271437"/>
                  </a:lnTo>
                  <a:lnTo>
                    <a:pt x="11386002" y="3271437"/>
                  </a:lnTo>
                  <a:lnTo>
                    <a:pt x="11372400" y="3335958"/>
                  </a:lnTo>
                  <a:lnTo>
                    <a:pt x="11344674" y="3335958"/>
                  </a:lnTo>
                  <a:lnTo>
                    <a:pt x="11358275" y="3271437"/>
                  </a:lnTo>
                  <a:lnTo>
                    <a:pt x="11318342" y="3271437"/>
                  </a:lnTo>
                  <a:lnTo>
                    <a:pt x="11323224" y="3247024"/>
                  </a:lnTo>
                  <a:lnTo>
                    <a:pt x="11363681" y="3247024"/>
                  </a:lnTo>
                  <a:lnTo>
                    <a:pt x="11373272" y="3198895"/>
                  </a:lnTo>
                  <a:lnTo>
                    <a:pt x="11330723" y="3198895"/>
                  </a:lnTo>
                  <a:lnTo>
                    <a:pt x="11335780" y="3174481"/>
                  </a:lnTo>
                  <a:lnTo>
                    <a:pt x="11378329" y="3174481"/>
                  </a:lnTo>
                  <a:close/>
                  <a:moveTo>
                    <a:pt x="5341932" y="3107344"/>
                  </a:moveTo>
                  <a:lnTo>
                    <a:pt x="5370007" y="3107344"/>
                  </a:lnTo>
                  <a:lnTo>
                    <a:pt x="5356231" y="3174481"/>
                  </a:lnTo>
                  <a:lnTo>
                    <a:pt x="5398431" y="3174481"/>
                  </a:lnTo>
                  <a:lnTo>
                    <a:pt x="5412730" y="3107344"/>
                  </a:lnTo>
                  <a:lnTo>
                    <a:pt x="5440283" y="3107344"/>
                  </a:lnTo>
                  <a:lnTo>
                    <a:pt x="5426332" y="3174481"/>
                  </a:lnTo>
                  <a:lnTo>
                    <a:pt x="5466091" y="3174481"/>
                  </a:lnTo>
                  <a:lnTo>
                    <a:pt x="5460686" y="3198895"/>
                  </a:lnTo>
                  <a:lnTo>
                    <a:pt x="5421101" y="3198895"/>
                  </a:lnTo>
                  <a:lnTo>
                    <a:pt x="5410987" y="3247024"/>
                  </a:lnTo>
                  <a:lnTo>
                    <a:pt x="5454233" y="3247024"/>
                  </a:lnTo>
                  <a:lnTo>
                    <a:pt x="5448130" y="3271437"/>
                  </a:lnTo>
                  <a:lnTo>
                    <a:pt x="5405930" y="3271437"/>
                  </a:lnTo>
                  <a:lnTo>
                    <a:pt x="5391631" y="3335958"/>
                  </a:lnTo>
                  <a:lnTo>
                    <a:pt x="5363903" y="3335958"/>
                  </a:lnTo>
                  <a:lnTo>
                    <a:pt x="5377854" y="3271437"/>
                  </a:lnTo>
                  <a:lnTo>
                    <a:pt x="5335654" y="3271437"/>
                  </a:lnTo>
                  <a:lnTo>
                    <a:pt x="5322052" y="3335958"/>
                  </a:lnTo>
                  <a:lnTo>
                    <a:pt x="5294326" y="3335958"/>
                  </a:lnTo>
                  <a:lnTo>
                    <a:pt x="5307927" y="3271437"/>
                  </a:lnTo>
                  <a:lnTo>
                    <a:pt x="5267994" y="3271437"/>
                  </a:lnTo>
                  <a:lnTo>
                    <a:pt x="5272877" y="3247024"/>
                  </a:lnTo>
                  <a:lnTo>
                    <a:pt x="5313333" y="3247024"/>
                  </a:lnTo>
                  <a:lnTo>
                    <a:pt x="5322924" y="3198895"/>
                  </a:lnTo>
                  <a:lnTo>
                    <a:pt x="5280375" y="3198895"/>
                  </a:lnTo>
                  <a:lnTo>
                    <a:pt x="5285432" y="3174481"/>
                  </a:lnTo>
                  <a:lnTo>
                    <a:pt x="5327981" y="3174481"/>
                  </a:lnTo>
                  <a:close/>
                  <a:moveTo>
                    <a:pt x="179757" y="2978567"/>
                  </a:moveTo>
                  <a:cubicBezTo>
                    <a:pt x="175238" y="2996466"/>
                    <a:pt x="170094" y="3007765"/>
                    <a:pt x="156566" y="3017814"/>
                  </a:cubicBezTo>
                  <a:cubicBezTo>
                    <a:pt x="155199" y="3025158"/>
                    <a:pt x="167507" y="3021234"/>
                    <a:pt x="172979" y="3021204"/>
                  </a:cubicBezTo>
                  <a:cubicBezTo>
                    <a:pt x="178450" y="3021174"/>
                    <a:pt x="187934" y="3022646"/>
                    <a:pt x="189390" y="3017636"/>
                  </a:cubicBezTo>
                  <a:cubicBezTo>
                    <a:pt x="190372" y="3014187"/>
                    <a:pt x="187964" y="3011541"/>
                    <a:pt x="186448" y="3008181"/>
                  </a:cubicBezTo>
                  <a:cubicBezTo>
                    <a:pt x="185674" y="3004494"/>
                    <a:pt x="188543" y="2999915"/>
                    <a:pt x="187429" y="2994980"/>
                  </a:cubicBezTo>
                  <a:cubicBezTo>
                    <a:pt x="186313" y="2990044"/>
                    <a:pt x="183028" y="2982254"/>
                    <a:pt x="179757" y="2978567"/>
                  </a:cubicBezTo>
                  <a:close/>
                  <a:moveTo>
                    <a:pt x="19737" y="2962155"/>
                  </a:moveTo>
                  <a:cubicBezTo>
                    <a:pt x="14920" y="2967656"/>
                    <a:pt x="6089" y="2978151"/>
                    <a:pt x="6089" y="2982403"/>
                  </a:cubicBezTo>
                  <a:cubicBezTo>
                    <a:pt x="6357" y="2987695"/>
                    <a:pt x="20540" y="3003335"/>
                    <a:pt x="27587" y="3003989"/>
                  </a:cubicBezTo>
                  <a:cubicBezTo>
                    <a:pt x="33414" y="3004137"/>
                    <a:pt x="33978" y="3001075"/>
                    <a:pt x="36505" y="2996764"/>
                  </a:cubicBezTo>
                  <a:cubicBezTo>
                    <a:pt x="28418" y="2985317"/>
                    <a:pt x="25058" y="2979489"/>
                    <a:pt x="19737" y="2962155"/>
                  </a:cubicBezTo>
                  <a:close/>
                  <a:moveTo>
                    <a:pt x="3349" y="2893864"/>
                  </a:moveTo>
                  <a:lnTo>
                    <a:pt x="3148" y="2895381"/>
                  </a:lnTo>
                  <a:lnTo>
                    <a:pt x="3082" y="2894121"/>
                  </a:lnTo>
                  <a:close/>
                  <a:moveTo>
                    <a:pt x="205269" y="2866669"/>
                  </a:moveTo>
                  <a:cubicBezTo>
                    <a:pt x="205231" y="2866840"/>
                    <a:pt x="202372" y="2867903"/>
                    <a:pt x="201276" y="2869523"/>
                  </a:cubicBezTo>
                  <a:cubicBezTo>
                    <a:pt x="205814" y="2871035"/>
                    <a:pt x="207408" y="2872458"/>
                    <a:pt x="208199" y="2877894"/>
                  </a:cubicBezTo>
                  <a:cubicBezTo>
                    <a:pt x="208412" y="2877854"/>
                    <a:pt x="209906" y="2876648"/>
                    <a:pt x="215079" y="2876168"/>
                  </a:cubicBezTo>
                  <a:cubicBezTo>
                    <a:pt x="203335" y="2880866"/>
                    <a:pt x="197388" y="2885921"/>
                    <a:pt x="188855" y="2895346"/>
                  </a:cubicBezTo>
                  <a:cubicBezTo>
                    <a:pt x="191554" y="2890039"/>
                    <a:pt x="193853" y="2887789"/>
                    <a:pt x="193873" y="2887723"/>
                  </a:cubicBezTo>
                  <a:cubicBezTo>
                    <a:pt x="189405" y="2886206"/>
                    <a:pt x="188150" y="2885848"/>
                    <a:pt x="186090" y="2880762"/>
                  </a:cubicBezTo>
                  <a:cubicBezTo>
                    <a:pt x="185820" y="2880911"/>
                    <a:pt x="185369" y="2880680"/>
                    <a:pt x="181273" y="2884821"/>
                  </a:cubicBezTo>
                  <a:cubicBezTo>
                    <a:pt x="188469" y="2870668"/>
                    <a:pt x="195219" y="2869761"/>
                    <a:pt x="205269" y="2866669"/>
                  </a:cubicBezTo>
                  <a:close/>
                  <a:moveTo>
                    <a:pt x="178700" y="2850257"/>
                  </a:moveTo>
                  <a:cubicBezTo>
                    <a:pt x="179400" y="2850202"/>
                    <a:pt x="180158" y="2850222"/>
                    <a:pt x="180984" y="2850294"/>
                  </a:cubicBezTo>
                  <a:cubicBezTo>
                    <a:pt x="183185" y="2850487"/>
                    <a:pt x="185853" y="2851052"/>
                    <a:pt x="189123" y="2851550"/>
                  </a:cubicBezTo>
                  <a:cubicBezTo>
                    <a:pt x="178003" y="2853304"/>
                    <a:pt x="174911" y="2859518"/>
                    <a:pt x="170213" y="2870460"/>
                  </a:cubicBezTo>
                  <a:cubicBezTo>
                    <a:pt x="171774" y="2854733"/>
                    <a:pt x="173797" y="2850646"/>
                    <a:pt x="178700" y="2850257"/>
                  </a:cubicBezTo>
                  <a:close/>
                  <a:moveTo>
                    <a:pt x="281302" y="2828180"/>
                  </a:moveTo>
                  <a:cubicBezTo>
                    <a:pt x="282899" y="2830236"/>
                    <a:pt x="278039" y="2837977"/>
                    <a:pt x="273106" y="2842101"/>
                  </a:cubicBezTo>
                  <a:cubicBezTo>
                    <a:pt x="268170" y="2846225"/>
                    <a:pt x="260901" y="2845802"/>
                    <a:pt x="260930" y="2844092"/>
                  </a:cubicBezTo>
                  <a:cubicBezTo>
                    <a:pt x="260957" y="2842383"/>
                    <a:pt x="268674" y="2840116"/>
                    <a:pt x="272070" y="2837463"/>
                  </a:cubicBezTo>
                  <a:cubicBezTo>
                    <a:pt x="275465" y="2834811"/>
                    <a:pt x="280173" y="2827194"/>
                    <a:pt x="281302" y="2828180"/>
                  </a:cubicBezTo>
                  <a:close/>
                  <a:moveTo>
                    <a:pt x="177365" y="2809175"/>
                  </a:moveTo>
                  <a:cubicBezTo>
                    <a:pt x="179304" y="2809250"/>
                    <a:pt x="181261" y="2809417"/>
                    <a:pt x="183229" y="2809689"/>
                  </a:cubicBezTo>
                  <a:cubicBezTo>
                    <a:pt x="198965" y="2811862"/>
                    <a:pt x="219210" y="2828364"/>
                    <a:pt x="226213" y="2838909"/>
                  </a:cubicBezTo>
                  <a:cubicBezTo>
                    <a:pt x="235633" y="2841485"/>
                    <a:pt x="241629" y="2855129"/>
                    <a:pt x="244084" y="2859919"/>
                  </a:cubicBezTo>
                  <a:cubicBezTo>
                    <a:pt x="246539" y="2864708"/>
                    <a:pt x="243681" y="2867445"/>
                    <a:pt x="240944" y="2867646"/>
                  </a:cubicBezTo>
                  <a:cubicBezTo>
                    <a:pt x="240904" y="2868230"/>
                    <a:pt x="249386" y="2875011"/>
                    <a:pt x="253970" y="2877683"/>
                  </a:cubicBezTo>
                  <a:cubicBezTo>
                    <a:pt x="257517" y="2862263"/>
                    <a:pt x="252370" y="2851914"/>
                    <a:pt x="252294" y="2840600"/>
                  </a:cubicBezTo>
                  <a:cubicBezTo>
                    <a:pt x="257689" y="2831181"/>
                    <a:pt x="262115" y="2834562"/>
                    <a:pt x="267509" y="2830940"/>
                  </a:cubicBezTo>
                  <a:cubicBezTo>
                    <a:pt x="270728" y="2827237"/>
                    <a:pt x="273707" y="2819429"/>
                    <a:pt x="279342" y="2819832"/>
                  </a:cubicBezTo>
                  <a:cubicBezTo>
                    <a:pt x="289162" y="2820234"/>
                    <a:pt x="301639" y="2838507"/>
                    <a:pt x="302041" y="2881894"/>
                  </a:cubicBezTo>
                  <a:cubicBezTo>
                    <a:pt x="302283" y="2916347"/>
                    <a:pt x="288518" y="2939449"/>
                    <a:pt x="264611" y="2949753"/>
                  </a:cubicBezTo>
                  <a:cubicBezTo>
                    <a:pt x="252386" y="2953013"/>
                    <a:pt x="241891" y="2952809"/>
                    <a:pt x="232799" y="2950466"/>
                  </a:cubicBezTo>
                  <a:lnTo>
                    <a:pt x="228820" y="2949080"/>
                  </a:lnTo>
                  <a:lnTo>
                    <a:pt x="228342" y="2951341"/>
                  </a:lnTo>
                  <a:cubicBezTo>
                    <a:pt x="223490" y="2969955"/>
                    <a:pt x="209847" y="2971386"/>
                    <a:pt x="203755" y="2971245"/>
                  </a:cubicBezTo>
                  <a:cubicBezTo>
                    <a:pt x="196792" y="2971084"/>
                    <a:pt x="186488" y="2964644"/>
                    <a:pt x="182263" y="2961586"/>
                  </a:cubicBezTo>
                  <a:cubicBezTo>
                    <a:pt x="182141" y="2966254"/>
                    <a:pt x="183229" y="2967905"/>
                    <a:pt x="181297" y="2974143"/>
                  </a:cubicBezTo>
                  <a:cubicBezTo>
                    <a:pt x="186367" y="2977484"/>
                    <a:pt x="189427" y="2989397"/>
                    <a:pt x="190956" y="2994669"/>
                  </a:cubicBezTo>
                  <a:cubicBezTo>
                    <a:pt x="192486" y="2999942"/>
                    <a:pt x="190594" y="3001149"/>
                    <a:pt x="190474" y="3005778"/>
                  </a:cubicBezTo>
                  <a:cubicBezTo>
                    <a:pt x="190353" y="3010407"/>
                    <a:pt x="195182" y="3014109"/>
                    <a:pt x="192646" y="3019543"/>
                  </a:cubicBezTo>
                  <a:cubicBezTo>
                    <a:pt x="190110" y="3024976"/>
                    <a:pt x="183510" y="3025258"/>
                    <a:pt x="176709" y="3025339"/>
                  </a:cubicBezTo>
                  <a:cubicBezTo>
                    <a:pt x="169907" y="3025419"/>
                    <a:pt x="154693" y="3030088"/>
                    <a:pt x="151834" y="3020026"/>
                  </a:cubicBezTo>
                  <a:cubicBezTo>
                    <a:pt x="151478" y="3018768"/>
                    <a:pt x="151228" y="3017269"/>
                    <a:pt x="151076" y="3015572"/>
                  </a:cubicBezTo>
                  <a:cubicBezTo>
                    <a:pt x="151062" y="3015123"/>
                    <a:pt x="151049" y="3014675"/>
                    <a:pt x="151036" y="3014227"/>
                  </a:cubicBezTo>
                  <a:lnTo>
                    <a:pt x="147296" y="3017771"/>
                  </a:lnTo>
                  <a:cubicBezTo>
                    <a:pt x="138748" y="3025818"/>
                    <a:pt x="131042" y="3032402"/>
                    <a:pt x="123822" y="3032100"/>
                  </a:cubicBezTo>
                  <a:cubicBezTo>
                    <a:pt x="111787" y="3029685"/>
                    <a:pt x="102491" y="3010527"/>
                    <a:pt x="100397" y="3003846"/>
                  </a:cubicBezTo>
                  <a:cubicBezTo>
                    <a:pt x="98305" y="2997165"/>
                    <a:pt x="105106" y="2995917"/>
                    <a:pt x="111264" y="2992013"/>
                  </a:cubicBezTo>
                  <a:cubicBezTo>
                    <a:pt x="105106" y="2995595"/>
                    <a:pt x="88444" y="2992657"/>
                    <a:pt x="86392" y="2989598"/>
                  </a:cubicBezTo>
                  <a:cubicBezTo>
                    <a:pt x="86994" y="2995957"/>
                    <a:pt x="86632" y="2996883"/>
                    <a:pt x="85426" y="3000465"/>
                  </a:cubicBezTo>
                  <a:cubicBezTo>
                    <a:pt x="84217" y="3004047"/>
                    <a:pt x="81039" y="3006140"/>
                    <a:pt x="79147" y="3011091"/>
                  </a:cubicBezTo>
                  <a:cubicBezTo>
                    <a:pt x="77254" y="3016041"/>
                    <a:pt x="81602" y="3028397"/>
                    <a:pt x="74075" y="3030168"/>
                  </a:cubicBezTo>
                  <a:cubicBezTo>
                    <a:pt x="66549" y="3031939"/>
                    <a:pt x="43164" y="3031255"/>
                    <a:pt x="33988" y="3021716"/>
                  </a:cubicBezTo>
                  <a:cubicBezTo>
                    <a:pt x="30125" y="3017007"/>
                    <a:pt x="36403" y="3009722"/>
                    <a:pt x="34954" y="3007710"/>
                  </a:cubicBezTo>
                  <a:cubicBezTo>
                    <a:pt x="33506" y="3005697"/>
                    <a:pt x="31091" y="3013626"/>
                    <a:pt x="25294" y="3009642"/>
                  </a:cubicBezTo>
                  <a:cubicBezTo>
                    <a:pt x="19499" y="3005657"/>
                    <a:pt x="1829" y="2992536"/>
                    <a:pt x="180" y="2983802"/>
                  </a:cubicBezTo>
                  <a:cubicBezTo>
                    <a:pt x="-1471" y="2975069"/>
                    <a:pt x="8592" y="2965892"/>
                    <a:pt x="15393" y="2957239"/>
                  </a:cubicBezTo>
                  <a:cubicBezTo>
                    <a:pt x="13743" y="2947861"/>
                    <a:pt x="13058" y="2941582"/>
                    <a:pt x="16842" y="2930675"/>
                  </a:cubicBezTo>
                  <a:cubicBezTo>
                    <a:pt x="11770" y="2927576"/>
                    <a:pt x="743" y="2923189"/>
                    <a:pt x="1387" y="2908699"/>
                  </a:cubicBezTo>
                  <a:lnTo>
                    <a:pt x="3148" y="2895381"/>
                  </a:lnTo>
                  <a:lnTo>
                    <a:pt x="3607" y="2904101"/>
                  </a:lnTo>
                  <a:lnTo>
                    <a:pt x="4431" y="2904497"/>
                  </a:lnTo>
                  <a:lnTo>
                    <a:pt x="4552" y="2905671"/>
                  </a:lnTo>
                  <a:cubicBezTo>
                    <a:pt x="5577" y="2914050"/>
                    <a:pt x="8320" y="2923332"/>
                    <a:pt x="24108" y="2919518"/>
                  </a:cubicBezTo>
                  <a:cubicBezTo>
                    <a:pt x="17317" y="2955551"/>
                    <a:pt x="32653" y="2973417"/>
                    <a:pt x="42330" y="2990148"/>
                  </a:cubicBezTo>
                  <a:lnTo>
                    <a:pt x="43293" y="2991998"/>
                  </a:lnTo>
                  <a:lnTo>
                    <a:pt x="43258" y="2992865"/>
                  </a:lnTo>
                  <a:cubicBezTo>
                    <a:pt x="42967" y="2997973"/>
                    <a:pt x="42236" y="3001513"/>
                    <a:pt x="41857" y="3006308"/>
                  </a:cubicBezTo>
                  <a:cubicBezTo>
                    <a:pt x="40758" y="3010084"/>
                    <a:pt x="38052" y="3009668"/>
                    <a:pt x="38558" y="3017636"/>
                  </a:cubicBezTo>
                  <a:cubicBezTo>
                    <a:pt x="38885" y="3022601"/>
                    <a:pt x="68023" y="3030599"/>
                    <a:pt x="72721" y="3024237"/>
                  </a:cubicBezTo>
                  <a:cubicBezTo>
                    <a:pt x="74087" y="3022036"/>
                    <a:pt x="73494" y="3016982"/>
                    <a:pt x="73879" y="3013354"/>
                  </a:cubicBezTo>
                  <a:cubicBezTo>
                    <a:pt x="74474" y="3009311"/>
                    <a:pt x="79708" y="3004910"/>
                    <a:pt x="80480" y="2999172"/>
                  </a:cubicBezTo>
                  <a:cubicBezTo>
                    <a:pt x="80986" y="2994608"/>
                    <a:pt x="80933" y="2989442"/>
                    <a:pt x="80759" y="2984064"/>
                  </a:cubicBezTo>
                  <a:lnTo>
                    <a:pt x="80551" y="2978385"/>
                  </a:lnTo>
                  <a:lnTo>
                    <a:pt x="82139" y="2980235"/>
                  </a:lnTo>
                  <a:cubicBezTo>
                    <a:pt x="92413" y="2990712"/>
                    <a:pt x="114200" y="2994240"/>
                    <a:pt x="121512" y="2978032"/>
                  </a:cubicBezTo>
                  <a:cubicBezTo>
                    <a:pt x="121601" y="2983235"/>
                    <a:pt x="123296" y="2985227"/>
                    <a:pt x="122403" y="2991769"/>
                  </a:cubicBezTo>
                  <a:cubicBezTo>
                    <a:pt x="119846" y="2995901"/>
                    <a:pt x="108459" y="2996823"/>
                    <a:pt x="105366" y="3004435"/>
                  </a:cubicBezTo>
                  <a:cubicBezTo>
                    <a:pt x="104444" y="3007616"/>
                    <a:pt x="116546" y="3026675"/>
                    <a:pt x="124276" y="3027358"/>
                  </a:cubicBezTo>
                  <a:cubicBezTo>
                    <a:pt x="129895" y="3028012"/>
                    <a:pt x="140333" y="3016982"/>
                    <a:pt x="159331" y="2999618"/>
                  </a:cubicBezTo>
                  <a:cubicBezTo>
                    <a:pt x="162272" y="2996930"/>
                    <a:pt x="173394" y="2975832"/>
                    <a:pt x="178419" y="2957784"/>
                  </a:cubicBezTo>
                  <a:cubicBezTo>
                    <a:pt x="173297" y="2955212"/>
                    <a:pt x="165876" y="2949084"/>
                    <a:pt x="161556" y="2939521"/>
                  </a:cubicBezTo>
                  <a:lnTo>
                    <a:pt x="161363" y="2939013"/>
                  </a:lnTo>
                  <a:lnTo>
                    <a:pt x="163980" y="2940661"/>
                  </a:lnTo>
                  <a:cubicBezTo>
                    <a:pt x="170570" y="2945051"/>
                    <a:pt x="177261" y="2949868"/>
                    <a:pt x="183147" y="2951273"/>
                  </a:cubicBezTo>
                  <a:cubicBezTo>
                    <a:pt x="187487" y="2956268"/>
                    <a:pt x="192542" y="2964207"/>
                    <a:pt x="204466" y="2965723"/>
                  </a:cubicBezTo>
                  <a:cubicBezTo>
                    <a:pt x="214633" y="2967447"/>
                    <a:pt x="221859" y="2957844"/>
                    <a:pt x="225427" y="2947348"/>
                  </a:cubicBezTo>
                  <a:lnTo>
                    <a:pt x="222126" y="2947081"/>
                  </a:lnTo>
                  <a:cubicBezTo>
                    <a:pt x="206962" y="2972502"/>
                    <a:pt x="190937" y="2949318"/>
                    <a:pt x="194333" y="2924933"/>
                  </a:cubicBezTo>
                  <a:lnTo>
                    <a:pt x="195258" y="2920157"/>
                  </a:lnTo>
                  <a:lnTo>
                    <a:pt x="197010" y="2922067"/>
                  </a:lnTo>
                  <a:cubicBezTo>
                    <a:pt x="227282" y="2952918"/>
                    <a:pt x="253752" y="2948407"/>
                    <a:pt x="268776" y="2940212"/>
                  </a:cubicBezTo>
                  <a:cubicBezTo>
                    <a:pt x="309927" y="2914850"/>
                    <a:pt x="297870" y="2827322"/>
                    <a:pt x="280640" y="2823096"/>
                  </a:cubicBezTo>
                  <a:cubicBezTo>
                    <a:pt x="276701" y="2822130"/>
                    <a:pt x="273951" y="2832283"/>
                    <a:pt x="271363" y="2833800"/>
                  </a:cubicBezTo>
                  <a:cubicBezTo>
                    <a:pt x="263425" y="2837992"/>
                    <a:pt x="259947" y="2837367"/>
                    <a:pt x="257805" y="2840668"/>
                  </a:cubicBezTo>
                  <a:cubicBezTo>
                    <a:pt x="253569" y="2846856"/>
                    <a:pt x="269167" y="2882678"/>
                    <a:pt x="249328" y="2901463"/>
                  </a:cubicBezTo>
                  <a:lnTo>
                    <a:pt x="247848" y="2902631"/>
                  </a:lnTo>
                  <a:lnTo>
                    <a:pt x="248159" y="2902030"/>
                  </a:lnTo>
                  <a:cubicBezTo>
                    <a:pt x="251918" y="2894766"/>
                    <a:pt x="255866" y="2886449"/>
                    <a:pt x="251383" y="2882948"/>
                  </a:cubicBezTo>
                  <a:cubicBezTo>
                    <a:pt x="246120" y="2878755"/>
                    <a:pt x="242820" y="2881966"/>
                    <a:pt x="238807" y="2885356"/>
                  </a:cubicBezTo>
                  <a:cubicBezTo>
                    <a:pt x="241394" y="2882412"/>
                    <a:pt x="244515" y="2881877"/>
                    <a:pt x="240145" y="2874920"/>
                  </a:cubicBezTo>
                  <a:cubicBezTo>
                    <a:pt x="236665" y="2872571"/>
                    <a:pt x="234793" y="2873166"/>
                    <a:pt x="228371" y="2874830"/>
                  </a:cubicBezTo>
                  <a:cubicBezTo>
                    <a:pt x="232443" y="2871798"/>
                    <a:pt x="233751" y="2872957"/>
                    <a:pt x="231760" y="2867070"/>
                  </a:cubicBezTo>
                  <a:cubicBezTo>
                    <a:pt x="229039" y="2863413"/>
                    <a:pt x="227674" y="2863720"/>
                    <a:pt x="224953" y="2863926"/>
                  </a:cubicBezTo>
                  <a:lnTo>
                    <a:pt x="223066" y="2863939"/>
                  </a:lnTo>
                  <a:lnTo>
                    <a:pt x="224618" y="2863382"/>
                  </a:lnTo>
                  <a:cubicBezTo>
                    <a:pt x="225487" y="2863089"/>
                    <a:pt x="226274" y="2862852"/>
                    <a:pt x="226943" y="2862700"/>
                  </a:cubicBezTo>
                  <a:cubicBezTo>
                    <a:pt x="232295" y="2861481"/>
                    <a:pt x="238153" y="2863160"/>
                    <a:pt x="238182" y="2860113"/>
                  </a:cubicBezTo>
                  <a:cubicBezTo>
                    <a:pt x="238836" y="2856783"/>
                    <a:pt x="230482" y="2846406"/>
                    <a:pt x="226764" y="2845574"/>
                  </a:cubicBezTo>
                  <a:cubicBezTo>
                    <a:pt x="224780" y="2844949"/>
                    <a:pt x="219584" y="2844425"/>
                    <a:pt x="214865" y="2844114"/>
                  </a:cubicBezTo>
                  <a:lnTo>
                    <a:pt x="213767" y="2844056"/>
                  </a:lnTo>
                  <a:lnTo>
                    <a:pt x="213775" y="2844032"/>
                  </a:lnTo>
                  <a:cubicBezTo>
                    <a:pt x="214896" y="2842485"/>
                    <a:pt x="218625" y="2841917"/>
                    <a:pt x="221503" y="2841649"/>
                  </a:cubicBezTo>
                  <a:cubicBezTo>
                    <a:pt x="209431" y="2825712"/>
                    <a:pt x="193166" y="2815484"/>
                    <a:pt x="179133" y="2815693"/>
                  </a:cubicBezTo>
                  <a:cubicBezTo>
                    <a:pt x="162216" y="2816198"/>
                    <a:pt x="141016" y="2820539"/>
                    <a:pt x="129003" y="2839152"/>
                  </a:cubicBezTo>
                  <a:cubicBezTo>
                    <a:pt x="135143" y="2839085"/>
                    <a:pt x="139712" y="2839113"/>
                    <a:pt x="143140" y="2839476"/>
                  </a:cubicBezTo>
                  <a:lnTo>
                    <a:pt x="143713" y="2839559"/>
                  </a:lnTo>
                  <a:lnTo>
                    <a:pt x="141320" y="2840210"/>
                  </a:lnTo>
                  <a:cubicBezTo>
                    <a:pt x="128600" y="2843270"/>
                    <a:pt x="119739" y="2842813"/>
                    <a:pt x="116887" y="2845292"/>
                  </a:cubicBezTo>
                  <a:cubicBezTo>
                    <a:pt x="110925" y="2849464"/>
                    <a:pt x="72316" y="2885033"/>
                    <a:pt x="70724" y="2905171"/>
                  </a:cubicBezTo>
                  <a:cubicBezTo>
                    <a:pt x="74812" y="2915861"/>
                    <a:pt x="75581" y="2908307"/>
                    <a:pt x="84610" y="2927135"/>
                  </a:cubicBezTo>
                  <a:lnTo>
                    <a:pt x="99020" y="2910709"/>
                  </a:lnTo>
                  <a:lnTo>
                    <a:pt x="82161" y="2945578"/>
                  </a:lnTo>
                  <a:cubicBezTo>
                    <a:pt x="86365" y="2951717"/>
                    <a:pt x="89230" y="2955001"/>
                    <a:pt x="97984" y="2954896"/>
                  </a:cubicBezTo>
                  <a:cubicBezTo>
                    <a:pt x="107331" y="2953656"/>
                    <a:pt x="115965" y="2945994"/>
                    <a:pt x="124956" y="2941543"/>
                  </a:cubicBezTo>
                  <a:cubicBezTo>
                    <a:pt x="133842" y="2937845"/>
                    <a:pt x="136483" y="2940391"/>
                    <a:pt x="142246" y="2939814"/>
                  </a:cubicBezTo>
                  <a:cubicBezTo>
                    <a:pt x="154392" y="2906873"/>
                    <a:pt x="135316" y="2907024"/>
                    <a:pt x="148442" y="2871228"/>
                  </a:cubicBezTo>
                  <a:cubicBezTo>
                    <a:pt x="143777" y="2900142"/>
                    <a:pt x="162303" y="2900156"/>
                    <a:pt x="149162" y="2948604"/>
                  </a:cubicBezTo>
                  <a:lnTo>
                    <a:pt x="147070" y="2948261"/>
                  </a:lnTo>
                  <a:lnTo>
                    <a:pt x="144419" y="2947583"/>
                  </a:lnTo>
                  <a:lnTo>
                    <a:pt x="141703" y="2947159"/>
                  </a:lnTo>
                  <a:lnTo>
                    <a:pt x="140941" y="2946983"/>
                  </a:lnTo>
                  <a:cubicBezTo>
                    <a:pt x="138887" y="2946578"/>
                    <a:pt x="136724" y="2946360"/>
                    <a:pt x="134217" y="2946755"/>
                  </a:cubicBezTo>
                  <a:lnTo>
                    <a:pt x="133237" y="2946983"/>
                  </a:lnTo>
                  <a:lnTo>
                    <a:pt x="132646" y="2947035"/>
                  </a:lnTo>
                  <a:cubicBezTo>
                    <a:pt x="119533" y="2949076"/>
                    <a:pt x="114710" y="2960639"/>
                    <a:pt x="93681" y="2962869"/>
                  </a:cubicBezTo>
                  <a:cubicBezTo>
                    <a:pt x="87412" y="2961646"/>
                    <a:pt x="77385" y="2952433"/>
                    <a:pt x="71492" y="2945269"/>
                  </a:cubicBezTo>
                  <a:lnTo>
                    <a:pt x="71036" y="2944680"/>
                  </a:lnTo>
                  <a:lnTo>
                    <a:pt x="72748" y="2941821"/>
                  </a:lnTo>
                  <a:cubicBezTo>
                    <a:pt x="74575" y="2938975"/>
                    <a:pt x="76574" y="2936065"/>
                    <a:pt x="78786" y="2933077"/>
                  </a:cubicBezTo>
                  <a:cubicBezTo>
                    <a:pt x="74920" y="2922700"/>
                    <a:pt x="64723" y="2919102"/>
                    <a:pt x="61837" y="2906228"/>
                  </a:cubicBezTo>
                  <a:cubicBezTo>
                    <a:pt x="66506" y="2892908"/>
                    <a:pt x="68408" y="2884226"/>
                    <a:pt x="91897" y="2860380"/>
                  </a:cubicBezTo>
                  <a:cubicBezTo>
                    <a:pt x="29460" y="2869330"/>
                    <a:pt x="29645" y="2919596"/>
                    <a:pt x="12381" y="2907443"/>
                  </a:cubicBezTo>
                  <a:lnTo>
                    <a:pt x="8781" y="2904202"/>
                  </a:lnTo>
                  <a:lnTo>
                    <a:pt x="9833" y="2903611"/>
                  </a:lnTo>
                  <a:cubicBezTo>
                    <a:pt x="16197" y="2899325"/>
                    <a:pt x="8661" y="2893153"/>
                    <a:pt x="13760" y="2883839"/>
                  </a:cubicBezTo>
                  <a:lnTo>
                    <a:pt x="3349" y="2893864"/>
                  </a:lnTo>
                  <a:lnTo>
                    <a:pt x="4255" y="2887011"/>
                  </a:lnTo>
                  <a:cubicBezTo>
                    <a:pt x="9315" y="2881975"/>
                    <a:pt x="16158" y="2879137"/>
                    <a:pt x="17808" y="2878513"/>
                  </a:cubicBezTo>
                  <a:cubicBezTo>
                    <a:pt x="14709" y="2887972"/>
                    <a:pt x="21470" y="2894572"/>
                    <a:pt x="17808" y="2902179"/>
                  </a:cubicBezTo>
                  <a:cubicBezTo>
                    <a:pt x="53026" y="2857383"/>
                    <a:pt x="77336" y="2854525"/>
                    <a:pt x="93637" y="2854123"/>
                  </a:cubicBezTo>
                  <a:cubicBezTo>
                    <a:pt x="106315" y="2842853"/>
                    <a:pt x="107400" y="2839915"/>
                    <a:pt x="116095" y="2837702"/>
                  </a:cubicBezTo>
                  <a:lnTo>
                    <a:pt x="122090" y="2837073"/>
                  </a:lnTo>
                  <a:lnTo>
                    <a:pt x="122784" y="2835586"/>
                  </a:lnTo>
                  <a:cubicBezTo>
                    <a:pt x="128120" y="2824989"/>
                    <a:pt x="132778" y="2821683"/>
                    <a:pt x="141934" y="2817175"/>
                  </a:cubicBezTo>
                  <a:cubicBezTo>
                    <a:pt x="151091" y="2812667"/>
                    <a:pt x="163791" y="2808652"/>
                    <a:pt x="177365" y="2809175"/>
                  </a:cubicBezTo>
                  <a:close/>
                  <a:moveTo>
                    <a:pt x="8115172" y="2809129"/>
                  </a:moveTo>
                  <a:cubicBezTo>
                    <a:pt x="8145072" y="2809467"/>
                    <a:pt x="8160021" y="2822474"/>
                    <a:pt x="8160021" y="2848151"/>
                  </a:cubicBezTo>
                  <a:lnTo>
                    <a:pt x="8160021" y="2884511"/>
                  </a:lnTo>
                  <a:cubicBezTo>
                    <a:pt x="8160021" y="2901573"/>
                    <a:pt x="8166567" y="2910526"/>
                    <a:pt x="8179659" y="2911371"/>
                  </a:cubicBezTo>
                  <a:lnTo>
                    <a:pt x="8179659" y="2929868"/>
                  </a:lnTo>
                  <a:cubicBezTo>
                    <a:pt x="8166567" y="2930712"/>
                    <a:pt x="8160021" y="2939496"/>
                    <a:pt x="8160021" y="2956220"/>
                  </a:cubicBezTo>
                  <a:lnTo>
                    <a:pt x="8160021" y="2993595"/>
                  </a:lnTo>
                  <a:cubicBezTo>
                    <a:pt x="8160021" y="3018933"/>
                    <a:pt x="8145072" y="3031771"/>
                    <a:pt x="8115172" y="3032109"/>
                  </a:cubicBezTo>
                  <a:lnTo>
                    <a:pt x="8115172" y="3012598"/>
                  </a:lnTo>
                  <a:cubicBezTo>
                    <a:pt x="8122521" y="3012429"/>
                    <a:pt x="8127736" y="3010403"/>
                    <a:pt x="8130819" y="3006517"/>
                  </a:cubicBezTo>
                  <a:cubicBezTo>
                    <a:pt x="8133901" y="3002632"/>
                    <a:pt x="8135443" y="2996213"/>
                    <a:pt x="8135443" y="2987260"/>
                  </a:cubicBezTo>
                  <a:lnTo>
                    <a:pt x="8135443" y="2951913"/>
                  </a:lnTo>
                  <a:cubicBezTo>
                    <a:pt x="8135443" y="2934767"/>
                    <a:pt x="8143763" y="2924336"/>
                    <a:pt x="8160402" y="2920619"/>
                  </a:cubicBezTo>
                  <a:lnTo>
                    <a:pt x="8160402" y="2920239"/>
                  </a:lnTo>
                  <a:cubicBezTo>
                    <a:pt x="8143763" y="2916269"/>
                    <a:pt x="8135443" y="2905754"/>
                    <a:pt x="8135443" y="2888692"/>
                  </a:cubicBezTo>
                  <a:lnTo>
                    <a:pt x="8135443" y="2852965"/>
                  </a:lnTo>
                  <a:cubicBezTo>
                    <a:pt x="8135443" y="2837170"/>
                    <a:pt x="8128686" y="2829104"/>
                    <a:pt x="8115172" y="2828767"/>
                  </a:cubicBezTo>
                  <a:close/>
                  <a:moveTo>
                    <a:pt x="8097688" y="2809129"/>
                  </a:moveTo>
                  <a:lnTo>
                    <a:pt x="8097688" y="2828767"/>
                  </a:lnTo>
                  <a:cubicBezTo>
                    <a:pt x="8084259" y="2829104"/>
                    <a:pt x="8077544" y="2837170"/>
                    <a:pt x="8077544" y="2852965"/>
                  </a:cubicBezTo>
                  <a:lnTo>
                    <a:pt x="8077544" y="2888692"/>
                  </a:lnTo>
                  <a:cubicBezTo>
                    <a:pt x="8077544" y="2905754"/>
                    <a:pt x="8069140" y="2916269"/>
                    <a:pt x="8052332" y="2920239"/>
                  </a:cubicBezTo>
                  <a:lnTo>
                    <a:pt x="8052332" y="2920619"/>
                  </a:lnTo>
                  <a:cubicBezTo>
                    <a:pt x="8069140" y="2924336"/>
                    <a:pt x="8077544" y="2934767"/>
                    <a:pt x="8077544" y="2951913"/>
                  </a:cubicBezTo>
                  <a:lnTo>
                    <a:pt x="8077544" y="2987260"/>
                  </a:lnTo>
                  <a:cubicBezTo>
                    <a:pt x="8077544" y="2996297"/>
                    <a:pt x="8079043" y="3002737"/>
                    <a:pt x="8082042" y="3006580"/>
                  </a:cubicBezTo>
                  <a:cubicBezTo>
                    <a:pt x="8085040" y="3010423"/>
                    <a:pt x="8090256" y="3012429"/>
                    <a:pt x="8097688" y="3012598"/>
                  </a:cubicBezTo>
                  <a:lnTo>
                    <a:pt x="8097688" y="3032109"/>
                  </a:lnTo>
                  <a:cubicBezTo>
                    <a:pt x="8067620" y="3031771"/>
                    <a:pt x="8052586" y="3018933"/>
                    <a:pt x="8052586" y="2993595"/>
                  </a:cubicBezTo>
                  <a:lnTo>
                    <a:pt x="8052586" y="2956220"/>
                  </a:lnTo>
                  <a:cubicBezTo>
                    <a:pt x="8052586" y="2939496"/>
                    <a:pt x="8045997" y="2930712"/>
                    <a:pt x="8032821" y="2929868"/>
                  </a:cubicBezTo>
                  <a:lnTo>
                    <a:pt x="8032821" y="2911371"/>
                  </a:lnTo>
                  <a:cubicBezTo>
                    <a:pt x="8045997" y="2910526"/>
                    <a:pt x="8052586" y="2901573"/>
                    <a:pt x="8052586" y="2884511"/>
                  </a:cubicBezTo>
                  <a:lnTo>
                    <a:pt x="8052586" y="2848151"/>
                  </a:lnTo>
                  <a:cubicBezTo>
                    <a:pt x="8052586" y="2822474"/>
                    <a:pt x="8067620" y="2809467"/>
                    <a:pt x="8097688" y="2809129"/>
                  </a:cubicBezTo>
                  <a:close/>
                  <a:moveTo>
                    <a:pt x="5416747" y="2809129"/>
                  </a:moveTo>
                  <a:cubicBezTo>
                    <a:pt x="5446648" y="2809467"/>
                    <a:pt x="5461597" y="2822474"/>
                    <a:pt x="5461597" y="2848151"/>
                  </a:cubicBezTo>
                  <a:lnTo>
                    <a:pt x="5461597" y="2884511"/>
                  </a:lnTo>
                  <a:cubicBezTo>
                    <a:pt x="5461597" y="2901573"/>
                    <a:pt x="5468143" y="2910526"/>
                    <a:pt x="5481234" y="2911371"/>
                  </a:cubicBezTo>
                  <a:lnTo>
                    <a:pt x="5481234" y="2929868"/>
                  </a:lnTo>
                  <a:cubicBezTo>
                    <a:pt x="5468143" y="2930712"/>
                    <a:pt x="5461597" y="2939496"/>
                    <a:pt x="5461597" y="2956220"/>
                  </a:cubicBezTo>
                  <a:lnTo>
                    <a:pt x="5461597" y="2993595"/>
                  </a:lnTo>
                  <a:cubicBezTo>
                    <a:pt x="5461597" y="3018933"/>
                    <a:pt x="5446648" y="3031771"/>
                    <a:pt x="5416747" y="3032109"/>
                  </a:cubicBezTo>
                  <a:lnTo>
                    <a:pt x="5416747" y="3012598"/>
                  </a:lnTo>
                  <a:cubicBezTo>
                    <a:pt x="5424096" y="3012429"/>
                    <a:pt x="5429311" y="3010403"/>
                    <a:pt x="5432394" y="3006517"/>
                  </a:cubicBezTo>
                  <a:cubicBezTo>
                    <a:pt x="5435478" y="3002632"/>
                    <a:pt x="5437018" y="2996213"/>
                    <a:pt x="5437018" y="2987260"/>
                  </a:cubicBezTo>
                  <a:lnTo>
                    <a:pt x="5437018" y="2951913"/>
                  </a:lnTo>
                  <a:cubicBezTo>
                    <a:pt x="5437018" y="2934767"/>
                    <a:pt x="5445338" y="2924336"/>
                    <a:pt x="5461977" y="2920619"/>
                  </a:cubicBezTo>
                  <a:lnTo>
                    <a:pt x="5461977" y="2920239"/>
                  </a:lnTo>
                  <a:cubicBezTo>
                    <a:pt x="5445338" y="2916269"/>
                    <a:pt x="5437018" y="2905754"/>
                    <a:pt x="5437018" y="2888692"/>
                  </a:cubicBezTo>
                  <a:lnTo>
                    <a:pt x="5437018" y="2852965"/>
                  </a:lnTo>
                  <a:cubicBezTo>
                    <a:pt x="5437018" y="2837170"/>
                    <a:pt x="5430261" y="2829104"/>
                    <a:pt x="5416747" y="2828767"/>
                  </a:cubicBezTo>
                  <a:close/>
                  <a:moveTo>
                    <a:pt x="5399263" y="2809129"/>
                  </a:moveTo>
                  <a:lnTo>
                    <a:pt x="5399263" y="2828767"/>
                  </a:lnTo>
                  <a:cubicBezTo>
                    <a:pt x="5385834" y="2829104"/>
                    <a:pt x="5379119" y="2837170"/>
                    <a:pt x="5379119" y="2852965"/>
                  </a:cubicBezTo>
                  <a:lnTo>
                    <a:pt x="5379119" y="2888692"/>
                  </a:lnTo>
                  <a:cubicBezTo>
                    <a:pt x="5379119" y="2905754"/>
                    <a:pt x="5370715" y="2916269"/>
                    <a:pt x="5353907" y="2920239"/>
                  </a:cubicBezTo>
                  <a:lnTo>
                    <a:pt x="5353907" y="2920619"/>
                  </a:lnTo>
                  <a:cubicBezTo>
                    <a:pt x="5370715" y="2924336"/>
                    <a:pt x="5379119" y="2934767"/>
                    <a:pt x="5379119" y="2951913"/>
                  </a:cubicBezTo>
                  <a:lnTo>
                    <a:pt x="5379119" y="2987260"/>
                  </a:lnTo>
                  <a:cubicBezTo>
                    <a:pt x="5379119" y="2996297"/>
                    <a:pt x="5380618" y="3002737"/>
                    <a:pt x="5383617" y="3006580"/>
                  </a:cubicBezTo>
                  <a:cubicBezTo>
                    <a:pt x="5386615" y="3010423"/>
                    <a:pt x="5391831" y="3012429"/>
                    <a:pt x="5399263" y="3012598"/>
                  </a:cubicBezTo>
                  <a:lnTo>
                    <a:pt x="5399263" y="3032109"/>
                  </a:lnTo>
                  <a:cubicBezTo>
                    <a:pt x="5369195" y="3031771"/>
                    <a:pt x="5354161" y="3018933"/>
                    <a:pt x="5354161" y="2993595"/>
                  </a:cubicBezTo>
                  <a:lnTo>
                    <a:pt x="5354161" y="2956220"/>
                  </a:lnTo>
                  <a:cubicBezTo>
                    <a:pt x="5354161" y="2939496"/>
                    <a:pt x="5347572" y="2930712"/>
                    <a:pt x="5334396" y="2929868"/>
                  </a:cubicBezTo>
                  <a:lnTo>
                    <a:pt x="5334396" y="2911371"/>
                  </a:lnTo>
                  <a:cubicBezTo>
                    <a:pt x="5347572" y="2910526"/>
                    <a:pt x="5354161" y="2901573"/>
                    <a:pt x="5354161" y="2884511"/>
                  </a:cubicBezTo>
                  <a:lnTo>
                    <a:pt x="5354161" y="2848151"/>
                  </a:lnTo>
                  <a:cubicBezTo>
                    <a:pt x="5354161" y="2822474"/>
                    <a:pt x="5369195" y="2809467"/>
                    <a:pt x="5399263" y="2809129"/>
                  </a:cubicBezTo>
                  <a:close/>
                  <a:moveTo>
                    <a:pt x="2059119" y="2809129"/>
                  </a:moveTo>
                  <a:cubicBezTo>
                    <a:pt x="2089019" y="2809467"/>
                    <a:pt x="2103969" y="2822474"/>
                    <a:pt x="2103969" y="2848151"/>
                  </a:cubicBezTo>
                  <a:lnTo>
                    <a:pt x="2103969" y="2884511"/>
                  </a:lnTo>
                  <a:cubicBezTo>
                    <a:pt x="2103969" y="2901573"/>
                    <a:pt x="2110514" y="2910526"/>
                    <a:pt x="2123606" y="2911371"/>
                  </a:cubicBezTo>
                  <a:lnTo>
                    <a:pt x="2123606" y="2929868"/>
                  </a:lnTo>
                  <a:cubicBezTo>
                    <a:pt x="2110514" y="2930712"/>
                    <a:pt x="2103969" y="2939496"/>
                    <a:pt x="2103969" y="2956220"/>
                  </a:cubicBezTo>
                  <a:lnTo>
                    <a:pt x="2103969" y="2993595"/>
                  </a:lnTo>
                  <a:cubicBezTo>
                    <a:pt x="2103969" y="3018933"/>
                    <a:pt x="2089019" y="3031771"/>
                    <a:pt x="2059119" y="3032109"/>
                  </a:cubicBezTo>
                  <a:lnTo>
                    <a:pt x="2059119" y="3012598"/>
                  </a:lnTo>
                  <a:cubicBezTo>
                    <a:pt x="2066469" y="3012429"/>
                    <a:pt x="2071683" y="3010403"/>
                    <a:pt x="2074767" y="3006517"/>
                  </a:cubicBezTo>
                  <a:cubicBezTo>
                    <a:pt x="2077849" y="3002632"/>
                    <a:pt x="2079391" y="2996213"/>
                    <a:pt x="2079391" y="2987260"/>
                  </a:cubicBezTo>
                  <a:lnTo>
                    <a:pt x="2079391" y="2951913"/>
                  </a:lnTo>
                  <a:cubicBezTo>
                    <a:pt x="2079391" y="2934767"/>
                    <a:pt x="2087710" y="2924336"/>
                    <a:pt x="2104349" y="2920619"/>
                  </a:cubicBezTo>
                  <a:lnTo>
                    <a:pt x="2104349" y="2920239"/>
                  </a:lnTo>
                  <a:cubicBezTo>
                    <a:pt x="2087710" y="2916269"/>
                    <a:pt x="2079391" y="2905754"/>
                    <a:pt x="2079391" y="2888692"/>
                  </a:cubicBezTo>
                  <a:lnTo>
                    <a:pt x="2079391" y="2852965"/>
                  </a:lnTo>
                  <a:cubicBezTo>
                    <a:pt x="2079391" y="2837170"/>
                    <a:pt x="2072634" y="2829104"/>
                    <a:pt x="2059119" y="2828767"/>
                  </a:cubicBezTo>
                  <a:close/>
                  <a:moveTo>
                    <a:pt x="2041635" y="2809129"/>
                  </a:moveTo>
                  <a:lnTo>
                    <a:pt x="2041635" y="2828767"/>
                  </a:lnTo>
                  <a:cubicBezTo>
                    <a:pt x="2028207" y="2829104"/>
                    <a:pt x="2021492" y="2837170"/>
                    <a:pt x="2021492" y="2852965"/>
                  </a:cubicBezTo>
                  <a:lnTo>
                    <a:pt x="2021492" y="2888692"/>
                  </a:lnTo>
                  <a:cubicBezTo>
                    <a:pt x="2021492" y="2905754"/>
                    <a:pt x="2013087" y="2916269"/>
                    <a:pt x="1996279" y="2920239"/>
                  </a:cubicBezTo>
                  <a:lnTo>
                    <a:pt x="1996279" y="2920619"/>
                  </a:lnTo>
                  <a:cubicBezTo>
                    <a:pt x="2013087" y="2924336"/>
                    <a:pt x="2021492" y="2934767"/>
                    <a:pt x="2021492" y="2951913"/>
                  </a:cubicBezTo>
                  <a:lnTo>
                    <a:pt x="2021492" y="2987260"/>
                  </a:lnTo>
                  <a:cubicBezTo>
                    <a:pt x="2021492" y="2996297"/>
                    <a:pt x="2022990" y="3002737"/>
                    <a:pt x="2025989" y="3006580"/>
                  </a:cubicBezTo>
                  <a:cubicBezTo>
                    <a:pt x="2028987" y="3010423"/>
                    <a:pt x="2034203" y="3012429"/>
                    <a:pt x="2041635" y="3012598"/>
                  </a:cubicBezTo>
                  <a:lnTo>
                    <a:pt x="2041635" y="3032109"/>
                  </a:lnTo>
                  <a:cubicBezTo>
                    <a:pt x="2011566" y="3031771"/>
                    <a:pt x="1996533" y="3018933"/>
                    <a:pt x="1996533" y="2993595"/>
                  </a:cubicBezTo>
                  <a:lnTo>
                    <a:pt x="1996533" y="2956220"/>
                  </a:lnTo>
                  <a:cubicBezTo>
                    <a:pt x="1996533" y="2939496"/>
                    <a:pt x="1989944" y="2930712"/>
                    <a:pt x="1976769" y="2929868"/>
                  </a:cubicBezTo>
                  <a:lnTo>
                    <a:pt x="1976769" y="2911371"/>
                  </a:lnTo>
                  <a:cubicBezTo>
                    <a:pt x="1989944" y="2910526"/>
                    <a:pt x="1996533" y="2901573"/>
                    <a:pt x="1996533" y="2884511"/>
                  </a:cubicBezTo>
                  <a:lnTo>
                    <a:pt x="1996533" y="2848151"/>
                  </a:lnTo>
                  <a:cubicBezTo>
                    <a:pt x="1996533" y="2822474"/>
                    <a:pt x="2011566" y="2809467"/>
                    <a:pt x="2041635" y="2809129"/>
                  </a:cubicBezTo>
                  <a:close/>
                  <a:moveTo>
                    <a:pt x="8323201" y="2569470"/>
                  </a:moveTo>
                  <a:lnTo>
                    <a:pt x="8312739" y="2617599"/>
                  </a:lnTo>
                  <a:lnTo>
                    <a:pt x="8355462" y="2617599"/>
                  </a:lnTo>
                  <a:lnTo>
                    <a:pt x="8365750" y="2569470"/>
                  </a:lnTo>
                  <a:close/>
                  <a:moveTo>
                    <a:pt x="2259954" y="2569470"/>
                  </a:moveTo>
                  <a:lnTo>
                    <a:pt x="2249492" y="2617599"/>
                  </a:lnTo>
                  <a:lnTo>
                    <a:pt x="2292215" y="2617599"/>
                  </a:lnTo>
                  <a:lnTo>
                    <a:pt x="2302504" y="2569470"/>
                  </a:lnTo>
                  <a:close/>
                  <a:moveTo>
                    <a:pt x="3665391" y="2480736"/>
                  </a:moveTo>
                  <a:cubicBezTo>
                    <a:pt x="3695290" y="2481074"/>
                    <a:pt x="3710240" y="2494081"/>
                    <a:pt x="3710240" y="2519757"/>
                  </a:cubicBezTo>
                  <a:lnTo>
                    <a:pt x="3710240" y="2556118"/>
                  </a:lnTo>
                  <a:cubicBezTo>
                    <a:pt x="3710240" y="2573180"/>
                    <a:pt x="3716785" y="2582133"/>
                    <a:pt x="3729877" y="2582978"/>
                  </a:cubicBezTo>
                  <a:lnTo>
                    <a:pt x="3729877" y="2601474"/>
                  </a:lnTo>
                  <a:cubicBezTo>
                    <a:pt x="3716785" y="2602319"/>
                    <a:pt x="3710240" y="2611103"/>
                    <a:pt x="3710240" y="2627827"/>
                  </a:cubicBezTo>
                  <a:lnTo>
                    <a:pt x="3710240" y="2665202"/>
                  </a:lnTo>
                  <a:cubicBezTo>
                    <a:pt x="3710240" y="2690540"/>
                    <a:pt x="3695290" y="2703378"/>
                    <a:pt x="3665391" y="2703716"/>
                  </a:cubicBezTo>
                  <a:lnTo>
                    <a:pt x="3665391" y="2684205"/>
                  </a:lnTo>
                  <a:cubicBezTo>
                    <a:pt x="3672738" y="2684036"/>
                    <a:pt x="3677954" y="2682009"/>
                    <a:pt x="3681037" y="2678124"/>
                  </a:cubicBezTo>
                  <a:cubicBezTo>
                    <a:pt x="3684120" y="2674239"/>
                    <a:pt x="3685661" y="2667820"/>
                    <a:pt x="3685661" y="2658867"/>
                  </a:cubicBezTo>
                  <a:lnTo>
                    <a:pt x="3685661" y="2623519"/>
                  </a:lnTo>
                  <a:cubicBezTo>
                    <a:pt x="3685661" y="2606374"/>
                    <a:pt x="3693981" y="2595942"/>
                    <a:pt x="3710620" y="2592226"/>
                  </a:cubicBezTo>
                  <a:lnTo>
                    <a:pt x="3710620" y="2591846"/>
                  </a:lnTo>
                  <a:cubicBezTo>
                    <a:pt x="3693981" y="2587876"/>
                    <a:pt x="3685661" y="2577361"/>
                    <a:pt x="3685661" y="2560299"/>
                  </a:cubicBezTo>
                  <a:lnTo>
                    <a:pt x="3685661" y="2524572"/>
                  </a:lnTo>
                  <a:cubicBezTo>
                    <a:pt x="3685661" y="2508777"/>
                    <a:pt x="3678904" y="2500711"/>
                    <a:pt x="3665391" y="2500374"/>
                  </a:cubicBezTo>
                  <a:close/>
                  <a:moveTo>
                    <a:pt x="3647906" y="2480736"/>
                  </a:moveTo>
                  <a:lnTo>
                    <a:pt x="3647906" y="2500374"/>
                  </a:lnTo>
                  <a:cubicBezTo>
                    <a:pt x="3634476" y="2500711"/>
                    <a:pt x="3627762" y="2508777"/>
                    <a:pt x="3627762" y="2524572"/>
                  </a:cubicBezTo>
                  <a:lnTo>
                    <a:pt x="3627762" y="2560299"/>
                  </a:lnTo>
                  <a:cubicBezTo>
                    <a:pt x="3627762" y="2577361"/>
                    <a:pt x="3619358" y="2587876"/>
                    <a:pt x="3602550" y="2591846"/>
                  </a:cubicBezTo>
                  <a:lnTo>
                    <a:pt x="3602550" y="2592226"/>
                  </a:lnTo>
                  <a:cubicBezTo>
                    <a:pt x="3619358" y="2595942"/>
                    <a:pt x="3627762" y="2606374"/>
                    <a:pt x="3627762" y="2623519"/>
                  </a:cubicBezTo>
                  <a:lnTo>
                    <a:pt x="3627762" y="2658867"/>
                  </a:lnTo>
                  <a:cubicBezTo>
                    <a:pt x="3627762" y="2667904"/>
                    <a:pt x="3629261" y="2674344"/>
                    <a:pt x="3632260" y="2678187"/>
                  </a:cubicBezTo>
                  <a:cubicBezTo>
                    <a:pt x="3635258" y="2682030"/>
                    <a:pt x="3640474" y="2684036"/>
                    <a:pt x="3647906" y="2684205"/>
                  </a:cubicBezTo>
                  <a:lnTo>
                    <a:pt x="3647906" y="2703716"/>
                  </a:lnTo>
                  <a:cubicBezTo>
                    <a:pt x="3617837" y="2703378"/>
                    <a:pt x="3602804" y="2690540"/>
                    <a:pt x="3602804" y="2665202"/>
                  </a:cubicBezTo>
                  <a:lnTo>
                    <a:pt x="3602804" y="2627827"/>
                  </a:lnTo>
                  <a:cubicBezTo>
                    <a:pt x="3602804" y="2611103"/>
                    <a:pt x="3596215" y="2602319"/>
                    <a:pt x="3583039" y="2601474"/>
                  </a:cubicBezTo>
                  <a:lnTo>
                    <a:pt x="3583039" y="2582978"/>
                  </a:lnTo>
                  <a:cubicBezTo>
                    <a:pt x="3596215" y="2582133"/>
                    <a:pt x="3602804" y="2573180"/>
                    <a:pt x="3602804" y="2556118"/>
                  </a:cubicBezTo>
                  <a:lnTo>
                    <a:pt x="3602804" y="2519757"/>
                  </a:lnTo>
                  <a:cubicBezTo>
                    <a:pt x="3602804" y="2494081"/>
                    <a:pt x="3617837" y="2481074"/>
                    <a:pt x="3647906" y="2480736"/>
                  </a:cubicBezTo>
                  <a:close/>
                  <a:moveTo>
                    <a:pt x="8314134" y="2477919"/>
                  </a:moveTo>
                  <a:lnTo>
                    <a:pt x="8342209" y="2477919"/>
                  </a:lnTo>
                  <a:lnTo>
                    <a:pt x="8328433" y="2545056"/>
                  </a:lnTo>
                  <a:lnTo>
                    <a:pt x="8370633" y="2545056"/>
                  </a:lnTo>
                  <a:lnTo>
                    <a:pt x="8384932" y="2477919"/>
                  </a:lnTo>
                  <a:lnTo>
                    <a:pt x="8412485" y="2477919"/>
                  </a:lnTo>
                  <a:lnTo>
                    <a:pt x="8398534" y="2545056"/>
                  </a:lnTo>
                  <a:lnTo>
                    <a:pt x="8438293" y="2545056"/>
                  </a:lnTo>
                  <a:lnTo>
                    <a:pt x="8432887" y="2569470"/>
                  </a:lnTo>
                  <a:lnTo>
                    <a:pt x="8393303" y="2569470"/>
                  </a:lnTo>
                  <a:lnTo>
                    <a:pt x="8383189" y="2617599"/>
                  </a:lnTo>
                  <a:lnTo>
                    <a:pt x="8426435" y="2617599"/>
                  </a:lnTo>
                  <a:lnTo>
                    <a:pt x="8420331" y="2642012"/>
                  </a:lnTo>
                  <a:lnTo>
                    <a:pt x="8378132" y="2642012"/>
                  </a:lnTo>
                  <a:lnTo>
                    <a:pt x="8363832" y="2706533"/>
                  </a:lnTo>
                  <a:lnTo>
                    <a:pt x="8336105" y="2706533"/>
                  </a:lnTo>
                  <a:lnTo>
                    <a:pt x="8350056" y="2642012"/>
                  </a:lnTo>
                  <a:lnTo>
                    <a:pt x="8307856" y="2642012"/>
                  </a:lnTo>
                  <a:lnTo>
                    <a:pt x="8294254" y="2706533"/>
                  </a:lnTo>
                  <a:lnTo>
                    <a:pt x="8266528" y="2706533"/>
                  </a:lnTo>
                  <a:lnTo>
                    <a:pt x="8280129" y="2642012"/>
                  </a:lnTo>
                  <a:lnTo>
                    <a:pt x="8240196" y="2642012"/>
                  </a:lnTo>
                  <a:lnTo>
                    <a:pt x="8245078" y="2617599"/>
                  </a:lnTo>
                  <a:lnTo>
                    <a:pt x="8285535" y="2617599"/>
                  </a:lnTo>
                  <a:lnTo>
                    <a:pt x="8295126" y="2569470"/>
                  </a:lnTo>
                  <a:lnTo>
                    <a:pt x="8252577" y="2569470"/>
                  </a:lnTo>
                  <a:lnTo>
                    <a:pt x="8257634" y="2545056"/>
                  </a:lnTo>
                  <a:lnTo>
                    <a:pt x="8300183" y="2545056"/>
                  </a:lnTo>
                  <a:close/>
                  <a:moveTo>
                    <a:pt x="2250888" y="2477919"/>
                  </a:moveTo>
                  <a:lnTo>
                    <a:pt x="2278962" y="2477919"/>
                  </a:lnTo>
                  <a:lnTo>
                    <a:pt x="2265187" y="2545056"/>
                  </a:lnTo>
                  <a:lnTo>
                    <a:pt x="2307386" y="2545056"/>
                  </a:lnTo>
                  <a:lnTo>
                    <a:pt x="2321686" y="2477919"/>
                  </a:lnTo>
                  <a:lnTo>
                    <a:pt x="2349239" y="2477919"/>
                  </a:lnTo>
                  <a:lnTo>
                    <a:pt x="2335288" y="2545056"/>
                  </a:lnTo>
                  <a:lnTo>
                    <a:pt x="2375047" y="2545056"/>
                  </a:lnTo>
                  <a:lnTo>
                    <a:pt x="2369642" y="2569470"/>
                  </a:lnTo>
                  <a:lnTo>
                    <a:pt x="2330056" y="2569470"/>
                  </a:lnTo>
                  <a:lnTo>
                    <a:pt x="2319942" y="2617599"/>
                  </a:lnTo>
                  <a:lnTo>
                    <a:pt x="2363188" y="2617599"/>
                  </a:lnTo>
                  <a:lnTo>
                    <a:pt x="2357086" y="2642012"/>
                  </a:lnTo>
                  <a:lnTo>
                    <a:pt x="2314885" y="2642012"/>
                  </a:lnTo>
                  <a:lnTo>
                    <a:pt x="2300585" y="2706533"/>
                  </a:lnTo>
                  <a:lnTo>
                    <a:pt x="2272859" y="2706533"/>
                  </a:lnTo>
                  <a:lnTo>
                    <a:pt x="2286810" y="2642012"/>
                  </a:lnTo>
                  <a:lnTo>
                    <a:pt x="2244610" y="2642012"/>
                  </a:lnTo>
                  <a:lnTo>
                    <a:pt x="2231007" y="2706533"/>
                  </a:lnTo>
                  <a:lnTo>
                    <a:pt x="2203282" y="2706533"/>
                  </a:lnTo>
                  <a:lnTo>
                    <a:pt x="2216884" y="2642012"/>
                  </a:lnTo>
                  <a:lnTo>
                    <a:pt x="2176949" y="2642012"/>
                  </a:lnTo>
                  <a:lnTo>
                    <a:pt x="2181833" y="2617599"/>
                  </a:lnTo>
                  <a:lnTo>
                    <a:pt x="2222288" y="2617599"/>
                  </a:lnTo>
                  <a:lnTo>
                    <a:pt x="2231879" y="2569470"/>
                  </a:lnTo>
                  <a:lnTo>
                    <a:pt x="2189331" y="2569470"/>
                  </a:lnTo>
                  <a:lnTo>
                    <a:pt x="2194388" y="2545056"/>
                  </a:lnTo>
                  <a:lnTo>
                    <a:pt x="2236936" y="2545056"/>
                  </a:lnTo>
                  <a:close/>
                  <a:moveTo>
                    <a:pt x="10887030" y="2172960"/>
                  </a:moveTo>
                  <a:cubicBezTo>
                    <a:pt x="10923487" y="2173298"/>
                    <a:pt x="10941716" y="2186305"/>
                    <a:pt x="10941716" y="2211981"/>
                  </a:cubicBezTo>
                  <a:lnTo>
                    <a:pt x="10941716" y="2248342"/>
                  </a:lnTo>
                  <a:cubicBezTo>
                    <a:pt x="10941716" y="2265404"/>
                    <a:pt x="10949697" y="2274357"/>
                    <a:pt x="10965660" y="2275202"/>
                  </a:cubicBezTo>
                  <a:lnTo>
                    <a:pt x="10965660" y="2293698"/>
                  </a:lnTo>
                  <a:cubicBezTo>
                    <a:pt x="10949697" y="2294543"/>
                    <a:pt x="10941716" y="2303327"/>
                    <a:pt x="10941716" y="2320051"/>
                  </a:cubicBezTo>
                  <a:lnTo>
                    <a:pt x="10941716" y="2357426"/>
                  </a:lnTo>
                  <a:cubicBezTo>
                    <a:pt x="10941716" y="2382764"/>
                    <a:pt x="10923487" y="2395602"/>
                    <a:pt x="10887030" y="2395940"/>
                  </a:cubicBezTo>
                  <a:lnTo>
                    <a:pt x="10887030" y="2376429"/>
                  </a:lnTo>
                  <a:cubicBezTo>
                    <a:pt x="10895990" y="2376260"/>
                    <a:pt x="10902349" y="2374233"/>
                    <a:pt x="10906108" y="2370348"/>
                  </a:cubicBezTo>
                  <a:cubicBezTo>
                    <a:pt x="10909867" y="2366463"/>
                    <a:pt x="10911747" y="2360044"/>
                    <a:pt x="10911747" y="2351091"/>
                  </a:cubicBezTo>
                  <a:lnTo>
                    <a:pt x="10911747" y="2315743"/>
                  </a:lnTo>
                  <a:cubicBezTo>
                    <a:pt x="10911747" y="2298598"/>
                    <a:pt x="10921891" y="2288166"/>
                    <a:pt x="10942179" y="2284450"/>
                  </a:cubicBezTo>
                  <a:lnTo>
                    <a:pt x="10942179" y="2284070"/>
                  </a:lnTo>
                  <a:cubicBezTo>
                    <a:pt x="10921891" y="2280100"/>
                    <a:pt x="10911747" y="2269585"/>
                    <a:pt x="10911747" y="2252523"/>
                  </a:cubicBezTo>
                  <a:lnTo>
                    <a:pt x="10911747" y="2216796"/>
                  </a:lnTo>
                  <a:cubicBezTo>
                    <a:pt x="10911747" y="2201001"/>
                    <a:pt x="10903508" y="2192935"/>
                    <a:pt x="10887030" y="2192598"/>
                  </a:cubicBezTo>
                  <a:close/>
                  <a:moveTo>
                    <a:pt x="10865711" y="2172960"/>
                  </a:moveTo>
                  <a:lnTo>
                    <a:pt x="10865711" y="2192598"/>
                  </a:lnTo>
                  <a:cubicBezTo>
                    <a:pt x="10849337" y="2192935"/>
                    <a:pt x="10841149" y="2201001"/>
                    <a:pt x="10841149" y="2216796"/>
                  </a:cubicBezTo>
                  <a:lnTo>
                    <a:pt x="10841149" y="2252523"/>
                  </a:lnTo>
                  <a:cubicBezTo>
                    <a:pt x="10841149" y="2269585"/>
                    <a:pt x="10830902" y="2280100"/>
                    <a:pt x="10810408" y="2284070"/>
                  </a:cubicBezTo>
                  <a:lnTo>
                    <a:pt x="10810408" y="2284450"/>
                  </a:lnTo>
                  <a:cubicBezTo>
                    <a:pt x="10830902" y="2288166"/>
                    <a:pt x="10841149" y="2298598"/>
                    <a:pt x="10841149" y="2315743"/>
                  </a:cubicBezTo>
                  <a:lnTo>
                    <a:pt x="10841149" y="2351091"/>
                  </a:lnTo>
                  <a:cubicBezTo>
                    <a:pt x="10841149" y="2360128"/>
                    <a:pt x="10842977" y="2366568"/>
                    <a:pt x="10846633" y="2370411"/>
                  </a:cubicBezTo>
                  <a:cubicBezTo>
                    <a:pt x="10850289" y="2374254"/>
                    <a:pt x="10856649" y="2376260"/>
                    <a:pt x="10865711" y="2376429"/>
                  </a:cubicBezTo>
                  <a:lnTo>
                    <a:pt x="10865711" y="2395940"/>
                  </a:lnTo>
                  <a:cubicBezTo>
                    <a:pt x="10829048" y="2395602"/>
                    <a:pt x="10810717" y="2382764"/>
                    <a:pt x="10810717" y="2357426"/>
                  </a:cubicBezTo>
                  <a:lnTo>
                    <a:pt x="10810717" y="2320051"/>
                  </a:lnTo>
                  <a:cubicBezTo>
                    <a:pt x="10810717" y="2303327"/>
                    <a:pt x="10802684" y="2294543"/>
                    <a:pt x="10786618" y="2293698"/>
                  </a:cubicBezTo>
                  <a:lnTo>
                    <a:pt x="10786618" y="2275202"/>
                  </a:lnTo>
                  <a:cubicBezTo>
                    <a:pt x="10802684" y="2274357"/>
                    <a:pt x="10810717" y="2265404"/>
                    <a:pt x="10810717" y="2248342"/>
                  </a:cubicBezTo>
                  <a:lnTo>
                    <a:pt x="10810717" y="2211981"/>
                  </a:lnTo>
                  <a:cubicBezTo>
                    <a:pt x="10810717" y="2186305"/>
                    <a:pt x="10829048" y="2173298"/>
                    <a:pt x="10865711" y="2172960"/>
                  </a:cubicBezTo>
                  <a:close/>
                  <a:moveTo>
                    <a:pt x="8381124" y="2172960"/>
                  </a:moveTo>
                  <a:cubicBezTo>
                    <a:pt x="8417581" y="2173298"/>
                    <a:pt x="8435810" y="2186305"/>
                    <a:pt x="8435810" y="2211981"/>
                  </a:cubicBezTo>
                  <a:lnTo>
                    <a:pt x="8435810" y="2248342"/>
                  </a:lnTo>
                  <a:cubicBezTo>
                    <a:pt x="8435810" y="2265404"/>
                    <a:pt x="8443791" y="2274357"/>
                    <a:pt x="8459754" y="2275202"/>
                  </a:cubicBezTo>
                  <a:lnTo>
                    <a:pt x="8459754" y="2293698"/>
                  </a:lnTo>
                  <a:cubicBezTo>
                    <a:pt x="8443791" y="2294543"/>
                    <a:pt x="8435810" y="2303327"/>
                    <a:pt x="8435810" y="2320051"/>
                  </a:cubicBezTo>
                  <a:lnTo>
                    <a:pt x="8435810" y="2357426"/>
                  </a:lnTo>
                  <a:cubicBezTo>
                    <a:pt x="8435810" y="2382764"/>
                    <a:pt x="8417581" y="2395602"/>
                    <a:pt x="8381124" y="2395940"/>
                  </a:cubicBezTo>
                  <a:lnTo>
                    <a:pt x="8381124" y="2376429"/>
                  </a:lnTo>
                  <a:cubicBezTo>
                    <a:pt x="8390084" y="2376260"/>
                    <a:pt x="8396443" y="2374233"/>
                    <a:pt x="8400202" y="2370348"/>
                  </a:cubicBezTo>
                  <a:cubicBezTo>
                    <a:pt x="8403961" y="2366463"/>
                    <a:pt x="8405841" y="2360044"/>
                    <a:pt x="8405841" y="2351091"/>
                  </a:cubicBezTo>
                  <a:lnTo>
                    <a:pt x="8405841" y="2315743"/>
                  </a:lnTo>
                  <a:cubicBezTo>
                    <a:pt x="8405841" y="2298598"/>
                    <a:pt x="8415985" y="2288166"/>
                    <a:pt x="8436273" y="2284450"/>
                  </a:cubicBezTo>
                  <a:lnTo>
                    <a:pt x="8436273" y="2284070"/>
                  </a:lnTo>
                  <a:cubicBezTo>
                    <a:pt x="8415985" y="2280100"/>
                    <a:pt x="8405841" y="2269585"/>
                    <a:pt x="8405841" y="2252523"/>
                  </a:cubicBezTo>
                  <a:lnTo>
                    <a:pt x="8405841" y="2216796"/>
                  </a:lnTo>
                  <a:cubicBezTo>
                    <a:pt x="8405841" y="2201001"/>
                    <a:pt x="8397602" y="2192935"/>
                    <a:pt x="8381124" y="2192598"/>
                  </a:cubicBezTo>
                  <a:close/>
                  <a:moveTo>
                    <a:pt x="8359805" y="2172960"/>
                  </a:moveTo>
                  <a:lnTo>
                    <a:pt x="8359805" y="2192598"/>
                  </a:lnTo>
                  <a:cubicBezTo>
                    <a:pt x="8343431" y="2192935"/>
                    <a:pt x="8335243" y="2201001"/>
                    <a:pt x="8335243" y="2216796"/>
                  </a:cubicBezTo>
                  <a:lnTo>
                    <a:pt x="8335243" y="2252523"/>
                  </a:lnTo>
                  <a:cubicBezTo>
                    <a:pt x="8335243" y="2269585"/>
                    <a:pt x="8324996" y="2280100"/>
                    <a:pt x="8304502" y="2284070"/>
                  </a:cubicBezTo>
                  <a:lnTo>
                    <a:pt x="8304502" y="2284450"/>
                  </a:lnTo>
                  <a:cubicBezTo>
                    <a:pt x="8324996" y="2288166"/>
                    <a:pt x="8335243" y="2298598"/>
                    <a:pt x="8335243" y="2315743"/>
                  </a:cubicBezTo>
                  <a:lnTo>
                    <a:pt x="8335243" y="2351091"/>
                  </a:lnTo>
                  <a:cubicBezTo>
                    <a:pt x="8335243" y="2360128"/>
                    <a:pt x="8337071" y="2366568"/>
                    <a:pt x="8340727" y="2370411"/>
                  </a:cubicBezTo>
                  <a:cubicBezTo>
                    <a:pt x="8344383" y="2374254"/>
                    <a:pt x="8350743" y="2376260"/>
                    <a:pt x="8359805" y="2376429"/>
                  </a:cubicBezTo>
                  <a:lnTo>
                    <a:pt x="8359805" y="2395940"/>
                  </a:lnTo>
                  <a:cubicBezTo>
                    <a:pt x="8323142" y="2395602"/>
                    <a:pt x="8304811" y="2382764"/>
                    <a:pt x="8304811" y="2357426"/>
                  </a:cubicBezTo>
                  <a:lnTo>
                    <a:pt x="8304811" y="2320051"/>
                  </a:lnTo>
                  <a:cubicBezTo>
                    <a:pt x="8304811" y="2303327"/>
                    <a:pt x="8296778" y="2294543"/>
                    <a:pt x="8280712" y="2293698"/>
                  </a:cubicBezTo>
                  <a:lnTo>
                    <a:pt x="8280712" y="2275202"/>
                  </a:lnTo>
                  <a:cubicBezTo>
                    <a:pt x="8296778" y="2274357"/>
                    <a:pt x="8304811" y="2265404"/>
                    <a:pt x="8304811" y="2248342"/>
                  </a:cubicBezTo>
                  <a:lnTo>
                    <a:pt x="8304811" y="2211981"/>
                  </a:lnTo>
                  <a:cubicBezTo>
                    <a:pt x="8304811" y="2186305"/>
                    <a:pt x="8323142" y="2173298"/>
                    <a:pt x="8359805" y="2172960"/>
                  </a:cubicBezTo>
                  <a:close/>
                  <a:moveTo>
                    <a:pt x="4831058" y="2172960"/>
                  </a:moveTo>
                  <a:cubicBezTo>
                    <a:pt x="4867515" y="2173298"/>
                    <a:pt x="4885744" y="2186305"/>
                    <a:pt x="4885744" y="2211981"/>
                  </a:cubicBezTo>
                  <a:lnTo>
                    <a:pt x="4885744" y="2248342"/>
                  </a:lnTo>
                  <a:cubicBezTo>
                    <a:pt x="4885744" y="2265404"/>
                    <a:pt x="4893725" y="2274357"/>
                    <a:pt x="4909688" y="2275202"/>
                  </a:cubicBezTo>
                  <a:lnTo>
                    <a:pt x="4909688" y="2293698"/>
                  </a:lnTo>
                  <a:cubicBezTo>
                    <a:pt x="4893725" y="2294543"/>
                    <a:pt x="4885744" y="2303327"/>
                    <a:pt x="4885744" y="2320051"/>
                  </a:cubicBezTo>
                  <a:lnTo>
                    <a:pt x="4885744" y="2357426"/>
                  </a:lnTo>
                  <a:cubicBezTo>
                    <a:pt x="4885744" y="2382764"/>
                    <a:pt x="4867515" y="2395602"/>
                    <a:pt x="4831058" y="2395940"/>
                  </a:cubicBezTo>
                  <a:lnTo>
                    <a:pt x="4831058" y="2376429"/>
                  </a:lnTo>
                  <a:cubicBezTo>
                    <a:pt x="4840018" y="2376260"/>
                    <a:pt x="4846378" y="2374233"/>
                    <a:pt x="4850137" y="2370348"/>
                  </a:cubicBezTo>
                  <a:cubicBezTo>
                    <a:pt x="4853895" y="2366463"/>
                    <a:pt x="4855775" y="2360044"/>
                    <a:pt x="4855775" y="2351091"/>
                  </a:cubicBezTo>
                  <a:lnTo>
                    <a:pt x="4855775" y="2315743"/>
                  </a:lnTo>
                  <a:cubicBezTo>
                    <a:pt x="4855775" y="2298598"/>
                    <a:pt x="4865919" y="2288166"/>
                    <a:pt x="4886207" y="2284450"/>
                  </a:cubicBezTo>
                  <a:lnTo>
                    <a:pt x="4886207" y="2284070"/>
                  </a:lnTo>
                  <a:cubicBezTo>
                    <a:pt x="4865919" y="2280100"/>
                    <a:pt x="4855775" y="2269585"/>
                    <a:pt x="4855775" y="2252523"/>
                  </a:cubicBezTo>
                  <a:lnTo>
                    <a:pt x="4855775" y="2216796"/>
                  </a:lnTo>
                  <a:cubicBezTo>
                    <a:pt x="4855775" y="2201001"/>
                    <a:pt x="4847536" y="2192935"/>
                    <a:pt x="4831058" y="2192598"/>
                  </a:cubicBezTo>
                  <a:close/>
                  <a:moveTo>
                    <a:pt x="4809740" y="2172960"/>
                  </a:moveTo>
                  <a:lnTo>
                    <a:pt x="4809740" y="2192598"/>
                  </a:lnTo>
                  <a:cubicBezTo>
                    <a:pt x="4793366" y="2192935"/>
                    <a:pt x="4785177" y="2201001"/>
                    <a:pt x="4785177" y="2216796"/>
                  </a:cubicBezTo>
                  <a:lnTo>
                    <a:pt x="4785177" y="2252523"/>
                  </a:lnTo>
                  <a:cubicBezTo>
                    <a:pt x="4785177" y="2269585"/>
                    <a:pt x="4774930" y="2280100"/>
                    <a:pt x="4754435" y="2284070"/>
                  </a:cubicBezTo>
                  <a:lnTo>
                    <a:pt x="4754435" y="2284450"/>
                  </a:lnTo>
                  <a:cubicBezTo>
                    <a:pt x="4774930" y="2288166"/>
                    <a:pt x="4785177" y="2298598"/>
                    <a:pt x="4785177" y="2315743"/>
                  </a:cubicBezTo>
                  <a:lnTo>
                    <a:pt x="4785177" y="2351091"/>
                  </a:lnTo>
                  <a:cubicBezTo>
                    <a:pt x="4785177" y="2360128"/>
                    <a:pt x="4787005" y="2366568"/>
                    <a:pt x="4790661" y="2370411"/>
                  </a:cubicBezTo>
                  <a:cubicBezTo>
                    <a:pt x="4794318" y="2374254"/>
                    <a:pt x="4800677" y="2376260"/>
                    <a:pt x="4809740" y="2376429"/>
                  </a:cubicBezTo>
                  <a:lnTo>
                    <a:pt x="4809740" y="2395940"/>
                  </a:lnTo>
                  <a:cubicBezTo>
                    <a:pt x="4773076" y="2395602"/>
                    <a:pt x="4754745" y="2382764"/>
                    <a:pt x="4754745" y="2357426"/>
                  </a:cubicBezTo>
                  <a:lnTo>
                    <a:pt x="4754745" y="2320051"/>
                  </a:lnTo>
                  <a:cubicBezTo>
                    <a:pt x="4754745" y="2303327"/>
                    <a:pt x="4746712" y="2294543"/>
                    <a:pt x="4730646" y="2293698"/>
                  </a:cubicBezTo>
                  <a:lnTo>
                    <a:pt x="4730646" y="2275202"/>
                  </a:lnTo>
                  <a:cubicBezTo>
                    <a:pt x="4746712" y="2274357"/>
                    <a:pt x="4754745" y="2265404"/>
                    <a:pt x="4754745" y="2248342"/>
                  </a:cubicBezTo>
                  <a:lnTo>
                    <a:pt x="4754745" y="2211981"/>
                  </a:lnTo>
                  <a:cubicBezTo>
                    <a:pt x="4754745" y="2186305"/>
                    <a:pt x="4773076" y="2173298"/>
                    <a:pt x="4809740" y="2172960"/>
                  </a:cubicBezTo>
                  <a:close/>
                  <a:moveTo>
                    <a:pt x="2326456" y="2172960"/>
                  </a:moveTo>
                  <a:cubicBezTo>
                    <a:pt x="2362913" y="2173298"/>
                    <a:pt x="2381142" y="2186305"/>
                    <a:pt x="2381142" y="2211981"/>
                  </a:cubicBezTo>
                  <a:lnTo>
                    <a:pt x="2381142" y="2248342"/>
                  </a:lnTo>
                  <a:cubicBezTo>
                    <a:pt x="2381142" y="2265404"/>
                    <a:pt x="2389123" y="2274357"/>
                    <a:pt x="2405086" y="2275202"/>
                  </a:cubicBezTo>
                  <a:lnTo>
                    <a:pt x="2405086" y="2293698"/>
                  </a:lnTo>
                  <a:cubicBezTo>
                    <a:pt x="2389123" y="2294543"/>
                    <a:pt x="2381142" y="2303327"/>
                    <a:pt x="2381142" y="2320051"/>
                  </a:cubicBezTo>
                  <a:lnTo>
                    <a:pt x="2381142" y="2357426"/>
                  </a:lnTo>
                  <a:cubicBezTo>
                    <a:pt x="2381142" y="2382764"/>
                    <a:pt x="2362913" y="2395602"/>
                    <a:pt x="2326456" y="2395940"/>
                  </a:cubicBezTo>
                  <a:lnTo>
                    <a:pt x="2326456" y="2376429"/>
                  </a:lnTo>
                  <a:cubicBezTo>
                    <a:pt x="2335415" y="2376260"/>
                    <a:pt x="2341774" y="2374233"/>
                    <a:pt x="2345533" y="2370348"/>
                  </a:cubicBezTo>
                  <a:cubicBezTo>
                    <a:pt x="2349293" y="2366463"/>
                    <a:pt x="2351172" y="2360044"/>
                    <a:pt x="2351172" y="2351091"/>
                  </a:cubicBezTo>
                  <a:lnTo>
                    <a:pt x="2351172" y="2315743"/>
                  </a:lnTo>
                  <a:cubicBezTo>
                    <a:pt x="2351172" y="2298598"/>
                    <a:pt x="2361317" y="2288166"/>
                    <a:pt x="2381605" y="2284450"/>
                  </a:cubicBezTo>
                  <a:lnTo>
                    <a:pt x="2381605" y="2284070"/>
                  </a:lnTo>
                  <a:cubicBezTo>
                    <a:pt x="2361317" y="2280100"/>
                    <a:pt x="2351172" y="2269585"/>
                    <a:pt x="2351172" y="2252523"/>
                  </a:cubicBezTo>
                  <a:lnTo>
                    <a:pt x="2351172" y="2216796"/>
                  </a:lnTo>
                  <a:cubicBezTo>
                    <a:pt x="2351172" y="2201001"/>
                    <a:pt x="2342934" y="2192935"/>
                    <a:pt x="2326456" y="2192598"/>
                  </a:cubicBezTo>
                  <a:close/>
                  <a:moveTo>
                    <a:pt x="2305137" y="2172960"/>
                  </a:moveTo>
                  <a:lnTo>
                    <a:pt x="2305137" y="2192598"/>
                  </a:lnTo>
                  <a:cubicBezTo>
                    <a:pt x="2288762" y="2192935"/>
                    <a:pt x="2280575" y="2201001"/>
                    <a:pt x="2280575" y="2216796"/>
                  </a:cubicBezTo>
                  <a:lnTo>
                    <a:pt x="2280575" y="2252523"/>
                  </a:lnTo>
                  <a:cubicBezTo>
                    <a:pt x="2280575" y="2269585"/>
                    <a:pt x="2270328" y="2280100"/>
                    <a:pt x="2249834" y="2284070"/>
                  </a:cubicBezTo>
                  <a:lnTo>
                    <a:pt x="2249834" y="2284450"/>
                  </a:lnTo>
                  <a:cubicBezTo>
                    <a:pt x="2270328" y="2288166"/>
                    <a:pt x="2280575" y="2298598"/>
                    <a:pt x="2280575" y="2315743"/>
                  </a:cubicBezTo>
                  <a:lnTo>
                    <a:pt x="2280575" y="2351091"/>
                  </a:lnTo>
                  <a:cubicBezTo>
                    <a:pt x="2280575" y="2360128"/>
                    <a:pt x="2282403" y="2366568"/>
                    <a:pt x="2286060" y="2370411"/>
                  </a:cubicBezTo>
                  <a:cubicBezTo>
                    <a:pt x="2289715" y="2374254"/>
                    <a:pt x="2296075" y="2376260"/>
                    <a:pt x="2305137" y="2376429"/>
                  </a:cubicBezTo>
                  <a:lnTo>
                    <a:pt x="2305137" y="2395940"/>
                  </a:lnTo>
                  <a:cubicBezTo>
                    <a:pt x="2268473" y="2395602"/>
                    <a:pt x="2250143" y="2382764"/>
                    <a:pt x="2250143" y="2357426"/>
                  </a:cubicBezTo>
                  <a:lnTo>
                    <a:pt x="2250143" y="2320051"/>
                  </a:lnTo>
                  <a:cubicBezTo>
                    <a:pt x="2250143" y="2303327"/>
                    <a:pt x="2242109" y="2294543"/>
                    <a:pt x="2226043" y="2293698"/>
                  </a:cubicBezTo>
                  <a:lnTo>
                    <a:pt x="2226043" y="2275202"/>
                  </a:lnTo>
                  <a:cubicBezTo>
                    <a:pt x="2242109" y="2274357"/>
                    <a:pt x="2250143" y="2265404"/>
                    <a:pt x="2250143" y="2248342"/>
                  </a:cubicBezTo>
                  <a:lnTo>
                    <a:pt x="2250143" y="2211981"/>
                  </a:lnTo>
                  <a:cubicBezTo>
                    <a:pt x="2250143" y="2186305"/>
                    <a:pt x="2268473" y="2173298"/>
                    <a:pt x="2305137" y="2172960"/>
                  </a:cubicBezTo>
                  <a:close/>
                  <a:moveTo>
                    <a:pt x="8838198" y="1842347"/>
                  </a:moveTo>
                  <a:cubicBezTo>
                    <a:pt x="8874655" y="1842685"/>
                    <a:pt x="8892884" y="1855692"/>
                    <a:pt x="8892884" y="1881368"/>
                  </a:cubicBezTo>
                  <a:lnTo>
                    <a:pt x="8892884" y="1917729"/>
                  </a:lnTo>
                  <a:cubicBezTo>
                    <a:pt x="8892884" y="1934791"/>
                    <a:pt x="8900865" y="1943744"/>
                    <a:pt x="8916828" y="1944589"/>
                  </a:cubicBezTo>
                  <a:lnTo>
                    <a:pt x="8916828" y="1963085"/>
                  </a:lnTo>
                  <a:cubicBezTo>
                    <a:pt x="8900865" y="1963930"/>
                    <a:pt x="8892884" y="1972714"/>
                    <a:pt x="8892884" y="1989438"/>
                  </a:cubicBezTo>
                  <a:lnTo>
                    <a:pt x="8892884" y="2026812"/>
                  </a:lnTo>
                  <a:cubicBezTo>
                    <a:pt x="8892884" y="2052151"/>
                    <a:pt x="8874655" y="2064989"/>
                    <a:pt x="8838198" y="2065327"/>
                  </a:cubicBezTo>
                  <a:lnTo>
                    <a:pt x="8838198" y="2045816"/>
                  </a:lnTo>
                  <a:cubicBezTo>
                    <a:pt x="8847158" y="2045647"/>
                    <a:pt x="8853517" y="2043620"/>
                    <a:pt x="8857276" y="2039735"/>
                  </a:cubicBezTo>
                  <a:cubicBezTo>
                    <a:pt x="8861035" y="2035850"/>
                    <a:pt x="8862915" y="2029431"/>
                    <a:pt x="8862915" y="2020478"/>
                  </a:cubicBezTo>
                  <a:lnTo>
                    <a:pt x="8862915" y="1985130"/>
                  </a:lnTo>
                  <a:cubicBezTo>
                    <a:pt x="8862915" y="1967985"/>
                    <a:pt x="8873059" y="1957553"/>
                    <a:pt x="8893347" y="1953837"/>
                  </a:cubicBezTo>
                  <a:lnTo>
                    <a:pt x="8893347" y="1953457"/>
                  </a:lnTo>
                  <a:cubicBezTo>
                    <a:pt x="8873059" y="1949487"/>
                    <a:pt x="8862915" y="1938972"/>
                    <a:pt x="8862915" y="1921910"/>
                  </a:cubicBezTo>
                  <a:lnTo>
                    <a:pt x="8862915" y="1886183"/>
                  </a:lnTo>
                  <a:cubicBezTo>
                    <a:pt x="8862915" y="1870388"/>
                    <a:pt x="8854676" y="1862322"/>
                    <a:pt x="8838198" y="1861985"/>
                  </a:cubicBezTo>
                  <a:close/>
                  <a:moveTo>
                    <a:pt x="8816879" y="1842347"/>
                  </a:moveTo>
                  <a:lnTo>
                    <a:pt x="8816879" y="1861985"/>
                  </a:lnTo>
                  <a:cubicBezTo>
                    <a:pt x="8800505" y="1862322"/>
                    <a:pt x="8792317" y="1870388"/>
                    <a:pt x="8792317" y="1886183"/>
                  </a:cubicBezTo>
                  <a:lnTo>
                    <a:pt x="8792317" y="1921910"/>
                  </a:lnTo>
                  <a:cubicBezTo>
                    <a:pt x="8792317" y="1938972"/>
                    <a:pt x="8782070" y="1949487"/>
                    <a:pt x="8761576" y="1953457"/>
                  </a:cubicBezTo>
                  <a:lnTo>
                    <a:pt x="8761576" y="1953837"/>
                  </a:lnTo>
                  <a:cubicBezTo>
                    <a:pt x="8782070" y="1957553"/>
                    <a:pt x="8792317" y="1967985"/>
                    <a:pt x="8792317" y="1985130"/>
                  </a:cubicBezTo>
                  <a:lnTo>
                    <a:pt x="8792317" y="2020478"/>
                  </a:lnTo>
                  <a:cubicBezTo>
                    <a:pt x="8792317" y="2029515"/>
                    <a:pt x="8794145" y="2035955"/>
                    <a:pt x="8797801" y="2039798"/>
                  </a:cubicBezTo>
                  <a:cubicBezTo>
                    <a:pt x="8801457" y="2043641"/>
                    <a:pt x="8807817" y="2045647"/>
                    <a:pt x="8816879" y="2045816"/>
                  </a:cubicBezTo>
                  <a:lnTo>
                    <a:pt x="8816879" y="2065327"/>
                  </a:lnTo>
                  <a:cubicBezTo>
                    <a:pt x="8780216" y="2064989"/>
                    <a:pt x="8761885" y="2052151"/>
                    <a:pt x="8761885" y="2026812"/>
                  </a:cubicBezTo>
                  <a:lnTo>
                    <a:pt x="8761885" y="1989438"/>
                  </a:lnTo>
                  <a:cubicBezTo>
                    <a:pt x="8761885" y="1972714"/>
                    <a:pt x="8753852" y="1963930"/>
                    <a:pt x="8737786" y="1963085"/>
                  </a:cubicBezTo>
                  <a:lnTo>
                    <a:pt x="8737786" y="1944589"/>
                  </a:lnTo>
                  <a:cubicBezTo>
                    <a:pt x="8753852" y="1943744"/>
                    <a:pt x="8761885" y="1934791"/>
                    <a:pt x="8761885" y="1917729"/>
                  </a:cubicBezTo>
                  <a:lnTo>
                    <a:pt x="8761885" y="1881368"/>
                  </a:lnTo>
                  <a:cubicBezTo>
                    <a:pt x="8761885" y="1855692"/>
                    <a:pt x="8780216" y="1842685"/>
                    <a:pt x="8816879" y="1842347"/>
                  </a:cubicBezTo>
                  <a:close/>
                  <a:moveTo>
                    <a:pt x="2766419" y="1842347"/>
                  </a:moveTo>
                  <a:cubicBezTo>
                    <a:pt x="2802875" y="1842685"/>
                    <a:pt x="2821104" y="1855692"/>
                    <a:pt x="2821104" y="1881368"/>
                  </a:cubicBezTo>
                  <a:lnTo>
                    <a:pt x="2821104" y="1917729"/>
                  </a:lnTo>
                  <a:cubicBezTo>
                    <a:pt x="2821104" y="1934791"/>
                    <a:pt x="2829086" y="1943744"/>
                    <a:pt x="2845049" y="1944589"/>
                  </a:cubicBezTo>
                  <a:lnTo>
                    <a:pt x="2845049" y="1963085"/>
                  </a:lnTo>
                  <a:cubicBezTo>
                    <a:pt x="2829086" y="1963930"/>
                    <a:pt x="2821104" y="1972714"/>
                    <a:pt x="2821104" y="1989438"/>
                  </a:cubicBezTo>
                  <a:lnTo>
                    <a:pt x="2821104" y="2026812"/>
                  </a:lnTo>
                  <a:cubicBezTo>
                    <a:pt x="2821104" y="2052151"/>
                    <a:pt x="2802875" y="2064989"/>
                    <a:pt x="2766419" y="2065327"/>
                  </a:cubicBezTo>
                  <a:lnTo>
                    <a:pt x="2766419" y="2045816"/>
                  </a:lnTo>
                  <a:cubicBezTo>
                    <a:pt x="2775379" y="2045647"/>
                    <a:pt x="2781738" y="2043620"/>
                    <a:pt x="2785497" y="2039735"/>
                  </a:cubicBezTo>
                  <a:cubicBezTo>
                    <a:pt x="2789256" y="2035850"/>
                    <a:pt x="2791136" y="2029431"/>
                    <a:pt x="2791136" y="2020478"/>
                  </a:cubicBezTo>
                  <a:lnTo>
                    <a:pt x="2791136" y="1985130"/>
                  </a:lnTo>
                  <a:cubicBezTo>
                    <a:pt x="2791136" y="1967985"/>
                    <a:pt x="2801280" y="1957553"/>
                    <a:pt x="2821568" y="1953837"/>
                  </a:cubicBezTo>
                  <a:lnTo>
                    <a:pt x="2821568" y="1953457"/>
                  </a:lnTo>
                  <a:cubicBezTo>
                    <a:pt x="2801280" y="1949487"/>
                    <a:pt x="2791136" y="1938972"/>
                    <a:pt x="2791136" y="1921910"/>
                  </a:cubicBezTo>
                  <a:lnTo>
                    <a:pt x="2791136" y="1886183"/>
                  </a:lnTo>
                  <a:cubicBezTo>
                    <a:pt x="2791136" y="1870388"/>
                    <a:pt x="2782898" y="1862322"/>
                    <a:pt x="2766419" y="1861985"/>
                  </a:cubicBezTo>
                  <a:close/>
                  <a:moveTo>
                    <a:pt x="2745100" y="1842347"/>
                  </a:moveTo>
                  <a:lnTo>
                    <a:pt x="2745100" y="1861985"/>
                  </a:lnTo>
                  <a:cubicBezTo>
                    <a:pt x="2728726" y="1862322"/>
                    <a:pt x="2720538" y="1870388"/>
                    <a:pt x="2720538" y="1886183"/>
                  </a:cubicBezTo>
                  <a:lnTo>
                    <a:pt x="2720538" y="1921910"/>
                  </a:lnTo>
                  <a:cubicBezTo>
                    <a:pt x="2720538" y="1938972"/>
                    <a:pt x="2710291" y="1949487"/>
                    <a:pt x="2689797" y="1953457"/>
                  </a:cubicBezTo>
                  <a:lnTo>
                    <a:pt x="2689797" y="1953837"/>
                  </a:lnTo>
                  <a:cubicBezTo>
                    <a:pt x="2710291" y="1957553"/>
                    <a:pt x="2720538" y="1967985"/>
                    <a:pt x="2720538" y="1985130"/>
                  </a:cubicBezTo>
                  <a:lnTo>
                    <a:pt x="2720538" y="2020478"/>
                  </a:lnTo>
                  <a:cubicBezTo>
                    <a:pt x="2720538" y="2029515"/>
                    <a:pt x="2722366" y="2035955"/>
                    <a:pt x="2726022" y="2039798"/>
                  </a:cubicBezTo>
                  <a:cubicBezTo>
                    <a:pt x="2729678" y="2043641"/>
                    <a:pt x="2736037" y="2045647"/>
                    <a:pt x="2745100" y="2045816"/>
                  </a:cubicBezTo>
                  <a:lnTo>
                    <a:pt x="2745100" y="2065327"/>
                  </a:lnTo>
                  <a:cubicBezTo>
                    <a:pt x="2708437" y="2064989"/>
                    <a:pt x="2690106" y="2052151"/>
                    <a:pt x="2690106" y="2026812"/>
                  </a:cubicBezTo>
                  <a:lnTo>
                    <a:pt x="2690106" y="1989438"/>
                  </a:lnTo>
                  <a:cubicBezTo>
                    <a:pt x="2690106" y="1972714"/>
                    <a:pt x="2682073" y="1963930"/>
                    <a:pt x="2666006" y="1963085"/>
                  </a:cubicBezTo>
                  <a:lnTo>
                    <a:pt x="2666006" y="1944589"/>
                  </a:lnTo>
                  <a:cubicBezTo>
                    <a:pt x="2682073" y="1943744"/>
                    <a:pt x="2690106" y="1934791"/>
                    <a:pt x="2690106" y="1917729"/>
                  </a:cubicBezTo>
                  <a:lnTo>
                    <a:pt x="2690106" y="1881368"/>
                  </a:lnTo>
                  <a:cubicBezTo>
                    <a:pt x="2690106" y="1855692"/>
                    <a:pt x="2708437" y="1842685"/>
                    <a:pt x="2745100" y="1842347"/>
                  </a:cubicBezTo>
                  <a:close/>
                  <a:moveTo>
                    <a:pt x="11472800" y="1522002"/>
                  </a:moveTo>
                  <a:cubicBezTo>
                    <a:pt x="11502700" y="1522340"/>
                    <a:pt x="11517649" y="1535347"/>
                    <a:pt x="11517649" y="1561024"/>
                  </a:cubicBezTo>
                  <a:lnTo>
                    <a:pt x="11517649" y="1597384"/>
                  </a:lnTo>
                  <a:cubicBezTo>
                    <a:pt x="11517649" y="1614446"/>
                    <a:pt x="11524195" y="1623399"/>
                    <a:pt x="11537287" y="1624244"/>
                  </a:cubicBezTo>
                  <a:lnTo>
                    <a:pt x="11537287" y="1642740"/>
                  </a:lnTo>
                  <a:cubicBezTo>
                    <a:pt x="11524195" y="1643585"/>
                    <a:pt x="11517649" y="1652369"/>
                    <a:pt x="11517649" y="1669093"/>
                  </a:cubicBezTo>
                  <a:lnTo>
                    <a:pt x="11517649" y="1706468"/>
                  </a:lnTo>
                  <a:cubicBezTo>
                    <a:pt x="11517649" y="1731806"/>
                    <a:pt x="11502700" y="1744644"/>
                    <a:pt x="11472800" y="1744982"/>
                  </a:cubicBezTo>
                  <a:lnTo>
                    <a:pt x="11472800" y="1725471"/>
                  </a:lnTo>
                  <a:cubicBezTo>
                    <a:pt x="11480148" y="1725302"/>
                    <a:pt x="11485364" y="1723275"/>
                    <a:pt x="11488447" y="1719390"/>
                  </a:cubicBezTo>
                  <a:cubicBezTo>
                    <a:pt x="11491529" y="1715505"/>
                    <a:pt x="11493071" y="1709086"/>
                    <a:pt x="11493071" y="1700133"/>
                  </a:cubicBezTo>
                  <a:lnTo>
                    <a:pt x="11493071" y="1664785"/>
                  </a:lnTo>
                  <a:cubicBezTo>
                    <a:pt x="11493071" y="1647640"/>
                    <a:pt x="11501391" y="1637209"/>
                    <a:pt x="11518030" y="1633492"/>
                  </a:cubicBezTo>
                  <a:lnTo>
                    <a:pt x="11518030" y="1633112"/>
                  </a:lnTo>
                  <a:cubicBezTo>
                    <a:pt x="11501391" y="1629142"/>
                    <a:pt x="11493071" y="1618627"/>
                    <a:pt x="11493071" y="1601565"/>
                  </a:cubicBezTo>
                  <a:lnTo>
                    <a:pt x="11493071" y="1565838"/>
                  </a:lnTo>
                  <a:cubicBezTo>
                    <a:pt x="11493071" y="1550043"/>
                    <a:pt x="11486314" y="1541977"/>
                    <a:pt x="11472800" y="1541640"/>
                  </a:cubicBezTo>
                  <a:close/>
                  <a:moveTo>
                    <a:pt x="11455316" y="1522002"/>
                  </a:moveTo>
                  <a:lnTo>
                    <a:pt x="11455316" y="1541640"/>
                  </a:lnTo>
                  <a:cubicBezTo>
                    <a:pt x="11441887" y="1541977"/>
                    <a:pt x="11435172" y="1550043"/>
                    <a:pt x="11435172" y="1565838"/>
                  </a:cubicBezTo>
                  <a:lnTo>
                    <a:pt x="11435172" y="1601565"/>
                  </a:lnTo>
                  <a:cubicBezTo>
                    <a:pt x="11435172" y="1618627"/>
                    <a:pt x="11426768" y="1629142"/>
                    <a:pt x="11409960" y="1633112"/>
                  </a:cubicBezTo>
                  <a:lnTo>
                    <a:pt x="11409960" y="1633492"/>
                  </a:lnTo>
                  <a:cubicBezTo>
                    <a:pt x="11426768" y="1637209"/>
                    <a:pt x="11435172" y="1647640"/>
                    <a:pt x="11435172" y="1664785"/>
                  </a:cubicBezTo>
                  <a:lnTo>
                    <a:pt x="11435172" y="1700133"/>
                  </a:lnTo>
                  <a:cubicBezTo>
                    <a:pt x="11435172" y="1709170"/>
                    <a:pt x="11436671" y="1715610"/>
                    <a:pt x="11439670" y="1719453"/>
                  </a:cubicBezTo>
                  <a:cubicBezTo>
                    <a:pt x="11442668" y="1723296"/>
                    <a:pt x="11447883" y="1725302"/>
                    <a:pt x="11455316" y="1725471"/>
                  </a:cubicBezTo>
                  <a:lnTo>
                    <a:pt x="11455316" y="1744982"/>
                  </a:lnTo>
                  <a:cubicBezTo>
                    <a:pt x="11425247" y="1744644"/>
                    <a:pt x="11410213" y="1731806"/>
                    <a:pt x="11410213" y="1706468"/>
                  </a:cubicBezTo>
                  <a:lnTo>
                    <a:pt x="11410213" y="1669093"/>
                  </a:lnTo>
                  <a:cubicBezTo>
                    <a:pt x="11410213" y="1652369"/>
                    <a:pt x="11403625" y="1643585"/>
                    <a:pt x="11390449" y="1642740"/>
                  </a:cubicBezTo>
                  <a:lnTo>
                    <a:pt x="11390449" y="1624244"/>
                  </a:lnTo>
                  <a:cubicBezTo>
                    <a:pt x="11403625" y="1623399"/>
                    <a:pt x="11410213" y="1614446"/>
                    <a:pt x="11410213" y="1597384"/>
                  </a:cubicBezTo>
                  <a:lnTo>
                    <a:pt x="11410213" y="1561024"/>
                  </a:lnTo>
                  <a:cubicBezTo>
                    <a:pt x="11410213" y="1535347"/>
                    <a:pt x="11425247" y="1522340"/>
                    <a:pt x="11455316" y="1522002"/>
                  </a:cubicBezTo>
                  <a:close/>
                  <a:moveTo>
                    <a:pt x="8115172" y="1522002"/>
                  </a:moveTo>
                  <a:cubicBezTo>
                    <a:pt x="8145072" y="1522340"/>
                    <a:pt x="8160021" y="1535347"/>
                    <a:pt x="8160021" y="1561024"/>
                  </a:cubicBezTo>
                  <a:lnTo>
                    <a:pt x="8160021" y="1597384"/>
                  </a:lnTo>
                  <a:cubicBezTo>
                    <a:pt x="8160021" y="1614446"/>
                    <a:pt x="8166567" y="1623399"/>
                    <a:pt x="8179659" y="1624244"/>
                  </a:cubicBezTo>
                  <a:lnTo>
                    <a:pt x="8179659" y="1642741"/>
                  </a:lnTo>
                  <a:cubicBezTo>
                    <a:pt x="8166567" y="1643586"/>
                    <a:pt x="8160021" y="1652369"/>
                    <a:pt x="8160021" y="1669093"/>
                  </a:cubicBezTo>
                  <a:lnTo>
                    <a:pt x="8160021" y="1706468"/>
                  </a:lnTo>
                  <a:cubicBezTo>
                    <a:pt x="8160021" y="1731806"/>
                    <a:pt x="8145072" y="1744644"/>
                    <a:pt x="8115172" y="1744982"/>
                  </a:cubicBezTo>
                  <a:lnTo>
                    <a:pt x="8115172" y="1725471"/>
                  </a:lnTo>
                  <a:cubicBezTo>
                    <a:pt x="8122521" y="1725302"/>
                    <a:pt x="8127736" y="1723276"/>
                    <a:pt x="8130819" y="1719390"/>
                  </a:cubicBezTo>
                  <a:cubicBezTo>
                    <a:pt x="8133901" y="1715505"/>
                    <a:pt x="8135443" y="1709086"/>
                    <a:pt x="8135443" y="1700133"/>
                  </a:cubicBezTo>
                  <a:lnTo>
                    <a:pt x="8135443" y="1664786"/>
                  </a:lnTo>
                  <a:cubicBezTo>
                    <a:pt x="8135443" y="1647640"/>
                    <a:pt x="8143763" y="1637209"/>
                    <a:pt x="8160402" y="1633492"/>
                  </a:cubicBezTo>
                  <a:lnTo>
                    <a:pt x="8160402" y="1633112"/>
                  </a:lnTo>
                  <a:cubicBezTo>
                    <a:pt x="8143763" y="1629142"/>
                    <a:pt x="8135443" y="1618627"/>
                    <a:pt x="8135443" y="1601565"/>
                  </a:cubicBezTo>
                  <a:lnTo>
                    <a:pt x="8135443" y="1565838"/>
                  </a:lnTo>
                  <a:cubicBezTo>
                    <a:pt x="8135443" y="1550044"/>
                    <a:pt x="8128686" y="1541977"/>
                    <a:pt x="8115172" y="1541640"/>
                  </a:cubicBezTo>
                  <a:close/>
                  <a:moveTo>
                    <a:pt x="8097688" y="1522002"/>
                  </a:moveTo>
                  <a:lnTo>
                    <a:pt x="8097688" y="1541640"/>
                  </a:lnTo>
                  <a:cubicBezTo>
                    <a:pt x="8084259" y="1541977"/>
                    <a:pt x="8077544" y="1550044"/>
                    <a:pt x="8077544" y="1565838"/>
                  </a:cubicBezTo>
                  <a:lnTo>
                    <a:pt x="8077544" y="1601565"/>
                  </a:lnTo>
                  <a:cubicBezTo>
                    <a:pt x="8077544" y="1618627"/>
                    <a:pt x="8069140" y="1629142"/>
                    <a:pt x="8052332" y="1633112"/>
                  </a:cubicBezTo>
                  <a:lnTo>
                    <a:pt x="8052332" y="1633492"/>
                  </a:lnTo>
                  <a:cubicBezTo>
                    <a:pt x="8069140" y="1637209"/>
                    <a:pt x="8077544" y="1647640"/>
                    <a:pt x="8077544" y="1664786"/>
                  </a:cubicBezTo>
                  <a:lnTo>
                    <a:pt x="8077544" y="1700133"/>
                  </a:lnTo>
                  <a:cubicBezTo>
                    <a:pt x="8077544" y="1709170"/>
                    <a:pt x="8079043" y="1715610"/>
                    <a:pt x="8082042" y="1719453"/>
                  </a:cubicBezTo>
                  <a:cubicBezTo>
                    <a:pt x="8085040" y="1723296"/>
                    <a:pt x="8090256" y="1725302"/>
                    <a:pt x="8097688" y="1725471"/>
                  </a:cubicBezTo>
                  <a:lnTo>
                    <a:pt x="8097688" y="1744982"/>
                  </a:lnTo>
                  <a:cubicBezTo>
                    <a:pt x="8067620" y="1744644"/>
                    <a:pt x="8052586" y="1731806"/>
                    <a:pt x="8052586" y="1706468"/>
                  </a:cubicBezTo>
                  <a:lnTo>
                    <a:pt x="8052586" y="1669093"/>
                  </a:lnTo>
                  <a:cubicBezTo>
                    <a:pt x="8052586" y="1652369"/>
                    <a:pt x="8045997" y="1643586"/>
                    <a:pt x="8032821" y="1642741"/>
                  </a:cubicBezTo>
                  <a:lnTo>
                    <a:pt x="8032821" y="1624244"/>
                  </a:lnTo>
                  <a:cubicBezTo>
                    <a:pt x="8045997" y="1623399"/>
                    <a:pt x="8052586" y="1614446"/>
                    <a:pt x="8052586" y="1597384"/>
                  </a:cubicBezTo>
                  <a:lnTo>
                    <a:pt x="8052586" y="1561024"/>
                  </a:lnTo>
                  <a:cubicBezTo>
                    <a:pt x="8052586" y="1535347"/>
                    <a:pt x="8067620" y="1522340"/>
                    <a:pt x="8097688" y="1522002"/>
                  </a:cubicBezTo>
                  <a:close/>
                  <a:moveTo>
                    <a:pt x="5416747" y="1522002"/>
                  </a:moveTo>
                  <a:cubicBezTo>
                    <a:pt x="5446648" y="1522340"/>
                    <a:pt x="5461597" y="1535347"/>
                    <a:pt x="5461597" y="1561024"/>
                  </a:cubicBezTo>
                  <a:lnTo>
                    <a:pt x="5461597" y="1597384"/>
                  </a:lnTo>
                  <a:cubicBezTo>
                    <a:pt x="5461597" y="1614446"/>
                    <a:pt x="5468143" y="1623399"/>
                    <a:pt x="5481234" y="1624244"/>
                  </a:cubicBezTo>
                  <a:lnTo>
                    <a:pt x="5481234" y="1642740"/>
                  </a:lnTo>
                  <a:cubicBezTo>
                    <a:pt x="5468143" y="1643585"/>
                    <a:pt x="5461597" y="1652369"/>
                    <a:pt x="5461597" y="1669093"/>
                  </a:cubicBezTo>
                  <a:lnTo>
                    <a:pt x="5461597" y="1706468"/>
                  </a:lnTo>
                  <a:cubicBezTo>
                    <a:pt x="5461597" y="1731806"/>
                    <a:pt x="5446648" y="1744644"/>
                    <a:pt x="5416747" y="1744982"/>
                  </a:cubicBezTo>
                  <a:lnTo>
                    <a:pt x="5416747" y="1725471"/>
                  </a:lnTo>
                  <a:cubicBezTo>
                    <a:pt x="5424096" y="1725302"/>
                    <a:pt x="5429311" y="1723275"/>
                    <a:pt x="5432394" y="1719390"/>
                  </a:cubicBezTo>
                  <a:cubicBezTo>
                    <a:pt x="5435478" y="1715505"/>
                    <a:pt x="5437018" y="1709086"/>
                    <a:pt x="5437018" y="1700133"/>
                  </a:cubicBezTo>
                  <a:lnTo>
                    <a:pt x="5437018" y="1664785"/>
                  </a:lnTo>
                  <a:cubicBezTo>
                    <a:pt x="5437018" y="1647640"/>
                    <a:pt x="5445338" y="1637209"/>
                    <a:pt x="5461977" y="1633492"/>
                  </a:cubicBezTo>
                  <a:lnTo>
                    <a:pt x="5461977" y="1633112"/>
                  </a:lnTo>
                  <a:cubicBezTo>
                    <a:pt x="5445338" y="1629142"/>
                    <a:pt x="5437018" y="1618627"/>
                    <a:pt x="5437018" y="1601565"/>
                  </a:cubicBezTo>
                  <a:lnTo>
                    <a:pt x="5437018" y="1565838"/>
                  </a:lnTo>
                  <a:cubicBezTo>
                    <a:pt x="5437018" y="1550043"/>
                    <a:pt x="5430261" y="1541977"/>
                    <a:pt x="5416747" y="1541640"/>
                  </a:cubicBezTo>
                  <a:close/>
                  <a:moveTo>
                    <a:pt x="5399263" y="1522002"/>
                  </a:moveTo>
                  <a:lnTo>
                    <a:pt x="5399263" y="1541640"/>
                  </a:lnTo>
                  <a:cubicBezTo>
                    <a:pt x="5385834" y="1541977"/>
                    <a:pt x="5379119" y="1550043"/>
                    <a:pt x="5379119" y="1565838"/>
                  </a:cubicBezTo>
                  <a:lnTo>
                    <a:pt x="5379119" y="1601565"/>
                  </a:lnTo>
                  <a:cubicBezTo>
                    <a:pt x="5379119" y="1618627"/>
                    <a:pt x="5370715" y="1629142"/>
                    <a:pt x="5353907" y="1633112"/>
                  </a:cubicBezTo>
                  <a:lnTo>
                    <a:pt x="5353907" y="1633492"/>
                  </a:lnTo>
                  <a:cubicBezTo>
                    <a:pt x="5370715" y="1637209"/>
                    <a:pt x="5379119" y="1647640"/>
                    <a:pt x="5379119" y="1664785"/>
                  </a:cubicBezTo>
                  <a:lnTo>
                    <a:pt x="5379119" y="1700133"/>
                  </a:lnTo>
                  <a:cubicBezTo>
                    <a:pt x="5379119" y="1709170"/>
                    <a:pt x="5380618" y="1715610"/>
                    <a:pt x="5383617" y="1719453"/>
                  </a:cubicBezTo>
                  <a:cubicBezTo>
                    <a:pt x="5386615" y="1723296"/>
                    <a:pt x="5391831" y="1725302"/>
                    <a:pt x="5399263" y="1725471"/>
                  </a:cubicBezTo>
                  <a:lnTo>
                    <a:pt x="5399263" y="1744982"/>
                  </a:lnTo>
                  <a:cubicBezTo>
                    <a:pt x="5369195" y="1744644"/>
                    <a:pt x="5354161" y="1731806"/>
                    <a:pt x="5354161" y="1706468"/>
                  </a:cubicBezTo>
                  <a:lnTo>
                    <a:pt x="5354161" y="1669093"/>
                  </a:lnTo>
                  <a:cubicBezTo>
                    <a:pt x="5354161" y="1652369"/>
                    <a:pt x="5347572" y="1643585"/>
                    <a:pt x="5334396" y="1642740"/>
                  </a:cubicBezTo>
                  <a:lnTo>
                    <a:pt x="5334396" y="1624244"/>
                  </a:lnTo>
                  <a:cubicBezTo>
                    <a:pt x="5347572" y="1623399"/>
                    <a:pt x="5354161" y="1614446"/>
                    <a:pt x="5354161" y="1597384"/>
                  </a:cubicBezTo>
                  <a:lnTo>
                    <a:pt x="5354161" y="1561024"/>
                  </a:lnTo>
                  <a:cubicBezTo>
                    <a:pt x="5354161" y="1535347"/>
                    <a:pt x="5369195" y="1522340"/>
                    <a:pt x="5399263" y="1522002"/>
                  </a:cubicBezTo>
                  <a:close/>
                  <a:moveTo>
                    <a:pt x="2059120" y="1522002"/>
                  </a:moveTo>
                  <a:cubicBezTo>
                    <a:pt x="2089020" y="1522340"/>
                    <a:pt x="2103970" y="1535347"/>
                    <a:pt x="2103970" y="1561024"/>
                  </a:cubicBezTo>
                  <a:lnTo>
                    <a:pt x="2103970" y="1597384"/>
                  </a:lnTo>
                  <a:cubicBezTo>
                    <a:pt x="2103970" y="1614446"/>
                    <a:pt x="2110515" y="1623399"/>
                    <a:pt x="2123607" y="1624244"/>
                  </a:cubicBezTo>
                  <a:lnTo>
                    <a:pt x="2123607" y="1642740"/>
                  </a:lnTo>
                  <a:cubicBezTo>
                    <a:pt x="2110515" y="1643585"/>
                    <a:pt x="2103970" y="1652369"/>
                    <a:pt x="2103970" y="1669093"/>
                  </a:cubicBezTo>
                  <a:lnTo>
                    <a:pt x="2103970" y="1706468"/>
                  </a:lnTo>
                  <a:cubicBezTo>
                    <a:pt x="2103970" y="1731806"/>
                    <a:pt x="2089020" y="1744644"/>
                    <a:pt x="2059120" y="1744982"/>
                  </a:cubicBezTo>
                  <a:lnTo>
                    <a:pt x="2059120" y="1725471"/>
                  </a:lnTo>
                  <a:cubicBezTo>
                    <a:pt x="2066469" y="1725302"/>
                    <a:pt x="2071683" y="1723275"/>
                    <a:pt x="2074767" y="1719390"/>
                  </a:cubicBezTo>
                  <a:cubicBezTo>
                    <a:pt x="2077850" y="1715505"/>
                    <a:pt x="2079391" y="1709086"/>
                    <a:pt x="2079391" y="1700133"/>
                  </a:cubicBezTo>
                  <a:lnTo>
                    <a:pt x="2079391" y="1664785"/>
                  </a:lnTo>
                  <a:cubicBezTo>
                    <a:pt x="2079391" y="1647640"/>
                    <a:pt x="2087711" y="1637209"/>
                    <a:pt x="2104351" y="1633492"/>
                  </a:cubicBezTo>
                  <a:lnTo>
                    <a:pt x="2104351" y="1633112"/>
                  </a:lnTo>
                  <a:cubicBezTo>
                    <a:pt x="2087711" y="1629142"/>
                    <a:pt x="2079391" y="1618627"/>
                    <a:pt x="2079391" y="1601565"/>
                  </a:cubicBezTo>
                  <a:lnTo>
                    <a:pt x="2079391" y="1565838"/>
                  </a:lnTo>
                  <a:cubicBezTo>
                    <a:pt x="2079391" y="1550043"/>
                    <a:pt x="2072634" y="1541977"/>
                    <a:pt x="2059120" y="1541640"/>
                  </a:cubicBezTo>
                  <a:close/>
                  <a:moveTo>
                    <a:pt x="2041636" y="1522002"/>
                  </a:moveTo>
                  <a:lnTo>
                    <a:pt x="2041636" y="1541640"/>
                  </a:lnTo>
                  <a:cubicBezTo>
                    <a:pt x="2028207" y="1541977"/>
                    <a:pt x="2021492" y="1550043"/>
                    <a:pt x="2021492" y="1565838"/>
                  </a:cubicBezTo>
                  <a:lnTo>
                    <a:pt x="2021492" y="1601565"/>
                  </a:lnTo>
                  <a:cubicBezTo>
                    <a:pt x="2021492" y="1618627"/>
                    <a:pt x="2013088" y="1629142"/>
                    <a:pt x="1996279" y="1633112"/>
                  </a:cubicBezTo>
                  <a:lnTo>
                    <a:pt x="1996279" y="1633492"/>
                  </a:lnTo>
                  <a:cubicBezTo>
                    <a:pt x="2013088" y="1637209"/>
                    <a:pt x="2021492" y="1647640"/>
                    <a:pt x="2021492" y="1664785"/>
                  </a:cubicBezTo>
                  <a:lnTo>
                    <a:pt x="2021492" y="1700133"/>
                  </a:lnTo>
                  <a:cubicBezTo>
                    <a:pt x="2021492" y="1709170"/>
                    <a:pt x="2022991" y="1715610"/>
                    <a:pt x="2025990" y="1719453"/>
                  </a:cubicBezTo>
                  <a:cubicBezTo>
                    <a:pt x="2028989" y="1723296"/>
                    <a:pt x="2034204" y="1725302"/>
                    <a:pt x="2041636" y="1725471"/>
                  </a:cubicBezTo>
                  <a:lnTo>
                    <a:pt x="2041636" y="1744982"/>
                  </a:lnTo>
                  <a:cubicBezTo>
                    <a:pt x="2011568" y="1744644"/>
                    <a:pt x="1996534" y="1731806"/>
                    <a:pt x="1996534" y="1706468"/>
                  </a:cubicBezTo>
                  <a:lnTo>
                    <a:pt x="1996534" y="1669093"/>
                  </a:lnTo>
                  <a:cubicBezTo>
                    <a:pt x="1996534" y="1652369"/>
                    <a:pt x="1989945" y="1643585"/>
                    <a:pt x="1976769" y="1642740"/>
                  </a:cubicBezTo>
                  <a:lnTo>
                    <a:pt x="1976769" y="1624244"/>
                  </a:lnTo>
                  <a:cubicBezTo>
                    <a:pt x="1989945" y="1623399"/>
                    <a:pt x="1996534" y="1614446"/>
                    <a:pt x="1996534" y="1597384"/>
                  </a:cubicBezTo>
                  <a:lnTo>
                    <a:pt x="1996534" y="1561024"/>
                  </a:lnTo>
                  <a:cubicBezTo>
                    <a:pt x="1996534" y="1535347"/>
                    <a:pt x="2011568" y="1522340"/>
                    <a:pt x="2041636" y="1522002"/>
                  </a:cubicBezTo>
                  <a:close/>
                  <a:moveTo>
                    <a:pt x="8329710" y="1297433"/>
                  </a:moveTo>
                  <a:lnTo>
                    <a:pt x="8319248" y="1345562"/>
                  </a:lnTo>
                  <a:lnTo>
                    <a:pt x="8361971" y="1345562"/>
                  </a:lnTo>
                  <a:lnTo>
                    <a:pt x="8372259" y="1297433"/>
                  </a:lnTo>
                  <a:close/>
                  <a:moveTo>
                    <a:pt x="2266464" y="1297433"/>
                  </a:moveTo>
                  <a:lnTo>
                    <a:pt x="2256002" y="1345562"/>
                  </a:lnTo>
                  <a:lnTo>
                    <a:pt x="2298725" y="1345562"/>
                  </a:lnTo>
                  <a:lnTo>
                    <a:pt x="2309012" y="1297433"/>
                  </a:lnTo>
                  <a:close/>
                  <a:moveTo>
                    <a:pt x="3671901" y="1208699"/>
                  </a:moveTo>
                  <a:cubicBezTo>
                    <a:pt x="3701800" y="1209037"/>
                    <a:pt x="3716748" y="1222044"/>
                    <a:pt x="3716748" y="1247720"/>
                  </a:cubicBezTo>
                  <a:lnTo>
                    <a:pt x="3716748" y="1284081"/>
                  </a:lnTo>
                  <a:cubicBezTo>
                    <a:pt x="3716748" y="1301143"/>
                    <a:pt x="3723295" y="1310096"/>
                    <a:pt x="3736386" y="1310941"/>
                  </a:cubicBezTo>
                  <a:lnTo>
                    <a:pt x="3736386" y="1329437"/>
                  </a:lnTo>
                  <a:cubicBezTo>
                    <a:pt x="3723295" y="1330282"/>
                    <a:pt x="3716748" y="1339066"/>
                    <a:pt x="3716748" y="1355790"/>
                  </a:cubicBezTo>
                  <a:lnTo>
                    <a:pt x="3716748" y="1393165"/>
                  </a:lnTo>
                  <a:cubicBezTo>
                    <a:pt x="3716748" y="1418503"/>
                    <a:pt x="3701800" y="1431341"/>
                    <a:pt x="3671901" y="1431679"/>
                  </a:cubicBezTo>
                  <a:lnTo>
                    <a:pt x="3671901" y="1412168"/>
                  </a:lnTo>
                  <a:cubicBezTo>
                    <a:pt x="3679247" y="1411999"/>
                    <a:pt x="3684463" y="1409972"/>
                    <a:pt x="3687546" y="1406087"/>
                  </a:cubicBezTo>
                  <a:cubicBezTo>
                    <a:pt x="3690629" y="1402202"/>
                    <a:pt x="3692171" y="1395783"/>
                    <a:pt x="3692171" y="1386830"/>
                  </a:cubicBezTo>
                  <a:lnTo>
                    <a:pt x="3692171" y="1351482"/>
                  </a:lnTo>
                  <a:cubicBezTo>
                    <a:pt x="3692171" y="1334337"/>
                    <a:pt x="3700490" y="1323905"/>
                    <a:pt x="3717130" y="1320189"/>
                  </a:cubicBezTo>
                  <a:lnTo>
                    <a:pt x="3717130" y="1319809"/>
                  </a:lnTo>
                  <a:cubicBezTo>
                    <a:pt x="3700490" y="1315839"/>
                    <a:pt x="3692171" y="1305324"/>
                    <a:pt x="3692171" y="1288262"/>
                  </a:cubicBezTo>
                  <a:lnTo>
                    <a:pt x="3692171" y="1252535"/>
                  </a:lnTo>
                  <a:cubicBezTo>
                    <a:pt x="3692171" y="1236740"/>
                    <a:pt x="3685413" y="1228674"/>
                    <a:pt x="3671901" y="1228337"/>
                  </a:cubicBezTo>
                  <a:close/>
                  <a:moveTo>
                    <a:pt x="3654416" y="1208699"/>
                  </a:moveTo>
                  <a:lnTo>
                    <a:pt x="3654416" y="1228337"/>
                  </a:lnTo>
                  <a:cubicBezTo>
                    <a:pt x="3640987" y="1228674"/>
                    <a:pt x="3634271" y="1236740"/>
                    <a:pt x="3634271" y="1252535"/>
                  </a:cubicBezTo>
                  <a:lnTo>
                    <a:pt x="3634271" y="1288262"/>
                  </a:lnTo>
                  <a:cubicBezTo>
                    <a:pt x="3634271" y="1305324"/>
                    <a:pt x="3625867" y="1315839"/>
                    <a:pt x="3609059" y="1319809"/>
                  </a:cubicBezTo>
                  <a:lnTo>
                    <a:pt x="3609059" y="1320189"/>
                  </a:lnTo>
                  <a:cubicBezTo>
                    <a:pt x="3625867" y="1323905"/>
                    <a:pt x="3634271" y="1334337"/>
                    <a:pt x="3634271" y="1351482"/>
                  </a:cubicBezTo>
                  <a:lnTo>
                    <a:pt x="3634271" y="1386830"/>
                  </a:lnTo>
                  <a:cubicBezTo>
                    <a:pt x="3634271" y="1395867"/>
                    <a:pt x="3635771" y="1402307"/>
                    <a:pt x="3638770" y="1406150"/>
                  </a:cubicBezTo>
                  <a:cubicBezTo>
                    <a:pt x="3641767" y="1409993"/>
                    <a:pt x="3646984" y="1411999"/>
                    <a:pt x="3654416" y="1412168"/>
                  </a:cubicBezTo>
                  <a:lnTo>
                    <a:pt x="3654416" y="1431679"/>
                  </a:lnTo>
                  <a:cubicBezTo>
                    <a:pt x="3624346" y="1431341"/>
                    <a:pt x="3609313" y="1418503"/>
                    <a:pt x="3609313" y="1393165"/>
                  </a:cubicBezTo>
                  <a:lnTo>
                    <a:pt x="3609313" y="1355790"/>
                  </a:lnTo>
                  <a:cubicBezTo>
                    <a:pt x="3609313" y="1339066"/>
                    <a:pt x="3602725" y="1330282"/>
                    <a:pt x="3589548" y="1329437"/>
                  </a:cubicBezTo>
                  <a:lnTo>
                    <a:pt x="3589548" y="1310941"/>
                  </a:lnTo>
                  <a:cubicBezTo>
                    <a:pt x="3602725" y="1310096"/>
                    <a:pt x="3609313" y="1301143"/>
                    <a:pt x="3609313" y="1284081"/>
                  </a:cubicBezTo>
                  <a:lnTo>
                    <a:pt x="3609313" y="1247720"/>
                  </a:lnTo>
                  <a:cubicBezTo>
                    <a:pt x="3609313" y="1222044"/>
                    <a:pt x="3624346" y="1209037"/>
                    <a:pt x="3654416" y="1208699"/>
                  </a:cubicBezTo>
                  <a:close/>
                  <a:moveTo>
                    <a:pt x="8320643" y="1205882"/>
                  </a:moveTo>
                  <a:lnTo>
                    <a:pt x="8348718" y="1205882"/>
                  </a:lnTo>
                  <a:lnTo>
                    <a:pt x="8334942" y="1273019"/>
                  </a:lnTo>
                  <a:lnTo>
                    <a:pt x="8377142" y="1273019"/>
                  </a:lnTo>
                  <a:lnTo>
                    <a:pt x="8391441" y="1205882"/>
                  </a:lnTo>
                  <a:lnTo>
                    <a:pt x="8418994" y="1205882"/>
                  </a:lnTo>
                  <a:lnTo>
                    <a:pt x="8405043" y="1273019"/>
                  </a:lnTo>
                  <a:lnTo>
                    <a:pt x="8444802" y="1273019"/>
                  </a:lnTo>
                  <a:lnTo>
                    <a:pt x="8439396" y="1297433"/>
                  </a:lnTo>
                  <a:lnTo>
                    <a:pt x="8399812" y="1297433"/>
                  </a:lnTo>
                  <a:lnTo>
                    <a:pt x="8389698" y="1345562"/>
                  </a:lnTo>
                  <a:lnTo>
                    <a:pt x="8432944" y="1345562"/>
                  </a:lnTo>
                  <a:lnTo>
                    <a:pt x="8426840" y="1369975"/>
                  </a:lnTo>
                  <a:lnTo>
                    <a:pt x="8384641" y="1369975"/>
                  </a:lnTo>
                  <a:lnTo>
                    <a:pt x="8370341" y="1434496"/>
                  </a:lnTo>
                  <a:lnTo>
                    <a:pt x="8342614" y="1434496"/>
                  </a:lnTo>
                  <a:lnTo>
                    <a:pt x="8356565" y="1369975"/>
                  </a:lnTo>
                  <a:lnTo>
                    <a:pt x="8314365" y="1369975"/>
                  </a:lnTo>
                  <a:lnTo>
                    <a:pt x="8300763" y="1434496"/>
                  </a:lnTo>
                  <a:lnTo>
                    <a:pt x="8273037" y="1434496"/>
                  </a:lnTo>
                  <a:lnTo>
                    <a:pt x="8286638" y="1369975"/>
                  </a:lnTo>
                  <a:lnTo>
                    <a:pt x="8246705" y="1369975"/>
                  </a:lnTo>
                  <a:lnTo>
                    <a:pt x="8251587" y="1345562"/>
                  </a:lnTo>
                  <a:lnTo>
                    <a:pt x="8292044" y="1345562"/>
                  </a:lnTo>
                  <a:lnTo>
                    <a:pt x="8301635" y="1297433"/>
                  </a:lnTo>
                  <a:lnTo>
                    <a:pt x="8259086" y="1297433"/>
                  </a:lnTo>
                  <a:lnTo>
                    <a:pt x="8264143" y="1273019"/>
                  </a:lnTo>
                  <a:lnTo>
                    <a:pt x="8306692" y="1273019"/>
                  </a:lnTo>
                  <a:close/>
                  <a:moveTo>
                    <a:pt x="2257398" y="1205882"/>
                  </a:moveTo>
                  <a:lnTo>
                    <a:pt x="2285472" y="1205882"/>
                  </a:lnTo>
                  <a:lnTo>
                    <a:pt x="2271696" y="1273019"/>
                  </a:lnTo>
                  <a:lnTo>
                    <a:pt x="2313896" y="1273019"/>
                  </a:lnTo>
                  <a:lnTo>
                    <a:pt x="2328196" y="1205882"/>
                  </a:lnTo>
                  <a:lnTo>
                    <a:pt x="2355748" y="1205882"/>
                  </a:lnTo>
                  <a:lnTo>
                    <a:pt x="2341797" y="1273019"/>
                  </a:lnTo>
                  <a:lnTo>
                    <a:pt x="2381556" y="1273019"/>
                  </a:lnTo>
                  <a:lnTo>
                    <a:pt x="2376151" y="1297433"/>
                  </a:lnTo>
                  <a:lnTo>
                    <a:pt x="2336566" y="1297433"/>
                  </a:lnTo>
                  <a:lnTo>
                    <a:pt x="2326453" y="1345562"/>
                  </a:lnTo>
                  <a:lnTo>
                    <a:pt x="2369698" y="1345562"/>
                  </a:lnTo>
                  <a:lnTo>
                    <a:pt x="2363595" y="1369975"/>
                  </a:lnTo>
                  <a:lnTo>
                    <a:pt x="2321395" y="1369975"/>
                  </a:lnTo>
                  <a:lnTo>
                    <a:pt x="2307095" y="1434496"/>
                  </a:lnTo>
                  <a:lnTo>
                    <a:pt x="2279369" y="1434496"/>
                  </a:lnTo>
                  <a:lnTo>
                    <a:pt x="2293320" y="1369975"/>
                  </a:lnTo>
                  <a:lnTo>
                    <a:pt x="2251119" y="1369975"/>
                  </a:lnTo>
                  <a:lnTo>
                    <a:pt x="2237517" y="1434496"/>
                  </a:lnTo>
                  <a:lnTo>
                    <a:pt x="2209792" y="1434496"/>
                  </a:lnTo>
                  <a:lnTo>
                    <a:pt x="2223393" y="1369975"/>
                  </a:lnTo>
                  <a:lnTo>
                    <a:pt x="2183459" y="1369975"/>
                  </a:lnTo>
                  <a:lnTo>
                    <a:pt x="2188342" y="1345562"/>
                  </a:lnTo>
                  <a:lnTo>
                    <a:pt x="2228798" y="1345562"/>
                  </a:lnTo>
                  <a:lnTo>
                    <a:pt x="2238389" y="1297433"/>
                  </a:lnTo>
                  <a:lnTo>
                    <a:pt x="2195840" y="1297433"/>
                  </a:lnTo>
                  <a:lnTo>
                    <a:pt x="2200897" y="1273019"/>
                  </a:lnTo>
                  <a:lnTo>
                    <a:pt x="2243446" y="1273019"/>
                  </a:lnTo>
                  <a:close/>
                  <a:moveTo>
                    <a:pt x="10889585" y="911255"/>
                  </a:moveTo>
                  <a:cubicBezTo>
                    <a:pt x="10926042" y="911593"/>
                    <a:pt x="10944271" y="924600"/>
                    <a:pt x="10944271" y="950276"/>
                  </a:cubicBezTo>
                  <a:lnTo>
                    <a:pt x="10944271" y="986637"/>
                  </a:lnTo>
                  <a:cubicBezTo>
                    <a:pt x="10944271" y="1003699"/>
                    <a:pt x="10952252" y="1012652"/>
                    <a:pt x="10968215" y="1013497"/>
                  </a:cubicBezTo>
                  <a:lnTo>
                    <a:pt x="10968215" y="1031993"/>
                  </a:lnTo>
                  <a:cubicBezTo>
                    <a:pt x="10952252" y="1032838"/>
                    <a:pt x="10944271" y="1041622"/>
                    <a:pt x="10944271" y="1058346"/>
                  </a:cubicBezTo>
                  <a:lnTo>
                    <a:pt x="10944271" y="1095721"/>
                  </a:lnTo>
                  <a:cubicBezTo>
                    <a:pt x="10944271" y="1121059"/>
                    <a:pt x="10926042" y="1133897"/>
                    <a:pt x="10889585" y="1134235"/>
                  </a:cubicBezTo>
                  <a:lnTo>
                    <a:pt x="10889585" y="1114724"/>
                  </a:lnTo>
                  <a:cubicBezTo>
                    <a:pt x="10898545" y="1114555"/>
                    <a:pt x="10904904" y="1112528"/>
                    <a:pt x="10908663" y="1108643"/>
                  </a:cubicBezTo>
                  <a:cubicBezTo>
                    <a:pt x="10912422" y="1104758"/>
                    <a:pt x="10914302" y="1098339"/>
                    <a:pt x="10914302" y="1089386"/>
                  </a:cubicBezTo>
                  <a:lnTo>
                    <a:pt x="10914302" y="1054038"/>
                  </a:lnTo>
                  <a:cubicBezTo>
                    <a:pt x="10914302" y="1036893"/>
                    <a:pt x="10924446" y="1026461"/>
                    <a:pt x="10944734" y="1022745"/>
                  </a:cubicBezTo>
                  <a:lnTo>
                    <a:pt x="10944734" y="1022365"/>
                  </a:lnTo>
                  <a:cubicBezTo>
                    <a:pt x="10924446" y="1018395"/>
                    <a:pt x="10914302" y="1007880"/>
                    <a:pt x="10914302" y="990818"/>
                  </a:cubicBezTo>
                  <a:lnTo>
                    <a:pt x="10914302" y="955091"/>
                  </a:lnTo>
                  <a:cubicBezTo>
                    <a:pt x="10914302" y="939296"/>
                    <a:pt x="10906063" y="931230"/>
                    <a:pt x="10889585" y="930893"/>
                  </a:cubicBezTo>
                  <a:close/>
                  <a:moveTo>
                    <a:pt x="10868266" y="911255"/>
                  </a:moveTo>
                  <a:lnTo>
                    <a:pt x="10868266" y="930893"/>
                  </a:lnTo>
                  <a:cubicBezTo>
                    <a:pt x="10851892" y="931230"/>
                    <a:pt x="10843704" y="939296"/>
                    <a:pt x="10843704" y="955091"/>
                  </a:cubicBezTo>
                  <a:lnTo>
                    <a:pt x="10843704" y="990818"/>
                  </a:lnTo>
                  <a:cubicBezTo>
                    <a:pt x="10843704" y="1007880"/>
                    <a:pt x="10833457" y="1018395"/>
                    <a:pt x="10812963" y="1022365"/>
                  </a:cubicBezTo>
                  <a:lnTo>
                    <a:pt x="10812963" y="1022745"/>
                  </a:lnTo>
                  <a:cubicBezTo>
                    <a:pt x="10833457" y="1026461"/>
                    <a:pt x="10843704" y="1036893"/>
                    <a:pt x="10843704" y="1054038"/>
                  </a:cubicBezTo>
                  <a:lnTo>
                    <a:pt x="10843704" y="1089386"/>
                  </a:lnTo>
                  <a:cubicBezTo>
                    <a:pt x="10843704" y="1098423"/>
                    <a:pt x="10845532" y="1104863"/>
                    <a:pt x="10849188" y="1108706"/>
                  </a:cubicBezTo>
                  <a:cubicBezTo>
                    <a:pt x="10852844" y="1112549"/>
                    <a:pt x="10859204" y="1114555"/>
                    <a:pt x="10868266" y="1114724"/>
                  </a:cubicBezTo>
                  <a:lnTo>
                    <a:pt x="10868266" y="1134235"/>
                  </a:lnTo>
                  <a:cubicBezTo>
                    <a:pt x="10831603" y="1133897"/>
                    <a:pt x="10813272" y="1121059"/>
                    <a:pt x="10813272" y="1095721"/>
                  </a:cubicBezTo>
                  <a:lnTo>
                    <a:pt x="10813272" y="1058346"/>
                  </a:lnTo>
                  <a:cubicBezTo>
                    <a:pt x="10813272" y="1041622"/>
                    <a:pt x="10805239" y="1032838"/>
                    <a:pt x="10789173" y="1031993"/>
                  </a:cubicBezTo>
                  <a:lnTo>
                    <a:pt x="10789173" y="1013497"/>
                  </a:lnTo>
                  <a:cubicBezTo>
                    <a:pt x="10805239" y="1012652"/>
                    <a:pt x="10813272" y="1003699"/>
                    <a:pt x="10813272" y="986637"/>
                  </a:cubicBezTo>
                  <a:lnTo>
                    <a:pt x="10813272" y="950276"/>
                  </a:lnTo>
                  <a:cubicBezTo>
                    <a:pt x="10813272" y="924600"/>
                    <a:pt x="10831603" y="911593"/>
                    <a:pt x="10868266" y="911255"/>
                  </a:cubicBezTo>
                  <a:close/>
                  <a:moveTo>
                    <a:pt x="8383679" y="911255"/>
                  </a:moveTo>
                  <a:cubicBezTo>
                    <a:pt x="8420136" y="911593"/>
                    <a:pt x="8438365" y="924600"/>
                    <a:pt x="8438365" y="950276"/>
                  </a:cubicBezTo>
                  <a:lnTo>
                    <a:pt x="8438365" y="986637"/>
                  </a:lnTo>
                  <a:cubicBezTo>
                    <a:pt x="8438365" y="1003699"/>
                    <a:pt x="8446346" y="1012652"/>
                    <a:pt x="8462309" y="1013497"/>
                  </a:cubicBezTo>
                  <a:lnTo>
                    <a:pt x="8462309" y="1031993"/>
                  </a:lnTo>
                  <a:cubicBezTo>
                    <a:pt x="8446346" y="1032838"/>
                    <a:pt x="8438365" y="1041622"/>
                    <a:pt x="8438365" y="1058346"/>
                  </a:cubicBezTo>
                  <a:lnTo>
                    <a:pt x="8438365" y="1095721"/>
                  </a:lnTo>
                  <a:cubicBezTo>
                    <a:pt x="8438365" y="1121059"/>
                    <a:pt x="8420136" y="1133897"/>
                    <a:pt x="8383679" y="1134235"/>
                  </a:cubicBezTo>
                  <a:lnTo>
                    <a:pt x="8383679" y="1114724"/>
                  </a:lnTo>
                  <a:cubicBezTo>
                    <a:pt x="8392639" y="1114555"/>
                    <a:pt x="8398998" y="1112528"/>
                    <a:pt x="8402757" y="1108643"/>
                  </a:cubicBezTo>
                  <a:cubicBezTo>
                    <a:pt x="8406516" y="1104758"/>
                    <a:pt x="8408396" y="1098339"/>
                    <a:pt x="8408396" y="1089386"/>
                  </a:cubicBezTo>
                  <a:lnTo>
                    <a:pt x="8408396" y="1054038"/>
                  </a:lnTo>
                  <a:cubicBezTo>
                    <a:pt x="8408396" y="1036893"/>
                    <a:pt x="8418540" y="1026461"/>
                    <a:pt x="8438828" y="1022745"/>
                  </a:cubicBezTo>
                  <a:lnTo>
                    <a:pt x="8438828" y="1022365"/>
                  </a:lnTo>
                  <a:cubicBezTo>
                    <a:pt x="8418540" y="1018395"/>
                    <a:pt x="8408396" y="1007880"/>
                    <a:pt x="8408396" y="990818"/>
                  </a:cubicBezTo>
                  <a:lnTo>
                    <a:pt x="8408396" y="955091"/>
                  </a:lnTo>
                  <a:cubicBezTo>
                    <a:pt x="8408396" y="939296"/>
                    <a:pt x="8400157" y="931230"/>
                    <a:pt x="8383679" y="930893"/>
                  </a:cubicBezTo>
                  <a:close/>
                  <a:moveTo>
                    <a:pt x="8362360" y="911255"/>
                  </a:moveTo>
                  <a:lnTo>
                    <a:pt x="8362360" y="930893"/>
                  </a:lnTo>
                  <a:cubicBezTo>
                    <a:pt x="8345986" y="931230"/>
                    <a:pt x="8337798" y="939296"/>
                    <a:pt x="8337798" y="955091"/>
                  </a:cubicBezTo>
                  <a:lnTo>
                    <a:pt x="8337798" y="990818"/>
                  </a:lnTo>
                  <a:cubicBezTo>
                    <a:pt x="8337798" y="1007880"/>
                    <a:pt x="8327551" y="1018395"/>
                    <a:pt x="8307057" y="1022365"/>
                  </a:cubicBezTo>
                  <a:lnTo>
                    <a:pt x="8307057" y="1022745"/>
                  </a:lnTo>
                  <a:cubicBezTo>
                    <a:pt x="8327551" y="1026461"/>
                    <a:pt x="8337798" y="1036893"/>
                    <a:pt x="8337798" y="1054038"/>
                  </a:cubicBezTo>
                  <a:lnTo>
                    <a:pt x="8337798" y="1089386"/>
                  </a:lnTo>
                  <a:cubicBezTo>
                    <a:pt x="8337798" y="1098423"/>
                    <a:pt x="8339626" y="1104863"/>
                    <a:pt x="8343282" y="1108706"/>
                  </a:cubicBezTo>
                  <a:cubicBezTo>
                    <a:pt x="8346938" y="1112549"/>
                    <a:pt x="8353298" y="1114555"/>
                    <a:pt x="8362360" y="1114724"/>
                  </a:cubicBezTo>
                  <a:lnTo>
                    <a:pt x="8362360" y="1134235"/>
                  </a:lnTo>
                  <a:cubicBezTo>
                    <a:pt x="8325697" y="1133897"/>
                    <a:pt x="8307366" y="1121059"/>
                    <a:pt x="8307366" y="1095721"/>
                  </a:cubicBezTo>
                  <a:lnTo>
                    <a:pt x="8307366" y="1058346"/>
                  </a:lnTo>
                  <a:cubicBezTo>
                    <a:pt x="8307366" y="1041622"/>
                    <a:pt x="8299333" y="1032838"/>
                    <a:pt x="8283267" y="1031993"/>
                  </a:cubicBezTo>
                  <a:lnTo>
                    <a:pt x="8283267" y="1013497"/>
                  </a:lnTo>
                  <a:cubicBezTo>
                    <a:pt x="8299333" y="1012652"/>
                    <a:pt x="8307366" y="1003699"/>
                    <a:pt x="8307366" y="986637"/>
                  </a:cubicBezTo>
                  <a:lnTo>
                    <a:pt x="8307366" y="950276"/>
                  </a:lnTo>
                  <a:cubicBezTo>
                    <a:pt x="8307366" y="924600"/>
                    <a:pt x="8325697" y="911593"/>
                    <a:pt x="8362360" y="911255"/>
                  </a:cubicBezTo>
                  <a:close/>
                  <a:moveTo>
                    <a:pt x="4833613" y="911255"/>
                  </a:moveTo>
                  <a:cubicBezTo>
                    <a:pt x="4870070" y="911593"/>
                    <a:pt x="4888298" y="924600"/>
                    <a:pt x="4888298" y="950276"/>
                  </a:cubicBezTo>
                  <a:lnTo>
                    <a:pt x="4888298" y="986637"/>
                  </a:lnTo>
                  <a:cubicBezTo>
                    <a:pt x="4888298" y="1003699"/>
                    <a:pt x="4896281" y="1012652"/>
                    <a:pt x="4912243" y="1013497"/>
                  </a:cubicBezTo>
                  <a:lnTo>
                    <a:pt x="4912243" y="1031993"/>
                  </a:lnTo>
                  <a:cubicBezTo>
                    <a:pt x="4896281" y="1032838"/>
                    <a:pt x="4888298" y="1041622"/>
                    <a:pt x="4888298" y="1058346"/>
                  </a:cubicBezTo>
                  <a:lnTo>
                    <a:pt x="4888298" y="1095721"/>
                  </a:lnTo>
                  <a:cubicBezTo>
                    <a:pt x="4888298" y="1121059"/>
                    <a:pt x="4870070" y="1133897"/>
                    <a:pt x="4833613" y="1134235"/>
                  </a:cubicBezTo>
                  <a:lnTo>
                    <a:pt x="4833613" y="1114724"/>
                  </a:lnTo>
                  <a:cubicBezTo>
                    <a:pt x="4842573" y="1114555"/>
                    <a:pt x="4848932" y="1112528"/>
                    <a:pt x="4852691" y="1108643"/>
                  </a:cubicBezTo>
                  <a:cubicBezTo>
                    <a:pt x="4856450" y="1104758"/>
                    <a:pt x="4858331" y="1098339"/>
                    <a:pt x="4858331" y="1089386"/>
                  </a:cubicBezTo>
                  <a:lnTo>
                    <a:pt x="4858331" y="1054038"/>
                  </a:lnTo>
                  <a:cubicBezTo>
                    <a:pt x="4858331" y="1036893"/>
                    <a:pt x="4868475" y="1026461"/>
                    <a:pt x="4888762" y="1022745"/>
                  </a:cubicBezTo>
                  <a:lnTo>
                    <a:pt x="4888762" y="1022365"/>
                  </a:lnTo>
                  <a:cubicBezTo>
                    <a:pt x="4868475" y="1018395"/>
                    <a:pt x="4858331" y="1007880"/>
                    <a:pt x="4858331" y="990818"/>
                  </a:cubicBezTo>
                  <a:lnTo>
                    <a:pt x="4858331" y="955091"/>
                  </a:lnTo>
                  <a:cubicBezTo>
                    <a:pt x="4858331" y="939296"/>
                    <a:pt x="4850091" y="931230"/>
                    <a:pt x="4833613" y="930893"/>
                  </a:cubicBezTo>
                  <a:close/>
                  <a:moveTo>
                    <a:pt x="4812294" y="911255"/>
                  </a:moveTo>
                  <a:lnTo>
                    <a:pt x="4812294" y="930893"/>
                  </a:lnTo>
                  <a:cubicBezTo>
                    <a:pt x="4795920" y="931230"/>
                    <a:pt x="4787733" y="939296"/>
                    <a:pt x="4787733" y="955091"/>
                  </a:cubicBezTo>
                  <a:lnTo>
                    <a:pt x="4787733" y="990818"/>
                  </a:lnTo>
                  <a:cubicBezTo>
                    <a:pt x="4787733" y="1007880"/>
                    <a:pt x="4777485" y="1018395"/>
                    <a:pt x="4756990" y="1022365"/>
                  </a:cubicBezTo>
                  <a:lnTo>
                    <a:pt x="4756990" y="1022745"/>
                  </a:lnTo>
                  <a:cubicBezTo>
                    <a:pt x="4777485" y="1026461"/>
                    <a:pt x="4787733" y="1036893"/>
                    <a:pt x="4787733" y="1054038"/>
                  </a:cubicBezTo>
                  <a:lnTo>
                    <a:pt x="4787733" y="1089386"/>
                  </a:lnTo>
                  <a:cubicBezTo>
                    <a:pt x="4787733" y="1098423"/>
                    <a:pt x="4789561" y="1104863"/>
                    <a:pt x="4793216" y="1108706"/>
                  </a:cubicBezTo>
                  <a:cubicBezTo>
                    <a:pt x="4796872" y="1112549"/>
                    <a:pt x="4803232" y="1114555"/>
                    <a:pt x="4812294" y="1114724"/>
                  </a:cubicBezTo>
                  <a:lnTo>
                    <a:pt x="4812294" y="1134235"/>
                  </a:lnTo>
                  <a:cubicBezTo>
                    <a:pt x="4775631" y="1133897"/>
                    <a:pt x="4757300" y="1121059"/>
                    <a:pt x="4757300" y="1095721"/>
                  </a:cubicBezTo>
                  <a:lnTo>
                    <a:pt x="4757300" y="1058346"/>
                  </a:lnTo>
                  <a:cubicBezTo>
                    <a:pt x="4757300" y="1041622"/>
                    <a:pt x="4749266" y="1032838"/>
                    <a:pt x="4733202" y="1031993"/>
                  </a:cubicBezTo>
                  <a:lnTo>
                    <a:pt x="4733202" y="1013497"/>
                  </a:lnTo>
                  <a:cubicBezTo>
                    <a:pt x="4749266" y="1012652"/>
                    <a:pt x="4757300" y="1003699"/>
                    <a:pt x="4757300" y="986637"/>
                  </a:cubicBezTo>
                  <a:lnTo>
                    <a:pt x="4757300" y="950276"/>
                  </a:lnTo>
                  <a:cubicBezTo>
                    <a:pt x="4757300" y="924600"/>
                    <a:pt x="4775631" y="911593"/>
                    <a:pt x="4812294" y="911255"/>
                  </a:cubicBezTo>
                  <a:close/>
                  <a:moveTo>
                    <a:pt x="2329011" y="911255"/>
                  </a:moveTo>
                  <a:cubicBezTo>
                    <a:pt x="2365469" y="911593"/>
                    <a:pt x="2383698" y="924600"/>
                    <a:pt x="2383698" y="950276"/>
                  </a:cubicBezTo>
                  <a:lnTo>
                    <a:pt x="2383698" y="986637"/>
                  </a:lnTo>
                  <a:cubicBezTo>
                    <a:pt x="2383698" y="1003699"/>
                    <a:pt x="2391678" y="1012652"/>
                    <a:pt x="2407642" y="1013497"/>
                  </a:cubicBezTo>
                  <a:lnTo>
                    <a:pt x="2407642" y="1031993"/>
                  </a:lnTo>
                  <a:cubicBezTo>
                    <a:pt x="2391678" y="1032838"/>
                    <a:pt x="2383698" y="1041622"/>
                    <a:pt x="2383698" y="1058346"/>
                  </a:cubicBezTo>
                  <a:lnTo>
                    <a:pt x="2383698" y="1095721"/>
                  </a:lnTo>
                  <a:cubicBezTo>
                    <a:pt x="2383698" y="1121059"/>
                    <a:pt x="2365469" y="1133897"/>
                    <a:pt x="2329011" y="1134235"/>
                  </a:cubicBezTo>
                  <a:lnTo>
                    <a:pt x="2329011" y="1114724"/>
                  </a:lnTo>
                  <a:cubicBezTo>
                    <a:pt x="2337972" y="1114555"/>
                    <a:pt x="2344330" y="1112528"/>
                    <a:pt x="2348089" y="1108643"/>
                  </a:cubicBezTo>
                  <a:cubicBezTo>
                    <a:pt x="2351849" y="1104758"/>
                    <a:pt x="2353729" y="1098339"/>
                    <a:pt x="2353729" y="1089386"/>
                  </a:cubicBezTo>
                  <a:lnTo>
                    <a:pt x="2353729" y="1054038"/>
                  </a:lnTo>
                  <a:cubicBezTo>
                    <a:pt x="2353729" y="1036893"/>
                    <a:pt x="2363873" y="1026461"/>
                    <a:pt x="2384161" y="1022745"/>
                  </a:cubicBezTo>
                  <a:lnTo>
                    <a:pt x="2384161" y="1022365"/>
                  </a:lnTo>
                  <a:cubicBezTo>
                    <a:pt x="2363873" y="1018395"/>
                    <a:pt x="2353729" y="1007880"/>
                    <a:pt x="2353729" y="990818"/>
                  </a:cubicBezTo>
                  <a:lnTo>
                    <a:pt x="2353729" y="955091"/>
                  </a:lnTo>
                  <a:cubicBezTo>
                    <a:pt x="2353729" y="939296"/>
                    <a:pt x="2345489" y="931230"/>
                    <a:pt x="2329011" y="930893"/>
                  </a:cubicBezTo>
                  <a:close/>
                  <a:moveTo>
                    <a:pt x="2307692" y="911255"/>
                  </a:moveTo>
                  <a:lnTo>
                    <a:pt x="2307692" y="930893"/>
                  </a:lnTo>
                  <a:cubicBezTo>
                    <a:pt x="2291318" y="931230"/>
                    <a:pt x="2283130" y="939296"/>
                    <a:pt x="2283130" y="955091"/>
                  </a:cubicBezTo>
                  <a:lnTo>
                    <a:pt x="2283130" y="990818"/>
                  </a:lnTo>
                  <a:cubicBezTo>
                    <a:pt x="2283130" y="1007880"/>
                    <a:pt x="2272883" y="1018395"/>
                    <a:pt x="2252390" y="1022365"/>
                  </a:cubicBezTo>
                  <a:lnTo>
                    <a:pt x="2252390" y="1022745"/>
                  </a:lnTo>
                  <a:cubicBezTo>
                    <a:pt x="2272883" y="1026461"/>
                    <a:pt x="2283130" y="1036893"/>
                    <a:pt x="2283130" y="1054038"/>
                  </a:cubicBezTo>
                  <a:lnTo>
                    <a:pt x="2283130" y="1089386"/>
                  </a:lnTo>
                  <a:cubicBezTo>
                    <a:pt x="2283130" y="1098423"/>
                    <a:pt x="2284959" y="1104863"/>
                    <a:pt x="2288616" y="1108706"/>
                  </a:cubicBezTo>
                  <a:cubicBezTo>
                    <a:pt x="2292271" y="1112549"/>
                    <a:pt x="2298630" y="1114555"/>
                    <a:pt x="2307692" y="1114724"/>
                  </a:cubicBezTo>
                  <a:lnTo>
                    <a:pt x="2307692" y="1134235"/>
                  </a:lnTo>
                  <a:cubicBezTo>
                    <a:pt x="2271030" y="1133897"/>
                    <a:pt x="2252699" y="1121059"/>
                    <a:pt x="2252699" y="1095721"/>
                  </a:cubicBezTo>
                  <a:lnTo>
                    <a:pt x="2252699" y="1058346"/>
                  </a:lnTo>
                  <a:cubicBezTo>
                    <a:pt x="2252699" y="1041622"/>
                    <a:pt x="2244665" y="1032838"/>
                    <a:pt x="2228599" y="1031993"/>
                  </a:cubicBezTo>
                  <a:lnTo>
                    <a:pt x="2228599" y="1013497"/>
                  </a:lnTo>
                  <a:cubicBezTo>
                    <a:pt x="2244665" y="1012652"/>
                    <a:pt x="2252699" y="1003699"/>
                    <a:pt x="2252699" y="986637"/>
                  </a:cubicBezTo>
                  <a:lnTo>
                    <a:pt x="2252699" y="950276"/>
                  </a:lnTo>
                  <a:cubicBezTo>
                    <a:pt x="2252699" y="924600"/>
                    <a:pt x="2271030" y="911593"/>
                    <a:pt x="2307692" y="911255"/>
                  </a:cubicBezTo>
                  <a:close/>
                  <a:moveTo>
                    <a:pt x="8335302" y="721489"/>
                  </a:moveTo>
                  <a:lnTo>
                    <a:pt x="8324840" y="769618"/>
                  </a:lnTo>
                  <a:lnTo>
                    <a:pt x="8367563" y="769618"/>
                  </a:lnTo>
                  <a:lnTo>
                    <a:pt x="8377851" y="721489"/>
                  </a:lnTo>
                  <a:close/>
                  <a:moveTo>
                    <a:pt x="2272056" y="721489"/>
                  </a:moveTo>
                  <a:lnTo>
                    <a:pt x="2261594" y="769618"/>
                  </a:lnTo>
                  <a:lnTo>
                    <a:pt x="2304318" y="769618"/>
                  </a:lnTo>
                  <a:lnTo>
                    <a:pt x="2314605" y="721489"/>
                  </a:lnTo>
                  <a:close/>
                  <a:moveTo>
                    <a:pt x="3677493" y="632755"/>
                  </a:moveTo>
                  <a:cubicBezTo>
                    <a:pt x="3707392" y="633093"/>
                    <a:pt x="3722342" y="646101"/>
                    <a:pt x="3722342" y="671776"/>
                  </a:cubicBezTo>
                  <a:lnTo>
                    <a:pt x="3722342" y="708137"/>
                  </a:lnTo>
                  <a:cubicBezTo>
                    <a:pt x="3722342" y="725199"/>
                    <a:pt x="3728887" y="734152"/>
                    <a:pt x="3741979" y="734997"/>
                  </a:cubicBezTo>
                  <a:lnTo>
                    <a:pt x="3741979" y="753493"/>
                  </a:lnTo>
                  <a:cubicBezTo>
                    <a:pt x="3728887" y="754338"/>
                    <a:pt x="3722342" y="763122"/>
                    <a:pt x="3722342" y="779846"/>
                  </a:cubicBezTo>
                  <a:lnTo>
                    <a:pt x="3722342" y="817221"/>
                  </a:lnTo>
                  <a:cubicBezTo>
                    <a:pt x="3722342" y="842559"/>
                    <a:pt x="3707392" y="855397"/>
                    <a:pt x="3677493" y="855735"/>
                  </a:cubicBezTo>
                  <a:lnTo>
                    <a:pt x="3677493" y="836224"/>
                  </a:lnTo>
                  <a:cubicBezTo>
                    <a:pt x="3684839" y="836055"/>
                    <a:pt x="3690055" y="834028"/>
                    <a:pt x="3693139" y="830143"/>
                  </a:cubicBezTo>
                  <a:cubicBezTo>
                    <a:pt x="3696222" y="826258"/>
                    <a:pt x="3697763" y="819839"/>
                    <a:pt x="3697763" y="810886"/>
                  </a:cubicBezTo>
                  <a:lnTo>
                    <a:pt x="3697763" y="775538"/>
                  </a:lnTo>
                  <a:cubicBezTo>
                    <a:pt x="3697763" y="758393"/>
                    <a:pt x="3706083" y="747961"/>
                    <a:pt x="3722721" y="744245"/>
                  </a:cubicBezTo>
                  <a:lnTo>
                    <a:pt x="3722721" y="743865"/>
                  </a:lnTo>
                  <a:cubicBezTo>
                    <a:pt x="3706083" y="739895"/>
                    <a:pt x="3697763" y="729380"/>
                    <a:pt x="3697763" y="712318"/>
                  </a:cubicBezTo>
                  <a:lnTo>
                    <a:pt x="3697763" y="676591"/>
                  </a:lnTo>
                  <a:cubicBezTo>
                    <a:pt x="3697763" y="660796"/>
                    <a:pt x="3691005" y="652730"/>
                    <a:pt x="3677493" y="652393"/>
                  </a:cubicBezTo>
                  <a:close/>
                  <a:moveTo>
                    <a:pt x="3660007" y="632755"/>
                  </a:moveTo>
                  <a:lnTo>
                    <a:pt x="3660007" y="652393"/>
                  </a:lnTo>
                  <a:cubicBezTo>
                    <a:pt x="3646578" y="652730"/>
                    <a:pt x="3639863" y="660796"/>
                    <a:pt x="3639863" y="676591"/>
                  </a:cubicBezTo>
                  <a:lnTo>
                    <a:pt x="3639863" y="712318"/>
                  </a:lnTo>
                  <a:cubicBezTo>
                    <a:pt x="3639863" y="729380"/>
                    <a:pt x="3631459" y="739895"/>
                    <a:pt x="3614652" y="743865"/>
                  </a:cubicBezTo>
                  <a:lnTo>
                    <a:pt x="3614652" y="744245"/>
                  </a:lnTo>
                  <a:cubicBezTo>
                    <a:pt x="3631459" y="747961"/>
                    <a:pt x="3639863" y="758393"/>
                    <a:pt x="3639863" y="775538"/>
                  </a:cubicBezTo>
                  <a:lnTo>
                    <a:pt x="3639863" y="810886"/>
                  </a:lnTo>
                  <a:cubicBezTo>
                    <a:pt x="3639863" y="819923"/>
                    <a:pt x="3641362" y="826363"/>
                    <a:pt x="3644361" y="830206"/>
                  </a:cubicBezTo>
                  <a:cubicBezTo>
                    <a:pt x="3647359" y="834049"/>
                    <a:pt x="3652575" y="836055"/>
                    <a:pt x="3660007" y="836224"/>
                  </a:cubicBezTo>
                  <a:lnTo>
                    <a:pt x="3660007" y="855735"/>
                  </a:lnTo>
                  <a:cubicBezTo>
                    <a:pt x="3629939" y="855397"/>
                    <a:pt x="3614905" y="842559"/>
                    <a:pt x="3614905" y="817221"/>
                  </a:cubicBezTo>
                  <a:lnTo>
                    <a:pt x="3614905" y="779846"/>
                  </a:lnTo>
                  <a:cubicBezTo>
                    <a:pt x="3614905" y="763122"/>
                    <a:pt x="3608317" y="754338"/>
                    <a:pt x="3595140" y="753493"/>
                  </a:cubicBezTo>
                  <a:lnTo>
                    <a:pt x="3595140" y="734997"/>
                  </a:lnTo>
                  <a:cubicBezTo>
                    <a:pt x="3608317" y="734152"/>
                    <a:pt x="3614905" y="725199"/>
                    <a:pt x="3614905" y="708137"/>
                  </a:cubicBezTo>
                  <a:lnTo>
                    <a:pt x="3614905" y="671776"/>
                  </a:lnTo>
                  <a:cubicBezTo>
                    <a:pt x="3614905" y="646101"/>
                    <a:pt x="3629939" y="633093"/>
                    <a:pt x="3660007" y="632755"/>
                  </a:cubicBezTo>
                  <a:close/>
                  <a:moveTo>
                    <a:pt x="8326235" y="629938"/>
                  </a:moveTo>
                  <a:lnTo>
                    <a:pt x="8354310" y="629938"/>
                  </a:lnTo>
                  <a:lnTo>
                    <a:pt x="8340534" y="697075"/>
                  </a:lnTo>
                  <a:lnTo>
                    <a:pt x="8382734" y="697075"/>
                  </a:lnTo>
                  <a:lnTo>
                    <a:pt x="8397033" y="629938"/>
                  </a:lnTo>
                  <a:lnTo>
                    <a:pt x="8424586" y="629938"/>
                  </a:lnTo>
                  <a:lnTo>
                    <a:pt x="8410635" y="697075"/>
                  </a:lnTo>
                  <a:lnTo>
                    <a:pt x="8450394" y="697075"/>
                  </a:lnTo>
                  <a:lnTo>
                    <a:pt x="8444988" y="721489"/>
                  </a:lnTo>
                  <a:lnTo>
                    <a:pt x="8405404" y="721489"/>
                  </a:lnTo>
                  <a:lnTo>
                    <a:pt x="8395290" y="769618"/>
                  </a:lnTo>
                  <a:lnTo>
                    <a:pt x="8438536" y="769618"/>
                  </a:lnTo>
                  <a:lnTo>
                    <a:pt x="8432432" y="794031"/>
                  </a:lnTo>
                  <a:lnTo>
                    <a:pt x="8390233" y="794031"/>
                  </a:lnTo>
                  <a:lnTo>
                    <a:pt x="8375933" y="858552"/>
                  </a:lnTo>
                  <a:lnTo>
                    <a:pt x="8348206" y="858552"/>
                  </a:lnTo>
                  <a:lnTo>
                    <a:pt x="8362157" y="794031"/>
                  </a:lnTo>
                  <a:lnTo>
                    <a:pt x="8319957" y="794031"/>
                  </a:lnTo>
                  <a:lnTo>
                    <a:pt x="8306355" y="858552"/>
                  </a:lnTo>
                  <a:lnTo>
                    <a:pt x="8278629" y="858552"/>
                  </a:lnTo>
                  <a:lnTo>
                    <a:pt x="8292230" y="794031"/>
                  </a:lnTo>
                  <a:lnTo>
                    <a:pt x="8252297" y="794031"/>
                  </a:lnTo>
                  <a:lnTo>
                    <a:pt x="8257179" y="769618"/>
                  </a:lnTo>
                  <a:lnTo>
                    <a:pt x="8297636" y="769618"/>
                  </a:lnTo>
                  <a:lnTo>
                    <a:pt x="8307227" y="721489"/>
                  </a:lnTo>
                  <a:lnTo>
                    <a:pt x="8264678" y="721489"/>
                  </a:lnTo>
                  <a:lnTo>
                    <a:pt x="8269735" y="697075"/>
                  </a:lnTo>
                  <a:lnTo>
                    <a:pt x="8312284" y="697075"/>
                  </a:lnTo>
                  <a:close/>
                  <a:moveTo>
                    <a:pt x="2262989" y="629938"/>
                  </a:moveTo>
                  <a:lnTo>
                    <a:pt x="2291064" y="629938"/>
                  </a:lnTo>
                  <a:lnTo>
                    <a:pt x="2277288" y="697075"/>
                  </a:lnTo>
                  <a:lnTo>
                    <a:pt x="2319489" y="697075"/>
                  </a:lnTo>
                  <a:lnTo>
                    <a:pt x="2333787" y="629938"/>
                  </a:lnTo>
                  <a:lnTo>
                    <a:pt x="2361341" y="629938"/>
                  </a:lnTo>
                  <a:lnTo>
                    <a:pt x="2347389" y="697075"/>
                  </a:lnTo>
                  <a:lnTo>
                    <a:pt x="2387149" y="697075"/>
                  </a:lnTo>
                  <a:lnTo>
                    <a:pt x="2381743" y="721489"/>
                  </a:lnTo>
                  <a:lnTo>
                    <a:pt x="2342158" y="721489"/>
                  </a:lnTo>
                  <a:lnTo>
                    <a:pt x="2332044" y="769618"/>
                  </a:lnTo>
                  <a:lnTo>
                    <a:pt x="2375291" y="769618"/>
                  </a:lnTo>
                  <a:lnTo>
                    <a:pt x="2369187" y="794031"/>
                  </a:lnTo>
                  <a:lnTo>
                    <a:pt x="2326987" y="794031"/>
                  </a:lnTo>
                  <a:lnTo>
                    <a:pt x="2312687" y="858552"/>
                  </a:lnTo>
                  <a:lnTo>
                    <a:pt x="2284959" y="858552"/>
                  </a:lnTo>
                  <a:lnTo>
                    <a:pt x="2298911" y="794031"/>
                  </a:lnTo>
                  <a:lnTo>
                    <a:pt x="2256711" y="794031"/>
                  </a:lnTo>
                  <a:lnTo>
                    <a:pt x="2243109" y="858552"/>
                  </a:lnTo>
                  <a:lnTo>
                    <a:pt x="2215384" y="858552"/>
                  </a:lnTo>
                  <a:lnTo>
                    <a:pt x="2228985" y="794031"/>
                  </a:lnTo>
                  <a:lnTo>
                    <a:pt x="2189051" y="794031"/>
                  </a:lnTo>
                  <a:lnTo>
                    <a:pt x="2193934" y="769618"/>
                  </a:lnTo>
                  <a:lnTo>
                    <a:pt x="2234391" y="769618"/>
                  </a:lnTo>
                  <a:lnTo>
                    <a:pt x="2243981" y="721489"/>
                  </a:lnTo>
                  <a:lnTo>
                    <a:pt x="2201432" y="721489"/>
                  </a:lnTo>
                  <a:lnTo>
                    <a:pt x="2206489" y="697075"/>
                  </a:lnTo>
                  <a:lnTo>
                    <a:pt x="2249038" y="697075"/>
                  </a:lnTo>
                  <a:close/>
                  <a:moveTo>
                    <a:pt x="10896843" y="324442"/>
                  </a:moveTo>
                  <a:cubicBezTo>
                    <a:pt x="10933300" y="324780"/>
                    <a:pt x="10951529" y="337787"/>
                    <a:pt x="10951529" y="363463"/>
                  </a:cubicBezTo>
                  <a:lnTo>
                    <a:pt x="10951529" y="399824"/>
                  </a:lnTo>
                  <a:cubicBezTo>
                    <a:pt x="10951529" y="416886"/>
                    <a:pt x="10959510" y="425839"/>
                    <a:pt x="10975473" y="426684"/>
                  </a:cubicBezTo>
                  <a:lnTo>
                    <a:pt x="10975473" y="445180"/>
                  </a:lnTo>
                  <a:cubicBezTo>
                    <a:pt x="10959510" y="446025"/>
                    <a:pt x="10951529" y="454809"/>
                    <a:pt x="10951529" y="471533"/>
                  </a:cubicBezTo>
                  <a:lnTo>
                    <a:pt x="10951529" y="508908"/>
                  </a:lnTo>
                  <a:cubicBezTo>
                    <a:pt x="10951529" y="534246"/>
                    <a:pt x="10933300" y="547084"/>
                    <a:pt x="10896843" y="547422"/>
                  </a:cubicBezTo>
                  <a:lnTo>
                    <a:pt x="10896843" y="527911"/>
                  </a:lnTo>
                  <a:cubicBezTo>
                    <a:pt x="10905803" y="527742"/>
                    <a:pt x="10912162" y="525715"/>
                    <a:pt x="10915921" y="521830"/>
                  </a:cubicBezTo>
                  <a:cubicBezTo>
                    <a:pt x="10919680" y="517945"/>
                    <a:pt x="10921560" y="511526"/>
                    <a:pt x="10921560" y="502573"/>
                  </a:cubicBezTo>
                  <a:lnTo>
                    <a:pt x="10921560" y="467225"/>
                  </a:lnTo>
                  <a:cubicBezTo>
                    <a:pt x="10921560" y="450080"/>
                    <a:pt x="10931704" y="439648"/>
                    <a:pt x="10951992" y="435932"/>
                  </a:cubicBezTo>
                  <a:lnTo>
                    <a:pt x="10951992" y="435552"/>
                  </a:lnTo>
                  <a:cubicBezTo>
                    <a:pt x="10931704" y="431582"/>
                    <a:pt x="10921560" y="421067"/>
                    <a:pt x="10921560" y="404005"/>
                  </a:cubicBezTo>
                  <a:lnTo>
                    <a:pt x="10921560" y="368278"/>
                  </a:lnTo>
                  <a:cubicBezTo>
                    <a:pt x="10921560" y="352483"/>
                    <a:pt x="10913321" y="344417"/>
                    <a:pt x="10896843" y="344080"/>
                  </a:cubicBezTo>
                  <a:close/>
                  <a:moveTo>
                    <a:pt x="10875524" y="324442"/>
                  </a:moveTo>
                  <a:lnTo>
                    <a:pt x="10875524" y="344080"/>
                  </a:lnTo>
                  <a:cubicBezTo>
                    <a:pt x="10859150" y="344417"/>
                    <a:pt x="10850962" y="352483"/>
                    <a:pt x="10850962" y="368278"/>
                  </a:cubicBezTo>
                  <a:lnTo>
                    <a:pt x="10850962" y="404005"/>
                  </a:lnTo>
                  <a:cubicBezTo>
                    <a:pt x="10850962" y="421067"/>
                    <a:pt x="10840715" y="431582"/>
                    <a:pt x="10820221" y="435552"/>
                  </a:cubicBezTo>
                  <a:lnTo>
                    <a:pt x="10820221" y="435932"/>
                  </a:lnTo>
                  <a:cubicBezTo>
                    <a:pt x="10840715" y="439648"/>
                    <a:pt x="10850962" y="450080"/>
                    <a:pt x="10850962" y="467225"/>
                  </a:cubicBezTo>
                  <a:lnTo>
                    <a:pt x="10850962" y="502573"/>
                  </a:lnTo>
                  <a:cubicBezTo>
                    <a:pt x="10850962" y="511610"/>
                    <a:pt x="10852790" y="518050"/>
                    <a:pt x="10856446" y="521893"/>
                  </a:cubicBezTo>
                  <a:cubicBezTo>
                    <a:pt x="10860102" y="525736"/>
                    <a:pt x="10866462" y="527742"/>
                    <a:pt x="10875524" y="527911"/>
                  </a:cubicBezTo>
                  <a:lnTo>
                    <a:pt x="10875524" y="547422"/>
                  </a:lnTo>
                  <a:cubicBezTo>
                    <a:pt x="10838861" y="547084"/>
                    <a:pt x="10820530" y="534246"/>
                    <a:pt x="10820530" y="508908"/>
                  </a:cubicBezTo>
                  <a:lnTo>
                    <a:pt x="10820530" y="471533"/>
                  </a:lnTo>
                  <a:cubicBezTo>
                    <a:pt x="10820530" y="454809"/>
                    <a:pt x="10812497" y="446025"/>
                    <a:pt x="10796431" y="445180"/>
                  </a:cubicBezTo>
                  <a:lnTo>
                    <a:pt x="10796431" y="426684"/>
                  </a:lnTo>
                  <a:cubicBezTo>
                    <a:pt x="10812497" y="425839"/>
                    <a:pt x="10820530" y="416886"/>
                    <a:pt x="10820530" y="399824"/>
                  </a:cubicBezTo>
                  <a:lnTo>
                    <a:pt x="10820530" y="363463"/>
                  </a:lnTo>
                  <a:cubicBezTo>
                    <a:pt x="10820530" y="337787"/>
                    <a:pt x="10838861" y="324780"/>
                    <a:pt x="10875524" y="324442"/>
                  </a:cubicBezTo>
                  <a:close/>
                  <a:moveTo>
                    <a:pt x="8390937" y="324442"/>
                  </a:moveTo>
                  <a:cubicBezTo>
                    <a:pt x="8427394" y="324780"/>
                    <a:pt x="8445623" y="337787"/>
                    <a:pt x="8445623" y="363463"/>
                  </a:cubicBezTo>
                  <a:lnTo>
                    <a:pt x="8445623" y="399824"/>
                  </a:lnTo>
                  <a:cubicBezTo>
                    <a:pt x="8445623" y="416886"/>
                    <a:pt x="8453604" y="425839"/>
                    <a:pt x="8469567" y="426684"/>
                  </a:cubicBezTo>
                  <a:lnTo>
                    <a:pt x="8469567" y="445180"/>
                  </a:lnTo>
                  <a:cubicBezTo>
                    <a:pt x="8453604" y="446025"/>
                    <a:pt x="8445623" y="454809"/>
                    <a:pt x="8445623" y="471533"/>
                  </a:cubicBezTo>
                  <a:lnTo>
                    <a:pt x="8445623" y="508908"/>
                  </a:lnTo>
                  <a:cubicBezTo>
                    <a:pt x="8445623" y="534246"/>
                    <a:pt x="8427394" y="547084"/>
                    <a:pt x="8390937" y="547422"/>
                  </a:cubicBezTo>
                  <a:lnTo>
                    <a:pt x="8390937" y="527911"/>
                  </a:lnTo>
                  <a:cubicBezTo>
                    <a:pt x="8399897" y="527742"/>
                    <a:pt x="8406256" y="525715"/>
                    <a:pt x="8410015" y="521830"/>
                  </a:cubicBezTo>
                  <a:cubicBezTo>
                    <a:pt x="8413774" y="517945"/>
                    <a:pt x="8415654" y="511526"/>
                    <a:pt x="8415654" y="502573"/>
                  </a:cubicBezTo>
                  <a:lnTo>
                    <a:pt x="8415654" y="467225"/>
                  </a:lnTo>
                  <a:cubicBezTo>
                    <a:pt x="8415654" y="450080"/>
                    <a:pt x="8425798" y="439648"/>
                    <a:pt x="8446086" y="435932"/>
                  </a:cubicBezTo>
                  <a:lnTo>
                    <a:pt x="8446086" y="435552"/>
                  </a:lnTo>
                  <a:cubicBezTo>
                    <a:pt x="8425798" y="431582"/>
                    <a:pt x="8415654" y="421067"/>
                    <a:pt x="8415654" y="404005"/>
                  </a:cubicBezTo>
                  <a:lnTo>
                    <a:pt x="8415654" y="368278"/>
                  </a:lnTo>
                  <a:cubicBezTo>
                    <a:pt x="8415654" y="352483"/>
                    <a:pt x="8407415" y="344417"/>
                    <a:pt x="8390937" y="344080"/>
                  </a:cubicBezTo>
                  <a:close/>
                  <a:moveTo>
                    <a:pt x="8369618" y="324442"/>
                  </a:moveTo>
                  <a:lnTo>
                    <a:pt x="8369618" y="344080"/>
                  </a:lnTo>
                  <a:cubicBezTo>
                    <a:pt x="8353244" y="344417"/>
                    <a:pt x="8345056" y="352483"/>
                    <a:pt x="8345056" y="368278"/>
                  </a:cubicBezTo>
                  <a:lnTo>
                    <a:pt x="8345056" y="404005"/>
                  </a:lnTo>
                  <a:cubicBezTo>
                    <a:pt x="8345056" y="421067"/>
                    <a:pt x="8334809" y="431582"/>
                    <a:pt x="8314315" y="435552"/>
                  </a:cubicBezTo>
                  <a:lnTo>
                    <a:pt x="8314315" y="435932"/>
                  </a:lnTo>
                  <a:cubicBezTo>
                    <a:pt x="8334809" y="439648"/>
                    <a:pt x="8345056" y="450080"/>
                    <a:pt x="8345056" y="467225"/>
                  </a:cubicBezTo>
                  <a:lnTo>
                    <a:pt x="8345056" y="502573"/>
                  </a:lnTo>
                  <a:cubicBezTo>
                    <a:pt x="8345056" y="511610"/>
                    <a:pt x="8346884" y="518050"/>
                    <a:pt x="8350540" y="521893"/>
                  </a:cubicBezTo>
                  <a:cubicBezTo>
                    <a:pt x="8354196" y="525736"/>
                    <a:pt x="8360556" y="527742"/>
                    <a:pt x="8369618" y="527911"/>
                  </a:cubicBezTo>
                  <a:lnTo>
                    <a:pt x="8369618" y="547422"/>
                  </a:lnTo>
                  <a:cubicBezTo>
                    <a:pt x="8332955" y="547084"/>
                    <a:pt x="8314624" y="534246"/>
                    <a:pt x="8314624" y="508908"/>
                  </a:cubicBezTo>
                  <a:lnTo>
                    <a:pt x="8314624" y="471533"/>
                  </a:lnTo>
                  <a:cubicBezTo>
                    <a:pt x="8314624" y="454809"/>
                    <a:pt x="8306591" y="446025"/>
                    <a:pt x="8290525" y="445180"/>
                  </a:cubicBezTo>
                  <a:lnTo>
                    <a:pt x="8290525" y="426684"/>
                  </a:lnTo>
                  <a:cubicBezTo>
                    <a:pt x="8306591" y="425839"/>
                    <a:pt x="8314624" y="416886"/>
                    <a:pt x="8314624" y="399824"/>
                  </a:cubicBezTo>
                  <a:lnTo>
                    <a:pt x="8314624" y="363463"/>
                  </a:lnTo>
                  <a:cubicBezTo>
                    <a:pt x="8314624" y="337787"/>
                    <a:pt x="8332955" y="324780"/>
                    <a:pt x="8369618" y="324442"/>
                  </a:cubicBezTo>
                  <a:close/>
                  <a:moveTo>
                    <a:pt x="4840871" y="324442"/>
                  </a:moveTo>
                  <a:cubicBezTo>
                    <a:pt x="4877329" y="324780"/>
                    <a:pt x="4895556" y="337787"/>
                    <a:pt x="4895556" y="363463"/>
                  </a:cubicBezTo>
                  <a:lnTo>
                    <a:pt x="4895556" y="399824"/>
                  </a:lnTo>
                  <a:cubicBezTo>
                    <a:pt x="4895556" y="416886"/>
                    <a:pt x="4903539" y="425839"/>
                    <a:pt x="4919501" y="426684"/>
                  </a:cubicBezTo>
                  <a:lnTo>
                    <a:pt x="4919501" y="445180"/>
                  </a:lnTo>
                  <a:cubicBezTo>
                    <a:pt x="4903539" y="446025"/>
                    <a:pt x="4895556" y="454809"/>
                    <a:pt x="4895556" y="471533"/>
                  </a:cubicBezTo>
                  <a:lnTo>
                    <a:pt x="4895556" y="508908"/>
                  </a:lnTo>
                  <a:cubicBezTo>
                    <a:pt x="4895556" y="534246"/>
                    <a:pt x="4877329" y="547084"/>
                    <a:pt x="4840871" y="547422"/>
                  </a:cubicBezTo>
                  <a:lnTo>
                    <a:pt x="4840871" y="527911"/>
                  </a:lnTo>
                  <a:cubicBezTo>
                    <a:pt x="4849831" y="527742"/>
                    <a:pt x="4856190" y="525715"/>
                    <a:pt x="4859949" y="521830"/>
                  </a:cubicBezTo>
                  <a:cubicBezTo>
                    <a:pt x="4863708" y="517945"/>
                    <a:pt x="4865588" y="511526"/>
                    <a:pt x="4865588" y="502573"/>
                  </a:cubicBezTo>
                  <a:lnTo>
                    <a:pt x="4865588" y="467225"/>
                  </a:lnTo>
                  <a:cubicBezTo>
                    <a:pt x="4865588" y="450080"/>
                    <a:pt x="4875733" y="439648"/>
                    <a:pt x="4896020" y="435932"/>
                  </a:cubicBezTo>
                  <a:lnTo>
                    <a:pt x="4896020" y="435552"/>
                  </a:lnTo>
                  <a:cubicBezTo>
                    <a:pt x="4875733" y="431582"/>
                    <a:pt x="4865588" y="421067"/>
                    <a:pt x="4865588" y="404005"/>
                  </a:cubicBezTo>
                  <a:lnTo>
                    <a:pt x="4865588" y="368278"/>
                  </a:lnTo>
                  <a:cubicBezTo>
                    <a:pt x="4865588" y="352483"/>
                    <a:pt x="4857349" y="344417"/>
                    <a:pt x="4840871" y="344080"/>
                  </a:cubicBezTo>
                  <a:close/>
                  <a:moveTo>
                    <a:pt x="4819552" y="324442"/>
                  </a:moveTo>
                  <a:lnTo>
                    <a:pt x="4819552" y="344080"/>
                  </a:lnTo>
                  <a:cubicBezTo>
                    <a:pt x="4803178" y="344417"/>
                    <a:pt x="4794990" y="352483"/>
                    <a:pt x="4794990" y="368278"/>
                  </a:cubicBezTo>
                  <a:lnTo>
                    <a:pt x="4794990" y="404005"/>
                  </a:lnTo>
                  <a:cubicBezTo>
                    <a:pt x="4794990" y="421067"/>
                    <a:pt x="4784744" y="431582"/>
                    <a:pt x="4764248" y="435552"/>
                  </a:cubicBezTo>
                  <a:lnTo>
                    <a:pt x="4764248" y="435932"/>
                  </a:lnTo>
                  <a:cubicBezTo>
                    <a:pt x="4784744" y="439648"/>
                    <a:pt x="4794990" y="450080"/>
                    <a:pt x="4794990" y="467225"/>
                  </a:cubicBezTo>
                  <a:lnTo>
                    <a:pt x="4794990" y="502573"/>
                  </a:lnTo>
                  <a:cubicBezTo>
                    <a:pt x="4794990" y="511610"/>
                    <a:pt x="4796818" y="518050"/>
                    <a:pt x="4800474" y="521893"/>
                  </a:cubicBezTo>
                  <a:cubicBezTo>
                    <a:pt x="4804130" y="525736"/>
                    <a:pt x="4810490" y="527742"/>
                    <a:pt x="4819552" y="527911"/>
                  </a:cubicBezTo>
                  <a:lnTo>
                    <a:pt x="4819552" y="547422"/>
                  </a:lnTo>
                  <a:cubicBezTo>
                    <a:pt x="4782889" y="547084"/>
                    <a:pt x="4764558" y="534246"/>
                    <a:pt x="4764558" y="508908"/>
                  </a:cubicBezTo>
                  <a:lnTo>
                    <a:pt x="4764558" y="471533"/>
                  </a:lnTo>
                  <a:cubicBezTo>
                    <a:pt x="4764558" y="454809"/>
                    <a:pt x="4756524" y="446025"/>
                    <a:pt x="4740459" y="445180"/>
                  </a:cubicBezTo>
                  <a:lnTo>
                    <a:pt x="4740459" y="426684"/>
                  </a:lnTo>
                  <a:cubicBezTo>
                    <a:pt x="4756524" y="425839"/>
                    <a:pt x="4764558" y="416886"/>
                    <a:pt x="4764558" y="399824"/>
                  </a:cubicBezTo>
                  <a:lnTo>
                    <a:pt x="4764558" y="363463"/>
                  </a:lnTo>
                  <a:cubicBezTo>
                    <a:pt x="4764558" y="337787"/>
                    <a:pt x="4782889" y="324780"/>
                    <a:pt x="4819552" y="324442"/>
                  </a:cubicBezTo>
                  <a:close/>
                  <a:moveTo>
                    <a:pt x="2336269" y="324442"/>
                  </a:moveTo>
                  <a:cubicBezTo>
                    <a:pt x="2372726" y="324780"/>
                    <a:pt x="2390956" y="337787"/>
                    <a:pt x="2390956" y="363463"/>
                  </a:cubicBezTo>
                  <a:lnTo>
                    <a:pt x="2390956" y="399824"/>
                  </a:lnTo>
                  <a:cubicBezTo>
                    <a:pt x="2390956" y="416886"/>
                    <a:pt x="2398936" y="425839"/>
                    <a:pt x="2414899" y="426684"/>
                  </a:cubicBezTo>
                  <a:lnTo>
                    <a:pt x="2414899" y="445180"/>
                  </a:lnTo>
                  <a:cubicBezTo>
                    <a:pt x="2398936" y="446025"/>
                    <a:pt x="2390956" y="454809"/>
                    <a:pt x="2390956" y="471533"/>
                  </a:cubicBezTo>
                  <a:lnTo>
                    <a:pt x="2390956" y="508908"/>
                  </a:lnTo>
                  <a:cubicBezTo>
                    <a:pt x="2390956" y="534246"/>
                    <a:pt x="2372726" y="547084"/>
                    <a:pt x="2336269" y="547422"/>
                  </a:cubicBezTo>
                  <a:lnTo>
                    <a:pt x="2336269" y="527911"/>
                  </a:lnTo>
                  <a:cubicBezTo>
                    <a:pt x="2345229" y="527742"/>
                    <a:pt x="2351589" y="525715"/>
                    <a:pt x="2355347" y="521830"/>
                  </a:cubicBezTo>
                  <a:cubicBezTo>
                    <a:pt x="2359106" y="517945"/>
                    <a:pt x="2360986" y="511526"/>
                    <a:pt x="2360986" y="502573"/>
                  </a:cubicBezTo>
                  <a:lnTo>
                    <a:pt x="2360986" y="467225"/>
                  </a:lnTo>
                  <a:cubicBezTo>
                    <a:pt x="2360986" y="450080"/>
                    <a:pt x="2371130" y="439648"/>
                    <a:pt x="2391418" y="435932"/>
                  </a:cubicBezTo>
                  <a:lnTo>
                    <a:pt x="2391418" y="435552"/>
                  </a:lnTo>
                  <a:cubicBezTo>
                    <a:pt x="2371130" y="431582"/>
                    <a:pt x="2360986" y="421067"/>
                    <a:pt x="2360986" y="404005"/>
                  </a:cubicBezTo>
                  <a:lnTo>
                    <a:pt x="2360986" y="368278"/>
                  </a:lnTo>
                  <a:cubicBezTo>
                    <a:pt x="2360986" y="352483"/>
                    <a:pt x="2352747" y="344417"/>
                    <a:pt x="2336269" y="344080"/>
                  </a:cubicBezTo>
                  <a:close/>
                  <a:moveTo>
                    <a:pt x="2314950" y="324442"/>
                  </a:moveTo>
                  <a:lnTo>
                    <a:pt x="2314950" y="344080"/>
                  </a:lnTo>
                  <a:cubicBezTo>
                    <a:pt x="2298576" y="344417"/>
                    <a:pt x="2290389" y="352483"/>
                    <a:pt x="2290389" y="368278"/>
                  </a:cubicBezTo>
                  <a:lnTo>
                    <a:pt x="2290389" y="404005"/>
                  </a:lnTo>
                  <a:cubicBezTo>
                    <a:pt x="2290389" y="421067"/>
                    <a:pt x="2280142" y="431582"/>
                    <a:pt x="2259648" y="435552"/>
                  </a:cubicBezTo>
                  <a:lnTo>
                    <a:pt x="2259648" y="435932"/>
                  </a:lnTo>
                  <a:cubicBezTo>
                    <a:pt x="2280142" y="439648"/>
                    <a:pt x="2290389" y="450080"/>
                    <a:pt x="2290389" y="467225"/>
                  </a:cubicBezTo>
                  <a:lnTo>
                    <a:pt x="2290389" y="502573"/>
                  </a:lnTo>
                  <a:cubicBezTo>
                    <a:pt x="2290389" y="511610"/>
                    <a:pt x="2292216" y="518050"/>
                    <a:pt x="2295873" y="521893"/>
                  </a:cubicBezTo>
                  <a:cubicBezTo>
                    <a:pt x="2299528" y="525736"/>
                    <a:pt x="2305888" y="527742"/>
                    <a:pt x="2314950" y="527911"/>
                  </a:cubicBezTo>
                  <a:lnTo>
                    <a:pt x="2314950" y="547422"/>
                  </a:lnTo>
                  <a:cubicBezTo>
                    <a:pt x="2278287" y="547084"/>
                    <a:pt x="2259956" y="534246"/>
                    <a:pt x="2259956" y="508908"/>
                  </a:cubicBezTo>
                  <a:lnTo>
                    <a:pt x="2259956" y="471533"/>
                  </a:lnTo>
                  <a:cubicBezTo>
                    <a:pt x="2259956" y="454809"/>
                    <a:pt x="2251924" y="446025"/>
                    <a:pt x="2235857" y="445180"/>
                  </a:cubicBezTo>
                  <a:lnTo>
                    <a:pt x="2235857" y="426684"/>
                  </a:lnTo>
                  <a:cubicBezTo>
                    <a:pt x="2251924" y="425839"/>
                    <a:pt x="2259956" y="416886"/>
                    <a:pt x="2259956" y="399824"/>
                  </a:cubicBezTo>
                  <a:lnTo>
                    <a:pt x="2259956" y="363463"/>
                  </a:lnTo>
                  <a:cubicBezTo>
                    <a:pt x="2259956" y="337787"/>
                    <a:pt x="2278287" y="324780"/>
                    <a:pt x="2314950" y="324442"/>
                  </a:cubicBezTo>
                  <a:close/>
                  <a:moveTo>
                    <a:pt x="8852714" y="0"/>
                  </a:moveTo>
                  <a:cubicBezTo>
                    <a:pt x="8889171" y="338"/>
                    <a:pt x="8907400" y="13345"/>
                    <a:pt x="8907400" y="39021"/>
                  </a:cubicBezTo>
                  <a:lnTo>
                    <a:pt x="8907400" y="75382"/>
                  </a:lnTo>
                  <a:cubicBezTo>
                    <a:pt x="8907400" y="92444"/>
                    <a:pt x="8915381" y="101397"/>
                    <a:pt x="8931344" y="102242"/>
                  </a:cubicBezTo>
                  <a:lnTo>
                    <a:pt x="8931344" y="120738"/>
                  </a:lnTo>
                  <a:cubicBezTo>
                    <a:pt x="8915381" y="121583"/>
                    <a:pt x="8907400" y="130367"/>
                    <a:pt x="8907400" y="147091"/>
                  </a:cubicBezTo>
                  <a:lnTo>
                    <a:pt x="8907400" y="184465"/>
                  </a:lnTo>
                  <a:cubicBezTo>
                    <a:pt x="8907400" y="209804"/>
                    <a:pt x="8889171" y="222642"/>
                    <a:pt x="8852714" y="222980"/>
                  </a:cubicBezTo>
                  <a:lnTo>
                    <a:pt x="8852714" y="203469"/>
                  </a:lnTo>
                  <a:cubicBezTo>
                    <a:pt x="8861674" y="203300"/>
                    <a:pt x="8868033" y="201273"/>
                    <a:pt x="8871792" y="197388"/>
                  </a:cubicBezTo>
                  <a:cubicBezTo>
                    <a:pt x="8875551" y="193503"/>
                    <a:pt x="8877431" y="187084"/>
                    <a:pt x="8877431" y="178131"/>
                  </a:cubicBezTo>
                  <a:lnTo>
                    <a:pt x="8877431" y="142783"/>
                  </a:lnTo>
                  <a:cubicBezTo>
                    <a:pt x="8877431" y="125638"/>
                    <a:pt x="8887575" y="115206"/>
                    <a:pt x="8907863" y="111490"/>
                  </a:cubicBezTo>
                  <a:lnTo>
                    <a:pt x="8907863" y="111110"/>
                  </a:lnTo>
                  <a:cubicBezTo>
                    <a:pt x="8887575" y="107140"/>
                    <a:pt x="8877431" y="96625"/>
                    <a:pt x="8877431" y="79563"/>
                  </a:cubicBezTo>
                  <a:lnTo>
                    <a:pt x="8877431" y="43836"/>
                  </a:lnTo>
                  <a:cubicBezTo>
                    <a:pt x="8877431" y="28041"/>
                    <a:pt x="8869192" y="19975"/>
                    <a:pt x="8852714" y="19638"/>
                  </a:cubicBezTo>
                  <a:close/>
                  <a:moveTo>
                    <a:pt x="8831395" y="0"/>
                  </a:moveTo>
                  <a:lnTo>
                    <a:pt x="8831395" y="19638"/>
                  </a:lnTo>
                  <a:cubicBezTo>
                    <a:pt x="8815021" y="19975"/>
                    <a:pt x="8806833" y="28041"/>
                    <a:pt x="8806833" y="43836"/>
                  </a:cubicBezTo>
                  <a:lnTo>
                    <a:pt x="8806833" y="79563"/>
                  </a:lnTo>
                  <a:cubicBezTo>
                    <a:pt x="8806833" y="96625"/>
                    <a:pt x="8796586" y="107140"/>
                    <a:pt x="8776092" y="111110"/>
                  </a:cubicBezTo>
                  <a:lnTo>
                    <a:pt x="8776092" y="111490"/>
                  </a:lnTo>
                  <a:cubicBezTo>
                    <a:pt x="8796586" y="115206"/>
                    <a:pt x="8806833" y="125638"/>
                    <a:pt x="8806833" y="142783"/>
                  </a:cubicBezTo>
                  <a:lnTo>
                    <a:pt x="8806833" y="178131"/>
                  </a:lnTo>
                  <a:cubicBezTo>
                    <a:pt x="8806833" y="187168"/>
                    <a:pt x="8808661" y="193608"/>
                    <a:pt x="8812317" y="197451"/>
                  </a:cubicBezTo>
                  <a:cubicBezTo>
                    <a:pt x="8815973" y="201294"/>
                    <a:pt x="8822333" y="203300"/>
                    <a:pt x="8831395" y="203469"/>
                  </a:cubicBezTo>
                  <a:lnTo>
                    <a:pt x="8831395" y="222980"/>
                  </a:lnTo>
                  <a:cubicBezTo>
                    <a:pt x="8794732" y="222642"/>
                    <a:pt x="8776401" y="209804"/>
                    <a:pt x="8776401" y="184465"/>
                  </a:cubicBezTo>
                  <a:lnTo>
                    <a:pt x="8776401" y="147091"/>
                  </a:lnTo>
                  <a:cubicBezTo>
                    <a:pt x="8776401" y="130367"/>
                    <a:pt x="8768368" y="121583"/>
                    <a:pt x="8752302" y="120738"/>
                  </a:cubicBezTo>
                  <a:lnTo>
                    <a:pt x="8752302" y="102242"/>
                  </a:lnTo>
                  <a:cubicBezTo>
                    <a:pt x="8768368" y="101397"/>
                    <a:pt x="8776401" y="92444"/>
                    <a:pt x="8776401" y="75382"/>
                  </a:cubicBezTo>
                  <a:lnTo>
                    <a:pt x="8776401" y="39021"/>
                  </a:lnTo>
                  <a:cubicBezTo>
                    <a:pt x="8776401" y="13345"/>
                    <a:pt x="8794732" y="338"/>
                    <a:pt x="8831395" y="0"/>
                  </a:cubicBezTo>
                  <a:close/>
                  <a:moveTo>
                    <a:pt x="2780936" y="0"/>
                  </a:moveTo>
                  <a:cubicBezTo>
                    <a:pt x="2817392" y="338"/>
                    <a:pt x="2835620" y="13345"/>
                    <a:pt x="2835620" y="39021"/>
                  </a:cubicBezTo>
                  <a:lnTo>
                    <a:pt x="2835620" y="75382"/>
                  </a:lnTo>
                  <a:cubicBezTo>
                    <a:pt x="2835620" y="92444"/>
                    <a:pt x="2843602" y="101397"/>
                    <a:pt x="2859566" y="102242"/>
                  </a:cubicBezTo>
                  <a:lnTo>
                    <a:pt x="2859566" y="120738"/>
                  </a:lnTo>
                  <a:cubicBezTo>
                    <a:pt x="2843602" y="121583"/>
                    <a:pt x="2835620" y="130367"/>
                    <a:pt x="2835620" y="147091"/>
                  </a:cubicBezTo>
                  <a:lnTo>
                    <a:pt x="2835620" y="184465"/>
                  </a:lnTo>
                  <a:cubicBezTo>
                    <a:pt x="2835620" y="209804"/>
                    <a:pt x="2817392" y="222642"/>
                    <a:pt x="2780936" y="222980"/>
                  </a:cubicBezTo>
                  <a:lnTo>
                    <a:pt x="2780936" y="203469"/>
                  </a:lnTo>
                  <a:cubicBezTo>
                    <a:pt x="2789895" y="203300"/>
                    <a:pt x="2796255" y="201273"/>
                    <a:pt x="2800014" y="197388"/>
                  </a:cubicBezTo>
                  <a:cubicBezTo>
                    <a:pt x="2803773" y="193503"/>
                    <a:pt x="2805652" y="187084"/>
                    <a:pt x="2805652" y="178131"/>
                  </a:cubicBezTo>
                  <a:lnTo>
                    <a:pt x="2805652" y="142783"/>
                  </a:lnTo>
                  <a:cubicBezTo>
                    <a:pt x="2805652" y="125638"/>
                    <a:pt x="2815797" y="115206"/>
                    <a:pt x="2836085" y="111490"/>
                  </a:cubicBezTo>
                  <a:lnTo>
                    <a:pt x="2836085" y="111110"/>
                  </a:lnTo>
                  <a:cubicBezTo>
                    <a:pt x="2815797" y="107140"/>
                    <a:pt x="2805652" y="96625"/>
                    <a:pt x="2805652" y="79563"/>
                  </a:cubicBezTo>
                  <a:lnTo>
                    <a:pt x="2805652" y="43836"/>
                  </a:lnTo>
                  <a:cubicBezTo>
                    <a:pt x="2805652" y="28041"/>
                    <a:pt x="2797414" y="19975"/>
                    <a:pt x="2780936" y="19638"/>
                  </a:cubicBezTo>
                  <a:close/>
                  <a:moveTo>
                    <a:pt x="2759616" y="0"/>
                  </a:moveTo>
                  <a:lnTo>
                    <a:pt x="2759616" y="19638"/>
                  </a:lnTo>
                  <a:cubicBezTo>
                    <a:pt x="2743242" y="19975"/>
                    <a:pt x="2735055" y="28041"/>
                    <a:pt x="2735055" y="43836"/>
                  </a:cubicBezTo>
                  <a:lnTo>
                    <a:pt x="2735055" y="79563"/>
                  </a:lnTo>
                  <a:cubicBezTo>
                    <a:pt x="2735055" y="96625"/>
                    <a:pt x="2724808" y="107140"/>
                    <a:pt x="2704314" y="111110"/>
                  </a:cubicBezTo>
                  <a:lnTo>
                    <a:pt x="2704314" y="111490"/>
                  </a:lnTo>
                  <a:cubicBezTo>
                    <a:pt x="2724808" y="115206"/>
                    <a:pt x="2735055" y="125638"/>
                    <a:pt x="2735055" y="142783"/>
                  </a:cubicBezTo>
                  <a:lnTo>
                    <a:pt x="2735055" y="178131"/>
                  </a:lnTo>
                  <a:cubicBezTo>
                    <a:pt x="2735055" y="187168"/>
                    <a:pt x="2736883" y="193608"/>
                    <a:pt x="2740539" y="197451"/>
                  </a:cubicBezTo>
                  <a:cubicBezTo>
                    <a:pt x="2744194" y="201294"/>
                    <a:pt x="2750555" y="203300"/>
                    <a:pt x="2759616" y="203469"/>
                  </a:cubicBezTo>
                  <a:lnTo>
                    <a:pt x="2759616" y="222980"/>
                  </a:lnTo>
                  <a:cubicBezTo>
                    <a:pt x="2722953" y="222642"/>
                    <a:pt x="2704623" y="209804"/>
                    <a:pt x="2704623" y="184465"/>
                  </a:cubicBezTo>
                  <a:lnTo>
                    <a:pt x="2704623" y="147091"/>
                  </a:lnTo>
                  <a:cubicBezTo>
                    <a:pt x="2704623" y="130367"/>
                    <a:pt x="2696589" y="121583"/>
                    <a:pt x="2680524" y="120738"/>
                  </a:cubicBezTo>
                  <a:lnTo>
                    <a:pt x="2680524" y="102242"/>
                  </a:lnTo>
                  <a:cubicBezTo>
                    <a:pt x="2696589" y="101397"/>
                    <a:pt x="2704623" y="92444"/>
                    <a:pt x="2704623" y="75382"/>
                  </a:cubicBezTo>
                  <a:lnTo>
                    <a:pt x="2704623" y="39021"/>
                  </a:lnTo>
                  <a:cubicBezTo>
                    <a:pt x="2704623" y="13345"/>
                    <a:pt x="2722953" y="338"/>
                    <a:pt x="2759616"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30" name="Group 29"/>
          <p:cNvGrpSpPr/>
          <p:nvPr userDrawn="1"/>
        </p:nvGrpSpPr>
        <p:grpSpPr>
          <a:xfrm>
            <a:off x="-223" y="0"/>
            <a:ext cx="12192001" cy="6858001"/>
            <a:chOff x="6205953" y="-335235"/>
            <a:chExt cx="12192001" cy="6858001"/>
          </a:xfrm>
        </p:grpSpPr>
        <p:sp>
          <p:nvSpPr>
            <p:cNvPr id="31" name="Rectangle 30"/>
            <p:cNvSpPr/>
            <p:nvPr/>
          </p:nvSpPr>
          <p:spPr bwMode="auto">
            <a:xfrm>
              <a:off x="6205954" y="-335234"/>
              <a:ext cx="12192000" cy="6858000"/>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32" name="Rectangle 31"/>
            <p:cNvSpPr/>
            <p:nvPr/>
          </p:nvSpPr>
          <p:spPr bwMode="auto">
            <a:xfrm>
              <a:off x="6205953" y="-335235"/>
              <a:ext cx="12192000" cy="6858000"/>
            </a:xfrm>
            <a:prstGeom prst="rect">
              <a:avLst/>
            </a:prstGeom>
            <a:solidFill>
              <a:srgbClr val="0078D7">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74" name="Rectangle 1773"/>
          <p:cNvSpPr/>
          <p:nvPr userDrawn="1"/>
        </p:nvSpPr>
        <p:spPr bwMode="auto">
          <a:xfrm>
            <a:off x="0" y="0"/>
            <a:ext cx="612648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Content Placeholder 5"/>
          <p:cNvSpPr>
            <a:spLocks noGrp="1"/>
          </p:cNvSpPr>
          <p:nvPr>
            <p:ph sz="quarter" idx="10"/>
          </p:nvPr>
        </p:nvSpPr>
        <p:spPr>
          <a:xfrm>
            <a:off x="379691" y="2271258"/>
            <a:ext cx="5500457" cy="3689876"/>
          </a:xfrm>
        </p:spPr>
        <p:txBody>
          <a:bodyPr>
            <a:normAutofit/>
          </a:bodyPr>
          <a:lstStyle>
            <a:lvl1pPr marL="0" indent="0">
              <a:buNone/>
              <a:defRPr sz="2400">
                <a:solidFill>
                  <a:schemeClr val="bg1"/>
                </a:solidFill>
                <a:latin typeface="+mj-lt"/>
              </a:defRPr>
            </a:lvl1pPr>
            <a:lvl2pPr marL="457200" indent="0">
              <a:buNone/>
              <a:defRPr sz="2000">
                <a:latin typeface="+mj-lt"/>
              </a:defRPr>
            </a:lvl2pPr>
            <a:lvl3pPr marL="914400" indent="0">
              <a:buNone/>
              <a:defRPr sz="1800">
                <a:latin typeface="+mj-lt"/>
              </a:defRPr>
            </a:lvl3pPr>
            <a:lvl4pPr marL="1371600" indent="0">
              <a:buNone/>
              <a:defRPr sz="1600">
                <a:latin typeface="+mj-lt"/>
              </a:defRPr>
            </a:lvl4pPr>
            <a:lvl5pPr marL="1828800" indent="0">
              <a:buNone/>
              <a:defRPr sz="16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a:xfrm>
            <a:off x="324466" y="289510"/>
            <a:ext cx="5500456" cy="899665"/>
          </a:xfrm>
        </p:spPr>
        <p:txBody>
          <a:bodyPr>
            <a:normAutofit/>
          </a:bodyPr>
          <a:lstStyle>
            <a:lvl1pPr>
              <a:defRPr sz="4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3510680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297928" y="1533104"/>
            <a:ext cx="7627153" cy="1412279"/>
          </a:xfrm>
        </p:spPr>
        <p:txBody>
          <a:bodyPr/>
          <a:lstStyle>
            <a:lvl1pPr marL="0" indent="0">
              <a:spcBef>
                <a:spcPts val="2353"/>
              </a:spcBef>
              <a:buNone/>
              <a:defRPr sz="2353">
                <a:solidFill>
                  <a:schemeClr val="accent1"/>
                </a:solidFill>
              </a:defRPr>
            </a:lvl1pPr>
            <a:lvl2pPr marL="0" indent="0">
              <a:spcAft>
                <a:spcPts val="588"/>
              </a:spcAft>
              <a:buFontTx/>
              <a:buNone/>
              <a:defRPr sz="1568"/>
            </a:lvl2pPr>
            <a:lvl3pPr marL="224097" indent="0">
              <a:buNone/>
              <a:defRPr sz="1176"/>
            </a:lvl3pPr>
            <a:lvl4pPr marL="448193" indent="0">
              <a:buNone/>
              <a:defRPr sz="1078"/>
            </a:lvl4pPr>
            <a:lvl5pPr marL="672290" indent="0">
              <a:buNone/>
              <a:defRPr sz="107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325101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726344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437020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389581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8406056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63pt Title + Subtitle">
    <p:spTree>
      <p:nvGrpSpPr>
        <p:cNvPr id="1" name=""/>
        <p:cNvGrpSpPr/>
        <p:nvPr/>
      </p:nvGrpSpPr>
      <p:grpSpPr>
        <a:xfrm>
          <a:off x="0" y="0"/>
          <a:ext cx="0" cy="0"/>
          <a:chOff x="0" y="0"/>
          <a:chExt cx="0" cy="0"/>
        </a:xfrm>
      </p:grpSpPr>
      <p:sp>
        <p:nvSpPr>
          <p:cNvPr id="4" name="Footer Placeholder 2"/>
          <p:cNvSpPr>
            <a:spLocks noGrp="1"/>
          </p:cNvSpPr>
          <p:nvPr>
            <p:ph type="ftr" sz="quarter" idx="14"/>
          </p:nvPr>
        </p:nvSpPr>
        <p:spPr>
          <a:xfrm>
            <a:off x="261457" y="6724140"/>
            <a:ext cx="3859607" cy="133860"/>
          </a:xfrm>
          <a:prstGeom prst="rect">
            <a:avLst/>
          </a:prstGeom>
        </p:spPr>
        <p:txBody>
          <a:bodyPr/>
          <a:lstStyle>
            <a:lvl1pPr fontAlgn="base">
              <a:spcBef>
                <a:spcPct val="0"/>
              </a:spcBef>
              <a:spcAft>
                <a:spcPct val="0"/>
              </a:spcAft>
              <a:defRPr dirty="0" smtClean="0">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a:xfrm>
            <a:off x="11441867" y="6724140"/>
            <a:ext cx="555597" cy="133860"/>
          </a:xfrm>
          <a:prstGeom prst="rect">
            <a:avLst/>
          </a:prstGeom>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a:xfrm>
            <a:off x="261458" y="392056"/>
            <a:ext cx="11655078" cy="392415"/>
          </a:xfrm>
        </p:spPr>
        <p:txBody>
          <a:bodyPr/>
          <a:lstStyle/>
          <a:p>
            <a:r>
              <a:rPr lang="en-US" dirty="0"/>
              <a:t>Click to edit Master title style</a:t>
            </a:r>
          </a:p>
        </p:txBody>
      </p:sp>
      <p:sp>
        <p:nvSpPr>
          <p:cNvPr id="8" name="Content Placeholder 7"/>
          <p:cNvSpPr>
            <a:spLocks noGrp="1"/>
          </p:cNvSpPr>
          <p:nvPr>
            <p:ph sz="quarter" idx="16"/>
          </p:nvPr>
        </p:nvSpPr>
        <p:spPr>
          <a:xfrm>
            <a:off x="261457" y="1430437"/>
            <a:ext cx="11736007" cy="195598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7"/>
          </p:nvPr>
        </p:nvSpPr>
        <p:spPr>
          <a:xfrm>
            <a:off x="261457" y="894218"/>
            <a:ext cx="11641072" cy="271549"/>
          </a:xfrm>
        </p:spPr>
        <p:txBody>
          <a:bodyPr/>
          <a:lstStyle>
            <a:lvl1pPr>
              <a:defRPr sz="1961">
                <a:solidFill>
                  <a:schemeClr val="accent1"/>
                </a:solidFill>
                <a:latin typeface="+mn-lt"/>
              </a:defRPr>
            </a:lvl1pPr>
          </a:lstStyle>
          <a:p>
            <a:pPr lvl="0"/>
            <a:r>
              <a:rPr lang="en-US" dirty="0"/>
              <a:t>Click to edit Master text styles</a:t>
            </a:r>
          </a:p>
        </p:txBody>
      </p:sp>
    </p:spTree>
    <p:extLst>
      <p:ext uri="{BB962C8B-B14F-4D97-AF65-F5344CB8AC3E}">
        <p14:creationId xmlns:p14="http://schemas.microsoft.com/office/powerpoint/2010/main" val="399224678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1459768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ection Header">
    <p:bg>
      <p:bgPr>
        <a:blipFill dpi="0" rotWithShape="1">
          <a:blip r:embed="rId4">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4" name="Group 3"/>
          <p:cNvGrpSpPr/>
          <p:nvPr userDrawn="1"/>
        </p:nvGrpSpPr>
        <p:grpSpPr>
          <a:xfrm rot="5400000">
            <a:off x="-1985378" y="1811202"/>
            <a:ext cx="6108339" cy="2485929"/>
            <a:chOff x="-32657" y="4691730"/>
            <a:chExt cx="6625100" cy="2804185"/>
          </a:xfrm>
        </p:grpSpPr>
        <p:sp>
          <p:nvSpPr>
            <p:cNvPr id="5" name="Freeform: Shape 4"/>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Shape 5"/>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Freeform: Shape 6"/>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Freeform: Shape 7"/>
            <p:cNvSpPr/>
            <p:nvPr/>
          </p:nvSpPr>
          <p:spPr>
            <a:xfrm>
              <a:off x="-32657" y="6452313"/>
              <a:ext cx="6527800" cy="10436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9" name="Group 8"/>
          <p:cNvGrpSpPr/>
          <p:nvPr userDrawn="1"/>
        </p:nvGrpSpPr>
        <p:grpSpPr>
          <a:xfrm rot="5400000">
            <a:off x="1259186" y="-1691281"/>
            <a:ext cx="1150258" cy="4399565"/>
            <a:chOff x="1113971" y="3497757"/>
            <a:chExt cx="1150258" cy="3142530"/>
          </a:xfrm>
        </p:grpSpPr>
        <p:sp>
          <p:nvSpPr>
            <p:cNvPr id="10" name="Freeform: Shape 9"/>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Freeform: Shape 11"/>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Freeform: Shape 12"/>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Freeform: Shape 13"/>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5" name="Group 14"/>
          <p:cNvGrpSpPr/>
          <p:nvPr userDrawn="1"/>
        </p:nvGrpSpPr>
        <p:grpSpPr>
          <a:xfrm>
            <a:off x="3897769" y="511147"/>
            <a:ext cx="274262" cy="274262"/>
            <a:chOff x="3766458" y="4912364"/>
            <a:chExt cx="468086" cy="468086"/>
          </a:xfrm>
        </p:grpSpPr>
        <p:sp>
          <p:nvSpPr>
            <p:cNvPr id="16" name="Oval 15"/>
            <p:cNvSpPr/>
            <p:nvPr/>
          </p:nvSpPr>
          <p:spPr>
            <a:xfrm>
              <a:off x="3766458" y="4912364"/>
              <a:ext cx="468086" cy="468086"/>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Oval 16"/>
            <p:cNvSpPr/>
            <p:nvPr/>
          </p:nvSpPr>
          <p:spPr>
            <a:xfrm>
              <a:off x="3860079" y="5005985"/>
              <a:ext cx="280844" cy="280844"/>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9" name="Group 18"/>
          <p:cNvGrpSpPr/>
          <p:nvPr userDrawn="1"/>
        </p:nvGrpSpPr>
        <p:grpSpPr>
          <a:xfrm flipH="1">
            <a:off x="5387922" y="2675606"/>
            <a:ext cx="6879800" cy="3485708"/>
            <a:chOff x="2661557" y="1008743"/>
            <a:chExt cx="6025243" cy="1848757"/>
          </a:xfrm>
        </p:grpSpPr>
        <p:sp>
          <p:nvSpPr>
            <p:cNvPr id="20" name="Freeform: Shape 19"/>
            <p:cNvSpPr/>
            <p:nvPr/>
          </p:nvSpPr>
          <p:spPr>
            <a:xfrm>
              <a:off x="2661557" y="1008743"/>
              <a:ext cx="6025243" cy="12391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Freeform: Shape 20"/>
            <p:cNvSpPr/>
            <p:nvPr/>
          </p:nvSpPr>
          <p:spPr>
            <a:xfrm>
              <a:off x="2661557" y="1008743"/>
              <a:ext cx="6025243" cy="13915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Freeform: Shape 21"/>
            <p:cNvSpPr/>
            <p:nvPr/>
          </p:nvSpPr>
          <p:spPr>
            <a:xfrm>
              <a:off x="2661557" y="1008743"/>
              <a:ext cx="6025243" cy="15439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Freeform: Shape 22"/>
            <p:cNvSpPr/>
            <p:nvPr/>
          </p:nvSpPr>
          <p:spPr>
            <a:xfrm>
              <a:off x="2661557" y="1008743"/>
              <a:ext cx="6025243" cy="16963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Freeform: Shape 23"/>
            <p:cNvSpPr/>
            <p:nvPr/>
          </p:nvSpPr>
          <p:spPr>
            <a:xfrm>
              <a:off x="2661557" y="1008743"/>
              <a:ext cx="6025243" cy="18487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25" name="Group 24"/>
          <p:cNvGrpSpPr/>
          <p:nvPr userDrawn="1"/>
        </p:nvGrpSpPr>
        <p:grpSpPr>
          <a:xfrm>
            <a:off x="5161680" y="2470138"/>
            <a:ext cx="468086" cy="468086"/>
            <a:chOff x="3766458" y="4912364"/>
            <a:chExt cx="468086" cy="468086"/>
          </a:xfrm>
        </p:grpSpPr>
        <p:sp>
          <p:nvSpPr>
            <p:cNvPr id="26" name="Oval 25"/>
            <p:cNvSpPr/>
            <p:nvPr/>
          </p:nvSpPr>
          <p:spPr>
            <a:xfrm>
              <a:off x="3766458" y="4912364"/>
              <a:ext cx="468086" cy="468086"/>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Oval 26"/>
            <p:cNvSpPr/>
            <p:nvPr/>
          </p:nvSpPr>
          <p:spPr>
            <a:xfrm>
              <a:off x="3860079" y="5005985"/>
              <a:ext cx="280844" cy="280844"/>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Oval 27"/>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29" name="Group 28"/>
          <p:cNvGrpSpPr/>
          <p:nvPr userDrawn="1"/>
        </p:nvGrpSpPr>
        <p:grpSpPr>
          <a:xfrm rot="19175348" flipH="1">
            <a:off x="4554593" y="364683"/>
            <a:ext cx="3645245" cy="1320522"/>
            <a:chOff x="5347225" y="-195944"/>
            <a:chExt cx="3320143" cy="727076"/>
          </a:xfrm>
        </p:grpSpPr>
        <p:sp>
          <p:nvSpPr>
            <p:cNvPr id="30" name="Freeform: Shape 29"/>
            <p:cNvSpPr/>
            <p:nvPr/>
          </p:nvSpPr>
          <p:spPr>
            <a:xfrm flipV="1">
              <a:off x="5347225" y="261256"/>
              <a:ext cx="3320143" cy="2698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Freeform: Shape 30"/>
            <p:cNvSpPr/>
            <p:nvPr/>
          </p:nvSpPr>
          <p:spPr>
            <a:xfrm flipV="1">
              <a:off x="5347225" y="108856"/>
              <a:ext cx="3320143" cy="4222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Freeform: Shape 31"/>
            <p:cNvSpPr/>
            <p:nvPr/>
          </p:nvSpPr>
          <p:spPr>
            <a:xfrm flipV="1">
              <a:off x="5347225" y="-43544"/>
              <a:ext cx="3320143" cy="5746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Freeform: Shape 32"/>
            <p:cNvSpPr/>
            <p:nvPr/>
          </p:nvSpPr>
          <p:spPr>
            <a:xfrm flipV="1">
              <a:off x="5347225" y="-195944"/>
              <a:ext cx="3320143" cy="7270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4" name="Oval 33"/>
          <p:cNvSpPr/>
          <p:nvPr userDrawn="1"/>
        </p:nvSpPr>
        <p:spPr>
          <a:xfrm>
            <a:off x="1879902" y="5994991"/>
            <a:ext cx="79452" cy="7945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Oval 34"/>
          <p:cNvSpPr/>
          <p:nvPr userDrawn="1"/>
        </p:nvSpPr>
        <p:spPr>
          <a:xfrm>
            <a:off x="6371462" y="5806091"/>
            <a:ext cx="79452" cy="7945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Oval 35"/>
          <p:cNvSpPr/>
          <p:nvPr userDrawn="1"/>
        </p:nvSpPr>
        <p:spPr>
          <a:xfrm>
            <a:off x="1836477" y="3344497"/>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Oval 36"/>
          <p:cNvSpPr/>
          <p:nvPr userDrawn="1"/>
        </p:nvSpPr>
        <p:spPr>
          <a:xfrm>
            <a:off x="871870" y="6104511"/>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Oval 37"/>
          <p:cNvSpPr/>
          <p:nvPr userDrawn="1"/>
        </p:nvSpPr>
        <p:spPr>
          <a:xfrm>
            <a:off x="1381204" y="3209301"/>
            <a:ext cx="128791" cy="128791"/>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Oval 38"/>
          <p:cNvSpPr/>
          <p:nvPr userDrawn="1"/>
        </p:nvSpPr>
        <p:spPr>
          <a:xfrm>
            <a:off x="1577329" y="738421"/>
            <a:ext cx="69136" cy="6913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Oval 39"/>
          <p:cNvSpPr/>
          <p:nvPr userDrawn="1"/>
        </p:nvSpPr>
        <p:spPr>
          <a:xfrm>
            <a:off x="1049169" y="6443418"/>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Oval 40"/>
          <p:cNvSpPr/>
          <p:nvPr userDrawn="1"/>
        </p:nvSpPr>
        <p:spPr>
          <a:xfrm>
            <a:off x="1790999" y="2788038"/>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Oval 41"/>
          <p:cNvSpPr/>
          <p:nvPr userDrawn="1"/>
        </p:nvSpPr>
        <p:spPr>
          <a:xfrm>
            <a:off x="3048815" y="2896665"/>
            <a:ext cx="156013" cy="15601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43" name="Group 42"/>
          <p:cNvGrpSpPr/>
          <p:nvPr userDrawn="1"/>
        </p:nvGrpSpPr>
        <p:grpSpPr>
          <a:xfrm rot="5400000">
            <a:off x="-2095598" y="1716892"/>
            <a:ext cx="5147155" cy="1686894"/>
            <a:chOff x="-32657" y="4691730"/>
            <a:chExt cx="6625100" cy="2804185"/>
          </a:xfrm>
        </p:grpSpPr>
        <p:sp>
          <p:nvSpPr>
            <p:cNvPr id="44" name="Freeform: Shape 43"/>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Freeform: Shape 44"/>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Freeform: Shape 45"/>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Freeform: Shape 46"/>
            <p:cNvSpPr/>
            <p:nvPr/>
          </p:nvSpPr>
          <p:spPr>
            <a:xfrm>
              <a:off x="-32657" y="6452313"/>
              <a:ext cx="6527800" cy="10436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48" name="Group 47"/>
          <p:cNvGrpSpPr/>
          <p:nvPr userDrawn="1"/>
        </p:nvGrpSpPr>
        <p:grpSpPr>
          <a:xfrm rot="4500000">
            <a:off x="733515" y="1543528"/>
            <a:ext cx="1392007" cy="3437532"/>
            <a:chOff x="1113971" y="3497757"/>
            <a:chExt cx="1150258" cy="3142530"/>
          </a:xfrm>
        </p:grpSpPr>
        <p:sp>
          <p:nvSpPr>
            <p:cNvPr id="49" name="Freeform: Shape 48"/>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Freeform: Shape 49"/>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Freeform: Shape 50"/>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Freeform: Shape 51"/>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53" name="Group 52"/>
          <p:cNvGrpSpPr/>
          <p:nvPr userDrawn="1"/>
        </p:nvGrpSpPr>
        <p:grpSpPr>
          <a:xfrm rot="15300000" flipH="1">
            <a:off x="10722026" y="-306679"/>
            <a:ext cx="1590444" cy="2118297"/>
            <a:chOff x="1113971" y="3497757"/>
            <a:chExt cx="1150258" cy="3142530"/>
          </a:xfrm>
        </p:grpSpPr>
        <p:sp>
          <p:nvSpPr>
            <p:cNvPr id="54" name="Freeform: Shape 53"/>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Shape 54"/>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Freeform: Shape 55"/>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Freeform: Shape 56"/>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58" name="Oval 57"/>
          <p:cNvSpPr/>
          <p:nvPr userDrawn="1"/>
        </p:nvSpPr>
        <p:spPr>
          <a:xfrm>
            <a:off x="2214858" y="683335"/>
            <a:ext cx="69136" cy="6913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Oval 58"/>
          <p:cNvSpPr/>
          <p:nvPr userDrawn="1"/>
        </p:nvSpPr>
        <p:spPr>
          <a:xfrm>
            <a:off x="2648272" y="669742"/>
            <a:ext cx="51383" cy="51383"/>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60" name="Group 59"/>
          <p:cNvGrpSpPr/>
          <p:nvPr userDrawn="1"/>
        </p:nvGrpSpPr>
        <p:grpSpPr>
          <a:xfrm>
            <a:off x="5756093" y="2301512"/>
            <a:ext cx="3899073" cy="1191791"/>
            <a:chOff x="5756093" y="2301512"/>
            <a:chExt cx="3899073" cy="1191791"/>
          </a:xfrm>
        </p:grpSpPr>
        <p:sp>
          <p:nvSpPr>
            <p:cNvPr id="61" name="Oval 60"/>
            <p:cNvSpPr/>
            <p:nvPr/>
          </p:nvSpPr>
          <p:spPr>
            <a:xfrm>
              <a:off x="8266386" y="2347545"/>
              <a:ext cx="254716" cy="254716"/>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Oval 61"/>
            <p:cNvSpPr/>
            <p:nvPr/>
          </p:nvSpPr>
          <p:spPr>
            <a:xfrm>
              <a:off x="6326273" y="2776652"/>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Oval 62"/>
            <p:cNvSpPr/>
            <p:nvPr/>
          </p:nvSpPr>
          <p:spPr>
            <a:xfrm>
              <a:off x="7275317" y="256960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Oval 63"/>
            <p:cNvSpPr/>
            <p:nvPr/>
          </p:nvSpPr>
          <p:spPr>
            <a:xfrm>
              <a:off x="6676654" y="2855918"/>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Oval 64"/>
            <p:cNvSpPr/>
            <p:nvPr/>
          </p:nvSpPr>
          <p:spPr>
            <a:xfrm>
              <a:off x="7021860" y="276232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Oval 65"/>
            <p:cNvSpPr/>
            <p:nvPr/>
          </p:nvSpPr>
          <p:spPr>
            <a:xfrm>
              <a:off x="9150042" y="311374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Oval 66"/>
            <p:cNvSpPr/>
            <p:nvPr/>
          </p:nvSpPr>
          <p:spPr>
            <a:xfrm>
              <a:off x="7521113" y="240907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Oval 67"/>
            <p:cNvSpPr/>
            <p:nvPr/>
          </p:nvSpPr>
          <p:spPr>
            <a:xfrm>
              <a:off x="8821654" y="2895644"/>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Oval 68"/>
            <p:cNvSpPr/>
            <p:nvPr/>
          </p:nvSpPr>
          <p:spPr>
            <a:xfrm>
              <a:off x="7911267" y="2301512"/>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Oval 69"/>
            <p:cNvSpPr/>
            <p:nvPr/>
          </p:nvSpPr>
          <p:spPr>
            <a:xfrm>
              <a:off x="8622432" y="2646039"/>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Oval 70"/>
            <p:cNvSpPr/>
            <p:nvPr/>
          </p:nvSpPr>
          <p:spPr>
            <a:xfrm>
              <a:off x="6046050" y="269839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Oval 71"/>
            <p:cNvSpPr/>
            <p:nvPr/>
          </p:nvSpPr>
          <p:spPr>
            <a:xfrm>
              <a:off x="5756093" y="276885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Oval 72"/>
            <p:cNvSpPr/>
            <p:nvPr/>
          </p:nvSpPr>
          <p:spPr>
            <a:xfrm>
              <a:off x="9364414" y="3258175"/>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Oval 73"/>
            <p:cNvSpPr/>
            <p:nvPr/>
          </p:nvSpPr>
          <p:spPr>
            <a:xfrm>
              <a:off x="9609447" y="3447584"/>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5" name="Group 74"/>
          <p:cNvGrpSpPr/>
          <p:nvPr userDrawn="1"/>
        </p:nvGrpSpPr>
        <p:grpSpPr>
          <a:xfrm rot="900000">
            <a:off x="9257656" y="2981058"/>
            <a:ext cx="3437832" cy="4758449"/>
            <a:chOff x="9385524" y="2790411"/>
            <a:chExt cx="3437832" cy="4758449"/>
          </a:xfrm>
        </p:grpSpPr>
        <p:sp>
          <p:nvSpPr>
            <p:cNvPr id="76" name="Freeform: Shape 75"/>
            <p:cNvSpPr/>
            <p:nvPr/>
          </p:nvSpPr>
          <p:spPr>
            <a:xfrm rot="1859816">
              <a:off x="9385524" y="279041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77" name="Group 76"/>
            <p:cNvGrpSpPr/>
            <p:nvPr/>
          </p:nvGrpSpPr>
          <p:grpSpPr>
            <a:xfrm>
              <a:off x="9659552" y="2944459"/>
              <a:ext cx="3163804" cy="4604401"/>
              <a:chOff x="9659552" y="2944459"/>
              <a:chExt cx="3163804" cy="4604401"/>
            </a:xfrm>
          </p:grpSpPr>
          <p:sp>
            <p:nvSpPr>
              <p:cNvPr id="78" name="Oval 77"/>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79" name="Group 78"/>
              <p:cNvGrpSpPr/>
              <p:nvPr/>
            </p:nvGrpSpPr>
            <p:grpSpPr>
              <a:xfrm>
                <a:off x="10171356" y="3779500"/>
                <a:ext cx="468086" cy="468086"/>
                <a:chOff x="3766458" y="4912364"/>
                <a:chExt cx="468086" cy="468086"/>
              </a:xfrm>
            </p:grpSpPr>
            <p:sp>
              <p:nvSpPr>
                <p:cNvPr id="103" name="Oval 102"/>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4" name="Oval 103"/>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Oval 104"/>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0" name="Oval 79"/>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Oval 80"/>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Oval 81"/>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Oval 82"/>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Oval 83"/>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Oval 84"/>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Oval 85"/>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Freeform: Shape 86"/>
              <p:cNvSpPr/>
              <p:nvPr/>
            </p:nvSpPr>
            <p:spPr>
              <a:xfrm rot="1859816">
                <a:off x="9942109" y="3114447"/>
                <a:ext cx="1657518" cy="3705100"/>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417" h="3497943">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cubicBezTo>
                      <a:pt x="1078002" y="3406624"/>
                      <a:pt x="1217702" y="3452283"/>
                      <a:pt x="1357402" y="3497943"/>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88" name="Group 87"/>
              <p:cNvGrpSpPr/>
              <p:nvPr/>
            </p:nvGrpSpPr>
            <p:grpSpPr>
              <a:xfrm>
                <a:off x="9659552" y="6255370"/>
                <a:ext cx="511804" cy="511804"/>
                <a:chOff x="3766458" y="4912364"/>
                <a:chExt cx="468086" cy="468086"/>
              </a:xfrm>
            </p:grpSpPr>
            <p:sp>
              <p:nvSpPr>
                <p:cNvPr id="100" name="Oval 99"/>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Oval 100"/>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Oval 101"/>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9" name="Oval 88"/>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0" name="Group 89"/>
              <p:cNvGrpSpPr/>
              <p:nvPr/>
            </p:nvGrpSpPr>
            <p:grpSpPr>
              <a:xfrm rot="18900000" flipH="1">
                <a:off x="9997674" y="4364464"/>
                <a:ext cx="1590444" cy="3184396"/>
                <a:chOff x="1113971" y="3497757"/>
                <a:chExt cx="1150258" cy="3142530"/>
              </a:xfrm>
            </p:grpSpPr>
            <p:sp>
              <p:nvSpPr>
                <p:cNvPr id="96" name="Freeform: Shape 95"/>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Freeform: Shape 96"/>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Freeform: Shape 97"/>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Shape 98"/>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91" name="Group 90"/>
              <p:cNvGrpSpPr/>
              <p:nvPr/>
            </p:nvGrpSpPr>
            <p:grpSpPr>
              <a:xfrm rot="7200000" flipH="1" flipV="1">
                <a:off x="10907040" y="2618587"/>
                <a:ext cx="1590444" cy="2242188"/>
                <a:chOff x="1113971" y="3497757"/>
                <a:chExt cx="1150258" cy="3142530"/>
              </a:xfrm>
            </p:grpSpPr>
            <p:sp>
              <p:nvSpPr>
                <p:cNvPr id="92" name="Freeform: Shape 9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3" name="Freeform: Shape 9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4" name="Freeform: Shape 9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Freeform: Shape 9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grpSp>
        <p:nvGrpSpPr>
          <p:cNvPr id="166" name="Group 165"/>
          <p:cNvGrpSpPr/>
          <p:nvPr userDrawn="1"/>
        </p:nvGrpSpPr>
        <p:grpSpPr>
          <a:xfrm rot="21444120" flipH="1">
            <a:off x="10234111" y="-501857"/>
            <a:ext cx="2326374" cy="4134470"/>
            <a:chOff x="-213066" y="2126266"/>
            <a:chExt cx="2326374" cy="4134470"/>
          </a:xfrm>
        </p:grpSpPr>
        <p:grpSp>
          <p:nvGrpSpPr>
            <p:cNvPr id="167" name="Group 166"/>
            <p:cNvGrpSpPr/>
            <p:nvPr/>
          </p:nvGrpSpPr>
          <p:grpSpPr>
            <a:xfrm rot="5400000">
              <a:off x="-1021470" y="3125958"/>
              <a:ext cx="4134470" cy="2135086"/>
              <a:chOff x="2108201" y="5087492"/>
              <a:chExt cx="4484244" cy="2408425"/>
            </a:xfrm>
          </p:grpSpPr>
          <p:sp>
            <p:nvSpPr>
              <p:cNvPr id="173" name="Freeform: Shape 172"/>
              <p:cNvSpPr/>
              <p:nvPr/>
            </p:nvSpPr>
            <p:spPr>
              <a:xfrm>
                <a:off x="2108202" y="5087492"/>
                <a:ext cx="4484243" cy="22914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1 h 2687149"/>
                  <a:gd name="connsiteX1" fmla="*/ 609599 w 5093842"/>
                  <a:gd name="connsiteY1" fmla="*/ 1897742 h 2687149"/>
                  <a:gd name="connsiteX2" fmla="*/ 1273628 w 5093842"/>
                  <a:gd name="connsiteY2" fmla="*/ 801913 h 2687149"/>
                  <a:gd name="connsiteX3" fmla="*/ 1759856 w 5093842"/>
                  <a:gd name="connsiteY3" fmla="*/ 1846942 h 2687149"/>
                  <a:gd name="connsiteX4" fmla="*/ 2224313 w 5093842"/>
                  <a:gd name="connsiteY4" fmla="*/ 1273627 h 2687149"/>
                  <a:gd name="connsiteX5" fmla="*/ 2539999 w 5093842"/>
                  <a:gd name="connsiteY5" fmla="*/ 1763485 h 2687149"/>
                  <a:gd name="connsiteX6" fmla="*/ 2935513 w 5093842"/>
                  <a:gd name="connsiteY6" fmla="*/ 399142 h 2687149"/>
                  <a:gd name="connsiteX7" fmla="*/ 3327399 w 5093842"/>
                  <a:gd name="connsiteY7" fmla="*/ 1357085 h 2687149"/>
                  <a:gd name="connsiteX8" fmla="*/ 3617685 w 5093842"/>
                  <a:gd name="connsiteY8" fmla="*/ 747485 h 2687149"/>
                  <a:gd name="connsiteX9" fmla="*/ 4056742 w 5093842"/>
                  <a:gd name="connsiteY9" fmla="*/ 1886856 h 2687149"/>
                  <a:gd name="connsiteX10" fmla="*/ 4542970 w 5093842"/>
                  <a:gd name="connsiteY10" fmla="*/ 928913 h 2687149"/>
                  <a:gd name="connsiteX11" fmla="*/ 5093842 w 5093842"/>
                  <a:gd name="connsiteY11" fmla="*/ 2687149 h 2687149"/>
                  <a:gd name="connsiteX0" fmla="*/ 0 w 4484243"/>
                  <a:gd name="connsiteY0" fmla="*/ 1501995 h 2291402"/>
                  <a:gd name="connsiteX1" fmla="*/ 664029 w 4484243"/>
                  <a:gd name="connsiteY1" fmla="*/ 406166 h 2291402"/>
                  <a:gd name="connsiteX2" fmla="*/ 1150257 w 4484243"/>
                  <a:gd name="connsiteY2" fmla="*/ 1451195 h 2291402"/>
                  <a:gd name="connsiteX3" fmla="*/ 1614714 w 4484243"/>
                  <a:gd name="connsiteY3" fmla="*/ 877880 h 2291402"/>
                  <a:gd name="connsiteX4" fmla="*/ 1930400 w 4484243"/>
                  <a:gd name="connsiteY4" fmla="*/ 1367738 h 2291402"/>
                  <a:gd name="connsiteX5" fmla="*/ 2325914 w 4484243"/>
                  <a:gd name="connsiteY5" fmla="*/ 3395 h 2291402"/>
                  <a:gd name="connsiteX6" fmla="*/ 2717800 w 4484243"/>
                  <a:gd name="connsiteY6" fmla="*/ 961338 h 2291402"/>
                  <a:gd name="connsiteX7" fmla="*/ 3008086 w 4484243"/>
                  <a:gd name="connsiteY7" fmla="*/ 351738 h 2291402"/>
                  <a:gd name="connsiteX8" fmla="*/ 3447143 w 4484243"/>
                  <a:gd name="connsiteY8" fmla="*/ 1491109 h 2291402"/>
                  <a:gd name="connsiteX9" fmla="*/ 3933371 w 4484243"/>
                  <a:gd name="connsiteY9" fmla="*/ 533166 h 2291402"/>
                  <a:gd name="connsiteX10" fmla="*/ 4484243 w 4484243"/>
                  <a:gd name="connsiteY10" fmla="*/ 2291402 h 229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84243" h="2291402">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0521" y="399784"/>
                      <a:pt x="3933371" y="533166"/>
                    </a:cubicBezTo>
                    <a:cubicBezTo>
                      <a:pt x="4106221" y="666548"/>
                      <a:pt x="4335773" y="1647633"/>
                      <a:pt x="4484243" y="22914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4" name="Freeform: Shape 173"/>
              <p:cNvSpPr/>
              <p:nvPr/>
            </p:nvSpPr>
            <p:spPr>
              <a:xfrm>
                <a:off x="2108202" y="5531345"/>
                <a:ext cx="4445322"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5820552"/>
                  <a:gd name="connsiteY0" fmla="*/ 1865099 h 2518602"/>
                  <a:gd name="connsiteX1" fmla="*/ 765629 w 5820552"/>
                  <a:gd name="connsiteY1" fmla="*/ 13 h 2518602"/>
                  <a:gd name="connsiteX2" fmla="*/ 1375229 w 5820552"/>
                  <a:gd name="connsiteY2" fmla="*/ 1897756 h 2518602"/>
                  <a:gd name="connsiteX3" fmla="*/ 2039258 w 5820552"/>
                  <a:gd name="connsiteY3" fmla="*/ 801927 h 2518602"/>
                  <a:gd name="connsiteX4" fmla="*/ 2525486 w 5820552"/>
                  <a:gd name="connsiteY4" fmla="*/ 1846956 h 2518602"/>
                  <a:gd name="connsiteX5" fmla="*/ 2989943 w 5820552"/>
                  <a:gd name="connsiteY5" fmla="*/ 1273641 h 2518602"/>
                  <a:gd name="connsiteX6" fmla="*/ 3305629 w 5820552"/>
                  <a:gd name="connsiteY6" fmla="*/ 1763499 h 2518602"/>
                  <a:gd name="connsiteX7" fmla="*/ 3701143 w 5820552"/>
                  <a:gd name="connsiteY7" fmla="*/ 399156 h 2518602"/>
                  <a:gd name="connsiteX8" fmla="*/ 4093029 w 5820552"/>
                  <a:gd name="connsiteY8" fmla="*/ 1357099 h 2518602"/>
                  <a:gd name="connsiteX9" fmla="*/ 4383315 w 5820552"/>
                  <a:gd name="connsiteY9" fmla="*/ 747499 h 2518602"/>
                  <a:gd name="connsiteX10" fmla="*/ 4822372 w 5820552"/>
                  <a:gd name="connsiteY10" fmla="*/ 1886870 h 2518602"/>
                  <a:gd name="connsiteX11" fmla="*/ 5308600 w 5820552"/>
                  <a:gd name="connsiteY11" fmla="*/ 928927 h 2518602"/>
                  <a:gd name="connsiteX12" fmla="*/ 5820552 w 5820552"/>
                  <a:gd name="connsiteY12" fmla="*/ 2518602 h 2518602"/>
                  <a:gd name="connsiteX0" fmla="*/ 0 w 5054923"/>
                  <a:gd name="connsiteY0" fmla="*/ 0 h 2518589"/>
                  <a:gd name="connsiteX1" fmla="*/ 609600 w 5054923"/>
                  <a:gd name="connsiteY1" fmla="*/ 1897743 h 2518589"/>
                  <a:gd name="connsiteX2" fmla="*/ 1273629 w 5054923"/>
                  <a:gd name="connsiteY2" fmla="*/ 801914 h 2518589"/>
                  <a:gd name="connsiteX3" fmla="*/ 1759857 w 5054923"/>
                  <a:gd name="connsiteY3" fmla="*/ 1846943 h 2518589"/>
                  <a:gd name="connsiteX4" fmla="*/ 2224314 w 5054923"/>
                  <a:gd name="connsiteY4" fmla="*/ 1273628 h 2518589"/>
                  <a:gd name="connsiteX5" fmla="*/ 2540000 w 5054923"/>
                  <a:gd name="connsiteY5" fmla="*/ 1763486 h 2518589"/>
                  <a:gd name="connsiteX6" fmla="*/ 2935514 w 5054923"/>
                  <a:gd name="connsiteY6" fmla="*/ 399143 h 2518589"/>
                  <a:gd name="connsiteX7" fmla="*/ 3327400 w 5054923"/>
                  <a:gd name="connsiteY7" fmla="*/ 1357086 h 2518589"/>
                  <a:gd name="connsiteX8" fmla="*/ 3617686 w 5054923"/>
                  <a:gd name="connsiteY8" fmla="*/ 747486 h 2518589"/>
                  <a:gd name="connsiteX9" fmla="*/ 4056743 w 5054923"/>
                  <a:gd name="connsiteY9" fmla="*/ 1886857 h 2518589"/>
                  <a:gd name="connsiteX10" fmla="*/ 4542971 w 5054923"/>
                  <a:gd name="connsiteY10" fmla="*/ 928914 h 2518589"/>
                  <a:gd name="connsiteX11" fmla="*/ 5054923 w 5054923"/>
                  <a:gd name="connsiteY11" fmla="*/ 2518589 h 2518589"/>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5323" h="2122841">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7008" y="427877"/>
                      <a:pt x="3933371" y="533166"/>
                    </a:cubicBezTo>
                    <a:cubicBezTo>
                      <a:pt x="4099734" y="638455"/>
                      <a:pt x="4296853" y="1479072"/>
                      <a:pt x="4445323" y="2122841"/>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5" name="Freeform: Shape 174"/>
              <p:cNvSpPr/>
              <p:nvPr/>
            </p:nvSpPr>
            <p:spPr>
              <a:xfrm>
                <a:off x="2108201" y="6195930"/>
                <a:ext cx="4386943" cy="122017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3">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76738" y="467247"/>
                      <a:pt x="3933371" y="533166"/>
                    </a:cubicBezTo>
                    <a:cubicBezTo>
                      <a:pt x="4090004" y="599085"/>
                      <a:pt x="4238473" y="1242854"/>
                      <a:pt x="4386943" y="188662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6" name="Freeform: Shape 175"/>
              <p:cNvSpPr/>
              <p:nvPr/>
            </p:nvSpPr>
            <p:spPr>
              <a:xfrm>
                <a:off x="2108201" y="6633272"/>
                <a:ext cx="4386943"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6 h 1886624"/>
                  <a:gd name="connsiteX1" fmla="*/ 664029 w 4386943"/>
                  <a:gd name="connsiteY1" fmla="*/ 406167 h 1886624"/>
                  <a:gd name="connsiteX2" fmla="*/ 1150257 w 4386943"/>
                  <a:gd name="connsiteY2" fmla="*/ 1451196 h 1886624"/>
                  <a:gd name="connsiteX3" fmla="*/ 1614714 w 4386943"/>
                  <a:gd name="connsiteY3" fmla="*/ 877881 h 1886624"/>
                  <a:gd name="connsiteX4" fmla="*/ 1930400 w 4386943"/>
                  <a:gd name="connsiteY4" fmla="*/ 1367739 h 1886624"/>
                  <a:gd name="connsiteX5" fmla="*/ 2325914 w 4386943"/>
                  <a:gd name="connsiteY5" fmla="*/ 3396 h 1886624"/>
                  <a:gd name="connsiteX6" fmla="*/ 2717800 w 4386943"/>
                  <a:gd name="connsiteY6" fmla="*/ 961339 h 1886624"/>
                  <a:gd name="connsiteX7" fmla="*/ 3008086 w 4386943"/>
                  <a:gd name="connsiteY7" fmla="*/ 351739 h 1886624"/>
                  <a:gd name="connsiteX8" fmla="*/ 3447143 w 4386943"/>
                  <a:gd name="connsiteY8" fmla="*/ 1491110 h 1886624"/>
                  <a:gd name="connsiteX9" fmla="*/ 3933371 w 4386943"/>
                  <a:gd name="connsiteY9" fmla="*/ 533167 h 1886624"/>
                  <a:gd name="connsiteX10" fmla="*/ 4386943 w 4386943"/>
                  <a:gd name="connsiteY10" fmla="*/ 1886624 h 188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4">
                    <a:moveTo>
                      <a:pt x="0" y="1501996"/>
                    </a:moveTo>
                    <a:cubicBezTo>
                      <a:pt x="212272" y="1635648"/>
                      <a:pt x="472320" y="414634"/>
                      <a:pt x="664029" y="406167"/>
                    </a:cubicBezTo>
                    <a:cubicBezTo>
                      <a:pt x="855738" y="397700"/>
                      <a:pt x="991810" y="1372577"/>
                      <a:pt x="1150257" y="1451196"/>
                    </a:cubicBezTo>
                    <a:cubicBezTo>
                      <a:pt x="1308704" y="1529815"/>
                      <a:pt x="1484690" y="891790"/>
                      <a:pt x="1614714" y="877881"/>
                    </a:cubicBezTo>
                    <a:cubicBezTo>
                      <a:pt x="1744738" y="863972"/>
                      <a:pt x="1811867" y="1513487"/>
                      <a:pt x="1930400" y="1367739"/>
                    </a:cubicBezTo>
                    <a:cubicBezTo>
                      <a:pt x="2048933" y="1221992"/>
                      <a:pt x="2194681" y="71129"/>
                      <a:pt x="2325914" y="3396"/>
                    </a:cubicBezTo>
                    <a:cubicBezTo>
                      <a:pt x="2457147" y="-64337"/>
                      <a:pt x="2604105" y="903282"/>
                      <a:pt x="2717800" y="961339"/>
                    </a:cubicBezTo>
                    <a:cubicBezTo>
                      <a:pt x="2831495" y="1019396"/>
                      <a:pt x="2886529" y="263444"/>
                      <a:pt x="3008086" y="351739"/>
                    </a:cubicBezTo>
                    <a:cubicBezTo>
                      <a:pt x="3129643" y="440034"/>
                      <a:pt x="3292929" y="1460872"/>
                      <a:pt x="3447143" y="1491110"/>
                    </a:cubicBezTo>
                    <a:cubicBezTo>
                      <a:pt x="3601357" y="1521348"/>
                      <a:pt x="3776738" y="467248"/>
                      <a:pt x="3933371" y="533167"/>
                    </a:cubicBezTo>
                    <a:cubicBezTo>
                      <a:pt x="4090004" y="599086"/>
                      <a:pt x="4238473" y="1242855"/>
                      <a:pt x="4386943" y="188662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68" name="Group 167"/>
            <p:cNvGrpSpPr/>
            <p:nvPr/>
          </p:nvGrpSpPr>
          <p:grpSpPr>
            <a:xfrm rot="5400000">
              <a:off x="-972652" y="3077916"/>
              <a:ext cx="2967991" cy="1448820"/>
              <a:chOff x="2772230" y="5087490"/>
              <a:chExt cx="3820215" cy="2408427"/>
            </a:xfrm>
          </p:grpSpPr>
          <p:sp>
            <p:nvSpPr>
              <p:cNvPr id="169" name="Freeform: Shape 168"/>
              <p:cNvSpPr/>
              <p:nvPr/>
            </p:nvSpPr>
            <p:spPr>
              <a:xfrm>
                <a:off x="2772230" y="5087490"/>
                <a:ext cx="3820215" cy="2291400"/>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0 h 2687150"/>
                  <a:gd name="connsiteX1" fmla="*/ 609599 w 5093842"/>
                  <a:gd name="connsiteY1" fmla="*/ 1897743 h 2687150"/>
                  <a:gd name="connsiteX2" fmla="*/ 1273628 w 5093842"/>
                  <a:gd name="connsiteY2" fmla="*/ 801914 h 2687150"/>
                  <a:gd name="connsiteX3" fmla="*/ 1759856 w 5093842"/>
                  <a:gd name="connsiteY3" fmla="*/ 1846943 h 2687150"/>
                  <a:gd name="connsiteX4" fmla="*/ 2224313 w 5093842"/>
                  <a:gd name="connsiteY4" fmla="*/ 1273628 h 2687150"/>
                  <a:gd name="connsiteX5" fmla="*/ 2539999 w 5093842"/>
                  <a:gd name="connsiteY5" fmla="*/ 1763486 h 2687150"/>
                  <a:gd name="connsiteX6" fmla="*/ 2935513 w 5093842"/>
                  <a:gd name="connsiteY6" fmla="*/ 399143 h 2687150"/>
                  <a:gd name="connsiteX7" fmla="*/ 3327399 w 5093842"/>
                  <a:gd name="connsiteY7" fmla="*/ 1357086 h 2687150"/>
                  <a:gd name="connsiteX8" fmla="*/ 3617685 w 5093842"/>
                  <a:gd name="connsiteY8" fmla="*/ 747486 h 2687150"/>
                  <a:gd name="connsiteX9" fmla="*/ 4056742 w 5093842"/>
                  <a:gd name="connsiteY9" fmla="*/ 1886857 h 2687150"/>
                  <a:gd name="connsiteX10" fmla="*/ 4542970 w 5093842"/>
                  <a:gd name="connsiteY10" fmla="*/ 928914 h 2687150"/>
                  <a:gd name="connsiteX11" fmla="*/ 5093842 w 5093842"/>
                  <a:gd name="connsiteY11" fmla="*/ 2687150 h 2687150"/>
                  <a:gd name="connsiteX0" fmla="*/ 0 w 4484243"/>
                  <a:gd name="connsiteY0" fmla="*/ 1501996 h 2291403"/>
                  <a:gd name="connsiteX1" fmla="*/ 664029 w 4484243"/>
                  <a:gd name="connsiteY1" fmla="*/ 406167 h 2291403"/>
                  <a:gd name="connsiteX2" fmla="*/ 1150257 w 4484243"/>
                  <a:gd name="connsiteY2" fmla="*/ 1451196 h 2291403"/>
                  <a:gd name="connsiteX3" fmla="*/ 1614714 w 4484243"/>
                  <a:gd name="connsiteY3" fmla="*/ 877881 h 2291403"/>
                  <a:gd name="connsiteX4" fmla="*/ 1930400 w 4484243"/>
                  <a:gd name="connsiteY4" fmla="*/ 1367739 h 2291403"/>
                  <a:gd name="connsiteX5" fmla="*/ 2325914 w 4484243"/>
                  <a:gd name="connsiteY5" fmla="*/ 3396 h 2291403"/>
                  <a:gd name="connsiteX6" fmla="*/ 2717800 w 4484243"/>
                  <a:gd name="connsiteY6" fmla="*/ 961339 h 2291403"/>
                  <a:gd name="connsiteX7" fmla="*/ 3008086 w 4484243"/>
                  <a:gd name="connsiteY7" fmla="*/ 351739 h 2291403"/>
                  <a:gd name="connsiteX8" fmla="*/ 3447143 w 4484243"/>
                  <a:gd name="connsiteY8" fmla="*/ 1491110 h 2291403"/>
                  <a:gd name="connsiteX9" fmla="*/ 3933371 w 4484243"/>
                  <a:gd name="connsiteY9" fmla="*/ 533167 h 2291403"/>
                  <a:gd name="connsiteX10" fmla="*/ 4484243 w 4484243"/>
                  <a:gd name="connsiteY10" fmla="*/ 2291403 h 2291403"/>
                  <a:gd name="connsiteX0" fmla="*/ 0 w 3820214"/>
                  <a:gd name="connsiteY0" fmla="*/ 406165 h 2291401"/>
                  <a:gd name="connsiteX1" fmla="*/ 486228 w 3820214"/>
                  <a:gd name="connsiteY1" fmla="*/ 1451194 h 2291401"/>
                  <a:gd name="connsiteX2" fmla="*/ 950685 w 3820214"/>
                  <a:gd name="connsiteY2" fmla="*/ 877879 h 2291401"/>
                  <a:gd name="connsiteX3" fmla="*/ 1266371 w 3820214"/>
                  <a:gd name="connsiteY3" fmla="*/ 1367737 h 2291401"/>
                  <a:gd name="connsiteX4" fmla="*/ 1661885 w 3820214"/>
                  <a:gd name="connsiteY4" fmla="*/ 3394 h 2291401"/>
                  <a:gd name="connsiteX5" fmla="*/ 2053771 w 3820214"/>
                  <a:gd name="connsiteY5" fmla="*/ 961337 h 2291401"/>
                  <a:gd name="connsiteX6" fmla="*/ 2344057 w 3820214"/>
                  <a:gd name="connsiteY6" fmla="*/ 351737 h 2291401"/>
                  <a:gd name="connsiteX7" fmla="*/ 2783114 w 3820214"/>
                  <a:gd name="connsiteY7" fmla="*/ 1491108 h 2291401"/>
                  <a:gd name="connsiteX8" fmla="*/ 3269342 w 3820214"/>
                  <a:gd name="connsiteY8" fmla="*/ 533165 h 2291401"/>
                  <a:gd name="connsiteX9" fmla="*/ 3820214 w 3820214"/>
                  <a:gd name="connsiteY9" fmla="*/ 2291401 h 229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0214" h="2291401">
                    <a:moveTo>
                      <a:pt x="0" y="406165"/>
                    </a:moveTo>
                    <a:cubicBezTo>
                      <a:pt x="191709" y="397698"/>
                      <a:pt x="327781" y="1372575"/>
                      <a:pt x="486228" y="1451194"/>
                    </a:cubicBezTo>
                    <a:cubicBezTo>
                      <a:pt x="644675" y="1529813"/>
                      <a:pt x="820661" y="891788"/>
                      <a:pt x="950685" y="877879"/>
                    </a:cubicBezTo>
                    <a:cubicBezTo>
                      <a:pt x="1080709" y="863970"/>
                      <a:pt x="1147838" y="1513485"/>
                      <a:pt x="1266371" y="1367737"/>
                    </a:cubicBezTo>
                    <a:cubicBezTo>
                      <a:pt x="1384904" y="1221990"/>
                      <a:pt x="1530652" y="71127"/>
                      <a:pt x="1661885" y="3394"/>
                    </a:cubicBezTo>
                    <a:cubicBezTo>
                      <a:pt x="1793118" y="-64339"/>
                      <a:pt x="1940076" y="903280"/>
                      <a:pt x="2053771" y="961337"/>
                    </a:cubicBezTo>
                    <a:cubicBezTo>
                      <a:pt x="2167466" y="1019394"/>
                      <a:pt x="2222500" y="263442"/>
                      <a:pt x="2344057" y="351737"/>
                    </a:cubicBezTo>
                    <a:cubicBezTo>
                      <a:pt x="2465614" y="440032"/>
                      <a:pt x="2628900" y="1460870"/>
                      <a:pt x="2783114" y="1491108"/>
                    </a:cubicBezTo>
                    <a:cubicBezTo>
                      <a:pt x="2937328" y="1521346"/>
                      <a:pt x="3096492" y="399783"/>
                      <a:pt x="3269342" y="533165"/>
                    </a:cubicBezTo>
                    <a:cubicBezTo>
                      <a:pt x="3442192" y="666547"/>
                      <a:pt x="3671744" y="1647632"/>
                      <a:pt x="3820214" y="229140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0" name="Freeform: Shape 169"/>
              <p:cNvSpPr/>
              <p:nvPr/>
            </p:nvSpPr>
            <p:spPr>
              <a:xfrm>
                <a:off x="2772230" y="5531340"/>
                <a:ext cx="3781294"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6586180"/>
                  <a:gd name="connsiteY0" fmla="*/ 794423 h 2122841"/>
                  <a:gd name="connsiteX1" fmla="*/ 765628 w 6586180"/>
                  <a:gd name="connsiteY1" fmla="*/ 1469338 h 2122841"/>
                  <a:gd name="connsiteX2" fmla="*/ 2140857 w 6586180"/>
                  <a:gd name="connsiteY2" fmla="*/ 1501995 h 2122841"/>
                  <a:gd name="connsiteX3" fmla="*/ 2804886 w 6586180"/>
                  <a:gd name="connsiteY3" fmla="*/ 406166 h 2122841"/>
                  <a:gd name="connsiteX4" fmla="*/ 3291114 w 6586180"/>
                  <a:gd name="connsiteY4" fmla="*/ 1451195 h 2122841"/>
                  <a:gd name="connsiteX5" fmla="*/ 3755571 w 6586180"/>
                  <a:gd name="connsiteY5" fmla="*/ 877880 h 2122841"/>
                  <a:gd name="connsiteX6" fmla="*/ 4071257 w 6586180"/>
                  <a:gd name="connsiteY6" fmla="*/ 1367738 h 2122841"/>
                  <a:gd name="connsiteX7" fmla="*/ 4466771 w 6586180"/>
                  <a:gd name="connsiteY7" fmla="*/ 3395 h 2122841"/>
                  <a:gd name="connsiteX8" fmla="*/ 4858657 w 6586180"/>
                  <a:gd name="connsiteY8" fmla="*/ 961338 h 2122841"/>
                  <a:gd name="connsiteX9" fmla="*/ 5148943 w 6586180"/>
                  <a:gd name="connsiteY9" fmla="*/ 351738 h 2122841"/>
                  <a:gd name="connsiteX10" fmla="*/ 5588000 w 6586180"/>
                  <a:gd name="connsiteY10" fmla="*/ 1491109 h 2122841"/>
                  <a:gd name="connsiteX11" fmla="*/ 6074228 w 6586180"/>
                  <a:gd name="connsiteY11" fmla="*/ 533166 h 2122841"/>
                  <a:gd name="connsiteX12" fmla="*/ 6586180 w 6586180"/>
                  <a:gd name="connsiteY12" fmla="*/ 2122841 h 2122841"/>
                  <a:gd name="connsiteX0" fmla="*/ 0 w 6586180"/>
                  <a:gd name="connsiteY0" fmla="*/ 794423 h 2122841"/>
                  <a:gd name="connsiteX1" fmla="*/ 2140857 w 6586180"/>
                  <a:gd name="connsiteY1" fmla="*/ 1501995 h 2122841"/>
                  <a:gd name="connsiteX2" fmla="*/ 2804886 w 6586180"/>
                  <a:gd name="connsiteY2" fmla="*/ 406166 h 2122841"/>
                  <a:gd name="connsiteX3" fmla="*/ 3291114 w 6586180"/>
                  <a:gd name="connsiteY3" fmla="*/ 1451195 h 2122841"/>
                  <a:gd name="connsiteX4" fmla="*/ 3755571 w 6586180"/>
                  <a:gd name="connsiteY4" fmla="*/ 877880 h 2122841"/>
                  <a:gd name="connsiteX5" fmla="*/ 4071257 w 6586180"/>
                  <a:gd name="connsiteY5" fmla="*/ 1367738 h 2122841"/>
                  <a:gd name="connsiteX6" fmla="*/ 4466771 w 6586180"/>
                  <a:gd name="connsiteY6" fmla="*/ 3395 h 2122841"/>
                  <a:gd name="connsiteX7" fmla="*/ 4858657 w 6586180"/>
                  <a:gd name="connsiteY7" fmla="*/ 961338 h 2122841"/>
                  <a:gd name="connsiteX8" fmla="*/ 5148943 w 6586180"/>
                  <a:gd name="connsiteY8" fmla="*/ 351738 h 2122841"/>
                  <a:gd name="connsiteX9" fmla="*/ 5588000 w 6586180"/>
                  <a:gd name="connsiteY9" fmla="*/ 1491109 h 2122841"/>
                  <a:gd name="connsiteX10" fmla="*/ 6074228 w 6586180"/>
                  <a:gd name="connsiteY10" fmla="*/ 533166 h 2122841"/>
                  <a:gd name="connsiteX11" fmla="*/ 6586180 w 6586180"/>
                  <a:gd name="connsiteY11" fmla="*/ 2122841 h 2122841"/>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 name="connsiteX0" fmla="*/ 0 w 3781294"/>
                  <a:gd name="connsiteY0" fmla="*/ 406166 h 2122841"/>
                  <a:gd name="connsiteX1" fmla="*/ 486228 w 3781294"/>
                  <a:gd name="connsiteY1" fmla="*/ 1451195 h 2122841"/>
                  <a:gd name="connsiteX2" fmla="*/ 950685 w 3781294"/>
                  <a:gd name="connsiteY2" fmla="*/ 877880 h 2122841"/>
                  <a:gd name="connsiteX3" fmla="*/ 1266371 w 3781294"/>
                  <a:gd name="connsiteY3" fmla="*/ 1367738 h 2122841"/>
                  <a:gd name="connsiteX4" fmla="*/ 1661885 w 3781294"/>
                  <a:gd name="connsiteY4" fmla="*/ 3395 h 2122841"/>
                  <a:gd name="connsiteX5" fmla="*/ 2053771 w 3781294"/>
                  <a:gd name="connsiteY5" fmla="*/ 961338 h 2122841"/>
                  <a:gd name="connsiteX6" fmla="*/ 2344057 w 3781294"/>
                  <a:gd name="connsiteY6" fmla="*/ 351738 h 2122841"/>
                  <a:gd name="connsiteX7" fmla="*/ 2783114 w 3781294"/>
                  <a:gd name="connsiteY7" fmla="*/ 1491109 h 2122841"/>
                  <a:gd name="connsiteX8" fmla="*/ 3269342 w 3781294"/>
                  <a:gd name="connsiteY8" fmla="*/ 533166 h 2122841"/>
                  <a:gd name="connsiteX9" fmla="*/ 3781294 w 3781294"/>
                  <a:gd name="connsiteY9"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1294" h="2122841">
                    <a:moveTo>
                      <a:pt x="0" y="406166"/>
                    </a:moveTo>
                    <a:cubicBezTo>
                      <a:pt x="191709" y="397699"/>
                      <a:pt x="327781" y="1372576"/>
                      <a:pt x="486228" y="1451195"/>
                    </a:cubicBezTo>
                    <a:cubicBezTo>
                      <a:pt x="644675" y="1529814"/>
                      <a:pt x="820661" y="891789"/>
                      <a:pt x="950685" y="877880"/>
                    </a:cubicBezTo>
                    <a:cubicBezTo>
                      <a:pt x="1080709" y="863971"/>
                      <a:pt x="1147838" y="1513486"/>
                      <a:pt x="1266371" y="1367738"/>
                    </a:cubicBezTo>
                    <a:cubicBezTo>
                      <a:pt x="1384904" y="1221991"/>
                      <a:pt x="1530652" y="71128"/>
                      <a:pt x="1661885" y="3395"/>
                    </a:cubicBezTo>
                    <a:cubicBezTo>
                      <a:pt x="1793118" y="-64338"/>
                      <a:pt x="1940076" y="903281"/>
                      <a:pt x="2053771" y="961338"/>
                    </a:cubicBezTo>
                    <a:cubicBezTo>
                      <a:pt x="2167466" y="1019395"/>
                      <a:pt x="2222500" y="263443"/>
                      <a:pt x="2344057" y="351738"/>
                    </a:cubicBezTo>
                    <a:cubicBezTo>
                      <a:pt x="2465614" y="440033"/>
                      <a:pt x="2628900" y="1460871"/>
                      <a:pt x="2783114" y="1491109"/>
                    </a:cubicBezTo>
                    <a:cubicBezTo>
                      <a:pt x="2937328" y="1521347"/>
                      <a:pt x="3102979" y="427877"/>
                      <a:pt x="3269342" y="533166"/>
                    </a:cubicBezTo>
                    <a:cubicBezTo>
                      <a:pt x="3435705" y="638455"/>
                      <a:pt x="3632824" y="1479072"/>
                      <a:pt x="3781294" y="212284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1" name="Freeform: Shape 170"/>
              <p:cNvSpPr/>
              <p:nvPr/>
            </p:nvSpPr>
            <p:spPr>
              <a:xfrm>
                <a:off x="3258458" y="6195929"/>
                <a:ext cx="3236685" cy="1220174"/>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27800"/>
                  <a:gd name="connsiteY0" fmla="*/ 1219485 h 2311685"/>
                  <a:gd name="connsiteX1" fmla="*/ 765628 w 6527800"/>
                  <a:gd name="connsiteY1" fmla="*/ 1894400 h 2311685"/>
                  <a:gd name="connsiteX2" fmla="*/ 1531257 w 6527800"/>
                  <a:gd name="connsiteY2" fmla="*/ 29314 h 2311685"/>
                  <a:gd name="connsiteX3" fmla="*/ 2804886 w 6527800"/>
                  <a:gd name="connsiteY3" fmla="*/ 831228 h 2311685"/>
                  <a:gd name="connsiteX4" fmla="*/ 3291114 w 6527800"/>
                  <a:gd name="connsiteY4" fmla="*/ 1876257 h 2311685"/>
                  <a:gd name="connsiteX5" fmla="*/ 3755571 w 6527800"/>
                  <a:gd name="connsiteY5" fmla="*/ 1302942 h 2311685"/>
                  <a:gd name="connsiteX6" fmla="*/ 4071257 w 6527800"/>
                  <a:gd name="connsiteY6" fmla="*/ 1792800 h 2311685"/>
                  <a:gd name="connsiteX7" fmla="*/ 4466771 w 6527800"/>
                  <a:gd name="connsiteY7" fmla="*/ 428457 h 2311685"/>
                  <a:gd name="connsiteX8" fmla="*/ 4858657 w 6527800"/>
                  <a:gd name="connsiteY8" fmla="*/ 1386400 h 2311685"/>
                  <a:gd name="connsiteX9" fmla="*/ 5148943 w 6527800"/>
                  <a:gd name="connsiteY9" fmla="*/ 776800 h 2311685"/>
                  <a:gd name="connsiteX10" fmla="*/ 5588000 w 6527800"/>
                  <a:gd name="connsiteY10" fmla="*/ 1916171 h 2311685"/>
                  <a:gd name="connsiteX11" fmla="*/ 6074228 w 6527800"/>
                  <a:gd name="connsiteY11" fmla="*/ 958228 h 2311685"/>
                  <a:gd name="connsiteX12" fmla="*/ 6527800 w 6527800"/>
                  <a:gd name="connsiteY12" fmla="*/ 2311685 h 2311685"/>
                  <a:gd name="connsiteX0" fmla="*/ 0 w 6527800"/>
                  <a:gd name="connsiteY0" fmla="*/ 794423 h 1886623"/>
                  <a:gd name="connsiteX1" fmla="*/ 765628 w 6527800"/>
                  <a:gd name="connsiteY1" fmla="*/ 1469338 h 1886623"/>
                  <a:gd name="connsiteX2" fmla="*/ 2804886 w 6527800"/>
                  <a:gd name="connsiteY2" fmla="*/ 406166 h 1886623"/>
                  <a:gd name="connsiteX3" fmla="*/ 3291114 w 6527800"/>
                  <a:gd name="connsiteY3" fmla="*/ 1451195 h 1886623"/>
                  <a:gd name="connsiteX4" fmla="*/ 3755571 w 6527800"/>
                  <a:gd name="connsiteY4" fmla="*/ 877880 h 1886623"/>
                  <a:gd name="connsiteX5" fmla="*/ 4071257 w 6527800"/>
                  <a:gd name="connsiteY5" fmla="*/ 1367738 h 1886623"/>
                  <a:gd name="connsiteX6" fmla="*/ 4466771 w 6527800"/>
                  <a:gd name="connsiteY6" fmla="*/ 3395 h 1886623"/>
                  <a:gd name="connsiteX7" fmla="*/ 4858657 w 6527800"/>
                  <a:gd name="connsiteY7" fmla="*/ 961338 h 1886623"/>
                  <a:gd name="connsiteX8" fmla="*/ 5148943 w 6527800"/>
                  <a:gd name="connsiteY8" fmla="*/ 351738 h 1886623"/>
                  <a:gd name="connsiteX9" fmla="*/ 5588000 w 6527800"/>
                  <a:gd name="connsiteY9" fmla="*/ 1491109 h 1886623"/>
                  <a:gd name="connsiteX10" fmla="*/ 6074228 w 6527800"/>
                  <a:gd name="connsiteY10" fmla="*/ 533166 h 1886623"/>
                  <a:gd name="connsiteX11" fmla="*/ 6527800 w 6527800"/>
                  <a:gd name="connsiteY11" fmla="*/ 1886623 h 1886623"/>
                  <a:gd name="connsiteX0" fmla="*/ 0 w 6527800"/>
                  <a:gd name="connsiteY0" fmla="*/ 794423 h 1886623"/>
                  <a:gd name="connsiteX1" fmla="*/ 765628 w 6527800"/>
                  <a:gd name="connsiteY1" fmla="*/ 1469338 h 1886623"/>
                  <a:gd name="connsiteX2" fmla="*/ 3291114 w 6527800"/>
                  <a:gd name="connsiteY2" fmla="*/ 1451195 h 1886623"/>
                  <a:gd name="connsiteX3" fmla="*/ 3755571 w 6527800"/>
                  <a:gd name="connsiteY3" fmla="*/ 877880 h 1886623"/>
                  <a:gd name="connsiteX4" fmla="*/ 4071257 w 6527800"/>
                  <a:gd name="connsiteY4" fmla="*/ 1367738 h 1886623"/>
                  <a:gd name="connsiteX5" fmla="*/ 4466771 w 6527800"/>
                  <a:gd name="connsiteY5" fmla="*/ 3395 h 1886623"/>
                  <a:gd name="connsiteX6" fmla="*/ 4858657 w 6527800"/>
                  <a:gd name="connsiteY6" fmla="*/ 961338 h 1886623"/>
                  <a:gd name="connsiteX7" fmla="*/ 5148943 w 6527800"/>
                  <a:gd name="connsiteY7" fmla="*/ 351738 h 1886623"/>
                  <a:gd name="connsiteX8" fmla="*/ 5588000 w 6527800"/>
                  <a:gd name="connsiteY8" fmla="*/ 1491109 h 1886623"/>
                  <a:gd name="connsiteX9" fmla="*/ 6074228 w 6527800"/>
                  <a:gd name="connsiteY9" fmla="*/ 533166 h 1886623"/>
                  <a:gd name="connsiteX10" fmla="*/ 6527800 w 6527800"/>
                  <a:gd name="connsiteY10" fmla="*/ 1886623 h 1886623"/>
                  <a:gd name="connsiteX0" fmla="*/ 0 w 6527800"/>
                  <a:gd name="connsiteY0" fmla="*/ 794423 h 1886623"/>
                  <a:gd name="connsiteX1" fmla="*/ 3291114 w 6527800"/>
                  <a:gd name="connsiteY1" fmla="*/ 1451195 h 1886623"/>
                  <a:gd name="connsiteX2" fmla="*/ 3755571 w 6527800"/>
                  <a:gd name="connsiteY2" fmla="*/ 877880 h 1886623"/>
                  <a:gd name="connsiteX3" fmla="*/ 4071257 w 6527800"/>
                  <a:gd name="connsiteY3" fmla="*/ 1367738 h 1886623"/>
                  <a:gd name="connsiteX4" fmla="*/ 4466771 w 6527800"/>
                  <a:gd name="connsiteY4" fmla="*/ 3395 h 1886623"/>
                  <a:gd name="connsiteX5" fmla="*/ 4858657 w 6527800"/>
                  <a:gd name="connsiteY5" fmla="*/ 961338 h 1886623"/>
                  <a:gd name="connsiteX6" fmla="*/ 5148943 w 6527800"/>
                  <a:gd name="connsiteY6" fmla="*/ 351738 h 1886623"/>
                  <a:gd name="connsiteX7" fmla="*/ 5588000 w 6527800"/>
                  <a:gd name="connsiteY7" fmla="*/ 1491109 h 1886623"/>
                  <a:gd name="connsiteX8" fmla="*/ 6074228 w 6527800"/>
                  <a:gd name="connsiteY8" fmla="*/ 533166 h 1886623"/>
                  <a:gd name="connsiteX9" fmla="*/ 6527800 w 6527800"/>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6685" h="1886623">
                    <a:moveTo>
                      <a:pt x="-1" y="1451195"/>
                    </a:moveTo>
                    <a:cubicBezTo>
                      <a:pt x="625927" y="1465104"/>
                      <a:pt x="334432" y="891789"/>
                      <a:pt x="464456" y="877880"/>
                    </a:cubicBezTo>
                    <a:cubicBezTo>
                      <a:pt x="594480" y="863971"/>
                      <a:pt x="661609" y="1513486"/>
                      <a:pt x="780142" y="1367738"/>
                    </a:cubicBezTo>
                    <a:cubicBezTo>
                      <a:pt x="898675" y="1221991"/>
                      <a:pt x="1044423" y="71128"/>
                      <a:pt x="1175656" y="3395"/>
                    </a:cubicBezTo>
                    <a:cubicBezTo>
                      <a:pt x="1306889" y="-64338"/>
                      <a:pt x="1453847" y="903281"/>
                      <a:pt x="1567542" y="961338"/>
                    </a:cubicBezTo>
                    <a:cubicBezTo>
                      <a:pt x="1681237" y="1019395"/>
                      <a:pt x="1736271" y="263443"/>
                      <a:pt x="1857828" y="351738"/>
                    </a:cubicBezTo>
                    <a:cubicBezTo>
                      <a:pt x="1979385" y="440033"/>
                      <a:pt x="2142671" y="1460871"/>
                      <a:pt x="2296885" y="1491109"/>
                    </a:cubicBezTo>
                    <a:cubicBezTo>
                      <a:pt x="2451099" y="1521347"/>
                      <a:pt x="2626480" y="467247"/>
                      <a:pt x="2783113" y="533166"/>
                    </a:cubicBezTo>
                    <a:cubicBezTo>
                      <a:pt x="2939746" y="599085"/>
                      <a:pt x="3088215" y="1242854"/>
                      <a:pt x="3236685"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2" name="Freeform: Shape 171"/>
              <p:cNvSpPr/>
              <p:nvPr/>
            </p:nvSpPr>
            <p:spPr>
              <a:xfrm>
                <a:off x="4038601" y="6633271"/>
                <a:ext cx="2456542"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1 w 4996544"/>
                  <a:gd name="connsiteY0" fmla="*/ -2 h 2282369"/>
                  <a:gd name="connsiteX1" fmla="*/ 609601 w 4996544"/>
                  <a:gd name="connsiteY1" fmla="*/ 1897741 h 2282369"/>
                  <a:gd name="connsiteX2" fmla="*/ 1273630 w 4996544"/>
                  <a:gd name="connsiteY2" fmla="*/ 801912 h 2282369"/>
                  <a:gd name="connsiteX3" fmla="*/ 1759858 w 4996544"/>
                  <a:gd name="connsiteY3" fmla="*/ 1846941 h 2282369"/>
                  <a:gd name="connsiteX4" fmla="*/ 2224315 w 4996544"/>
                  <a:gd name="connsiteY4" fmla="*/ 1273626 h 2282369"/>
                  <a:gd name="connsiteX5" fmla="*/ 2540001 w 4996544"/>
                  <a:gd name="connsiteY5" fmla="*/ 1763484 h 2282369"/>
                  <a:gd name="connsiteX6" fmla="*/ 2935515 w 4996544"/>
                  <a:gd name="connsiteY6" fmla="*/ 399141 h 2282369"/>
                  <a:gd name="connsiteX7" fmla="*/ 3327401 w 4996544"/>
                  <a:gd name="connsiteY7" fmla="*/ 1357084 h 2282369"/>
                  <a:gd name="connsiteX8" fmla="*/ 3617687 w 4996544"/>
                  <a:gd name="connsiteY8" fmla="*/ 747484 h 2282369"/>
                  <a:gd name="connsiteX9" fmla="*/ 4056744 w 4996544"/>
                  <a:gd name="connsiteY9" fmla="*/ 1886855 h 2282369"/>
                  <a:gd name="connsiteX10" fmla="*/ 4542972 w 4996544"/>
                  <a:gd name="connsiteY10" fmla="*/ 928912 h 2282369"/>
                  <a:gd name="connsiteX11" fmla="*/ 4996544 w 4996544"/>
                  <a:gd name="connsiteY11" fmla="*/ 2282369 h 2282369"/>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 name="connsiteX0" fmla="*/ 1 w 3722915"/>
                  <a:gd name="connsiteY0" fmla="*/ 406166 h 1886623"/>
                  <a:gd name="connsiteX1" fmla="*/ 486229 w 3722915"/>
                  <a:gd name="connsiteY1" fmla="*/ 1451195 h 1886623"/>
                  <a:gd name="connsiteX2" fmla="*/ 950686 w 3722915"/>
                  <a:gd name="connsiteY2" fmla="*/ 877880 h 1886623"/>
                  <a:gd name="connsiteX3" fmla="*/ 1266372 w 3722915"/>
                  <a:gd name="connsiteY3" fmla="*/ 1367738 h 1886623"/>
                  <a:gd name="connsiteX4" fmla="*/ 1661886 w 3722915"/>
                  <a:gd name="connsiteY4" fmla="*/ 3395 h 1886623"/>
                  <a:gd name="connsiteX5" fmla="*/ 2053772 w 3722915"/>
                  <a:gd name="connsiteY5" fmla="*/ 961338 h 1886623"/>
                  <a:gd name="connsiteX6" fmla="*/ 2344058 w 3722915"/>
                  <a:gd name="connsiteY6" fmla="*/ 351738 h 1886623"/>
                  <a:gd name="connsiteX7" fmla="*/ 2783115 w 3722915"/>
                  <a:gd name="connsiteY7" fmla="*/ 1491109 h 1886623"/>
                  <a:gd name="connsiteX8" fmla="*/ 3269343 w 3722915"/>
                  <a:gd name="connsiteY8" fmla="*/ 533166 h 1886623"/>
                  <a:gd name="connsiteX9" fmla="*/ 3722915 w 3722915"/>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 name="connsiteX0" fmla="*/ 0 w 2772229"/>
                  <a:gd name="connsiteY0" fmla="*/ 877880 h 1886623"/>
                  <a:gd name="connsiteX1" fmla="*/ 315686 w 2772229"/>
                  <a:gd name="connsiteY1" fmla="*/ 1367738 h 1886623"/>
                  <a:gd name="connsiteX2" fmla="*/ 711200 w 2772229"/>
                  <a:gd name="connsiteY2" fmla="*/ 3395 h 1886623"/>
                  <a:gd name="connsiteX3" fmla="*/ 1103086 w 2772229"/>
                  <a:gd name="connsiteY3" fmla="*/ 961338 h 1886623"/>
                  <a:gd name="connsiteX4" fmla="*/ 1393372 w 2772229"/>
                  <a:gd name="connsiteY4" fmla="*/ 351738 h 1886623"/>
                  <a:gd name="connsiteX5" fmla="*/ 1832429 w 2772229"/>
                  <a:gd name="connsiteY5" fmla="*/ 1491109 h 1886623"/>
                  <a:gd name="connsiteX6" fmla="*/ 2318657 w 2772229"/>
                  <a:gd name="connsiteY6" fmla="*/ 533166 h 1886623"/>
                  <a:gd name="connsiteX7" fmla="*/ 2772229 w 2772229"/>
                  <a:gd name="connsiteY7" fmla="*/ 1886623 h 1886623"/>
                  <a:gd name="connsiteX0" fmla="*/ 0 w 2456543"/>
                  <a:gd name="connsiteY0" fmla="*/ 1367738 h 1886623"/>
                  <a:gd name="connsiteX1" fmla="*/ 395514 w 2456543"/>
                  <a:gd name="connsiteY1" fmla="*/ 3395 h 1886623"/>
                  <a:gd name="connsiteX2" fmla="*/ 787400 w 2456543"/>
                  <a:gd name="connsiteY2" fmla="*/ 961338 h 1886623"/>
                  <a:gd name="connsiteX3" fmla="*/ 1077686 w 2456543"/>
                  <a:gd name="connsiteY3" fmla="*/ 351738 h 1886623"/>
                  <a:gd name="connsiteX4" fmla="*/ 1516743 w 2456543"/>
                  <a:gd name="connsiteY4" fmla="*/ 1491109 h 1886623"/>
                  <a:gd name="connsiteX5" fmla="*/ 2002971 w 2456543"/>
                  <a:gd name="connsiteY5" fmla="*/ 533166 h 1886623"/>
                  <a:gd name="connsiteX6" fmla="*/ 2456543 w 2456543"/>
                  <a:gd name="connsiteY6"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6543" h="1886623">
                    <a:moveTo>
                      <a:pt x="0" y="1367738"/>
                    </a:moveTo>
                    <a:cubicBezTo>
                      <a:pt x="118533" y="1221991"/>
                      <a:pt x="264281" y="71128"/>
                      <a:pt x="395514" y="3395"/>
                    </a:cubicBezTo>
                    <a:cubicBezTo>
                      <a:pt x="526747" y="-64338"/>
                      <a:pt x="673705" y="903281"/>
                      <a:pt x="787400" y="961338"/>
                    </a:cubicBezTo>
                    <a:cubicBezTo>
                      <a:pt x="901095" y="1019395"/>
                      <a:pt x="956129" y="263443"/>
                      <a:pt x="1077686" y="351738"/>
                    </a:cubicBezTo>
                    <a:cubicBezTo>
                      <a:pt x="1199243" y="440033"/>
                      <a:pt x="1362529" y="1460871"/>
                      <a:pt x="1516743" y="1491109"/>
                    </a:cubicBezTo>
                    <a:cubicBezTo>
                      <a:pt x="1670957" y="1521347"/>
                      <a:pt x="1846338" y="467247"/>
                      <a:pt x="2002971" y="533166"/>
                    </a:cubicBezTo>
                    <a:cubicBezTo>
                      <a:pt x="2159604" y="599085"/>
                      <a:pt x="2308073" y="1242854"/>
                      <a:pt x="2456543"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nvGrpSpPr>
          <p:cNvPr id="106" name="Group 105"/>
          <p:cNvGrpSpPr/>
          <p:nvPr userDrawn="1"/>
        </p:nvGrpSpPr>
        <p:grpSpPr>
          <a:xfrm>
            <a:off x="1476696" y="1517163"/>
            <a:ext cx="3599025" cy="1100078"/>
            <a:chOff x="5756093" y="2301512"/>
            <a:chExt cx="3899073" cy="1191791"/>
          </a:xfrm>
          <a:solidFill>
            <a:schemeClr val="bg1">
              <a:alpha val="30000"/>
            </a:schemeClr>
          </a:solidFill>
        </p:grpSpPr>
        <p:sp>
          <p:nvSpPr>
            <p:cNvPr id="107" name="Oval 106"/>
            <p:cNvSpPr/>
            <p:nvPr/>
          </p:nvSpPr>
          <p:spPr>
            <a:xfrm>
              <a:off x="8266386" y="2347545"/>
              <a:ext cx="254716" cy="254716"/>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Oval 107"/>
            <p:cNvSpPr/>
            <p:nvPr/>
          </p:nvSpPr>
          <p:spPr>
            <a:xfrm>
              <a:off x="6326273" y="2776652"/>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Oval 108"/>
            <p:cNvSpPr/>
            <p:nvPr/>
          </p:nvSpPr>
          <p:spPr>
            <a:xfrm>
              <a:off x="7275317" y="256960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0" name="Oval 109"/>
            <p:cNvSpPr/>
            <p:nvPr/>
          </p:nvSpPr>
          <p:spPr>
            <a:xfrm>
              <a:off x="6676654" y="2855918"/>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Oval 110"/>
            <p:cNvSpPr/>
            <p:nvPr/>
          </p:nvSpPr>
          <p:spPr>
            <a:xfrm>
              <a:off x="7021860" y="276232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Oval 111"/>
            <p:cNvSpPr/>
            <p:nvPr/>
          </p:nvSpPr>
          <p:spPr>
            <a:xfrm>
              <a:off x="9150042" y="311374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3" name="Oval 112"/>
            <p:cNvSpPr/>
            <p:nvPr/>
          </p:nvSpPr>
          <p:spPr>
            <a:xfrm>
              <a:off x="7521113" y="240907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Oval 113"/>
            <p:cNvSpPr/>
            <p:nvPr/>
          </p:nvSpPr>
          <p:spPr>
            <a:xfrm>
              <a:off x="8821654" y="2895644"/>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Oval 114"/>
            <p:cNvSpPr/>
            <p:nvPr/>
          </p:nvSpPr>
          <p:spPr>
            <a:xfrm>
              <a:off x="7911267" y="2301512"/>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Oval 115"/>
            <p:cNvSpPr/>
            <p:nvPr/>
          </p:nvSpPr>
          <p:spPr>
            <a:xfrm>
              <a:off x="8622432" y="2646039"/>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Oval 116"/>
            <p:cNvSpPr/>
            <p:nvPr/>
          </p:nvSpPr>
          <p:spPr>
            <a:xfrm>
              <a:off x="6046050" y="269839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8" name="Oval 117"/>
            <p:cNvSpPr/>
            <p:nvPr/>
          </p:nvSpPr>
          <p:spPr>
            <a:xfrm>
              <a:off x="5756093" y="276885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9" name="Oval 118"/>
            <p:cNvSpPr/>
            <p:nvPr/>
          </p:nvSpPr>
          <p:spPr>
            <a:xfrm>
              <a:off x="9364414" y="3258175"/>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0" name="Oval 119"/>
            <p:cNvSpPr/>
            <p:nvPr/>
          </p:nvSpPr>
          <p:spPr>
            <a:xfrm>
              <a:off x="9609447" y="3447584"/>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2" name="Group 1"/>
          <p:cNvGrpSpPr/>
          <p:nvPr userDrawn="1"/>
        </p:nvGrpSpPr>
        <p:grpSpPr>
          <a:xfrm>
            <a:off x="-814611" y="4052582"/>
            <a:ext cx="4604401" cy="3537327"/>
            <a:chOff x="-814611" y="4052582"/>
            <a:chExt cx="4604401" cy="3537327"/>
          </a:xfrm>
        </p:grpSpPr>
        <p:sp>
          <p:nvSpPr>
            <p:cNvPr id="122" name="Freeform: Shape 121"/>
            <p:cNvSpPr/>
            <p:nvPr/>
          </p:nvSpPr>
          <p:spPr>
            <a:xfrm rot="6340721">
              <a:off x="730446" y="309333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3" name="Group 122"/>
            <p:cNvGrpSpPr/>
            <p:nvPr/>
          </p:nvGrpSpPr>
          <p:grpSpPr>
            <a:xfrm rot="4480905">
              <a:off x="-94312" y="3705806"/>
              <a:ext cx="3163804" cy="4604401"/>
              <a:chOff x="9659552" y="2944459"/>
              <a:chExt cx="3163804" cy="4604401"/>
            </a:xfrm>
          </p:grpSpPr>
          <p:sp>
            <p:nvSpPr>
              <p:cNvPr id="124" name="Oval 123"/>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5" name="Group 124"/>
              <p:cNvGrpSpPr/>
              <p:nvPr/>
            </p:nvGrpSpPr>
            <p:grpSpPr>
              <a:xfrm>
                <a:off x="10171356" y="3779500"/>
                <a:ext cx="468086" cy="468086"/>
                <a:chOff x="3766458" y="4912364"/>
                <a:chExt cx="468086" cy="468086"/>
              </a:xfrm>
            </p:grpSpPr>
            <p:sp>
              <p:nvSpPr>
                <p:cNvPr id="149" name="Oval 148"/>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0" name="Oval 149"/>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1" name="Oval 150"/>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26" name="Oval 125"/>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7" name="Oval 126"/>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8" name="Oval 127"/>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9" name="Oval 128"/>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0" name="Oval 129"/>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1" name="Oval 130"/>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2" name="Oval 131"/>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3" name="Freeform: Shape 132"/>
              <p:cNvSpPr/>
              <p:nvPr/>
            </p:nvSpPr>
            <p:spPr>
              <a:xfrm rot="1859816">
                <a:off x="9942109" y="3114447"/>
                <a:ext cx="1657518" cy="3705100"/>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417" h="3497943">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cubicBezTo>
                      <a:pt x="1078002" y="3406624"/>
                      <a:pt x="1217702" y="3452283"/>
                      <a:pt x="1357402" y="3497943"/>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34" name="Group 133"/>
              <p:cNvGrpSpPr/>
              <p:nvPr/>
            </p:nvGrpSpPr>
            <p:grpSpPr>
              <a:xfrm>
                <a:off x="9659552" y="6255370"/>
                <a:ext cx="511804" cy="511804"/>
                <a:chOff x="3766458" y="4912364"/>
                <a:chExt cx="468086" cy="468086"/>
              </a:xfrm>
            </p:grpSpPr>
            <p:sp>
              <p:nvSpPr>
                <p:cNvPr id="146" name="Oval 145"/>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7" name="Oval 146"/>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8" name="Oval 14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35" name="Oval 134"/>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36" name="Group 135"/>
              <p:cNvGrpSpPr/>
              <p:nvPr/>
            </p:nvGrpSpPr>
            <p:grpSpPr>
              <a:xfrm rot="18900000" flipH="1">
                <a:off x="9997674" y="4364464"/>
                <a:ext cx="1590444" cy="3184396"/>
                <a:chOff x="1113971" y="3497757"/>
                <a:chExt cx="1150258" cy="3142530"/>
              </a:xfrm>
            </p:grpSpPr>
            <p:sp>
              <p:nvSpPr>
                <p:cNvPr id="142" name="Freeform: Shape 14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3" name="Freeform: Shape 14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4" name="Freeform: Shape 14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5" name="Freeform: Shape 14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37" name="Group 136"/>
              <p:cNvGrpSpPr/>
              <p:nvPr/>
            </p:nvGrpSpPr>
            <p:grpSpPr>
              <a:xfrm rot="7200000" flipH="1" flipV="1">
                <a:off x="10907040" y="2618587"/>
                <a:ext cx="1590444" cy="2242188"/>
                <a:chOff x="1113971" y="3497757"/>
                <a:chExt cx="1150258" cy="3142530"/>
              </a:xfrm>
            </p:grpSpPr>
            <p:sp>
              <p:nvSpPr>
                <p:cNvPr id="138" name="Freeform: Shape 137"/>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9" name="Freeform: Shape 138"/>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0" name="Freeform: Shape 139"/>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1" name="Freeform: Shape 140"/>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sp>
        <p:nvSpPr>
          <p:cNvPr id="163" name="Rectangle 162"/>
          <p:cNvSpPr/>
          <p:nvPr userDrawn="1"/>
        </p:nvSpPr>
        <p:spPr>
          <a:xfrm>
            <a:off x="0" y="0"/>
            <a:ext cx="12192000" cy="6858000"/>
          </a:xfrm>
          <a:prstGeom prst="rect">
            <a:avLst/>
          </a:prstGeom>
          <a:gradFill>
            <a:gsLst>
              <a:gs pos="0">
                <a:srgbClr val="002050">
                  <a:alpha val="60000"/>
                </a:srgbClr>
              </a:gs>
              <a:gs pos="100000">
                <a:srgbClr val="00205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4100"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165" name="Title 1"/>
          <p:cNvSpPr>
            <a:spLocks noGrp="1"/>
          </p:cNvSpPr>
          <p:nvPr userDrawn="1">
            <p:ph type="title"/>
          </p:nvPr>
        </p:nvSpPr>
        <p:spPr>
          <a:xfrm>
            <a:off x="1056884" y="2239228"/>
            <a:ext cx="9440739" cy="3424745"/>
          </a:xfrm>
        </p:spPr>
        <p:txBody>
          <a:bodyPr>
            <a:noAutofit/>
          </a:bodyPr>
          <a:lstStyle>
            <a:lvl1pPr>
              <a:defRPr sz="8000"/>
            </a:lvl1pPr>
          </a:lstStyle>
          <a:p>
            <a:r>
              <a:rPr lang="en-US" dirty="0"/>
              <a:t>Click to edit Master title style</a:t>
            </a:r>
          </a:p>
        </p:txBody>
      </p:sp>
    </p:spTree>
    <p:extLst>
      <p:ext uri="{BB962C8B-B14F-4D97-AF65-F5344CB8AC3E}">
        <p14:creationId xmlns:p14="http://schemas.microsoft.com/office/powerpoint/2010/main" val="71232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8.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image" Target="../media/image7.pn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image" Target="../media/image13.png"/><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theme" Target="../theme/theme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77171696"/>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769" r:id="rId4"/>
    <p:sldLayoutId id="2147483770" r:id="rId5"/>
    <p:sldLayoutId id="2147483690" r:id="rId6"/>
    <p:sldLayoutId id="2147483691" r:id="rId7"/>
    <p:sldLayoutId id="2147483692" r:id="rId8"/>
    <p:sldLayoutId id="2147483693" r:id="rId9"/>
    <p:sldLayoutId id="2147483767" r:id="rId10"/>
    <p:sldLayoutId id="2147483768"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78" r:id="rId26"/>
    <p:sldLayoutId id="2147483782" r:id="rId27"/>
    <p:sldLayoutId id="2147483779" r:id="rId28"/>
    <p:sldLayoutId id="2147483780" r:id="rId29"/>
    <p:sldLayoutId id="2147483781" r:id="rId30"/>
    <p:sldLayoutId id="2147483783" r:id="rId31"/>
    <p:sldLayoutId id="2147483784" r:id="rId32"/>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userDrawn="1">
          <p15:clr>
            <a:srgbClr val="C35EA4"/>
          </p15:clr>
        </p15:guide>
        <p15:guide id="17" pos="7400"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34170"/>
            <a:ext cx="10515600"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794669"/>
            <a:ext cx="10515600"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5400000">
            <a:off x="9259288" y="2932713"/>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26" cstate="print">
            <a:extLst>
              <a:ext uri="{28A0092B-C50C-407E-A947-70E740481C1C}">
                <a14:useLocalDpi xmlns:a14="http://schemas.microsoft.com/office/drawing/2010/main" val="0"/>
              </a:ext>
            </a:extLst>
          </a:blip>
          <a:srcRect/>
          <a:stretch>
            <a:fillRect/>
          </a:stretch>
        </p:blipFill>
        <p:spPr bwMode="auto">
          <a:xfrm>
            <a:off x="11954982" y="-401216"/>
            <a:ext cx="1143000" cy="246380"/>
          </a:xfrm>
          <a:prstGeom prst="rect">
            <a:avLst/>
          </a:prstGeom>
          <a:noFill/>
          <a:extLst/>
        </p:spPr>
      </p:pic>
    </p:spTree>
    <p:extLst>
      <p:ext uri="{BB962C8B-B14F-4D97-AF65-F5344CB8AC3E}">
        <p14:creationId xmlns:p14="http://schemas.microsoft.com/office/powerpoint/2010/main" val="821292519"/>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 id="2147483808" r:id="rId23"/>
  </p:sldLayoutIdLst>
  <p:txStyles>
    <p:title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240965549"/>
      </p:ext>
    </p:extLst>
  </p:cSld>
  <p:clrMap bg1="dk1" tx1="lt1" bg2="dk2" tx2="lt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 id="2147483839" r:id="rId30"/>
    <p:sldLayoutId id="2147483840" r:id="rId31"/>
    <p:sldLayoutId id="2147483841" r:id="rId32"/>
    <p:sldLayoutId id="2147483842" r:id="rId33"/>
    <p:sldLayoutId id="2147483843" r:id="rId34"/>
    <p:sldLayoutId id="2147483844" r:id="rId35"/>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27.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2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6.xml"/><Relationship Id="rId1" Type="http://schemas.openxmlformats.org/officeDocument/2006/relationships/slideLayout" Target="../slideLayouts/slideLayout27.xml"/><Relationship Id="rId4" Type="http://schemas.openxmlformats.org/officeDocument/2006/relationships/image" Target="../media/image30.png"/></Relationships>
</file>

<file path=ppt/slides/_rels/slide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customXml" Target="../ink/ink1.xml"/><Relationship Id="rId1" Type="http://schemas.openxmlformats.org/officeDocument/2006/relationships/slideLayout" Target="../slideLayouts/slideLayout26.xml"/></Relationships>
</file>

<file path=ppt/slides/_rels/slide5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3366151"/>
            <a:ext cx="6278150" cy="3491849"/>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p:cNvSpPr>
            <a:spLocks noGrp="1"/>
          </p:cNvSpPr>
          <p:nvPr>
            <p:ph type="title"/>
          </p:nvPr>
        </p:nvSpPr>
        <p:spPr>
          <a:xfrm>
            <a:off x="334550" y="3496777"/>
            <a:ext cx="5303241" cy="1793104"/>
          </a:xfrm>
        </p:spPr>
        <p:txBody>
          <a:bodyPr/>
          <a:lstStyle/>
          <a:p>
            <a:r>
              <a:rPr lang="en-US" dirty="0"/>
              <a:t>Big Data from Microsoft</a:t>
            </a:r>
          </a:p>
        </p:txBody>
      </p:sp>
      <p:sp>
        <p:nvSpPr>
          <p:cNvPr id="7" name="Text Placeholder 6"/>
          <p:cNvSpPr>
            <a:spLocks noGrp="1"/>
          </p:cNvSpPr>
          <p:nvPr>
            <p:ph type="body" sz="quarter" idx="14"/>
          </p:nvPr>
        </p:nvSpPr>
        <p:spPr>
          <a:xfrm>
            <a:off x="333181" y="5289861"/>
            <a:ext cx="5304609" cy="1698765"/>
          </a:xfrm>
        </p:spPr>
        <p:txBody>
          <a:bodyPr/>
          <a:lstStyle/>
          <a:p>
            <a:r>
              <a:rPr lang="en-US" dirty="0"/>
              <a:t>Priya Aswani</a:t>
            </a:r>
          </a:p>
          <a:p>
            <a:r>
              <a:rPr lang="en-US" dirty="0"/>
              <a:t>DSA</a:t>
            </a:r>
          </a:p>
        </p:txBody>
      </p:sp>
    </p:spTree>
    <p:extLst>
      <p:ext uri="{BB962C8B-B14F-4D97-AF65-F5344CB8AC3E}">
        <p14:creationId xmlns:p14="http://schemas.microsoft.com/office/powerpoint/2010/main" val="190713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0" y="0"/>
            <a:ext cx="5379719" cy="633256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cxnSp>
        <p:nvCxnSpPr>
          <p:cNvPr id="9" name="Straight Connector 8"/>
          <p:cNvCxnSpPr/>
          <p:nvPr/>
        </p:nvCxnSpPr>
        <p:spPr>
          <a:xfrm flipH="1">
            <a:off x="0" y="6332053"/>
            <a:ext cx="5379720"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40459" y="511828"/>
            <a:ext cx="4911606" cy="2631490"/>
          </a:xfrm>
          <a:prstGeom prst="rect">
            <a:avLst/>
          </a:prstGeom>
          <a:noFill/>
        </p:spPr>
        <p:txBody>
          <a:bodyPr wrap="square" lIns="182880" tIns="146304" rIns="182880" bIns="146304" rtlCol="0">
            <a:spAutoFit/>
          </a:bodyPr>
          <a:lstStyle/>
          <a:p>
            <a:pPr>
              <a:lnSpc>
                <a:spcPct val="90000"/>
              </a:lnSpc>
              <a:spcAft>
                <a:spcPts val="600"/>
              </a:spcAft>
              <a:defRPr/>
            </a:pPr>
            <a:r>
              <a:rPr lang="en-US" sz="4400" kern="0" dirty="0">
                <a:latin typeface="Segoe UI Light"/>
                <a:ea typeface="Segoe UI" pitchFamily="34" charset="0"/>
                <a:cs typeface="Segoe UI" pitchFamily="34" charset="0"/>
              </a:rPr>
              <a:t>Azure </a:t>
            </a:r>
            <a:br>
              <a:rPr lang="en-US" sz="4400" kern="0" dirty="0">
                <a:latin typeface="Segoe UI Light"/>
                <a:ea typeface="Segoe UI" pitchFamily="34" charset="0"/>
                <a:cs typeface="Segoe UI" pitchFamily="34" charset="0"/>
              </a:rPr>
            </a:br>
            <a:r>
              <a:rPr lang="en-US" sz="4400" kern="0" dirty="0">
                <a:latin typeface="Segoe UI Light"/>
                <a:ea typeface="Segoe UI" pitchFamily="34" charset="0"/>
                <a:cs typeface="Segoe UI" pitchFamily="34" charset="0"/>
              </a:rPr>
              <a:t>HDInsight</a:t>
            </a:r>
          </a:p>
          <a:p>
            <a:pPr>
              <a:lnSpc>
                <a:spcPct val="90000"/>
              </a:lnSpc>
              <a:spcBef>
                <a:spcPts val="1200"/>
              </a:spcBef>
              <a:spcAft>
                <a:spcPts val="600"/>
              </a:spcAft>
              <a:defRPr/>
            </a:pPr>
            <a:r>
              <a:rPr lang="en-US" sz="3200" kern="0" dirty="0">
                <a:latin typeface="Segoe UI Light"/>
                <a:ea typeface="Segoe UI" pitchFamily="34" charset="0"/>
                <a:cs typeface="Segoe UI" pitchFamily="34" charset="0"/>
              </a:rPr>
              <a:t>Hadoop and Spark </a:t>
            </a:r>
            <a:br>
              <a:rPr lang="en-US" sz="3200" kern="0" dirty="0">
                <a:latin typeface="Segoe UI Light"/>
                <a:ea typeface="Segoe UI" pitchFamily="34" charset="0"/>
                <a:cs typeface="Segoe UI" pitchFamily="34" charset="0"/>
              </a:rPr>
            </a:br>
            <a:r>
              <a:rPr lang="en-US" sz="3200" kern="0" dirty="0">
                <a:latin typeface="Segoe UI Light"/>
                <a:ea typeface="Segoe UI" pitchFamily="34" charset="0"/>
                <a:cs typeface="Segoe UI" pitchFamily="34" charset="0"/>
              </a:rPr>
              <a:t>as a Service on Azure</a:t>
            </a:r>
          </a:p>
        </p:txBody>
      </p:sp>
      <p:sp>
        <p:nvSpPr>
          <p:cNvPr id="4" name="TextBox 3"/>
          <p:cNvSpPr txBox="1"/>
          <p:nvPr/>
        </p:nvSpPr>
        <p:spPr>
          <a:xfrm>
            <a:off x="5660019" y="321041"/>
            <a:ext cx="6219229" cy="5881610"/>
          </a:xfrm>
          <a:prstGeom prst="rect">
            <a:avLst/>
          </a:prstGeom>
          <a:noFill/>
        </p:spPr>
        <p:txBody>
          <a:bodyPr wrap="square" lIns="182880" tIns="146304" rIns="182880" bIns="146304" rtlCol="0">
            <a:spAutoFit/>
          </a:bodyPr>
          <a:lstStyle/>
          <a:p>
            <a:pPr defTabSz="914367">
              <a:spcAft>
                <a:spcPts val="1800"/>
              </a:spcAft>
              <a:defRPr/>
            </a:pPr>
            <a:r>
              <a:rPr lang="en-US" sz="2400" dirty="0">
                <a:solidFill>
                  <a:srgbClr val="0078D7"/>
                </a:solidFill>
                <a:latin typeface="Segoe UI Semibold" panose="020B0702040204020203" pitchFamily="34" charset="0"/>
                <a:cs typeface="Segoe UI Semibold" panose="020B0702040204020203" pitchFamily="34" charset="0"/>
              </a:rPr>
              <a:t>Fully-managed</a:t>
            </a:r>
            <a:r>
              <a:rPr lang="en-US" sz="2400" b="1" dirty="0">
                <a:solidFill>
                  <a:schemeClr val="bg1"/>
                </a:solidFill>
                <a:latin typeface="+mj-lt"/>
                <a:cs typeface="Segoe UI" panose="020B0502040204020203" pitchFamily="34" charset="0"/>
              </a:rPr>
              <a:t> </a:t>
            </a:r>
            <a:r>
              <a:rPr lang="en-US" sz="2400" dirty="0">
                <a:solidFill>
                  <a:schemeClr val="bg1"/>
                </a:solidFill>
                <a:latin typeface="+mj-lt"/>
                <a:cs typeface="Segoe UI" panose="020B0502040204020203" pitchFamily="34" charset="0"/>
              </a:rPr>
              <a:t>Hadoop and Spark </a:t>
            </a:r>
            <a:br>
              <a:rPr lang="en-US" sz="2400" dirty="0">
                <a:solidFill>
                  <a:schemeClr val="bg1"/>
                </a:solidFill>
                <a:latin typeface="+mj-lt"/>
                <a:cs typeface="Segoe UI" panose="020B0502040204020203" pitchFamily="34" charset="0"/>
              </a:rPr>
            </a:br>
            <a:r>
              <a:rPr lang="en-US" sz="2400" dirty="0">
                <a:solidFill>
                  <a:schemeClr val="bg1"/>
                </a:solidFill>
                <a:latin typeface="+mj-lt"/>
                <a:cs typeface="Segoe UI" panose="020B0502040204020203" pitchFamily="34" charset="0"/>
              </a:rPr>
              <a:t>for the cloud</a:t>
            </a:r>
            <a:endParaRPr lang="en-US" sz="2400" b="1" dirty="0">
              <a:solidFill>
                <a:schemeClr val="bg1"/>
              </a:solidFill>
              <a:latin typeface="+mj-lt"/>
              <a:cs typeface="Segoe UI" panose="020B0502040204020203" pitchFamily="34" charset="0"/>
            </a:endParaRPr>
          </a:p>
          <a:p>
            <a:pPr defTabSz="914367">
              <a:spcAft>
                <a:spcPts val="1800"/>
              </a:spcAft>
              <a:defRPr/>
            </a:pPr>
            <a:r>
              <a:rPr lang="en-US" sz="2400" dirty="0">
                <a:solidFill>
                  <a:srgbClr val="0078D7"/>
                </a:solidFill>
                <a:latin typeface="Segoe UI Semibold" panose="020B0702040204020203" pitchFamily="34" charset="0"/>
                <a:cs typeface="Segoe UI Semibold" panose="020B0702040204020203" pitchFamily="34" charset="0"/>
              </a:rPr>
              <a:t>100% Open Source </a:t>
            </a:r>
            <a:r>
              <a:rPr lang="en-US" sz="2400" dirty="0">
                <a:solidFill>
                  <a:schemeClr val="bg1"/>
                </a:solidFill>
                <a:latin typeface="+mj-lt"/>
                <a:cs typeface="Segoe UI" panose="020B0502040204020203" pitchFamily="34" charset="0"/>
              </a:rPr>
              <a:t>Hortonworks </a:t>
            </a:r>
            <a:br>
              <a:rPr lang="en-US" sz="2400" dirty="0">
                <a:solidFill>
                  <a:schemeClr val="bg1"/>
                </a:solidFill>
                <a:latin typeface="+mj-lt"/>
                <a:cs typeface="Segoe UI" panose="020B0502040204020203" pitchFamily="34" charset="0"/>
              </a:rPr>
            </a:br>
            <a:r>
              <a:rPr lang="en-US" sz="2400" dirty="0">
                <a:solidFill>
                  <a:schemeClr val="bg1"/>
                </a:solidFill>
                <a:latin typeface="+mj-lt"/>
                <a:cs typeface="Segoe UI" panose="020B0502040204020203" pitchFamily="34" charset="0"/>
              </a:rPr>
              <a:t>data platform</a:t>
            </a:r>
          </a:p>
          <a:p>
            <a:pPr defTabSz="914367">
              <a:spcAft>
                <a:spcPts val="1800"/>
              </a:spcAft>
              <a:defRPr/>
            </a:pPr>
            <a:r>
              <a:rPr lang="en-US" sz="2400" dirty="0">
                <a:solidFill>
                  <a:schemeClr val="bg1"/>
                </a:solidFill>
                <a:latin typeface="+mj-lt"/>
                <a:cs typeface="Segoe UI" panose="020B0502040204020203" pitchFamily="34" charset="0"/>
              </a:rPr>
              <a:t>Clusters up and </a:t>
            </a:r>
            <a:r>
              <a:rPr lang="en-US" sz="2400" dirty="0">
                <a:solidFill>
                  <a:srgbClr val="0078D7"/>
                </a:solidFill>
                <a:latin typeface="Segoe UI Semibold" panose="020B0702040204020203" pitchFamily="34" charset="0"/>
                <a:cs typeface="Segoe UI Semibold" panose="020B0702040204020203" pitchFamily="34" charset="0"/>
              </a:rPr>
              <a:t>running in minutes </a:t>
            </a:r>
            <a:endParaRPr lang="en-US" sz="2400" b="1" dirty="0">
              <a:solidFill>
                <a:schemeClr val="bg1"/>
              </a:solidFill>
              <a:latin typeface="+mj-lt"/>
              <a:cs typeface="Segoe UI" panose="020B0502040204020203" pitchFamily="34" charset="0"/>
            </a:endParaRPr>
          </a:p>
          <a:p>
            <a:pPr defTabSz="914367">
              <a:spcAft>
                <a:spcPts val="1800"/>
              </a:spcAft>
              <a:defRPr/>
            </a:pPr>
            <a:r>
              <a:rPr lang="en-US" sz="2400" dirty="0">
                <a:solidFill>
                  <a:schemeClr val="bg1"/>
                </a:solidFill>
                <a:latin typeface="+mj-lt"/>
                <a:cs typeface="Segoe UI" panose="020B0502040204020203" pitchFamily="34" charset="0"/>
              </a:rPr>
              <a:t>Managed, monitored and supported </a:t>
            </a:r>
            <a:br>
              <a:rPr lang="en-US" sz="2400" dirty="0">
                <a:solidFill>
                  <a:schemeClr val="bg1"/>
                </a:solidFill>
                <a:latin typeface="+mj-lt"/>
                <a:cs typeface="Segoe UI" panose="020B0502040204020203" pitchFamily="34" charset="0"/>
              </a:rPr>
            </a:br>
            <a:r>
              <a:rPr lang="en-US" sz="2400" dirty="0">
                <a:solidFill>
                  <a:schemeClr val="bg1"/>
                </a:solidFill>
                <a:latin typeface="+mj-lt"/>
                <a:cs typeface="Segoe UI" panose="020B0502040204020203" pitchFamily="34" charset="0"/>
              </a:rPr>
              <a:t>by Microsoft with the </a:t>
            </a:r>
            <a:r>
              <a:rPr lang="en-US" sz="2400" dirty="0">
                <a:solidFill>
                  <a:srgbClr val="0078D7"/>
                </a:solidFill>
                <a:latin typeface="Segoe UI Semibold" panose="020B0702040204020203" pitchFamily="34" charset="0"/>
                <a:cs typeface="Segoe UI Semibold" panose="020B0702040204020203" pitchFamily="34" charset="0"/>
              </a:rPr>
              <a:t>industry’s best SLA</a:t>
            </a:r>
            <a:endParaRPr lang="en-US" sz="2400" b="1" dirty="0">
              <a:solidFill>
                <a:schemeClr val="bg1"/>
              </a:solidFill>
              <a:latin typeface="+mj-lt"/>
              <a:cs typeface="Segoe UI" panose="020B0502040204020203" pitchFamily="34" charset="0"/>
            </a:endParaRPr>
          </a:p>
          <a:p>
            <a:pPr defTabSz="914367">
              <a:spcAft>
                <a:spcPts val="1800"/>
              </a:spcAft>
              <a:defRPr/>
            </a:pPr>
            <a:r>
              <a:rPr lang="en-US" sz="2400" dirty="0">
                <a:solidFill>
                  <a:schemeClr val="bg1"/>
                </a:solidFill>
                <a:latin typeface="+mj-lt"/>
                <a:cs typeface="Segoe UI" panose="020B0502040204020203" pitchFamily="34" charset="0"/>
              </a:rPr>
              <a:t>Familiar </a:t>
            </a:r>
            <a:r>
              <a:rPr lang="en-US" sz="2400" dirty="0">
                <a:solidFill>
                  <a:srgbClr val="0078D7"/>
                </a:solidFill>
                <a:latin typeface="Segoe UI Semibold" panose="020B0702040204020203" pitchFamily="34" charset="0"/>
                <a:cs typeface="Segoe UI Semibold" panose="020B0702040204020203" pitchFamily="34" charset="0"/>
              </a:rPr>
              <a:t>BI tools for analysis</a:t>
            </a:r>
            <a:r>
              <a:rPr lang="en-US" sz="2400" dirty="0">
                <a:solidFill>
                  <a:schemeClr val="bg1"/>
                </a:solidFill>
                <a:latin typeface="+mj-lt"/>
                <a:cs typeface="Segoe UI" panose="020B0502040204020203" pitchFamily="34" charset="0"/>
              </a:rPr>
              <a:t>, or open source notebooks for </a:t>
            </a:r>
            <a:r>
              <a:rPr lang="en-US" sz="2400" dirty="0">
                <a:solidFill>
                  <a:srgbClr val="0078D7"/>
                </a:solidFill>
                <a:latin typeface="Segoe UI Semibold" panose="020B0702040204020203" pitchFamily="34" charset="0"/>
                <a:cs typeface="Segoe UI Semibold" panose="020B0702040204020203" pitchFamily="34" charset="0"/>
              </a:rPr>
              <a:t>interactive data science</a:t>
            </a:r>
            <a:endParaRPr lang="en-US" sz="2400" b="1" dirty="0">
              <a:solidFill>
                <a:schemeClr val="bg1"/>
              </a:solidFill>
              <a:cs typeface="Segoe UI" panose="020B0502040204020203" pitchFamily="34" charset="0"/>
            </a:endParaRPr>
          </a:p>
          <a:p>
            <a:pPr defTabSz="914367">
              <a:spcAft>
                <a:spcPts val="1800"/>
              </a:spcAft>
              <a:defRPr/>
            </a:pPr>
            <a:r>
              <a:rPr lang="en-US" sz="2400" dirty="0">
                <a:solidFill>
                  <a:srgbClr val="0078D7"/>
                </a:solidFill>
                <a:latin typeface="Segoe UI Semibold" panose="020B0702040204020203" pitchFamily="34" charset="0"/>
                <a:cs typeface="Segoe UI Semibold" panose="020B0702040204020203" pitchFamily="34" charset="0"/>
              </a:rPr>
              <a:t>63% lower TCO </a:t>
            </a:r>
            <a:r>
              <a:rPr lang="en-US" sz="2400" dirty="0">
                <a:solidFill>
                  <a:schemeClr val="bg1"/>
                </a:solidFill>
                <a:latin typeface="+mj-lt"/>
                <a:cs typeface="Segoe UI" panose="020B0502040204020203" pitchFamily="34" charset="0"/>
              </a:rPr>
              <a:t>than deploy your own Hadoop on-premises*</a:t>
            </a:r>
          </a:p>
        </p:txBody>
      </p:sp>
      <p:sp>
        <p:nvSpPr>
          <p:cNvPr id="11" name="TextBox 10"/>
          <p:cNvSpPr txBox="1"/>
          <p:nvPr/>
        </p:nvSpPr>
        <p:spPr>
          <a:xfrm>
            <a:off x="5469188" y="5957848"/>
            <a:ext cx="6839935" cy="425998"/>
          </a:xfrm>
          <a:prstGeom prst="rect">
            <a:avLst/>
          </a:prstGeom>
          <a:noFill/>
        </p:spPr>
        <p:txBody>
          <a:bodyPr wrap="square" lIns="186521" tIns="149217" rIns="186521" bIns="149217" rtlCol="0">
            <a:spAutoFit/>
          </a:bodyPr>
          <a:lstStyle/>
          <a:p>
            <a:pPr>
              <a:lnSpc>
                <a:spcPct val="90000"/>
              </a:lnSpc>
              <a:spcAft>
                <a:spcPts val="612"/>
              </a:spcAft>
            </a:pPr>
            <a:r>
              <a:rPr lang="en-US" sz="900" dirty="0">
                <a:solidFill>
                  <a:schemeClr val="bg1"/>
                </a:solidFill>
                <a:latin typeface="+mj-lt"/>
              </a:rPr>
              <a:t>*IDC study “The Business Value and TCO Advantage of Apache Hadoop in the Cloud with Microsoft Azure HDInsight”</a:t>
            </a:r>
          </a:p>
        </p:txBody>
      </p:sp>
      <p:sp>
        <p:nvSpPr>
          <p:cNvPr id="8" name="Freeform 7"/>
          <p:cNvSpPr/>
          <p:nvPr/>
        </p:nvSpPr>
        <p:spPr>
          <a:xfrm>
            <a:off x="3411298" y="4771495"/>
            <a:ext cx="1500827" cy="1077646"/>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rgbClr val="66AE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13483468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yBase in </a:t>
            </a:r>
            <a:br>
              <a:rPr lang="en-US" dirty="0"/>
            </a:br>
            <a:r>
              <a:rPr lang="en-US" dirty="0"/>
              <a:t>SQL Server 2016 and APS</a:t>
            </a:r>
          </a:p>
        </p:txBody>
      </p:sp>
      <p:sp>
        <p:nvSpPr>
          <p:cNvPr id="18" name="Text Placeholder 17"/>
          <p:cNvSpPr>
            <a:spLocks noGrp="1"/>
          </p:cNvSpPr>
          <p:nvPr>
            <p:ph type="body" sz="quarter" idx="10"/>
          </p:nvPr>
        </p:nvSpPr>
        <p:spPr>
          <a:xfrm>
            <a:off x="5686283" y="1110837"/>
            <a:ext cx="6247411" cy="3342453"/>
          </a:xfrm>
        </p:spPr>
        <p:txBody>
          <a:bodyPr/>
          <a:lstStyle/>
          <a:p>
            <a:pPr>
              <a:lnSpc>
                <a:spcPct val="100000"/>
              </a:lnSpc>
              <a:spcBef>
                <a:spcPts val="0"/>
              </a:spcBef>
              <a:spcAft>
                <a:spcPts val="1800"/>
              </a:spcAft>
              <a:defRPr/>
            </a:pPr>
            <a:r>
              <a:rPr lang="en-US" dirty="0"/>
              <a:t>For on-premises Big Data, partner with Hortonworks, Cloudera, or other 3</a:t>
            </a:r>
            <a:r>
              <a:rPr lang="en-US" baseline="30000" dirty="0"/>
              <a:t>rd</a:t>
            </a:r>
            <a:r>
              <a:rPr lang="en-US" dirty="0"/>
              <a:t> party providers</a:t>
            </a:r>
          </a:p>
          <a:p>
            <a:pPr>
              <a:lnSpc>
                <a:spcPct val="100000"/>
              </a:lnSpc>
              <a:spcBef>
                <a:spcPts val="0"/>
              </a:spcBef>
              <a:spcAft>
                <a:spcPts val="1800"/>
              </a:spcAft>
              <a:defRPr/>
            </a:pPr>
            <a:r>
              <a:rPr lang="en-US" dirty="0"/>
              <a:t>Use </a:t>
            </a:r>
            <a:r>
              <a:rPr lang="en-US" dirty="0">
                <a:solidFill>
                  <a:srgbClr val="0078D7"/>
                </a:solidFill>
                <a:latin typeface="Segoe UI Semibold" panose="020B0702040204020203" pitchFamily="34" charset="0"/>
                <a:cs typeface="Segoe UI Semibold" panose="020B0702040204020203" pitchFamily="34" charset="0"/>
              </a:rPr>
              <a:t>PolyBase to query</a:t>
            </a:r>
            <a:r>
              <a:rPr lang="en-US" dirty="0"/>
              <a:t> Hadoop and </a:t>
            </a:r>
            <a:br>
              <a:rPr lang="en-US" dirty="0"/>
            </a:br>
            <a:r>
              <a:rPr lang="en-US" dirty="0"/>
              <a:t>DW together</a:t>
            </a:r>
          </a:p>
          <a:p>
            <a:pPr>
              <a:lnSpc>
                <a:spcPct val="100000"/>
              </a:lnSpc>
              <a:spcBef>
                <a:spcPts val="0"/>
              </a:spcBef>
              <a:spcAft>
                <a:spcPts val="1800"/>
              </a:spcAft>
              <a:defRPr/>
            </a:pPr>
            <a:r>
              <a:rPr lang="en-US" dirty="0"/>
              <a:t>PolyBase is </a:t>
            </a:r>
            <a:r>
              <a:rPr lang="en-US" dirty="0">
                <a:solidFill>
                  <a:srgbClr val="0078D7"/>
                </a:solidFill>
                <a:latin typeface="Segoe UI Semibold" panose="020B0702040204020203" pitchFamily="34" charset="0"/>
                <a:cs typeface="Segoe UI Semibold" panose="020B0702040204020203" pitchFamily="34" charset="0"/>
              </a:rPr>
              <a:t>built-in</a:t>
            </a:r>
            <a:r>
              <a:rPr lang="en-US" dirty="0"/>
              <a:t> to both SQL Server 2016 and APS with no additional costs</a:t>
            </a:r>
          </a:p>
        </p:txBody>
      </p:sp>
      <p:sp>
        <p:nvSpPr>
          <p:cNvPr id="3" name="Title 18"/>
          <p:cNvSpPr txBox="1">
            <a:spLocks/>
          </p:cNvSpPr>
          <p:nvPr/>
        </p:nvSpPr>
        <p:spPr>
          <a:xfrm>
            <a:off x="105117" y="75404"/>
            <a:ext cx="4797809" cy="36027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a:lnSpc>
                <a:spcPct val="100000"/>
              </a:lnSpc>
              <a:spcBef>
                <a:spcPts val="0"/>
              </a:spcBef>
              <a:defRPr/>
            </a:pPr>
            <a:r>
              <a:rPr lang="en-US" sz="1200" dirty="0">
                <a:solidFill>
                  <a:schemeClr val="tx1"/>
                </a:solidFill>
                <a:latin typeface="Segoe UI" panose="020B0502040204020203" pitchFamily="34" charset="0"/>
              </a:rPr>
              <a:t>BIG DATA ON-PREMISES</a:t>
            </a:r>
            <a:endParaRPr lang="en-US" dirty="0">
              <a:solidFill>
                <a:schemeClr val="tx1"/>
              </a:solidFill>
            </a:endParaRPr>
          </a:p>
        </p:txBody>
      </p:sp>
      <p:sp>
        <p:nvSpPr>
          <p:cNvPr id="33" name="TextBox 32"/>
          <p:cNvSpPr txBox="1"/>
          <p:nvPr/>
        </p:nvSpPr>
        <p:spPr>
          <a:xfrm>
            <a:off x="3887288" y="4606772"/>
            <a:ext cx="1113071" cy="645302"/>
          </a:xfrm>
          <a:prstGeom prst="rect">
            <a:avLst/>
          </a:prstGeom>
          <a:solidFill>
            <a:srgbClr val="F0F7FD"/>
          </a:solidFill>
        </p:spPr>
        <p:txBody>
          <a:bodyPr wrap="square" lIns="91440" tIns="0" rIns="91440" bIns="0" rtlCol="0" anchor="ctr">
            <a:noAutofit/>
          </a:bodyPr>
          <a:lstStyle/>
          <a:p>
            <a:pPr algn="ctr"/>
            <a:r>
              <a:rPr lang="en-US" sz="1000" dirty="0">
                <a:solidFill>
                  <a:schemeClr val="bg2"/>
                </a:solidFill>
                <a:cs typeface="Segoe UI" panose="020B0502040204020203" pitchFamily="34" charset="0"/>
              </a:rPr>
              <a:t>SQL Server 2016 or APS</a:t>
            </a:r>
          </a:p>
        </p:txBody>
      </p:sp>
      <p:sp>
        <p:nvSpPr>
          <p:cNvPr id="7" name="Rectangle 6"/>
          <p:cNvSpPr/>
          <p:nvPr/>
        </p:nvSpPr>
        <p:spPr>
          <a:xfrm>
            <a:off x="2766060" y="5252073"/>
            <a:ext cx="995796" cy="814053"/>
          </a:xfrm>
          <a:prstGeom prst="rect">
            <a:avLst/>
          </a:prstGeom>
          <a:solidFill>
            <a:srgbClr val="F0F7F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Bef>
                <a:spcPts val="200"/>
              </a:spcBef>
            </a:pPr>
            <a:r>
              <a:rPr lang="en-US" sz="1000" dirty="0">
                <a:solidFill>
                  <a:schemeClr val="bg2"/>
                </a:solidFill>
                <a:cs typeface="Segoe UI" panose="020B0502040204020203" pitchFamily="34" charset="0"/>
              </a:rPr>
              <a:t>Hortonworks</a:t>
            </a:r>
          </a:p>
          <a:p>
            <a:pPr>
              <a:spcBef>
                <a:spcPts val="200"/>
              </a:spcBef>
            </a:pPr>
            <a:r>
              <a:rPr lang="en-US" sz="1000" dirty="0">
                <a:solidFill>
                  <a:schemeClr val="bg2"/>
                </a:solidFill>
                <a:cs typeface="Segoe UI" panose="020B0502040204020203" pitchFamily="34" charset="0"/>
              </a:rPr>
              <a:t>Cloudera</a:t>
            </a:r>
          </a:p>
        </p:txBody>
      </p:sp>
      <p:grpSp>
        <p:nvGrpSpPr>
          <p:cNvPr id="8" name="Group 7"/>
          <p:cNvGrpSpPr/>
          <p:nvPr/>
        </p:nvGrpSpPr>
        <p:grpSpPr>
          <a:xfrm flipH="1">
            <a:off x="3403337" y="5574609"/>
            <a:ext cx="299276" cy="424771"/>
            <a:chOff x="480937" y="3786752"/>
            <a:chExt cx="708101" cy="1082111"/>
          </a:xfrm>
          <a:solidFill>
            <a:srgbClr val="0078D7"/>
          </a:solidFill>
        </p:grpSpPr>
        <p:sp>
          <p:nvSpPr>
            <p:cNvPr id="13" name="Rectangle 12"/>
            <p:cNvSpPr/>
            <p:nvPr/>
          </p:nvSpPr>
          <p:spPr bwMode="auto">
            <a:xfrm>
              <a:off x="515628" y="3819265"/>
              <a:ext cx="378333" cy="1692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1100" dirty="0">
                <a:solidFill>
                  <a:schemeClr val="bg2"/>
                </a:solidFill>
                <a:ea typeface="Segoe UI" pitchFamily="34" charset="0"/>
                <a:cs typeface="Segoe UI" pitchFamily="34" charset="0"/>
              </a:endParaRPr>
            </a:p>
          </p:txBody>
        </p:sp>
        <p:grpSp>
          <p:nvGrpSpPr>
            <p:cNvPr id="14" name="Group 13"/>
            <p:cNvGrpSpPr/>
            <p:nvPr/>
          </p:nvGrpSpPr>
          <p:grpSpPr>
            <a:xfrm>
              <a:off x="480937" y="3786752"/>
              <a:ext cx="708101" cy="1082111"/>
              <a:chOff x="537043" y="4136923"/>
              <a:chExt cx="1187061" cy="1814051"/>
            </a:xfrm>
            <a:grpFill/>
          </p:grpSpPr>
          <p:sp>
            <p:nvSpPr>
              <p:cNvPr id="15" name="Rectangle 30"/>
              <p:cNvSpPr/>
              <p:nvPr/>
            </p:nvSpPr>
            <p:spPr>
              <a:xfrm>
                <a:off x="1003226" y="4854116"/>
                <a:ext cx="720878" cy="1096858"/>
              </a:xfrm>
              <a:custGeom>
                <a:avLst/>
                <a:gdLst/>
                <a:ahLst/>
                <a:cxnLst/>
                <a:rect l="l" t="t" r="r" b="b"/>
                <a:pathLst>
                  <a:path w="720878" h="1096858">
                    <a:moveTo>
                      <a:pt x="398934" y="811889"/>
                    </a:moveTo>
                    <a:lnTo>
                      <a:pt x="398934" y="981222"/>
                    </a:lnTo>
                    <a:lnTo>
                      <a:pt x="562623" y="981222"/>
                    </a:lnTo>
                    <a:lnTo>
                      <a:pt x="562623" y="811889"/>
                    </a:lnTo>
                    <a:close/>
                    <a:moveTo>
                      <a:pt x="140837" y="811889"/>
                    </a:moveTo>
                    <a:lnTo>
                      <a:pt x="140837" y="981222"/>
                    </a:lnTo>
                    <a:lnTo>
                      <a:pt x="304526" y="981222"/>
                    </a:lnTo>
                    <a:lnTo>
                      <a:pt x="304526" y="811889"/>
                    </a:lnTo>
                    <a:close/>
                    <a:moveTo>
                      <a:pt x="398934" y="583580"/>
                    </a:moveTo>
                    <a:lnTo>
                      <a:pt x="398934" y="752913"/>
                    </a:lnTo>
                    <a:lnTo>
                      <a:pt x="562623" y="752913"/>
                    </a:lnTo>
                    <a:lnTo>
                      <a:pt x="562623" y="583580"/>
                    </a:lnTo>
                    <a:close/>
                    <a:moveTo>
                      <a:pt x="140837" y="583580"/>
                    </a:moveTo>
                    <a:lnTo>
                      <a:pt x="140837" y="752913"/>
                    </a:lnTo>
                    <a:lnTo>
                      <a:pt x="304526" y="752913"/>
                    </a:lnTo>
                    <a:lnTo>
                      <a:pt x="304526" y="583580"/>
                    </a:lnTo>
                    <a:close/>
                    <a:moveTo>
                      <a:pt x="398934" y="362353"/>
                    </a:moveTo>
                    <a:lnTo>
                      <a:pt x="398934" y="531686"/>
                    </a:lnTo>
                    <a:lnTo>
                      <a:pt x="562623" y="531686"/>
                    </a:lnTo>
                    <a:lnTo>
                      <a:pt x="562623" y="362353"/>
                    </a:lnTo>
                    <a:close/>
                    <a:moveTo>
                      <a:pt x="140837" y="362353"/>
                    </a:moveTo>
                    <a:lnTo>
                      <a:pt x="140837" y="531686"/>
                    </a:lnTo>
                    <a:lnTo>
                      <a:pt x="304526" y="531686"/>
                    </a:lnTo>
                    <a:lnTo>
                      <a:pt x="304526" y="362353"/>
                    </a:lnTo>
                    <a:close/>
                    <a:moveTo>
                      <a:pt x="398934" y="121463"/>
                    </a:moveTo>
                    <a:lnTo>
                      <a:pt x="398934" y="290796"/>
                    </a:lnTo>
                    <a:lnTo>
                      <a:pt x="562623" y="290796"/>
                    </a:lnTo>
                    <a:lnTo>
                      <a:pt x="562623" y="121463"/>
                    </a:lnTo>
                    <a:close/>
                    <a:moveTo>
                      <a:pt x="140837" y="121463"/>
                    </a:moveTo>
                    <a:lnTo>
                      <a:pt x="140837" y="290796"/>
                    </a:lnTo>
                    <a:lnTo>
                      <a:pt x="304526" y="290796"/>
                    </a:lnTo>
                    <a:lnTo>
                      <a:pt x="304526" y="121463"/>
                    </a:lnTo>
                    <a:close/>
                    <a:moveTo>
                      <a:pt x="0" y="0"/>
                    </a:moveTo>
                    <a:lnTo>
                      <a:pt x="720878" y="0"/>
                    </a:lnTo>
                    <a:lnTo>
                      <a:pt x="720878" y="1096858"/>
                    </a:lnTo>
                    <a:lnTo>
                      <a:pt x="0" y="1096858"/>
                    </a:lnTo>
                    <a:close/>
                  </a:path>
                </a:pathLst>
              </a:custGeom>
              <a:grpFill/>
              <a:ln w="25400" cap="flat" cmpd="sng" algn="ctr">
                <a:noFill/>
                <a:prstDash val="solid"/>
              </a:ln>
              <a:effectLst/>
            </p:spPr>
            <p:txBody>
              <a:bodyPr rtlCol="0" anchor="ctr"/>
              <a:lstStyle/>
              <a:p>
                <a:pPr algn="ctr">
                  <a:defRPr/>
                </a:pPr>
                <a:endParaRPr lang="en-US" sz="1000" kern="0" dirty="0">
                  <a:solidFill>
                    <a:schemeClr val="bg2"/>
                  </a:solidFill>
                </a:endParaRPr>
              </a:p>
            </p:txBody>
          </p:sp>
          <p:sp>
            <p:nvSpPr>
              <p:cNvPr id="16" name="Rectangle 31"/>
              <p:cNvSpPr/>
              <p:nvPr/>
            </p:nvSpPr>
            <p:spPr>
              <a:xfrm>
                <a:off x="537043" y="4136923"/>
                <a:ext cx="766917" cy="1814051"/>
              </a:xfrm>
              <a:custGeom>
                <a:avLst/>
                <a:gdLst/>
                <a:ahLst/>
                <a:cxnLst/>
                <a:rect l="l" t="t" r="r" b="b"/>
                <a:pathLst>
                  <a:path w="766916" h="1814051">
                    <a:moveTo>
                      <a:pt x="167877" y="1280651"/>
                    </a:moveTo>
                    <a:lnTo>
                      <a:pt x="167877" y="1449984"/>
                    </a:lnTo>
                    <a:lnTo>
                      <a:pt x="331566" y="1449984"/>
                    </a:lnTo>
                    <a:lnTo>
                      <a:pt x="331566" y="1280651"/>
                    </a:lnTo>
                    <a:close/>
                    <a:moveTo>
                      <a:pt x="167877" y="1066800"/>
                    </a:moveTo>
                    <a:lnTo>
                      <a:pt x="167877" y="1236133"/>
                    </a:lnTo>
                    <a:lnTo>
                      <a:pt x="331566" y="1236133"/>
                    </a:lnTo>
                    <a:lnTo>
                      <a:pt x="331566" y="1066800"/>
                    </a:lnTo>
                    <a:close/>
                    <a:moveTo>
                      <a:pt x="167877" y="838200"/>
                    </a:moveTo>
                    <a:lnTo>
                      <a:pt x="167877" y="1007533"/>
                    </a:lnTo>
                    <a:lnTo>
                      <a:pt x="331566" y="1007533"/>
                    </a:lnTo>
                    <a:lnTo>
                      <a:pt x="331566" y="838200"/>
                    </a:lnTo>
                    <a:close/>
                    <a:moveTo>
                      <a:pt x="167877" y="599477"/>
                    </a:moveTo>
                    <a:lnTo>
                      <a:pt x="167877" y="768810"/>
                    </a:lnTo>
                    <a:lnTo>
                      <a:pt x="331566" y="768810"/>
                    </a:lnTo>
                    <a:lnTo>
                      <a:pt x="331566" y="599477"/>
                    </a:lnTo>
                    <a:close/>
                    <a:moveTo>
                      <a:pt x="433348" y="366252"/>
                    </a:moveTo>
                    <a:lnTo>
                      <a:pt x="433348" y="535585"/>
                    </a:lnTo>
                    <a:lnTo>
                      <a:pt x="597037" y="535585"/>
                    </a:lnTo>
                    <a:lnTo>
                      <a:pt x="597037" y="366252"/>
                    </a:lnTo>
                    <a:close/>
                    <a:moveTo>
                      <a:pt x="167877" y="366251"/>
                    </a:moveTo>
                    <a:lnTo>
                      <a:pt x="167877" y="535584"/>
                    </a:lnTo>
                    <a:lnTo>
                      <a:pt x="331566" y="535584"/>
                    </a:lnTo>
                    <a:lnTo>
                      <a:pt x="331566" y="366251"/>
                    </a:lnTo>
                    <a:close/>
                    <a:moveTo>
                      <a:pt x="433348" y="130277"/>
                    </a:moveTo>
                    <a:lnTo>
                      <a:pt x="433348" y="299610"/>
                    </a:lnTo>
                    <a:lnTo>
                      <a:pt x="597037" y="299610"/>
                    </a:lnTo>
                    <a:lnTo>
                      <a:pt x="597037" y="130277"/>
                    </a:lnTo>
                    <a:close/>
                    <a:moveTo>
                      <a:pt x="167876" y="130277"/>
                    </a:moveTo>
                    <a:lnTo>
                      <a:pt x="167876" y="299610"/>
                    </a:lnTo>
                    <a:lnTo>
                      <a:pt x="331565" y="299610"/>
                    </a:lnTo>
                    <a:lnTo>
                      <a:pt x="331565" y="130277"/>
                    </a:lnTo>
                    <a:close/>
                    <a:moveTo>
                      <a:pt x="0" y="0"/>
                    </a:moveTo>
                    <a:lnTo>
                      <a:pt x="766916" y="0"/>
                    </a:lnTo>
                    <a:lnTo>
                      <a:pt x="766916" y="661479"/>
                    </a:lnTo>
                    <a:lnTo>
                      <a:pt x="406219" y="661479"/>
                    </a:lnTo>
                    <a:lnTo>
                      <a:pt x="406219" y="1814051"/>
                    </a:lnTo>
                    <a:lnTo>
                      <a:pt x="0" y="1814051"/>
                    </a:lnTo>
                    <a:close/>
                  </a:path>
                </a:pathLst>
              </a:custGeom>
              <a:grpFill/>
              <a:ln w="25400" cap="flat" cmpd="sng" algn="ctr">
                <a:noFill/>
                <a:prstDash val="solid"/>
              </a:ln>
              <a:effectLst/>
            </p:spPr>
            <p:txBody>
              <a:bodyPr rtlCol="0" anchor="ctr"/>
              <a:lstStyle/>
              <a:p>
                <a:pPr algn="ctr">
                  <a:defRPr/>
                </a:pPr>
                <a:endParaRPr lang="en-US" sz="1000" kern="0" dirty="0">
                  <a:solidFill>
                    <a:schemeClr val="bg2"/>
                  </a:solidFill>
                </a:endParaRPr>
              </a:p>
            </p:txBody>
          </p:sp>
        </p:grpSp>
      </p:grpSp>
      <p:grpSp>
        <p:nvGrpSpPr>
          <p:cNvPr id="9" name="Group 8"/>
          <p:cNvGrpSpPr/>
          <p:nvPr/>
        </p:nvGrpSpPr>
        <p:grpSpPr>
          <a:xfrm>
            <a:off x="3118358" y="5788956"/>
            <a:ext cx="232016" cy="210424"/>
            <a:chOff x="1808098" y="4081829"/>
            <a:chExt cx="919957" cy="726089"/>
          </a:xfrm>
          <a:solidFill>
            <a:srgbClr val="0078D7"/>
          </a:solidFill>
        </p:grpSpPr>
        <p:sp>
          <p:nvSpPr>
            <p:cNvPr id="10" name="Freeform 5"/>
            <p:cNvSpPr>
              <a:spLocks noEditPoints="1"/>
            </p:cNvSpPr>
            <p:nvPr/>
          </p:nvSpPr>
          <p:spPr bwMode="auto">
            <a:xfrm>
              <a:off x="1808098" y="4332394"/>
              <a:ext cx="919957" cy="223131"/>
            </a:xfrm>
            <a:custGeom>
              <a:avLst/>
              <a:gdLst>
                <a:gd name="T0" fmla="*/ 197 w 210"/>
                <a:gd name="T1" fmla="*/ 51 h 51"/>
                <a:gd name="T2" fmla="*/ 210 w 210"/>
                <a:gd name="T3" fmla="*/ 12 h 51"/>
                <a:gd name="T4" fmla="*/ 14 w 210"/>
                <a:gd name="T5" fmla="*/ 0 h 51"/>
                <a:gd name="T6" fmla="*/ 0 w 210"/>
                <a:gd name="T7" fmla="*/ 39 h 51"/>
                <a:gd name="T8" fmla="*/ 181 w 210"/>
                <a:gd name="T9" fmla="*/ 16 h 51"/>
                <a:gd name="T10" fmla="*/ 181 w 210"/>
                <a:gd name="T11" fmla="*/ 35 h 51"/>
                <a:gd name="T12" fmla="*/ 181 w 210"/>
                <a:gd name="T13" fmla="*/ 16 h 51"/>
                <a:gd name="T14" fmla="*/ 114 w 210"/>
                <a:gd name="T15" fmla="*/ 9 h 51"/>
                <a:gd name="T16" fmla="*/ 106 w 210"/>
                <a:gd name="T17" fmla="*/ 17 h 51"/>
                <a:gd name="T18" fmla="*/ 106 w 210"/>
                <a:gd name="T19" fmla="*/ 22 h 51"/>
                <a:gd name="T20" fmla="*/ 114 w 210"/>
                <a:gd name="T21" fmla="*/ 29 h 51"/>
                <a:gd name="T22" fmla="*/ 106 w 210"/>
                <a:gd name="T23" fmla="*/ 22 h 51"/>
                <a:gd name="T24" fmla="*/ 114 w 210"/>
                <a:gd name="T25" fmla="*/ 34 h 51"/>
                <a:gd name="T26" fmla="*/ 106 w 210"/>
                <a:gd name="T27" fmla="*/ 42 h 51"/>
                <a:gd name="T28" fmla="*/ 90 w 210"/>
                <a:gd name="T29" fmla="*/ 9 h 51"/>
                <a:gd name="T30" fmla="*/ 99 w 210"/>
                <a:gd name="T31" fmla="*/ 17 h 51"/>
                <a:gd name="T32" fmla="*/ 90 w 210"/>
                <a:gd name="T33" fmla="*/ 9 h 51"/>
                <a:gd name="T34" fmla="*/ 99 w 210"/>
                <a:gd name="T35" fmla="*/ 22 h 51"/>
                <a:gd name="T36" fmla="*/ 90 w 210"/>
                <a:gd name="T37" fmla="*/ 29 h 51"/>
                <a:gd name="T38" fmla="*/ 90 w 210"/>
                <a:gd name="T39" fmla="*/ 34 h 51"/>
                <a:gd name="T40" fmla="*/ 99 w 210"/>
                <a:gd name="T41" fmla="*/ 42 h 51"/>
                <a:gd name="T42" fmla="*/ 90 w 210"/>
                <a:gd name="T43" fmla="*/ 34 h 51"/>
                <a:gd name="T44" fmla="*/ 83 w 210"/>
                <a:gd name="T45" fmla="*/ 9 h 51"/>
                <a:gd name="T46" fmla="*/ 75 w 210"/>
                <a:gd name="T47" fmla="*/ 17 h 51"/>
                <a:gd name="T48" fmla="*/ 75 w 210"/>
                <a:gd name="T49" fmla="*/ 22 h 51"/>
                <a:gd name="T50" fmla="*/ 83 w 210"/>
                <a:gd name="T51" fmla="*/ 29 h 51"/>
                <a:gd name="T52" fmla="*/ 75 w 210"/>
                <a:gd name="T53" fmla="*/ 22 h 51"/>
                <a:gd name="T54" fmla="*/ 83 w 210"/>
                <a:gd name="T55" fmla="*/ 34 h 51"/>
                <a:gd name="T56" fmla="*/ 75 w 210"/>
                <a:gd name="T57" fmla="*/ 42 h 51"/>
                <a:gd name="T58" fmla="*/ 60 w 210"/>
                <a:gd name="T59" fmla="*/ 9 h 51"/>
                <a:gd name="T60" fmla="*/ 68 w 210"/>
                <a:gd name="T61" fmla="*/ 17 h 51"/>
                <a:gd name="T62" fmla="*/ 60 w 210"/>
                <a:gd name="T63" fmla="*/ 9 h 51"/>
                <a:gd name="T64" fmla="*/ 68 w 210"/>
                <a:gd name="T65" fmla="*/ 22 h 51"/>
                <a:gd name="T66" fmla="*/ 60 w 210"/>
                <a:gd name="T67" fmla="*/ 29 h 51"/>
                <a:gd name="T68" fmla="*/ 60 w 210"/>
                <a:gd name="T69" fmla="*/ 34 h 51"/>
                <a:gd name="T70" fmla="*/ 68 w 210"/>
                <a:gd name="T71" fmla="*/ 42 h 51"/>
                <a:gd name="T72" fmla="*/ 60 w 210"/>
                <a:gd name="T73" fmla="*/ 34 h 51"/>
                <a:gd name="T74" fmla="*/ 52 w 210"/>
                <a:gd name="T75" fmla="*/ 9 h 51"/>
                <a:gd name="T76" fmla="*/ 44 w 210"/>
                <a:gd name="T77" fmla="*/ 17 h 51"/>
                <a:gd name="T78" fmla="*/ 44 w 210"/>
                <a:gd name="T79" fmla="*/ 22 h 51"/>
                <a:gd name="T80" fmla="*/ 52 w 210"/>
                <a:gd name="T81" fmla="*/ 29 h 51"/>
                <a:gd name="T82" fmla="*/ 44 w 210"/>
                <a:gd name="T83" fmla="*/ 22 h 51"/>
                <a:gd name="T84" fmla="*/ 52 w 210"/>
                <a:gd name="T85" fmla="*/ 34 h 51"/>
                <a:gd name="T86" fmla="*/ 44 w 210"/>
                <a:gd name="T87" fmla="*/ 42 h 51"/>
                <a:gd name="T88" fmla="*/ 29 w 210"/>
                <a:gd name="T89" fmla="*/ 9 h 51"/>
                <a:gd name="T90" fmla="*/ 37 w 210"/>
                <a:gd name="T91" fmla="*/ 17 h 51"/>
                <a:gd name="T92" fmla="*/ 29 w 210"/>
                <a:gd name="T93" fmla="*/ 9 h 51"/>
                <a:gd name="T94" fmla="*/ 37 w 210"/>
                <a:gd name="T95" fmla="*/ 22 h 51"/>
                <a:gd name="T96" fmla="*/ 29 w 210"/>
                <a:gd name="T97" fmla="*/ 29 h 51"/>
                <a:gd name="T98" fmla="*/ 29 w 210"/>
                <a:gd name="T99" fmla="*/ 34 h 51"/>
                <a:gd name="T100" fmla="*/ 37 w 210"/>
                <a:gd name="T101" fmla="*/ 42 h 51"/>
                <a:gd name="T102" fmla="*/ 29 w 210"/>
                <a:gd name="T103" fmla="*/ 34 h 51"/>
                <a:gd name="T104" fmla="*/ 22 w 210"/>
                <a:gd name="T105" fmla="*/ 9 h 51"/>
                <a:gd name="T106" fmla="*/ 13 w 210"/>
                <a:gd name="T107" fmla="*/ 17 h 51"/>
                <a:gd name="T108" fmla="*/ 13 w 210"/>
                <a:gd name="T109" fmla="*/ 22 h 51"/>
                <a:gd name="T110" fmla="*/ 22 w 210"/>
                <a:gd name="T111" fmla="*/ 29 h 51"/>
                <a:gd name="T112" fmla="*/ 13 w 210"/>
                <a:gd name="T113" fmla="*/ 22 h 51"/>
                <a:gd name="T114" fmla="*/ 22 w 210"/>
                <a:gd name="T115" fmla="*/ 34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39"/>
                  </a:cubicBezTo>
                  <a:cubicBezTo>
                    <a:pt x="210" y="12"/>
                    <a:pt x="210" y="12"/>
                    <a:pt x="210" y="12"/>
                  </a:cubicBezTo>
                  <a:cubicBezTo>
                    <a:pt x="210" y="5"/>
                    <a:pt x="204" y="0"/>
                    <a:pt x="197" y="0"/>
                  </a:cubicBezTo>
                  <a:cubicBezTo>
                    <a:pt x="14" y="0"/>
                    <a:pt x="14" y="0"/>
                    <a:pt x="14" y="0"/>
                  </a:cubicBezTo>
                  <a:cubicBezTo>
                    <a:pt x="6" y="0"/>
                    <a:pt x="0" y="5"/>
                    <a:pt x="0" y="12"/>
                  </a:cubicBezTo>
                  <a:cubicBezTo>
                    <a:pt x="0" y="39"/>
                    <a:pt x="0" y="39"/>
                    <a:pt x="0" y="39"/>
                  </a:cubicBezTo>
                  <a:cubicBezTo>
                    <a:pt x="0" y="46"/>
                    <a:pt x="6" y="51"/>
                    <a:pt x="14" y="51"/>
                  </a:cubicBezTo>
                  <a:close/>
                  <a:moveTo>
                    <a:pt x="181" y="16"/>
                  </a:moveTo>
                  <a:cubicBezTo>
                    <a:pt x="187" y="16"/>
                    <a:pt x="192" y="20"/>
                    <a:pt x="192" y="26"/>
                  </a:cubicBezTo>
                  <a:cubicBezTo>
                    <a:pt x="192" y="31"/>
                    <a:pt x="187" y="35"/>
                    <a:pt x="181" y="35"/>
                  </a:cubicBezTo>
                  <a:cubicBezTo>
                    <a:pt x="175" y="35"/>
                    <a:pt x="171" y="31"/>
                    <a:pt x="171" y="26"/>
                  </a:cubicBezTo>
                  <a:cubicBezTo>
                    <a:pt x="171" y="20"/>
                    <a:pt x="175" y="16"/>
                    <a:pt x="181" y="16"/>
                  </a:cubicBezTo>
                  <a:close/>
                  <a:moveTo>
                    <a:pt x="106" y="9"/>
                  </a:moveTo>
                  <a:cubicBezTo>
                    <a:pt x="114" y="9"/>
                    <a:pt x="114" y="9"/>
                    <a:pt x="114" y="9"/>
                  </a:cubicBezTo>
                  <a:cubicBezTo>
                    <a:pt x="114" y="17"/>
                    <a:pt x="114" y="17"/>
                    <a:pt x="114" y="17"/>
                  </a:cubicBezTo>
                  <a:cubicBezTo>
                    <a:pt x="106" y="17"/>
                    <a:pt x="106" y="17"/>
                    <a:pt x="106" y="17"/>
                  </a:cubicBezTo>
                  <a:lnTo>
                    <a:pt x="106" y="9"/>
                  </a:lnTo>
                  <a:close/>
                  <a:moveTo>
                    <a:pt x="106" y="22"/>
                  </a:moveTo>
                  <a:cubicBezTo>
                    <a:pt x="114" y="22"/>
                    <a:pt x="114" y="22"/>
                    <a:pt x="114" y="22"/>
                  </a:cubicBezTo>
                  <a:cubicBezTo>
                    <a:pt x="114" y="29"/>
                    <a:pt x="114" y="29"/>
                    <a:pt x="114" y="29"/>
                  </a:cubicBezTo>
                  <a:cubicBezTo>
                    <a:pt x="106" y="29"/>
                    <a:pt x="106" y="29"/>
                    <a:pt x="106" y="29"/>
                  </a:cubicBezTo>
                  <a:lnTo>
                    <a:pt x="106" y="22"/>
                  </a:lnTo>
                  <a:close/>
                  <a:moveTo>
                    <a:pt x="106" y="34"/>
                  </a:moveTo>
                  <a:cubicBezTo>
                    <a:pt x="114" y="34"/>
                    <a:pt x="114" y="34"/>
                    <a:pt x="114" y="34"/>
                  </a:cubicBezTo>
                  <a:cubicBezTo>
                    <a:pt x="114" y="42"/>
                    <a:pt x="114" y="42"/>
                    <a:pt x="114" y="42"/>
                  </a:cubicBezTo>
                  <a:cubicBezTo>
                    <a:pt x="106" y="42"/>
                    <a:pt x="106" y="42"/>
                    <a:pt x="106" y="42"/>
                  </a:cubicBezTo>
                  <a:lnTo>
                    <a:pt x="106" y="34"/>
                  </a:lnTo>
                  <a:close/>
                  <a:moveTo>
                    <a:pt x="90" y="9"/>
                  </a:moveTo>
                  <a:cubicBezTo>
                    <a:pt x="99" y="9"/>
                    <a:pt x="99" y="9"/>
                    <a:pt x="99" y="9"/>
                  </a:cubicBezTo>
                  <a:cubicBezTo>
                    <a:pt x="99" y="17"/>
                    <a:pt x="99" y="17"/>
                    <a:pt x="99" y="17"/>
                  </a:cubicBezTo>
                  <a:cubicBezTo>
                    <a:pt x="90" y="17"/>
                    <a:pt x="90" y="17"/>
                    <a:pt x="90" y="17"/>
                  </a:cubicBezTo>
                  <a:lnTo>
                    <a:pt x="90" y="9"/>
                  </a:lnTo>
                  <a:close/>
                  <a:moveTo>
                    <a:pt x="90" y="22"/>
                  </a:moveTo>
                  <a:cubicBezTo>
                    <a:pt x="99" y="22"/>
                    <a:pt x="99" y="22"/>
                    <a:pt x="99" y="22"/>
                  </a:cubicBezTo>
                  <a:cubicBezTo>
                    <a:pt x="99" y="29"/>
                    <a:pt x="99" y="29"/>
                    <a:pt x="99" y="29"/>
                  </a:cubicBezTo>
                  <a:cubicBezTo>
                    <a:pt x="90" y="29"/>
                    <a:pt x="90" y="29"/>
                    <a:pt x="90" y="29"/>
                  </a:cubicBezTo>
                  <a:lnTo>
                    <a:pt x="90" y="22"/>
                  </a:lnTo>
                  <a:close/>
                  <a:moveTo>
                    <a:pt x="90" y="34"/>
                  </a:moveTo>
                  <a:cubicBezTo>
                    <a:pt x="99" y="34"/>
                    <a:pt x="99" y="34"/>
                    <a:pt x="99" y="34"/>
                  </a:cubicBezTo>
                  <a:cubicBezTo>
                    <a:pt x="99" y="42"/>
                    <a:pt x="99" y="42"/>
                    <a:pt x="99" y="42"/>
                  </a:cubicBezTo>
                  <a:cubicBezTo>
                    <a:pt x="90" y="42"/>
                    <a:pt x="90" y="42"/>
                    <a:pt x="90" y="42"/>
                  </a:cubicBezTo>
                  <a:lnTo>
                    <a:pt x="90" y="34"/>
                  </a:lnTo>
                  <a:close/>
                  <a:moveTo>
                    <a:pt x="75" y="9"/>
                  </a:moveTo>
                  <a:cubicBezTo>
                    <a:pt x="83" y="9"/>
                    <a:pt x="83" y="9"/>
                    <a:pt x="83" y="9"/>
                  </a:cubicBezTo>
                  <a:cubicBezTo>
                    <a:pt x="83" y="17"/>
                    <a:pt x="83" y="17"/>
                    <a:pt x="83" y="17"/>
                  </a:cubicBezTo>
                  <a:cubicBezTo>
                    <a:pt x="75" y="17"/>
                    <a:pt x="75" y="17"/>
                    <a:pt x="75" y="17"/>
                  </a:cubicBezTo>
                  <a:lnTo>
                    <a:pt x="75" y="9"/>
                  </a:lnTo>
                  <a:close/>
                  <a:moveTo>
                    <a:pt x="75" y="22"/>
                  </a:moveTo>
                  <a:cubicBezTo>
                    <a:pt x="83" y="22"/>
                    <a:pt x="83" y="22"/>
                    <a:pt x="83" y="22"/>
                  </a:cubicBezTo>
                  <a:cubicBezTo>
                    <a:pt x="83" y="29"/>
                    <a:pt x="83" y="29"/>
                    <a:pt x="83" y="29"/>
                  </a:cubicBezTo>
                  <a:cubicBezTo>
                    <a:pt x="75" y="29"/>
                    <a:pt x="75" y="29"/>
                    <a:pt x="75" y="29"/>
                  </a:cubicBezTo>
                  <a:lnTo>
                    <a:pt x="75" y="22"/>
                  </a:lnTo>
                  <a:close/>
                  <a:moveTo>
                    <a:pt x="75" y="34"/>
                  </a:moveTo>
                  <a:cubicBezTo>
                    <a:pt x="83" y="34"/>
                    <a:pt x="83" y="34"/>
                    <a:pt x="83" y="34"/>
                  </a:cubicBezTo>
                  <a:cubicBezTo>
                    <a:pt x="83" y="42"/>
                    <a:pt x="83" y="42"/>
                    <a:pt x="83" y="42"/>
                  </a:cubicBezTo>
                  <a:cubicBezTo>
                    <a:pt x="75" y="42"/>
                    <a:pt x="75" y="42"/>
                    <a:pt x="75" y="42"/>
                  </a:cubicBezTo>
                  <a:lnTo>
                    <a:pt x="75" y="34"/>
                  </a:lnTo>
                  <a:close/>
                  <a:moveTo>
                    <a:pt x="60" y="9"/>
                  </a:moveTo>
                  <a:cubicBezTo>
                    <a:pt x="68" y="9"/>
                    <a:pt x="68" y="9"/>
                    <a:pt x="68" y="9"/>
                  </a:cubicBezTo>
                  <a:cubicBezTo>
                    <a:pt x="68" y="17"/>
                    <a:pt x="68" y="17"/>
                    <a:pt x="68" y="17"/>
                  </a:cubicBezTo>
                  <a:cubicBezTo>
                    <a:pt x="60" y="17"/>
                    <a:pt x="60" y="17"/>
                    <a:pt x="60" y="17"/>
                  </a:cubicBezTo>
                  <a:lnTo>
                    <a:pt x="60" y="9"/>
                  </a:lnTo>
                  <a:close/>
                  <a:moveTo>
                    <a:pt x="60" y="22"/>
                  </a:moveTo>
                  <a:cubicBezTo>
                    <a:pt x="68" y="22"/>
                    <a:pt x="68" y="22"/>
                    <a:pt x="68" y="22"/>
                  </a:cubicBezTo>
                  <a:cubicBezTo>
                    <a:pt x="68" y="29"/>
                    <a:pt x="68" y="29"/>
                    <a:pt x="68" y="29"/>
                  </a:cubicBezTo>
                  <a:cubicBezTo>
                    <a:pt x="60" y="29"/>
                    <a:pt x="60" y="29"/>
                    <a:pt x="60" y="29"/>
                  </a:cubicBezTo>
                  <a:lnTo>
                    <a:pt x="60" y="22"/>
                  </a:lnTo>
                  <a:close/>
                  <a:moveTo>
                    <a:pt x="60" y="34"/>
                  </a:moveTo>
                  <a:cubicBezTo>
                    <a:pt x="68" y="34"/>
                    <a:pt x="68" y="34"/>
                    <a:pt x="68" y="34"/>
                  </a:cubicBezTo>
                  <a:cubicBezTo>
                    <a:pt x="68" y="42"/>
                    <a:pt x="68" y="42"/>
                    <a:pt x="68" y="42"/>
                  </a:cubicBezTo>
                  <a:cubicBezTo>
                    <a:pt x="60" y="42"/>
                    <a:pt x="60" y="42"/>
                    <a:pt x="60" y="42"/>
                  </a:cubicBezTo>
                  <a:lnTo>
                    <a:pt x="60" y="34"/>
                  </a:lnTo>
                  <a:close/>
                  <a:moveTo>
                    <a:pt x="44" y="9"/>
                  </a:moveTo>
                  <a:cubicBezTo>
                    <a:pt x="52" y="9"/>
                    <a:pt x="52" y="9"/>
                    <a:pt x="52" y="9"/>
                  </a:cubicBezTo>
                  <a:cubicBezTo>
                    <a:pt x="52" y="17"/>
                    <a:pt x="52" y="17"/>
                    <a:pt x="52" y="17"/>
                  </a:cubicBezTo>
                  <a:cubicBezTo>
                    <a:pt x="44" y="17"/>
                    <a:pt x="44" y="17"/>
                    <a:pt x="44" y="17"/>
                  </a:cubicBezTo>
                  <a:lnTo>
                    <a:pt x="44" y="9"/>
                  </a:lnTo>
                  <a:close/>
                  <a:moveTo>
                    <a:pt x="44" y="22"/>
                  </a:moveTo>
                  <a:cubicBezTo>
                    <a:pt x="52" y="22"/>
                    <a:pt x="52" y="22"/>
                    <a:pt x="52" y="22"/>
                  </a:cubicBezTo>
                  <a:cubicBezTo>
                    <a:pt x="52" y="29"/>
                    <a:pt x="52" y="29"/>
                    <a:pt x="52" y="29"/>
                  </a:cubicBezTo>
                  <a:cubicBezTo>
                    <a:pt x="44" y="29"/>
                    <a:pt x="44" y="29"/>
                    <a:pt x="44" y="29"/>
                  </a:cubicBezTo>
                  <a:lnTo>
                    <a:pt x="44" y="22"/>
                  </a:lnTo>
                  <a:close/>
                  <a:moveTo>
                    <a:pt x="44" y="34"/>
                  </a:moveTo>
                  <a:cubicBezTo>
                    <a:pt x="52" y="34"/>
                    <a:pt x="52" y="34"/>
                    <a:pt x="52" y="34"/>
                  </a:cubicBezTo>
                  <a:cubicBezTo>
                    <a:pt x="52" y="42"/>
                    <a:pt x="52" y="42"/>
                    <a:pt x="52" y="42"/>
                  </a:cubicBezTo>
                  <a:cubicBezTo>
                    <a:pt x="44" y="42"/>
                    <a:pt x="44" y="42"/>
                    <a:pt x="44" y="42"/>
                  </a:cubicBezTo>
                  <a:lnTo>
                    <a:pt x="44" y="34"/>
                  </a:lnTo>
                  <a:close/>
                  <a:moveTo>
                    <a:pt x="29" y="9"/>
                  </a:moveTo>
                  <a:cubicBezTo>
                    <a:pt x="37" y="9"/>
                    <a:pt x="37" y="9"/>
                    <a:pt x="37" y="9"/>
                  </a:cubicBezTo>
                  <a:cubicBezTo>
                    <a:pt x="37" y="17"/>
                    <a:pt x="37" y="17"/>
                    <a:pt x="37" y="17"/>
                  </a:cubicBezTo>
                  <a:cubicBezTo>
                    <a:pt x="29" y="17"/>
                    <a:pt x="29" y="17"/>
                    <a:pt x="29" y="17"/>
                  </a:cubicBezTo>
                  <a:lnTo>
                    <a:pt x="29" y="9"/>
                  </a:lnTo>
                  <a:close/>
                  <a:moveTo>
                    <a:pt x="29" y="22"/>
                  </a:moveTo>
                  <a:cubicBezTo>
                    <a:pt x="37" y="22"/>
                    <a:pt x="37" y="22"/>
                    <a:pt x="37" y="22"/>
                  </a:cubicBezTo>
                  <a:cubicBezTo>
                    <a:pt x="37" y="29"/>
                    <a:pt x="37" y="29"/>
                    <a:pt x="37" y="29"/>
                  </a:cubicBezTo>
                  <a:cubicBezTo>
                    <a:pt x="29" y="29"/>
                    <a:pt x="29" y="29"/>
                    <a:pt x="29" y="29"/>
                  </a:cubicBezTo>
                  <a:lnTo>
                    <a:pt x="29" y="22"/>
                  </a:lnTo>
                  <a:close/>
                  <a:moveTo>
                    <a:pt x="29" y="34"/>
                  </a:moveTo>
                  <a:cubicBezTo>
                    <a:pt x="37" y="34"/>
                    <a:pt x="37" y="34"/>
                    <a:pt x="37" y="34"/>
                  </a:cubicBezTo>
                  <a:cubicBezTo>
                    <a:pt x="37" y="42"/>
                    <a:pt x="37" y="42"/>
                    <a:pt x="37" y="42"/>
                  </a:cubicBezTo>
                  <a:cubicBezTo>
                    <a:pt x="29" y="42"/>
                    <a:pt x="29" y="42"/>
                    <a:pt x="29" y="42"/>
                  </a:cubicBezTo>
                  <a:lnTo>
                    <a:pt x="29" y="34"/>
                  </a:lnTo>
                  <a:close/>
                  <a:moveTo>
                    <a:pt x="13" y="9"/>
                  </a:moveTo>
                  <a:cubicBezTo>
                    <a:pt x="22" y="9"/>
                    <a:pt x="22" y="9"/>
                    <a:pt x="22" y="9"/>
                  </a:cubicBezTo>
                  <a:cubicBezTo>
                    <a:pt x="22" y="17"/>
                    <a:pt x="22" y="17"/>
                    <a:pt x="22" y="17"/>
                  </a:cubicBezTo>
                  <a:cubicBezTo>
                    <a:pt x="13" y="17"/>
                    <a:pt x="13" y="17"/>
                    <a:pt x="13" y="17"/>
                  </a:cubicBezTo>
                  <a:lnTo>
                    <a:pt x="13" y="9"/>
                  </a:lnTo>
                  <a:close/>
                  <a:moveTo>
                    <a:pt x="13" y="22"/>
                  </a:moveTo>
                  <a:cubicBezTo>
                    <a:pt x="22" y="22"/>
                    <a:pt x="22" y="22"/>
                    <a:pt x="22" y="22"/>
                  </a:cubicBezTo>
                  <a:cubicBezTo>
                    <a:pt x="22" y="29"/>
                    <a:pt x="22" y="29"/>
                    <a:pt x="22" y="29"/>
                  </a:cubicBezTo>
                  <a:cubicBezTo>
                    <a:pt x="13" y="29"/>
                    <a:pt x="13" y="29"/>
                    <a:pt x="13" y="29"/>
                  </a:cubicBezTo>
                  <a:lnTo>
                    <a:pt x="13" y="22"/>
                  </a:lnTo>
                  <a:close/>
                  <a:moveTo>
                    <a:pt x="13" y="34"/>
                  </a:moveTo>
                  <a:cubicBezTo>
                    <a:pt x="22" y="34"/>
                    <a:pt x="22" y="34"/>
                    <a:pt x="22" y="34"/>
                  </a:cubicBezTo>
                  <a:cubicBezTo>
                    <a:pt x="22" y="42"/>
                    <a:pt x="22" y="42"/>
                    <a:pt x="22" y="42"/>
                  </a:cubicBezTo>
                  <a:cubicBezTo>
                    <a:pt x="13" y="42"/>
                    <a:pt x="13" y="42"/>
                    <a:pt x="13" y="42"/>
                  </a:cubicBezTo>
                  <a:lnTo>
                    <a:pt x="13" y="3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000" dirty="0">
                <a:solidFill>
                  <a:schemeClr val="bg2"/>
                </a:solidFill>
              </a:endParaRPr>
            </a:p>
          </p:txBody>
        </p:sp>
        <p:sp>
          <p:nvSpPr>
            <p:cNvPr id="11" name="Freeform 6"/>
            <p:cNvSpPr>
              <a:spLocks noEditPoints="1"/>
            </p:cNvSpPr>
            <p:nvPr/>
          </p:nvSpPr>
          <p:spPr bwMode="auto">
            <a:xfrm>
              <a:off x="1808098" y="4579301"/>
              <a:ext cx="919957" cy="228617"/>
            </a:xfrm>
            <a:custGeom>
              <a:avLst/>
              <a:gdLst>
                <a:gd name="T0" fmla="*/ 197 w 210"/>
                <a:gd name="T1" fmla="*/ 52 h 52"/>
                <a:gd name="T2" fmla="*/ 210 w 210"/>
                <a:gd name="T3" fmla="*/ 12 h 52"/>
                <a:gd name="T4" fmla="*/ 14 w 210"/>
                <a:gd name="T5" fmla="*/ 0 h 52"/>
                <a:gd name="T6" fmla="*/ 0 w 210"/>
                <a:gd name="T7" fmla="*/ 40 h 52"/>
                <a:gd name="T8" fmla="*/ 181 w 210"/>
                <a:gd name="T9" fmla="*/ 17 h 52"/>
                <a:gd name="T10" fmla="*/ 181 w 210"/>
                <a:gd name="T11" fmla="*/ 35 h 52"/>
                <a:gd name="T12" fmla="*/ 181 w 210"/>
                <a:gd name="T13" fmla="*/ 17 h 52"/>
                <a:gd name="T14" fmla="*/ 114 w 210"/>
                <a:gd name="T15" fmla="*/ 10 h 52"/>
                <a:gd name="T16" fmla="*/ 106 w 210"/>
                <a:gd name="T17" fmla="*/ 17 h 52"/>
                <a:gd name="T18" fmla="*/ 106 w 210"/>
                <a:gd name="T19" fmla="*/ 23 h 52"/>
                <a:gd name="T20" fmla="*/ 114 w 210"/>
                <a:gd name="T21" fmla="*/ 30 h 52"/>
                <a:gd name="T22" fmla="*/ 106 w 210"/>
                <a:gd name="T23" fmla="*/ 23 h 52"/>
                <a:gd name="T24" fmla="*/ 114 w 210"/>
                <a:gd name="T25" fmla="*/ 35 h 52"/>
                <a:gd name="T26" fmla="*/ 106 w 210"/>
                <a:gd name="T27" fmla="*/ 42 h 52"/>
                <a:gd name="T28" fmla="*/ 90 w 210"/>
                <a:gd name="T29" fmla="*/ 10 h 52"/>
                <a:gd name="T30" fmla="*/ 99 w 210"/>
                <a:gd name="T31" fmla="*/ 17 h 52"/>
                <a:gd name="T32" fmla="*/ 90 w 210"/>
                <a:gd name="T33" fmla="*/ 10 h 52"/>
                <a:gd name="T34" fmla="*/ 99 w 210"/>
                <a:gd name="T35" fmla="*/ 23 h 52"/>
                <a:gd name="T36" fmla="*/ 90 w 210"/>
                <a:gd name="T37" fmla="*/ 30 h 52"/>
                <a:gd name="T38" fmla="*/ 90 w 210"/>
                <a:gd name="T39" fmla="*/ 35 h 52"/>
                <a:gd name="T40" fmla="*/ 99 w 210"/>
                <a:gd name="T41" fmla="*/ 42 h 52"/>
                <a:gd name="T42" fmla="*/ 90 w 210"/>
                <a:gd name="T43" fmla="*/ 35 h 52"/>
                <a:gd name="T44" fmla="*/ 83 w 210"/>
                <a:gd name="T45" fmla="*/ 10 h 52"/>
                <a:gd name="T46" fmla="*/ 75 w 210"/>
                <a:gd name="T47" fmla="*/ 17 h 52"/>
                <a:gd name="T48" fmla="*/ 75 w 210"/>
                <a:gd name="T49" fmla="*/ 23 h 52"/>
                <a:gd name="T50" fmla="*/ 83 w 210"/>
                <a:gd name="T51" fmla="*/ 30 h 52"/>
                <a:gd name="T52" fmla="*/ 75 w 210"/>
                <a:gd name="T53" fmla="*/ 23 h 52"/>
                <a:gd name="T54" fmla="*/ 83 w 210"/>
                <a:gd name="T55" fmla="*/ 35 h 52"/>
                <a:gd name="T56" fmla="*/ 75 w 210"/>
                <a:gd name="T57" fmla="*/ 42 h 52"/>
                <a:gd name="T58" fmla="*/ 60 w 210"/>
                <a:gd name="T59" fmla="*/ 10 h 52"/>
                <a:gd name="T60" fmla="*/ 68 w 210"/>
                <a:gd name="T61" fmla="*/ 17 h 52"/>
                <a:gd name="T62" fmla="*/ 60 w 210"/>
                <a:gd name="T63" fmla="*/ 10 h 52"/>
                <a:gd name="T64" fmla="*/ 68 w 210"/>
                <a:gd name="T65" fmla="*/ 23 h 52"/>
                <a:gd name="T66" fmla="*/ 60 w 210"/>
                <a:gd name="T67" fmla="*/ 30 h 52"/>
                <a:gd name="T68" fmla="*/ 60 w 210"/>
                <a:gd name="T69" fmla="*/ 35 h 52"/>
                <a:gd name="T70" fmla="*/ 68 w 210"/>
                <a:gd name="T71" fmla="*/ 42 h 52"/>
                <a:gd name="T72" fmla="*/ 60 w 210"/>
                <a:gd name="T73" fmla="*/ 35 h 52"/>
                <a:gd name="T74" fmla="*/ 52 w 210"/>
                <a:gd name="T75" fmla="*/ 10 h 52"/>
                <a:gd name="T76" fmla="*/ 44 w 210"/>
                <a:gd name="T77" fmla="*/ 17 h 52"/>
                <a:gd name="T78" fmla="*/ 44 w 210"/>
                <a:gd name="T79" fmla="*/ 23 h 52"/>
                <a:gd name="T80" fmla="*/ 52 w 210"/>
                <a:gd name="T81" fmla="*/ 30 h 52"/>
                <a:gd name="T82" fmla="*/ 44 w 210"/>
                <a:gd name="T83" fmla="*/ 23 h 52"/>
                <a:gd name="T84" fmla="*/ 52 w 210"/>
                <a:gd name="T85" fmla="*/ 35 h 52"/>
                <a:gd name="T86" fmla="*/ 44 w 210"/>
                <a:gd name="T87" fmla="*/ 42 h 52"/>
                <a:gd name="T88" fmla="*/ 29 w 210"/>
                <a:gd name="T89" fmla="*/ 10 h 52"/>
                <a:gd name="T90" fmla="*/ 37 w 210"/>
                <a:gd name="T91" fmla="*/ 17 h 52"/>
                <a:gd name="T92" fmla="*/ 29 w 210"/>
                <a:gd name="T93" fmla="*/ 10 h 52"/>
                <a:gd name="T94" fmla="*/ 37 w 210"/>
                <a:gd name="T95" fmla="*/ 23 h 52"/>
                <a:gd name="T96" fmla="*/ 29 w 210"/>
                <a:gd name="T97" fmla="*/ 30 h 52"/>
                <a:gd name="T98" fmla="*/ 29 w 210"/>
                <a:gd name="T99" fmla="*/ 35 h 52"/>
                <a:gd name="T100" fmla="*/ 37 w 210"/>
                <a:gd name="T101" fmla="*/ 42 h 52"/>
                <a:gd name="T102" fmla="*/ 29 w 210"/>
                <a:gd name="T103" fmla="*/ 35 h 52"/>
                <a:gd name="T104" fmla="*/ 22 w 210"/>
                <a:gd name="T105" fmla="*/ 10 h 52"/>
                <a:gd name="T106" fmla="*/ 13 w 210"/>
                <a:gd name="T107" fmla="*/ 17 h 52"/>
                <a:gd name="T108" fmla="*/ 13 w 210"/>
                <a:gd name="T109" fmla="*/ 23 h 52"/>
                <a:gd name="T110" fmla="*/ 22 w 210"/>
                <a:gd name="T111" fmla="*/ 30 h 52"/>
                <a:gd name="T112" fmla="*/ 13 w 210"/>
                <a:gd name="T113" fmla="*/ 23 h 52"/>
                <a:gd name="T114" fmla="*/ 22 w 210"/>
                <a:gd name="T115" fmla="*/ 35 h 52"/>
                <a:gd name="T116" fmla="*/ 13 w 210"/>
                <a:gd name="T11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2">
                  <a:moveTo>
                    <a:pt x="14" y="52"/>
                  </a:moveTo>
                  <a:cubicBezTo>
                    <a:pt x="94" y="52"/>
                    <a:pt x="197" y="52"/>
                    <a:pt x="197" y="52"/>
                  </a:cubicBezTo>
                  <a:cubicBezTo>
                    <a:pt x="204" y="52"/>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2"/>
                    <a:pt x="14" y="52"/>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cubicBezTo>
                    <a:pt x="90" y="35"/>
                    <a:pt x="90" y="35"/>
                    <a:pt x="90" y="35"/>
                  </a:cubicBezTo>
                  <a:close/>
                  <a:moveTo>
                    <a:pt x="75" y="10"/>
                  </a:moveTo>
                  <a:cubicBezTo>
                    <a:pt x="83" y="10"/>
                    <a:pt x="83" y="10"/>
                    <a:pt x="83" y="10"/>
                  </a:cubicBezTo>
                  <a:cubicBezTo>
                    <a:pt x="83" y="17"/>
                    <a:pt x="83" y="17"/>
                    <a:pt x="83" y="17"/>
                  </a:cubicBezTo>
                  <a:cubicBezTo>
                    <a:pt x="75" y="17"/>
                    <a:pt x="75" y="17"/>
                    <a:pt x="75" y="17"/>
                  </a:cubicBezTo>
                  <a:cubicBezTo>
                    <a:pt x="75" y="10"/>
                    <a:pt x="75" y="10"/>
                    <a:pt x="75" y="10"/>
                  </a:cubicBezTo>
                  <a:close/>
                  <a:moveTo>
                    <a:pt x="75" y="23"/>
                  </a:moveTo>
                  <a:cubicBezTo>
                    <a:pt x="83" y="23"/>
                    <a:pt x="83" y="23"/>
                    <a:pt x="83" y="23"/>
                  </a:cubicBezTo>
                  <a:cubicBezTo>
                    <a:pt x="83" y="30"/>
                    <a:pt x="83" y="30"/>
                    <a:pt x="83" y="30"/>
                  </a:cubicBezTo>
                  <a:cubicBezTo>
                    <a:pt x="75" y="30"/>
                    <a:pt x="75" y="30"/>
                    <a:pt x="75" y="30"/>
                  </a:cubicBezTo>
                  <a:cubicBezTo>
                    <a:pt x="75" y="23"/>
                    <a:pt x="75" y="23"/>
                    <a:pt x="75" y="23"/>
                  </a:cubicBezTo>
                  <a:close/>
                  <a:moveTo>
                    <a:pt x="75" y="35"/>
                  </a:moveTo>
                  <a:cubicBezTo>
                    <a:pt x="83" y="35"/>
                    <a:pt x="83" y="35"/>
                    <a:pt x="83" y="35"/>
                  </a:cubicBezTo>
                  <a:cubicBezTo>
                    <a:pt x="83" y="42"/>
                    <a:pt x="83" y="42"/>
                    <a:pt x="83" y="42"/>
                  </a:cubicBezTo>
                  <a:cubicBezTo>
                    <a:pt x="75" y="42"/>
                    <a:pt x="75" y="42"/>
                    <a:pt x="75" y="42"/>
                  </a:cubicBezTo>
                  <a:cubicBezTo>
                    <a:pt x="75" y="35"/>
                    <a:pt x="75" y="35"/>
                    <a:pt x="75" y="35"/>
                  </a:cubicBezTo>
                  <a:close/>
                  <a:moveTo>
                    <a:pt x="60" y="10"/>
                  </a:moveTo>
                  <a:cubicBezTo>
                    <a:pt x="68" y="10"/>
                    <a:pt x="68" y="10"/>
                    <a:pt x="68" y="10"/>
                  </a:cubicBezTo>
                  <a:cubicBezTo>
                    <a:pt x="68" y="17"/>
                    <a:pt x="68" y="17"/>
                    <a:pt x="68" y="17"/>
                  </a:cubicBezTo>
                  <a:cubicBezTo>
                    <a:pt x="60" y="17"/>
                    <a:pt x="60" y="17"/>
                    <a:pt x="60" y="17"/>
                  </a:cubicBezTo>
                  <a:cubicBezTo>
                    <a:pt x="60" y="10"/>
                    <a:pt x="60" y="10"/>
                    <a:pt x="60" y="10"/>
                  </a:cubicBezTo>
                  <a:close/>
                  <a:moveTo>
                    <a:pt x="60" y="23"/>
                  </a:moveTo>
                  <a:cubicBezTo>
                    <a:pt x="68" y="23"/>
                    <a:pt x="68" y="23"/>
                    <a:pt x="68" y="23"/>
                  </a:cubicBezTo>
                  <a:cubicBezTo>
                    <a:pt x="68" y="30"/>
                    <a:pt x="68" y="30"/>
                    <a:pt x="68" y="30"/>
                  </a:cubicBezTo>
                  <a:cubicBezTo>
                    <a:pt x="60" y="30"/>
                    <a:pt x="60" y="30"/>
                    <a:pt x="60" y="30"/>
                  </a:cubicBezTo>
                  <a:cubicBezTo>
                    <a:pt x="60" y="23"/>
                    <a:pt x="60" y="23"/>
                    <a:pt x="60" y="23"/>
                  </a:cubicBezTo>
                  <a:close/>
                  <a:moveTo>
                    <a:pt x="60" y="35"/>
                  </a:moveTo>
                  <a:cubicBezTo>
                    <a:pt x="68" y="35"/>
                    <a:pt x="68" y="35"/>
                    <a:pt x="68" y="35"/>
                  </a:cubicBezTo>
                  <a:cubicBezTo>
                    <a:pt x="68" y="42"/>
                    <a:pt x="68" y="42"/>
                    <a:pt x="68" y="42"/>
                  </a:cubicBezTo>
                  <a:cubicBezTo>
                    <a:pt x="60" y="42"/>
                    <a:pt x="60" y="42"/>
                    <a:pt x="60" y="42"/>
                  </a:cubicBezTo>
                  <a:cubicBezTo>
                    <a:pt x="60" y="35"/>
                    <a:pt x="60" y="35"/>
                    <a:pt x="60" y="35"/>
                  </a:cubicBezTo>
                  <a:close/>
                  <a:moveTo>
                    <a:pt x="44" y="10"/>
                  </a:moveTo>
                  <a:cubicBezTo>
                    <a:pt x="52" y="10"/>
                    <a:pt x="52" y="10"/>
                    <a:pt x="52" y="10"/>
                  </a:cubicBezTo>
                  <a:cubicBezTo>
                    <a:pt x="52" y="17"/>
                    <a:pt x="52" y="17"/>
                    <a:pt x="52" y="17"/>
                  </a:cubicBezTo>
                  <a:cubicBezTo>
                    <a:pt x="44" y="17"/>
                    <a:pt x="44" y="17"/>
                    <a:pt x="44" y="17"/>
                  </a:cubicBezTo>
                  <a:cubicBezTo>
                    <a:pt x="44" y="10"/>
                    <a:pt x="44" y="10"/>
                    <a:pt x="44" y="10"/>
                  </a:cubicBezTo>
                  <a:close/>
                  <a:moveTo>
                    <a:pt x="44" y="23"/>
                  </a:moveTo>
                  <a:cubicBezTo>
                    <a:pt x="52" y="23"/>
                    <a:pt x="52" y="23"/>
                    <a:pt x="52" y="23"/>
                  </a:cubicBezTo>
                  <a:cubicBezTo>
                    <a:pt x="52" y="30"/>
                    <a:pt x="52" y="30"/>
                    <a:pt x="52" y="30"/>
                  </a:cubicBezTo>
                  <a:cubicBezTo>
                    <a:pt x="44" y="30"/>
                    <a:pt x="44" y="30"/>
                    <a:pt x="44" y="30"/>
                  </a:cubicBezTo>
                  <a:cubicBezTo>
                    <a:pt x="44" y="23"/>
                    <a:pt x="44" y="23"/>
                    <a:pt x="44" y="23"/>
                  </a:cubicBezTo>
                  <a:close/>
                  <a:moveTo>
                    <a:pt x="44" y="35"/>
                  </a:moveTo>
                  <a:cubicBezTo>
                    <a:pt x="52" y="35"/>
                    <a:pt x="52" y="35"/>
                    <a:pt x="52" y="35"/>
                  </a:cubicBezTo>
                  <a:cubicBezTo>
                    <a:pt x="52" y="42"/>
                    <a:pt x="52" y="42"/>
                    <a:pt x="52" y="42"/>
                  </a:cubicBezTo>
                  <a:cubicBezTo>
                    <a:pt x="44" y="42"/>
                    <a:pt x="44" y="42"/>
                    <a:pt x="44" y="42"/>
                  </a:cubicBezTo>
                  <a:cubicBezTo>
                    <a:pt x="44" y="35"/>
                    <a:pt x="44" y="35"/>
                    <a:pt x="44" y="35"/>
                  </a:cubicBezTo>
                  <a:close/>
                  <a:moveTo>
                    <a:pt x="29" y="10"/>
                  </a:moveTo>
                  <a:cubicBezTo>
                    <a:pt x="37" y="10"/>
                    <a:pt x="37" y="10"/>
                    <a:pt x="37" y="10"/>
                  </a:cubicBezTo>
                  <a:cubicBezTo>
                    <a:pt x="37" y="17"/>
                    <a:pt x="37" y="17"/>
                    <a:pt x="37" y="17"/>
                  </a:cubicBezTo>
                  <a:cubicBezTo>
                    <a:pt x="29" y="17"/>
                    <a:pt x="29" y="17"/>
                    <a:pt x="29" y="17"/>
                  </a:cubicBezTo>
                  <a:cubicBezTo>
                    <a:pt x="29" y="10"/>
                    <a:pt x="29" y="10"/>
                    <a:pt x="29" y="10"/>
                  </a:cubicBezTo>
                  <a:close/>
                  <a:moveTo>
                    <a:pt x="29" y="23"/>
                  </a:moveTo>
                  <a:cubicBezTo>
                    <a:pt x="37" y="23"/>
                    <a:pt x="37" y="23"/>
                    <a:pt x="37" y="23"/>
                  </a:cubicBezTo>
                  <a:cubicBezTo>
                    <a:pt x="37" y="30"/>
                    <a:pt x="37" y="30"/>
                    <a:pt x="37" y="30"/>
                  </a:cubicBezTo>
                  <a:cubicBezTo>
                    <a:pt x="29" y="30"/>
                    <a:pt x="29" y="30"/>
                    <a:pt x="29" y="30"/>
                  </a:cubicBezTo>
                  <a:cubicBezTo>
                    <a:pt x="29" y="23"/>
                    <a:pt x="29" y="23"/>
                    <a:pt x="29" y="23"/>
                  </a:cubicBezTo>
                  <a:close/>
                  <a:moveTo>
                    <a:pt x="29" y="35"/>
                  </a:moveTo>
                  <a:cubicBezTo>
                    <a:pt x="37" y="35"/>
                    <a:pt x="37" y="35"/>
                    <a:pt x="37" y="35"/>
                  </a:cubicBezTo>
                  <a:cubicBezTo>
                    <a:pt x="37" y="42"/>
                    <a:pt x="37" y="42"/>
                    <a:pt x="37" y="42"/>
                  </a:cubicBezTo>
                  <a:cubicBezTo>
                    <a:pt x="29" y="42"/>
                    <a:pt x="29" y="42"/>
                    <a:pt x="29" y="42"/>
                  </a:cubicBezTo>
                  <a:cubicBezTo>
                    <a:pt x="29" y="35"/>
                    <a:pt x="29" y="35"/>
                    <a:pt x="29" y="35"/>
                  </a:cubicBezTo>
                  <a:close/>
                  <a:moveTo>
                    <a:pt x="13" y="10"/>
                  </a:moveTo>
                  <a:cubicBezTo>
                    <a:pt x="22" y="10"/>
                    <a:pt x="22" y="10"/>
                    <a:pt x="22" y="10"/>
                  </a:cubicBezTo>
                  <a:cubicBezTo>
                    <a:pt x="22" y="17"/>
                    <a:pt x="22" y="17"/>
                    <a:pt x="22" y="17"/>
                  </a:cubicBezTo>
                  <a:cubicBezTo>
                    <a:pt x="13" y="17"/>
                    <a:pt x="13" y="17"/>
                    <a:pt x="13" y="17"/>
                  </a:cubicBezTo>
                  <a:cubicBezTo>
                    <a:pt x="13" y="10"/>
                    <a:pt x="13" y="10"/>
                    <a:pt x="13" y="10"/>
                  </a:cubicBezTo>
                  <a:close/>
                  <a:moveTo>
                    <a:pt x="13" y="23"/>
                  </a:moveTo>
                  <a:cubicBezTo>
                    <a:pt x="22" y="23"/>
                    <a:pt x="22" y="23"/>
                    <a:pt x="22" y="23"/>
                  </a:cubicBezTo>
                  <a:cubicBezTo>
                    <a:pt x="22" y="30"/>
                    <a:pt x="22" y="30"/>
                    <a:pt x="22" y="30"/>
                  </a:cubicBezTo>
                  <a:cubicBezTo>
                    <a:pt x="13" y="30"/>
                    <a:pt x="13" y="30"/>
                    <a:pt x="13" y="30"/>
                  </a:cubicBezTo>
                  <a:cubicBezTo>
                    <a:pt x="13" y="23"/>
                    <a:pt x="13" y="23"/>
                    <a:pt x="13" y="23"/>
                  </a:cubicBezTo>
                  <a:close/>
                  <a:moveTo>
                    <a:pt x="13" y="35"/>
                  </a:moveTo>
                  <a:cubicBezTo>
                    <a:pt x="22" y="35"/>
                    <a:pt x="22" y="35"/>
                    <a:pt x="22" y="35"/>
                  </a:cubicBezTo>
                  <a:cubicBezTo>
                    <a:pt x="22" y="42"/>
                    <a:pt x="22" y="42"/>
                    <a:pt x="22" y="42"/>
                  </a:cubicBezTo>
                  <a:cubicBezTo>
                    <a:pt x="13" y="42"/>
                    <a:pt x="13" y="42"/>
                    <a:pt x="13" y="42"/>
                  </a:cubicBezTo>
                  <a:cubicBezTo>
                    <a:pt x="13" y="35"/>
                    <a:pt x="13" y="35"/>
                    <a:pt x="13" y="35"/>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000" dirty="0">
                <a:solidFill>
                  <a:schemeClr val="bg2"/>
                </a:solidFill>
              </a:endParaRPr>
            </a:p>
          </p:txBody>
        </p:sp>
        <p:sp>
          <p:nvSpPr>
            <p:cNvPr id="12" name="Freeform 7"/>
            <p:cNvSpPr>
              <a:spLocks noEditPoints="1"/>
            </p:cNvSpPr>
            <p:nvPr/>
          </p:nvSpPr>
          <p:spPr bwMode="auto">
            <a:xfrm>
              <a:off x="1808098" y="4081829"/>
              <a:ext cx="919957" cy="223131"/>
            </a:xfrm>
            <a:custGeom>
              <a:avLst/>
              <a:gdLst>
                <a:gd name="T0" fmla="*/ 197 w 210"/>
                <a:gd name="T1" fmla="*/ 51 h 51"/>
                <a:gd name="T2" fmla="*/ 210 w 210"/>
                <a:gd name="T3" fmla="*/ 12 h 51"/>
                <a:gd name="T4" fmla="*/ 14 w 210"/>
                <a:gd name="T5" fmla="*/ 0 h 51"/>
                <a:gd name="T6" fmla="*/ 0 w 210"/>
                <a:gd name="T7" fmla="*/ 40 h 51"/>
                <a:gd name="T8" fmla="*/ 181 w 210"/>
                <a:gd name="T9" fmla="*/ 17 h 51"/>
                <a:gd name="T10" fmla="*/ 181 w 210"/>
                <a:gd name="T11" fmla="*/ 35 h 51"/>
                <a:gd name="T12" fmla="*/ 181 w 210"/>
                <a:gd name="T13" fmla="*/ 17 h 51"/>
                <a:gd name="T14" fmla="*/ 114 w 210"/>
                <a:gd name="T15" fmla="*/ 10 h 51"/>
                <a:gd name="T16" fmla="*/ 106 w 210"/>
                <a:gd name="T17" fmla="*/ 17 h 51"/>
                <a:gd name="T18" fmla="*/ 106 w 210"/>
                <a:gd name="T19" fmla="*/ 23 h 51"/>
                <a:gd name="T20" fmla="*/ 114 w 210"/>
                <a:gd name="T21" fmla="*/ 30 h 51"/>
                <a:gd name="T22" fmla="*/ 106 w 210"/>
                <a:gd name="T23" fmla="*/ 23 h 51"/>
                <a:gd name="T24" fmla="*/ 114 w 210"/>
                <a:gd name="T25" fmla="*/ 35 h 51"/>
                <a:gd name="T26" fmla="*/ 106 w 210"/>
                <a:gd name="T27" fmla="*/ 42 h 51"/>
                <a:gd name="T28" fmla="*/ 90 w 210"/>
                <a:gd name="T29" fmla="*/ 10 h 51"/>
                <a:gd name="T30" fmla="*/ 99 w 210"/>
                <a:gd name="T31" fmla="*/ 17 h 51"/>
                <a:gd name="T32" fmla="*/ 90 w 210"/>
                <a:gd name="T33" fmla="*/ 10 h 51"/>
                <a:gd name="T34" fmla="*/ 99 w 210"/>
                <a:gd name="T35" fmla="*/ 23 h 51"/>
                <a:gd name="T36" fmla="*/ 90 w 210"/>
                <a:gd name="T37" fmla="*/ 30 h 51"/>
                <a:gd name="T38" fmla="*/ 90 w 210"/>
                <a:gd name="T39" fmla="*/ 35 h 51"/>
                <a:gd name="T40" fmla="*/ 99 w 210"/>
                <a:gd name="T41" fmla="*/ 42 h 51"/>
                <a:gd name="T42" fmla="*/ 90 w 210"/>
                <a:gd name="T43" fmla="*/ 35 h 51"/>
                <a:gd name="T44" fmla="*/ 83 w 210"/>
                <a:gd name="T45" fmla="*/ 10 h 51"/>
                <a:gd name="T46" fmla="*/ 75 w 210"/>
                <a:gd name="T47" fmla="*/ 17 h 51"/>
                <a:gd name="T48" fmla="*/ 75 w 210"/>
                <a:gd name="T49" fmla="*/ 23 h 51"/>
                <a:gd name="T50" fmla="*/ 83 w 210"/>
                <a:gd name="T51" fmla="*/ 30 h 51"/>
                <a:gd name="T52" fmla="*/ 75 w 210"/>
                <a:gd name="T53" fmla="*/ 23 h 51"/>
                <a:gd name="T54" fmla="*/ 83 w 210"/>
                <a:gd name="T55" fmla="*/ 35 h 51"/>
                <a:gd name="T56" fmla="*/ 75 w 210"/>
                <a:gd name="T57" fmla="*/ 42 h 51"/>
                <a:gd name="T58" fmla="*/ 60 w 210"/>
                <a:gd name="T59" fmla="*/ 10 h 51"/>
                <a:gd name="T60" fmla="*/ 68 w 210"/>
                <a:gd name="T61" fmla="*/ 17 h 51"/>
                <a:gd name="T62" fmla="*/ 60 w 210"/>
                <a:gd name="T63" fmla="*/ 10 h 51"/>
                <a:gd name="T64" fmla="*/ 68 w 210"/>
                <a:gd name="T65" fmla="*/ 23 h 51"/>
                <a:gd name="T66" fmla="*/ 60 w 210"/>
                <a:gd name="T67" fmla="*/ 30 h 51"/>
                <a:gd name="T68" fmla="*/ 60 w 210"/>
                <a:gd name="T69" fmla="*/ 35 h 51"/>
                <a:gd name="T70" fmla="*/ 68 w 210"/>
                <a:gd name="T71" fmla="*/ 42 h 51"/>
                <a:gd name="T72" fmla="*/ 60 w 210"/>
                <a:gd name="T73" fmla="*/ 35 h 51"/>
                <a:gd name="T74" fmla="*/ 52 w 210"/>
                <a:gd name="T75" fmla="*/ 10 h 51"/>
                <a:gd name="T76" fmla="*/ 44 w 210"/>
                <a:gd name="T77" fmla="*/ 17 h 51"/>
                <a:gd name="T78" fmla="*/ 44 w 210"/>
                <a:gd name="T79" fmla="*/ 23 h 51"/>
                <a:gd name="T80" fmla="*/ 52 w 210"/>
                <a:gd name="T81" fmla="*/ 30 h 51"/>
                <a:gd name="T82" fmla="*/ 44 w 210"/>
                <a:gd name="T83" fmla="*/ 23 h 51"/>
                <a:gd name="T84" fmla="*/ 52 w 210"/>
                <a:gd name="T85" fmla="*/ 35 h 51"/>
                <a:gd name="T86" fmla="*/ 44 w 210"/>
                <a:gd name="T87" fmla="*/ 42 h 51"/>
                <a:gd name="T88" fmla="*/ 29 w 210"/>
                <a:gd name="T89" fmla="*/ 10 h 51"/>
                <a:gd name="T90" fmla="*/ 37 w 210"/>
                <a:gd name="T91" fmla="*/ 17 h 51"/>
                <a:gd name="T92" fmla="*/ 29 w 210"/>
                <a:gd name="T93" fmla="*/ 10 h 51"/>
                <a:gd name="T94" fmla="*/ 37 w 210"/>
                <a:gd name="T95" fmla="*/ 23 h 51"/>
                <a:gd name="T96" fmla="*/ 29 w 210"/>
                <a:gd name="T97" fmla="*/ 30 h 51"/>
                <a:gd name="T98" fmla="*/ 29 w 210"/>
                <a:gd name="T99" fmla="*/ 35 h 51"/>
                <a:gd name="T100" fmla="*/ 37 w 210"/>
                <a:gd name="T101" fmla="*/ 42 h 51"/>
                <a:gd name="T102" fmla="*/ 29 w 210"/>
                <a:gd name="T103" fmla="*/ 35 h 51"/>
                <a:gd name="T104" fmla="*/ 22 w 210"/>
                <a:gd name="T105" fmla="*/ 10 h 51"/>
                <a:gd name="T106" fmla="*/ 13 w 210"/>
                <a:gd name="T107" fmla="*/ 17 h 51"/>
                <a:gd name="T108" fmla="*/ 13 w 210"/>
                <a:gd name="T109" fmla="*/ 23 h 51"/>
                <a:gd name="T110" fmla="*/ 22 w 210"/>
                <a:gd name="T111" fmla="*/ 30 h 51"/>
                <a:gd name="T112" fmla="*/ 13 w 210"/>
                <a:gd name="T113" fmla="*/ 23 h 51"/>
                <a:gd name="T114" fmla="*/ 22 w 210"/>
                <a:gd name="T115" fmla="*/ 35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1"/>
                    <a:pt x="14" y="51"/>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lnTo>
                    <a:pt x="90" y="35"/>
                  </a:lnTo>
                  <a:close/>
                  <a:moveTo>
                    <a:pt x="75" y="10"/>
                  </a:moveTo>
                  <a:cubicBezTo>
                    <a:pt x="83" y="10"/>
                    <a:pt x="83" y="10"/>
                    <a:pt x="83" y="10"/>
                  </a:cubicBezTo>
                  <a:cubicBezTo>
                    <a:pt x="83" y="17"/>
                    <a:pt x="83" y="17"/>
                    <a:pt x="83" y="17"/>
                  </a:cubicBezTo>
                  <a:cubicBezTo>
                    <a:pt x="75" y="17"/>
                    <a:pt x="75" y="17"/>
                    <a:pt x="75" y="17"/>
                  </a:cubicBezTo>
                  <a:lnTo>
                    <a:pt x="75" y="10"/>
                  </a:lnTo>
                  <a:close/>
                  <a:moveTo>
                    <a:pt x="75" y="23"/>
                  </a:moveTo>
                  <a:cubicBezTo>
                    <a:pt x="83" y="23"/>
                    <a:pt x="83" y="23"/>
                    <a:pt x="83" y="23"/>
                  </a:cubicBezTo>
                  <a:cubicBezTo>
                    <a:pt x="83" y="30"/>
                    <a:pt x="83" y="30"/>
                    <a:pt x="83" y="30"/>
                  </a:cubicBezTo>
                  <a:cubicBezTo>
                    <a:pt x="75" y="30"/>
                    <a:pt x="75" y="30"/>
                    <a:pt x="75" y="30"/>
                  </a:cubicBezTo>
                  <a:lnTo>
                    <a:pt x="75" y="23"/>
                  </a:lnTo>
                  <a:close/>
                  <a:moveTo>
                    <a:pt x="75" y="35"/>
                  </a:moveTo>
                  <a:cubicBezTo>
                    <a:pt x="83" y="35"/>
                    <a:pt x="83" y="35"/>
                    <a:pt x="83" y="35"/>
                  </a:cubicBezTo>
                  <a:cubicBezTo>
                    <a:pt x="83" y="42"/>
                    <a:pt x="83" y="42"/>
                    <a:pt x="83" y="42"/>
                  </a:cubicBezTo>
                  <a:cubicBezTo>
                    <a:pt x="75" y="42"/>
                    <a:pt x="75" y="42"/>
                    <a:pt x="75" y="42"/>
                  </a:cubicBezTo>
                  <a:lnTo>
                    <a:pt x="75" y="35"/>
                  </a:lnTo>
                  <a:close/>
                  <a:moveTo>
                    <a:pt x="60" y="10"/>
                  </a:moveTo>
                  <a:cubicBezTo>
                    <a:pt x="68" y="10"/>
                    <a:pt x="68" y="10"/>
                    <a:pt x="68" y="10"/>
                  </a:cubicBezTo>
                  <a:cubicBezTo>
                    <a:pt x="68" y="17"/>
                    <a:pt x="68" y="17"/>
                    <a:pt x="68" y="17"/>
                  </a:cubicBezTo>
                  <a:cubicBezTo>
                    <a:pt x="60" y="17"/>
                    <a:pt x="60" y="17"/>
                    <a:pt x="60" y="17"/>
                  </a:cubicBezTo>
                  <a:lnTo>
                    <a:pt x="60" y="10"/>
                  </a:lnTo>
                  <a:close/>
                  <a:moveTo>
                    <a:pt x="60" y="23"/>
                  </a:moveTo>
                  <a:cubicBezTo>
                    <a:pt x="68" y="23"/>
                    <a:pt x="68" y="23"/>
                    <a:pt x="68" y="23"/>
                  </a:cubicBezTo>
                  <a:cubicBezTo>
                    <a:pt x="68" y="30"/>
                    <a:pt x="68" y="30"/>
                    <a:pt x="68" y="30"/>
                  </a:cubicBezTo>
                  <a:cubicBezTo>
                    <a:pt x="60" y="30"/>
                    <a:pt x="60" y="30"/>
                    <a:pt x="60" y="30"/>
                  </a:cubicBezTo>
                  <a:lnTo>
                    <a:pt x="60" y="23"/>
                  </a:lnTo>
                  <a:close/>
                  <a:moveTo>
                    <a:pt x="60" y="35"/>
                  </a:moveTo>
                  <a:cubicBezTo>
                    <a:pt x="68" y="35"/>
                    <a:pt x="68" y="35"/>
                    <a:pt x="68" y="35"/>
                  </a:cubicBezTo>
                  <a:cubicBezTo>
                    <a:pt x="68" y="42"/>
                    <a:pt x="68" y="42"/>
                    <a:pt x="68" y="42"/>
                  </a:cubicBezTo>
                  <a:cubicBezTo>
                    <a:pt x="60" y="42"/>
                    <a:pt x="60" y="42"/>
                    <a:pt x="60" y="42"/>
                  </a:cubicBezTo>
                  <a:lnTo>
                    <a:pt x="60" y="35"/>
                  </a:lnTo>
                  <a:close/>
                  <a:moveTo>
                    <a:pt x="44" y="10"/>
                  </a:moveTo>
                  <a:cubicBezTo>
                    <a:pt x="52" y="10"/>
                    <a:pt x="52" y="10"/>
                    <a:pt x="52" y="10"/>
                  </a:cubicBezTo>
                  <a:cubicBezTo>
                    <a:pt x="52" y="17"/>
                    <a:pt x="52" y="17"/>
                    <a:pt x="52" y="17"/>
                  </a:cubicBezTo>
                  <a:cubicBezTo>
                    <a:pt x="44" y="17"/>
                    <a:pt x="44" y="17"/>
                    <a:pt x="44" y="17"/>
                  </a:cubicBezTo>
                  <a:lnTo>
                    <a:pt x="44" y="10"/>
                  </a:lnTo>
                  <a:close/>
                  <a:moveTo>
                    <a:pt x="44" y="23"/>
                  </a:moveTo>
                  <a:cubicBezTo>
                    <a:pt x="52" y="23"/>
                    <a:pt x="52" y="23"/>
                    <a:pt x="52" y="23"/>
                  </a:cubicBezTo>
                  <a:cubicBezTo>
                    <a:pt x="52" y="30"/>
                    <a:pt x="52" y="30"/>
                    <a:pt x="52" y="30"/>
                  </a:cubicBezTo>
                  <a:cubicBezTo>
                    <a:pt x="44" y="30"/>
                    <a:pt x="44" y="30"/>
                    <a:pt x="44" y="30"/>
                  </a:cubicBezTo>
                  <a:lnTo>
                    <a:pt x="44" y="23"/>
                  </a:lnTo>
                  <a:close/>
                  <a:moveTo>
                    <a:pt x="44" y="35"/>
                  </a:moveTo>
                  <a:cubicBezTo>
                    <a:pt x="52" y="35"/>
                    <a:pt x="52" y="35"/>
                    <a:pt x="52" y="35"/>
                  </a:cubicBezTo>
                  <a:cubicBezTo>
                    <a:pt x="52" y="42"/>
                    <a:pt x="52" y="42"/>
                    <a:pt x="52" y="42"/>
                  </a:cubicBezTo>
                  <a:cubicBezTo>
                    <a:pt x="44" y="42"/>
                    <a:pt x="44" y="42"/>
                    <a:pt x="44" y="42"/>
                  </a:cubicBezTo>
                  <a:lnTo>
                    <a:pt x="44" y="35"/>
                  </a:lnTo>
                  <a:close/>
                  <a:moveTo>
                    <a:pt x="29" y="10"/>
                  </a:moveTo>
                  <a:cubicBezTo>
                    <a:pt x="37" y="10"/>
                    <a:pt x="37" y="10"/>
                    <a:pt x="37" y="10"/>
                  </a:cubicBezTo>
                  <a:cubicBezTo>
                    <a:pt x="37" y="17"/>
                    <a:pt x="37" y="17"/>
                    <a:pt x="37" y="17"/>
                  </a:cubicBezTo>
                  <a:cubicBezTo>
                    <a:pt x="29" y="17"/>
                    <a:pt x="29" y="17"/>
                    <a:pt x="29" y="17"/>
                  </a:cubicBezTo>
                  <a:lnTo>
                    <a:pt x="29" y="10"/>
                  </a:lnTo>
                  <a:close/>
                  <a:moveTo>
                    <a:pt x="29" y="23"/>
                  </a:moveTo>
                  <a:cubicBezTo>
                    <a:pt x="37" y="23"/>
                    <a:pt x="37" y="23"/>
                    <a:pt x="37" y="23"/>
                  </a:cubicBezTo>
                  <a:cubicBezTo>
                    <a:pt x="37" y="30"/>
                    <a:pt x="37" y="30"/>
                    <a:pt x="37" y="30"/>
                  </a:cubicBezTo>
                  <a:cubicBezTo>
                    <a:pt x="29" y="30"/>
                    <a:pt x="29" y="30"/>
                    <a:pt x="29" y="30"/>
                  </a:cubicBezTo>
                  <a:lnTo>
                    <a:pt x="29" y="23"/>
                  </a:lnTo>
                  <a:close/>
                  <a:moveTo>
                    <a:pt x="29" y="35"/>
                  </a:moveTo>
                  <a:cubicBezTo>
                    <a:pt x="37" y="35"/>
                    <a:pt x="37" y="35"/>
                    <a:pt x="37" y="35"/>
                  </a:cubicBezTo>
                  <a:cubicBezTo>
                    <a:pt x="37" y="42"/>
                    <a:pt x="37" y="42"/>
                    <a:pt x="37" y="42"/>
                  </a:cubicBezTo>
                  <a:cubicBezTo>
                    <a:pt x="29" y="42"/>
                    <a:pt x="29" y="42"/>
                    <a:pt x="29" y="42"/>
                  </a:cubicBezTo>
                  <a:lnTo>
                    <a:pt x="29" y="35"/>
                  </a:lnTo>
                  <a:close/>
                  <a:moveTo>
                    <a:pt x="13" y="10"/>
                  </a:moveTo>
                  <a:cubicBezTo>
                    <a:pt x="22" y="10"/>
                    <a:pt x="22" y="10"/>
                    <a:pt x="22" y="10"/>
                  </a:cubicBezTo>
                  <a:cubicBezTo>
                    <a:pt x="22" y="17"/>
                    <a:pt x="22" y="17"/>
                    <a:pt x="22" y="17"/>
                  </a:cubicBezTo>
                  <a:cubicBezTo>
                    <a:pt x="13" y="17"/>
                    <a:pt x="13" y="17"/>
                    <a:pt x="13" y="17"/>
                  </a:cubicBezTo>
                  <a:lnTo>
                    <a:pt x="13" y="10"/>
                  </a:lnTo>
                  <a:close/>
                  <a:moveTo>
                    <a:pt x="13" y="23"/>
                  </a:moveTo>
                  <a:cubicBezTo>
                    <a:pt x="22" y="23"/>
                    <a:pt x="22" y="23"/>
                    <a:pt x="22" y="23"/>
                  </a:cubicBezTo>
                  <a:cubicBezTo>
                    <a:pt x="22" y="30"/>
                    <a:pt x="22" y="30"/>
                    <a:pt x="22" y="30"/>
                  </a:cubicBezTo>
                  <a:cubicBezTo>
                    <a:pt x="13" y="30"/>
                    <a:pt x="13" y="30"/>
                    <a:pt x="13" y="30"/>
                  </a:cubicBezTo>
                  <a:lnTo>
                    <a:pt x="13" y="23"/>
                  </a:lnTo>
                  <a:close/>
                  <a:moveTo>
                    <a:pt x="13" y="35"/>
                  </a:moveTo>
                  <a:cubicBezTo>
                    <a:pt x="22" y="35"/>
                    <a:pt x="22" y="35"/>
                    <a:pt x="22" y="35"/>
                  </a:cubicBezTo>
                  <a:cubicBezTo>
                    <a:pt x="22" y="42"/>
                    <a:pt x="22" y="42"/>
                    <a:pt x="22" y="42"/>
                  </a:cubicBezTo>
                  <a:cubicBezTo>
                    <a:pt x="13" y="42"/>
                    <a:pt x="13" y="42"/>
                    <a:pt x="13" y="42"/>
                  </a:cubicBezTo>
                  <a:lnTo>
                    <a:pt x="13" y="35"/>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000" dirty="0">
                <a:solidFill>
                  <a:schemeClr val="bg2"/>
                </a:solidFill>
              </a:endParaRPr>
            </a:p>
          </p:txBody>
        </p:sp>
      </p:grpSp>
      <p:sp>
        <p:nvSpPr>
          <p:cNvPr id="17" name="TextBox 16"/>
          <p:cNvSpPr txBox="1"/>
          <p:nvPr/>
        </p:nvSpPr>
        <p:spPr>
          <a:xfrm>
            <a:off x="4116582" y="5464579"/>
            <a:ext cx="654482" cy="389040"/>
          </a:xfrm>
          <a:prstGeom prst="rect">
            <a:avLst/>
          </a:prstGeom>
          <a:solidFill>
            <a:srgbClr val="F0F7FD"/>
          </a:solidFill>
        </p:spPr>
        <p:txBody>
          <a:bodyPr wrap="square" lIns="0" tIns="0" rIns="0" bIns="0" rtlCol="0" anchor="ctr">
            <a:noAutofit/>
          </a:bodyPr>
          <a:lstStyle/>
          <a:p>
            <a:pPr algn="ctr"/>
            <a:r>
              <a:rPr lang="en-US" sz="1000" dirty="0">
                <a:solidFill>
                  <a:schemeClr val="bg2"/>
                </a:solidFill>
                <a:cs typeface="Segoe UI" panose="020B0502040204020203" pitchFamily="34" charset="0"/>
              </a:rPr>
              <a:t>PolyBase</a:t>
            </a:r>
          </a:p>
        </p:txBody>
      </p:sp>
      <p:sp>
        <p:nvSpPr>
          <p:cNvPr id="37" name="Rectangle 36"/>
          <p:cNvSpPr/>
          <p:nvPr/>
        </p:nvSpPr>
        <p:spPr>
          <a:xfrm>
            <a:off x="3752670" y="4078939"/>
            <a:ext cx="666732" cy="247637"/>
          </a:xfrm>
          <a:prstGeom prst="rect">
            <a:avLst/>
          </a:prstGeom>
          <a:solidFill>
            <a:srgbClr val="003C6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000" dirty="0">
                <a:solidFill>
                  <a:schemeClr val="tx1"/>
                </a:solidFill>
              </a:rPr>
              <a:t>Select…</a:t>
            </a:r>
          </a:p>
        </p:txBody>
      </p:sp>
      <p:sp>
        <p:nvSpPr>
          <p:cNvPr id="38" name="Rectangle 37"/>
          <p:cNvSpPr/>
          <p:nvPr/>
        </p:nvSpPr>
        <p:spPr>
          <a:xfrm>
            <a:off x="4468243" y="4079380"/>
            <a:ext cx="666732" cy="250759"/>
          </a:xfrm>
          <a:prstGeom prst="rect">
            <a:avLst/>
          </a:prstGeom>
          <a:solidFill>
            <a:srgbClr val="66AEE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chemeClr val="tx1"/>
                </a:solidFill>
              </a:rPr>
              <a:t>Result set</a:t>
            </a:r>
          </a:p>
        </p:txBody>
      </p:sp>
      <p:cxnSp>
        <p:nvCxnSpPr>
          <p:cNvPr id="45" name="Straight Arrow Connector 44"/>
          <p:cNvCxnSpPr/>
          <p:nvPr/>
        </p:nvCxnSpPr>
        <p:spPr>
          <a:xfrm flipH="1">
            <a:off x="3783001" y="5554519"/>
            <a:ext cx="310102" cy="0"/>
          </a:xfrm>
          <a:prstGeom prst="straightConnector1">
            <a:avLst/>
          </a:prstGeom>
          <a:ln w="15875">
            <a:solidFill>
              <a:srgbClr val="003C6C"/>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783001" y="5763680"/>
            <a:ext cx="310102" cy="0"/>
          </a:xfrm>
          <a:prstGeom prst="straightConnector1">
            <a:avLst/>
          </a:prstGeom>
          <a:ln w="15875">
            <a:solidFill>
              <a:srgbClr val="66AEE7"/>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4242958" y="4347656"/>
            <a:ext cx="0" cy="230658"/>
          </a:xfrm>
          <a:prstGeom prst="straightConnector1">
            <a:avLst/>
          </a:prstGeom>
          <a:ln w="15875">
            <a:solidFill>
              <a:srgbClr val="003C6C"/>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10800000">
            <a:off x="4644688" y="4347656"/>
            <a:ext cx="0" cy="230658"/>
          </a:xfrm>
          <a:prstGeom prst="straightConnector1">
            <a:avLst/>
          </a:prstGeom>
          <a:ln w="15875">
            <a:solidFill>
              <a:srgbClr val="66AEE7"/>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4242958" y="5277978"/>
            <a:ext cx="0" cy="148006"/>
          </a:xfrm>
          <a:prstGeom prst="straightConnector1">
            <a:avLst/>
          </a:prstGeom>
          <a:ln w="15875">
            <a:solidFill>
              <a:srgbClr val="003C6C"/>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4644688" y="5277978"/>
            <a:ext cx="0" cy="148006"/>
          </a:xfrm>
          <a:prstGeom prst="straightConnector1">
            <a:avLst/>
          </a:prstGeom>
          <a:ln w="15875">
            <a:solidFill>
              <a:srgbClr val="66AEE7"/>
            </a:solidFill>
            <a:headEnd type="none"/>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65758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0" y="0"/>
            <a:ext cx="5379719" cy="633256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cxnSp>
        <p:nvCxnSpPr>
          <p:cNvPr id="9" name="Straight Connector 8"/>
          <p:cNvCxnSpPr/>
          <p:nvPr/>
        </p:nvCxnSpPr>
        <p:spPr>
          <a:xfrm flipH="1">
            <a:off x="0" y="6332053"/>
            <a:ext cx="5379720"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40459" y="511828"/>
            <a:ext cx="4911606" cy="3074688"/>
          </a:xfrm>
          <a:prstGeom prst="rect">
            <a:avLst/>
          </a:prstGeom>
          <a:noFill/>
        </p:spPr>
        <p:txBody>
          <a:bodyPr wrap="square" lIns="182880" tIns="146304" rIns="182880" bIns="146304" rtlCol="0">
            <a:spAutoFit/>
          </a:bodyPr>
          <a:lstStyle/>
          <a:p>
            <a:pPr>
              <a:lnSpc>
                <a:spcPct val="90000"/>
              </a:lnSpc>
              <a:spcAft>
                <a:spcPts val="600"/>
              </a:spcAft>
              <a:defRPr/>
            </a:pPr>
            <a:r>
              <a:rPr lang="en-US" sz="4400" kern="0" dirty="0">
                <a:latin typeface="Segoe UI Light"/>
                <a:ea typeface="Segoe UI" pitchFamily="34" charset="0"/>
                <a:cs typeface="Segoe UI" pitchFamily="34" charset="0"/>
              </a:rPr>
              <a:t>Azure </a:t>
            </a:r>
            <a:br>
              <a:rPr lang="en-US" sz="4400" kern="0" dirty="0">
                <a:latin typeface="Segoe UI Light"/>
                <a:ea typeface="Segoe UI" pitchFamily="34" charset="0"/>
                <a:cs typeface="Segoe UI" pitchFamily="34" charset="0"/>
              </a:rPr>
            </a:br>
            <a:r>
              <a:rPr lang="en-US" sz="4400" kern="0" dirty="0">
                <a:latin typeface="Segoe UI Light"/>
                <a:ea typeface="Segoe UI" pitchFamily="34" charset="0"/>
                <a:cs typeface="Segoe UI" pitchFamily="34" charset="0"/>
              </a:rPr>
              <a:t>Data Lake Store</a:t>
            </a:r>
          </a:p>
          <a:p>
            <a:pPr>
              <a:lnSpc>
                <a:spcPct val="90000"/>
              </a:lnSpc>
              <a:spcBef>
                <a:spcPts val="1200"/>
              </a:spcBef>
              <a:spcAft>
                <a:spcPts val="600"/>
              </a:spcAft>
              <a:defRPr/>
            </a:pPr>
            <a:r>
              <a:rPr lang="en-US" sz="3200" kern="0" dirty="0">
                <a:latin typeface="Segoe UI Light"/>
                <a:ea typeface="Segoe UI" pitchFamily="34" charset="0"/>
                <a:cs typeface="Segoe UI" pitchFamily="34" charset="0"/>
              </a:rPr>
              <a:t>A hyper-scale </a:t>
            </a:r>
            <a:br>
              <a:rPr lang="en-US" sz="3200" kern="0" dirty="0">
                <a:latin typeface="Segoe UI Light"/>
                <a:ea typeface="Segoe UI" pitchFamily="34" charset="0"/>
                <a:cs typeface="Segoe UI" pitchFamily="34" charset="0"/>
              </a:rPr>
            </a:br>
            <a:r>
              <a:rPr lang="en-US" sz="3200" kern="0" dirty="0">
                <a:latin typeface="Segoe UI Light"/>
                <a:ea typeface="Segoe UI" pitchFamily="34" charset="0"/>
                <a:cs typeface="Segoe UI" pitchFamily="34" charset="0"/>
              </a:rPr>
              <a:t>repository for Big Data analytics workloads</a:t>
            </a:r>
          </a:p>
        </p:txBody>
      </p:sp>
      <p:sp>
        <p:nvSpPr>
          <p:cNvPr id="4" name="TextBox 3"/>
          <p:cNvSpPr txBox="1"/>
          <p:nvPr/>
        </p:nvSpPr>
        <p:spPr>
          <a:xfrm>
            <a:off x="5660019" y="1105315"/>
            <a:ext cx="6388959" cy="5004447"/>
          </a:xfrm>
          <a:prstGeom prst="rect">
            <a:avLst/>
          </a:prstGeom>
          <a:noFill/>
        </p:spPr>
        <p:txBody>
          <a:bodyPr wrap="square" lIns="182880" tIns="146304" rIns="182880" bIns="146304" rtlCol="0">
            <a:spAutoFit/>
          </a:bodyPr>
          <a:lstStyle/>
          <a:p>
            <a:pPr defTabSz="914367">
              <a:spcAft>
                <a:spcPts val="1800"/>
              </a:spcAft>
              <a:defRPr/>
            </a:pPr>
            <a:r>
              <a:rPr lang="en-US" sz="2400" dirty="0">
                <a:solidFill>
                  <a:schemeClr val="tx1">
                    <a:lumMod val="50000"/>
                  </a:schemeClr>
                </a:solidFill>
                <a:latin typeface="Segoe UI Semibold" panose="020B0702040204020203" pitchFamily="34" charset="0"/>
                <a:cs typeface="Segoe UI Semibold" panose="020B0702040204020203" pitchFamily="34" charset="0"/>
              </a:rPr>
              <a:t>Petabyte size files </a:t>
            </a:r>
            <a:r>
              <a:rPr lang="en-US" sz="2400" dirty="0">
                <a:solidFill>
                  <a:schemeClr val="tx1">
                    <a:lumMod val="50000"/>
                  </a:schemeClr>
                </a:solidFill>
                <a:cs typeface="Segoe UI" panose="020B0502040204020203" pitchFamily="34" charset="0"/>
              </a:rPr>
              <a:t>and</a:t>
            </a:r>
            <a:r>
              <a:rPr lang="en-US" sz="2400" dirty="0">
                <a:solidFill>
                  <a:schemeClr val="tx1">
                    <a:lumMod val="50000"/>
                  </a:schemeClr>
                </a:solidFill>
                <a:latin typeface="Segoe UI Semibold" panose="020B0702040204020203" pitchFamily="34" charset="0"/>
                <a:cs typeface="Segoe UI Semibold" panose="020B0702040204020203" pitchFamily="34" charset="0"/>
              </a:rPr>
              <a:t> trillions of objects</a:t>
            </a:r>
          </a:p>
          <a:p>
            <a:pPr defTabSz="914367">
              <a:spcAft>
                <a:spcPts val="1800"/>
              </a:spcAft>
              <a:defRPr/>
            </a:pPr>
            <a:r>
              <a:rPr lang="en-US" sz="2400" dirty="0">
                <a:solidFill>
                  <a:schemeClr val="tx1">
                    <a:lumMod val="50000"/>
                  </a:schemeClr>
                </a:solidFill>
                <a:latin typeface="Segoe UI Semibold" panose="020B0702040204020203" pitchFamily="34" charset="0"/>
                <a:cs typeface="Segoe UI Semibold" panose="020B0702040204020203" pitchFamily="34" charset="0"/>
              </a:rPr>
              <a:t>Scalable throughput </a:t>
            </a:r>
            <a:r>
              <a:rPr lang="en-US" sz="2400" dirty="0">
                <a:solidFill>
                  <a:schemeClr val="tx1">
                    <a:lumMod val="50000"/>
                  </a:schemeClr>
                </a:solidFill>
                <a:cs typeface="Segoe UI" panose="020B0502040204020203" pitchFamily="34" charset="0"/>
              </a:rPr>
              <a:t>for</a:t>
            </a:r>
            <a:r>
              <a:rPr lang="en-US" sz="2400" dirty="0">
                <a:solidFill>
                  <a:schemeClr val="tx1">
                    <a:lumMod val="50000"/>
                  </a:schemeClr>
                </a:solidFill>
                <a:latin typeface="Segoe UI Semibold" panose="020B0702040204020203" pitchFamily="34" charset="0"/>
                <a:cs typeface="Segoe UI Semibold" panose="020B0702040204020203" pitchFamily="34" charset="0"/>
              </a:rPr>
              <a:t> massively parallel analytics</a:t>
            </a:r>
          </a:p>
          <a:p>
            <a:pPr defTabSz="914367">
              <a:spcAft>
                <a:spcPts val="1800"/>
              </a:spcAft>
              <a:defRPr/>
            </a:pPr>
            <a:r>
              <a:rPr lang="en-US" sz="2400" dirty="0">
                <a:solidFill>
                  <a:schemeClr val="tx1">
                    <a:lumMod val="50000"/>
                  </a:schemeClr>
                </a:solidFill>
                <a:latin typeface="Segoe UI Semibold" panose="020B0702040204020203" pitchFamily="34" charset="0"/>
                <a:cs typeface="Segoe UI Semibold" panose="020B0702040204020203" pitchFamily="34" charset="0"/>
              </a:rPr>
              <a:t>HDFS </a:t>
            </a:r>
            <a:r>
              <a:rPr lang="en-US" sz="2400" dirty="0">
                <a:solidFill>
                  <a:schemeClr val="tx1">
                    <a:lumMod val="50000"/>
                  </a:schemeClr>
                </a:solidFill>
                <a:cs typeface="Segoe UI" panose="020B0502040204020203" pitchFamily="34" charset="0"/>
              </a:rPr>
              <a:t>for the cloud</a:t>
            </a:r>
          </a:p>
          <a:p>
            <a:pPr defTabSz="914367">
              <a:spcAft>
                <a:spcPts val="1800"/>
              </a:spcAft>
              <a:defRPr/>
            </a:pPr>
            <a:r>
              <a:rPr lang="en-US" sz="2400" dirty="0">
                <a:solidFill>
                  <a:schemeClr val="tx1">
                    <a:lumMod val="50000"/>
                  </a:schemeClr>
                </a:solidFill>
                <a:latin typeface="Segoe UI Semibold" panose="020B0702040204020203" pitchFamily="34" charset="0"/>
                <a:cs typeface="Segoe UI Semibold" panose="020B0702040204020203" pitchFamily="34" charset="0"/>
              </a:rPr>
              <a:t>Always encrypted, role-based security &amp; auditing</a:t>
            </a:r>
          </a:p>
          <a:p>
            <a:pPr defTabSz="914367">
              <a:spcAft>
                <a:spcPts val="1800"/>
              </a:spcAft>
              <a:defRPr/>
            </a:pPr>
            <a:r>
              <a:rPr lang="en-US" sz="2400" dirty="0">
                <a:solidFill>
                  <a:schemeClr val="tx1">
                    <a:lumMod val="50000"/>
                  </a:schemeClr>
                </a:solidFill>
                <a:latin typeface="Segoe UI Semibold" panose="020B0702040204020203" pitchFamily="34" charset="0"/>
                <a:cs typeface="Segoe UI Semibold" panose="020B0702040204020203" pitchFamily="34" charset="0"/>
              </a:rPr>
              <a:t>Enterprise-grade </a:t>
            </a:r>
            <a:r>
              <a:rPr lang="en-US" sz="2400" dirty="0">
                <a:solidFill>
                  <a:schemeClr val="tx1">
                    <a:lumMod val="50000"/>
                  </a:schemeClr>
                </a:solidFill>
                <a:cs typeface="Segoe UI" panose="020B0502040204020203" pitchFamily="34" charset="0"/>
              </a:rPr>
              <a:t>support</a:t>
            </a:r>
          </a:p>
          <a:p>
            <a:pPr defTabSz="914367">
              <a:spcAft>
                <a:spcPts val="1800"/>
              </a:spcAft>
              <a:defRPr/>
            </a:pPr>
            <a:endParaRPr lang="en-US" sz="2400" dirty="0">
              <a:solidFill>
                <a:schemeClr val="tx1">
                  <a:lumMod val="50000"/>
                </a:schemeClr>
              </a:solidFill>
              <a:latin typeface="Segoe UI Semibold" panose="020B0702040204020203" pitchFamily="34" charset="0"/>
              <a:cs typeface="Segoe UI Semibold" panose="020B0702040204020203" pitchFamily="34" charset="0"/>
            </a:endParaRPr>
          </a:p>
          <a:p>
            <a:pPr defTabSz="914367">
              <a:spcAft>
                <a:spcPts val="1800"/>
              </a:spcAft>
              <a:defRPr/>
            </a:pPr>
            <a:endParaRPr lang="en-US" sz="2400" dirty="0">
              <a:solidFill>
                <a:srgbClr val="0078D7"/>
              </a:solidFill>
              <a:latin typeface="Segoe UI Semibold" panose="020B0702040204020203" pitchFamily="34" charset="0"/>
              <a:cs typeface="Segoe UI Semibold" panose="020B0702040204020203" pitchFamily="34" charset="0"/>
            </a:endParaRPr>
          </a:p>
        </p:txBody>
      </p:sp>
      <p:grpSp>
        <p:nvGrpSpPr>
          <p:cNvPr id="8" name="Group 7"/>
          <p:cNvGrpSpPr/>
          <p:nvPr/>
        </p:nvGrpSpPr>
        <p:grpSpPr>
          <a:xfrm>
            <a:off x="3540320" y="4773911"/>
            <a:ext cx="1380055" cy="1064944"/>
            <a:chOff x="2148168" y="3425172"/>
            <a:chExt cx="2573338" cy="2016125"/>
          </a:xfrm>
        </p:grpSpPr>
        <p:sp>
          <p:nvSpPr>
            <p:cNvPr id="10" name="Rectangle 28"/>
            <p:cNvSpPr>
              <a:spLocks noChangeArrowheads="1"/>
            </p:cNvSpPr>
            <p:nvPr/>
          </p:nvSpPr>
          <p:spPr bwMode="auto">
            <a:xfrm>
              <a:off x="2829205" y="3822047"/>
              <a:ext cx="1211263" cy="151130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Rectangle 29"/>
            <p:cNvSpPr>
              <a:spLocks noChangeArrowheads="1"/>
            </p:cNvSpPr>
            <p:nvPr/>
          </p:nvSpPr>
          <p:spPr bwMode="auto">
            <a:xfrm>
              <a:off x="2829205" y="3822047"/>
              <a:ext cx="1211263" cy="1511300"/>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30"/>
            <p:cNvSpPr>
              <a:spLocks/>
            </p:cNvSpPr>
            <p:nvPr/>
          </p:nvSpPr>
          <p:spPr bwMode="auto">
            <a:xfrm>
              <a:off x="2148168" y="3425172"/>
              <a:ext cx="1549400" cy="241300"/>
            </a:xfrm>
            <a:custGeom>
              <a:avLst/>
              <a:gdLst>
                <a:gd name="T0" fmla="*/ 11574 w 11789"/>
                <a:gd name="T1" fmla="*/ 1586 h 1841"/>
                <a:gd name="T2" fmla="*/ 11006 w 11789"/>
                <a:gd name="T3" fmla="*/ 607 h 1841"/>
                <a:gd name="T4" fmla="*/ 9948 w 11789"/>
                <a:gd name="T5" fmla="*/ 0 h 1841"/>
                <a:gd name="T6" fmla="*/ 1214 w 11789"/>
                <a:gd name="T7" fmla="*/ 0 h 1841"/>
                <a:gd name="T8" fmla="*/ 0 w 11789"/>
                <a:gd name="T9" fmla="*/ 1214 h 1841"/>
                <a:gd name="T10" fmla="*/ 0 w 11789"/>
                <a:gd name="T11" fmla="*/ 1841 h 1841"/>
                <a:gd name="T12" fmla="*/ 11789 w 11789"/>
                <a:gd name="T13" fmla="*/ 1841 h 1841"/>
                <a:gd name="T14" fmla="*/ 11574 w 11789"/>
                <a:gd name="T15" fmla="*/ 1586 h 18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89" h="1841">
                  <a:moveTo>
                    <a:pt x="11574" y="1586"/>
                  </a:moveTo>
                  <a:lnTo>
                    <a:pt x="11006" y="607"/>
                  </a:lnTo>
                  <a:cubicBezTo>
                    <a:pt x="10790" y="235"/>
                    <a:pt x="10379" y="0"/>
                    <a:pt x="9948" y="0"/>
                  </a:cubicBezTo>
                  <a:lnTo>
                    <a:pt x="1214" y="0"/>
                  </a:lnTo>
                  <a:cubicBezTo>
                    <a:pt x="548" y="0"/>
                    <a:pt x="0" y="548"/>
                    <a:pt x="0" y="1214"/>
                  </a:cubicBezTo>
                  <a:lnTo>
                    <a:pt x="0" y="1841"/>
                  </a:lnTo>
                  <a:lnTo>
                    <a:pt x="11789" y="1841"/>
                  </a:lnTo>
                  <a:cubicBezTo>
                    <a:pt x="11691" y="1782"/>
                    <a:pt x="11633" y="1684"/>
                    <a:pt x="11574" y="1586"/>
                  </a:cubicBezTo>
                  <a:close/>
                </a:path>
              </a:pathLst>
            </a:custGeom>
            <a:solidFill>
              <a:srgbClr val="003C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31"/>
            <p:cNvSpPr>
              <a:spLocks noEditPoints="1"/>
            </p:cNvSpPr>
            <p:nvPr/>
          </p:nvSpPr>
          <p:spPr bwMode="auto">
            <a:xfrm>
              <a:off x="2148168" y="3749022"/>
              <a:ext cx="2573338" cy="1692275"/>
            </a:xfrm>
            <a:custGeom>
              <a:avLst/>
              <a:gdLst>
                <a:gd name="T0" fmla="*/ 9410 w 9792"/>
                <a:gd name="T1" fmla="*/ 0 h 6452"/>
                <a:gd name="T2" fmla="*/ 0 w 9792"/>
                <a:gd name="T3" fmla="*/ 0 h 6452"/>
                <a:gd name="T4" fmla="*/ 0 w 9792"/>
                <a:gd name="T5" fmla="*/ 5845 h 6452"/>
                <a:gd name="T6" fmla="*/ 607 w 9792"/>
                <a:gd name="T7" fmla="*/ 6452 h 6452"/>
                <a:gd name="T8" fmla="*/ 9185 w 9792"/>
                <a:gd name="T9" fmla="*/ 6452 h 6452"/>
                <a:gd name="T10" fmla="*/ 9792 w 9792"/>
                <a:gd name="T11" fmla="*/ 5845 h 6452"/>
                <a:gd name="T12" fmla="*/ 9792 w 9792"/>
                <a:gd name="T13" fmla="*/ 558 h 6452"/>
                <a:gd name="T14" fmla="*/ 9410 w 9792"/>
                <a:gd name="T15" fmla="*/ 0 h 6452"/>
                <a:gd name="T16" fmla="*/ 6140 w 9792"/>
                <a:gd name="T17" fmla="*/ 2937 h 6452"/>
                <a:gd name="T18" fmla="*/ 4406 w 9792"/>
                <a:gd name="T19" fmla="*/ 5415 h 6452"/>
                <a:gd name="T20" fmla="*/ 4338 w 9792"/>
                <a:gd name="T21" fmla="*/ 5454 h 6452"/>
                <a:gd name="T22" fmla="*/ 4299 w 9792"/>
                <a:gd name="T23" fmla="*/ 5444 h 6452"/>
                <a:gd name="T24" fmla="*/ 4260 w 9792"/>
                <a:gd name="T25" fmla="*/ 5346 h 6452"/>
                <a:gd name="T26" fmla="*/ 4710 w 9792"/>
                <a:gd name="T27" fmla="*/ 3867 h 6452"/>
                <a:gd name="T28" fmla="*/ 3701 w 9792"/>
                <a:gd name="T29" fmla="*/ 3867 h 6452"/>
                <a:gd name="T30" fmla="*/ 3623 w 9792"/>
                <a:gd name="T31" fmla="*/ 3818 h 6452"/>
                <a:gd name="T32" fmla="*/ 3633 w 9792"/>
                <a:gd name="T33" fmla="*/ 3730 h 6452"/>
                <a:gd name="T34" fmla="*/ 5317 w 9792"/>
                <a:gd name="T35" fmla="*/ 1282 h 6452"/>
                <a:gd name="T36" fmla="*/ 5386 w 9792"/>
                <a:gd name="T37" fmla="*/ 1243 h 6452"/>
                <a:gd name="T38" fmla="*/ 5425 w 9792"/>
                <a:gd name="T39" fmla="*/ 1253 h 6452"/>
                <a:gd name="T40" fmla="*/ 5464 w 9792"/>
                <a:gd name="T41" fmla="*/ 1351 h 6452"/>
                <a:gd name="T42" fmla="*/ 5033 w 9792"/>
                <a:gd name="T43" fmla="*/ 2800 h 6452"/>
                <a:gd name="T44" fmla="*/ 6071 w 9792"/>
                <a:gd name="T45" fmla="*/ 2800 h 6452"/>
                <a:gd name="T46" fmla="*/ 6159 w 9792"/>
                <a:gd name="T47" fmla="*/ 2888 h 6452"/>
                <a:gd name="T48" fmla="*/ 6140 w 9792"/>
                <a:gd name="T49" fmla="*/ 2937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92" h="6452">
                  <a:moveTo>
                    <a:pt x="9410" y="0"/>
                  </a:moveTo>
                  <a:lnTo>
                    <a:pt x="0" y="0"/>
                  </a:lnTo>
                  <a:lnTo>
                    <a:pt x="0" y="5845"/>
                  </a:lnTo>
                  <a:cubicBezTo>
                    <a:pt x="0" y="6178"/>
                    <a:pt x="274" y="6452"/>
                    <a:pt x="607" y="6452"/>
                  </a:cubicBezTo>
                  <a:lnTo>
                    <a:pt x="9185" y="6452"/>
                  </a:lnTo>
                  <a:cubicBezTo>
                    <a:pt x="9518" y="6452"/>
                    <a:pt x="9792" y="6178"/>
                    <a:pt x="9792" y="5845"/>
                  </a:cubicBezTo>
                  <a:lnTo>
                    <a:pt x="9792" y="558"/>
                  </a:lnTo>
                  <a:cubicBezTo>
                    <a:pt x="9792" y="313"/>
                    <a:pt x="9635" y="97"/>
                    <a:pt x="9410" y="0"/>
                  </a:cubicBezTo>
                  <a:close/>
                  <a:moveTo>
                    <a:pt x="6140" y="2937"/>
                  </a:moveTo>
                  <a:lnTo>
                    <a:pt x="4406" y="5415"/>
                  </a:lnTo>
                  <a:cubicBezTo>
                    <a:pt x="4387" y="5434"/>
                    <a:pt x="4367" y="5454"/>
                    <a:pt x="4338" y="5454"/>
                  </a:cubicBezTo>
                  <a:cubicBezTo>
                    <a:pt x="4328" y="5454"/>
                    <a:pt x="4309" y="5454"/>
                    <a:pt x="4299" y="5444"/>
                  </a:cubicBezTo>
                  <a:cubicBezTo>
                    <a:pt x="4260" y="5424"/>
                    <a:pt x="4240" y="5385"/>
                    <a:pt x="4260" y="5346"/>
                  </a:cubicBezTo>
                  <a:lnTo>
                    <a:pt x="4710" y="3867"/>
                  </a:lnTo>
                  <a:lnTo>
                    <a:pt x="3701" y="3867"/>
                  </a:lnTo>
                  <a:cubicBezTo>
                    <a:pt x="3672" y="3867"/>
                    <a:pt x="3643" y="3848"/>
                    <a:pt x="3623" y="3818"/>
                  </a:cubicBezTo>
                  <a:cubicBezTo>
                    <a:pt x="3613" y="3789"/>
                    <a:pt x="3613" y="3760"/>
                    <a:pt x="3633" y="3730"/>
                  </a:cubicBezTo>
                  <a:lnTo>
                    <a:pt x="5317" y="1282"/>
                  </a:lnTo>
                  <a:cubicBezTo>
                    <a:pt x="5337" y="1263"/>
                    <a:pt x="5356" y="1243"/>
                    <a:pt x="5386" y="1243"/>
                  </a:cubicBezTo>
                  <a:cubicBezTo>
                    <a:pt x="5395" y="1243"/>
                    <a:pt x="5405" y="1243"/>
                    <a:pt x="5425" y="1253"/>
                  </a:cubicBezTo>
                  <a:cubicBezTo>
                    <a:pt x="5464" y="1273"/>
                    <a:pt x="5484" y="1312"/>
                    <a:pt x="5464" y="1351"/>
                  </a:cubicBezTo>
                  <a:lnTo>
                    <a:pt x="5033" y="2800"/>
                  </a:lnTo>
                  <a:lnTo>
                    <a:pt x="6071" y="2800"/>
                  </a:lnTo>
                  <a:cubicBezTo>
                    <a:pt x="6120" y="2800"/>
                    <a:pt x="6159" y="2839"/>
                    <a:pt x="6159" y="2888"/>
                  </a:cubicBezTo>
                  <a:cubicBezTo>
                    <a:pt x="6159" y="2908"/>
                    <a:pt x="6149" y="2918"/>
                    <a:pt x="6140" y="2937"/>
                  </a:cubicBezTo>
                  <a:close/>
                </a:path>
              </a:pathLst>
            </a:custGeom>
            <a:solidFill>
              <a:srgbClr val="66AEE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878603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0" y="0"/>
            <a:ext cx="5379719" cy="633256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cxnSp>
        <p:nvCxnSpPr>
          <p:cNvPr id="9" name="Straight Connector 8"/>
          <p:cNvCxnSpPr/>
          <p:nvPr/>
        </p:nvCxnSpPr>
        <p:spPr>
          <a:xfrm flipH="1">
            <a:off x="0" y="6332053"/>
            <a:ext cx="5379720"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40459" y="511828"/>
            <a:ext cx="4939260" cy="2520690"/>
          </a:xfrm>
          <a:prstGeom prst="rect">
            <a:avLst/>
          </a:prstGeom>
          <a:noFill/>
        </p:spPr>
        <p:txBody>
          <a:bodyPr wrap="square" lIns="182880" tIns="146304" rIns="182880" bIns="146304" rtlCol="0">
            <a:spAutoFit/>
          </a:bodyPr>
          <a:lstStyle/>
          <a:p>
            <a:pPr>
              <a:lnSpc>
                <a:spcPct val="90000"/>
              </a:lnSpc>
              <a:spcAft>
                <a:spcPts val="600"/>
              </a:spcAft>
              <a:defRPr/>
            </a:pPr>
            <a:r>
              <a:rPr lang="en-US" sz="4400" kern="0" dirty="0">
                <a:latin typeface="Segoe UI Light"/>
                <a:ea typeface="Segoe UI" pitchFamily="34" charset="0"/>
                <a:cs typeface="Segoe UI" pitchFamily="34" charset="0"/>
              </a:rPr>
              <a:t>Azure </a:t>
            </a:r>
            <a:br>
              <a:rPr lang="en-US" sz="4400" kern="0" dirty="0">
                <a:latin typeface="Segoe UI Light"/>
                <a:ea typeface="Segoe UI" pitchFamily="34" charset="0"/>
                <a:cs typeface="Segoe UI" pitchFamily="34" charset="0"/>
              </a:rPr>
            </a:br>
            <a:r>
              <a:rPr lang="en-US" sz="4400" kern="0" dirty="0">
                <a:latin typeface="Segoe UI Light"/>
                <a:ea typeface="Segoe UI" pitchFamily="34" charset="0"/>
                <a:cs typeface="Segoe UI" pitchFamily="34" charset="0"/>
              </a:rPr>
              <a:t>Data Lake Analytics</a:t>
            </a:r>
          </a:p>
          <a:p>
            <a:pPr>
              <a:lnSpc>
                <a:spcPct val="90000"/>
              </a:lnSpc>
              <a:spcBef>
                <a:spcPts val="1200"/>
              </a:spcBef>
              <a:spcAft>
                <a:spcPts val="600"/>
              </a:spcAft>
              <a:defRPr/>
            </a:pPr>
            <a:r>
              <a:rPr lang="en-US" sz="2800" kern="0" dirty="0">
                <a:latin typeface="Segoe UI Light"/>
                <a:ea typeface="Segoe UI" pitchFamily="34" charset="0"/>
                <a:cs typeface="Segoe UI" pitchFamily="34" charset="0"/>
              </a:rPr>
              <a:t>A new distributed </a:t>
            </a:r>
            <a:br>
              <a:rPr lang="en-US" sz="2800" kern="0" dirty="0">
                <a:latin typeface="Segoe UI Light"/>
                <a:ea typeface="Segoe UI" pitchFamily="34" charset="0"/>
                <a:cs typeface="Segoe UI" pitchFamily="34" charset="0"/>
              </a:rPr>
            </a:br>
            <a:r>
              <a:rPr lang="en-US" sz="2800" kern="0" dirty="0">
                <a:latin typeface="Segoe UI Light"/>
                <a:ea typeface="Segoe UI" pitchFamily="34" charset="0"/>
                <a:cs typeface="Segoe UI" pitchFamily="34" charset="0"/>
              </a:rPr>
              <a:t>analytics service</a:t>
            </a:r>
          </a:p>
        </p:txBody>
      </p:sp>
      <p:grpSp>
        <p:nvGrpSpPr>
          <p:cNvPr id="11" name="Group 10"/>
          <p:cNvGrpSpPr/>
          <p:nvPr/>
        </p:nvGrpSpPr>
        <p:grpSpPr>
          <a:xfrm>
            <a:off x="3698680" y="4812335"/>
            <a:ext cx="1003972" cy="965983"/>
            <a:chOff x="7780975" y="2716621"/>
            <a:chExt cx="2249434" cy="2174034"/>
          </a:xfrm>
        </p:grpSpPr>
        <p:sp>
          <p:nvSpPr>
            <p:cNvPr id="15" name="Rounded Rectangle 14"/>
            <p:cNvSpPr/>
            <p:nvPr/>
          </p:nvSpPr>
          <p:spPr bwMode="auto">
            <a:xfrm rot="1534581">
              <a:off x="7912418" y="2810683"/>
              <a:ext cx="1106050" cy="1915651"/>
            </a:xfrm>
            <a:prstGeom prst="roundRect">
              <a:avLst>
                <a:gd name="adj" fmla="val 8841"/>
              </a:avLst>
            </a:prstGeom>
            <a:solidFill>
              <a:srgbClr val="7A7A7A"/>
            </a:solidFill>
            <a:ln w="152400">
              <a:solidFill>
                <a:srgbClr val="004E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16" name="Rounded Rectangle 15"/>
            <p:cNvSpPr/>
            <p:nvPr/>
          </p:nvSpPr>
          <p:spPr bwMode="auto">
            <a:xfrm rot="1534581">
              <a:off x="7954206" y="2845813"/>
              <a:ext cx="2051040" cy="1915650"/>
            </a:xfrm>
            <a:prstGeom prst="roundRect">
              <a:avLst>
                <a:gd name="adj" fmla="val 8841"/>
              </a:avLst>
            </a:prstGeom>
            <a:solidFill>
              <a:srgbClr val="003C6C"/>
            </a:solidFill>
            <a:ln w="152400">
              <a:solidFill>
                <a:srgbClr val="003C6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17" name="Rounded Rectangle 16"/>
            <p:cNvSpPr/>
            <p:nvPr/>
          </p:nvSpPr>
          <p:spPr bwMode="auto">
            <a:xfrm>
              <a:off x="7780975" y="2716621"/>
              <a:ext cx="2249434" cy="2174034"/>
            </a:xfrm>
            <a:prstGeom prst="roundRect">
              <a:avLst>
                <a:gd name="adj" fmla="val 8841"/>
              </a:avLst>
            </a:prstGeom>
            <a:solidFill>
              <a:srgbClr val="66AEE7"/>
            </a:solidFill>
            <a:ln w="152400">
              <a:solidFill>
                <a:srgbClr val="2A8E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18" name="Freeform 17"/>
            <p:cNvSpPr/>
            <p:nvPr/>
          </p:nvSpPr>
          <p:spPr bwMode="auto">
            <a:xfrm>
              <a:off x="8500707" y="3098244"/>
              <a:ext cx="877077" cy="1455575"/>
            </a:xfrm>
            <a:custGeom>
              <a:avLst/>
              <a:gdLst>
                <a:gd name="connsiteX0" fmla="*/ 559836 w 877077"/>
                <a:gd name="connsiteY0" fmla="*/ 37322 h 1418253"/>
                <a:gd name="connsiteX1" fmla="*/ 0 w 877077"/>
                <a:gd name="connsiteY1" fmla="*/ 895739 h 1418253"/>
                <a:gd name="connsiteX2" fmla="*/ 363894 w 877077"/>
                <a:gd name="connsiteY2" fmla="*/ 914400 h 1418253"/>
                <a:gd name="connsiteX3" fmla="*/ 242596 w 877077"/>
                <a:gd name="connsiteY3" fmla="*/ 1418253 h 1418253"/>
                <a:gd name="connsiteX4" fmla="*/ 877077 w 877077"/>
                <a:gd name="connsiteY4" fmla="*/ 541176 h 1418253"/>
                <a:gd name="connsiteX5" fmla="*/ 466530 w 877077"/>
                <a:gd name="connsiteY5" fmla="*/ 541176 h 1418253"/>
                <a:gd name="connsiteX6" fmla="*/ 615820 w 877077"/>
                <a:gd name="connsiteY6" fmla="*/ 0 h 1418253"/>
                <a:gd name="connsiteX0" fmla="*/ 559836 w 877077"/>
                <a:gd name="connsiteY0" fmla="*/ 74644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 name="connsiteX0" fmla="*/ 597158 w 877077"/>
                <a:gd name="connsiteY0" fmla="*/ 9330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077" h="1455575">
                  <a:moveTo>
                    <a:pt x="597158" y="9330"/>
                  </a:moveTo>
                  <a:lnTo>
                    <a:pt x="0" y="933061"/>
                  </a:lnTo>
                  <a:lnTo>
                    <a:pt x="363894" y="951722"/>
                  </a:lnTo>
                  <a:lnTo>
                    <a:pt x="242596" y="1455575"/>
                  </a:lnTo>
                  <a:lnTo>
                    <a:pt x="877077" y="578498"/>
                  </a:lnTo>
                  <a:lnTo>
                    <a:pt x="466530" y="578498"/>
                  </a:lnTo>
                  <a:lnTo>
                    <a:pt x="615820" y="0"/>
                  </a:lnTo>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kern="0">
                <a:solidFill>
                  <a:sysClr val="windowText" lastClr="000000"/>
                </a:solidFill>
              </a:endParaRPr>
            </a:p>
          </p:txBody>
        </p:sp>
      </p:grpSp>
      <p:sp>
        <p:nvSpPr>
          <p:cNvPr id="19" name="TextBox 18"/>
          <p:cNvSpPr txBox="1"/>
          <p:nvPr/>
        </p:nvSpPr>
        <p:spPr>
          <a:xfrm>
            <a:off x="5660019" y="321041"/>
            <a:ext cx="6124823" cy="5512278"/>
          </a:xfrm>
          <a:prstGeom prst="rect">
            <a:avLst/>
          </a:prstGeom>
          <a:noFill/>
        </p:spPr>
        <p:txBody>
          <a:bodyPr wrap="square" lIns="182880" tIns="146304" rIns="182880" bIns="146304" rtlCol="0">
            <a:spAutoFit/>
          </a:bodyPr>
          <a:lstStyle/>
          <a:p>
            <a:pPr defTabSz="914367">
              <a:spcAft>
                <a:spcPts val="1800"/>
              </a:spcAft>
              <a:defRPr/>
            </a:pPr>
            <a:r>
              <a:rPr lang="en-US" sz="2400" dirty="0">
                <a:solidFill>
                  <a:srgbClr val="0078D7"/>
                </a:solidFill>
                <a:latin typeface="Segoe UI Semibold" panose="020B0702040204020203" pitchFamily="34" charset="0"/>
                <a:cs typeface="Segoe UI Semibold" panose="020B0702040204020203" pitchFamily="34" charset="0"/>
              </a:rPr>
              <a:t>Distributed analytics service </a:t>
            </a:r>
            <a:r>
              <a:rPr lang="en-US" sz="2400" dirty="0">
                <a:solidFill>
                  <a:schemeClr val="bg1"/>
                </a:solidFill>
                <a:latin typeface="+mj-lt"/>
                <a:cs typeface="Segoe UI" panose="020B0502040204020203" pitchFamily="34" charset="0"/>
              </a:rPr>
              <a:t>built on Apache YARN</a:t>
            </a:r>
          </a:p>
          <a:p>
            <a:pPr defTabSz="914367">
              <a:spcAft>
                <a:spcPts val="1800"/>
              </a:spcAft>
              <a:defRPr/>
            </a:pPr>
            <a:r>
              <a:rPr lang="en-US" sz="2400" dirty="0">
                <a:solidFill>
                  <a:srgbClr val="0078D7"/>
                </a:solidFill>
                <a:latin typeface="Segoe UI Semibold" panose="020B0702040204020203" pitchFamily="34" charset="0"/>
                <a:cs typeface="Segoe UI Semibold" panose="020B0702040204020203" pitchFamily="34" charset="0"/>
              </a:rPr>
              <a:t>Elastic scale per query </a:t>
            </a:r>
            <a:r>
              <a:rPr lang="en-US" sz="2400" dirty="0">
                <a:solidFill>
                  <a:schemeClr val="bg1"/>
                </a:solidFill>
                <a:latin typeface="+mj-lt"/>
                <a:cs typeface="Segoe UI" panose="020B0502040204020203" pitchFamily="34" charset="0"/>
              </a:rPr>
              <a:t>lets users focus on business goals—not configuring hardware</a:t>
            </a:r>
          </a:p>
          <a:p>
            <a:pPr defTabSz="914367">
              <a:spcAft>
                <a:spcPts val="1800"/>
              </a:spcAft>
              <a:defRPr/>
            </a:pPr>
            <a:r>
              <a:rPr lang="en-US" sz="2400" dirty="0">
                <a:solidFill>
                  <a:schemeClr val="bg1"/>
                </a:solidFill>
                <a:latin typeface="+mj-lt"/>
                <a:cs typeface="Segoe UI" panose="020B0502040204020203" pitchFamily="34" charset="0"/>
              </a:rPr>
              <a:t>Includes U-SQL—a language that unifies the </a:t>
            </a:r>
            <a:r>
              <a:rPr lang="en-US" sz="2400" dirty="0">
                <a:solidFill>
                  <a:srgbClr val="0078D7"/>
                </a:solidFill>
                <a:latin typeface="Segoe UI Semibold" panose="020B0702040204020203" pitchFamily="34" charset="0"/>
                <a:cs typeface="Segoe UI Semibold" panose="020B0702040204020203" pitchFamily="34" charset="0"/>
              </a:rPr>
              <a:t>benefits of SQL with the expressive power of C#</a:t>
            </a:r>
          </a:p>
          <a:p>
            <a:pPr defTabSz="914367">
              <a:spcAft>
                <a:spcPts val="1800"/>
              </a:spcAft>
              <a:defRPr/>
            </a:pPr>
            <a:r>
              <a:rPr lang="en-US" sz="2400" dirty="0">
                <a:solidFill>
                  <a:srgbClr val="0078D7"/>
                </a:solidFill>
                <a:latin typeface="Segoe UI Semibold" panose="020B0702040204020203" pitchFamily="34" charset="0"/>
                <a:cs typeface="Segoe UI Semibold" panose="020B0702040204020203" pitchFamily="34" charset="0"/>
              </a:rPr>
              <a:t>Integrates with Visual Studio </a:t>
            </a:r>
            <a:r>
              <a:rPr lang="en-US" sz="2400" dirty="0">
                <a:solidFill>
                  <a:schemeClr val="bg1"/>
                </a:solidFill>
                <a:latin typeface="+mj-lt"/>
                <a:cs typeface="Segoe UI" panose="020B0502040204020203" pitchFamily="34" charset="0"/>
              </a:rPr>
              <a:t>to develop, debug, and tune code faster</a:t>
            </a:r>
          </a:p>
          <a:p>
            <a:pPr defTabSz="914367">
              <a:spcAft>
                <a:spcPts val="1800"/>
              </a:spcAft>
              <a:defRPr/>
            </a:pPr>
            <a:r>
              <a:rPr lang="en-US" sz="2400" dirty="0">
                <a:solidFill>
                  <a:srgbClr val="0078D7"/>
                </a:solidFill>
                <a:latin typeface="Segoe UI Semibold" panose="020B0702040204020203" pitchFamily="34" charset="0"/>
                <a:cs typeface="Segoe UI Semibold" panose="020B0702040204020203" pitchFamily="34" charset="0"/>
              </a:rPr>
              <a:t>Federated query </a:t>
            </a:r>
            <a:r>
              <a:rPr lang="en-US" sz="2400" dirty="0">
                <a:solidFill>
                  <a:schemeClr val="bg1"/>
                </a:solidFill>
                <a:latin typeface="+mj-lt"/>
                <a:cs typeface="Segoe UI" panose="020B0502040204020203" pitchFamily="34" charset="0"/>
              </a:rPr>
              <a:t>across Azure data sources</a:t>
            </a:r>
          </a:p>
          <a:p>
            <a:pPr defTabSz="914367">
              <a:spcAft>
                <a:spcPts val="1800"/>
              </a:spcAft>
              <a:defRPr/>
            </a:pPr>
            <a:r>
              <a:rPr lang="en-US" sz="2400" dirty="0">
                <a:solidFill>
                  <a:schemeClr val="bg1"/>
                </a:solidFill>
                <a:latin typeface="+mj-lt"/>
                <a:cs typeface="Segoe UI" panose="020B0502040204020203" pitchFamily="34" charset="0"/>
              </a:rPr>
              <a:t>Enterprise-grade </a:t>
            </a:r>
            <a:r>
              <a:rPr lang="en-US" sz="2400" dirty="0">
                <a:solidFill>
                  <a:srgbClr val="0078D7"/>
                </a:solidFill>
                <a:latin typeface="Segoe UI Semibold" panose="020B0702040204020203" pitchFamily="34" charset="0"/>
                <a:cs typeface="Segoe UI Semibold" panose="020B0702040204020203" pitchFamily="34" charset="0"/>
              </a:rPr>
              <a:t>role based access control </a:t>
            </a:r>
          </a:p>
        </p:txBody>
      </p:sp>
    </p:spTree>
    <p:extLst>
      <p:ext uri="{BB962C8B-B14F-4D97-AF65-F5344CB8AC3E}">
        <p14:creationId xmlns:p14="http://schemas.microsoft.com/office/powerpoint/2010/main" val="3500128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Lake</a:t>
            </a:r>
          </a:p>
        </p:txBody>
      </p:sp>
      <p:grpSp>
        <p:nvGrpSpPr>
          <p:cNvPr id="18" name="Group 17"/>
          <p:cNvGrpSpPr/>
          <p:nvPr/>
        </p:nvGrpSpPr>
        <p:grpSpPr>
          <a:xfrm>
            <a:off x="390763" y="1650464"/>
            <a:ext cx="6059733" cy="3742511"/>
            <a:chOff x="390763" y="1650464"/>
            <a:chExt cx="7500906" cy="3742511"/>
          </a:xfrm>
        </p:grpSpPr>
        <p:grpSp>
          <p:nvGrpSpPr>
            <p:cNvPr id="13" name="Group 12"/>
            <p:cNvGrpSpPr/>
            <p:nvPr/>
          </p:nvGrpSpPr>
          <p:grpSpPr>
            <a:xfrm>
              <a:off x="390763" y="1650464"/>
              <a:ext cx="7500906" cy="1993784"/>
              <a:chOff x="440459" y="3280483"/>
              <a:chExt cx="4430776" cy="1993784"/>
            </a:xfrm>
          </p:grpSpPr>
          <p:sp>
            <p:nvSpPr>
              <p:cNvPr id="3" name="Rectangle 2"/>
              <p:cNvSpPr>
                <a:spLocks/>
              </p:cNvSpPr>
              <p:nvPr/>
            </p:nvSpPr>
            <p:spPr>
              <a:xfrm>
                <a:off x="440459" y="3577114"/>
                <a:ext cx="4430776" cy="1697153"/>
              </a:xfrm>
              <a:prstGeom prst="rect">
                <a:avLst/>
              </a:prstGeom>
              <a:solidFill>
                <a:schemeClr val="tx1"/>
              </a:solidFill>
              <a:ln w="19050" cap="flat" cmpd="sng" algn="ctr">
                <a:solidFill>
                  <a:srgbClr val="0078D7"/>
                </a:solidFill>
                <a:prstDash val="solid"/>
              </a:ln>
              <a:effectLst/>
            </p:spPr>
            <p:txBody>
              <a:bodyPr lIns="97146" tIns="0" rIns="97146" bIns="4572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8574">
                  <a:defRPr/>
                </a:pPr>
                <a:r>
                  <a:rPr lang="en-US" sz="1400" dirty="0">
                    <a:solidFill>
                      <a:schemeClr val="accent1"/>
                    </a:solidFill>
                    <a:latin typeface="Segoe UI" panose="020B0502040204020203" pitchFamily="34" charset="0"/>
                    <a:cs typeface="Segoe UI" panose="020B0502040204020203" pitchFamily="34" charset="0"/>
                  </a:rPr>
                  <a:t>YARN</a:t>
                </a:r>
                <a:endParaRPr lang="en-US" sz="2380" dirty="0">
                  <a:solidFill>
                    <a:schemeClr val="accent1"/>
                  </a:solidFill>
                  <a:latin typeface="Segoe UI" panose="020B0502040204020203" pitchFamily="34" charset="0"/>
                  <a:cs typeface="Segoe UI" panose="020B0502040204020203" pitchFamily="34" charset="0"/>
                </a:endParaRPr>
              </a:p>
            </p:txBody>
          </p:sp>
          <p:sp>
            <p:nvSpPr>
              <p:cNvPr id="4" name="Freeform 3"/>
              <p:cNvSpPr/>
              <p:nvPr/>
            </p:nvSpPr>
            <p:spPr bwMode="auto">
              <a:xfrm rot="10800000">
                <a:off x="440459" y="3280483"/>
                <a:ext cx="4430776" cy="1620350"/>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tx1"/>
              </a:solid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48573" tIns="24287" rIns="24287" bIns="48573" numCol="1" spcCol="0" rtlCol="0" fromWordArt="0" anchor="b" anchorCtr="0" forceAA="0" compatLnSpc="1">
                <a:prstTxWarp prst="textNoShape">
                  <a:avLst/>
                </a:prstTxWarp>
                <a:noAutofit/>
              </a:bodyPr>
              <a:lstStyle/>
              <a:p>
                <a:pPr algn="ctr" defTabSz="485558" fontAlgn="base">
                  <a:spcBef>
                    <a:spcPct val="0"/>
                  </a:spcBef>
                  <a:spcAft>
                    <a:spcPct val="0"/>
                  </a:spcAft>
                  <a:defRPr/>
                </a:pPr>
                <a:endParaRPr lang="en-US" sz="1700" kern="0" spc="-26"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Rounded Rectangle 4"/>
              <p:cNvSpPr/>
              <p:nvPr/>
            </p:nvSpPr>
            <p:spPr>
              <a:xfrm>
                <a:off x="559405" y="3399935"/>
                <a:ext cx="1951703" cy="1171913"/>
              </a:xfrm>
              <a:prstGeom prst="roundRect">
                <a:avLst>
                  <a:gd name="adj" fmla="val 14066"/>
                </a:avLst>
              </a:prstGeom>
              <a:solidFill>
                <a:schemeClr val="tx1"/>
              </a:solidFill>
              <a:ln w="19050">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78"/>
                <a:endParaRPr lang="en-US" sz="1836">
                  <a:solidFill>
                    <a:prstClr val="white"/>
                  </a:solidFill>
                  <a:latin typeface="Segoe UI Light"/>
                </a:endParaRPr>
              </a:p>
            </p:txBody>
          </p:sp>
          <p:sp>
            <p:nvSpPr>
              <p:cNvPr id="6" name="Rounded Rectangle 5"/>
              <p:cNvSpPr/>
              <p:nvPr/>
            </p:nvSpPr>
            <p:spPr>
              <a:xfrm>
                <a:off x="2724140" y="3398960"/>
                <a:ext cx="2036224" cy="1171913"/>
              </a:xfrm>
              <a:prstGeom prst="roundRect">
                <a:avLst>
                  <a:gd name="adj" fmla="val 15181"/>
                </a:avLst>
              </a:prstGeom>
              <a:solidFill>
                <a:schemeClr val="tx1"/>
              </a:solidFill>
              <a:ln w="19050">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78"/>
                <a:endParaRPr lang="en-US" sz="1836">
                  <a:solidFill>
                    <a:prstClr val="white"/>
                  </a:solidFill>
                  <a:latin typeface="Segoe UI Light"/>
                </a:endParaRPr>
              </a:p>
            </p:txBody>
          </p:sp>
          <p:sp>
            <p:nvSpPr>
              <p:cNvPr id="7" name="TextBox 6"/>
              <p:cNvSpPr txBox="1"/>
              <p:nvPr/>
            </p:nvSpPr>
            <p:spPr>
              <a:xfrm>
                <a:off x="587266" y="4199032"/>
                <a:ext cx="872994" cy="307777"/>
              </a:xfrm>
              <a:prstGeom prst="rect">
                <a:avLst/>
              </a:prstGeom>
              <a:noFill/>
            </p:spPr>
            <p:txBody>
              <a:bodyPr wrap="square" rtlCol="0">
                <a:spAutoFit/>
              </a:bodyPr>
              <a:lstStyle/>
              <a:p>
                <a:pPr algn="ctr" defTabSz="485718">
                  <a:defRPr/>
                </a:pPr>
                <a:r>
                  <a:rPr lang="en-US" sz="1400" kern="0" dirty="0">
                    <a:solidFill>
                      <a:srgbClr val="0078D7"/>
                    </a:solidFill>
                    <a:latin typeface="Segoe UI Semibold" panose="020B0702040204020203" pitchFamily="34" charset="0"/>
                    <a:cs typeface="Segoe UI Semibold" panose="020B0702040204020203" pitchFamily="34" charset="0"/>
                  </a:rPr>
                  <a:t>U-SQL</a:t>
                </a:r>
                <a:endParaRPr lang="en-US" sz="1700" kern="0" dirty="0">
                  <a:solidFill>
                    <a:srgbClr val="0078D7"/>
                  </a:solidFill>
                  <a:latin typeface="Segoe UI Semibold" panose="020B0702040204020203" pitchFamily="34" charset="0"/>
                  <a:cs typeface="Segoe UI Semibold" panose="020B0702040204020203" pitchFamily="34" charset="0"/>
                </a:endParaRPr>
              </a:p>
            </p:txBody>
          </p:sp>
          <p:sp>
            <p:nvSpPr>
              <p:cNvPr id="8" name="TextBox 7"/>
              <p:cNvSpPr txBox="1"/>
              <p:nvPr/>
            </p:nvSpPr>
            <p:spPr>
              <a:xfrm>
                <a:off x="714305" y="3404692"/>
                <a:ext cx="1641903" cy="369332"/>
              </a:xfrm>
              <a:prstGeom prst="rect">
                <a:avLst/>
              </a:prstGeom>
              <a:noFill/>
            </p:spPr>
            <p:txBody>
              <a:bodyPr wrap="square" rtlCol="0">
                <a:spAutoFit/>
              </a:bodyPr>
              <a:lstStyle/>
              <a:p>
                <a:pPr algn="ctr" defTabSz="485718">
                  <a:defRPr/>
                </a:pPr>
                <a:r>
                  <a:rPr lang="en-US" kern="0" dirty="0">
                    <a:solidFill>
                      <a:srgbClr val="0078D7"/>
                    </a:solidFill>
                    <a:latin typeface="Segoe UI Semibold" panose="020B0702040204020203" pitchFamily="34" charset="0"/>
                    <a:cs typeface="Segoe UI Semibold" panose="020B0702040204020203" pitchFamily="34" charset="0"/>
                  </a:rPr>
                  <a:t>Analytics</a:t>
                </a:r>
              </a:p>
            </p:txBody>
          </p:sp>
          <p:sp>
            <p:nvSpPr>
              <p:cNvPr id="9" name="TextBox 8"/>
              <p:cNvSpPr txBox="1"/>
              <p:nvPr/>
            </p:nvSpPr>
            <p:spPr>
              <a:xfrm>
                <a:off x="2874322" y="3399936"/>
                <a:ext cx="1735860" cy="369332"/>
              </a:xfrm>
              <a:prstGeom prst="rect">
                <a:avLst/>
              </a:prstGeom>
              <a:noFill/>
            </p:spPr>
            <p:txBody>
              <a:bodyPr wrap="square" rtlCol="0">
                <a:spAutoFit/>
              </a:bodyPr>
              <a:lstStyle/>
              <a:p>
                <a:pPr marL="0" lvl="1" algn="ctr" defTabSz="485718">
                  <a:defRPr/>
                </a:pPr>
                <a:r>
                  <a:rPr lang="en-US" kern="0" dirty="0">
                    <a:solidFill>
                      <a:srgbClr val="0078D7"/>
                    </a:solidFill>
                    <a:latin typeface="Segoe UI Semibold" panose="020B0702040204020203" pitchFamily="34" charset="0"/>
                    <a:cs typeface="Segoe UI Semibold" panose="020B0702040204020203" pitchFamily="34" charset="0"/>
                  </a:rPr>
                  <a:t>HDInsight</a:t>
                </a:r>
              </a:p>
            </p:txBody>
          </p:sp>
          <p:sp>
            <p:nvSpPr>
              <p:cNvPr id="10" name="TextBox 9"/>
              <p:cNvSpPr txBox="1"/>
              <p:nvPr/>
            </p:nvSpPr>
            <p:spPr>
              <a:xfrm>
                <a:off x="2693811" y="4199032"/>
                <a:ext cx="627684" cy="307777"/>
              </a:xfrm>
              <a:prstGeom prst="rect">
                <a:avLst/>
              </a:prstGeom>
              <a:noFill/>
            </p:spPr>
            <p:txBody>
              <a:bodyPr wrap="square" rtlCol="0">
                <a:spAutoFit/>
              </a:bodyPr>
              <a:lstStyle/>
              <a:p>
                <a:pPr algn="ctr" defTabSz="485718">
                  <a:defRPr/>
                </a:pPr>
                <a:r>
                  <a:rPr lang="en-US" sz="1400" kern="0" dirty="0">
                    <a:solidFill>
                      <a:srgbClr val="0078D7"/>
                    </a:solidFill>
                    <a:latin typeface="Segoe UI Semibold" panose="020B0702040204020203" pitchFamily="34" charset="0"/>
                    <a:cs typeface="Segoe UI Semibold" panose="020B0702040204020203" pitchFamily="34" charset="0"/>
                  </a:rPr>
                  <a:t>Hive</a:t>
                </a:r>
                <a:endParaRPr lang="en-US" sz="1700" kern="0" dirty="0">
                  <a:solidFill>
                    <a:srgbClr val="0078D7"/>
                  </a:solidFill>
                  <a:latin typeface="Segoe UI Semibold" panose="020B0702040204020203" pitchFamily="34" charset="0"/>
                  <a:cs typeface="Segoe UI Semibold" panose="020B0702040204020203" pitchFamily="34" charset="0"/>
                </a:endParaRPr>
              </a:p>
            </p:txBody>
          </p:sp>
          <p:pic>
            <p:nvPicPr>
              <p:cNvPr id="11" name="Picture 2" descr="http://storm.apache.org/images/logocontest/storm_logo_winn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427" y="4244311"/>
                <a:ext cx="478071" cy="2633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http://sparkhadoop.com/wp-content/uploads/2015/01/logo_spark_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7510" y="4217278"/>
                <a:ext cx="359706" cy="263383"/>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extBox 13"/>
            <p:cNvSpPr txBox="1"/>
            <p:nvPr/>
          </p:nvSpPr>
          <p:spPr>
            <a:xfrm>
              <a:off x="6702484" y="2569013"/>
              <a:ext cx="1062613" cy="307777"/>
            </a:xfrm>
            <a:prstGeom prst="rect">
              <a:avLst/>
            </a:prstGeom>
            <a:noFill/>
          </p:spPr>
          <p:txBody>
            <a:bodyPr wrap="square" rtlCol="0">
              <a:spAutoFit/>
            </a:bodyPr>
            <a:lstStyle/>
            <a:p>
              <a:pPr algn="ctr" defTabSz="485718">
                <a:defRPr/>
              </a:pPr>
              <a:r>
                <a:rPr lang="en-US" sz="1400" kern="0" dirty="0">
                  <a:solidFill>
                    <a:srgbClr val="0078D7"/>
                  </a:solidFill>
                  <a:latin typeface="Segoe UI Semibold" panose="020B0702040204020203" pitchFamily="34" charset="0"/>
                  <a:cs typeface="Segoe UI Semibold" panose="020B0702040204020203" pitchFamily="34" charset="0"/>
                </a:rPr>
                <a:t>R Server</a:t>
              </a:r>
            </a:p>
          </p:txBody>
        </p:sp>
        <p:sp>
          <p:nvSpPr>
            <p:cNvPr id="15" name="Rectangle 14"/>
            <p:cNvSpPr>
              <a:spLocks/>
            </p:cNvSpPr>
            <p:nvPr/>
          </p:nvSpPr>
          <p:spPr>
            <a:xfrm>
              <a:off x="390763" y="3695822"/>
              <a:ext cx="7500906" cy="1697153"/>
            </a:xfrm>
            <a:prstGeom prst="rect">
              <a:avLst/>
            </a:prstGeom>
            <a:solidFill>
              <a:schemeClr val="tx1"/>
            </a:solidFill>
            <a:ln w="19050" cap="flat" cmpd="sng" algn="ctr">
              <a:solidFill>
                <a:srgbClr val="0078D7"/>
              </a:solidFill>
              <a:prstDash val="solid"/>
            </a:ln>
            <a:effectLst/>
          </p:spPr>
          <p:txBody>
            <a:bodyPr lIns="97146" tIns="0" rIns="97146" bIns="4572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8574">
                <a:defRPr/>
              </a:pPr>
              <a:r>
                <a:rPr lang="en-US" sz="1400" dirty="0">
                  <a:solidFill>
                    <a:schemeClr val="accent1"/>
                  </a:solidFill>
                  <a:latin typeface="Segoe UI" panose="020B0502040204020203" pitchFamily="34" charset="0"/>
                  <a:cs typeface="Segoe UI" panose="020B0502040204020203" pitchFamily="34" charset="0"/>
                </a:rPr>
                <a:t>HDFS</a:t>
              </a:r>
              <a:endParaRPr lang="en-US" sz="2380" dirty="0">
                <a:solidFill>
                  <a:schemeClr val="accent1"/>
                </a:solidFill>
                <a:latin typeface="Segoe UI" panose="020B0502040204020203" pitchFamily="34" charset="0"/>
                <a:cs typeface="Segoe UI" panose="020B0502040204020203" pitchFamily="34" charset="0"/>
              </a:endParaRPr>
            </a:p>
          </p:txBody>
        </p:sp>
        <p:sp>
          <p:nvSpPr>
            <p:cNvPr id="16" name="Rounded Rectangle 15"/>
            <p:cNvSpPr/>
            <p:nvPr/>
          </p:nvSpPr>
          <p:spPr>
            <a:xfrm>
              <a:off x="465165" y="4148681"/>
              <a:ext cx="7299932" cy="1171913"/>
            </a:xfrm>
            <a:prstGeom prst="roundRect">
              <a:avLst>
                <a:gd name="adj" fmla="val 14066"/>
              </a:avLst>
            </a:prstGeom>
            <a:solidFill>
              <a:schemeClr val="tx1"/>
            </a:solidFill>
            <a:ln w="19050">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78"/>
              <a:r>
                <a:rPr lang="en-US" kern="0" dirty="0">
                  <a:solidFill>
                    <a:srgbClr val="0078D7"/>
                  </a:solidFill>
                  <a:latin typeface="Segoe UI Semibold" panose="020B0702040204020203" pitchFamily="34" charset="0"/>
                  <a:cs typeface="Segoe UI Semibold" panose="020B0702040204020203" pitchFamily="34" charset="0"/>
                </a:rPr>
                <a:t>Store</a:t>
              </a:r>
            </a:p>
          </p:txBody>
        </p:sp>
      </p:grpSp>
      <p:sp>
        <p:nvSpPr>
          <p:cNvPr id="17" name="TextBox 16"/>
          <p:cNvSpPr txBox="1"/>
          <p:nvPr/>
        </p:nvSpPr>
        <p:spPr>
          <a:xfrm>
            <a:off x="6662344" y="1085876"/>
            <a:ext cx="5587672" cy="4989058"/>
          </a:xfrm>
          <a:prstGeom prst="rect">
            <a:avLst/>
          </a:prstGeom>
          <a:noFill/>
        </p:spPr>
        <p:txBody>
          <a:bodyPr wrap="square" lIns="182880" tIns="146304" rIns="182880" bIns="146304" rtlCol="0">
            <a:spAutoFit/>
          </a:bodyPr>
          <a:lstStyle/>
          <a:p>
            <a:pPr defTabSz="914367">
              <a:spcAft>
                <a:spcPts val="1800"/>
              </a:spcAft>
              <a:defRPr/>
            </a:pPr>
            <a:r>
              <a:rPr lang="en-US" sz="2000" dirty="0">
                <a:solidFill>
                  <a:schemeClr val="bg1"/>
                </a:solidFill>
                <a:latin typeface="+mj-lt"/>
                <a:cs typeface="Segoe UI" panose="020B0502040204020203" pitchFamily="34" charset="0"/>
              </a:rPr>
              <a:t>Store and analyze data of any kind and size</a:t>
            </a:r>
          </a:p>
          <a:p>
            <a:pPr defTabSz="914367">
              <a:spcAft>
                <a:spcPts val="1800"/>
              </a:spcAft>
              <a:defRPr/>
            </a:pPr>
            <a:r>
              <a:rPr lang="en-US" sz="2000" dirty="0">
                <a:solidFill>
                  <a:schemeClr val="bg1"/>
                </a:solidFill>
                <a:latin typeface="+mj-lt"/>
                <a:cs typeface="Segoe UI" panose="020B0502040204020203" pitchFamily="34" charset="0"/>
              </a:rPr>
              <a:t>Develop faster, debug and optimize smarter</a:t>
            </a:r>
          </a:p>
          <a:p>
            <a:pPr defTabSz="914367">
              <a:spcAft>
                <a:spcPts val="1800"/>
              </a:spcAft>
              <a:defRPr/>
            </a:pPr>
            <a:r>
              <a:rPr lang="en-US" sz="2000" dirty="0">
                <a:solidFill>
                  <a:schemeClr val="bg1"/>
                </a:solidFill>
                <a:latin typeface="+mj-lt"/>
                <a:cs typeface="Segoe UI" panose="020B0502040204020203" pitchFamily="34" charset="0"/>
              </a:rPr>
              <a:t>Interactively explore patterns in your data</a:t>
            </a:r>
          </a:p>
          <a:p>
            <a:pPr defTabSz="914367">
              <a:spcAft>
                <a:spcPts val="1800"/>
              </a:spcAft>
              <a:defRPr/>
            </a:pPr>
            <a:r>
              <a:rPr lang="en-US" sz="2000" dirty="0">
                <a:solidFill>
                  <a:schemeClr val="bg1"/>
                </a:solidFill>
                <a:latin typeface="+mj-lt"/>
                <a:cs typeface="Segoe UI" panose="020B0502040204020203" pitchFamily="34" charset="0"/>
              </a:rPr>
              <a:t>No learning curve</a:t>
            </a:r>
          </a:p>
          <a:p>
            <a:pPr>
              <a:spcBef>
                <a:spcPts val="600"/>
              </a:spcBef>
              <a:spcAft>
                <a:spcPts val="600"/>
              </a:spcAft>
            </a:pPr>
            <a:r>
              <a:rPr lang="en-US" sz="2000" dirty="0">
                <a:solidFill>
                  <a:schemeClr val="bg1"/>
                </a:solidFill>
                <a:latin typeface="+mj-lt"/>
                <a:cs typeface="Segoe UI" panose="020B0502040204020203" pitchFamily="34" charset="0"/>
              </a:rPr>
              <a:t>Managed and supported </a:t>
            </a:r>
          </a:p>
          <a:p>
            <a:pPr>
              <a:spcBef>
                <a:spcPts val="600"/>
              </a:spcBef>
              <a:spcAft>
                <a:spcPts val="600"/>
              </a:spcAft>
            </a:pPr>
            <a:r>
              <a:rPr lang="en-US" sz="2000" dirty="0">
                <a:solidFill>
                  <a:schemeClr val="bg1"/>
                </a:solidFill>
                <a:latin typeface="+mj-lt"/>
                <a:cs typeface="Segoe UI" panose="020B0502040204020203" pitchFamily="34" charset="0"/>
              </a:rPr>
              <a:t>Dynamically scales to match your business priorities</a:t>
            </a:r>
          </a:p>
          <a:p>
            <a:pPr>
              <a:spcBef>
                <a:spcPts val="600"/>
              </a:spcBef>
              <a:spcAft>
                <a:spcPts val="600"/>
              </a:spcAft>
            </a:pPr>
            <a:r>
              <a:rPr lang="en-US" sz="2000" dirty="0">
                <a:solidFill>
                  <a:schemeClr val="bg1"/>
                </a:solidFill>
                <a:latin typeface="+mj-lt"/>
                <a:cs typeface="Segoe UI" panose="020B0502040204020203" pitchFamily="34" charset="0"/>
              </a:rPr>
              <a:t>Enterprise-grade security </a:t>
            </a:r>
          </a:p>
          <a:p>
            <a:pPr>
              <a:spcBef>
                <a:spcPts val="600"/>
              </a:spcBef>
              <a:spcAft>
                <a:spcPts val="600"/>
              </a:spcAft>
            </a:pPr>
            <a:r>
              <a:rPr lang="en-US" sz="2000" dirty="0">
                <a:solidFill>
                  <a:schemeClr val="bg1"/>
                </a:solidFill>
                <a:latin typeface="+mj-lt"/>
                <a:cs typeface="Segoe UI" panose="020B0502040204020203" pitchFamily="34" charset="0"/>
              </a:rPr>
              <a:t>Built on YARN, designed for the cloud</a:t>
            </a:r>
          </a:p>
          <a:p>
            <a:pPr defTabSz="914367">
              <a:spcBef>
                <a:spcPts val="600"/>
              </a:spcBef>
              <a:spcAft>
                <a:spcPts val="600"/>
              </a:spcAft>
              <a:defRPr/>
            </a:pPr>
            <a:endParaRPr lang="en-US" sz="2000" dirty="0">
              <a:solidFill>
                <a:schemeClr val="bg1"/>
              </a:solidFill>
              <a:latin typeface="+mj-lt"/>
              <a:cs typeface="Segoe UI" panose="020B0502040204020203" pitchFamily="34" charset="0"/>
            </a:endParaRPr>
          </a:p>
        </p:txBody>
      </p:sp>
    </p:spTree>
    <p:extLst>
      <p:ext uri="{BB962C8B-B14F-4D97-AF65-F5344CB8AC3E}">
        <p14:creationId xmlns:p14="http://schemas.microsoft.com/office/powerpoint/2010/main" val="229716924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594465" y="2242381"/>
            <a:ext cx="2506823" cy="1145815"/>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Any BI tool</a:t>
            </a:r>
          </a:p>
        </p:txBody>
      </p:sp>
      <p:sp>
        <p:nvSpPr>
          <p:cNvPr id="61" name="Rectangle 60"/>
          <p:cNvSpPr/>
          <p:nvPr/>
        </p:nvSpPr>
        <p:spPr>
          <a:xfrm>
            <a:off x="9594465" y="3486651"/>
            <a:ext cx="2506823" cy="1145815"/>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Advanced Analytics</a:t>
            </a:r>
          </a:p>
        </p:txBody>
      </p:sp>
      <p:sp>
        <p:nvSpPr>
          <p:cNvPr id="62" name="Rectangle 61"/>
          <p:cNvSpPr/>
          <p:nvPr/>
        </p:nvSpPr>
        <p:spPr>
          <a:xfrm>
            <a:off x="9594465" y="4730920"/>
            <a:ext cx="2506823" cy="1145815"/>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Any language</a:t>
            </a:r>
          </a:p>
        </p:txBody>
      </p:sp>
      <p:sp>
        <p:nvSpPr>
          <p:cNvPr id="107" name="Freeform 106"/>
          <p:cNvSpPr/>
          <p:nvPr/>
        </p:nvSpPr>
        <p:spPr>
          <a:xfrm>
            <a:off x="3799060" y="2240051"/>
            <a:ext cx="5681311" cy="1769544"/>
          </a:xfrm>
          <a:custGeom>
            <a:avLst/>
            <a:gdLst>
              <a:gd name="connsiteX0" fmla="*/ 186442 w 5681311"/>
              <a:gd name="connsiteY0" fmla="*/ 737400 h 1769544"/>
              <a:gd name="connsiteX1" fmla="*/ 186442 w 5681311"/>
              <a:gd name="connsiteY1" fmla="*/ 1036776 h 1769544"/>
              <a:gd name="connsiteX2" fmla="*/ 336129 w 5681311"/>
              <a:gd name="connsiteY2" fmla="*/ 886777 h 1769544"/>
              <a:gd name="connsiteX3" fmla="*/ 0 w 5681311"/>
              <a:gd name="connsiteY3" fmla="*/ 0 h 1769544"/>
              <a:gd name="connsiteX4" fmla="*/ 5681311 w 5681311"/>
              <a:gd name="connsiteY4" fmla="*/ 0 h 1769544"/>
              <a:gd name="connsiteX5" fmla="*/ 5681311 w 5681311"/>
              <a:gd name="connsiteY5" fmla="*/ 1769544 h 1769544"/>
              <a:gd name="connsiteX6" fmla="*/ 3415484 w 5681311"/>
              <a:gd name="connsiteY6" fmla="*/ 1769544 h 1769544"/>
              <a:gd name="connsiteX7" fmla="*/ 3415483 w 5681311"/>
              <a:gd name="connsiteY7" fmla="*/ 1644822 h 1769544"/>
              <a:gd name="connsiteX8" fmla="*/ 3265484 w 5681311"/>
              <a:gd name="connsiteY8" fmla="*/ 1516536 h 1769544"/>
              <a:gd name="connsiteX9" fmla="*/ 3116106 w 5681311"/>
              <a:gd name="connsiteY9" fmla="*/ 1644824 h 1769544"/>
              <a:gd name="connsiteX10" fmla="*/ 3116107 w 5681311"/>
              <a:gd name="connsiteY10" fmla="*/ 1769544 h 1769544"/>
              <a:gd name="connsiteX11" fmla="*/ 1083836 w 5681311"/>
              <a:gd name="connsiteY11" fmla="*/ 1769544 h 1769544"/>
              <a:gd name="connsiteX12" fmla="*/ 1083836 w 5681311"/>
              <a:gd name="connsiteY12" fmla="*/ 79707 h 1769544"/>
              <a:gd name="connsiteX13" fmla="*/ 375704 w 5681311"/>
              <a:gd name="connsiteY13" fmla="*/ 79707 h 1769544"/>
              <a:gd name="connsiteX14" fmla="*/ 375704 w 5681311"/>
              <a:gd name="connsiteY14" fmla="*/ 1769544 h 1769544"/>
              <a:gd name="connsiteX15" fmla="*/ 0 w 5681311"/>
              <a:gd name="connsiteY15" fmla="*/ 1769544 h 1769544"/>
              <a:gd name="connsiteX16" fmla="*/ 0 w 5681311"/>
              <a:gd name="connsiteY16" fmla="*/ 1036777 h 1769544"/>
              <a:gd name="connsiteX17" fmla="*/ 186440 w 5681311"/>
              <a:gd name="connsiteY17" fmla="*/ 1036777 h 1769544"/>
              <a:gd name="connsiteX18" fmla="*/ 186440 w 5681311"/>
              <a:gd name="connsiteY18" fmla="*/ 737399 h 1769544"/>
              <a:gd name="connsiteX19" fmla="*/ 0 w 5681311"/>
              <a:gd name="connsiteY19" fmla="*/ 737399 h 176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81311" h="1769544">
                <a:moveTo>
                  <a:pt x="186442" y="737400"/>
                </a:moveTo>
                <a:lnTo>
                  <a:pt x="186442" y="1036776"/>
                </a:lnTo>
                <a:lnTo>
                  <a:pt x="336129" y="886777"/>
                </a:lnTo>
                <a:close/>
                <a:moveTo>
                  <a:pt x="0" y="0"/>
                </a:moveTo>
                <a:lnTo>
                  <a:pt x="5681311" y="0"/>
                </a:lnTo>
                <a:lnTo>
                  <a:pt x="5681311" y="1769544"/>
                </a:lnTo>
                <a:lnTo>
                  <a:pt x="3415484" y="1769544"/>
                </a:lnTo>
                <a:lnTo>
                  <a:pt x="3415483" y="1644822"/>
                </a:lnTo>
                <a:lnTo>
                  <a:pt x="3265484" y="1516536"/>
                </a:lnTo>
                <a:lnTo>
                  <a:pt x="3116106" y="1644824"/>
                </a:lnTo>
                <a:lnTo>
                  <a:pt x="3116107" y="1769544"/>
                </a:lnTo>
                <a:lnTo>
                  <a:pt x="1083836" y="1769544"/>
                </a:lnTo>
                <a:lnTo>
                  <a:pt x="1083836" y="79707"/>
                </a:lnTo>
                <a:lnTo>
                  <a:pt x="375704" y="79707"/>
                </a:lnTo>
                <a:lnTo>
                  <a:pt x="375704" y="1769544"/>
                </a:lnTo>
                <a:lnTo>
                  <a:pt x="0" y="1769544"/>
                </a:lnTo>
                <a:lnTo>
                  <a:pt x="0" y="1036777"/>
                </a:lnTo>
                <a:lnTo>
                  <a:pt x="186440" y="1036777"/>
                </a:lnTo>
                <a:lnTo>
                  <a:pt x="186440" y="737399"/>
                </a:lnTo>
                <a:lnTo>
                  <a:pt x="0" y="737399"/>
                </a:lnTo>
                <a:close/>
              </a:path>
            </a:pathLst>
          </a:custGeom>
          <a:solidFill>
            <a:srgbClr val="ECEFF3">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108"/>
          <p:cNvSpPr/>
          <p:nvPr/>
        </p:nvSpPr>
        <p:spPr>
          <a:xfrm>
            <a:off x="3799060" y="4114511"/>
            <a:ext cx="5681311" cy="1769544"/>
          </a:xfrm>
          <a:custGeom>
            <a:avLst/>
            <a:gdLst>
              <a:gd name="connsiteX0" fmla="*/ 186442 w 5681311"/>
              <a:gd name="connsiteY0" fmla="*/ 731083 h 1769544"/>
              <a:gd name="connsiteX1" fmla="*/ 186442 w 5681311"/>
              <a:gd name="connsiteY1" fmla="*/ 1030459 h 1769544"/>
              <a:gd name="connsiteX2" fmla="*/ 336129 w 5681311"/>
              <a:gd name="connsiteY2" fmla="*/ 880460 h 1769544"/>
              <a:gd name="connsiteX3" fmla="*/ 0 w 5681311"/>
              <a:gd name="connsiteY3" fmla="*/ 0 h 1769544"/>
              <a:gd name="connsiteX4" fmla="*/ 375704 w 5681311"/>
              <a:gd name="connsiteY4" fmla="*/ 0 h 1769544"/>
              <a:gd name="connsiteX5" fmla="*/ 375704 w 5681311"/>
              <a:gd name="connsiteY5" fmla="*/ 1689108 h 1769544"/>
              <a:gd name="connsiteX6" fmla="*/ 1083836 w 5681311"/>
              <a:gd name="connsiteY6" fmla="*/ 1689108 h 1769544"/>
              <a:gd name="connsiteX7" fmla="*/ 1083836 w 5681311"/>
              <a:gd name="connsiteY7" fmla="*/ 0 h 1769544"/>
              <a:gd name="connsiteX8" fmla="*/ 3116108 w 5681311"/>
              <a:gd name="connsiteY8" fmla="*/ 0 h 1769544"/>
              <a:gd name="connsiteX9" fmla="*/ 3116108 w 5681311"/>
              <a:gd name="connsiteY9" fmla="*/ 93338 h 1769544"/>
              <a:gd name="connsiteX10" fmla="*/ 3266107 w 5681311"/>
              <a:gd name="connsiteY10" fmla="*/ 221624 h 1769544"/>
              <a:gd name="connsiteX11" fmla="*/ 3415484 w 5681311"/>
              <a:gd name="connsiteY11" fmla="*/ 93338 h 1769544"/>
              <a:gd name="connsiteX12" fmla="*/ 3415484 w 5681311"/>
              <a:gd name="connsiteY12" fmla="*/ 0 h 1769544"/>
              <a:gd name="connsiteX13" fmla="*/ 5681311 w 5681311"/>
              <a:gd name="connsiteY13" fmla="*/ 0 h 1769544"/>
              <a:gd name="connsiteX14" fmla="*/ 5681311 w 5681311"/>
              <a:gd name="connsiteY14" fmla="*/ 1769544 h 1769544"/>
              <a:gd name="connsiteX15" fmla="*/ 0 w 5681311"/>
              <a:gd name="connsiteY15" fmla="*/ 1769544 h 1769544"/>
              <a:gd name="connsiteX16" fmla="*/ 0 w 5681311"/>
              <a:gd name="connsiteY16" fmla="*/ 1030460 h 1769544"/>
              <a:gd name="connsiteX17" fmla="*/ 186440 w 5681311"/>
              <a:gd name="connsiteY17" fmla="*/ 1030460 h 1769544"/>
              <a:gd name="connsiteX18" fmla="*/ 186440 w 5681311"/>
              <a:gd name="connsiteY18" fmla="*/ 731082 h 1769544"/>
              <a:gd name="connsiteX19" fmla="*/ 0 w 5681311"/>
              <a:gd name="connsiteY19" fmla="*/ 731082 h 176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81311" h="1769544">
                <a:moveTo>
                  <a:pt x="186442" y="731083"/>
                </a:moveTo>
                <a:lnTo>
                  <a:pt x="186442" y="1030459"/>
                </a:lnTo>
                <a:lnTo>
                  <a:pt x="336129" y="880460"/>
                </a:lnTo>
                <a:close/>
                <a:moveTo>
                  <a:pt x="0" y="0"/>
                </a:moveTo>
                <a:lnTo>
                  <a:pt x="375704" y="0"/>
                </a:lnTo>
                <a:lnTo>
                  <a:pt x="375704" y="1689108"/>
                </a:lnTo>
                <a:lnTo>
                  <a:pt x="1083836" y="1689108"/>
                </a:lnTo>
                <a:lnTo>
                  <a:pt x="1083836" y="0"/>
                </a:lnTo>
                <a:lnTo>
                  <a:pt x="3116108" y="0"/>
                </a:lnTo>
                <a:lnTo>
                  <a:pt x="3116108" y="93338"/>
                </a:lnTo>
                <a:lnTo>
                  <a:pt x="3266107" y="221624"/>
                </a:lnTo>
                <a:lnTo>
                  <a:pt x="3415484" y="93338"/>
                </a:lnTo>
                <a:lnTo>
                  <a:pt x="3415484" y="0"/>
                </a:lnTo>
                <a:lnTo>
                  <a:pt x="5681311" y="0"/>
                </a:lnTo>
                <a:lnTo>
                  <a:pt x="5681311" y="1769544"/>
                </a:lnTo>
                <a:lnTo>
                  <a:pt x="0" y="1769544"/>
                </a:lnTo>
                <a:lnTo>
                  <a:pt x="0" y="1030460"/>
                </a:lnTo>
                <a:lnTo>
                  <a:pt x="186440" y="1030460"/>
                </a:lnTo>
                <a:lnTo>
                  <a:pt x="186440" y="731082"/>
                </a:lnTo>
                <a:lnTo>
                  <a:pt x="0" y="731082"/>
                </a:lnTo>
                <a:close/>
              </a:path>
            </a:pathLst>
          </a:custGeom>
          <a:solidFill>
            <a:srgbClr val="ECEFF3">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Rectangle 86"/>
          <p:cNvSpPr/>
          <p:nvPr/>
        </p:nvSpPr>
        <p:spPr>
          <a:xfrm>
            <a:off x="112482" y="2246641"/>
            <a:ext cx="3581308" cy="3637414"/>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0" name="Rectangle 59"/>
          <p:cNvSpPr/>
          <p:nvPr/>
        </p:nvSpPr>
        <p:spPr>
          <a:xfrm>
            <a:off x="5446816" y="4374097"/>
            <a:ext cx="328039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50"/>
                </a:solidFill>
                <a:effectLst/>
                <a:uLnTx/>
                <a:uFillTx/>
                <a:latin typeface="Segoe UI"/>
                <a:ea typeface="+mn-ea"/>
                <a:cs typeface="+mn-cs"/>
              </a:rPr>
              <a:t>Big Data processing</a:t>
            </a:r>
          </a:p>
        </p:txBody>
      </p:sp>
      <p:sp>
        <p:nvSpPr>
          <p:cNvPr id="28" name="Rectangle 27"/>
          <p:cNvSpPr/>
          <p:nvPr/>
        </p:nvSpPr>
        <p:spPr>
          <a:xfrm>
            <a:off x="5446816" y="3351856"/>
            <a:ext cx="328039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50"/>
                </a:solidFill>
                <a:effectLst/>
                <a:uLnTx/>
                <a:uFillTx/>
                <a:latin typeface="Segoe UI"/>
                <a:ea typeface="+mn-ea"/>
                <a:cs typeface="+mn-cs"/>
              </a:rPr>
              <a:t>Data warehouse</a:t>
            </a:r>
          </a:p>
        </p:txBody>
      </p:sp>
      <p:grpSp>
        <p:nvGrpSpPr>
          <p:cNvPr id="11" name="Group 10"/>
          <p:cNvGrpSpPr/>
          <p:nvPr/>
        </p:nvGrpSpPr>
        <p:grpSpPr>
          <a:xfrm>
            <a:off x="826767" y="3009456"/>
            <a:ext cx="2152737" cy="585193"/>
            <a:chOff x="981455" y="3347880"/>
            <a:chExt cx="1821634" cy="495187"/>
          </a:xfrm>
        </p:grpSpPr>
        <p:grpSp>
          <p:nvGrpSpPr>
            <p:cNvPr id="26" name="Group 25"/>
            <p:cNvGrpSpPr/>
            <p:nvPr/>
          </p:nvGrpSpPr>
          <p:grpSpPr>
            <a:xfrm>
              <a:off x="981455" y="3347880"/>
              <a:ext cx="320284" cy="495187"/>
              <a:chOff x="1200758" y="3347880"/>
              <a:chExt cx="320284" cy="495187"/>
            </a:xfrm>
          </p:grpSpPr>
          <p:sp>
            <p:nvSpPr>
              <p:cNvPr id="37" name="Freeform 50"/>
              <p:cNvSpPr/>
              <p:nvPr/>
            </p:nvSpPr>
            <p:spPr>
              <a:xfrm>
                <a:off x="1248750" y="3347880"/>
                <a:ext cx="224301" cy="286236"/>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rgbClr val="ECEFF3"/>
              </a:solidFill>
              <a:ln w="12700" cap="flat" cmpd="sng" algn="ctr">
                <a:noFill/>
                <a:prstDash val="solid"/>
                <a:miter lim="800000"/>
              </a:ln>
              <a:effectLst/>
            </p:spPr>
            <p:txBody>
              <a:bodyPr wrap="square" lIns="23341" rIns="0" rtlCol="0" anchor="ctr">
                <a:noAutofit/>
              </a:bodyPr>
              <a:lstStyle/>
              <a:p>
                <a:pPr marL="0" marR="0" lvl="0" indent="0" algn="l" defTabSz="475922"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ECEFF3"/>
                  </a:solidFill>
                  <a:effectLst/>
                  <a:uLnTx/>
                  <a:uFillTx/>
                  <a:latin typeface="Segoe UI Light" panose="020B0502040204020203" pitchFamily="34" charset="0"/>
                  <a:ea typeface="+mn-ea"/>
                  <a:cs typeface="Segoe UI Light" panose="020B0502040204020203" pitchFamily="34" charset="0"/>
                </a:endParaRPr>
              </a:p>
            </p:txBody>
          </p:sp>
          <p:sp>
            <p:nvSpPr>
              <p:cNvPr id="5" name="TextBox 4"/>
              <p:cNvSpPr txBox="1"/>
              <p:nvPr/>
            </p:nvSpPr>
            <p:spPr>
              <a:xfrm>
                <a:off x="1200758" y="3712848"/>
                <a:ext cx="320284" cy="13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CEFF3"/>
                    </a:solidFill>
                    <a:effectLst/>
                    <a:uLnTx/>
                    <a:uFillTx/>
                    <a:latin typeface="Segoe UI"/>
                    <a:ea typeface="+mn-ea"/>
                    <a:cs typeface="+mn-cs"/>
                  </a:rPr>
                  <a:t>OLTP</a:t>
                </a:r>
              </a:p>
            </p:txBody>
          </p:sp>
        </p:grpSp>
        <p:grpSp>
          <p:nvGrpSpPr>
            <p:cNvPr id="25" name="Group 24"/>
            <p:cNvGrpSpPr/>
            <p:nvPr/>
          </p:nvGrpSpPr>
          <p:grpSpPr>
            <a:xfrm>
              <a:off x="1481905" y="3347880"/>
              <a:ext cx="320284" cy="495187"/>
              <a:chOff x="1634185" y="3347880"/>
              <a:chExt cx="320284" cy="495187"/>
            </a:xfrm>
          </p:grpSpPr>
          <p:sp>
            <p:nvSpPr>
              <p:cNvPr id="40" name="Freeform 50"/>
              <p:cNvSpPr/>
              <p:nvPr/>
            </p:nvSpPr>
            <p:spPr>
              <a:xfrm>
                <a:off x="1682177" y="3347880"/>
                <a:ext cx="224301" cy="286236"/>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rgbClr val="ECEFF3"/>
              </a:solidFill>
              <a:ln w="12700" cap="flat" cmpd="sng" algn="ctr">
                <a:noFill/>
                <a:prstDash val="solid"/>
                <a:miter lim="800000"/>
              </a:ln>
              <a:effectLst/>
            </p:spPr>
            <p:txBody>
              <a:bodyPr wrap="square" lIns="23341" rIns="0" rtlCol="0" anchor="ctr">
                <a:noAutofit/>
              </a:bodyPr>
              <a:lstStyle/>
              <a:p>
                <a:pPr marL="0" marR="0" lvl="0" indent="0" algn="l" defTabSz="475922"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ECEFF3"/>
                  </a:solidFill>
                  <a:effectLst/>
                  <a:uLnTx/>
                  <a:uFillTx/>
                  <a:latin typeface="Segoe UI Light" panose="020B0502040204020203" pitchFamily="34" charset="0"/>
                  <a:ea typeface="+mn-ea"/>
                  <a:cs typeface="Segoe UI Light" panose="020B0502040204020203" pitchFamily="34" charset="0"/>
                </a:endParaRPr>
              </a:p>
            </p:txBody>
          </p:sp>
          <p:sp>
            <p:nvSpPr>
              <p:cNvPr id="41" name="TextBox 40"/>
              <p:cNvSpPr txBox="1"/>
              <p:nvPr/>
            </p:nvSpPr>
            <p:spPr>
              <a:xfrm>
                <a:off x="1634185" y="3712848"/>
                <a:ext cx="320284" cy="13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CEFF3"/>
                    </a:solidFill>
                    <a:effectLst/>
                    <a:uLnTx/>
                    <a:uFillTx/>
                    <a:latin typeface="Segoe UI"/>
                    <a:ea typeface="+mn-ea"/>
                    <a:cs typeface="+mn-cs"/>
                  </a:rPr>
                  <a:t>ERP</a:t>
                </a:r>
              </a:p>
            </p:txBody>
          </p:sp>
        </p:grpSp>
        <p:grpSp>
          <p:nvGrpSpPr>
            <p:cNvPr id="24" name="Group 23"/>
            <p:cNvGrpSpPr/>
            <p:nvPr/>
          </p:nvGrpSpPr>
          <p:grpSpPr>
            <a:xfrm>
              <a:off x="1982355" y="3347880"/>
              <a:ext cx="320284" cy="495187"/>
              <a:chOff x="2014642" y="3347880"/>
              <a:chExt cx="320284" cy="495187"/>
            </a:xfrm>
          </p:grpSpPr>
          <p:sp>
            <p:nvSpPr>
              <p:cNvPr id="44" name="Freeform 50"/>
              <p:cNvSpPr/>
              <p:nvPr/>
            </p:nvSpPr>
            <p:spPr>
              <a:xfrm>
                <a:off x="2062634" y="3347880"/>
                <a:ext cx="224301" cy="286236"/>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rgbClr val="ECEFF3"/>
              </a:solidFill>
              <a:ln w="12700" cap="flat" cmpd="sng" algn="ctr">
                <a:noFill/>
                <a:prstDash val="solid"/>
                <a:miter lim="800000"/>
              </a:ln>
              <a:effectLst/>
            </p:spPr>
            <p:txBody>
              <a:bodyPr wrap="square" lIns="23341" rIns="0" rtlCol="0" anchor="ctr">
                <a:noAutofit/>
              </a:bodyPr>
              <a:lstStyle/>
              <a:p>
                <a:pPr marL="0" marR="0" lvl="0" indent="0" algn="l" defTabSz="475922"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ECEFF3"/>
                  </a:solidFill>
                  <a:effectLst/>
                  <a:uLnTx/>
                  <a:uFillTx/>
                  <a:latin typeface="Segoe UI Light" panose="020B0502040204020203" pitchFamily="34" charset="0"/>
                  <a:ea typeface="+mn-ea"/>
                  <a:cs typeface="Segoe UI Light" panose="020B0502040204020203" pitchFamily="34" charset="0"/>
                </a:endParaRPr>
              </a:p>
            </p:txBody>
          </p:sp>
          <p:sp>
            <p:nvSpPr>
              <p:cNvPr id="45" name="TextBox 44"/>
              <p:cNvSpPr txBox="1"/>
              <p:nvPr/>
            </p:nvSpPr>
            <p:spPr>
              <a:xfrm>
                <a:off x="2014642" y="3712848"/>
                <a:ext cx="320284" cy="13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CEFF3"/>
                    </a:solidFill>
                    <a:effectLst/>
                    <a:uLnTx/>
                    <a:uFillTx/>
                    <a:latin typeface="Segoe UI"/>
                    <a:ea typeface="+mn-ea"/>
                    <a:cs typeface="+mn-cs"/>
                  </a:rPr>
                  <a:t>CRM</a:t>
                </a:r>
              </a:p>
            </p:txBody>
          </p:sp>
        </p:grpSp>
        <p:grpSp>
          <p:nvGrpSpPr>
            <p:cNvPr id="23" name="Group 22"/>
            <p:cNvGrpSpPr/>
            <p:nvPr/>
          </p:nvGrpSpPr>
          <p:grpSpPr>
            <a:xfrm>
              <a:off x="2482805" y="3347880"/>
              <a:ext cx="320284" cy="495187"/>
              <a:chOff x="2448069" y="3347880"/>
              <a:chExt cx="320284" cy="495187"/>
            </a:xfrm>
          </p:grpSpPr>
          <p:sp>
            <p:nvSpPr>
              <p:cNvPr id="46" name="Freeform 50"/>
              <p:cNvSpPr/>
              <p:nvPr/>
            </p:nvSpPr>
            <p:spPr>
              <a:xfrm>
                <a:off x="2496061" y="3347880"/>
                <a:ext cx="224301" cy="286236"/>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rgbClr val="ECEFF3"/>
              </a:solidFill>
              <a:ln w="12700" cap="flat" cmpd="sng" algn="ctr">
                <a:noFill/>
                <a:prstDash val="solid"/>
                <a:miter lim="800000"/>
              </a:ln>
              <a:effectLst/>
            </p:spPr>
            <p:txBody>
              <a:bodyPr wrap="square" lIns="23341" rIns="0" rtlCol="0" anchor="ctr">
                <a:noAutofit/>
              </a:bodyPr>
              <a:lstStyle/>
              <a:p>
                <a:pPr marL="0" marR="0" lvl="0" indent="0" algn="l" defTabSz="475922"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ECEFF3"/>
                  </a:solidFill>
                  <a:effectLst/>
                  <a:uLnTx/>
                  <a:uFillTx/>
                  <a:latin typeface="Segoe UI Light" panose="020B0502040204020203" pitchFamily="34" charset="0"/>
                  <a:ea typeface="+mn-ea"/>
                  <a:cs typeface="Segoe UI Light" panose="020B0502040204020203" pitchFamily="34" charset="0"/>
                </a:endParaRPr>
              </a:p>
            </p:txBody>
          </p:sp>
          <p:sp>
            <p:nvSpPr>
              <p:cNvPr id="47" name="TextBox 46"/>
              <p:cNvSpPr txBox="1"/>
              <p:nvPr/>
            </p:nvSpPr>
            <p:spPr>
              <a:xfrm>
                <a:off x="2448069" y="3712848"/>
                <a:ext cx="320284" cy="13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CEFF3"/>
                    </a:solidFill>
                    <a:effectLst/>
                    <a:uLnTx/>
                    <a:uFillTx/>
                    <a:latin typeface="Segoe UI"/>
                    <a:ea typeface="+mn-ea"/>
                    <a:cs typeface="+mn-cs"/>
                  </a:rPr>
                  <a:t>LOB</a:t>
                </a:r>
              </a:p>
            </p:txBody>
          </p:sp>
        </p:grpSp>
      </p:grpSp>
      <p:sp>
        <p:nvSpPr>
          <p:cNvPr id="7" name="TextBox 6"/>
          <p:cNvSpPr txBox="1"/>
          <p:nvPr/>
        </p:nvSpPr>
        <p:spPr>
          <a:xfrm>
            <a:off x="112482" y="2253920"/>
            <a:ext cx="1825380" cy="446276"/>
          </a:xfrm>
          <a:prstGeom prst="rect">
            <a:avLst/>
          </a:prstGeom>
          <a:noFill/>
        </p:spPr>
        <p:txBody>
          <a:bodyPr wrap="square" lIns="274320" tIns="182880" rIns="1828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Relational data</a:t>
            </a:r>
          </a:p>
        </p:txBody>
      </p:sp>
      <p:sp>
        <p:nvSpPr>
          <p:cNvPr id="66" name="TextBox 65"/>
          <p:cNvSpPr txBox="1"/>
          <p:nvPr/>
        </p:nvSpPr>
        <p:spPr>
          <a:xfrm>
            <a:off x="9684135" y="2769701"/>
            <a:ext cx="1857704"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ECEFF3"/>
                </a:solidFill>
                <a:effectLst/>
                <a:uLnTx/>
                <a:uFillTx/>
                <a:latin typeface="Segoe UI"/>
                <a:ea typeface="+mn-ea"/>
                <a:cs typeface="+mn-cs"/>
              </a:rPr>
              <a:t>Dashboards</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002050"/>
                </a:solidFill>
                <a:effectLst/>
                <a:uLnTx/>
                <a:uFillTx/>
                <a:latin typeface="Segoe UI"/>
                <a:ea typeface="+mn-ea"/>
                <a:cs typeface="+mn-cs"/>
              </a:rPr>
              <a:t>|</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ECEFF3"/>
                </a:solidFill>
                <a:effectLst/>
                <a:uLnTx/>
                <a:uFillTx/>
                <a:latin typeface="Segoe UI"/>
                <a:ea typeface="+mn-ea"/>
                <a:cs typeface="+mn-cs"/>
              </a:rPr>
              <a:t>Reporting</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ECEFF3"/>
                </a:solidFill>
                <a:effectLst/>
                <a:uLnTx/>
                <a:uFillTx/>
                <a:latin typeface="Segoe UI"/>
                <a:ea typeface="+mn-ea"/>
                <a:cs typeface="+mn-cs"/>
              </a:rPr>
              <a:t>Mobile BI </a:t>
            </a:r>
            <a:r>
              <a:rPr kumimoji="0" lang="en-US" sz="1050" b="0" i="0" u="none" strike="noStrike" kern="1200" cap="none" spc="0" normalizeH="0" baseline="0" noProof="0" dirty="0">
                <a:ln>
                  <a:noFill/>
                </a:ln>
                <a:solidFill>
                  <a:srgbClr val="002050"/>
                </a:solidFill>
                <a:effectLst/>
                <a:uLnTx/>
                <a:uFillTx/>
                <a:latin typeface="Segoe UI"/>
                <a:ea typeface="+mn-ea"/>
                <a:cs typeface="+mn-cs"/>
              </a:rPr>
              <a:t>|</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ECEFF3"/>
                </a:solidFill>
                <a:effectLst/>
                <a:uLnTx/>
                <a:uFillTx/>
                <a:latin typeface="Segoe UI"/>
                <a:ea typeface="+mn-ea"/>
                <a:cs typeface="+mn-cs"/>
              </a:rPr>
              <a:t>Cubes</a:t>
            </a:r>
          </a:p>
        </p:txBody>
      </p:sp>
      <p:sp>
        <p:nvSpPr>
          <p:cNvPr id="84" name="TextBox 83"/>
          <p:cNvSpPr txBox="1"/>
          <p:nvPr/>
        </p:nvSpPr>
        <p:spPr>
          <a:xfrm>
            <a:off x="9684135" y="3996466"/>
            <a:ext cx="2303620"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ECEFF3"/>
                </a:solidFill>
                <a:effectLst/>
                <a:uLnTx/>
                <a:uFillTx/>
                <a:latin typeface="Segoe UI"/>
                <a:ea typeface="+mn-ea"/>
                <a:cs typeface="+mn-cs"/>
              </a:rPr>
              <a:t>Machine Learning </a:t>
            </a:r>
            <a:br>
              <a:rPr kumimoji="0" lang="en-US" sz="1050" b="0" i="0" u="none" strike="noStrike" kern="1200" cap="none" spc="0" normalizeH="0" baseline="0" noProof="0" dirty="0">
                <a:ln>
                  <a:noFill/>
                </a:ln>
                <a:solidFill>
                  <a:srgbClr val="002050"/>
                </a:solidFill>
                <a:effectLst/>
                <a:uLnTx/>
                <a:uFillTx/>
                <a:latin typeface="Segoe UI"/>
                <a:ea typeface="+mn-ea"/>
                <a:cs typeface="+mn-cs"/>
              </a:rPr>
            </a:br>
            <a:r>
              <a:rPr kumimoji="0" lang="en-US" sz="1050" b="0" i="0" u="none" strike="noStrike" kern="1200" cap="none" spc="0" normalizeH="0" baseline="0" noProof="0" dirty="0">
                <a:ln>
                  <a:noFill/>
                </a:ln>
                <a:solidFill>
                  <a:srgbClr val="ECEFF3"/>
                </a:solidFill>
                <a:effectLst/>
                <a:uLnTx/>
                <a:uFillTx/>
                <a:latin typeface="Segoe UI"/>
                <a:ea typeface="+mn-ea"/>
                <a:cs typeface="+mn-cs"/>
              </a:rPr>
              <a:t>Stream analytics Cognitive</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002050"/>
                </a:solidFill>
                <a:effectLst/>
                <a:uLnTx/>
                <a:uFillTx/>
                <a:latin typeface="Segoe UI"/>
                <a:ea typeface="+mn-ea"/>
                <a:cs typeface="+mn-cs"/>
              </a:rPr>
              <a:t>|</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ECEFF3"/>
                </a:solidFill>
                <a:effectLst/>
                <a:uLnTx/>
                <a:uFillTx/>
                <a:latin typeface="Segoe UI"/>
                <a:ea typeface="+mn-ea"/>
                <a:cs typeface="+mn-cs"/>
              </a:rPr>
              <a:t>AI</a:t>
            </a:r>
          </a:p>
        </p:txBody>
      </p:sp>
      <p:sp>
        <p:nvSpPr>
          <p:cNvPr id="85" name="TextBox 84"/>
          <p:cNvSpPr txBox="1"/>
          <p:nvPr/>
        </p:nvSpPr>
        <p:spPr>
          <a:xfrm>
            <a:off x="9684135" y="5239669"/>
            <a:ext cx="1715790"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ECEFF3"/>
                </a:solidFill>
                <a:effectLst/>
                <a:uLnTx/>
                <a:uFillTx/>
                <a:latin typeface="Segoe UI"/>
                <a:ea typeface="+mn-ea"/>
                <a:cs typeface="+mn-cs"/>
              </a:rPr>
              <a:t>.NET </a:t>
            </a:r>
            <a:r>
              <a:rPr kumimoji="0" lang="en-US" sz="1050" b="0" i="0" u="none" strike="noStrike" kern="1200" cap="none" spc="0" normalizeH="0" baseline="0" noProof="0" dirty="0">
                <a:ln>
                  <a:noFill/>
                </a:ln>
                <a:solidFill>
                  <a:srgbClr val="002050"/>
                </a:solidFill>
                <a:effectLst/>
                <a:uLnTx/>
                <a:uFillTx/>
                <a:latin typeface="Segoe UI"/>
                <a:ea typeface="+mn-ea"/>
                <a:cs typeface="+mn-cs"/>
              </a:rPr>
              <a:t>|</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ECEFF3"/>
                </a:solidFill>
                <a:effectLst/>
                <a:uLnTx/>
                <a:uFillTx/>
                <a:latin typeface="Segoe UI"/>
                <a:ea typeface="+mn-ea"/>
                <a:cs typeface="+mn-cs"/>
              </a:rPr>
              <a:t>Java</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002050"/>
                </a:solidFill>
                <a:effectLst/>
                <a:uLnTx/>
                <a:uFillTx/>
                <a:latin typeface="Segoe UI"/>
                <a:ea typeface="+mn-ea"/>
                <a:cs typeface="+mn-cs"/>
              </a:rPr>
              <a:t>|</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ECEFF3"/>
                </a:solidFill>
                <a:effectLst/>
                <a:uLnTx/>
                <a:uFillTx/>
                <a:latin typeface="Segoe UI"/>
                <a:ea typeface="+mn-ea"/>
                <a:cs typeface="+mn-cs"/>
              </a:rPr>
              <a:t>R</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002050"/>
                </a:solidFill>
                <a:effectLst/>
                <a:uLnTx/>
                <a:uFillTx/>
                <a:latin typeface="Segoe UI"/>
                <a:ea typeface="+mn-ea"/>
                <a:cs typeface="+mn-cs"/>
              </a:rPr>
              <a:t>|</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ECEFF3"/>
                </a:solidFill>
                <a:effectLst/>
                <a:uLnTx/>
                <a:uFillTx/>
                <a:latin typeface="Segoe UI"/>
                <a:ea typeface="+mn-ea"/>
                <a:cs typeface="+mn-cs"/>
              </a:rPr>
              <a:t>Python Ruby </a:t>
            </a:r>
            <a:r>
              <a:rPr kumimoji="0" lang="en-US" sz="1050" b="0" i="0" u="none" strike="noStrike" kern="1200" cap="none" spc="0" normalizeH="0" baseline="0" noProof="0" dirty="0">
                <a:ln>
                  <a:noFill/>
                </a:ln>
                <a:solidFill>
                  <a:srgbClr val="002050"/>
                </a:solidFill>
                <a:effectLst/>
                <a:uLnTx/>
                <a:uFillTx/>
                <a:latin typeface="Segoe UI"/>
                <a:ea typeface="+mn-ea"/>
                <a:cs typeface="+mn-cs"/>
              </a:rPr>
              <a:t>|</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ECEFF3"/>
                </a:solidFill>
                <a:effectLst/>
                <a:uLnTx/>
                <a:uFillTx/>
                <a:latin typeface="Segoe UI"/>
                <a:ea typeface="+mn-ea"/>
                <a:cs typeface="+mn-cs"/>
              </a:rPr>
              <a:t>PHP</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002050"/>
                </a:solidFill>
                <a:effectLst/>
                <a:uLnTx/>
                <a:uFillTx/>
                <a:latin typeface="Segoe UI"/>
                <a:ea typeface="+mn-ea"/>
                <a:cs typeface="+mn-cs"/>
              </a:rPr>
              <a:t>|</a:t>
            </a:r>
            <a:r>
              <a:rPr kumimoji="0" lang="en-US" sz="1050" b="0" i="0" u="none" strike="noStrike" kern="1200" cap="none" spc="0" normalizeH="0" baseline="0" noProof="0" dirty="0">
                <a:ln>
                  <a:noFill/>
                </a:ln>
                <a:solidFill>
                  <a:srgbClr val="FFFFFF"/>
                </a:solidFill>
                <a:effectLst/>
                <a:uLnTx/>
                <a:uFillTx/>
                <a:latin typeface="Segoe UI"/>
                <a:ea typeface="+mn-ea"/>
                <a:cs typeface="+mn-cs"/>
              </a:rPr>
              <a:t> </a:t>
            </a:r>
            <a:r>
              <a:rPr kumimoji="0" lang="en-US" sz="1050" b="0" i="0" u="none" strike="noStrike" kern="1200" cap="none" spc="0" normalizeH="0" baseline="0" noProof="0" dirty="0">
                <a:ln>
                  <a:noFill/>
                </a:ln>
                <a:solidFill>
                  <a:srgbClr val="ECEFF3"/>
                </a:solidFill>
                <a:effectLst/>
                <a:uLnTx/>
                <a:uFillTx/>
                <a:latin typeface="Segoe UI"/>
                <a:ea typeface="+mn-ea"/>
                <a:cs typeface="+mn-cs"/>
              </a:rPr>
              <a:t>Scala</a:t>
            </a:r>
          </a:p>
        </p:txBody>
      </p:sp>
      <p:sp>
        <p:nvSpPr>
          <p:cNvPr id="13" name="Title 12"/>
          <p:cNvSpPr>
            <a:spLocks noGrp="1"/>
          </p:cNvSpPr>
          <p:nvPr>
            <p:ph type="title"/>
          </p:nvPr>
        </p:nvSpPr>
        <p:spPr>
          <a:xfrm>
            <a:off x="208154" y="445599"/>
            <a:ext cx="10515600" cy="892552"/>
          </a:xfrm>
        </p:spPr>
        <p:txBody>
          <a:bodyPr>
            <a:normAutofit fontScale="90000"/>
          </a:bodyPr>
          <a:lstStyle/>
          <a:p>
            <a:r>
              <a:rPr lang="en-US" sz="4900" dirty="0"/>
              <a:t>Data warehousing for intelligence</a:t>
            </a:r>
            <a:br>
              <a:rPr lang="en-US" dirty="0"/>
            </a:br>
            <a:r>
              <a:rPr lang="en-US" sz="3600" dirty="0"/>
              <a:t>SQL Server 2016 + Cortana Intelligence</a:t>
            </a:r>
          </a:p>
        </p:txBody>
      </p:sp>
      <p:sp>
        <p:nvSpPr>
          <p:cNvPr id="89" name="TextBox 88"/>
          <p:cNvSpPr txBox="1"/>
          <p:nvPr/>
        </p:nvSpPr>
        <p:spPr>
          <a:xfrm>
            <a:off x="112482" y="4064727"/>
            <a:ext cx="2481664" cy="446276"/>
          </a:xfrm>
          <a:prstGeom prst="rect">
            <a:avLst/>
          </a:prstGeom>
          <a:noFill/>
        </p:spPr>
        <p:txBody>
          <a:bodyPr wrap="square" lIns="274320" tIns="182880" rIns="1828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Non-relational data</a:t>
            </a:r>
          </a:p>
        </p:txBody>
      </p:sp>
      <p:grpSp>
        <p:nvGrpSpPr>
          <p:cNvPr id="22" name="Group 21"/>
          <p:cNvGrpSpPr/>
          <p:nvPr/>
        </p:nvGrpSpPr>
        <p:grpSpPr>
          <a:xfrm>
            <a:off x="346619" y="4774528"/>
            <a:ext cx="2985018" cy="571587"/>
            <a:chOff x="679671" y="4553598"/>
            <a:chExt cx="2985018" cy="571587"/>
          </a:xfrm>
        </p:grpSpPr>
        <p:grpSp>
          <p:nvGrpSpPr>
            <p:cNvPr id="49" name="Group 48"/>
            <p:cNvGrpSpPr/>
            <p:nvPr/>
          </p:nvGrpSpPr>
          <p:grpSpPr>
            <a:xfrm>
              <a:off x="3005854" y="4553598"/>
              <a:ext cx="658835" cy="381189"/>
              <a:chOff x="2769908" y="1409697"/>
              <a:chExt cx="1965320" cy="1055586"/>
            </a:xfrm>
            <a:solidFill>
              <a:schemeClr val="bg1"/>
            </a:solidFill>
          </p:grpSpPr>
          <p:sp>
            <p:nvSpPr>
              <p:cNvPr id="50"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ECEFF3"/>
              </a:solidFill>
              <a:ln w="25400" cap="flat" cmpd="sng" algn="ctr">
                <a:noFill/>
                <a:prstDash val="solid"/>
              </a:ln>
              <a:effectLst/>
            </p:spPr>
            <p:txBody>
              <a:bodyPr lIns="23341" rIns="0" rtlCol="0" anchor="ctr"/>
              <a:lstStyle/>
              <a:p>
                <a:pPr marL="0" marR="0" lvl="0" indent="0" algn="l" defTabSz="466769" rtl="0" eaLnBrk="1" fontAlgn="auto" latinLnBrk="0" hangingPunct="1">
                  <a:lnSpc>
                    <a:spcPct val="100000"/>
                  </a:lnSpc>
                  <a:spcBef>
                    <a:spcPts val="0"/>
                  </a:spcBef>
                  <a:spcAft>
                    <a:spcPts val="0"/>
                  </a:spcAft>
                  <a:buClrTx/>
                  <a:buSzTx/>
                  <a:buFontTx/>
                  <a:buNone/>
                  <a:tabLst/>
                  <a:defRPr/>
                </a:pPr>
                <a:endParaRPr kumimoji="0" lang="en-US" sz="667" b="0" i="0" u="none" strike="noStrike" kern="0" cap="none" spc="0" normalizeH="0" baseline="0" noProof="0">
                  <a:ln>
                    <a:noFill/>
                  </a:ln>
                  <a:solidFill>
                    <a:srgbClr val="ECEFF3"/>
                  </a:solidFill>
                  <a:effectLst/>
                  <a:uLnTx/>
                  <a:uFillTx/>
                  <a:latin typeface="Segoe UI Light" panose="020B0502040204020203" pitchFamily="34" charset="0"/>
                  <a:ea typeface="+mn-ea"/>
                  <a:cs typeface="Segoe UI Light" panose="020B0502040204020203" pitchFamily="34" charset="0"/>
                </a:endParaRPr>
              </a:p>
            </p:txBody>
          </p:sp>
          <p:sp>
            <p:nvSpPr>
              <p:cNvPr id="51"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ECEFF3"/>
              </a:solidFill>
              <a:ln w="9525" cap="flat" cmpd="sng" algn="ctr">
                <a:noFill/>
                <a:prstDash val="solid"/>
                <a:headEnd type="none" w="med" len="med"/>
                <a:tailEnd type="none" w="med" len="med"/>
              </a:ln>
              <a:effectLst/>
            </p:spPr>
            <p:txBody>
              <a:bodyPr rot="0" spcFirstLastPara="0" vertOverflow="overflow" horzOverflow="overflow" vert="horz" wrap="square" lIns="23341" tIns="23341" rIns="0" bIns="46682" numCol="1" spcCol="0" rtlCol="0" fromWordArt="0" anchor="b" anchorCtr="0" forceAA="0" compatLnSpc="1">
                <a:prstTxWarp prst="textNoShape">
                  <a:avLst/>
                </a:prstTxWarp>
                <a:noAutofit/>
              </a:bodyPr>
              <a:lstStyle/>
              <a:p>
                <a:pPr marL="0" marR="0" lvl="0" indent="0" algn="l" defTabSz="466615" rtl="0" eaLnBrk="1" fontAlgn="base" latinLnBrk="0" hangingPunct="1">
                  <a:lnSpc>
                    <a:spcPct val="100000"/>
                  </a:lnSpc>
                  <a:spcBef>
                    <a:spcPct val="0"/>
                  </a:spcBef>
                  <a:spcAft>
                    <a:spcPct val="0"/>
                  </a:spcAft>
                  <a:buClrTx/>
                  <a:buSzTx/>
                  <a:buFontTx/>
                  <a:buNone/>
                  <a:tabLst/>
                  <a:defRPr/>
                </a:pPr>
                <a:endParaRPr kumimoji="0" lang="en-US" sz="667" b="0" i="0" u="none" strike="noStrike" kern="0" cap="none" spc="-25" normalizeH="0" baseline="0" noProof="0" dirty="0" err="1">
                  <a:ln>
                    <a:noFill/>
                  </a:ln>
                  <a:solidFill>
                    <a:srgbClr val="ECEFF3"/>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52"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ECEFF3"/>
              </a:solidFill>
              <a:ln w="10795" cap="flat" cmpd="sng" algn="ctr">
                <a:noFill/>
                <a:prstDash val="solid"/>
                <a:headEnd type="none" w="med" len="med"/>
                <a:tailEnd type="none" w="med" len="med"/>
              </a:ln>
              <a:effectLst/>
            </p:spPr>
            <p:txBody>
              <a:bodyPr vert="horz" wrap="square" lIns="23341" tIns="23340" rIns="0" bIns="23340" numCol="1" rtlCol="0" anchor="ctr" anchorCtr="0" compatLnSpc="1">
                <a:prstTxWarp prst="textNoShape">
                  <a:avLst/>
                </a:prstTxWarp>
              </a:bodyPr>
              <a:lstStyle/>
              <a:p>
                <a:pPr marL="0" marR="0" lvl="0" indent="0" algn="l" defTabSz="420089" rtl="0" eaLnBrk="1" fontAlgn="auto" latinLnBrk="0" hangingPunct="1">
                  <a:lnSpc>
                    <a:spcPct val="100000"/>
                  </a:lnSpc>
                  <a:spcBef>
                    <a:spcPts val="0"/>
                  </a:spcBef>
                  <a:spcAft>
                    <a:spcPts val="0"/>
                  </a:spcAft>
                  <a:buClrTx/>
                  <a:buSzTx/>
                  <a:buFontTx/>
                  <a:buNone/>
                  <a:tabLst/>
                  <a:defRPr/>
                </a:pPr>
                <a:endParaRPr kumimoji="0" lang="en-US" sz="667" b="0" i="0" u="none" strike="noStrike" kern="0" cap="none" spc="-70" normalizeH="0" baseline="0" noProof="0" dirty="0">
                  <a:ln>
                    <a:noFill/>
                  </a:ln>
                  <a:solidFill>
                    <a:srgbClr val="ECEFF3"/>
                  </a:solidFill>
                  <a:effectLst/>
                  <a:uLnTx/>
                  <a:uFillTx/>
                  <a:latin typeface="Segoe UI Light" panose="020B0502040204020203" pitchFamily="34" charset="0"/>
                  <a:ea typeface="+mn-ea"/>
                  <a:cs typeface="Segoe UI Light" panose="020B0502040204020203" pitchFamily="34" charset="0"/>
                </a:endParaRPr>
              </a:p>
            </p:txBody>
          </p:sp>
        </p:grpSp>
        <p:sp>
          <p:nvSpPr>
            <p:cNvPr id="53" name="Rounded Rectangle 18"/>
            <p:cNvSpPr/>
            <p:nvPr/>
          </p:nvSpPr>
          <p:spPr bwMode="auto">
            <a:xfrm>
              <a:off x="759526" y="4596935"/>
              <a:ext cx="331926" cy="342576"/>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ECEFF3"/>
            </a:solidFill>
            <a:ln w="9525" cap="flat" cmpd="sng" algn="ctr">
              <a:noFill/>
              <a:prstDash val="solid"/>
              <a:headEnd type="none" w="med" len="med"/>
              <a:tailEnd type="none" w="med" len="med"/>
            </a:ln>
            <a:effectLst/>
          </p:spPr>
          <p:txBody>
            <a:bodyPr rot="0" spcFirstLastPara="0" vertOverflow="overflow" horzOverflow="overflow" vert="horz" wrap="square" lIns="23341" tIns="23341" rIns="0" bIns="46682" numCol="1" spcCol="0" rtlCol="0" fromWordArt="0" anchor="b" anchorCtr="0" forceAA="0" compatLnSpc="1">
              <a:prstTxWarp prst="textNoShape">
                <a:avLst/>
              </a:prstTxWarp>
              <a:noAutofit/>
            </a:bodyPr>
            <a:lstStyle/>
            <a:p>
              <a:pPr marL="0" marR="0" lvl="0" indent="0" algn="l" defTabSz="466615" rtl="0" eaLnBrk="1" fontAlgn="base" latinLnBrk="0" hangingPunct="1">
                <a:lnSpc>
                  <a:spcPct val="100000"/>
                </a:lnSpc>
                <a:spcBef>
                  <a:spcPct val="0"/>
                </a:spcBef>
                <a:spcAft>
                  <a:spcPct val="0"/>
                </a:spcAft>
                <a:buClrTx/>
                <a:buSzTx/>
                <a:buFontTx/>
                <a:buNone/>
                <a:tabLst/>
                <a:defRPr/>
              </a:pPr>
              <a:endParaRPr kumimoji="0" lang="en-US" sz="667" b="0" i="0" u="none" strike="noStrike" kern="0" cap="none" spc="-25" normalizeH="0" baseline="0" noProof="0" dirty="0" err="1">
                <a:ln>
                  <a:noFill/>
                </a:ln>
                <a:solidFill>
                  <a:srgbClr val="ECEFF3"/>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55" name="TextBox 54"/>
            <p:cNvSpPr txBox="1"/>
            <p:nvPr/>
          </p:nvSpPr>
          <p:spPr>
            <a:xfrm>
              <a:off x="2081518" y="4986601"/>
              <a:ext cx="80874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CEFF3"/>
                  </a:solidFill>
                  <a:effectLst/>
                  <a:uLnTx/>
                  <a:uFillTx/>
                  <a:latin typeface="Segoe UI"/>
                  <a:ea typeface="+mn-ea"/>
                  <a:cs typeface="+mn-cs"/>
                </a:rPr>
                <a:t>Social media</a:t>
              </a:r>
            </a:p>
          </p:txBody>
        </p:sp>
        <p:sp>
          <p:nvSpPr>
            <p:cNvPr id="57" name="TextBox 56"/>
            <p:cNvSpPr txBox="1"/>
            <p:nvPr/>
          </p:nvSpPr>
          <p:spPr>
            <a:xfrm>
              <a:off x="3089453" y="4986601"/>
              <a:ext cx="491637"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CEFF3"/>
                  </a:solidFill>
                  <a:effectLst/>
                  <a:uLnTx/>
                  <a:uFillTx/>
                  <a:latin typeface="Segoe UI"/>
                  <a:ea typeface="+mn-ea"/>
                  <a:cs typeface="+mn-cs"/>
                </a:rPr>
                <a:t>Devices</a:t>
              </a:r>
            </a:p>
          </p:txBody>
        </p:sp>
        <p:sp>
          <p:nvSpPr>
            <p:cNvPr id="79" name="TextBox 78"/>
            <p:cNvSpPr txBox="1"/>
            <p:nvPr/>
          </p:nvSpPr>
          <p:spPr>
            <a:xfrm>
              <a:off x="679671" y="4986686"/>
              <a:ext cx="491637"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CEFF3"/>
                  </a:solidFill>
                  <a:effectLst/>
                  <a:uLnTx/>
                  <a:uFillTx/>
                  <a:latin typeface="Segoe UI"/>
                  <a:ea typeface="+mn-ea"/>
                  <a:cs typeface="+mn-cs"/>
                </a:rPr>
                <a:t>Web</a:t>
              </a:r>
            </a:p>
          </p:txBody>
        </p:sp>
        <p:sp>
          <p:nvSpPr>
            <p:cNvPr id="80" name="TextBox 79"/>
            <p:cNvSpPr txBox="1"/>
            <p:nvPr/>
          </p:nvSpPr>
          <p:spPr>
            <a:xfrm>
              <a:off x="1411675" y="4986686"/>
              <a:ext cx="491637"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CEFF3"/>
                  </a:solidFill>
                  <a:effectLst/>
                  <a:uLnTx/>
                  <a:uFillTx/>
                  <a:latin typeface="Segoe UI"/>
                  <a:ea typeface="+mn-ea"/>
                  <a:cs typeface="+mn-cs"/>
                </a:rPr>
                <a:t>Media</a:t>
              </a:r>
            </a:p>
          </p:txBody>
        </p:sp>
        <p:sp>
          <p:nvSpPr>
            <p:cNvPr id="81" name="Freeform 7"/>
            <p:cNvSpPr>
              <a:spLocks noEditPoints="1"/>
            </p:cNvSpPr>
            <p:nvPr/>
          </p:nvSpPr>
          <p:spPr bwMode="auto">
            <a:xfrm>
              <a:off x="1522679" y="4610617"/>
              <a:ext cx="269628" cy="32417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ECEFF3"/>
            </a:solidFill>
            <a:ln w="10795" cap="flat" cmpd="sng" algn="ctr">
              <a:noFill/>
              <a:prstDash val="solid"/>
              <a:headEnd type="none" w="med" len="med"/>
              <a:tailEnd type="none" w="med" len="med"/>
            </a:ln>
            <a:effectLst/>
          </p:spPr>
          <p:txBody>
            <a:bodyPr vert="horz" wrap="square" lIns="23341" tIns="23340" rIns="0" bIns="23340" numCol="1" rtlCol="0" anchor="ctr" anchorCtr="0" compatLnSpc="1">
              <a:prstTxWarp prst="textNoShape">
                <a:avLst/>
              </a:prstTxWarp>
            </a:bodyPr>
            <a:lstStyle/>
            <a:p>
              <a:pPr marL="0" marR="0" lvl="0" indent="0" algn="l" defTabSz="420089" rtl="0" eaLnBrk="1" fontAlgn="auto" latinLnBrk="0" hangingPunct="1">
                <a:lnSpc>
                  <a:spcPct val="100000"/>
                </a:lnSpc>
                <a:spcBef>
                  <a:spcPts val="0"/>
                </a:spcBef>
                <a:spcAft>
                  <a:spcPts val="0"/>
                </a:spcAft>
                <a:buClrTx/>
                <a:buSzTx/>
                <a:buFontTx/>
                <a:buNone/>
                <a:tabLst/>
                <a:defRPr/>
              </a:pPr>
              <a:endParaRPr kumimoji="0" lang="en-US" sz="667" b="0" i="0" u="none" strike="noStrike" kern="0" cap="none" spc="-70" normalizeH="0" baseline="0" noProof="0" dirty="0">
                <a:ln>
                  <a:noFill/>
                </a:ln>
                <a:solidFill>
                  <a:srgbClr val="ECEFF3"/>
                </a:solidFill>
                <a:effectLst/>
                <a:uLnTx/>
                <a:uFillTx/>
                <a:latin typeface="Segoe UI Light" panose="020B0502040204020203" pitchFamily="34" charset="0"/>
                <a:ea typeface="+mn-ea"/>
                <a:cs typeface="Segoe UI Light" panose="020B0502040204020203" pitchFamily="34" charset="0"/>
              </a:endParaRPr>
            </a:p>
          </p:txBody>
        </p:sp>
        <p:sp>
          <p:nvSpPr>
            <p:cNvPr id="91" name="Freeform 13"/>
            <p:cNvSpPr>
              <a:spLocks noEditPoints="1"/>
            </p:cNvSpPr>
            <p:nvPr/>
          </p:nvSpPr>
          <p:spPr bwMode="black">
            <a:xfrm>
              <a:off x="2284294" y="4591584"/>
              <a:ext cx="403195" cy="343203"/>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ECEFF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09736" tIns="54868" rIns="109736" bIns="54868" numCol="1" rtlCol="0" anchor="ctr" anchorCtr="0" compatLnSpc="1">
              <a:prstTxWarp prst="textNoShape">
                <a:avLst/>
              </a:prstTxWarp>
            </a:bodyPr>
            <a:lstStyle/>
            <a:p>
              <a:pPr marL="0" marR="0" lvl="0" indent="0" algn="l" defTabSz="98762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163" normalizeH="0" baseline="0" noProof="0">
                <a:ln>
                  <a:noFill/>
                </a:ln>
                <a:solidFill>
                  <a:srgbClr val="ECEFF3"/>
                </a:solidFill>
                <a:effectLst/>
                <a:uLnTx/>
                <a:uFillTx/>
                <a:latin typeface="Segoe Light" pitchFamily="34" charset="0"/>
                <a:ea typeface="+mn-ea"/>
                <a:cs typeface="+mn-cs"/>
              </a:endParaRPr>
            </a:p>
          </p:txBody>
        </p:sp>
      </p:grpSp>
      <p:grpSp>
        <p:nvGrpSpPr>
          <p:cNvPr id="10" name="Group 9"/>
          <p:cNvGrpSpPr/>
          <p:nvPr/>
        </p:nvGrpSpPr>
        <p:grpSpPr>
          <a:xfrm>
            <a:off x="5455164" y="2566719"/>
            <a:ext cx="3263703" cy="711667"/>
            <a:chOff x="5412517" y="3118227"/>
            <a:chExt cx="3263703" cy="711667"/>
          </a:xfrm>
        </p:grpSpPr>
        <p:sp>
          <p:nvSpPr>
            <p:cNvPr id="29" name="Freeform 118"/>
            <p:cNvSpPr/>
            <p:nvPr/>
          </p:nvSpPr>
          <p:spPr bwMode="auto">
            <a:xfrm>
              <a:off x="5412517" y="3206498"/>
              <a:ext cx="481891" cy="623396"/>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tx2"/>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FFFFFF">
                    <a:lumMod val="85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98" name="Freeform 182"/>
            <p:cNvSpPr/>
            <p:nvPr/>
          </p:nvSpPr>
          <p:spPr bwMode="auto">
            <a:xfrm flipH="1">
              <a:off x="8011062" y="3118227"/>
              <a:ext cx="665158" cy="63597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18" name="Group 17"/>
            <p:cNvGrpSpPr/>
            <p:nvPr/>
          </p:nvGrpSpPr>
          <p:grpSpPr>
            <a:xfrm>
              <a:off x="6478138" y="3165392"/>
              <a:ext cx="982348" cy="622128"/>
              <a:chOff x="5735930" y="3410373"/>
              <a:chExt cx="750459" cy="475272"/>
            </a:xfrm>
          </p:grpSpPr>
          <p:sp>
            <p:nvSpPr>
              <p:cNvPr id="118" name="Freeform 146"/>
              <p:cNvSpPr>
                <a:spLocks noChangeAspect="1"/>
              </p:cNvSpPr>
              <p:nvPr/>
            </p:nvSpPr>
            <p:spPr bwMode="auto">
              <a:xfrm>
                <a:off x="5735930" y="3410373"/>
                <a:ext cx="750459" cy="47527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15" name="Group 114"/>
              <p:cNvGrpSpPr>
                <a:grpSpLocks noChangeAspect="1"/>
              </p:cNvGrpSpPr>
              <p:nvPr/>
            </p:nvGrpSpPr>
            <p:grpSpPr>
              <a:xfrm>
                <a:off x="6028958" y="3535720"/>
                <a:ext cx="212294" cy="275685"/>
                <a:chOff x="377825" y="1184276"/>
                <a:chExt cx="1020763" cy="1325563"/>
              </a:xfrm>
              <a:solidFill>
                <a:schemeClr val="bg1"/>
              </a:solidFill>
            </p:grpSpPr>
            <p:sp>
              <p:nvSpPr>
                <p:cNvPr id="116" name="Oval 122"/>
                <p:cNvSpPr>
                  <a:spLocks noChangeArrowheads="1"/>
                </p:cNvSpPr>
                <p:nvPr/>
              </p:nvSpPr>
              <p:spPr bwMode="auto">
                <a:xfrm>
                  <a:off x="395288" y="1184276"/>
                  <a:ext cx="985837" cy="187325"/>
                </a:xfrm>
                <a:prstGeom prst="ellipse">
                  <a:avLst/>
                </a:prstGeom>
                <a:solidFill>
                  <a:srgbClr val="DEE0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Segoe UI"/>
                    <a:ea typeface="+mn-ea"/>
                    <a:cs typeface="+mn-cs"/>
                  </a:endParaRPr>
                </a:p>
              </p:txBody>
            </p:sp>
            <p:sp>
              <p:nvSpPr>
                <p:cNvPr id="1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DEE0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Segoe UI"/>
                    <a:ea typeface="+mn-ea"/>
                    <a:cs typeface="+mn-cs"/>
                  </a:endParaRPr>
                </a:p>
              </p:txBody>
            </p:sp>
          </p:grpSp>
        </p:grpSp>
      </p:grpSp>
      <p:grpSp>
        <p:nvGrpSpPr>
          <p:cNvPr id="9" name="Group 8"/>
          <p:cNvGrpSpPr/>
          <p:nvPr/>
        </p:nvGrpSpPr>
        <p:grpSpPr>
          <a:xfrm>
            <a:off x="5399453" y="4865274"/>
            <a:ext cx="3375124" cy="637040"/>
            <a:chOff x="5464142" y="5062309"/>
            <a:chExt cx="3375124" cy="637040"/>
          </a:xfrm>
        </p:grpSpPr>
        <p:pic>
          <p:nvPicPr>
            <p:cNvPr id="2457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669559" y="5167029"/>
              <a:ext cx="953716" cy="498843"/>
            </a:xfrm>
            <a:prstGeom prst="rect">
              <a:avLst/>
            </a:prstGeom>
            <a:noFill/>
            <a:extLst>
              <a:ext uri="{909E8E84-426E-40DD-AFC4-6F175D3DCCD1}">
                <a14:hiddenFill xmlns:a14="http://schemas.microsoft.com/office/drawing/2010/main">
                  <a:solidFill>
                    <a:srgbClr val="FFFFFF"/>
                  </a:solidFill>
                </a14:hiddenFill>
              </a:ext>
            </a:extLst>
          </p:spPr>
        </p:pic>
        <p:sp>
          <p:nvSpPr>
            <p:cNvPr id="114" name="Freeform: Shape 113"/>
            <p:cNvSpPr>
              <a:spLocks/>
            </p:cNvSpPr>
            <p:nvPr/>
          </p:nvSpPr>
          <p:spPr bwMode="auto">
            <a:xfrm>
              <a:off x="5464142" y="5127702"/>
              <a:ext cx="789932" cy="567199"/>
            </a:xfrm>
            <a:custGeom>
              <a:avLst/>
              <a:gdLst>
                <a:gd name="connsiteX0" fmla="*/ 3221632 w 5336589"/>
                <a:gd name="connsiteY0" fmla="*/ 2948204 h 3831857"/>
                <a:gd name="connsiteX1" fmla="*/ 3360482 w 5336589"/>
                <a:gd name="connsiteY1" fmla="*/ 3245280 h 3831857"/>
                <a:gd name="connsiteX2" fmla="*/ 3342722 w 5336589"/>
                <a:gd name="connsiteY2" fmla="*/ 3484231 h 3831857"/>
                <a:gd name="connsiteX3" fmla="*/ 3396003 w 5336589"/>
                <a:gd name="connsiteY3" fmla="*/ 3655372 h 3831857"/>
                <a:gd name="connsiteX4" fmla="*/ 3098926 w 5336589"/>
                <a:gd name="connsiteY4" fmla="*/ 3719954 h 3831857"/>
                <a:gd name="connsiteX5" fmla="*/ 2801850 w 5336589"/>
                <a:gd name="connsiteY5" fmla="*/ 3658602 h 3831857"/>
                <a:gd name="connsiteX6" fmla="*/ 3221632 w 5336589"/>
                <a:gd name="connsiteY6" fmla="*/ 2948204 h 3831857"/>
                <a:gd name="connsiteX7" fmla="*/ 325133 w 5336589"/>
                <a:gd name="connsiteY7" fmla="*/ 2651130 h 3831857"/>
                <a:gd name="connsiteX8" fmla="*/ 628668 w 5336589"/>
                <a:gd name="connsiteY8" fmla="*/ 3277571 h 3831857"/>
                <a:gd name="connsiteX9" fmla="*/ 467213 w 5336589"/>
                <a:gd name="connsiteY9" fmla="*/ 3408348 h 3831857"/>
                <a:gd name="connsiteX10" fmla="*/ 78108 w 5336589"/>
                <a:gd name="connsiteY10" fmla="*/ 3017631 h 3831857"/>
                <a:gd name="connsiteX11" fmla="*/ 325133 w 5336589"/>
                <a:gd name="connsiteY11" fmla="*/ 2651130 h 3831857"/>
                <a:gd name="connsiteX12" fmla="*/ 3683393 w 5336589"/>
                <a:gd name="connsiteY12" fmla="*/ 922762 h 3831857"/>
                <a:gd name="connsiteX13" fmla="*/ 3249079 w 5336589"/>
                <a:gd name="connsiteY13" fmla="*/ 1251322 h 3831857"/>
                <a:gd name="connsiteX14" fmla="*/ 3336263 w 5336589"/>
                <a:gd name="connsiteY14" fmla="*/ 1177862 h 3831857"/>
                <a:gd name="connsiteX15" fmla="*/ 3477115 w 5336589"/>
                <a:gd name="connsiteY15" fmla="*/ 1303862 h 3831857"/>
                <a:gd name="connsiteX16" fmla="*/ 3386316 w 5336589"/>
                <a:gd name="connsiteY16" fmla="*/ 1441839 h 3831857"/>
                <a:gd name="connsiteX17" fmla="*/ 3860993 w 5336589"/>
                <a:gd name="connsiteY17" fmla="*/ 1094711 h 3831857"/>
                <a:gd name="connsiteX18" fmla="*/ 3736440 w 5336589"/>
                <a:gd name="connsiteY18" fmla="*/ 1125953 h 3831857"/>
                <a:gd name="connsiteX19" fmla="*/ 3611142 w 5336589"/>
                <a:gd name="connsiteY19" fmla="*/ 974427 h 3831857"/>
                <a:gd name="connsiteX20" fmla="*/ 3683393 w 5336589"/>
                <a:gd name="connsiteY20" fmla="*/ 922762 h 3831857"/>
                <a:gd name="connsiteX21" fmla="*/ 3202477 w 5336589"/>
                <a:gd name="connsiteY21" fmla="*/ 625701 h 3831857"/>
                <a:gd name="connsiteX22" fmla="*/ 3048875 w 5336589"/>
                <a:gd name="connsiteY22" fmla="*/ 991380 h 3831857"/>
                <a:gd name="connsiteX23" fmla="*/ 3391159 w 5336589"/>
                <a:gd name="connsiteY23" fmla="*/ 649097 h 3831857"/>
                <a:gd name="connsiteX24" fmla="*/ 3243832 w 5336589"/>
                <a:gd name="connsiteY24" fmla="*/ 626367 h 3831857"/>
                <a:gd name="connsiteX25" fmla="*/ 3202477 w 5336589"/>
                <a:gd name="connsiteY25" fmla="*/ 625701 h 3831857"/>
                <a:gd name="connsiteX26" fmla="*/ 2674610 w 5336589"/>
                <a:gd name="connsiteY26" fmla="*/ 621340 h 3831857"/>
                <a:gd name="connsiteX27" fmla="*/ 2673929 w 5336589"/>
                <a:gd name="connsiteY27" fmla="*/ 621683 h 3831857"/>
                <a:gd name="connsiteX28" fmla="*/ 2673248 w 5336589"/>
                <a:gd name="connsiteY28" fmla="*/ 621683 h 3831857"/>
                <a:gd name="connsiteX29" fmla="*/ 2671886 w 5336589"/>
                <a:gd name="connsiteY29" fmla="*/ 622370 h 3831857"/>
                <a:gd name="connsiteX30" fmla="*/ 2670184 w 5336589"/>
                <a:gd name="connsiteY30" fmla="*/ 622713 h 3831857"/>
                <a:gd name="connsiteX31" fmla="*/ 2667800 w 5336589"/>
                <a:gd name="connsiteY31" fmla="*/ 623400 h 3831857"/>
                <a:gd name="connsiteX32" fmla="*/ 2665416 w 5336589"/>
                <a:gd name="connsiteY32" fmla="*/ 624087 h 3831857"/>
                <a:gd name="connsiteX33" fmla="*/ 2662692 w 5336589"/>
                <a:gd name="connsiteY33" fmla="*/ 624773 h 3831857"/>
                <a:gd name="connsiteX34" fmla="*/ 2659628 w 5336589"/>
                <a:gd name="connsiteY34" fmla="*/ 625803 h 3831857"/>
                <a:gd name="connsiteX35" fmla="*/ 2655542 w 5336589"/>
                <a:gd name="connsiteY35" fmla="*/ 627176 h 3831857"/>
                <a:gd name="connsiteX36" fmla="*/ 2651796 w 5336589"/>
                <a:gd name="connsiteY36" fmla="*/ 628206 h 3831857"/>
                <a:gd name="connsiteX37" fmla="*/ 2647029 w 5336589"/>
                <a:gd name="connsiteY37" fmla="*/ 629236 h 3831857"/>
                <a:gd name="connsiteX38" fmla="*/ 2642602 w 5336589"/>
                <a:gd name="connsiteY38" fmla="*/ 630610 h 3831857"/>
                <a:gd name="connsiteX39" fmla="*/ 2637495 w 5336589"/>
                <a:gd name="connsiteY39" fmla="*/ 631983 h 3831857"/>
                <a:gd name="connsiteX40" fmla="*/ 2631706 w 5336589"/>
                <a:gd name="connsiteY40" fmla="*/ 633356 h 3831857"/>
                <a:gd name="connsiteX41" fmla="*/ 2625577 w 5336589"/>
                <a:gd name="connsiteY41" fmla="*/ 634729 h 3831857"/>
                <a:gd name="connsiteX42" fmla="*/ 2619448 w 5336589"/>
                <a:gd name="connsiteY42" fmla="*/ 636103 h 3831857"/>
                <a:gd name="connsiteX43" fmla="*/ 2612297 w 5336589"/>
                <a:gd name="connsiteY43" fmla="*/ 637819 h 3831857"/>
                <a:gd name="connsiteX44" fmla="*/ 2605487 w 5336589"/>
                <a:gd name="connsiteY44" fmla="*/ 639536 h 3831857"/>
                <a:gd name="connsiteX45" fmla="*/ 2597655 w 5336589"/>
                <a:gd name="connsiteY45" fmla="*/ 641252 h 3831857"/>
                <a:gd name="connsiteX46" fmla="*/ 2589483 w 5336589"/>
                <a:gd name="connsiteY46" fmla="*/ 642969 h 3831857"/>
                <a:gd name="connsiteX47" fmla="*/ 2580970 w 5336589"/>
                <a:gd name="connsiteY47" fmla="*/ 644685 h 3831857"/>
                <a:gd name="connsiteX48" fmla="*/ 2572458 w 5336589"/>
                <a:gd name="connsiteY48" fmla="*/ 646402 h 3831857"/>
                <a:gd name="connsiteX49" fmla="*/ 2562923 w 5336589"/>
                <a:gd name="connsiteY49" fmla="*/ 648462 h 3831857"/>
                <a:gd name="connsiteX50" fmla="*/ 2553049 w 5336589"/>
                <a:gd name="connsiteY50" fmla="*/ 650522 h 3831857"/>
                <a:gd name="connsiteX51" fmla="*/ 2543174 w 5336589"/>
                <a:gd name="connsiteY51" fmla="*/ 652238 h 3831857"/>
                <a:gd name="connsiteX52" fmla="*/ 2532618 w 5336589"/>
                <a:gd name="connsiteY52" fmla="*/ 654298 h 3831857"/>
                <a:gd name="connsiteX53" fmla="*/ 2521381 w 5336589"/>
                <a:gd name="connsiteY53" fmla="*/ 656358 h 3831857"/>
                <a:gd name="connsiteX54" fmla="*/ 2510145 w 5336589"/>
                <a:gd name="connsiteY54" fmla="*/ 658075 h 3831857"/>
                <a:gd name="connsiteX55" fmla="*/ 2498227 w 5336589"/>
                <a:gd name="connsiteY55" fmla="*/ 660135 h 3831857"/>
                <a:gd name="connsiteX56" fmla="*/ 2485968 w 5336589"/>
                <a:gd name="connsiteY56" fmla="*/ 662194 h 3831857"/>
                <a:gd name="connsiteX57" fmla="*/ 2473029 w 5336589"/>
                <a:gd name="connsiteY57" fmla="*/ 664254 h 3831857"/>
                <a:gd name="connsiteX58" fmla="*/ 2449534 w 5336589"/>
                <a:gd name="connsiteY58" fmla="*/ 667687 h 3831857"/>
                <a:gd name="connsiteX59" fmla="*/ 2426720 w 5336589"/>
                <a:gd name="connsiteY59" fmla="*/ 670777 h 3831857"/>
                <a:gd name="connsiteX60" fmla="*/ 2404927 w 5336589"/>
                <a:gd name="connsiteY60" fmla="*/ 673524 h 3831857"/>
                <a:gd name="connsiteX61" fmla="*/ 2383475 w 5336589"/>
                <a:gd name="connsiteY61" fmla="*/ 675584 h 3831857"/>
                <a:gd name="connsiteX62" fmla="*/ 2363045 w 5336589"/>
                <a:gd name="connsiteY62" fmla="*/ 677300 h 3831857"/>
                <a:gd name="connsiteX63" fmla="*/ 2343636 w 5336589"/>
                <a:gd name="connsiteY63" fmla="*/ 678674 h 3831857"/>
                <a:gd name="connsiteX64" fmla="*/ 2324227 w 5336589"/>
                <a:gd name="connsiteY64" fmla="*/ 680047 h 3831857"/>
                <a:gd name="connsiteX65" fmla="*/ 2305839 w 5336589"/>
                <a:gd name="connsiteY65" fmla="*/ 681420 h 3831857"/>
                <a:gd name="connsiteX66" fmla="*/ 2288814 w 5336589"/>
                <a:gd name="connsiteY66" fmla="*/ 683136 h 3831857"/>
                <a:gd name="connsiteX67" fmla="*/ 2271789 w 5336589"/>
                <a:gd name="connsiteY67" fmla="*/ 684853 h 3831857"/>
                <a:gd name="connsiteX68" fmla="*/ 2255444 w 5336589"/>
                <a:gd name="connsiteY68" fmla="*/ 687256 h 3831857"/>
                <a:gd name="connsiteX69" fmla="*/ 2240462 w 5336589"/>
                <a:gd name="connsiteY69" fmla="*/ 689659 h 3831857"/>
                <a:gd name="connsiteX70" fmla="*/ 2225820 w 5336589"/>
                <a:gd name="connsiteY70" fmla="*/ 692749 h 3831857"/>
                <a:gd name="connsiteX71" fmla="*/ 2211859 w 5336589"/>
                <a:gd name="connsiteY71" fmla="*/ 696526 h 3831857"/>
                <a:gd name="connsiteX72" fmla="*/ 2198920 w 5336589"/>
                <a:gd name="connsiteY72" fmla="*/ 701332 h 3831857"/>
                <a:gd name="connsiteX73" fmla="*/ 2186661 w 5336589"/>
                <a:gd name="connsiteY73" fmla="*/ 706825 h 3831857"/>
                <a:gd name="connsiteX74" fmla="*/ 2169295 w 5336589"/>
                <a:gd name="connsiteY74" fmla="*/ 717125 h 3831857"/>
                <a:gd name="connsiteX75" fmla="*/ 2153292 w 5336589"/>
                <a:gd name="connsiteY75" fmla="*/ 728454 h 3831857"/>
                <a:gd name="connsiteX76" fmla="*/ 2138309 w 5336589"/>
                <a:gd name="connsiteY76" fmla="*/ 740470 h 3831857"/>
                <a:gd name="connsiteX77" fmla="*/ 2124008 w 5336589"/>
                <a:gd name="connsiteY77" fmla="*/ 753172 h 3831857"/>
                <a:gd name="connsiteX78" fmla="*/ 2111068 w 5336589"/>
                <a:gd name="connsiteY78" fmla="*/ 766905 h 3831857"/>
                <a:gd name="connsiteX79" fmla="*/ 2098810 w 5336589"/>
                <a:gd name="connsiteY79" fmla="*/ 782011 h 3831857"/>
                <a:gd name="connsiteX80" fmla="*/ 2087233 w 5336589"/>
                <a:gd name="connsiteY80" fmla="*/ 797460 h 3831857"/>
                <a:gd name="connsiteX81" fmla="*/ 2076677 w 5336589"/>
                <a:gd name="connsiteY81" fmla="*/ 813939 h 3831857"/>
                <a:gd name="connsiteX82" fmla="*/ 2066462 w 5336589"/>
                <a:gd name="connsiteY82" fmla="*/ 831448 h 3831857"/>
                <a:gd name="connsiteX83" fmla="*/ 2056587 w 5336589"/>
                <a:gd name="connsiteY83" fmla="*/ 850330 h 3831857"/>
                <a:gd name="connsiteX84" fmla="*/ 2047393 w 5336589"/>
                <a:gd name="connsiteY84" fmla="*/ 869556 h 3831857"/>
                <a:gd name="connsiteX85" fmla="*/ 2039221 w 5336589"/>
                <a:gd name="connsiteY85" fmla="*/ 890498 h 3831857"/>
                <a:gd name="connsiteX86" fmla="*/ 2030708 w 5336589"/>
                <a:gd name="connsiteY86" fmla="*/ 912470 h 3831857"/>
                <a:gd name="connsiteX87" fmla="*/ 2022196 w 5336589"/>
                <a:gd name="connsiteY87" fmla="*/ 935472 h 3831857"/>
                <a:gd name="connsiteX88" fmla="*/ 2014024 w 5336589"/>
                <a:gd name="connsiteY88" fmla="*/ 959847 h 3831857"/>
                <a:gd name="connsiteX89" fmla="*/ 2006532 w 5336589"/>
                <a:gd name="connsiteY89" fmla="*/ 985252 h 3831857"/>
                <a:gd name="connsiteX90" fmla="*/ 2001425 w 5336589"/>
                <a:gd name="connsiteY90" fmla="*/ 1000358 h 3831857"/>
                <a:gd name="connsiteX91" fmla="*/ 1996998 w 5336589"/>
                <a:gd name="connsiteY91" fmla="*/ 1015807 h 3831857"/>
                <a:gd name="connsiteX92" fmla="*/ 1989166 w 5336589"/>
                <a:gd name="connsiteY92" fmla="*/ 1046705 h 3831857"/>
                <a:gd name="connsiteX93" fmla="*/ 1982356 w 5336589"/>
                <a:gd name="connsiteY93" fmla="*/ 1078290 h 3831857"/>
                <a:gd name="connsiteX94" fmla="*/ 1977249 w 5336589"/>
                <a:gd name="connsiteY94" fmla="*/ 1109875 h 3831857"/>
                <a:gd name="connsiteX95" fmla="*/ 1972822 w 5336589"/>
                <a:gd name="connsiteY95" fmla="*/ 1140430 h 3831857"/>
                <a:gd name="connsiteX96" fmla="*/ 1969417 w 5336589"/>
                <a:gd name="connsiteY96" fmla="*/ 1170642 h 3831857"/>
                <a:gd name="connsiteX97" fmla="*/ 1968055 w 5336589"/>
                <a:gd name="connsiteY97" fmla="*/ 1185404 h 3831857"/>
                <a:gd name="connsiteX98" fmla="*/ 1967033 w 5336589"/>
                <a:gd name="connsiteY98" fmla="*/ 1199480 h 3831857"/>
                <a:gd name="connsiteX99" fmla="*/ 1966012 w 5336589"/>
                <a:gd name="connsiteY99" fmla="*/ 1213556 h 3831857"/>
                <a:gd name="connsiteX100" fmla="*/ 1965331 w 5336589"/>
                <a:gd name="connsiteY100" fmla="*/ 1227288 h 3831857"/>
                <a:gd name="connsiteX101" fmla="*/ 1964650 w 5336589"/>
                <a:gd name="connsiteY101" fmla="*/ 1240334 h 3831857"/>
                <a:gd name="connsiteX102" fmla="*/ 1963969 w 5336589"/>
                <a:gd name="connsiteY102" fmla="*/ 1252693 h 3831857"/>
                <a:gd name="connsiteX103" fmla="*/ 1963628 w 5336589"/>
                <a:gd name="connsiteY103" fmla="*/ 1264709 h 3831857"/>
                <a:gd name="connsiteX104" fmla="*/ 1963288 w 5336589"/>
                <a:gd name="connsiteY104" fmla="*/ 1276039 h 3831857"/>
                <a:gd name="connsiteX105" fmla="*/ 1963288 w 5336589"/>
                <a:gd name="connsiteY105" fmla="*/ 1287025 h 3831857"/>
                <a:gd name="connsiteX106" fmla="*/ 1962947 w 5336589"/>
                <a:gd name="connsiteY106" fmla="*/ 1296638 h 3831857"/>
                <a:gd name="connsiteX107" fmla="*/ 1962947 w 5336589"/>
                <a:gd name="connsiteY107" fmla="*/ 1305907 h 3831857"/>
                <a:gd name="connsiteX108" fmla="*/ 1963288 w 5336589"/>
                <a:gd name="connsiteY108" fmla="*/ 1314490 h 3831857"/>
                <a:gd name="connsiteX109" fmla="*/ 1963288 w 5336589"/>
                <a:gd name="connsiteY109" fmla="*/ 1322386 h 3831857"/>
                <a:gd name="connsiteX110" fmla="*/ 1963288 w 5336589"/>
                <a:gd name="connsiteY110" fmla="*/ 1328909 h 3831857"/>
                <a:gd name="connsiteX111" fmla="*/ 1963288 w 5336589"/>
                <a:gd name="connsiteY111" fmla="*/ 1335089 h 3831857"/>
                <a:gd name="connsiteX112" fmla="*/ 1963628 w 5336589"/>
                <a:gd name="connsiteY112" fmla="*/ 1339895 h 3831857"/>
                <a:gd name="connsiteX113" fmla="*/ 1963628 w 5336589"/>
                <a:gd name="connsiteY113" fmla="*/ 1343671 h 3831857"/>
                <a:gd name="connsiteX114" fmla="*/ 1963969 w 5336589"/>
                <a:gd name="connsiteY114" fmla="*/ 1346761 h 3831857"/>
                <a:gd name="connsiteX115" fmla="*/ 1963969 w 5336589"/>
                <a:gd name="connsiteY115" fmla="*/ 1348135 h 3831857"/>
                <a:gd name="connsiteX116" fmla="*/ 1963969 w 5336589"/>
                <a:gd name="connsiteY116" fmla="*/ 1348821 h 3831857"/>
                <a:gd name="connsiteX117" fmla="*/ 1964309 w 5336589"/>
                <a:gd name="connsiteY117" fmla="*/ 1348135 h 3831857"/>
                <a:gd name="connsiteX118" fmla="*/ 1964309 w 5336589"/>
                <a:gd name="connsiteY118" fmla="*/ 1347105 h 3831857"/>
                <a:gd name="connsiteX119" fmla="*/ 1964650 w 5336589"/>
                <a:gd name="connsiteY119" fmla="*/ 1345731 h 3831857"/>
                <a:gd name="connsiteX120" fmla="*/ 1965331 w 5336589"/>
                <a:gd name="connsiteY120" fmla="*/ 1343671 h 3831857"/>
                <a:gd name="connsiteX121" fmla="*/ 1965671 w 5336589"/>
                <a:gd name="connsiteY121" fmla="*/ 1341612 h 3831857"/>
                <a:gd name="connsiteX122" fmla="*/ 1966352 w 5336589"/>
                <a:gd name="connsiteY122" fmla="*/ 1339208 h 3831857"/>
                <a:gd name="connsiteX123" fmla="*/ 1967033 w 5336589"/>
                <a:gd name="connsiteY123" fmla="*/ 1336119 h 3831857"/>
                <a:gd name="connsiteX124" fmla="*/ 1969076 w 5336589"/>
                <a:gd name="connsiteY124" fmla="*/ 1329252 h 3831857"/>
                <a:gd name="connsiteX125" fmla="*/ 1971119 w 5336589"/>
                <a:gd name="connsiteY125" fmla="*/ 1321699 h 3831857"/>
                <a:gd name="connsiteX126" fmla="*/ 1973844 w 5336589"/>
                <a:gd name="connsiteY126" fmla="*/ 1312430 h 3831857"/>
                <a:gd name="connsiteX127" fmla="*/ 1976568 w 5336589"/>
                <a:gd name="connsiteY127" fmla="*/ 1302131 h 3831857"/>
                <a:gd name="connsiteX128" fmla="*/ 1979632 w 5336589"/>
                <a:gd name="connsiteY128" fmla="*/ 1290801 h 3831857"/>
                <a:gd name="connsiteX129" fmla="*/ 1983037 w 5336589"/>
                <a:gd name="connsiteY129" fmla="*/ 1278442 h 3831857"/>
                <a:gd name="connsiteX130" fmla="*/ 1987123 w 5336589"/>
                <a:gd name="connsiteY130" fmla="*/ 1265739 h 3831857"/>
                <a:gd name="connsiteX131" fmla="*/ 1991209 w 5336589"/>
                <a:gd name="connsiteY131" fmla="*/ 1252007 h 3831857"/>
                <a:gd name="connsiteX132" fmla="*/ 1995636 w 5336589"/>
                <a:gd name="connsiteY132" fmla="*/ 1237244 h 3831857"/>
                <a:gd name="connsiteX133" fmla="*/ 2000403 w 5336589"/>
                <a:gd name="connsiteY133" fmla="*/ 1222482 h 3831857"/>
                <a:gd name="connsiteX134" fmla="*/ 2004830 w 5336589"/>
                <a:gd name="connsiteY134" fmla="*/ 1207033 h 3831857"/>
                <a:gd name="connsiteX135" fmla="*/ 2010278 w 5336589"/>
                <a:gd name="connsiteY135" fmla="*/ 1190897 h 3831857"/>
                <a:gd name="connsiteX136" fmla="*/ 2021174 w 5336589"/>
                <a:gd name="connsiteY136" fmla="*/ 1158626 h 3831857"/>
                <a:gd name="connsiteX137" fmla="*/ 2032752 w 5336589"/>
                <a:gd name="connsiteY137" fmla="*/ 1125324 h 3831857"/>
                <a:gd name="connsiteX138" fmla="*/ 2045010 w 5336589"/>
                <a:gd name="connsiteY138" fmla="*/ 1092366 h 3831857"/>
                <a:gd name="connsiteX139" fmla="*/ 2051479 w 5336589"/>
                <a:gd name="connsiteY139" fmla="*/ 1076230 h 3831857"/>
                <a:gd name="connsiteX140" fmla="*/ 2057609 w 5336589"/>
                <a:gd name="connsiteY140" fmla="*/ 1059751 h 3831857"/>
                <a:gd name="connsiteX141" fmla="*/ 2064419 w 5336589"/>
                <a:gd name="connsiteY141" fmla="*/ 1044302 h 3831857"/>
                <a:gd name="connsiteX142" fmla="*/ 2070888 w 5336589"/>
                <a:gd name="connsiteY142" fmla="*/ 1029540 h 3831857"/>
                <a:gd name="connsiteX143" fmla="*/ 2077699 w 5336589"/>
                <a:gd name="connsiteY143" fmla="*/ 1014434 h 3831857"/>
                <a:gd name="connsiteX144" fmla="*/ 2084849 w 5336589"/>
                <a:gd name="connsiteY144" fmla="*/ 1000701 h 3831857"/>
                <a:gd name="connsiteX145" fmla="*/ 2091319 w 5336589"/>
                <a:gd name="connsiteY145" fmla="*/ 987312 h 3831857"/>
                <a:gd name="connsiteX146" fmla="*/ 2098470 w 5336589"/>
                <a:gd name="connsiteY146" fmla="*/ 974953 h 3831857"/>
                <a:gd name="connsiteX147" fmla="*/ 2105620 w 5336589"/>
                <a:gd name="connsiteY147" fmla="*/ 963624 h 3831857"/>
                <a:gd name="connsiteX148" fmla="*/ 2112090 w 5336589"/>
                <a:gd name="connsiteY148" fmla="*/ 952981 h 3831857"/>
                <a:gd name="connsiteX149" fmla="*/ 2117198 w 5336589"/>
                <a:gd name="connsiteY149" fmla="*/ 945428 h 3831857"/>
                <a:gd name="connsiteX150" fmla="*/ 2121965 w 5336589"/>
                <a:gd name="connsiteY150" fmla="*/ 937875 h 3831857"/>
                <a:gd name="connsiteX151" fmla="*/ 2126732 w 5336589"/>
                <a:gd name="connsiteY151" fmla="*/ 930665 h 3831857"/>
                <a:gd name="connsiteX152" fmla="*/ 2131158 w 5336589"/>
                <a:gd name="connsiteY152" fmla="*/ 923799 h 3831857"/>
                <a:gd name="connsiteX153" fmla="*/ 2140012 w 5336589"/>
                <a:gd name="connsiteY153" fmla="*/ 911440 h 3831857"/>
                <a:gd name="connsiteX154" fmla="*/ 2148184 w 5336589"/>
                <a:gd name="connsiteY154" fmla="*/ 900454 h 3831857"/>
                <a:gd name="connsiteX155" fmla="*/ 2155335 w 5336589"/>
                <a:gd name="connsiteY155" fmla="*/ 890498 h 3831857"/>
                <a:gd name="connsiteX156" fmla="*/ 2162485 w 5336589"/>
                <a:gd name="connsiteY156" fmla="*/ 881572 h 3831857"/>
                <a:gd name="connsiteX157" fmla="*/ 2168614 w 5336589"/>
                <a:gd name="connsiteY157" fmla="*/ 874019 h 3831857"/>
                <a:gd name="connsiteX158" fmla="*/ 2174744 w 5336589"/>
                <a:gd name="connsiteY158" fmla="*/ 867496 h 3831857"/>
                <a:gd name="connsiteX159" fmla="*/ 2179511 w 5336589"/>
                <a:gd name="connsiteY159" fmla="*/ 862003 h 3831857"/>
                <a:gd name="connsiteX160" fmla="*/ 2184278 w 5336589"/>
                <a:gd name="connsiteY160" fmla="*/ 857196 h 3831857"/>
                <a:gd name="connsiteX161" fmla="*/ 2188023 w 5336589"/>
                <a:gd name="connsiteY161" fmla="*/ 853763 h 3831857"/>
                <a:gd name="connsiteX162" fmla="*/ 2191429 w 5336589"/>
                <a:gd name="connsiteY162" fmla="*/ 851017 h 3831857"/>
                <a:gd name="connsiteX163" fmla="*/ 2194153 w 5336589"/>
                <a:gd name="connsiteY163" fmla="*/ 848614 h 3831857"/>
                <a:gd name="connsiteX164" fmla="*/ 2195855 w 5336589"/>
                <a:gd name="connsiteY164" fmla="*/ 846897 h 3831857"/>
                <a:gd name="connsiteX165" fmla="*/ 2196877 w 5336589"/>
                <a:gd name="connsiteY165" fmla="*/ 846210 h 3831857"/>
                <a:gd name="connsiteX166" fmla="*/ 2197217 w 5336589"/>
                <a:gd name="connsiteY166" fmla="*/ 845867 h 3831857"/>
                <a:gd name="connsiteX167" fmla="*/ 2196877 w 5336589"/>
                <a:gd name="connsiteY167" fmla="*/ 846554 h 3831857"/>
                <a:gd name="connsiteX168" fmla="*/ 2196196 w 5336589"/>
                <a:gd name="connsiteY168" fmla="*/ 848270 h 3831857"/>
                <a:gd name="connsiteX169" fmla="*/ 2195515 w 5336589"/>
                <a:gd name="connsiteY169" fmla="*/ 851360 h 3831857"/>
                <a:gd name="connsiteX170" fmla="*/ 2194153 w 5336589"/>
                <a:gd name="connsiteY170" fmla="*/ 855137 h 3831857"/>
                <a:gd name="connsiteX171" fmla="*/ 2192791 w 5336589"/>
                <a:gd name="connsiteY171" fmla="*/ 859600 h 3831857"/>
                <a:gd name="connsiteX172" fmla="*/ 2191088 w 5336589"/>
                <a:gd name="connsiteY172" fmla="*/ 865436 h 3831857"/>
                <a:gd name="connsiteX173" fmla="*/ 2189385 w 5336589"/>
                <a:gd name="connsiteY173" fmla="*/ 871272 h 3831857"/>
                <a:gd name="connsiteX174" fmla="*/ 2188023 w 5336589"/>
                <a:gd name="connsiteY174" fmla="*/ 878139 h 3831857"/>
                <a:gd name="connsiteX175" fmla="*/ 2186661 w 5336589"/>
                <a:gd name="connsiteY175" fmla="*/ 885691 h 3831857"/>
                <a:gd name="connsiteX176" fmla="*/ 2185299 w 5336589"/>
                <a:gd name="connsiteY176" fmla="*/ 892901 h 3831857"/>
                <a:gd name="connsiteX177" fmla="*/ 2184278 w 5336589"/>
                <a:gd name="connsiteY177" fmla="*/ 901141 h 3831857"/>
                <a:gd name="connsiteX178" fmla="*/ 2183937 w 5336589"/>
                <a:gd name="connsiteY178" fmla="*/ 909380 h 3831857"/>
                <a:gd name="connsiteX179" fmla="*/ 2183597 w 5336589"/>
                <a:gd name="connsiteY179" fmla="*/ 917620 h 3831857"/>
                <a:gd name="connsiteX180" fmla="*/ 2183937 w 5336589"/>
                <a:gd name="connsiteY180" fmla="*/ 925859 h 3831857"/>
                <a:gd name="connsiteX181" fmla="*/ 2184959 w 5336589"/>
                <a:gd name="connsiteY181" fmla="*/ 934442 h 3831857"/>
                <a:gd name="connsiteX182" fmla="*/ 2186661 w 5336589"/>
                <a:gd name="connsiteY182" fmla="*/ 942338 h 3831857"/>
                <a:gd name="connsiteX183" fmla="*/ 2188704 w 5336589"/>
                <a:gd name="connsiteY183" fmla="*/ 960190 h 3831857"/>
                <a:gd name="connsiteX184" fmla="*/ 2191769 w 5336589"/>
                <a:gd name="connsiteY184" fmla="*/ 977356 h 3831857"/>
                <a:gd name="connsiteX185" fmla="*/ 2194493 w 5336589"/>
                <a:gd name="connsiteY185" fmla="*/ 993835 h 3831857"/>
                <a:gd name="connsiteX186" fmla="*/ 2197558 w 5336589"/>
                <a:gd name="connsiteY186" fmla="*/ 1009628 h 3831857"/>
                <a:gd name="connsiteX187" fmla="*/ 2200963 w 5336589"/>
                <a:gd name="connsiteY187" fmla="*/ 1024733 h 3831857"/>
                <a:gd name="connsiteX188" fmla="*/ 2204708 w 5336589"/>
                <a:gd name="connsiteY188" fmla="*/ 1038809 h 3831857"/>
                <a:gd name="connsiteX189" fmla="*/ 2208113 w 5336589"/>
                <a:gd name="connsiteY189" fmla="*/ 1052198 h 3831857"/>
                <a:gd name="connsiteX190" fmla="*/ 2211859 w 5336589"/>
                <a:gd name="connsiteY190" fmla="*/ 1064214 h 3831857"/>
                <a:gd name="connsiteX191" fmla="*/ 2215264 w 5336589"/>
                <a:gd name="connsiteY191" fmla="*/ 1075200 h 3831857"/>
                <a:gd name="connsiteX192" fmla="*/ 2218329 w 5336589"/>
                <a:gd name="connsiteY192" fmla="*/ 1084470 h 3831857"/>
                <a:gd name="connsiteX193" fmla="*/ 2221393 w 5336589"/>
                <a:gd name="connsiteY193" fmla="*/ 1093053 h 3831857"/>
                <a:gd name="connsiteX194" fmla="*/ 2222415 w 5336589"/>
                <a:gd name="connsiteY194" fmla="*/ 1096829 h 3831857"/>
                <a:gd name="connsiteX195" fmla="*/ 2224117 w 5336589"/>
                <a:gd name="connsiteY195" fmla="*/ 1100262 h 3831857"/>
                <a:gd name="connsiteX196" fmla="*/ 2225139 w 5336589"/>
                <a:gd name="connsiteY196" fmla="*/ 1103352 h 3831857"/>
                <a:gd name="connsiteX197" fmla="*/ 2226160 w 5336589"/>
                <a:gd name="connsiteY197" fmla="*/ 1105755 h 3831857"/>
                <a:gd name="connsiteX198" fmla="*/ 2227182 w 5336589"/>
                <a:gd name="connsiteY198" fmla="*/ 1108158 h 3831857"/>
                <a:gd name="connsiteX199" fmla="*/ 2227863 w 5336589"/>
                <a:gd name="connsiteY199" fmla="*/ 1110218 h 3831857"/>
                <a:gd name="connsiteX200" fmla="*/ 2228203 w 5336589"/>
                <a:gd name="connsiteY200" fmla="*/ 1111592 h 3831857"/>
                <a:gd name="connsiteX201" fmla="*/ 2228884 w 5336589"/>
                <a:gd name="connsiteY201" fmla="*/ 1112622 h 3831857"/>
                <a:gd name="connsiteX202" fmla="*/ 2228884 w 5336589"/>
                <a:gd name="connsiteY202" fmla="*/ 1113308 h 3831857"/>
                <a:gd name="connsiteX203" fmla="*/ 2229225 w 5336589"/>
                <a:gd name="connsiteY203" fmla="*/ 1113651 h 3831857"/>
                <a:gd name="connsiteX204" fmla="*/ 2229225 w 5336589"/>
                <a:gd name="connsiteY204" fmla="*/ 1112965 h 3831857"/>
                <a:gd name="connsiteX205" fmla="*/ 2229225 w 5336589"/>
                <a:gd name="connsiteY205" fmla="*/ 1111248 h 3831857"/>
                <a:gd name="connsiteX206" fmla="*/ 2229565 w 5336589"/>
                <a:gd name="connsiteY206" fmla="*/ 1108158 h 3831857"/>
                <a:gd name="connsiteX207" fmla="*/ 2229565 w 5336589"/>
                <a:gd name="connsiteY207" fmla="*/ 1104382 h 3831857"/>
                <a:gd name="connsiteX208" fmla="*/ 2229906 w 5336589"/>
                <a:gd name="connsiteY208" fmla="*/ 1099919 h 3831857"/>
                <a:gd name="connsiteX209" fmla="*/ 2230587 w 5336589"/>
                <a:gd name="connsiteY209" fmla="*/ 1094083 h 3831857"/>
                <a:gd name="connsiteX210" fmla="*/ 2231268 w 5336589"/>
                <a:gd name="connsiteY210" fmla="*/ 1087560 h 3831857"/>
                <a:gd name="connsiteX211" fmla="*/ 2231949 w 5336589"/>
                <a:gd name="connsiteY211" fmla="*/ 1080350 h 3831857"/>
                <a:gd name="connsiteX212" fmla="*/ 2232630 w 5336589"/>
                <a:gd name="connsiteY212" fmla="*/ 1072111 h 3831857"/>
                <a:gd name="connsiteX213" fmla="*/ 2233652 w 5336589"/>
                <a:gd name="connsiteY213" fmla="*/ 1063528 h 3831857"/>
                <a:gd name="connsiteX214" fmla="*/ 2235014 w 5336589"/>
                <a:gd name="connsiteY214" fmla="*/ 1054258 h 3831857"/>
                <a:gd name="connsiteX215" fmla="*/ 2236376 w 5336589"/>
                <a:gd name="connsiteY215" fmla="*/ 1043959 h 3831857"/>
                <a:gd name="connsiteX216" fmla="*/ 2238078 w 5336589"/>
                <a:gd name="connsiteY216" fmla="*/ 1033659 h 3831857"/>
                <a:gd name="connsiteX217" fmla="*/ 2239781 w 5336589"/>
                <a:gd name="connsiteY217" fmla="*/ 1022673 h 3831857"/>
                <a:gd name="connsiteX218" fmla="*/ 2241483 w 5336589"/>
                <a:gd name="connsiteY218" fmla="*/ 1011344 h 3831857"/>
                <a:gd name="connsiteX219" fmla="*/ 2243526 w 5336589"/>
                <a:gd name="connsiteY219" fmla="*/ 999671 h 3831857"/>
                <a:gd name="connsiteX220" fmla="*/ 2248634 w 5336589"/>
                <a:gd name="connsiteY220" fmla="*/ 975640 h 3831857"/>
                <a:gd name="connsiteX221" fmla="*/ 2254423 w 5336589"/>
                <a:gd name="connsiteY221" fmla="*/ 950921 h 3831857"/>
                <a:gd name="connsiteX222" fmla="*/ 2261233 w 5336589"/>
                <a:gd name="connsiteY222" fmla="*/ 926202 h 3831857"/>
                <a:gd name="connsiteX223" fmla="*/ 2269405 w 5336589"/>
                <a:gd name="connsiteY223" fmla="*/ 901484 h 3831857"/>
                <a:gd name="connsiteX224" fmla="*/ 2278599 w 5336589"/>
                <a:gd name="connsiteY224" fmla="*/ 877452 h 3831857"/>
                <a:gd name="connsiteX225" fmla="*/ 2283706 w 5336589"/>
                <a:gd name="connsiteY225" fmla="*/ 865779 h 3831857"/>
                <a:gd name="connsiteX226" fmla="*/ 2289154 w 5336589"/>
                <a:gd name="connsiteY226" fmla="*/ 854450 h 3831857"/>
                <a:gd name="connsiteX227" fmla="*/ 2294603 w 5336589"/>
                <a:gd name="connsiteY227" fmla="*/ 843464 h 3831857"/>
                <a:gd name="connsiteX228" fmla="*/ 2301072 w 5336589"/>
                <a:gd name="connsiteY228" fmla="*/ 833164 h 3831857"/>
                <a:gd name="connsiteX229" fmla="*/ 2307201 w 5336589"/>
                <a:gd name="connsiteY229" fmla="*/ 823208 h 3831857"/>
                <a:gd name="connsiteX230" fmla="*/ 2314012 w 5336589"/>
                <a:gd name="connsiteY230" fmla="*/ 813939 h 3831857"/>
                <a:gd name="connsiteX231" fmla="*/ 2322184 w 5336589"/>
                <a:gd name="connsiteY231" fmla="*/ 804326 h 3831857"/>
                <a:gd name="connsiteX232" fmla="*/ 2330697 w 5336589"/>
                <a:gd name="connsiteY232" fmla="*/ 795057 h 3831857"/>
                <a:gd name="connsiteX233" fmla="*/ 2339890 w 5336589"/>
                <a:gd name="connsiteY233" fmla="*/ 786131 h 3831857"/>
                <a:gd name="connsiteX234" fmla="*/ 2349765 w 5336589"/>
                <a:gd name="connsiteY234" fmla="*/ 777548 h 3831857"/>
                <a:gd name="connsiteX235" fmla="*/ 2359640 w 5336589"/>
                <a:gd name="connsiteY235" fmla="*/ 769995 h 3831857"/>
                <a:gd name="connsiteX236" fmla="*/ 2370196 w 5336589"/>
                <a:gd name="connsiteY236" fmla="*/ 762099 h 3831857"/>
                <a:gd name="connsiteX237" fmla="*/ 2381092 w 5336589"/>
                <a:gd name="connsiteY237" fmla="*/ 754889 h 3831857"/>
                <a:gd name="connsiteX238" fmla="*/ 2392329 w 5336589"/>
                <a:gd name="connsiteY238" fmla="*/ 748366 h 3831857"/>
                <a:gd name="connsiteX239" fmla="*/ 2403906 w 5336589"/>
                <a:gd name="connsiteY239" fmla="*/ 741843 h 3831857"/>
                <a:gd name="connsiteX240" fmla="*/ 2415824 w 5336589"/>
                <a:gd name="connsiteY240" fmla="*/ 736007 h 3831857"/>
                <a:gd name="connsiteX241" fmla="*/ 2440681 w 5336589"/>
                <a:gd name="connsiteY241" fmla="*/ 725021 h 3831857"/>
                <a:gd name="connsiteX242" fmla="*/ 2467240 w 5336589"/>
                <a:gd name="connsiteY242" fmla="*/ 715408 h 3831857"/>
                <a:gd name="connsiteX243" fmla="*/ 2494141 w 5336589"/>
                <a:gd name="connsiteY243" fmla="*/ 706825 h 3831857"/>
                <a:gd name="connsiteX244" fmla="*/ 2508783 w 5336589"/>
                <a:gd name="connsiteY244" fmla="*/ 702362 h 3831857"/>
                <a:gd name="connsiteX245" fmla="*/ 2523424 w 5336589"/>
                <a:gd name="connsiteY245" fmla="*/ 697212 h 3831857"/>
                <a:gd name="connsiteX246" fmla="*/ 2538407 w 5336589"/>
                <a:gd name="connsiteY246" fmla="*/ 691033 h 3831857"/>
                <a:gd name="connsiteX247" fmla="*/ 2554070 w 5336589"/>
                <a:gd name="connsiteY247" fmla="*/ 684510 h 3831857"/>
                <a:gd name="connsiteX248" fmla="*/ 2569053 w 5336589"/>
                <a:gd name="connsiteY248" fmla="*/ 677643 h 3831857"/>
                <a:gd name="connsiteX249" fmla="*/ 2584375 w 5336589"/>
                <a:gd name="connsiteY249" fmla="*/ 670434 h 3831857"/>
                <a:gd name="connsiteX250" fmla="*/ 2598677 w 5336589"/>
                <a:gd name="connsiteY250" fmla="*/ 663224 h 3831857"/>
                <a:gd name="connsiteX251" fmla="*/ 2612297 w 5336589"/>
                <a:gd name="connsiteY251" fmla="*/ 656015 h 3831857"/>
                <a:gd name="connsiteX252" fmla="*/ 2625236 w 5336589"/>
                <a:gd name="connsiteY252" fmla="*/ 649149 h 3831857"/>
                <a:gd name="connsiteX253" fmla="*/ 2637495 w 5336589"/>
                <a:gd name="connsiteY253" fmla="*/ 642969 h 3831857"/>
                <a:gd name="connsiteX254" fmla="*/ 2642602 w 5336589"/>
                <a:gd name="connsiteY254" fmla="*/ 639879 h 3831857"/>
                <a:gd name="connsiteX255" fmla="*/ 2648051 w 5336589"/>
                <a:gd name="connsiteY255" fmla="*/ 636789 h 3831857"/>
                <a:gd name="connsiteX256" fmla="*/ 2652818 w 5336589"/>
                <a:gd name="connsiteY256" fmla="*/ 634043 h 3831857"/>
                <a:gd name="connsiteX257" fmla="*/ 2656904 w 5336589"/>
                <a:gd name="connsiteY257" fmla="*/ 631639 h 3831857"/>
                <a:gd name="connsiteX258" fmla="*/ 2660990 w 5336589"/>
                <a:gd name="connsiteY258" fmla="*/ 629580 h 3831857"/>
                <a:gd name="connsiteX259" fmla="*/ 2664395 w 5336589"/>
                <a:gd name="connsiteY259" fmla="*/ 627520 h 3831857"/>
                <a:gd name="connsiteX260" fmla="*/ 2667460 w 5336589"/>
                <a:gd name="connsiteY260" fmla="*/ 625460 h 3831857"/>
                <a:gd name="connsiteX261" fmla="*/ 2670184 w 5336589"/>
                <a:gd name="connsiteY261" fmla="*/ 624087 h 3831857"/>
                <a:gd name="connsiteX262" fmla="*/ 2672227 w 5336589"/>
                <a:gd name="connsiteY262" fmla="*/ 622713 h 3831857"/>
                <a:gd name="connsiteX263" fmla="*/ 2673589 w 5336589"/>
                <a:gd name="connsiteY263" fmla="*/ 622027 h 3831857"/>
                <a:gd name="connsiteX264" fmla="*/ 5059675 w 5336589"/>
                <a:gd name="connsiteY264" fmla="*/ 226079 h 3831857"/>
                <a:gd name="connsiteX265" fmla="*/ 4892564 w 5336589"/>
                <a:gd name="connsiteY265" fmla="*/ 394121 h 3831857"/>
                <a:gd name="connsiteX266" fmla="*/ 4690898 w 5336589"/>
                <a:gd name="connsiteY266" fmla="*/ 514113 h 3831857"/>
                <a:gd name="connsiteX267" fmla="*/ 4911291 w 5336589"/>
                <a:gd name="connsiteY267" fmla="*/ 478060 h 3831857"/>
                <a:gd name="connsiteX268" fmla="*/ 5059675 w 5336589"/>
                <a:gd name="connsiteY268" fmla="*/ 226079 h 3831857"/>
                <a:gd name="connsiteX269" fmla="*/ 3210329 w 5336589"/>
                <a:gd name="connsiteY269" fmla="*/ 56 h 3831857"/>
                <a:gd name="connsiteX270" fmla="*/ 3977240 w 5336589"/>
                <a:gd name="connsiteY270" fmla="*/ 469886 h 3831857"/>
                <a:gd name="connsiteX271" fmla="*/ 3837379 w 5336589"/>
                <a:gd name="connsiteY271" fmla="*/ 513025 h 3831857"/>
                <a:gd name="connsiteX272" fmla="*/ 3837216 w 5336589"/>
                <a:gd name="connsiteY272" fmla="*/ 513453 h 3831857"/>
                <a:gd name="connsiteX273" fmla="*/ 3857107 w 5336589"/>
                <a:gd name="connsiteY273" fmla="*/ 514512 h 3831857"/>
                <a:gd name="connsiteX274" fmla="*/ 4072498 w 5336589"/>
                <a:gd name="connsiteY274" fmla="*/ 540924 h 3831857"/>
                <a:gd name="connsiteX275" fmla="*/ 4279160 w 5336589"/>
                <a:gd name="connsiteY275" fmla="*/ 804094 h 3831857"/>
                <a:gd name="connsiteX276" fmla="*/ 4075728 w 5336589"/>
                <a:gd name="connsiteY276" fmla="*/ 850916 h 3831857"/>
                <a:gd name="connsiteX277" fmla="*/ 4033634 w 5336589"/>
                <a:gd name="connsiteY277" fmla="*/ 863267 h 3831857"/>
                <a:gd name="connsiteX278" fmla="*/ 4005556 w 5336589"/>
                <a:gd name="connsiteY278" fmla="*/ 873348 h 3831857"/>
                <a:gd name="connsiteX279" fmla="*/ 4039703 w 5336589"/>
                <a:gd name="connsiteY279" fmla="*/ 873116 h 3831857"/>
                <a:gd name="connsiteX280" fmla="*/ 4162913 w 5336589"/>
                <a:gd name="connsiteY280" fmla="*/ 930029 h 3831857"/>
                <a:gd name="connsiteX281" fmla="*/ 4101560 w 5336589"/>
                <a:gd name="connsiteY281" fmla="*/ 1070494 h 3831857"/>
                <a:gd name="connsiteX282" fmla="*/ 4314680 w 5336589"/>
                <a:gd name="connsiteY282" fmla="*/ 1072108 h 3831857"/>
                <a:gd name="connsiteX283" fmla="*/ 4290462 w 5336589"/>
                <a:gd name="connsiteY283" fmla="*/ 1261010 h 3831857"/>
                <a:gd name="connsiteX284" fmla="*/ 4518113 w 5336589"/>
                <a:gd name="connsiteY284" fmla="*/ 1217417 h 3831857"/>
                <a:gd name="connsiteX285" fmla="*/ 4459762 w 5336589"/>
                <a:gd name="connsiteY285" fmla="*/ 1562828 h 3831857"/>
                <a:gd name="connsiteX286" fmla="*/ 4454121 w 5336589"/>
                <a:gd name="connsiteY286" fmla="*/ 1573706 h 3831857"/>
                <a:gd name="connsiteX287" fmla="*/ 4480917 w 5336589"/>
                <a:gd name="connsiteY287" fmla="*/ 1552564 h 3831857"/>
                <a:gd name="connsiteX288" fmla="*/ 4634362 w 5336589"/>
                <a:gd name="connsiteY288" fmla="*/ 452124 h 3831857"/>
                <a:gd name="connsiteX289" fmla="*/ 4879773 w 5336589"/>
                <a:gd name="connsiteY289" fmla="*/ 327805 h 3831857"/>
                <a:gd name="connsiteX290" fmla="*/ 5047686 w 5336589"/>
                <a:gd name="connsiteY290" fmla="*/ 134060 h 3831857"/>
                <a:gd name="connsiteX291" fmla="*/ 4832951 w 5336589"/>
                <a:gd name="connsiteY291" fmla="*/ 2253951 h 3831857"/>
                <a:gd name="connsiteX292" fmla="*/ 3533920 w 5336589"/>
                <a:gd name="connsiteY292" fmla="*/ 1925500 h 3831857"/>
                <a:gd name="connsiteX293" fmla="*/ 3502202 w 5336589"/>
                <a:gd name="connsiteY293" fmla="*/ 1890933 h 3831857"/>
                <a:gd name="connsiteX294" fmla="*/ 3485470 w 5336589"/>
                <a:gd name="connsiteY294" fmla="*/ 1977379 h 3831857"/>
                <a:gd name="connsiteX295" fmla="*/ 3988542 w 5336589"/>
                <a:gd name="connsiteY295" fmla="*/ 2378272 h 3831857"/>
                <a:gd name="connsiteX296" fmla="*/ 4048279 w 5336589"/>
                <a:gd name="connsiteY296" fmla="*/ 2383116 h 3831857"/>
                <a:gd name="connsiteX297" fmla="*/ 3668861 w 5336589"/>
                <a:gd name="connsiteY297" fmla="*/ 2715711 h 3831857"/>
                <a:gd name="connsiteX298" fmla="*/ 3282985 w 5336589"/>
                <a:gd name="connsiteY298" fmla="*/ 2454156 h 3831857"/>
                <a:gd name="connsiteX299" fmla="*/ 2936059 w 5336589"/>
                <a:gd name="connsiteY299" fmla="*/ 2262076 h 3831857"/>
                <a:gd name="connsiteX300" fmla="*/ 2888664 w 5336589"/>
                <a:gd name="connsiteY300" fmla="*/ 2232241 h 3831857"/>
                <a:gd name="connsiteX301" fmla="*/ 2892176 w 5336589"/>
                <a:gd name="connsiteY301" fmla="*/ 2241439 h 3831857"/>
                <a:gd name="connsiteX302" fmla="*/ 3197413 w 5336589"/>
                <a:gd name="connsiteY302" fmla="*/ 2572016 h 3831857"/>
                <a:gd name="connsiteX303" fmla="*/ 2851900 w 5336589"/>
                <a:gd name="connsiteY303" fmla="*/ 3329236 h 3831857"/>
                <a:gd name="connsiteX304" fmla="*/ 2217382 w 5336589"/>
                <a:gd name="connsiteY304" fmla="*/ 3831358 h 3831857"/>
                <a:gd name="connsiteX305" fmla="*/ 1875099 w 5336589"/>
                <a:gd name="connsiteY305" fmla="*/ 3416420 h 3831857"/>
                <a:gd name="connsiteX306" fmla="*/ 2183477 w 5336589"/>
                <a:gd name="connsiteY306" fmla="*/ 3187156 h 3831857"/>
                <a:gd name="connsiteX307" fmla="*/ 2167331 w 5336589"/>
                <a:gd name="connsiteY307" fmla="*/ 2938517 h 3831857"/>
                <a:gd name="connsiteX308" fmla="*/ 1454676 w 5336589"/>
                <a:gd name="connsiteY308" fmla="*/ 2978382 h 3831857"/>
                <a:gd name="connsiteX309" fmla="*/ 1425919 w 5336589"/>
                <a:gd name="connsiteY309" fmla="*/ 2944899 h 3831857"/>
                <a:gd name="connsiteX310" fmla="*/ 1429686 w 5336589"/>
                <a:gd name="connsiteY310" fmla="*/ 3047700 h 3831857"/>
                <a:gd name="connsiteX311" fmla="*/ 1424641 w 5336589"/>
                <a:gd name="connsiteY311" fmla="*/ 3321163 h 3831857"/>
                <a:gd name="connsiteX312" fmla="*/ 1305164 w 5336589"/>
                <a:gd name="connsiteY312" fmla="*/ 3577875 h 3831857"/>
                <a:gd name="connsiteX313" fmla="*/ 1284175 w 5336589"/>
                <a:gd name="connsiteY313" fmla="*/ 3774849 h 3831857"/>
                <a:gd name="connsiteX314" fmla="*/ 665804 w 5336589"/>
                <a:gd name="connsiteY314" fmla="*/ 3655372 h 3831857"/>
                <a:gd name="connsiteX315" fmla="*/ 725542 w 5336589"/>
                <a:gd name="connsiteY315" fmla="*/ 3450326 h 3831857"/>
                <a:gd name="connsiteX316" fmla="*/ 750895 w 5336589"/>
                <a:gd name="connsiteY316" fmla="*/ 3207010 h 3831857"/>
                <a:gd name="connsiteX317" fmla="*/ 751509 w 5336589"/>
                <a:gd name="connsiteY317" fmla="*/ 3191301 h 3831857"/>
                <a:gd name="connsiteX318" fmla="*/ 734096 w 5336589"/>
                <a:gd name="connsiteY318" fmla="*/ 3157825 h 3831857"/>
                <a:gd name="connsiteX319" fmla="*/ 404246 w 5336589"/>
                <a:gd name="connsiteY319" fmla="*/ 1879378 h 3831857"/>
                <a:gd name="connsiteX320" fmla="*/ 50283 w 5336589"/>
                <a:gd name="connsiteY320" fmla="*/ 1628721 h 3831857"/>
                <a:gd name="connsiteX321" fmla="*/ 48072 w 5336589"/>
                <a:gd name="connsiteY321" fmla="*/ 1607470 h 3831857"/>
                <a:gd name="connsiteX322" fmla="*/ 33171 w 5336589"/>
                <a:gd name="connsiteY322" fmla="*/ 1600317 h 3831857"/>
                <a:gd name="connsiteX323" fmla="*/ 216958 w 5336589"/>
                <a:gd name="connsiteY323" fmla="*/ 1233562 h 3831857"/>
                <a:gd name="connsiteX324" fmla="*/ 145882 w 5336589"/>
                <a:gd name="connsiteY324" fmla="*/ 1591444 h 3831857"/>
                <a:gd name="connsiteX325" fmla="*/ 126829 w 5336589"/>
                <a:gd name="connsiteY325" fmla="*/ 1602136 h 3831857"/>
                <a:gd name="connsiteX326" fmla="*/ 191997 w 5336589"/>
                <a:gd name="connsiteY326" fmla="*/ 1660810 h 3831857"/>
                <a:gd name="connsiteX327" fmla="*/ 1631301 w 5336589"/>
                <a:gd name="connsiteY327" fmla="*/ 808937 h 3831857"/>
                <a:gd name="connsiteX328" fmla="*/ 1087199 w 5336589"/>
                <a:gd name="connsiteY328" fmla="*/ 1638812 h 3831857"/>
                <a:gd name="connsiteX329" fmla="*/ 1393964 w 5336589"/>
                <a:gd name="connsiteY329" fmla="*/ 2124788 h 3831857"/>
                <a:gd name="connsiteX330" fmla="*/ 1284667 w 5336589"/>
                <a:gd name="connsiteY330" fmla="*/ 2283076 h 3831857"/>
                <a:gd name="connsiteX331" fmla="*/ 1253706 w 5336589"/>
                <a:gd name="connsiteY331" fmla="*/ 2334812 h 3831857"/>
                <a:gd name="connsiteX332" fmla="*/ 1261937 w 5336589"/>
                <a:gd name="connsiteY332" fmla="*/ 2345475 h 3831857"/>
                <a:gd name="connsiteX333" fmla="*/ 1663592 w 5336589"/>
                <a:gd name="connsiteY333" fmla="*/ 2664045 h 3831857"/>
                <a:gd name="connsiteX334" fmla="*/ 2368873 w 5336589"/>
                <a:gd name="connsiteY334" fmla="*/ 2377439 h 3831857"/>
                <a:gd name="connsiteX335" fmla="*/ 2379579 w 5336589"/>
                <a:gd name="connsiteY335" fmla="*/ 2376508 h 3831857"/>
                <a:gd name="connsiteX336" fmla="*/ 2397307 w 5336589"/>
                <a:gd name="connsiteY336" fmla="*/ 2372375 h 3831857"/>
                <a:gd name="connsiteX337" fmla="*/ 2519040 w 5336589"/>
                <a:gd name="connsiteY337" fmla="*/ 2376501 h 3831857"/>
                <a:gd name="connsiteX338" fmla="*/ 2532815 w 5336589"/>
                <a:gd name="connsiteY338" fmla="*/ 2379692 h 3831857"/>
                <a:gd name="connsiteX339" fmla="*/ 2581963 w 5336589"/>
                <a:gd name="connsiteY339" fmla="*/ 2387364 h 3831857"/>
                <a:gd name="connsiteX340" fmla="*/ 2629946 w 5336589"/>
                <a:gd name="connsiteY340" fmla="*/ 2399633 h 3831857"/>
                <a:gd name="connsiteX341" fmla="*/ 2667842 w 5336589"/>
                <a:gd name="connsiteY341" fmla="*/ 2405842 h 3831857"/>
                <a:gd name="connsiteX342" fmla="*/ 2654801 w 5336589"/>
                <a:gd name="connsiteY342" fmla="*/ 1005291 h 3831857"/>
                <a:gd name="connsiteX343" fmla="*/ 2542653 w 5336589"/>
                <a:gd name="connsiteY343" fmla="*/ 2246748 h 3831857"/>
                <a:gd name="connsiteX344" fmla="*/ 2229679 w 5336589"/>
                <a:gd name="connsiteY344" fmla="*/ 2278045 h 3831857"/>
                <a:gd name="connsiteX345" fmla="*/ 1741465 w 5336589"/>
                <a:gd name="connsiteY345" fmla="*/ 2519729 h 3831857"/>
                <a:gd name="connsiteX346" fmla="*/ 1455068 w 5336589"/>
                <a:gd name="connsiteY346" fmla="*/ 2351072 h 3831857"/>
                <a:gd name="connsiteX347" fmla="*/ 1760218 w 5336589"/>
                <a:gd name="connsiteY347" fmla="*/ 1719911 h 3831857"/>
                <a:gd name="connsiteX348" fmla="*/ 1499406 w 5336589"/>
                <a:gd name="connsiteY348" fmla="*/ 2017234 h 3831857"/>
                <a:gd name="connsiteX349" fmla="*/ 1248034 w 5336589"/>
                <a:gd name="connsiteY349" fmla="*/ 1619686 h 3831857"/>
                <a:gd name="connsiteX350" fmla="*/ 2083625 w 5336589"/>
                <a:gd name="connsiteY350" fmla="*/ 535832 h 3831857"/>
                <a:gd name="connsiteX351" fmla="*/ 2525883 w 5336589"/>
                <a:gd name="connsiteY351" fmla="*/ 443835 h 3831857"/>
                <a:gd name="connsiteX352" fmla="*/ 2569214 w 5336589"/>
                <a:gd name="connsiteY352" fmla="*/ 432048 h 3831857"/>
                <a:gd name="connsiteX353" fmla="*/ 2558835 w 5336589"/>
                <a:gd name="connsiteY353" fmla="*/ 430557 h 3831857"/>
                <a:gd name="connsiteX354" fmla="*/ 2302954 w 5336589"/>
                <a:gd name="connsiteY354" fmla="*/ 424679 h 3831857"/>
                <a:gd name="connsiteX355" fmla="*/ 3210329 w 5336589"/>
                <a:gd name="connsiteY355" fmla="*/ 56 h 383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5336589" h="3831857">
                  <a:moveTo>
                    <a:pt x="3221632" y="2948204"/>
                  </a:moveTo>
                  <a:cubicBezTo>
                    <a:pt x="3280831" y="3014939"/>
                    <a:pt x="3340301" y="3155943"/>
                    <a:pt x="3360482" y="3245280"/>
                  </a:cubicBezTo>
                  <a:cubicBezTo>
                    <a:pt x="3380664" y="3334618"/>
                    <a:pt x="3328729" y="3417497"/>
                    <a:pt x="3342722" y="3484231"/>
                  </a:cubicBezTo>
                  <a:cubicBezTo>
                    <a:pt x="3370169" y="3545045"/>
                    <a:pt x="3413764" y="3592944"/>
                    <a:pt x="3396003" y="3655372"/>
                  </a:cubicBezTo>
                  <a:cubicBezTo>
                    <a:pt x="3369633" y="3746055"/>
                    <a:pt x="3197951" y="3719416"/>
                    <a:pt x="3098926" y="3719954"/>
                  </a:cubicBezTo>
                  <a:cubicBezTo>
                    <a:pt x="2999901" y="3720493"/>
                    <a:pt x="2777093" y="3791532"/>
                    <a:pt x="2801850" y="3658602"/>
                  </a:cubicBezTo>
                  <a:cubicBezTo>
                    <a:pt x="3046722" y="3476697"/>
                    <a:pt x="3139828" y="3272188"/>
                    <a:pt x="3221632" y="2948204"/>
                  </a:cubicBezTo>
                  <a:close/>
                  <a:moveTo>
                    <a:pt x="325133" y="2651130"/>
                  </a:moveTo>
                  <a:cubicBezTo>
                    <a:pt x="421467" y="2964889"/>
                    <a:pt x="482283" y="3070372"/>
                    <a:pt x="628668" y="3277571"/>
                  </a:cubicBezTo>
                  <a:cubicBezTo>
                    <a:pt x="582922" y="3355608"/>
                    <a:pt x="572696" y="3411038"/>
                    <a:pt x="467213" y="3408348"/>
                  </a:cubicBezTo>
                  <a:cubicBezTo>
                    <a:pt x="339663" y="3396510"/>
                    <a:pt x="82951" y="3113426"/>
                    <a:pt x="78108" y="3017631"/>
                  </a:cubicBezTo>
                  <a:cubicBezTo>
                    <a:pt x="78106" y="2940671"/>
                    <a:pt x="237948" y="2750693"/>
                    <a:pt x="325133" y="2651130"/>
                  </a:cubicBezTo>
                  <a:close/>
                  <a:moveTo>
                    <a:pt x="3683393" y="922762"/>
                  </a:moveTo>
                  <a:cubicBezTo>
                    <a:pt x="3501488" y="978733"/>
                    <a:pt x="3379318" y="995149"/>
                    <a:pt x="3249079" y="1251322"/>
                  </a:cubicBezTo>
                  <a:cubicBezTo>
                    <a:pt x="3323214" y="1176380"/>
                    <a:pt x="3331353" y="1180552"/>
                    <a:pt x="3336263" y="1177862"/>
                  </a:cubicBezTo>
                  <a:cubicBezTo>
                    <a:pt x="3373527" y="1269912"/>
                    <a:pt x="3396260" y="1276391"/>
                    <a:pt x="3477115" y="1303862"/>
                  </a:cubicBezTo>
                  <a:cubicBezTo>
                    <a:pt x="3476782" y="1305055"/>
                    <a:pt x="3435156" y="1345773"/>
                    <a:pt x="3386316" y="1441839"/>
                  </a:cubicBezTo>
                  <a:cubicBezTo>
                    <a:pt x="3540773" y="1271236"/>
                    <a:pt x="3648411" y="1179743"/>
                    <a:pt x="3860993" y="1094711"/>
                  </a:cubicBezTo>
                  <a:cubicBezTo>
                    <a:pt x="3767351" y="1103389"/>
                    <a:pt x="3740306" y="1125213"/>
                    <a:pt x="3736440" y="1125953"/>
                  </a:cubicBezTo>
                  <a:cubicBezTo>
                    <a:pt x="3722118" y="1027547"/>
                    <a:pt x="3693273" y="1001796"/>
                    <a:pt x="3611142" y="974427"/>
                  </a:cubicBezTo>
                  <a:cubicBezTo>
                    <a:pt x="3630988" y="945095"/>
                    <a:pt x="3682719" y="925858"/>
                    <a:pt x="3683393" y="922762"/>
                  </a:cubicBezTo>
                  <a:close/>
                  <a:moveTo>
                    <a:pt x="3202477" y="625701"/>
                  </a:moveTo>
                  <a:cubicBezTo>
                    <a:pt x="3113729" y="632735"/>
                    <a:pt x="3077129" y="706716"/>
                    <a:pt x="3048875" y="991380"/>
                  </a:cubicBezTo>
                  <a:cubicBezTo>
                    <a:pt x="3133908" y="793330"/>
                    <a:pt x="3189879" y="680851"/>
                    <a:pt x="3391159" y="649097"/>
                  </a:cubicBezTo>
                  <a:cubicBezTo>
                    <a:pt x="3331960" y="640082"/>
                    <a:pt x="3283657" y="629857"/>
                    <a:pt x="3243832" y="626367"/>
                  </a:cubicBezTo>
                  <a:cubicBezTo>
                    <a:pt x="3228898" y="625059"/>
                    <a:pt x="3215155" y="624697"/>
                    <a:pt x="3202477" y="625701"/>
                  </a:cubicBezTo>
                  <a:close/>
                  <a:moveTo>
                    <a:pt x="2674610" y="621340"/>
                  </a:moveTo>
                  <a:lnTo>
                    <a:pt x="2673929" y="621683"/>
                  </a:lnTo>
                  <a:lnTo>
                    <a:pt x="2673248" y="621683"/>
                  </a:lnTo>
                  <a:lnTo>
                    <a:pt x="2671886" y="622370"/>
                  </a:lnTo>
                  <a:lnTo>
                    <a:pt x="2670184" y="622713"/>
                  </a:lnTo>
                  <a:lnTo>
                    <a:pt x="2667800" y="623400"/>
                  </a:lnTo>
                  <a:lnTo>
                    <a:pt x="2665416" y="624087"/>
                  </a:lnTo>
                  <a:lnTo>
                    <a:pt x="2662692" y="624773"/>
                  </a:lnTo>
                  <a:lnTo>
                    <a:pt x="2659628" y="625803"/>
                  </a:lnTo>
                  <a:lnTo>
                    <a:pt x="2655542" y="627176"/>
                  </a:lnTo>
                  <a:lnTo>
                    <a:pt x="2651796" y="628206"/>
                  </a:lnTo>
                  <a:lnTo>
                    <a:pt x="2647029" y="629236"/>
                  </a:lnTo>
                  <a:lnTo>
                    <a:pt x="2642602" y="630610"/>
                  </a:lnTo>
                  <a:lnTo>
                    <a:pt x="2637495" y="631983"/>
                  </a:lnTo>
                  <a:lnTo>
                    <a:pt x="2631706" y="633356"/>
                  </a:lnTo>
                  <a:lnTo>
                    <a:pt x="2625577" y="634729"/>
                  </a:lnTo>
                  <a:lnTo>
                    <a:pt x="2619448" y="636103"/>
                  </a:lnTo>
                  <a:lnTo>
                    <a:pt x="2612297" y="637819"/>
                  </a:lnTo>
                  <a:lnTo>
                    <a:pt x="2605487" y="639536"/>
                  </a:lnTo>
                  <a:lnTo>
                    <a:pt x="2597655" y="641252"/>
                  </a:lnTo>
                  <a:lnTo>
                    <a:pt x="2589483" y="642969"/>
                  </a:lnTo>
                  <a:lnTo>
                    <a:pt x="2580970" y="644685"/>
                  </a:lnTo>
                  <a:lnTo>
                    <a:pt x="2572458" y="646402"/>
                  </a:lnTo>
                  <a:lnTo>
                    <a:pt x="2562923" y="648462"/>
                  </a:lnTo>
                  <a:lnTo>
                    <a:pt x="2553049" y="650522"/>
                  </a:lnTo>
                  <a:lnTo>
                    <a:pt x="2543174" y="652238"/>
                  </a:lnTo>
                  <a:lnTo>
                    <a:pt x="2532618" y="654298"/>
                  </a:lnTo>
                  <a:lnTo>
                    <a:pt x="2521381" y="656358"/>
                  </a:lnTo>
                  <a:lnTo>
                    <a:pt x="2510145" y="658075"/>
                  </a:lnTo>
                  <a:lnTo>
                    <a:pt x="2498227" y="660135"/>
                  </a:lnTo>
                  <a:lnTo>
                    <a:pt x="2485968" y="662194"/>
                  </a:lnTo>
                  <a:lnTo>
                    <a:pt x="2473029" y="664254"/>
                  </a:lnTo>
                  <a:lnTo>
                    <a:pt x="2449534" y="667687"/>
                  </a:lnTo>
                  <a:lnTo>
                    <a:pt x="2426720" y="670777"/>
                  </a:lnTo>
                  <a:lnTo>
                    <a:pt x="2404927" y="673524"/>
                  </a:lnTo>
                  <a:lnTo>
                    <a:pt x="2383475" y="675584"/>
                  </a:lnTo>
                  <a:lnTo>
                    <a:pt x="2363045" y="677300"/>
                  </a:lnTo>
                  <a:lnTo>
                    <a:pt x="2343636" y="678674"/>
                  </a:lnTo>
                  <a:lnTo>
                    <a:pt x="2324227" y="680047"/>
                  </a:lnTo>
                  <a:lnTo>
                    <a:pt x="2305839" y="681420"/>
                  </a:lnTo>
                  <a:lnTo>
                    <a:pt x="2288814" y="683136"/>
                  </a:lnTo>
                  <a:lnTo>
                    <a:pt x="2271789" y="684853"/>
                  </a:lnTo>
                  <a:lnTo>
                    <a:pt x="2255444" y="687256"/>
                  </a:lnTo>
                  <a:lnTo>
                    <a:pt x="2240462" y="689659"/>
                  </a:lnTo>
                  <a:lnTo>
                    <a:pt x="2225820" y="692749"/>
                  </a:lnTo>
                  <a:lnTo>
                    <a:pt x="2211859" y="696526"/>
                  </a:lnTo>
                  <a:lnTo>
                    <a:pt x="2198920" y="701332"/>
                  </a:lnTo>
                  <a:lnTo>
                    <a:pt x="2186661" y="706825"/>
                  </a:lnTo>
                  <a:lnTo>
                    <a:pt x="2169295" y="717125"/>
                  </a:lnTo>
                  <a:lnTo>
                    <a:pt x="2153292" y="728454"/>
                  </a:lnTo>
                  <a:lnTo>
                    <a:pt x="2138309" y="740470"/>
                  </a:lnTo>
                  <a:lnTo>
                    <a:pt x="2124008" y="753172"/>
                  </a:lnTo>
                  <a:lnTo>
                    <a:pt x="2111068" y="766905"/>
                  </a:lnTo>
                  <a:lnTo>
                    <a:pt x="2098810" y="782011"/>
                  </a:lnTo>
                  <a:lnTo>
                    <a:pt x="2087233" y="797460"/>
                  </a:lnTo>
                  <a:lnTo>
                    <a:pt x="2076677" y="813939"/>
                  </a:lnTo>
                  <a:lnTo>
                    <a:pt x="2066462" y="831448"/>
                  </a:lnTo>
                  <a:lnTo>
                    <a:pt x="2056587" y="850330"/>
                  </a:lnTo>
                  <a:lnTo>
                    <a:pt x="2047393" y="869556"/>
                  </a:lnTo>
                  <a:lnTo>
                    <a:pt x="2039221" y="890498"/>
                  </a:lnTo>
                  <a:lnTo>
                    <a:pt x="2030708" y="912470"/>
                  </a:lnTo>
                  <a:lnTo>
                    <a:pt x="2022196" y="935472"/>
                  </a:lnTo>
                  <a:lnTo>
                    <a:pt x="2014024" y="959847"/>
                  </a:lnTo>
                  <a:lnTo>
                    <a:pt x="2006532" y="985252"/>
                  </a:lnTo>
                  <a:lnTo>
                    <a:pt x="2001425" y="1000358"/>
                  </a:lnTo>
                  <a:lnTo>
                    <a:pt x="1996998" y="1015807"/>
                  </a:lnTo>
                  <a:lnTo>
                    <a:pt x="1989166" y="1046705"/>
                  </a:lnTo>
                  <a:lnTo>
                    <a:pt x="1982356" y="1078290"/>
                  </a:lnTo>
                  <a:lnTo>
                    <a:pt x="1977249" y="1109875"/>
                  </a:lnTo>
                  <a:lnTo>
                    <a:pt x="1972822" y="1140430"/>
                  </a:lnTo>
                  <a:lnTo>
                    <a:pt x="1969417" y="1170642"/>
                  </a:lnTo>
                  <a:lnTo>
                    <a:pt x="1968055" y="1185404"/>
                  </a:lnTo>
                  <a:lnTo>
                    <a:pt x="1967033" y="1199480"/>
                  </a:lnTo>
                  <a:lnTo>
                    <a:pt x="1966012" y="1213556"/>
                  </a:lnTo>
                  <a:lnTo>
                    <a:pt x="1965331" y="1227288"/>
                  </a:lnTo>
                  <a:lnTo>
                    <a:pt x="1964650" y="1240334"/>
                  </a:lnTo>
                  <a:lnTo>
                    <a:pt x="1963969" y="1252693"/>
                  </a:lnTo>
                  <a:lnTo>
                    <a:pt x="1963628" y="1264709"/>
                  </a:lnTo>
                  <a:lnTo>
                    <a:pt x="1963288" y="1276039"/>
                  </a:lnTo>
                  <a:lnTo>
                    <a:pt x="1963288" y="1287025"/>
                  </a:lnTo>
                  <a:lnTo>
                    <a:pt x="1962947" y="1296638"/>
                  </a:lnTo>
                  <a:lnTo>
                    <a:pt x="1962947" y="1305907"/>
                  </a:lnTo>
                  <a:lnTo>
                    <a:pt x="1963288" y="1314490"/>
                  </a:lnTo>
                  <a:lnTo>
                    <a:pt x="1963288" y="1322386"/>
                  </a:lnTo>
                  <a:lnTo>
                    <a:pt x="1963288" y="1328909"/>
                  </a:lnTo>
                  <a:lnTo>
                    <a:pt x="1963288" y="1335089"/>
                  </a:lnTo>
                  <a:lnTo>
                    <a:pt x="1963628" y="1339895"/>
                  </a:lnTo>
                  <a:lnTo>
                    <a:pt x="1963628" y="1343671"/>
                  </a:lnTo>
                  <a:lnTo>
                    <a:pt x="1963969" y="1346761"/>
                  </a:lnTo>
                  <a:lnTo>
                    <a:pt x="1963969" y="1348135"/>
                  </a:lnTo>
                  <a:lnTo>
                    <a:pt x="1963969" y="1348821"/>
                  </a:lnTo>
                  <a:lnTo>
                    <a:pt x="1964309" y="1348135"/>
                  </a:lnTo>
                  <a:lnTo>
                    <a:pt x="1964309" y="1347105"/>
                  </a:lnTo>
                  <a:lnTo>
                    <a:pt x="1964650" y="1345731"/>
                  </a:lnTo>
                  <a:lnTo>
                    <a:pt x="1965331" y="1343671"/>
                  </a:lnTo>
                  <a:lnTo>
                    <a:pt x="1965671" y="1341612"/>
                  </a:lnTo>
                  <a:lnTo>
                    <a:pt x="1966352" y="1339208"/>
                  </a:lnTo>
                  <a:lnTo>
                    <a:pt x="1967033" y="1336119"/>
                  </a:lnTo>
                  <a:lnTo>
                    <a:pt x="1969076" y="1329252"/>
                  </a:lnTo>
                  <a:lnTo>
                    <a:pt x="1971119" y="1321699"/>
                  </a:lnTo>
                  <a:lnTo>
                    <a:pt x="1973844" y="1312430"/>
                  </a:lnTo>
                  <a:lnTo>
                    <a:pt x="1976568" y="1302131"/>
                  </a:lnTo>
                  <a:lnTo>
                    <a:pt x="1979632" y="1290801"/>
                  </a:lnTo>
                  <a:lnTo>
                    <a:pt x="1983037" y="1278442"/>
                  </a:lnTo>
                  <a:lnTo>
                    <a:pt x="1987123" y="1265739"/>
                  </a:lnTo>
                  <a:lnTo>
                    <a:pt x="1991209" y="1252007"/>
                  </a:lnTo>
                  <a:lnTo>
                    <a:pt x="1995636" y="1237244"/>
                  </a:lnTo>
                  <a:lnTo>
                    <a:pt x="2000403" y="1222482"/>
                  </a:lnTo>
                  <a:lnTo>
                    <a:pt x="2004830" y="1207033"/>
                  </a:lnTo>
                  <a:lnTo>
                    <a:pt x="2010278" y="1190897"/>
                  </a:lnTo>
                  <a:lnTo>
                    <a:pt x="2021174" y="1158626"/>
                  </a:lnTo>
                  <a:lnTo>
                    <a:pt x="2032752" y="1125324"/>
                  </a:lnTo>
                  <a:lnTo>
                    <a:pt x="2045010" y="1092366"/>
                  </a:lnTo>
                  <a:lnTo>
                    <a:pt x="2051479" y="1076230"/>
                  </a:lnTo>
                  <a:lnTo>
                    <a:pt x="2057609" y="1059751"/>
                  </a:lnTo>
                  <a:lnTo>
                    <a:pt x="2064419" y="1044302"/>
                  </a:lnTo>
                  <a:lnTo>
                    <a:pt x="2070888" y="1029540"/>
                  </a:lnTo>
                  <a:lnTo>
                    <a:pt x="2077699" y="1014434"/>
                  </a:lnTo>
                  <a:lnTo>
                    <a:pt x="2084849" y="1000701"/>
                  </a:lnTo>
                  <a:lnTo>
                    <a:pt x="2091319" y="987312"/>
                  </a:lnTo>
                  <a:lnTo>
                    <a:pt x="2098470" y="974953"/>
                  </a:lnTo>
                  <a:lnTo>
                    <a:pt x="2105620" y="963624"/>
                  </a:lnTo>
                  <a:lnTo>
                    <a:pt x="2112090" y="952981"/>
                  </a:lnTo>
                  <a:lnTo>
                    <a:pt x="2117198" y="945428"/>
                  </a:lnTo>
                  <a:lnTo>
                    <a:pt x="2121965" y="937875"/>
                  </a:lnTo>
                  <a:lnTo>
                    <a:pt x="2126732" y="930665"/>
                  </a:lnTo>
                  <a:lnTo>
                    <a:pt x="2131158" y="923799"/>
                  </a:lnTo>
                  <a:lnTo>
                    <a:pt x="2140012" y="911440"/>
                  </a:lnTo>
                  <a:lnTo>
                    <a:pt x="2148184" y="900454"/>
                  </a:lnTo>
                  <a:lnTo>
                    <a:pt x="2155335" y="890498"/>
                  </a:lnTo>
                  <a:lnTo>
                    <a:pt x="2162485" y="881572"/>
                  </a:lnTo>
                  <a:lnTo>
                    <a:pt x="2168614" y="874019"/>
                  </a:lnTo>
                  <a:lnTo>
                    <a:pt x="2174744" y="867496"/>
                  </a:lnTo>
                  <a:lnTo>
                    <a:pt x="2179511" y="862003"/>
                  </a:lnTo>
                  <a:lnTo>
                    <a:pt x="2184278" y="857196"/>
                  </a:lnTo>
                  <a:lnTo>
                    <a:pt x="2188023" y="853763"/>
                  </a:lnTo>
                  <a:lnTo>
                    <a:pt x="2191429" y="851017"/>
                  </a:lnTo>
                  <a:lnTo>
                    <a:pt x="2194153" y="848614"/>
                  </a:lnTo>
                  <a:lnTo>
                    <a:pt x="2195855" y="846897"/>
                  </a:lnTo>
                  <a:lnTo>
                    <a:pt x="2196877" y="846210"/>
                  </a:lnTo>
                  <a:lnTo>
                    <a:pt x="2197217" y="845867"/>
                  </a:lnTo>
                  <a:lnTo>
                    <a:pt x="2196877" y="846554"/>
                  </a:lnTo>
                  <a:lnTo>
                    <a:pt x="2196196" y="848270"/>
                  </a:lnTo>
                  <a:lnTo>
                    <a:pt x="2195515" y="851360"/>
                  </a:lnTo>
                  <a:lnTo>
                    <a:pt x="2194153" y="855137"/>
                  </a:lnTo>
                  <a:lnTo>
                    <a:pt x="2192791" y="859600"/>
                  </a:lnTo>
                  <a:lnTo>
                    <a:pt x="2191088" y="865436"/>
                  </a:lnTo>
                  <a:lnTo>
                    <a:pt x="2189385" y="871272"/>
                  </a:lnTo>
                  <a:lnTo>
                    <a:pt x="2188023" y="878139"/>
                  </a:lnTo>
                  <a:lnTo>
                    <a:pt x="2186661" y="885691"/>
                  </a:lnTo>
                  <a:lnTo>
                    <a:pt x="2185299" y="892901"/>
                  </a:lnTo>
                  <a:lnTo>
                    <a:pt x="2184278" y="901141"/>
                  </a:lnTo>
                  <a:lnTo>
                    <a:pt x="2183937" y="909380"/>
                  </a:lnTo>
                  <a:lnTo>
                    <a:pt x="2183597" y="917620"/>
                  </a:lnTo>
                  <a:lnTo>
                    <a:pt x="2183937" y="925859"/>
                  </a:lnTo>
                  <a:lnTo>
                    <a:pt x="2184959" y="934442"/>
                  </a:lnTo>
                  <a:lnTo>
                    <a:pt x="2186661" y="942338"/>
                  </a:lnTo>
                  <a:lnTo>
                    <a:pt x="2188704" y="960190"/>
                  </a:lnTo>
                  <a:lnTo>
                    <a:pt x="2191769" y="977356"/>
                  </a:lnTo>
                  <a:lnTo>
                    <a:pt x="2194493" y="993835"/>
                  </a:lnTo>
                  <a:lnTo>
                    <a:pt x="2197558" y="1009628"/>
                  </a:lnTo>
                  <a:lnTo>
                    <a:pt x="2200963" y="1024733"/>
                  </a:lnTo>
                  <a:lnTo>
                    <a:pt x="2204708" y="1038809"/>
                  </a:lnTo>
                  <a:lnTo>
                    <a:pt x="2208113" y="1052198"/>
                  </a:lnTo>
                  <a:lnTo>
                    <a:pt x="2211859" y="1064214"/>
                  </a:lnTo>
                  <a:lnTo>
                    <a:pt x="2215264" y="1075200"/>
                  </a:lnTo>
                  <a:lnTo>
                    <a:pt x="2218329" y="1084470"/>
                  </a:lnTo>
                  <a:lnTo>
                    <a:pt x="2221393" y="1093053"/>
                  </a:lnTo>
                  <a:lnTo>
                    <a:pt x="2222415" y="1096829"/>
                  </a:lnTo>
                  <a:lnTo>
                    <a:pt x="2224117" y="1100262"/>
                  </a:lnTo>
                  <a:lnTo>
                    <a:pt x="2225139" y="1103352"/>
                  </a:lnTo>
                  <a:lnTo>
                    <a:pt x="2226160" y="1105755"/>
                  </a:lnTo>
                  <a:lnTo>
                    <a:pt x="2227182" y="1108158"/>
                  </a:lnTo>
                  <a:lnTo>
                    <a:pt x="2227863" y="1110218"/>
                  </a:lnTo>
                  <a:lnTo>
                    <a:pt x="2228203" y="1111592"/>
                  </a:lnTo>
                  <a:lnTo>
                    <a:pt x="2228884" y="1112622"/>
                  </a:lnTo>
                  <a:lnTo>
                    <a:pt x="2228884" y="1113308"/>
                  </a:lnTo>
                  <a:lnTo>
                    <a:pt x="2229225" y="1113651"/>
                  </a:lnTo>
                  <a:lnTo>
                    <a:pt x="2229225" y="1112965"/>
                  </a:lnTo>
                  <a:lnTo>
                    <a:pt x="2229225" y="1111248"/>
                  </a:lnTo>
                  <a:lnTo>
                    <a:pt x="2229565" y="1108158"/>
                  </a:lnTo>
                  <a:lnTo>
                    <a:pt x="2229565" y="1104382"/>
                  </a:lnTo>
                  <a:lnTo>
                    <a:pt x="2229906" y="1099919"/>
                  </a:lnTo>
                  <a:lnTo>
                    <a:pt x="2230587" y="1094083"/>
                  </a:lnTo>
                  <a:lnTo>
                    <a:pt x="2231268" y="1087560"/>
                  </a:lnTo>
                  <a:lnTo>
                    <a:pt x="2231949" y="1080350"/>
                  </a:lnTo>
                  <a:lnTo>
                    <a:pt x="2232630" y="1072111"/>
                  </a:lnTo>
                  <a:lnTo>
                    <a:pt x="2233652" y="1063528"/>
                  </a:lnTo>
                  <a:lnTo>
                    <a:pt x="2235014" y="1054258"/>
                  </a:lnTo>
                  <a:lnTo>
                    <a:pt x="2236376" y="1043959"/>
                  </a:lnTo>
                  <a:lnTo>
                    <a:pt x="2238078" y="1033659"/>
                  </a:lnTo>
                  <a:lnTo>
                    <a:pt x="2239781" y="1022673"/>
                  </a:lnTo>
                  <a:lnTo>
                    <a:pt x="2241483" y="1011344"/>
                  </a:lnTo>
                  <a:lnTo>
                    <a:pt x="2243526" y="999671"/>
                  </a:lnTo>
                  <a:lnTo>
                    <a:pt x="2248634" y="975640"/>
                  </a:lnTo>
                  <a:lnTo>
                    <a:pt x="2254423" y="950921"/>
                  </a:lnTo>
                  <a:lnTo>
                    <a:pt x="2261233" y="926202"/>
                  </a:lnTo>
                  <a:lnTo>
                    <a:pt x="2269405" y="901484"/>
                  </a:lnTo>
                  <a:lnTo>
                    <a:pt x="2278599" y="877452"/>
                  </a:lnTo>
                  <a:lnTo>
                    <a:pt x="2283706" y="865779"/>
                  </a:lnTo>
                  <a:lnTo>
                    <a:pt x="2289154" y="854450"/>
                  </a:lnTo>
                  <a:lnTo>
                    <a:pt x="2294603" y="843464"/>
                  </a:lnTo>
                  <a:lnTo>
                    <a:pt x="2301072" y="833164"/>
                  </a:lnTo>
                  <a:lnTo>
                    <a:pt x="2307201" y="823208"/>
                  </a:lnTo>
                  <a:lnTo>
                    <a:pt x="2314012" y="813939"/>
                  </a:lnTo>
                  <a:lnTo>
                    <a:pt x="2322184" y="804326"/>
                  </a:lnTo>
                  <a:lnTo>
                    <a:pt x="2330697" y="795057"/>
                  </a:lnTo>
                  <a:lnTo>
                    <a:pt x="2339890" y="786131"/>
                  </a:lnTo>
                  <a:lnTo>
                    <a:pt x="2349765" y="777548"/>
                  </a:lnTo>
                  <a:lnTo>
                    <a:pt x="2359640" y="769995"/>
                  </a:lnTo>
                  <a:lnTo>
                    <a:pt x="2370196" y="762099"/>
                  </a:lnTo>
                  <a:lnTo>
                    <a:pt x="2381092" y="754889"/>
                  </a:lnTo>
                  <a:lnTo>
                    <a:pt x="2392329" y="748366"/>
                  </a:lnTo>
                  <a:lnTo>
                    <a:pt x="2403906" y="741843"/>
                  </a:lnTo>
                  <a:lnTo>
                    <a:pt x="2415824" y="736007"/>
                  </a:lnTo>
                  <a:lnTo>
                    <a:pt x="2440681" y="725021"/>
                  </a:lnTo>
                  <a:lnTo>
                    <a:pt x="2467240" y="715408"/>
                  </a:lnTo>
                  <a:lnTo>
                    <a:pt x="2494141" y="706825"/>
                  </a:lnTo>
                  <a:lnTo>
                    <a:pt x="2508783" y="702362"/>
                  </a:lnTo>
                  <a:lnTo>
                    <a:pt x="2523424" y="697212"/>
                  </a:lnTo>
                  <a:lnTo>
                    <a:pt x="2538407" y="691033"/>
                  </a:lnTo>
                  <a:lnTo>
                    <a:pt x="2554070" y="684510"/>
                  </a:lnTo>
                  <a:lnTo>
                    <a:pt x="2569053" y="677643"/>
                  </a:lnTo>
                  <a:lnTo>
                    <a:pt x="2584375" y="670434"/>
                  </a:lnTo>
                  <a:lnTo>
                    <a:pt x="2598677" y="663224"/>
                  </a:lnTo>
                  <a:lnTo>
                    <a:pt x="2612297" y="656015"/>
                  </a:lnTo>
                  <a:lnTo>
                    <a:pt x="2625236" y="649149"/>
                  </a:lnTo>
                  <a:lnTo>
                    <a:pt x="2637495" y="642969"/>
                  </a:lnTo>
                  <a:lnTo>
                    <a:pt x="2642602" y="639879"/>
                  </a:lnTo>
                  <a:lnTo>
                    <a:pt x="2648051" y="636789"/>
                  </a:lnTo>
                  <a:lnTo>
                    <a:pt x="2652818" y="634043"/>
                  </a:lnTo>
                  <a:lnTo>
                    <a:pt x="2656904" y="631639"/>
                  </a:lnTo>
                  <a:lnTo>
                    <a:pt x="2660990" y="629580"/>
                  </a:lnTo>
                  <a:lnTo>
                    <a:pt x="2664395" y="627520"/>
                  </a:lnTo>
                  <a:lnTo>
                    <a:pt x="2667460" y="625460"/>
                  </a:lnTo>
                  <a:lnTo>
                    <a:pt x="2670184" y="624087"/>
                  </a:lnTo>
                  <a:lnTo>
                    <a:pt x="2672227" y="622713"/>
                  </a:lnTo>
                  <a:lnTo>
                    <a:pt x="2673589" y="622027"/>
                  </a:lnTo>
                  <a:close/>
                  <a:moveTo>
                    <a:pt x="5059675" y="226079"/>
                  </a:moveTo>
                  <a:cubicBezTo>
                    <a:pt x="5039238" y="208231"/>
                    <a:pt x="4954026" y="346116"/>
                    <a:pt x="4892564" y="394121"/>
                  </a:cubicBezTo>
                  <a:cubicBezTo>
                    <a:pt x="4831100" y="442127"/>
                    <a:pt x="4691408" y="483172"/>
                    <a:pt x="4690898" y="514113"/>
                  </a:cubicBezTo>
                  <a:cubicBezTo>
                    <a:pt x="4690387" y="545056"/>
                    <a:pt x="4821977" y="552705"/>
                    <a:pt x="4911291" y="478060"/>
                  </a:cubicBezTo>
                  <a:cubicBezTo>
                    <a:pt x="5000605" y="403415"/>
                    <a:pt x="5088588" y="263302"/>
                    <a:pt x="5059675" y="226079"/>
                  </a:cubicBezTo>
                  <a:close/>
                  <a:moveTo>
                    <a:pt x="3210329" y="56"/>
                  </a:moveTo>
                  <a:cubicBezTo>
                    <a:pt x="3464351" y="-3711"/>
                    <a:pt x="3758737" y="181422"/>
                    <a:pt x="3977240" y="469886"/>
                  </a:cubicBezTo>
                  <a:cubicBezTo>
                    <a:pt x="3925171" y="474730"/>
                    <a:pt x="3857662" y="485022"/>
                    <a:pt x="3837379" y="513025"/>
                  </a:cubicBezTo>
                  <a:lnTo>
                    <a:pt x="3837216" y="513453"/>
                  </a:lnTo>
                  <a:lnTo>
                    <a:pt x="3857107" y="514512"/>
                  </a:lnTo>
                  <a:cubicBezTo>
                    <a:pt x="3942526" y="520137"/>
                    <a:pt x="4036574" y="529622"/>
                    <a:pt x="4072498" y="540924"/>
                  </a:cubicBezTo>
                  <a:cubicBezTo>
                    <a:pt x="4139771" y="555992"/>
                    <a:pt x="4291000" y="743818"/>
                    <a:pt x="4279160" y="804094"/>
                  </a:cubicBezTo>
                  <a:cubicBezTo>
                    <a:pt x="4278622" y="859258"/>
                    <a:pt x="4172600" y="828850"/>
                    <a:pt x="4075728" y="850916"/>
                  </a:cubicBezTo>
                  <a:cubicBezTo>
                    <a:pt x="4063619" y="853673"/>
                    <a:pt x="4049379" y="857971"/>
                    <a:pt x="4033634" y="863267"/>
                  </a:cubicBezTo>
                  <a:lnTo>
                    <a:pt x="4005556" y="873348"/>
                  </a:lnTo>
                  <a:lnTo>
                    <a:pt x="4039703" y="873116"/>
                  </a:lnTo>
                  <a:cubicBezTo>
                    <a:pt x="4088946" y="869382"/>
                    <a:pt x="4113670" y="863833"/>
                    <a:pt x="4162913" y="930029"/>
                  </a:cubicBezTo>
                  <a:cubicBezTo>
                    <a:pt x="4198971" y="1036588"/>
                    <a:pt x="4175292" y="1015600"/>
                    <a:pt x="4101560" y="1070494"/>
                  </a:cubicBezTo>
                  <a:cubicBezTo>
                    <a:pt x="4217807" y="1040357"/>
                    <a:pt x="4251713" y="1029592"/>
                    <a:pt x="4314680" y="1072108"/>
                  </a:cubicBezTo>
                  <a:cubicBezTo>
                    <a:pt x="4393793" y="1198042"/>
                    <a:pt x="4337283" y="1207731"/>
                    <a:pt x="4290462" y="1261010"/>
                  </a:cubicBezTo>
                  <a:cubicBezTo>
                    <a:pt x="4363116" y="1199657"/>
                    <a:pt x="4422855" y="1141534"/>
                    <a:pt x="4518113" y="1217417"/>
                  </a:cubicBezTo>
                  <a:cubicBezTo>
                    <a:pt x="4599244" y="1280788"/>
                    <a:pt x="4527800" y="1431344"/>
                    <a:pt x="4459762" y="1562828"/>
                  </a:cubicBezTo>
                  <a:lnTo>
                    <a:pt x="4454121" y="1573706"/>
                  </a:lnTo>
                  <a:lnTo>
                    <a:pt x="4480917" y="1552564"/>
                  </a:lnTo>
                  <a:cubicBezTo>
                    <a:pt x="4839997" y="1212535"/>
                    <a:pt x="4557671" y="564132"/>
                    <a:pt x="4634362" y="452124"/>
                  </a:cubicBezTo>
                  <a:cubicBezTo>
                    <a:pt x="4673111" y="392386"/>
                    <a:pt x="4736079" y="403689"/>
                    <a:pt x="4879773" y="327805"/>
                  </a:cubicBezTo>
                  <a:cubicBezTo>
                    <a:pt x="4926595" y="300358"/>
                    <a:pt x="4976377" y="116569"/>
                    <a:pt x="5047686" y="134060"/>
                  </a:cubicBezTo>
                  <a:cubicBezTo>
                    <a:pt x="5359562" y="210554"/>
                    <a:pt x="5577796" y="1794884"/>
                    <a:pt x="4832951" y="2253951"/>
                  </a:cubicBezTo>
                  <a:cubicBezTo>
                    <a:pt x="4561002" y="2402288"/>
                    <a:pt x="4081872" y="2483928"/>
                    <a:pt x="3533920" y="1925500"/>
                  </a:cubicBezTo>
                  <a:lnTo>
                    <a:pt x="3502202" y="1890933"/>
                  </a:lnTo>
                  <a:lnTo>
                    <a:pt x="3485470" y="1977379"/>
                  </a:lnTo>
                  <a:cubicBezTo>
                    <a:pt x="3423986" y="2418763"/>
                    <a:pt x="3714069" y="2838416"/>
                    <a:pt x="3988542" y="2378272"/>
                  </a:cubicBezTo>
                  <a:lnTo>
                    <a:pt x="4048279" y="2383116"/>
                  </a:lnTo>
                  <a:cubicBezTo>
                    <a:pt x="3983698" y="2573092"/>
                    <a:pt x="3852920" y="2746925"/>
                    <a:pt x="3668861" y="2715711"/>
                  </a:cubicBezTo>
                  <a:cubicBezTo>
                    <a:pt x="3453050" y="2688264"/>
                    <a:pt x="3361559" y="2544569"/>
                    <a:pt x="3282985" y="2454156"/>
                  </a:cubicBezTo>
                  <a:cubicBezTo>
                    <a:pt x="3176425" y="2428727"/>
                    <a:pt x="3055334" y="2341542"/>
                    <a:pt x="2936059" y="2262076"/>
                  </a:cubicBezTo>
                  <a:lnTo>
                    <a:pt x="2888664" y="2232241"/>
                  </a:lnTo>
                  <a:lnTo>
                    <a:pt x="2892176" y="2241439"/>
                  </a:lnTo>
                  <a:cubicBezTo>
                    <a:pt x="2970350" y="2414538"/>
                    <a:pt x="3104703" y="2525456"/>
                    <a:pt x="3197413" y="2572016"/>
                  </a:cubicBezTo>
                  <a:cubicBezTo>
                    <a:pt x="3106460" y="2898691"/>
                    <a:pt x="2905139" y="3280579"/>
                    <a:pt x="2851900" y="3329236"/>
                  </a:cubicBezTo>
                  <a:cubicBezTo>
                    <a:pt x="2508001" y="3643534"/>
                    <a:pt x="2319100" y="3843197"/>
                    <a:pt x="2217382" y="3831358"/>
                  </a:cubicBezTo>
                  <a:cubicBezTo>
                    <a:pt x="2077456" y="3818979"/>
                    <a:pt x="1858415" y="3474006"/>
                    <a:pt x="1875099" y="3416420"/>
                  </a:cubicBezTo>
                  <a:cubicBezTo>
                    <a:pt x="1931069" y="3278647"/>
                    <a:pt x="2137194" y="3261963"/>
                    <a:pt x="2183477" y="3187156"/>
                  </a:cubicBezTo>
                  <a:cubicBezTo>
                    <a:pt x="2199622" y="3068757"/>
                    <a:pt x="2168946" y="3032698"/>
                    <a:pt x="2167331" y="2938517"/>
                  </a:cubicBezTo>
                  <a:cubicBezTo>
                    <a:pt x="2035007" y="3231894"/>
                    <a:pt x="1640619" y="3168026"/>
                    <a:pt x="1454676" y="2978382"/>
                  </a:cubicBezTo>
                  <a:lnTo>
                    <a:pt x="1425919" y="2944899"/>
                  </a:lnTo>
                  <a:lnTo>
                    <a:pt x="1429686" y="3047700"/>
                  </a:lnTo>
                  <a:cubicBezTo>
                    <a:pt x="1432848" y="3145043"/>
                    <a:pt x="1433790" y="3238553"/>
                    <a:pt x="1424641" y="3321163"/>
                  </a:cubicBezTo>
                  <a:cubicBezTo>
                    <a:pt x="1410649" y="3425031"/>
                    <a:pt x="1315928" y="3504682"/>
                    <a:pt x="1305164" y="3577875"/>
                  </a:cubicBezTo>
                  <a:cubicBezTo>
                    <a:pt x="1298168" y="3643533"/>
                    <a:pt x="1308932" y="3735024"/>
                    <a:pt x="1284175" y="3774849"/>
                  </a:cubicBezTo>
                  <a:cubicBezTo>
                    <a:pt x="1199142" y="3890019"/>
                    <a:pt x="671724" y="3745249"/>
                    <a:pt x="665804" y="3655372"/>
                  </a:cubicBezTo>
                  <a:cubicBezTo>
                    <a:pt x="656655" y="3511140"/>
                    <a:pt x="705629" y="3518675"/>
                    <a:pt x="725542" y="3450326"/>
                  </a:cubicBezTo>
                  <a:cubicBezTo>
                    <a:pt x="732404" y="3363544"/>
                    <a:pt x="745623" y="3299468"/>
                    <a:pt x="750895" y="3207010"/>
                  </a:cubicBezTo>
                  <a:lnTo>
                    <a:pt x="751509" y="3191301"/>
                  </a:lnTo>
                  <a:lnTo>
                    <a:pt x="734096" y="3157825"/>
                  </a:lnTo>
                  <a:cubicBezTo>
                    <a:pt x="558939" y="2854980"/>
                    <a:pt x="281337" y="2531585"/>
                    <a:pt x="404246" y="1879378"/>
                  </a:cubicBezTo>
                  <a:cubicBezTo>
                    <a:pt x="118472" y="1948399"/>
                    <a:pt x="68825" y="1780386"/>
                    <a:pt x="50283" y="1628721"/>
                  </a:cubicBezTo>
                  <a:lnTo>
                    <a:pt x="48072" y="1607470"/>
                  </a:lnTo>
                  <a:lnTo>
                    <a:pt x="33171" y="1600317"/>
                  </a:lnTo>
                  <a:cubicBezTo>
                    <a:pt x="-51225" y="1526584"/>
                    <a:pt x="30949" y="1314558"/>
                    <a:pt x="216958" y="1233562"/>
                  </a:cubicBezTo>
                  <a:cubicBezTo>
                    <a:pt x="124661" y="1402147"/>
                    <a:pt x="261049" y="1513870"/>
                    <a:pt x="145882" y="1591444"/>
                  </a:cubicBezTo>
                  <a:lnTo>
                    <a:pt x="126829" y="1602136"/>
                  </a:lnTo>
                  <a:lnTo>
                    <a:pt x="191997" y="1660810"/>
                  </a:lnTo>
                  <a:cubicBezTo>
                    <a:pt x="504474" y="1880783"/>
                    <a:pt x="501119" y="970929"/>
                    <a:pt x="1631301" y="808937"/>
                  </a:cubicBezTo>
                  <a:cubicBezTo>
                    <a:pt x="1206137" y="1240557"/>
                    <a:pt x="1171694" y="1397706"/>
                    <a:pt x="1087199" y="1638812"/>
                  </a:cubicBezTo>
                  <a:cubicBezTo>
                    <a:pt x="1139402" y="1871843"/>
                    <a:pt x="1324000" y="1936963"/>
                    <a:pt x="1393964" y="2124788"/>
                  </a:cubicBezTo>
                  <a:cubicBezTo>
                    <a:pt x="1353937" y="2178876"/>
                    <a:pt x="1317744" y="2231550"/>
                    <a:pt x="1284667" y="2283076"/>
                  </a:cubicBezTo>
                  <a:lnTo>
                    <a:pt x="1253706" y="2334812"/>
                  </a:lnTo>
                  <a:lnTo>
                    <a:pt x="1261937" y="2345475"/>
                  </a:lnTo>
                  <a:cubicBezTo>
                    <a:pt x="1368627" y="2475152"/>
                    <a:pt x="1550103" y="2641913"/>
                    <a:pt x="1663592" y="2664045"/>
                  </a:cubicBezTo>
                  <a:cubicBezTo>
                    <a:pt x="2044223" y="2623681"/>
                    <a:pt x="2131509" y="2414397"/>
                    <a:pt x="2368873" y="2377439"/>
                  </a:cubicBezTo>
                  <a:lnTo>
                    <a:pt x="2379579" y="2376508"/>
                  </a:lnTo>
                  <a:lnTo>
                    <a:pt x="2397307" y="2372375"/>
                  </a:lnTo>
                  <a:cubicBezTo>
                    <a:pt x="2442709" y="2365236"/>
                    <a:pt x="2481840" y="2369166"/>
                    <a:pt x="2519040" y="2376501"/>
                  </a:cubicBezTo>
                  <a:lnTo>
                    <a:pt x="2532815" y="2379692"/>
                  </a:lnTo>
                  <a:lnTo>
                    <a:pt x="2581963" y="2387364"/>
                  </a:lnTo>
                  <a:lnTo>
                    <a:pt x="2629946" y="2399633"/>
                  </a:lnTo>
                  <a:lnTo>
                    <a:pt x="2667842" y="2405842"/>
                  </a:lnTo>
                  <a:cubicBezTo>
                    <a:pt x="2905677" y="1528899"/>
                    <a:pt x="2570348" y="1528650"/>
                    <a:pt x="2654801" y="1005291"/>
                  </a:cubicBezTo>
                  <a:cubicBezTo>
                    <a:pt x="2417215" y="1653217"/>
                    <a:pt x="2762480" y="1650486"/>
                    <a:pt x="2542653" y="2246748"/>
                  </a:cubicBezTo>
                  <a:cubicBezTo>
                    <a:pt x="2438328" y="2257180"/>
                    <a:pt x="2390513" y="2211103"/>
                    <a:pt x="2229679" y="2278045"/>
                  </a:cubicBezTo>
                  <a:cubicBezTo>
                    <a:pt x="2066941" y="2358606"/>
                    <a:pt x="1910661" y="2497291"/>
                    <a:pt x="1741465" y="2519729"/>
                  </a:cubicBezTo>
                  <a:cubicBezTo>
                    <a:pt x="1583032" y="2521635"/>
                    <a:pt x="1531160" y="2462185"/>
                    <a:pt x="1455068" y="2351072"/>
                  </a:cubicBezTo>
                  <a:lnTo>
                    <a:pt x="1760218" y="1719911"/>
                  </a:lnTo>
                  <a:lnTo>
                    <a:pt x="1499406" y="2017234"/>
                  </a:lnTo>
                  <a:cubicBezTo>
                    <a:pt x="1335965" y="1676443"/>
                    <a:pt x="1322053" y="1813180"/>
                    <a:pt x="1248034" y="1619686"/>
                  </a:cubicBezTo>
                  <a:cubicBezTo>
                    <a:pt x="1276847" y="1255172"/>
                    <a:pt x="1975699" y="611343"/>
                    <a:pt x="2083625" y="535832"/>
                  </a:cubicBezTo>
                  <a:cubicBezTo>
                    <a:pt x="2135244" y="490951"/>
                    <a:pt x="2295643" y="499223"/>
                    <a:pt x="2525883" y="443835"/>
                  </a:cubicBezTo>
                  <a:lnTo>
                    <a:pt x="2569214" y="432048"/>
                  </a:lnTo>
                  <a:lnTo>
                    <a:pt x="2558835" y="430557"/>
                  </a:lnTo>
                  <a:cubicBezTo>
                    <a:pt x="2496767" y="423973"/>
                    <a:pt x="2414088" y="423468"/>
                    <a:pt x="2302954" y="424679"/>
                  </a:cubicBezTo>
                  <a:cubicBezTo>
                    <a:pt x="2520380" y="87778"/>
                    <a:pt x="2904103" y="9205"/>
                    <a:pt x="3210329" y="56"/>
                  </a:cubicBezTo>
                  <a:close/>
                </a:path>
              </a:pathLst>
            </a:custGeom>
            <a:solidFill>
              <a:schemeClr val="tx2"/>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120" name="Group 119"/>
            <p:cNvGrpSpPr/>
            <p:nvPr/>
          </p:nvGrpSpPr>
          <p:grpSpPr>
            <a:xfrm>
              <a:off x="8202226" y="5062309"/>
              <a:ext cx="637040" cy="637040"/>
              <a:chOff x="8580718" y="793097"/>
              <a:chExt cx="2587625" cy="2574925"/>
            </a:xfrm>
            <a:solidFill>
              <a:schemeClr val="tx2"/>
            </a:solidFill>
          </p:grpSpPr>
          <p:sp>
            <p:nvSpPr>
              <p:cNvPr id="12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64" name="Rectangle 63"/>
          <p:cNvSpPr/>
          <p:nvPr/>
        </p:nvSpPr>
        <p:spPr bwMode="auto">
          <a:xfrm>
            <a:off x="293039" y="6066043"/>
            <a:ext cx="11587634" cy="5787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ctr" anchorCtr="0" forceAA="0" compatLnSpc="1">
            <a:prstTxWarp prst="textNoShape">
              <a:avLst/>
            </a:prstTxWarp>
            <a:noAutofit/>
          </a:bodyPr>
          <a:lstStyle/>
          <a:p>
            <a:pPr marL="457200" marR="0" lvl="1" indent="0" algn="ctr" defTabSz="912628" rtl="0" eaLnBrk="1" fontAlgn="auto" latinLnBrk="0" hangingPunct="1">
              <a:lnSpc>
                <a:spcPct val="90000"/>
              </a:lnSpc>
              <a:spcBef>
                <a:spcPts val="0"/>
              </a:spcBef>
              <a:spcAft>
                <a:spcPts val="588"/>
              </a:spcAft>
              <a:buClrTx/>
              <a:buSzTx/>
              <a:buFontTx/>
              <a:buNone/>
              <a:tabLst/>
              <a:defRPr/>
            </a:pPr>
            <a:r>
              <a:rPr kumimoji="0" lang="en-US" sz="1600" b="1" i="0" u="none" strike="noStrike" kern="0" cap="none" spc="0" normalizeH="0" baseline="0" noProof="0" dirty="0">
                <a:ln>
                  <a:noFill/>
                </a:ln>
                <a:solidFill>
                  <a:srgbClr val="ECEFF3"/>
                </a:solidFill>
                <a:effectLst/>
                <a:uLnTx/>
                <a:uFillTx/>
                <a:latin typeface="Segoe UI"/>
                <a:ea typeface="Segoe UI Black" panose="020B0A02040204020203" pitchFamily="34" charset="0"/>
                <a:cs typeface="Segoe UI Semilight" panose="020B0402040204020203" pitchFamily="34" charset="0"/>
              </a:rPr>
              <a:t>Most consistent experience from on-premises to cloud</a:t>
            </a:r>
          </a:p>
        </p:txBody>
      </p:sp>
      <p:grpSp>
        <p:nvGrpSpPr>
          <p:cNvPr id="67" name="Group 66"/>
          <p:cNvGrpSpPr/>
          <p:nvPr/>
        </p:nvGrpSpPr>
        <p:grpSpPr>
          <a:xfrm>
            <a:off x="311327" y="6177093"/>
            <a:ext cx="767487" cy="314138"/>
            <a:chOff x="87822" y="6072745"/>
            <a:chExt cx="1854434" cy="704697"/>
          </a:xfrm>
          <a:solidFill>
            <a:srgbClr val="70C8FF">
              <a:alpha val="80000"/>
            </a:srgbClr>
          </a:solidFill>
        </p:grpSpPr>
        <p:grpSp>
          <p:nvGrpSpPr>
            <p:cNvPr id="70" name="Group 69"/>
            <p:cNvGrpSpPr/>
            <p:nvPr/>
          </p:nvGrpSpPr>
          <p:grpSpPr>
            <a:xfrm>
              <a:off x="87822" y="6072745"/>
              <a:ext cx="1484981" cy="704697"/>
              <a:chOff x="7471526" y="5683723"/>
              <a:chExt cx="1485192" cy="704797"/>
            </a:xfrm>
            <a:grpFill/>
          </p:grpSpPr>
          <p:sp>
            <p:nvSpPr>
              <p:cNvPr id="74" name="Freeform 438"/>
              <p:cNvSpPr>
                <a:spLocks noEditPoints="1"/>
              </p:cNvSpPr>
              <p:nvPr/>
            </p:nvSpPr>
            <p:spPr bwMode="auto">
              <a:xfrm>
                <a:off x="8373109" y="5683723"/>
                <a:ext cx="293400" cy="704795"/>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89554" tIns="44778" rIns="89554" bIns="4477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327" rtl="0" eaLnBrk="1" fontAlgn="base" latinLnBrk="0" hangingPunct="1">
                  <a:lnSpc>
                    <a:spcPct val="100000"/>
                  </a:lnSpc>
                  <a:spcBef>
                    <a:spcPct val="0"/>
                  </a:spcBef>
                  <a:spcAft>
                    <a:spcPct val="0"/>
                  </a:spcAft>
                  <a:buClrTx/>
                  <a:buSzTx/>
                  <a:buFontTx/>
                  <a:buNone/>
                  <a:tabLst/>
                  <a:defRPr/>
                </a:pPr>
                <a:endParaRPr kumimoji="0" lang="en-US" sz="1169" b="0" i="0" u="none" strike="noStrike" kern="1200" cap="none" spc="0" normalizeH="0" baseline="0" noProof="0">
                  <a:ln>
                    <a:noFill/>
                  </a:ln>
                  <a:solidFill>
                    <a:srgbClr val="000000"/>
                  </a:solidFill>
                  <a:effectLst/>
                  <a:uLnTx/>
                  <a:uFillTx/>
                  <a:latin typeface="Segoe UI" charset="0"/>
                  <a:ea typeface="MS PGothic" charset="0"/>
                </a:endParaRPr>
              </a:p>
            </p:txBody>
          </p:sp>
          <p:sp>
            <p:nvSpPr>
              <p:cNvPr id="75" name="Freeform 439"/>
              <p:cNvSpPr>
                <a:spLocks noEditPoints="1"/>
              </p:cNvSpPr>
              <p:nvPr/>
            </p:nvSpPr>
            <p:spPr bwMode="auto">
              <a:xfrm>
                <a:off x="8695210" y="5683723"/>
                <a:ext cx="261508" cy="704795"/>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89554" tIns="44778" rIns="89554" bIns="4477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327" rtl="0" eaLnBrk="1" fontAlgn="base" latinLnBrk="0" hangingPunct="1">
                  <a:lnSpc>
                    <a:spcPct val="100000"/>
                  </a:lnSpc>
                  <a:spcBef>
                    <a:spcPct val="0"/>
                  </a:spcBef>
                  <a:spcAft>
                    <a:spcPct val="0"/>
                  </a:spcAft>
                  <a:buClrTx/>
                  <a:buSzTx/>
                  <a:buFontTx/>
                  <a:buNone/>
                  <a:tabLst/>
                  <a:defRPr/>
                </a:pPr>
                <a:endParaRPr kumimoji="0" lang="en-US" sz="1169" b="0" i="0" u="none" strike="noStrike" kern="1200" cap="none" spc="0" normalizeH="0" baseline="0" noProof="0">
                  <a:ln>
                    <a:noFill/>
                  </a:ln>
                  <a:solidFill>
                    <a:srgbClr val="000000"/>
                  </a:solidFill>
                  <a:effectLst/>
                  <a:uLnTx/>
                  <a:uFillTx/>
                  <a:latin typeface="Segoe UI" charset="0"/>
                  <a:ea typeface="MS PGothic" charset="0"/>
                </a:endParaRPr>
              </a:p>
            </p:txBody>
          </p:sp>
          <p:sp>
            <p:nvSpPr>
              <p:cNvPr id="76" name="Freeform 440"/>
              <p:cNvSpPr>
                <a:spLocks noEditPoints="1"/>
              </p:cNvSpPr>
              <p:nvPr/>
            </p:nvSpPr>
            <p:spPr bwMode="auto">
              <a:xfrm>
                <a:off x="7471526" y="5683723"/>
                <a:ext cx="261508" cy="704795"/>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89554" tIns="44778" rIns="89554" bIns="4477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327" rtl="0" eaLnBrk="1" fontAlgn="base" latinLnBrk="0" hangingPunct="1">
                  <a:lnSpc>
                    <a:spcPct val="100000"/>
                  </a:lnSpc>
                  <a:spcBef>
                    <a:spcPct val="0"/>
                  </a:spcBef>
                  <a:spcAft>
                    <a:spcPct val="0"/>
                  </a:spcAft>
                  <a:buClrTx/>
                  <a:buSzTx/>
                  <a:buFontTx/>
                  <a:buNone/>
                  <a:tabLst/>
                  <a:defRPr/>
                </a:pPr>
                <a:endParaRPr kumimoji="0" lang="en-US" sz="1169" b="0" i="0" u="none" strike="noStrike" kern="1200" cap="none" spc="0" normalizeH="0" baseline="0" noProof="0">
                  <a:ln>
                    <a:noFill/>
                  </a:ln>
                  <a:solidFill>
                    <a:srgbClr val="000000"/>
                  </a:solidFill>
                  <a:effectLst/>
                  <a:uLnTx/>
                  <a:uFillTx/>
                  <a:latin typeface="Segoe UI" charset="0"/>
                  <a:ea typeface="MS PGothic" charset="0"/>
                </a:endParaRPr>
              </a:p>
            </p:txBody>
          </p:sp>
          <p:sp>
            <p:nvSpPr>
              <p:cNvPr id="77" name="Freeform 441"/>
              <p:cNvSpPr>
                <a:spLocks noEditPoints="1"/>
              </p:cNvSpPr>
              <p:nvPr/>
            </p:nvSpPr>
            <p:spPr bwMode="auto">
              <a:xfrm>
                <a:off x="8085430" y="5836799"/>
                <a:ext cx="261508" cy="551721"/>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89554" tIns="44778" rIns="89554" bIns="4477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327" rtl="0" eaLnBrk="1" fontAlgn="base" latinLnBrk="0" hangingPunct="1">
                  <a:lnSpc>
                    <a:spcPct val="100000"/>
                  </a:lnSpc>
                  <a:spcBef>
                    <a:spcPct val="0"/>
                  </a:spcBef>
                  <a:spcAft>
                    <a:spcPct val="0"/>
                  </a:spcAft>
                  <a:buClrTx/>
                  <a:buSzTx/>
                  <a:buFontTx/>
                  <a:buNone/>
                  <a:tabLst/>
                  <a:defRPr/>
                </a:pPr>
                <a:endParaRPr kumimoji="0" lang="en-US" sz="1169" b="0" i="0" u="none" strike="noStrike" kern="1200" cap="none" spc="0" normalizeH="0" baseline="0" noProof="0">
                  <a:ln>
                    <a:noFill/>
                  </a:ln>
                  <a:solidFill>
                    <a:srgbClr val="000000"/>
                  </a:solidFill>
                  <a:effectLst/>
                  <a:uLnTx/>
                  <a:uFillTx/>
                  <a:latin typeface="Segoe UI" charset="0"/>
                  <a:ea typeface="MS PGothic" charset="0"/>
                </a:endParaRPr>
              </a:p>
            </p:txBody>
          </p:sp>
          <p:sp>
            <p:nvSpPr>
              <p:cNvPr id="78" name="Freeform 442"/>
              <p:cNvSpPr>
                <a:spLocks noEditPoints="1"/>
              </p:cNvSpPr>
              <p:nvPr/>
            </p:nvSpPr>
            <p:spPr bwMode="auto">
              <a:xfrm>
                <a:off x="7761738" y="5788964"/>
                <a:ext cx="294994"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89554" tIns="44778" rIns="89554" bIns="4477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327" rtl="0" eaLnBrk="1" fontAlgn="base" latinLnBrk="0" hangingPunct="1">
                  <a:lnSpc>
                    <a:spcPct val="100000"/>
                  </a:lnSpc>
                  <a:spcBef>
                    <a:spcPct val="0"/>
                  </a:spcBef>
                  <a:spcAft>
                    <a:spcPct val="0"/>
                  </a:spcAft>
                  <a:buClrTx/>
                  <a:buSzTx/>
                  <a:buFontTx/>
                  <a:buNone/>
                  <a:tabLst/>
                  <a:defRPr/>
                </a:pPr>
                <a:endParaRPr kumimoji="0" lang="en-US" sz="1169" b="0" i="0" u="none" strike="noStrike" kern="1200" cap="none" spc="0" normalizeH="0" baseline="0" noProof="0">
                  <a:ln>
                    <a:noFill/>
                  </a:ln>
                  <a:solidFill>
                    <a:srgbClr val="000000"/>
                  </a:solidFill>
                  <a:effectLst/>
                  <a:uLnTx/>
                  <a:uFillTx/>
                  <a:latin typeface="Segoe UI" charset="0"/>
                  <a:ea typeface="MS PGothic" charset="0"/>
                </a:endParaRPr>
              </a:p>
            </p:txBody>
          </p:sp>
        </p:grpSp>
        <p:grpSp>
          <p:nvGrpSpPr>
            <p:cNvPr id="71" name="Group 70"/>
            <p:cNvGrpSpPr>
              <a:grpSpLocks noChangeAspect="1"/>
            </p:cNvGrpSpPr>
            <p:nvPr/>
          </p:nvGrpSpPr>
          <p:grpSpPr>
            <a:xfrm>
              <a:off x="1613499" y="6350518"/>
              <a:ext cx="328757" cy="426924"/>
              <a:chOff x="-521744" y="1184276"/>
              <a:chExt cx="1020767" cy="1325563"/>
            </a:xfrm>
            <a:grpFill/>
          </p:grpSpPr>
          <p:sp>
            <p:nvSpPr>
              <p:cNvPr id="72" name="Oval 71"/>
              <p:cNvSpPr>
                <a:spLocks noChangeArrowheads="1"/>
              </p:cNvSpPr>
              <p:nvPr/>
            </p:nvSpPr>
            <p:spPr bwMode="auto">
              <a:xfrm>
                <a:off x="-504280" y="1184276"/>
                <a:ext cx="985839" cy="1873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67" tIns="44784" rIns="89567" bIns="4478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8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437"/>
              <p:cNvSpPr>
                <a:spLocks noEditPoints="1"/>
              </p:cNvSpPr>
              <p:nvPr/>
            </p:nvSpPr>
            <p:spPr bwMode="auto">
              <a:xfrm>
                <a:off x="-521744" y="1314450"/>
                <a:ext cx="1020767"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67" tIns="44784" rIns="89567" bIns="4478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8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68" name="Freeform 432"/>
          <p:cNvSpPr>
            <a:spLocks/>
          </p:cNvSpPr>
          <p:nvPr/>
        </p:nvSpPr>
        <p:spPr bwMode="auto">
          <a:xfrm>
            <a:off x="11329529" y="6171637"/>
            <a:ext cx="569432" cy="330134"/>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70C8FF">
              <a:alpha val="87000"/>
            </a:srgbClr>
          </a:solidFill>
          <a:ln>
            <a:noFill/>
          </a:ln>
          <a:extLst/>
        </p:spPr>
        <p:txBody>
          <a:bodyPr vert="horz" wrap="square" lIns="89567" tIns="44784" rIns="89567" bIns="4478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53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4" name="Straight Connector 3"/>
          <p:cNvCxnSpPr/>
          <p:nvPr/>
        </p:nvCxnSpPr>
        <p:spPr>
          <a:xfrm>
            <a:off x="293039" y="6542892"/>
            <a:ext cx="11587634" cy="0"/>
          </a:xfrm>
          <a:prstGeom prst="line">
            <a:avLst/>
          </a:prstGeom>
          <a:ln>
            <a:solidFill>
              <a:srgbClr val="ECEFF3"/>
            </a:solidFill>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rot="16200000">
            <a:off x="2786899" y="3707622"/>
            <a:ext cx="3483861" cy="708132"/>
          </a:xfrm>
          <a:prstGeom prst="rect">
            <a:avLst/>
          </a:prstGeom>
          <a:solidFill>
            <a:srgbClr val="ECEFF3">
              <a:alpha val="75000"/>
            </a:srgbClr>
          </a:solidFill>
          <a:ln w="63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2050"/>
                </a:solidFill>
                <a:effectLst/>
                <a:uLnTx/>
                <a:uFillTx/>
                <a:latin typeface="Segoe UI"/>
                <a:ea typeface="+mn-ea"/>
                <a:cs typeface="Segoe UI Semilight" panose="020B0402040204020203" pitchFamily="34" charset="0"/>
              </a:rPr>
              <a:t>Data virtualization</a:t>
            </a:r>
          </a:p>
        </p:txBody>
      </p:sp>
      <p:cxnSp>
        <p:nvCxnSpPr>
          <p:cNvPr id="6" name="Straight Connector 5"/>
          <p:cNvCxnSpPr/>
          <p:nvPr/>
        </p:nvCxnSpPr>
        <p:spPr>
          <a:xfrm>
            <a:off x="208154" y="4065348"/>
            <a:ext cx="3389964"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01" name="Freeform: Shape 92"/>
          <p:cNvSpPr/>
          <p:nvPr/>
        </p:nvSpPr>
        <p:spPr bwMode="auto">
          <a:xfrm rot="5400000">
            <a:off x="3764493" y="2906132"/>
            <a:ext cx="299378" cy="442014"/>
          </a:xfrm>
          <a:custGeom>
            <a:avLst/>
            <a:gdLst>
              <a:gd name="connsiteX0" fmla="*/ 1 w 299378"/>
              <a:gd name="connsiteY0" fmla="*/ 149687 h 442014"/>
              <a:gd name="connsiteX1" fmla="*/ 149378 w 299378"/>
              <a:gd name="connsiteY1" fmla="*/ 0 h 442014"/>
              <a:gd name="connsiteX2" fmla="*/ 299377 w 299378"/>
              <a:gd name="connsiteY2" fmla="*/ 149687 h 442014"/>
              <a:gd name="connsiteX3" fmla="*/ 0 w 299378"/>
              <a:gd name="connsiteY3" fmla="*/ 442014 h 442014"/>
              <a:gd name="connsiteX4" fmla="*/ 0 w 299378"/>
              <a:gd name="connsiteY4" fmla="*/ 149689 h 442014"/>
              <a:gd name="connsiteX5" fmla="*/ 299378 w 299378"/>
              <a:gd name="connsiteY5" fmla="*/ 149689 h 442014"/>
              <a:gd name="connsiteX6" fmla="*/ 299378 w 299378"/>
              <a:gd name="connsiteY6" fmla="*/ 442014 h 44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378" h="442014">
                <a:moveTo>
                  <a:pt x="1" y="149687"/>
                </a:moveTo>
                <a:lnTo>
                  <a:pt x="149378" y="0"/>
                </a:lnTo>
                <a:lnTo>
                  <a:pt x="299377" y="149687"/>
                </a:lnTo>
                <a:close/>
                <a:moveTo>
                  <a:pt x="0" y="442014"/>
                </a:moveTo>
                <a:lnTo>
                  <a:pt x="0" y="149689"/>
                </a:lnTo>
                <a:lnTo>
                  <a:pt x="299378" y="149689"/>
                </a:lnTo>
                <a:lnTo>
                  <a:pt x="299378" y="442014"/>
                </a:lnTo>
                <a:close/>
              </a:path>
            </a:pathLst>
          </a:cu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Freeform: Shape 92"/>
          <p:cNvSpPr/>
          <p:nvPr/>
        </p:nvSpPr>
        <p:spPr bwMode="auto">
          <a:xfrm rot="5400000">
            <a:off x="3764493" y="4774275"/>
            <a:ext cx="299378" cy="442014"/>
          </a:xfrm>
          <a:custGeom>
            <a:avLst/>
            <a:gdLst>
              <a:gd name="connsiteX0" fmla="*/ 1 w 299378"/>
              <a:gd name="connsiteY0" fmla="*/ 149687 h 442014"/>
              <a:gd name="connsiteX1" fmla="*/ 149378 w 299378"/>
              <a:gd name="connsiteY1" fmla="*/ 0 h 442014"/>
              <a:gd name="connsiteX2" fmla="*/ 299377 w 299378"/>
              <a:gd name="connsiteY2" fmla="*/ 149687 h 442014"/>
              <a:gd name="connsiteX3" fmla="*/ 0 w 299378"/>
              <a:gd name="connsiteY3" fmla="*/ 442014 h 442014"/>
              <a:gd name="connsiteX4" fmla="*/ 0 w 299378"/>
              <a:gd name="connsiteY4" fmla="*/ 149689 h 442014"/>
              <a:gd name="connsiteX5" fmla="*/ 299378 w 299378"/>
              <a:gd name="connsiteY5" fmla="*/ 149689 h 442014"/>
              <a:gd name="connsiteX6" fmla="*/ 299378 w 299378"/>
              <a:gd name="connsiteY6" fmla="*/ 442014 h 44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378" h="442014">
                <a:moveTo>
                  <a:pt x="1" y="149687"/>
                </a:moveTo>
                <a:lnTo>
                  <a:pt x="149378" y="0"/>
                </a:lnTo>
                <a:lnTo>
                  <a:pt x="299377" y="149687"/>
                </a:lnTo>
                <a:close/>
                <a:moveTo>
                  <a:pt x="0" y="442014"/>
                </a:moveTo>
                <a:lnTo>
                  <a:pt x="0" y="149689"/>
                </a:lnTo>
                <a:lnTo>
                  <a:pt x="299378" y="149689"/>
                </a:lnTo>
                <a:lnTo>
                  <a:pt x="299378" y="442014"/>
                </a:lnTo>
                <a:close/>
              </a:path>
            </a:pathLst>
          </a:cu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Freeform: Shape 96"/>
          <p:cNvSpPr/>
          <p:nvPr/>
        </p:nvSpPr>
        <p:spPr>
          <a:xfrm rot="5400000">
            <a:off x="6775081" y="3896672"/>
            <a:ext cx="579548" cy="299378"/>
          </a:xfrm>
          <a:custGeom>
            <a:avLst/>
            <a:gdLst>
              <a:gd name="connsiteX0" fmla="*/ 526540 w 676229"/>
              <a:gd name="connsiteY0" fmla="*/ 0 h 299379"/>
              <a:gd name="connsiteX1" fmla="*/ 526540 w 676229"/>
              <a:gd name="connsiteY1" fmla="*/ 88165 h 299379"/>
              <a:gd name="connsiteX2" fmla="*/ 526542 w 676229"/>
              <a:gd name="connsiteY2" fmla="*/ 88165 h 299379"/>
              <a:gd name="connsiteX3" fmla="*/ 526542 w 676229"/>
              <a:gd name="connsiteY3" fmla="*/ 1 h 299379"/>
              <a:gd name="connsiteX4" fmla="*/ 676229 w 676229"/>
              <a:gd name="connsiteY4" fmla="*/ 149378 h 299379"/>
              <a:gd name="connsiteX5" fmla="*/ 526542 w 676229"/>
              <a:gd name="connsiteY5" fmla="*/ 299377 h 299379"/>
              <a:gd name="connsiteX6" fmla="*/ 526542 w 676229"/>
              <a:gd name="connsiteY6" fmla="*/ 186136 h 299379"/>
              <a:gd name="connsiteX7" fmla="*/ 526540 w 676229"/>
              <a:gd name="connsiteY7" fmla="*/ 186136 h 299379"/>
              <a:gd name="connsiteX8" fmla="*/ 526540 w 676229"/>
              <a:gd name="connsiteY8" fmla="*/ 299378 h 299379"/>
              <a:gd name="connsiteX9" fmla="*/ 442014 w 676229"/>
              <a:gd name="connsiteY9" fmla="*/ 299378 h 299379"/>
              <a:gd name="connsiteX10" fmla="*/ 442014 w 676229"/>
              <a:gd name="connsiteY10" fmla="*/ 299379 h 299379"/>
              <a:gd name="connsiteX11" fmla="*/ 149689 w 676229"/>
              <a:gd name="connsiteY11" fmla="*/ 299379 h 299379"/>
              <a:gd name="connsiteX12" fmla="*/ 149689 w 676229"/>
              <a:gd name="connsiteY12" fmla="*/ 186136 h 299379"/>
              <a:gd name="connsiteX13" fmla="*/ 149687 w 676229"/>
              <a:gd name="connsiteY13" fmla="*/ 186136 h 299379"/>
              <a:gd name="connsiteX14" fmla="*/ 149687 w 676229"/>
              <a:gd name="connsiteY14" fmla="*/ 299378 h 299379"/>
              <a:gd name="connsiteX15" fmla="*/ 0 w 676229"/>
              <a:gd name="connsiteY15" fmla="*/ 150001 h 299379"/>
              <a:gd name="connsiteX16" fmla="*/ 149687 w 676229"/>
              <a:gd name="connsiteY16" fmla="*/ 2 h 299379"/>
              <a:gd name="connsiteX17" fmla="*/ 149687 w 676229"/>
              <a:gd name="connsiteY17" fmla="*/ 88165 h 299379"/>
              <a:gd name="connsiteX18" fmla="*/ 149689 w 676229"/>
              <a:gd name="connsiteY18" fmla="*/ 88165 h 299379"/>
              <a:gd name="connsiteX19" fmla="*/ 149689 w 676229"/>
              <a:gd name="connsiteY19" fmla="*/ 1 h 299379"/>
              <a:gd name="connsiteX20" fmla="*/ 526540 w 676229"/>
              <a:gd name="connsiteY20" fmla="*/ 0 h 299379"/>
              <a:gd name="connsiteX0" fmla="*/ 526540 w 676229"/>
              <a:gd name="connsiteY0" fmla="*/ 0 h 299379"/>
              <a:gd name="connsiteX1" fmla="*/ 526540 w 676229"/>
              <a:gd name="connsiteY1" fmla="*/ 88165 h 299379"/>
              <a:gd name="connsiteX2" fmla="*/ 526542 w 676229"/>
              <a:gd name="connsiteY2" fmla="*/ 88165 h 299379"/>
              <a:gd name="connsiteX3" fmla="*/ 526542 w 676229"/>
              <a:gd name="connsiteY3" fmla="*/ 1 h 299379"/>
              <a:gd name="connsiteX4" fmla="*/ 676229 w 676229"/>
              <a:gd name="connsiteY4" fmla="*/ 149378 h 299379"/>
              <a:gd name="connsiteX5" fmla="*/ 526542 w 676229"/>
              <a:gd name="connsiteY5" fmla="*/ 299377 h 299379"/>
              <a:gd name="connsiteX6" fmla="*/ 526542 w 676229"/>
              <a:gd name="connsiteY6" fmla="*/ 186136 h 299379"/>
              <a:gd name="connsiteX7" fmla="*/ 526540 w 676229"/>
              <a:gd name="connsiteY7" fmla="*/ 186136 h 299379"/>
              <a:gd name="connsiteX8" fmla="*/ 526540 w 676229"/>
              <a:gd name="connsiteY8" fmla="*/ 299378 h 299379"/>
              <a:gd name="connsiteX9" fmla="*/ 442014 w 676229"/>
              <a:gd name="connsiteY9" fmla="*/ 299378 h 299379"/>
              <a:gd name="connsiteX10" fmla="*/ 442014 w 676229"/>
              <a:gd name="connsiteY10" fmla="*/ 299379 h 299379"/>
              <a:gd name="connsiteX11" fmla="*/ 149689 w 676229"/>
              <a:gd name="connsiteY11" fmla="*/ 299379 h 299379"/>
              <a:gd name="connsiteX12" fmla="*/ 149689 w 676229"/>
              <a:gd name="connsiteY12" fmla="*/ 186136 h 299379"/>
              <a:gd name="connsiteX13" fmla="*/ 149687 w 676229"/>
              <a:gd name="connsiteY13" fmla="*/ 186136 h 299379"/>
              <a:gd name="connsiteX14" fmla="*/ 149687 w 676229"/>
              <a:gd name="connsiteY14" fmla="*/ 299378 h 299379"/>
              <a:gd name="connsiteX15" fmla="*/ 0 w 676229"/>
              <a:gd name="connsiteY15" fmla="*/ 150001 h 299379"/>
              <a:gd name="connsiteX16" fmla="*/ 149687 w 676229"/>
              <a:gd name="connsiteY16" fmla="*/ 2 h 299379"/>
              <a:gd name="connsiteX17" fmla="*/ 149687 w 676229"/>
              <a:gd name="connsiteY17" fmla="*/ 88165 h 299379"/>
              <a:gd name="connsiteX18" fmla="*/ 149689 w 676229"/>
              <a:gd name="connsiteY18" fmla="*/ 1 h 299379"/>
              <a:gd name="connsiteX19" fmla="*/ 526540 w 676229"/>
              <a:gd name="connsiteY19" fmla="*/ 0 h 299379"/>
              <a:gd name="connsiteX0" fmla="*/ 526540 w 676229"/>
              <a:gd name="connsiteY0" fmla="*/ 0 h 299379"/>
              <a:gd name="connsiteX1" fmla="*/ 526540 w 676229"/>
              <a:gd name="connsiteY1" fmla="*/ 88165 h 299379"/>
              <a:gd name="connsiteX2" fmla="*/ 526542 w 676229"/>
              <a:gd name="connsiteY2" fmla="*/ 88165 h 299379"/>
              <a:gd name="connsiteX3" fmla="*/ 526542 w 676229"/>
              <a:gd name="connsiteY3" fmla="*/ 1 h 299379"/>
              <a:gd name="connsiteX4" fmla="*/ 676229 w 676229"/>
              <a:gd name="connsiteY4" fmla="*/ 149378 h 299379"/>
              <a:gd name="connsiteX5" fmla="*/ 526542 w 676229"/>
              <a:gd name="connsiteY5" fmla="*/ 299377 h 299379"/>
              <a:gd name="connsiteX6" fmla="*/ 526542 w 676229"/>
              <a:gd name="connsiteY6" fmla="*/ 186136 h 299379"/>
              <a:gd name="connsiteX7" fmla="*/ 526540 w 676229"/>
              <a:gd name="connsiteY7" fmla="*/ 186136 h 299379"/>
              <a:gd name="connsiteX8" fmla="*/ 526540 w 676229"/>
              <a:gd name="connsiteY8" fmla="*/ 299378 h 299379"/>
              <a:gd name="connsiteX9" fmla="*/ 442014 w 676229"/>
              <a:gd name="connsiteY9" fmla="*/ 299378 h 299379"/>
              <a:gd name="connsiteX10" fmla="*/ 442014 w 676229"/>
              <a:gd name="connsiteY10" fmla="*/ 299379 h 299379"/>
              <a:gd name="connsiteX11" fmla="*/ 149689 w 676229"/>
              <a:gd name="connsiteY11" fmla="*/ 299379 h 299379"/>
              <a:gd name="connsiteX12" fmla="*/ 149689 w 676229"/>
              <a:gd name="connsiteY12" fmla="*/ 186136 h 299379"/>
              <a:gd name="connsiteX13" fmla="*/ 149687 w 676229"/>
              <a:gd name="connsiteY13" fmla="*/ 186136 h 299379"/>
              <a:gd name="connsiteX14" fmla="*/ 149687 w 676229"/>
              <a:gd name="connsiteY14" fmla="*/ 299378 h 299379"/>
              <a:gd name="connsiteX15" fmla="*/ 0 w 676229"/>
              <a:gd name="connsiteY15" fmla="*/ 150001 h 299379"/>
              <a:gd name="connsiteX16" fmla="*/ 149687 w 676229"/>
              <a:gd name="connsiteY16" fmla="*/ 2 h 299379"/>
              <a:gd name="connsiteX17" fmla="*/ 149689 w 676229"/>
              <a:gd name="connsiteY17" fmla="*/ 1 h 299379"/>
              <a:gd name="connsiteX18" fmla="*/ 526540 w 676229"/>
              <a:gd name="connsiteY18" fmla="*/ 0 h 299379"/>
              <a:gd name="connsiteX0" fmla="*/ 526540 w 676229"/>
              <a:gd name="connsiteY0" fmla="*/ 0 h 299379"/>
              <a:gd name="connsiteX1" fmla="*/ 526540 w 676229"/>
              <a:gd name="connsiteY1" fmla="*/ 88165 h 299379"/>
              <a:gd name="connsiteX2" fmla="*/ 526542 w 676229"/>
              <a:gd name="connsiteY2" fmla="*/ 88165 h 299379"/>
              <a:gd name="connsiteX3" fmla="*/ 526542 w 676229"/>
              <a:gd name="connsiteY3" fmla="*/ 1 h 299379"/>
              <a:gd name="connsiteX4" fmla="*/ 676229 w 676229"/>
              <a:gd name="connsiteY4" fmla="*/ 149378 h 299379"/>
              <a:gd name="connsiteX5" fmla="*/ 526542 w 676229"/>
              <a:gd name="connsiteY5" fmla="*/ 299377 h 299379"/>
              <a:gd name="connsiteX6" fmla="*/ 526542 w 676229"/>
              <a:gd name="connsiteY6" fmla="*/ 186136 h 299379"/>
              <a:gd name="connsiteX7" fmla="*/ 526540 w 676229"/>
              <a:gd name="connsiteY7" fmla="*/ 186136 h 299379"/>
              <a:gd name="connsiteX8" fmla="*/ 526540 w 676229"/>
              <a:gd name="connsiteY8" fmla="*/ 299378 h 299379"/>
              <a:gd name="connsiteX9" fmla="*/ 442014 w 676229"/>
              <a:gd name="connsiteY9" fmla="*/ 299378 h 299379"/>
              <a:gd name="connsiteX10" fmla="*/ 442014 w 676229"/>
              <a:gd name="connsiteY10" fmla="*/ 299379 h 299379"/>
              <a:gd name="connsiteX11" fmla="*/ 149689 w 676229"/>
              <a:gd name="connsiteY11" fmla="*/ 299379 h 299379"/>
              <a:gd name="connsiteX12" fmla="*/ 149689 w 676229"/>
              <a:gd name="connsiteY12" fmla="*/ 186136 h 299379"/>
              <a:gd name="connsiteX13" fmla="*/ 149687 w 676229"/>
              <a:gd name="connsiteY13" fmla="*/ 299378 h 299379"/>
              <a:gd name="connsiteX14" fmla="*/ 0 w 676229"/>
              <a:gd name="connsiteY14" fmla="*/ 150001 h 299379"/>
              <a:gd name="connsiteX15" fmla="*/ 149687 w 676229"/>
              <a:gd name="connsiteY15" fmla="*/ 2 h 299379"/>
              <a:gd name="connsiteX16" fmla="*/ 149689 w 676229"/>
              <a:gd name="connsiteY16" fmla="*/ 1 h 299379"/>
              <a:gd name="connsiteX17" fmla="*/ 526540 w 676229"/>
              <a:gd name="connsiteY17" fmla="*/ 0 h 299379"/>
              <a:gd name="connsiteX0" fmla="*/ 526540 w 676229"/>
              <a:gd name="connsiteY0" fmla="*/ 0 h 299379"/>
              <a:gd name="connsiteX1" fmla="*/ 526540 w 676229"/>
              <a:gd name="connsiteY1" fmla="*/ 88165 h 299379"/>
              <a:gd name="connsiteX2" fmla="*/ 526542 w 676229"/>
              <a:gd name="connsiteY2" fmla="*/ 88165 h 299379"/>
              <a:gd name="connsiteX3" fmla="*/ 526542 w 676229"/>
              <a:gd name="connsiteY3" fmla="*/ 1 h 299379"/>
              <a:gd name="connsiteX4" fmla="*/ 676229 w 676229"/>
              <a:gd name="connsiteY4" fmla="*/ 149378 h 299379"/>
              <a:gd name="connsiteX5" fmla="*/ 526542 w 676229"/>
              <a:gd name="connsiteY5" fmla="*/ 299377 h 299379"/>
              <a:gd name="connsiteX6" fmla="*/ 526542 w 676229"/>
              <a:gd name="connsiteY6" fmla="*/ 186136 h 299379"/>
              <a:gd name="connsiteX7" fmla="*/ 526540 w 676229"/>
              <a:gd name="connsiteY7" fmla="*/ 186136 h 299379"/>
              <a:gd name="connsiteX8" fmla="*/ 526540 w 676229"/>
              <a:gd name="connsiteY8" fmla="*/ 299378 h 299379"/>
              <a:gd name="connsiteX9" fmla="*/ 442014 w 676229"/>
              <a:gd name="connsiteY9" fmla="*/ 299378 h 299379"/>
              <a:gd name="connsiteX10" fmla="*/ 442014 w 676229"/>
              <a:gd name="connsiteY10" fmla="*/ 299379 h 299379"/>
              <a:gd name="connsiteX11" fmla="*/ 149689 w 676229"/>
              <a:gd name="connsiteY11" fmla="*/ 299379 h 299379"/>
              <a:gd name="connsiteX12" fmla="*/ 149687 w 676229"/>
              <a:gd name="connsiteY12" fmla="*/ 299378 h 299379"/>
              <a:gd name="connsiteX13" fmla="*/ 0 w 676229"/>
              <a:gd name="connsiteY13" fmla="*/ 150001 h 299379"/>
              <a:gd name="connsiteX14" fmla="*/ 149687 w 676229"/>
              <a:gd name="connsiteY14" fmla="*/ 2 h 299379"/>
              <a:gd name="connsiteX15" fmla="*/ 149689 w 676229"/>
              <a:gd name="connsiteY15" fmla="*/ 1 h 299379"/>
              <a:gd name="connsiteX16" fmla="*/ 526540 w 676229"/>
              <a:gd name="connsiteY16" fmla="*/ 0 h 299379"/>
              <a:gd name="connsiteX0" fmla="*/ 526540 w 676229"/>
              <a:gd name="connsiteY0" fmla="*/ 0 h 299379"/>
              <a:gd name="connsiteX1" fmla="*/ 526540 w 676229"/>
              <a:gd name="connsiteY1" fmla="*/ 88165 h 299379"/>
              <a:gd name="connsiteX2" fmla="*/ 526542 w 676229"/>
              <a:gd name="connsiteY2" fmla="*/ 88165 h 299379"/>
              <a:gd name="connsiteX3" fmla="*/ 526542 w 676229"/>
              <a:gd name="connsiteY3" fmla="*/ 1 h 299379"/>
              <a:gd name="connsiteX4" fmla="*/ 676229 w 676229"/>
              <a:gd name="connsiteY4" fmla="*/ 149378 h 299379"/>
              <a:gd name="connsiteX5" fmla="*/ 526542 w 676229"/>
              <a:gd name="connsiteY5" fmla="*/ 299377 h 299379"/>
              <a:gd name="connsiteX6" fmla="*/ 526542 w 676229"/>
              <a:gd name="connsiteY6" fmla="*/ 186136 h 299379"/>
              <a:gd name="connsiteX7" fmla="*/ 526540 w 676229"/>
              <a:gd name="connsiteY7" fmla="*/ 299378 h 299379"/>
              <a:gd name="connsiteX8" fmla="*/ 442014 w 676229"/>
              <a:gd name="connsiteY8" fmla="*/ 299378 h 299379"/>
              <a:gd name="connsiteX9" fmla="*/ 442014 w 676229"/>
              <a:gd name="connsiteY9" fmla="*/ 299379 h 299379"/>
              <a:gd name="connsiteX10" fmla="*/ 149689 w 676229"/>
              <a:gd name="connsiteY10" fmla="*/ 299379 h 299379"/>
              <a:gd name="connsiteX11" fmla="*/ 149687 w 676229"/>
              <a:gd name="connsiteY11" fmla="*/ 299378 h 299379"/>
              <a:gd name="connsiteX12" fmla="*/ 0 w 676229"/>
              <a:gd name="connsiteY12" fmla="*/ 150001 h 299379"/>
              <a:gd name="connsiteX13" fmla="*/ 149687 w 676229"/>
              <a:gd name="connsiteY13" fmla="*/ 2 h 299379"/>
              <a:gd name="connsiteX14" fmla="*/ 149689 w 676229"/>
              <a:gd name="connsiteY14" fmla="*/ 1 h 299379"/>
              <a:gd name="connsiteX15" fmla="*/ 526540 w 676229"/>
              <a:gd name="connsiteY15" fmla="*/ 0 h 299379"/>
              <a:gd name="connsiteX0" fmla="*/ 526540 w 676229"/>
              <a:gd name="connsiteY0" fmla="*/ 0 h 299379"/>
              <a:gd name="connsiteX1" fmla="*/ 526540 w 676229"/>
              <a:gd name="connsiteY1" fmla="*/ 88165 h 299379"/>
              <a:gd name="connsiteX2" fmla="*/ 526542 w 676229"/>
              <a:gd name="connsiteY2" fmla="*/ 88165 h 299379"/>
              <a:gd name="connsiteX3" fmla="*/ 526542 w 676229"/>
              <a:gd name="connsiteY3" fmla="*/ 1 h 299379"/>
              <a:gd name="connsiteX4" fmla="*/ 676229 w 676229"/>
              <a:gd name="connsiteY4" fmla="*/ 149378 h 299379"/>
              <a:gd name="connsiteX5" fmla="*/ 526542 w 676229"/>
              <a:gd name="connsiteY5" fmla="*/ 299377 h 299379"/>
              <a:gd name="connsiteX6" fmla="*/ 526540 w 676229"/>
              <a:gd name="connsiteY6" fmla="*/ 299378 h 299379"/>
              <a:gd name="connsiteX7" fmla="*/ 442014 w 676229"/>
              <a:gd name="connsiteY7" fmla="*/ 299378 h 299379"/>
              <a:gd name="connsiteX8" fmla="*/ 442014 w 676229"/>
              <a:gd name="connsiteY8" fmla="*/ 299379 h 299379"/>
              <a:gd name="connsiteX9" fmla="*/ 149689 w 676229"/>
              <a:gd name="connsiteY9" fmla="*/ 299379 h 299379"/>
              <a:gd name="connsiteX10" fmla="*/ 149687 w 676229"/>
              <a:gd name="connsiteY10" fmla="*/ 299378 h 299379"/>
              <a:gd name="connsiteX11" fmla="*/ 0 w 676229"/>
              <a:gd name="connsiteY11" fmla="*/ 150001 h 299379"/>
              <a:gd name="connsiteX12" fmla="*/ 149687 w 676229"/>
              <a:gd name="connsiteY12" fmla="*/ 2 h 299379"/>
              <a:gd name="connsiteX13" fmla="*/ 149689 w 676229"/>
              <a:gd name="connsiteY13" fmla="*/ 1 h 299379"/>
              <a:gd name="connsiteX14" fmla="*/ 526540 w 676229"/>
              <a:gd name="connsiteY14" fmla="*/ 0 h 299379"/>
              <a:gd name="connsiteX0" fmla="*/ 526540 w 676229"/>
              <a:gd name="connsiteY0" fmla="*/ 0 h 299379"/>
              <a:gd name="connsiteX1" fmla="*/ 526540 w 676229"/>
              <a:gd name="connsiteY1" fmla="*/ 88165 h 299379"/>
              <a:gd name="connsiteX2" fmla="*/ 526542 w 676229"/>
              <a:gd name="connsiteY2" fmla="*/ 1 h 299379"/>
              <a:gd name="connsiteX3" fmla="*/ 676229 w 676229"/>
              <a:gd name="connsiteY3" fmla="*/ 149378 h 299379"/>
              <a:gd name="connsiteX4" fmla="*/ 526542 w 676229"/>
              <a:gd name="connsiteY4" fmla="*/ 299377 h 299379"/>
              <a:gd name="connsiteX5" fmla="*/ 526540 w 676229"/>
              <a:gd name="connsiteY5" fmla="*/ 299378 h 299379"/>
              <a:gd name="connsiteX6" fmla="*/ 442014 w 676229"/>
              <a:gd name="connsiteY6" fmla="*/ 299378 h 299379"/>
              <a:gd name="connsiteX7" fmla="*/ 442014 w 676229"/>
              <a:gd name="connsiteY7" fmla="*/ 299379 h 299379"/>
              <a:gd name="connsiteX8" fmla="*/ 149689 w 676229"/>
              <a:gd name="connsiteY8" fmla="*/ 299379 h 299379"/>
              <a:gd name="connsiteX9" fmla="*/ 149687 w 676229"/>
              <a:gd name="connsiteY9" fmla="*/ 299378 h 299379"/>
              <a:gd name="connsiteX10" fmla="*/ 0 w 676229"/>
              <a:gd name="connsiteY10" fmla="*/ 150001 h 299379"/>
              <a:gd name="connsiteX11" fmla="*/ 149687 w 676229"/>
              <a:gd name="connsiteY11" fmla="*/ 2 h 299379"/>
              <a:gd name="connsiteX12" fmla="*/ 149689 w 676229"/>
              <a:gd name="connsiteY12" fmla="*/ 1 h 299379"/>
              <a:gd name="connsiteX13" fmla="*/ 526540 w 676229"/>
              <a:gd name="connsiteY13" fmla="*/ 0 h 299379"/>
              <a:gd name="connsiteX0" fmla="*/ 526540 w 676229"/>
              <a:gd name="connsiteY0" fmla="*/ 0 h 299379"/>
              <a:gd name="connsiteX1" fmla="*/ 526542 w 676229"/>
              <a:gd name="connsiteY1" fmla="*/ 1 h 299379"/>
              <a:gd name="connsiteX2" fmla="*/ 676229 w 676229"/>
              <a:gd name="connsiteY2" fmla="*/ 149378 h 299379"/>
              <a:gd name="connsiteX3" fmla="*/ 526542 w 676229"/>
              <a:gd name="connsiteY3" fmla="*/ 299377 h 299379"/>
              <a:gd name="connsiteX4" fmla="*/ 526540 w 676229"/>
              <a:gd name="connsiteY4" fmla="*/ 299378 h 299379"/>
              <a:gd name="connsiteX5" fmla="*/ 442014 w 676229"/>
              <a:gd name="connsiteY5" fmla="*/ 299378 h 299379"/>
              <a:gd name="connsiteX6" fmla="*/ 442014 w 676229"/>
              <a:gd name="connsiteY6" fmla="*/ 299379 h 299379"/>
              <a:gd name="connsiteX7" fmla="*/ 149689 w 676229"/>
              <a:gd name="connsiteY7" fmla="*/ 299379 h 299379"/>
              <a:gd name="connsiteX8" fmla="*/ 149687 w 676229"/>
              <a:gd name="connsiteY8" fmla="*/ 299378 h 299379"/>
              <a:gd name="connsiteX9" fmla="*/ 0 w 676229"/>
              <a:gd name="connsiteY9" fmla="*/ 150001 h 299379"/>
              <a:gd name="connsiteX10" fmla="*/ 149687 w 676229"/>
              <a:gd name="connsiteY10" fmla="*/ 2 h 299379"/>
              <a:gd name="connsiteX11" fmla="*/ 149689 w 676229"/>
              <a:gd name="connsiteY11" fmla="*/ 1 h 299379"/>
              <a:gd name="connsiteX12" fmla="*/ 526540 w 676229"/>
              <a:gd name="connsiteY12" fmla="*/ 0 h 299379"/>
              <a:gd name="connsiteX0" fmla="*/ 526540 w 676229"/>
              <a:gd name="connsiteY0" fmla="*/ 0 h 299379"/>
              <a:gd name="connsiteX1" fmla="*/ 526542 w 676229"/>
              <a:gd name="connsiteY1" fmla="*/ 1 h 299379"/>
              <a:gd name="connsiteX2" fmla="*/ 676229 w 676229"/>
              <a:gd name="connsiteY2" fmla="*/ 149378 h 299379"/>
              <a:gd name="connsiteX3" fmla="*/ 526542 w 676229"/>
              <a:gd name="connsiteY3" fmla="*/ 299377 h 299379"/>
              <a:gd name="connsiteX4" fmla="*/ 526540 w 676229"/>
              <a:gd name="connsiteY4" fmla="*/ 299378 h 299379"/>
              <a:gd name="connsiteX5" fmla="*/ 442014 w 676229"/>
              <a:gd name="connsiteY5" fmla="*/ 299378 h 299379"/>
              <a:gd name="connsiteX6" fmla="*/ 149689 w 676229"/>
              <a:gd name="connsiteY6" fmla="*/ 299379 h 299379"/>
              <a:gd name="connsiteX7" fmla="*/ 149687 w 676229"/>
              <a:gd name="connsiteY7" fmla="*/ 299378 h 299379"/>
              <a:gd name="connsiteX8" fmla="*/ 0 w 676229"/>
              <a:gd name="connsiteY8" fmla="*/ 150001 h 299379"/>
              <a:gd name="connsiteX9" fmla="*/ 149687 w 676229"/>
              <a:gd name="connsiteY9" fmla="*/ 2 h 299379"/>
              <a:gd name="connsiteX10" fmla="*/ 149689 w 676229"/>
              <a:gd name="connsiteY10" fmla="*/ 1 h 299379"/>
              <a:gd name="connsiteX11" fmla="*/ 526540 w 676229"/>
              <a:gd name="connsiteY11" fmla="*/ 0 h 299379"/>
              <a:gd name="connsiteX0" fmla="*/ 526540 w 676229"/>
              <a:gd name="connsiteY0" fmla="*/ 0 h 299379"/>
              <a:gd name="connsiteX1" fmla="*/ 526542 w 676229"/>
              <a:gd name="connsiteY1" fmla="*/ 1 h 299379"/>
              <a:gd name="connsiteX2" fmla="*/ 676229 w 676229"/>
              <a:gd name="connsiteY2" fmla="*/ 149378 h 299379"/>
              <a:gd name="connsiteX3" fmla="*/ 526542 w 676229"/>
              <a:gd name="connsiteY3" fmla="*/ 299377 h 299379"/>
              <a:gd name="connsiteX4" fmla="*/ 526540 w 676229"/>
              <a:gd name="connsiteY4" fmla="*/ 299378 h 299379"/>
              <a:gd name="connsiteX5" fmla="*/ 149689 w 676229"/>
              <a:gd name="connsiteY5" fmla="*/ 299379 h 299379"/>
              <a:gd name="connsiteX6" fmla="*/ 149687 w 676229"/>
              <a:gd name="connsiteY6" fmla="*/ 299378 h 299379"/>
              <a:gd name="connsiteX7" fmla="*/ 0 w 676229"/>
              <a:gd name="connsiteY7" fmla="*/ 150001 h 299379"/>
              <a:gd name="connsiteX8" fmla="*/ 149687 w 676229"/>
              <a:gd name="connsiteY8" fmla="*/ 2 h 299379"/>
              <a:gd name="connsiteX9" fmla="*/ 149689 w 676229"/>
              <a:gd name="connsiteY9" fmla="*/ 1 h 299379"/>
              <a:gd name="connsiteX10" fmla="*/ 526540 w 676229"/>
              <a:gd name="connsiteY10" fmla="*/ 0 h 299379"/>
              <a:gd name="connsiteX0" fmla="*/ 526540 w 676229"/>
              <a:gd name="connsiteY0" fmla="*/ 0 h 310488"/>
              <a:gd name="connsiteX1" fmla="*/ 526542 w 676229"/>
              <a:gd name="connsiteY1" fmla="*/ 1 h 310488"/>
              <a:gd name="connsiteX2" fmla="*/ 676229 w 676229"/>
              <a:gd name="connsiteY2" fmla="*/ 149378 h 310488"/>
              <a:gd name="connsiteX3" fmla="*/ 526542 w 676229"/>
              <a:gd name="connsiteY3" fmla="*/ 299377 h 310488"/>
              <a:gd name="connsiteX4" fmla="*/ 149689 w 676229"/>
              <a:gd name="connsiteY4" fmla="*/ 299379 h 310488"/>
              <a:gd name="connsiteX5" fmla="*/ 149687 w 676229"/>
              <a:gd name="connsiteY5" fmla="*/ 299378 h 310488"/>
              <a:gd name="connsiteX6" fmla="*/ 0 w 676229"/>
              <a:gd name="connsiteY6" fmla="*/ 150001 h 310488"/>
              <a:gd name="connsiteX7" fmla="*/ 149687 w 676229"/>
              <a:gd name="connsiteY7" fmla="*/ 2 h 310488"/>
              <a:gd name="connsiteX8" fmla="*/ 149689 w 676229"/>
              <a:gd name="connsiteY8" fmla="*/ 1 h 310488"/>
              <a:gd name="connsiteX9" fmla="*/ 526540 w 676229"/>
              <a:gd name="connsiteY9" fmla="*/ 0 h 310488"/>
              <a:gd name="connsiteX0" fmla="*/ 149689 w 676229"/>
              <a:gd name="connsiteY0" fmla="*/ 0 h 310487"/>
              <a:gd name="connsiteX1" fmla="*/ 526542 w 676229"/>
              <a:gd name="connsiteY1" fmla="*/ 0 h 310487"/>
              <a:gd name="connsiteX2" fmla="*/ 676229 w 676229"/>
              <a:gd name="connsiteY2" fmla="*/ 149377 h 310487"/>
              <a:gd name="connsiteX3" fmla="*/ 526542 w 676229"/>
              <a:gd name="connsiteY3" fmla="*/ 299376 h 310487"/>
              <a:gd name="connsiteX4" fmla="*/ 149689 w 676229"/>
              <a:gd name="connsiteY4" fmla="*/ 299378 h 310487"/>
              <a:gd name="connsiteX5" fmla="*/ 149687 w 676229"/>
              <a:gd name="connsiteY5" fmla="*/ 299377 h 310487"/>
              <a:gd name="connsiteX6" fmla="*/ 0 w 676229"/>
              <a:gd name="connsiteY6" fmla="*/ 150000 h 310487"/>
              <a:gd name="connsiteX7" fmla="*/ 149687 w 676229"/>
              <a:gd name="connsiteY7" fmla="*/ 1 h 310487"/>
              <a:gd name="connsiteX8" fmla="*/ 149689 w 676229"/>
              <a:gd name="connsiteY8" fmla="*/ 0 h 310487"/>
              <a:gd name="connsiteX0" fmla="*/ 149687 w 676229"/>
              <a:gd name="connsiteY0" fmla="*/ 18711 h 329197"/>
              <a:gd name="connsiteX1" fmla="*/ 526542 w 676229"/>
              <a:gd name="connsiteY1" fmla="*/ 18710 h 329197"/>
              <a:gd name="connsiteX2" fmla="*/ 676229 w 676229"/>
              <a:gd name="connsiteY2" fmla="*/ 168087 h 329197"/>
              <a:gd name="connsiteX3" fmla="*/ 526542 w 676229"/>
              <a:gd name="connsiteY3" fmla="*/ 318086 h 329197"/>
              <a:gd name="connsiteX4" fmla="*/ 149689 w 676229"/>
              <a:gd name="connsiteY4" fmla="*/ 318088 h 329197"/>
              <a:gd name="connsiteX5" fmla="*/ 149687 w 676229"/>
              <a:gd name="connsiteY5" fmla="*/ 318087 h 329197"/>
              <a:gd name="connsiteX6" fmla="*/ 0 w 676229"/>
              <a:gd name="connsiteY6" fmla="*/ 168710 h 329197"/>
              <a:gd name="connsiteX7" fmla="*/ 149687 w 676229"/>
              <a:gd name="connsiteY7" fmla="*/ 18711 h 329197"/>
              <a:gd name="connsiteX0" fmla="*/ 149687 w 676229"/>
              <a:gd name="connsiteY0" fmla="*/ 18711 h 329197"/>
              <a:gd name="connsiteX1" fmla="*/ 526542 w 676229"/>
              <a:gd name="connsiteY1" fmla="*/ 18710 h 329197"/>
              <a:gd name="connsiteX2" fmla="*/ 676229 w 676229"/>
              <a:gd name="connsiteY2" fmla="*/ 168087 h 329197"/>
              <a:gd name="connsiteX3" fmla="*/ 526542 w 676229"/>
              <a:gd name="connsiteY3" fmla="*/ 318086 h 329197"/>
              <a:gd name="connsiteX4" fmla="*/ 149689 w 676229"/>
              <a:gd name="connsiteY4" fmla="*/ 318088 h 329197"/>
              <a:gd name="connsiteX5" fmla="*/ 0 w 676229"/>
              <a:gd name="connsiteY5" fmla="*/ 168710 h 329197"/>
              <a:gd name="connsiteX6" fmla="*/ 149687 w 676229"/>
              <a:gd name="connsiteY6" fmla="*/ 18711 h 329197"/>
              <a:gd name="connsiteX0" fmla="*/ 149687 w 676229"/>
              <a:gd name="connsiteY0" fmla="*/ 18711 h 329197"/>
              <a:gd name="connsiteX1" fmla="*/ 526542 w 676229"/>
              <a:gd name="connsiteY1" fmla="*/ 18710 h 329197"/>
              <a:gd name="connsiteX2" fmla="*/ 676229 w 676229"/>
              <a:gd name="connsiteY2" fmla="*/ 168087 h 329197"/>
              <a:gd name="connsiteX3" fmla="*/ 526542 w 676229"/>
              <a:gd name="connsiteY3" fmla="*/ 318086 h 329197"/>
              <a:gd name="connsiteX4" fmla="*/ 149689 w 676229"/>
              <a:gd name="connsiteY4" fmla="*/ 318088 h 329197"/>
              <a:gd name="connsiteX5" fmla="*/ 0 w 676229"/>
              <a:gd name="connsiteY5" fmla="*/ 168710 h 329197"/>
              <a:gd name="connsiteX6" fmla="*/ 149687 w 676229"/>
              <a:gd name="connsiteY6" fmla="*/ 18711 h 329197"/>
              <a:gd name="connsiteX0" fmla="*/ 149687 w 676229"/>
              <a:gd name="connsiteY0" fmla="*/ 18711 h 318088"/>
              <a:gd name="connsiteX1" fmla="*/ 526542 w 676229"/>
              <a:gd name="connsiteY1" fmla="*/ 18710 h 318088"/>
              <a:gd name="connsiteX2" fmla="*/ 676229 w 676229"/>
              <a:gd name="connsiteY2" fmla="*/ 168087 h 318088"/>
              <a:gd name="connsiteX3" fmla="*/ 526542 w 676229"/>
              <a:gd name="connsiteY3" fmla="*/ 318086 h 318088"/>
              <a:gd name="connsiteX4" fmla="*/ 149689 w 676229"/>
              <a:gd name="connsiteY4" fmla="*/ 318088 h 318088"/>
              <a:gd name="connsiteX5" fmla="*/ 0 w 676229"/>
              <a:gd name="connsiteY5" fmla="*/ 168710 h 318088"/>
              <a:gd name="connsiteX6" fmla="*/ 149687 w 676229"/>
              <a:gd name="connsiteY6" fmla="*/ 18711 h 318088"/>
              <a:gd name="connsiteX0" fmla="*/ 149687 w 676229"/>
              <a:gd name="connsiteY0" fmla="*/ 1 h 299378"/>
              <a:gd name="connsiteX1" fmla="*/ 526542 w 676229"/>
              <a:gd name="connsiteY1" fmla="*/ 0 h 299378"/>
              <a:gd name="connsiteX2" fmla="*/ 676229 w 676229"/>
              <a:gd name="connsiteY2" fmla="*/ 149377 h 299378"/>
              <a:gd name="connsiteX3" fmla="*/ 526542 w 676229"/>
              <a:gd name="connsiteY3" fmla="*/ 299376 h 299378"/>
              <a:gd name="connsiteX4" fmla="*/ 149689 w 676229"/>
              <a:gd name="connsiteY4" fmla="*/ 299378 h 299378"/>
              <a:gd name="connsiteX5" fmla="*/ 0 w 676229"/>
              <a:gd name="connsiteY5" fmla="*/ 150000 h 299378"/>
              <a:gd name="connsiteX6" fmla="*/ 149687 w 676229"/>
              <a:gd name="connsiteY6" fmla="*/ 1 h 2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29" h="299378">
                <a:moveTo>
                  <a:pt x="149687" y="1"/>
                </a:moveTo>
                <a:lnTo>
                  <a:pt x="526542" y="0"/>
                </a:lnTo>
                <a:lnTo>
                  <a:pt x="676229" y="149377"/>
                </a:lnTo>
                <a:lnTo>
                  <a:pt x="526542" y="299376"/>
                </a:lnTo>
                <a:lnTo>
                  <a:pt x="149689" y="299378"/>
                </a:lnTo>
                <a:lnTo>
                  <a:pt x="0" y="150000"/>
                </a:lnTo>
                <a:lnTo>
                  <a:pt x="149687" y="1"/>
                </a:lnTo>
                <a:close/>
              </a:path>
            </a:pathLst>
          </a:cu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TextBox 81"/>
          <p:cNvSpPr txBox="1"/>
          <p:nvPr/>
        </p:nvSpPr>
        <p:spPr>
          <a:xfrm>
            <a:off x="175846" y="105508"/>
            <a:ext cx="28545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THE SOLUTION</a:t>
            </a:r>
          </a:p>
        </p:txBody>
      </p:sp>
    </p:spTree>
    <p:extLst>
      <p:ext uri="{BB962C8B-B14F-4D97-AF65-F5344CB8AC3E}">
        <p14:creationId xmlns:p14="http://schemas.microsoft.com/office/powerpoint/2010/main" val="9087406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40459" y="511828"/>
            <a:ext cx="4911606" cy="368408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4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Azure </a:t>
            </a:r>
            <a:br>
              <a:rPr kumimoji="0" lang="en-US" sz="44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br>
            <a:r>
              <a:rPr kumimoji="0" lang="en-US" sz="44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SQL Data Warehouse</a:t>
            </a:r>
          </a:p>
          <a:p>
            <a:pPr marL="0" marR="0" lvl="0" indent="0" algn="l" defTabSz="914400" rtl="0" eaLnBrk="1" fontAlgn="auto" latinLnBrk="0" hangingPunct="1">
              <a:lnSpc>
                <a:spcPct val="90000"/>
              </a:lnSpc>
              <a:spcBef>
                <a:spcPts val="1200"/>
              </a:spcBef>
              <a:spcAft>
                <a:spcPts val="60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The promise of cloud elasticity for data warehousing</a:t>
            </a:r>
          </a:p>
        </p:txBody>
      </p:sp>
      <p:sp>
        <p:nvSpPr>
          <p:cNvPr id="4" name="TextBox 3"/>
          <p:cNvSpPr txBox="1"/>
          <p:nvPr/>
        </p:nvSpPr>
        <p:spPr>
          <a:xfrm>
            <a:off x="5681402" y="664056"/>
            <a:ext cx="6219229" cy="5512278"/>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100000"/>
              </a:lnSpc>
              <a:spcBef>
                <a:spcPts val="0"/>
              </a:spcBef>
              <a:spcAft>
                <a:spcPts val="18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Light"/>
                <a:ea typeface="+mn-ea"/>
                <a:cs typeface="Segoe UI" panose="020B0502040204020203" pitchFamily="34" charset="0"/>
              </a:rPr>
              <a:t>Separation of compute and storage, </a:t>
            </a:r>
            <a:r>
              <a:rPr kumimoji="0" lang="en-US" sz="2400" b="1" i="0" u="none" strike="noStrike" kern="1200" cap="none" spc="0" normalizeH="0" baseline="0" noProof="0" dirty="0">
                <a:ln>
                  <a:noFill/>
                </a:ln>
                <a:solidFill>
                  <a:srgbClr val="505050">
                    <a:lumMod val="50000"/>
                  </a:srgbClr>
                </a:solidFill>
                <a:effectLst/>
                <a:uLnTx/>
                <a:uFillTx/>
                <a:latin typeface="Segoe UI Light"/>
                <a:ea typeface="+mn-ea"/>
                <a:cs typeface="Segoe UI" panose="020B0502040204020203" pitchFamily="34" charset="0"/>
              </a:rPr>
              <a:t>scale compute in seconds</a:t>
            </a:r>
          </a:p>
          <a:p>
            <a:pPr marL="0" marR="0" lvl="0" indent="0" algn="l" defTabSz="914367" rtl="0" eaLnBrk="1" fontAlgn="auto" latinLnBrk="0" hangingPunct="1">
              <a:lnSpc>
                <a:spcPct val="100000"/>
              </a:lnSpc>
              <a:spcBef>
                <a:spcPts val="0"/>
              </a:spcBef>
              <a:spcAft>
                <a:spcPts val="1800"/>
              </a:spcAft>
              <a:buClrTx/>
              <a:buSzTx/>
              <a:buFontTx/>
              <a:buNone/>
              <a:tabLst/>
              <a:defRPr/>
            </a:pPr>
            <a:r>
              <a:rPr kumimoji="0" lang="en-US" sz="2400" b="1" i="0" u="none" strike="noStrike" kern="1200" cap="none" spc="0" normalizeH="0" baseline="0" noProof="0" dirty="0">
                <a:ln>
                  <a:noFill/>
                </a:ln>
                <a:solidFill>
                  <a:srgbClr val="505050">
                    <a:lumMod val="50000"/>
                  </a:srgbClr>
                </a:solidFill>
                <a:effectLst/>
                <a:uLnTx/>
                <a:uFillTx/>
                <a:latin typeface="Segoe UI Light"/>
                <a:ea typeface="+mn-ea"/>
                <a:cs typeface="Segoe UI" panose="020B0502040204020203" pitchFamily="34" charset="0"/>
              </a:rPr>
              <a:t>Save big </a:t>
            </a:r>
            <a:r>
              <a:rPr kumimoji="0" lang="en-US" sz="2400" b="0" i="0" u="none" strike="noStrike" kern="1200" cap="none" spc="0" normalizeH="0" baseline="0" noProof="0" dirty="0">
                <a:ln>
                  <a:noFill/>
                </a:ln>
                <a:solidFill>
                  <a:srgbClr val="505050">
                    <a:lumMod val="50000"/>
                  </a:srgbClr>
                </a:solidFill>
                <a:effectLst/>
                <a:uLnTx/>
                <a:uFillTx/>
                <a:latin typeface="Segoe UI Light"/>
                <a:ea typeface="+mn-ea"/>
                <a:cs typeface="Segoe UI" panose="020B0502040204020203" pitchFamily="34" charset="0"/>
              </a:rPr>
              <a:t>with pause/resume for batch-based workloads</a:t>
            </a:r>
          </a:p>
          <a:p>
            <a:pPr marL="0" marR="0" lvl="0" indent="0" algn="l" defTabSz="914367" rtl="0" eaLnBrk="1" fontAlgn="auto" latinLnBrk="0" hangingPunct="1">
              <a:lnSpc>
                <a:spcPct val="100000"/>
              </a:lnSpc>
              <a:spcBef>
                <a:spcPts val="0"/>
              </a:spcBef>
              <a:spcAft>
                <a:spcPts val="18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Light"/>
                <a:ea typeface="+mn-ea"/>
                <a:cs typeface="Segoe UI" panose="020B0502040204020203" pitchFamily="34" charset="0"/>
              </a:rPr>
              <a:t>Unmatched innovations in </a:t>
            </a:r>
            <a:r>
              <a:rPr kumimoji="0" lang="en-US" sz="2400" b="1" i="0" u="none" strike="noStrike" kern="1200" cap="none" spc="0" normalizeH="0" baseline="0" noProof="0" dirty="0">
                <a:ln>
                  <a:noFill/>
                </a:ln>
                <a:solidFill>
                  <a:srgbClr val="505050">
                    <a:lumMod val="50000"/>
                  </a:srgbClr>
                </a:solidFill>
                <a:effectLst/>
                <a:uLnTx/>
                <a:uFillTx/>
                <a:latin typeface="Segoe UI Light"/>
                <a:ea typeface="+mn-ea"/>
                <a:cs typeface="Segoe UI" panose="020B0502040204020203" pitchFamily="34" charset="0"/>
              </a:rPr>
              <a:t>security with Threat Detection</a:t>
            </a:r>
          </a:p>
          <a:p>
            <a:pPr marL="0" marR="0" lvl="0" indent="0" algn="l" defTabSz="914367" rtl="0" eaLnBrk="1" fontAlgn="auto" latinLnBrk="0" hangingPunct="1">
              <a:lnSpc>
                <a:spcPct val="100000"/>
              </a:lnSpc>
              <a:spcBef>
                <a:spcPts val="0"/>
              </a:spcBef>
              <a:spcAft>
                <a:spcPts val="1800"/>
              </a:spcAft>
              <a:buClrTx/>
              <a:buSzTx/>
              <a:buFontTx/>
              <a:buNone/>
              <a:tabLst/>
              <a:defRPr/>
            </a:pPr>
            <a:r>
              <a:rPr kumimoji="0" lang="en-US" sz="2400" b="1" i="0" u="none" strike="noStrike" kern="1200" cap="none" spc="0" normalizeH="0" baseline="0" noProof="0" dirty="0" err="1">
                <a:ln>
                  <a:noFill/>
                </a:ln>
                <a:solidFill>
                  <a:srgbClr val="505050">
                    <a:lumMod val="50000"/>
                  </a:srgbClr>
                </a:solidFill>
                <a:effectLst/>
                <a:uLnTx/>
                <a:uFillTx/>
                <a:latin typeface="Segoe UI Light"/>
                <a:ea typeface="+mn-ea"/>
                <a:cs typeface="Segoe UI" panose="020B0502040204020203" pitchFamily="34" charset="0"/>
              </a:rPr>
              <a:t>PolyBase</a:t>
            </a:r>
            <a:r>
              <a:rPr kumimoji="0" lang="en-US" sz="2400" b="0" i="0" u="none" strike="noStrike" kern="1200" cap="none" spc="0" normalizeH="0" baseline="0" noProof="0" dirty="0">
                <a:ln>
                  <a:noFill/>
                </a:ln>
                <a:solidFill>
                  <a:srgbClr val="505050">
                    <a:lumMod val="50000"/>
                  </a:srgbClr>
                </a:solidFill>
                <a:effectLst/>
                <a:uLnTx/>
                <a:uFillTx/>
                <a:latin typeface="Segoe UI Light"/>
                <a:ea typeface="+mn-ea"/>
                <a:cs typeface="Segoe UI" panose="020B0502040204020203" pitchFamily="34" charset="0"/>
              </a:rPr>
              <a:t> for T-SQL query across Hadoop clusters</a:t>
            </a:r>
          </a:p>
          <a:p>
            <a:pPr marL="0" marR="0" lvl="0" indent="0" algn="l" defTabSz="914367" rtl="0" eaLnBrk="1" fontAlgn="auto" latinLnBrk="0" hangingPunct="1">
              <a:lnSpc>
                <a:spcPct val="100000"/>
              </a:lnSpc>
              <a:spcBef>
                <a:spcPts val="0"/>
              </a:spcBef>
              <a:spcAft>
                <a:spcPts val="18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Light"/>
                <a:ea typeface="+mn-ea"/>
                <a:cs typeface="Segoe UI" panose="020B0502040204020203" pitchFamily="34" charset="0"/>
              </a:rPr>
              <a:t>MPP scale to petabytes, geo-redundant w/ </a:t>
            </a:r>
            <a:r>
              <a:rPr kumimoji="0" lang="en-US" sz="2400" b="1" i="0" u="none" strike="noStrike" kern="1200" cap="none" spc="0" normalizeH="0" baseline="0" noProof="0" dirty="0">
                <a:ln>
                  <a:noFill/>
                </a:ln>
                <a:solidFill>
                  <a:srgbClr val="505050">
                    <a:lumMod val="50000"/>
                  </a:srgbClr>
                </a:solidFill>
                <a:effectLst/>
                <a:uLnTx/>
                <a:uFillTx/>
                <a:latin typeface="Segoe UI Light"/>
                <a:ea typeface="+mn-ea"/>
                <a:cs typeface="Segoe UI" panose="020B0502040204020203" pitchFamily="34" charset="0"/>
              </a:rPr>
              <a:t>99.9% SL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1" name="TextBox 10"/>
          <p:cNvSpPr txBox="1"/>
          <p:nvPr/>
        </p:nvSpPr>
        <p:spPr>
          <a:xfrm>
            <a:off x="5469188" y="5957848"/>
            <a:ext cx="6839935" cy="425998"/>
          </a:xfrm>
          <a:prstGeom prst="rect">
            <a:avLst/>
          </a:prstGeom>
          <a:noFill/>
        </p:spPr>
        <p:txBody>
          <a:bodyPr wrap="square" lIns="186521" tIns="149217" rIns="186521" bIns="149217" rtlCol="0">
            <a:spAutoFit/>
          </a:bodyPr>
          <a:lstStyle/>
          <a:p>
            <a:pPr marL="0" marR="0" lvl="0" indent="0" algn="l" defTabSz="914400" rtl="0" eaLnBrk="1" fontAlgn="auto" latinLnBrk="0" hangingPunct="1">
              <a:lnSpc>
                <a:spcPct val="90000"/>
              </a:lnSpc>
              <a:spcBef>
                <a:spcPts val="0"/>
              </a:spcBef>
              <a:spcAft>
                <a:spcPts val="612"/>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Light"/>
                <a:ea typeface="+mn-ea"/>
                <a:cs typeface="+mn-cs"/>
              </a:rPr>
              <a:t>*IDC study “The Business Value and TCO Advantage of Apache Hadoop in the Cloud with Microsoft Azure HDInsight”</a:t>
            </a:r>
          </a:p>
        </p:txBody>
      </p:sp>
      <p:sp>
        <p:nvSpPr>
          <p:cNvPr id="7" name="Freeform 182"/>
          <p:cNvSpPr/>
          <p:nvPr/>
        </p:nvSpPr>
        <p:spPr bwMode="auto">
          <a:xfrm flipH="1">
            <a:off x="3385750" y="4959178"/>
            <a:ext cx="1235676" cy="1211670"/>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70C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6" name="TextBox 5"/>
          <p:cNvSpPr txBox="1"/>
          <p:nvPr/>
        </p:nvSpPr>
        <p:spPr>
          <a:xfrm>
            <a:off x="175846" y="105508"/>
            <a:ext cx="28545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THE SOLUTION</a:t>
            </a:r>
          </a:p>
        </p:txBody>
      </p:sp>
    </p:spTree>
    <p:extLst>
      <p:ext uri="{BB962C8B-B14F-4D97-AF65-F5344CB8AC3E}">
        <p14:creationId xmlns:p14="http://schemas.microsoft.com/office/powerpoint/2010/main" val="2810129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p:cNvSpPr/>
          <p:nvPr/>
        </p:nvSpPr>
        <p:spPr bwMode="auto">
          <a:xfrm>
            <a:off x="664343" y="3135892"/>
            <a:ext cx="3474720" cy="2468880"/>
          </a:xfrm>
          <a:prstGeom prst="rect">
            <a:avLst/>
          </a:prstGeom>
          <a:solidFill>
            <a:srgbClr val="002050">
              <a:alpha val="8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82880" rIns="274320" bIns="91440" numCol="1" spcCol="0" rtlCol="0" fromWordArt="0" anchor="t" anchorCtr="0" forceAA="0" compatLnSpc="1">
            <a:prstTxWarp prst="textNoShape">
              <a:avLst/>
            </a:prstTxWarp>
            <a:noAutofit/>
          </a:bodyPr>
          <a:lstStyle/>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Industry leading performance—#1 TPC-H</a:t>
            </a:r>
          </a:p>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Limitless scale—Petabyte sized files </a:t>
            </a:r>
          </a:p>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Leading availability—99.9% SLA</a:t>
            </a:r>
          </a:p>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More data centers than AWS + Google combined</a:t>
            </a:r>
          </a:p>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Unfailing security—least vulnerable </a:t>
            </a:r>
            <a:b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b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7 years in a row</a:t>
            </a:r>
          </a:p>
        </p:txBody>
      </p:sp>
      <p:sp>
        <p:nvSpPr>
          <p:cNvPr id="176" name="Rectangle 175"/>
          <p:cNvSpPr/>
          <p:nvPr/>
        </p:nvSpPr>
        <p:spPr bwMode="auto">
          <a:xfrm>
            <a:off x="4348966" y="3135892"/>
            <a:ext cx="3474720" cy="2468880"/>
          </a:xfrm>
          <a:prstGeom prst="rect">
            <a:avLst/>
          </a:prstGeom>
          <a:solidFill>
            <a:srgbClr val="002050">
              <a:alpha val="8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82880" rIns="274320" bIns="91440" numCol="1" spcCol="0" rtlCol="0" fromWordArt="0" anchor="t" anchorCtr="0" forceAA="0" compatLnSpc="1">
            <a:prstTxWarp prst="textNoShape">
              <a:avLst/>
            </a:prstTxWarp>
            <a:noAutofit/>
          </a:bodyPr>
          <a:lstStyle/>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Relational and non-relational data capabilities in one place</a:t>
            </a:r>
          </a:p>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Real-time operational analytics </a:t>
            </a:r>
            <a:b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b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with HTAP—1M predictions/ sec</a:t>
            </a:r>
          </a:p>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Integrated advanced analytics </a:t>
            </a:r>
            <a:b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b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and machine learning</a:t>
            </a:r>
          </a:p>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Cognitive capabilities at scale</a:t>
            </a:r>
          </a:p>
        </p:txBody>
      </p:sp>
      <p:sp>
        <p:nvSpPr>
          <p:cNvPr id="177" name="Rectangle 176"/>
          <p:cNvSpPr/>
          <p:nvPr/>
        </p:nvSpPr>
        <p:spPr bwMode="auto">
          <a:xfrm>
            <a:off x="8047443" y="3135892"/>
            <a:ext cx="3474720" cy="2468880"/>
          </a:xfrm>
          <a:prstGeom prst="rect">
            <a:avLst/>
          </a:prstGeom>
          <a:solidFill>
            <a:srgbClr val="002050">
              <a:alpha val="8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82880" rIns="274320" bIns="91440" numCol="1" spcCol="0" rtlCol="0" fromWordArt="0" anchor="t" anchorCtr="0" forceAA="0" compatLnSpc="1">
            <a:prstTxWarp prst="textNoShape">
              <a:avLst/>
            </a:prstTxWarp>
            <a:noAutofit/>
          </a:bodyPr>
          <a:lstStyle/>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Any environment—cloud, on-premises </a:t>
            </a:r>
            <a:b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b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or hybrid</a:t>
            </a:r>
          </a:p>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Choice of operating system and language</a:t>
            </a:r>
          </a:p>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Choice of platform—Windows, Linux</a:t>
            </a:r>
          </a:p>
          <a:p>
            <a:pPr marL="0" marR="0" lvl="0" indent="0" algn="l" defTabSz="931036" rtl="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ECEFF3"/>
                </a:solidFill>
                <a:effectLst/>
                <a:uLnTx/>
                <a:uFillTx/>
                <a:latin typeface="Segoe UI"/>
                <a:ea typeface="Segoe UI" pitchFamily="34" charset="0"/>
                <a:cs typeface="Segoe UI Semibold" panose="020B0702040204020203" pitchFamily="34" charset="0"/>
              </a:rPr>
              <a:t>Choice of HW</a:t>
            </a:r>
          </a:p>
        </p:txBody>
      </p:sp>
      <p:sp>
        <p:nvSpPr>
          <p:cNvPr id="172" name="Rectangle 171"/>
          <p:cNvSpPr/>
          <p:nvPr/>
        </p:nvSpPr>
        <p:spPr bwMode="auto">
          <a:xfrm>
            <a:off x="664344" y="2229357"/>
            <a:ext cx="3474720" cy="904468"/>
          </a:xfrm>
          <a:prstGeom prst="rect">
            <a:avLst/>
          </a:prstGeom>
          <a:solidFill>
            <a:srgbClr val="70C7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0" marR="0" lvl="0" indent="0" algn="l" defTabSz="931036" rtl="0" eaLnBrk="1" fontAlgn="auto" latinLnBrk="0" hangingPunct="1">
              <a:lnSpc>
                <a:spcPct val="100000"/>
              </a:lnSpc>
              <a:spcBef>
                <a:spcPts val="612"/>
              </a:spcBef>
              <a:spcAft>
                <a:spcPts val="0"/>
              </a:spcAft>
              <a:buClrTx/>
              <a:buSzTx/>
              <a:buFontTx/>
              <a:buNone/>
              <a:tabLst/>
              <a:defRPr/>
            </a:pPr>
            <a:r>
              <a:rPr kumimoji="0" lang="en-US" sz="2000" b="1" i="0" u="none" strike="noStrike" kern="0" cap="none" spc="0" normalizeH="0" baseline="0" noProof="0" dirty="0">
                <a:ln>
                  <a:noFill/>
                </a:ln>
                <a:solidFill>
                  <a:srgbClr val="002050"/>
                </a:solidFill>
                <a:effectLst/>
                <a:uLnTx/>
                <a:uFillTx/>
                <a:latin typeface="Segoe UI"/>
                <a:ea typeface="Segoe UI" panose="020B0502040204020203" pitchFamily="34" charset="0"/>
                <a:cs typeface="Segoe UI" panose="020B0502040204020203" pitchFamily="34" charset="0"/>
              </a:rPr>
              <a:t>Uniquely powerful </a:t>
            </a:r>
            <a:endParaRPr kumimoji="0" lang="en-US" sz="2000" b="0" i="0" u="none" strike="noStrike" kern="0" cap="none" spc="0" normalizeH="0" baseline="0" noProof="0" dirty="0">
              <a:ln>
                <a:noFill/>
              </a:ln>
              <a:solidFill>
                <a:srgbClr val="002050"/>
              </a:solidFill>
              <a:effectLst/>
              <a:uLnTx/>
              <a:uFillTx/>
              <a:latin typeface="Segoe UI"/>
              <a:ea typeface="Segoe UI" panose="020B0502040204020203" pitchFamily="34" charset="0"/>
              <a:cs typeface="Segoe UI" panose="020B0502040204020203" pitchFamily="34" charset="0"/>
            </a:endParaRPr>
          </a:p>
        </p:txBody>
      </p:sp>
      <p:sp>
        <p:nvSpPr>
          <p:cNvPr id="173" name="Rectangle 172"/>
          <p:cNvSpPr/>
          <p:nvPr/>
        </p:nvSpPr>
        <p:spPr bwMode="auto">
          <a:xfrm>
            <a:off x="4348967" y="2229357"/>
            <a:ext cx="3474720" cy="904468"/>
          </a:xfrm>
          <a:prstGeom prst="rect">
            <a:avLst/>
          </a:prstGeom>
          <a:solidFill>
            <a:srgbClr val="70C7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0" marR="0" lvl="0" indent="0" algn="l" defTabSz="931036" rtl="0" eaLnBrk="1" fontAlgn="auto" latinLnBrk="0" hangingPunct="1">
              <a:lnSpc>
                <a:spcPct val="100000"/>
              </a:lnSpc>
              <a:spcBef>
                <a:spcPts val="300"/>
              </a:spcBef>
              <a:spcAft>
                <a:spcPts val="0"/>
              </a:spcAft>
              <a:buClrTx/>
              <a:buSzTx/>
              <a:buFontTx/>
              <a:buNone/>
              <a:tabLst/>
              <a:defRPr/>
            </a:pPr>
            <a:r>
              <a:rPr kumimoji="0" lang="en-US" sz="2000" b="1" i="0" u="none" strike="noStrike" kern="0" cap="none" spc="0" normalizeH="0" baseline="0" noProof="0" dirty="0">
                <a:ln>
                  <a:noFill/>
                </a:ln>
                <a:solidFill>
                  <a:srgbClr val="002050"/>
                </a:solidFill>
                <a:effectLst/>
                <a:uLnTx/>
                <a:uFillTx/>
                <a:latin typeface="Segoe UI"/>
                <a:ea typeface="Segoe UI" panose="020B0502040204020203" pitchFamily="34" charset="0"/>
                <a:cs typeface="Segoe UI" panose="020B0502040204020203" pitchFamily="34" charset="0"/>
              </a:rPr>
              <a:t>Built for intelligence</a:t>
            </a:r>
            <a:endParaRPr kumimoji="0" lang="en-US" sz="2000" b="0" i="0" u="none" strike="noStrike" kern="0" cap="none" spc="0" normalizeH="0" baseline="0" noProof="0" dirty="0">
              <a:ln>
                <a:noFill/>
              </a:ln>
              <a:solidFill>
                <a:srgbClr val="002050"/>
              </a:solidFill>
              <a:effectLst/>
              <a:uLnTx/>
              <a:uFillTx/>
              <a:latin typeface="Segoe UI"/>
              <a:ea typeface="Segoe UI" panose="020B0502040204020203" pitchFamily="34" charset="0"/>
              <a:cs typeface="Segoe UI" panose="020B0502040204020203" pitchFamily="34" charset="0"/>
            </a:endParaRPr>
          </a:p>
        </p:txBody>
      </p:sp>
      <p:sp>
        <p:nvSpPr>
          <p:cNvPr id="174" name="Rectangle 173"/>
          <p:cNvSpPr/>
          <p:nvPr/>
        </p:nvSpPr>
        <p:spPr bwMode="auto">
          <a:xfrm>
            <a:off x="8045985" y="2239289"/>
            <a:ext cx="3474720" cy="904468"/>
          </a:xfrm>
          <a:prstGeom prst="rect">
            <a:avLst/>
          </a:prstGeom>
          <a:solidFill>
            <a:srgbClr val="70C7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0" marR="0" lvl="0" indent="0" algn="l" defTabSz="931036" rtl="0" eaLnBrk="1" fontAlgn="auto" latinLnBrk="0" hangingPunct="1">
              <a:lnSpc>
                <a:spcPct val="90000"/>
              </a:lnSpc>
              <a:spcBef>
                <a:spcPts val="300"/>
              </a:spcBef>
              <a:spcAft>
                <a:spcPts val="0"/>
              </a:spcAft>
              <a:buClrTx/>
              <a:buSzTx/>
              <a:buFontTx/>
              <a:buNone/>
              <a:tabLst/>
              <a:defRPr/>
            </a:pPr>
            <a:r>
              <a:rPr kumimoji="0" lang="en-US" sz="2000" b="1" i="0" u="none" strike="noStrike" kern="0" cap="none" spc="0" normalizeH="0" baseline="0" noProof="0" dirty="0">
                <a:ln>
                  <a:noFill/>
                </a:ln>
                <a:solidFill>
                  <a:srgbClr val="002050"/>
                </a:solidFill>
                <a:effectLst/>
                <a:uLnTx/>
                <a:uFillTx/>
                <a:latin typeface="Segoe UI"/>
                <a:ea typeface="Segoe UI" panose="020B0502040204020203" pitchFamily="34" charset="0"/>
                <a:cs typeface="Segoe UI" panose="020B0502040204020203" pitchFamily="34" charset="0"/>
              </a:rPr>
              <a:t>Flexible by design</a:t>
            </a:r>
            <a:endParaRPr kumimoji="0" lang="en-US" sz="1400" b="0" i="0" u="none" strike="noStrike" kern="0" cap="none" spc="0" normalizeH="0" baseline="0" noProof="0" dirty="0">
              <a:ln>
                <a:noFill/>
              </a:ln>
              <a:solidFill>
                <a:srgbClr val="002050"/>
              </a:solidFill>
              <a:effectLst/>
              <a:uLnTx/>
              <a:uFillTx/>
              <a:latin typeface="Segoe UI"/>
              <a:ea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noAutofit/>
          </a:bodyPr>
          <a:lstStyle/>
          <a:p>
            <a:r>
              <a:rPr lang="en-US" sz="4400" dirty="0"/>
              <a:t>Microsoft data warehousing for intelligence</a:t>
            </a:r>
            <a:br>
              <a:rPr lang="en-US" sz="4400" dirty="0"/>
            </a:br>
            <a:r>
              <a:rPr lang="en-US" sz="3200" dirty="0"/>
              <a:t>Powered for choice</a:t>
            </a:r>
          </a:p>
        </p:txBody>
      </p:sp>
    </p:spTree>
    <p:extLst>
      <p:ext uri="{BB962C8B-B14F-4D97-AF65-F5344CB8AC3E}">
        <p14:creationId xmlns:p14="http://schemas.microsoft.com/office/powerpoint/2010/main" val="1234292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894073" y="2256585"/>
            <a:ext cx="3523562" cy="3644854"/>
          </a:xfrm>
          <a:prstGeom prst="rect">
            <a:avLst/>
          </a:prstGeom>
          <a:solidFill>
            <a:schemeClr val="bg1">
              <a:alpha val="7000"/>
            </a:schemeClr>
          </a:solidFill>
          <a:ln>
            <a:solidFill>
              <a:srgbClr val="70C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Rectangle 24"/>
          <p:cNvSpPr/>
          <p:nvPr/>
        </p:nvSpPr>
        <p:spPr>
          <a:xfrm>
            <a:off x="894073" y="3156829"/>
            <a:ext cx="2653276" cy="2744610"/>
          </a:xfrm>
          <a:prstGeom prst="rect">
            <a:avLst/>
          </a:prstGeom>
          <a:solidFill>
            <a:schemeClr val="bg1">
              <a:alpha val="7000"/>
            </a:schemeClr>
          </a:solidFill>
          <a:ln>
            <a:solidFill>
              <a:srgbClr val="70C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23"/>
          <p:cNvSpPr/>
          <p:nvPr/>
        </p:nvSpPr>
        <p:spPr>
          <a:xfrm>
            <a:off x="894073" y="4058391"/>
            <a:ext cx="1781716" cy="1843048"/>
          </a:xfrm>
          <a:prstGeom prst="rect">
            <a:avLst/>
          </a:prstGeom>
          <a:solidFill>
            <a:schemeClr val="bg1">
              <a:alpha val="7000"/>
            </a:schemeClr>
          </a:solidFill>
          <a:ln>
            <a:solidFill>
              <a:srgbClr val="70C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a:xfrm>
            <a:off x="894073" y="4948485"/>
            <a:ext cx="921242" cy="952954"/>
          </a:xfrm>
          <a:prstGeom prst="rect">
            <a:avLst/>
          </a:prstGeom>
          <a:solidFill>
            <a:schemeClr val="bg1">
              <a:alpha val="7000"/>
            </a:schemeClr>
          </a:solidFill>
          <a:ln>
            <a:solidFill>
              <a:srgbClr val="70C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TextBox 57"/>
          <p:cNvSpPr txBox="1"/>
          <p:nvPr/>
        </p:nvSpPr>
        <p:spPr>
          <a:xfrm>
            <a:off x="767560" y="6207304"/>
            <a:ext cx="3508349" cy="400110"/>
          </a:xfrm>
          <a:prstGeom prst="rect">
            <a:avLst/>
          </a:prstGeom>
          <a:noFill/>
        </p:spPr>
        <p:txBody>
          <a:bodyPr wrap="square" lIns="1828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Data velocity and variety</a:t>
            </a:r>
          </a:p>
        </p:txBody>
      </p:sp>
      <p:cxnSp>
        <p:nvCxnSpPr>
          <p:cNvPr id="4" name="Straight Arrow Connector 3"/>
          <p:cNvCxnSpPr/>
          <p:nvPr/>
        </p:nvCxnSpPr>
        <p:spPr>
          <a:xfrm flipV="1">
            <a:off x="615160" y="2078496"/>
            <a:ext cx="0" cy="39680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67560" y="6198924"/>
            <a:ext cx="380872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6136051" y="2091430"/>
            <a:ext cx="3488837" cy="3559130"/>
            <a:chOff x="6073895" y="2289201"/>
            <a:chExt cx="2560320" cy="3559130"/>
          </a:xfrm>
        </p:grpSpPr>
        <p:sp>
          <p:nvSpPr>
            <p:cNvPr id="20" name="Rectangle 19"/>
            <p:cNvSpPr/>
            <p:nvPr/>
          </p:nvSpPr>
          <p:spPr>
            <a:xfrm>
              <a:off x="6073895" y="4967449"/>
              <a:ext cx="2560320" cy="88088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TRADITIONAL</a:t>
              </a:r>
              <a:b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Query historical, relational data from a variety of sources</a:t>
              </a:r>
            </a:p>
          </p:txBody>
        </p:sp>
        <p:sp>
          <p:nvSpPr>
            <p:cNvPr id="21" name="Rectangle 20"/>
            <p:cNvSpPr/>
            <p:nvPr/>
          </p:nvSpPr>
          <p:spPr>
            <a:xfrm>
              <a:off x="6073895" y="4090704"/>
              <a:ext cx="2560320" cy="11394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OPERATIONAL</a:t>
              </a:r>
              <a:br>
                <a:rPr kumimoji="0" lang="en-US" sz="14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Gain real-time insights without impacting performance</a:t>
              </a:r>
            </a:p>
          </p:txBody>
        </p:sp>
        <p:sp>
          <p:nvSpPr>
            <p:cNvPr id="22" name="Rectangle 21"/>
            <p:cNvSpPr/>
            <p:nvPr/>
          </p:nvSpPr>
          <p:spPr>
            <a:xfrm>
              <a:off x="6073895" y="3195672"/>
              <a:ext cx="2560320" cy="88088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LOGICAL</a:t>
              </a:r>
              <a:br>
                <a:rPr kumimoji="0" lang="en-US" sz="14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Ask questions of big data—all types, volumes and locations</a:t>
              </a:r>
            </a:p>
          </p:txBody>
        </p:sp>
        <p:sp>
          <p:nvSpPr>
            <p:cNvPr id="23" name="Rectangle 22"/>
            <p:cNvSpPr/>
            <p:nvPr/>
          </p:nvSpPr>
          <p:spPr>
            <a:xfrm>
              <a:off x="6073895" y="2289201"/>
              <a:ext cx="2379751" cy="11394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FREE-FORM</a:t>
              </a:r>
              <a:br>
                <a:rPr kumimoji="0" lang="en-US" sz="14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Unlock advanced data science and the power of deep learning</a:t>
              </a:r>
            </a:p>
          </p:txBody>
        </p:sp>
      </p:grpSp>
      <p:cxnSp>
        <p:nvCxnSpPr>
          <p:cNvPr id="13" name="Straight Connector 12"/>
          <p:cNvCxnSpPr/>
          <p:nvPr/>
        </p:nvCxnSpPr>
        <p:spPr>
          <a:xfrm flipH="1">
            <a:off x="4417635" y="2256621"/>
            <a:ext cx="1683692" cy="0"/>
          </a:xfrm>
          <a:prstGeom prst="line">
            <a:avLst/>
          </a:prstGeom>
          <a:ln w="12700">
            <a:solidFill>
              <a:schemeClr val="bg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3547349" y="3167158"/>
            <a:ext cx="2553979" cy="0"/>
          </a:xfrm>
          <a:prstGeom prst="line">
            <a:avLst/>
          </a:prstGeom>
          <a:ln w="12700">
            <a:solidFill>
              <a:schemeClr val="bg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2680128" y="4058391"/>
            <a:ext cx="3421202" cy="0"/>
          </a:xfrm>
          <a:prstGeom prst="line">
            <a:avLst/>
          </a:prstGeom>
          <a:ln w="12700">
            <a:solidFill>
              <a:schemeClr val="bg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1819654" y="4940481"/>
            <a:ext cx="4281675" cy="0"/>
          </a:xfrm>
          <a:prstGeom prst="line">
            <a:avLst/>
          </a:prstGeom>
          <a:ln w="12700">
            <a:solidFill>
              <a:schemeClr val="bg1"/>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rot="16200000">
            <a:off x="-1084125" y="4305903"/>
            <a:ext cx="3081131" cy="400110"/>
          </a:xfrm>
          <a:prstGeom prst="rect">
            <a:avLst/>
          </a:prstGeom>
          <a:noFill/>
        </p:spPr>
        <p:txBody>
          <a:bodyPr wrap="square" lIns="1828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Data volume</a:t>
            </a:r>
          </a:p>
        </p:txBody>
      </p:sp>
      <p:sp>
        <p:nvSpPr>
          <p:cNvPr id="2" name="Title 1"/>
          <p:cNvSpPr>
            <a:spLocks noGrp="1"/>
          </p:cNvSpPr>
          <p:nvPr>
            <p:ph type="title"/>
          </p:nvPr>
        </p:nvSpPr>
        <p:spPr/>
        <p:txBody>
          <a:bodyPr>
            <a:noAutofit/>
          </a:bodyPr>
          <a:lstStyle/>
          <a:p>
            <a:r>
              <a:rPr lang="en-US" sz="4400" dirty="0"/>
              <a:t>Game-changing intelligence requires </a:t>
            </a:r>
            <a:br>
              <a:rPr lang="en-US" sz="4400" dirty="0"/>
            </a:br>
            <a:r>
              <a:rPr lang="en-US" sz="4400" dirty="0"/>
              <a:t>a powerful data management solution</a:t>
            </a:r>
          </a:p>
        </p:txBody>
      </p:sp>
    </p:spTree>
    <p:extLst>
      <p:ext uri="{BB962C8B-B14F-4D97-AF65-F5344CB8AC3E}">
        <p14:creationId xmlns:p14="http://schemas.microsoft.com/office/powerpoint/2010/main" val="37980843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5454595" y="159026"/>
            <a:ext cx="6737405" cy="6698974"/>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cxnSp>
        <p:nvCxnSpPr>
          <p:cNvPr id="56" name="Straight Connector 55"/>
          <p:cNvCxnSpPr/>
          <p:nvPr/>
        </p:nvCxnSpPr>
        <p:spPr>
          <a:xfrm>
            <a:off x="7102074" y="2542566"/>
            <a:ext cx="0" cy="469735"/>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388951" y="373505"/>
            <a:ext cx="5342378"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rPr>
              <a:t>Traditional DW</a:t>
            </a:r>
          </a:p>
        </p:txBody>
      </p:sp>
      <p:sp>
        <p:nvSpPr>
          <p:cNvPr id="21" name="Rectangle 20"/>
          <p:cNvSpPr/>
          <p:nvPr/>
        </p:nvSpPr>
        <p:spPr>
          <a:xfrm>
            <a:off x="-2" y="4790976"/>
            <a:ext cx="4178809" cy="1843962"/>
          </a:xfrm>
          <a:prstGeom prst="rect">
            <a:avLst/>
          </a:pr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50"/>
              </a:solidFill>
              <a:effectLst/>
              <a:uLnTx/>
              <a:uFillTx/>
              <a:latin typeface="Segoe UI"/>
              <a:ea typeface="+mn-ea"/>
              <a:cs typeface="+mn-cs"/>
            </a:endParaRPr>
          </a:p>
        </p:txBody>
      </p:sp>
      <p:sp>
        <p:nvSpPr>
          <p:cNvPr id="22" name="Content Placeholder 2"/>
          <p:cNvSpPr txBox="1">
            <a:spLocks/>
          </p:cNvSpPr>
          <p:nvPr/>
        </p:nvSpPr>
        <p:spPr>
          <a:xfrm>
            <a:off x="388951" y="4908579"/>
            <a:ext cx="3723002" cy="164748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
              </a:rPr>
              <a:t>Scheduled financial reporting </a:t>
            </a:r>
            <a:br>
              <a:rPr kumimoji="0" lang="en-US" sz="1400" b="1" i="0" u="none" strike="noStrike" kern="1200" cap="none" spc="0" normalizeH="0" baseline="0" noProof="0" dirty="0">
                <a:ln>
                  <a:noFill/>
                </a:ln>
                <a:solidFill>
                  <a:srgbClr val="002050"/>
                </a:solidFill>
                <a:effectLst/>
                <a:uLnTx/>
                <a:uFillTx/>
                <a:latin typeface="Segoe UI"/>
                <a:ea typeface="+mn-ea"/>
                <a:cs typeface=""/>
              </a:rPr>
            </a:br>
            <a:r>
              <a:rPr kumimoji="0" lang="en-US" sz="1400" b="0" i="0" u="none" strike="noStrike" kern="1200" cap="none" spc="0" normalizeH="0" baseline="0" noProof="0" dirty="0">
                <a:ln>
                  <a:noFill/>
                </a:ln>
                <a:solidFill>
                  <a:srgbClr val="002050"/>
                </a:solidFill>
                <a:effectLst/>
                <a:uLnTx/>
                <a:uFillTx/>
                <a:latin typeface="Segoe UI"/>
                <a:ea typeface="+mn-ea"/>
                <a:cs typeface=""/>
              </a:rPr>
              <a:t>through queries of historical data </a:t>
            </a:r>
          </a:p>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
              </a:rPr>
              <a:t>Tier 2 reporting </a:t>
            </a:r>
            <a:r>
              <a:rPr kumimoji="0" lang="en-US" sz="1400" b="0" i="0" u="none" strike="noStrike" kern="1200" cap="none" spc="0" normalizeH="0" baseline="0" noProof="0" dirty="0">
                <a:ln>
                  <a:noFill/>
                </a:ln>
                <a:solidFill>
                  <a:srgbClr val="002050"/>
                </a:solidFill>
                <a:effectLst/>
                <a:uLnTx/>
                <a:uFillTx/>
                <a:latin typeface="Segoe UI"/>
                <a:ea typeface="+mn-ea"/>
                <a:cs typeface=""/>
              </a:rPr>
              <a:t>and </a:t>
            </a:r>
            <a:r>
              <a:rPr kumimoji="0" lang="en-US" sz="1400" b="1" i="0" u="none" strike="noStrike" kern="1200" cap="none" spc="0" normalizeH="0" baseline="0" noProof="0" dirty="0">
                <a:ln>
                  <a:noFill/>
                </a:ln>
                <a:solidFill>
                  <a:srgbClr val="002050"/>
                </a:solidFill>
                <a:effectLst/>
                <a:uLnTx/>
                <a:uFillTx/>
                <a:latin typeface="Segoe UI"/>
                <a:ea typeface="+mn-ea"/>
                <a:cs typeface=""/>
              </a:rPr>
              <a:t>business planning </a:t>
            </a:r>
            <a:r>
              <a:rPr kumimoji="0" lang="en-US" sz="1400" b="0" i="0" u="none" strike="noStrike" kern="1200" cap="none" spc="0" normalizeH="0" baseline="0" noProof="0" dirty="0">
                <a:ln>
                  <a:noFill/>
                </a:ln>
                <a:solidFill>
                  <a:srgbClr val="002050"/>
                </a:solidFill>
                <a:effectLst/>
                <a:uLnTx/>
                <a:uFillTx/>
                <a:latin typeface="Segoe UI"/>
                <a:ea typeface="+mn-ea"/>
                <a:cs typeface=""/>
              </a:rPr>
              <a:t>based on fixed data</a:t>
            </a:r>
          </a:p>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
              </a:rPr>
              <a:t>Securing proprietary and sensitive data </a:t>
            </a:r>
            <a:r>
              <a:rPr kumimoji="0" lang="en-US" sz="1400" b="0" i="0" u="none" strike="noStrike" kern="1200" cap="none" spc="0" normalizeH="0" baseline="0" noProof="0" dirty="0">
                <a:ln>
                  <a:noFill/>
                </a:ln>
                <a:solidFill>
                  <a:srgbClr val="002050"/>
                </a:solidFill>
                <a:effectLst/>
                <a:uLnTx/>
                <a:uFillTx/>
                <a:latin typeface="Segoe UI"/>
                <a:ea typeface="+mn-ea"/>
                <a:cs typeface=""/>
              </a:rPr>
              <a:t>for compliance</a:t>
            </a:r>
          </a:p>
        </p:txBody>
      </p:sp>
      <p:sp>
        <p:nvSpPr>
          <p:cNvPr id="42" name="Content Placeholder 2"/>
          <p:cNvSpPr txBox="1">
            <a:spLocks/>
          </p:cNvSpPr>
          <p:nvPr/>
        </p:nvSpPr>
        <p:spPr>
          <a:xfrm>
            <a:off x="388953" y="2899555"/>
            <a:ext cx="3789854" cy="70844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600"/>
              </a:spcAft>
              <a:buClr>
                <a:srgbClr val="00C0F9"/>
              </a:buClr>
              <a:buSzTx/>
              <a:buFont typeface="Arial" panose="020B0604020202020204" pitchFamily="34" charset="0"/>
              <a:buNone/>
              <a:tabLst/>
              <a:defRPr/>
            </a:pPr>
            <a:r>
              <a:rPr kumimoji="0" lang="en-US" sz="2800" b="1" i="0" u="none" strike="noStrike" kern="1200" cap="none" spc="0" normalizeH="0" baseline="0" noProof="0" dirty="0">
                <a:ln>
                  <a:noFill/>
                </a:ln>
                <a:solidFill>
                  <a:srgbClr val="FFFFFF"/>
                </a:solidFill>
                <a:effectLst/>
                <a:uLnTx/>
                <a:uFillTx/>
                <a:latin typeface="Segoe UI"/>
                <a:ea typeface="+mn-ea"/>
                <a:cs typeface="Segoe UI Light" panose="020B0502040204020203" pitchFamily="34" charset="0"/>
              </a:rPr>
              <a:t>Query historical, relational data from a variety of sources</a:t>
            </a:r>
          </a:p>
        </p:txBody>
      </p:sp>
      <p:sp>
        <p:nvSpPr>
          <p:cNvPr id="43" name="Rectangle 42"/>
          <p:cNvSpPr/>
          <p:nvPr/>
        </p:nvSpPr>
        <p:spPr>
          <a:xfrm>
            <a:off x="388951" y="4432157"/>
            <a:ext cx="104246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Ideal for: </a:t>
            </a:r>
          </a:p>
        </p:txBody>
      </p:sp>
      <p:grpSp>
        <p:nvGrpSpPr>
          <p:cNvPr id="8" name="Group 7"/>
          <p:cNvGrpSpPr/>
          <p:nvPr/>
        </p:nvGrpSpPr>
        <p:grpSpPr>
          <a:xfrm>
            <a:off x="5687405" y="427457"/>
            <a:ext cx="1319712" cy="824222"/>
            <a:chOff x="5687405" y="417610"/>
            <a:chExt cx="1319712" cy="824222"/>
          </a:xfrm>
        </p:grpSpPr>
        <p:sp>
          <p:nvSpPr>
            <p:cNvPr id="46" name="Content Placeholder 2"/>
            <p:cNvSpPr txBox="1">
              <a:spLocks/>
            </p:cNvSpPr>
            <p:nvPr/>
          </p:nvSpPr>
          <p:spPr>
            <a:xfrm>
              <a:off x="5687405" y="1066399"/>
              <a:ext cx="1319712" cy="175433"/>
            </a:xfrm>
            <a:prstGeom prst="borderCallout1">
              <a:avLst>
                <a:gd name="adj1" fmla="val -641"/>
                <a:gd name="adj2" fmla="val 328"/>
                <a:gd name="adj3" fmla="val 27632"/>
                <a:gd name="adj4" fmla="val 28358"/>
              </a:avLst>
            </a:prstGeom>
            <a:noFill/>
            <a:ln w="19050">
              <a:noFill/>
            </a:ln>
          </p:spPr>
          <p:txBody>
            <a:bodyPr vert="horz" wrap="square" lIns="64008" tIns="18288" rIns="64008" bIns="18288" rtlCol="0">
              <a:sp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0072C6"/>
                </a:buClr>
                <a:buSzTx/>
                <a:buFont typeface="Arial" panose="020B0604020202020204" pitchFamily="34" charset="0"/>
                <a:buNone/>
                <a:tabLst/>
                <a:defRPr/>
              </a:pPr>
              <a:r>
                <a:rPr kumimoji="0" lang="en-US" sz="1000" b="1" i="0" u="none" strike="noStrike" kern="1200" cap="none" spc="0" normalizeH="0" baseline="0" noProof="0" dirty="0">
                  <a:ln>
                    <a:noFill/>
                  </a:ln>
                  <a:solidFill>
                    <a:srgbClr val="002050"/>
                  </a:solidFill>
                  <a:effectLst/>
                  <a:uLnTx/>
                  <a:uFillTx/>
                  <a:latin typeface="Segoe UI" charset="0"/>
                  <a:ea typeface="Segoe UI" charset="0"/>
                  <a:cs typeface="Segoe UI" charset="0"/>
                </a:rPr>
                <a:t>ITDMs</a:t>
              </a:r>
            </a:p>
          </p:txBody>
        </p:sp>
        <p:sp>
          <p:nvSpPr>
            <p:cNvPr id="47" name="Freeform 46"/>
            <p:cNvSpPr/>
            <p:nvPr/>
          </p:nvSpPr>
          <p:spPr bwMode="auto">
            <a:xfrm flipV="1">
              <a:off x="6021507" y="417610"/>
              <a:ext cx="651508" cy="590043"/>
            </a:xfrm>
            <a:custGeom>
              <a:avLst/>
              <a:gdLst>
                <a:gd name="connsiteX0" fmla="*/ 402144 w 1232076"/>
                <a:gd name="connsiteY0" fmla="*/ 521164 h 1142536"/>
                <a:gd name="connsiteX1" fmla="*/ 403411 w 1232076"/>
                <a:gd name="connsiteY1" fmla="*/ 516536 h 1142536"/>
                <a:gd name="connsiteX2" fmla="*/ 407773 w 1232076"/>
                <a:gd name="connsiteY2" fmla="*/ 517761 h 1142536"/>
                <a:gd name="connsiteX3" fmla="*/ 412815 w 1232076"/>
                <a:gd name="connsiteY3" fmla="*/ 497941 h 1142536"/>
                <a:gd name="connsiteX4" fmla="*/ 418715 w 1232076"/>
                <a:gd name="connsiteY4" fmla="*/ 490944 h 1142536"/>
                <a:gd name="connsiteX5" fmla="*/ 612977 w 1232076"/>
                <a:gd name="connsiteY5" fmla="*/ 443543 h 1142536"/>
                <a:gd name="connsiteX6" fmla="*/ 823810 w 1232076"/>
                <a:gd name="connsiteY6" fmla="*/ 521164 h 1142536"/>
                <a:gd name="connsiteX7" fmla="*/ 823810 w 1232076"/>
                <a:gd name="connsiteY7" fmla="*/ 514694 h 1142536"/>
                <a:gd name="connsiteX8" fmla="*/ 824676 w 1232076"/>
                <a:gd name="connsiteY8" fmla="*/ 517763 h 1142536"/>
                <a:gd name="connsiteX9" fmla="*/ 1222430 w 1232076"/>
                <a:gd name="connsiteY9" fmla="*/ 78510 h 1142536"/>
                <a:gd name="connsiteX10" fmla="*/ 617947 w 1232076"/>
                <a:gd name="connsiteY10" fmla="*/ 10 h 1142536"/>
                <a:gd name="connsiteX11" fmla="*/ 10020 w 1232076"/>
                <a:gd name="connsiteY11" fmla="*/ 78510 h 1142536"/>
                <a:gd name="connsiteX12" fmla="*/ 322666 w 1232076"/>
                <a:gd name="connsiteY12" fmla="*/ 493847 h 1142536"/>
                <a:gd name="connsiteX13" fmla="*/ 402144 w 1232076"/>
                <a:gd name="connsiteY13" fmla="*/ 516180 h 1142536"/>
                <a:gd name="connsiteX14" fmla="*/ 616227 w 1232076"/>
                <a:gd name="connsiteY14" fmla="*/ 1142536 h 1142536"/>
                <a:gd name="connsiteX15" fmla="*/ 926921 w 1232076"/>
                <a:gd name="connsiteY15" fmla="*/ 843599 h 1142536"/>
                <a:gd name="connsiteX16" fmla="*/ 616227 w 1232076"/>
                <a:gd name="connsiteY16" fmla="*/ 544661 h 1142536"/>
                <a:gd name="connsiteX17" fmla="*/ 305533 w 1232076"/>
                <a:gd name="connsiteY17" fmla="*/ 843599 h 1142536"/>
                <a:gd name="connsiteX18" fmla="*/ 616227 w 1232076"/>
                <a:gd name="connsiteY18" fmla="*/ 1142536 h 114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2076" h="1142536">
                  <a:moveTo>
                    <a:pt x="402144" y="521164"/>
                  </a:moveTo>
                  <a:lnTo>
                    <a:pt x="403411" y="516536"/>
                  </a:lnTo>
                  <a:lnTo>
                    <a:pt x="407773" y="517761"/>
                  </a:lnTo>
                  <a:lnTo>
                    <a:pt x="412815" y="497941"/>
                  </a:lnTo>
                  <a:lnTo>
                    <a:pt x="418715" y="490944"/>
                  </a:lnTo>
                  <a:cubicBezTo>
                    <a:pt x="450725" y="463082"/>
                    <a:pt x="525661" y="443543"/>
                    <a:pt x="612977" y="443543"/>
                  </a:cubicBezTo>
                  <a:cubicBezTo>
                    <a:pt x="729399" y="443543"/>
                    <a:pt x="823810" y="478279"/>
                    <a:pt x="823810" y="521164"/>
                  </a:cubicBezTo>
                  <a:lnTo>
                    <a:pt x="823810" y="514694"/>
                  </a:lnTo>
                  <a:lnTo>
                    <a:pt x="824676" y="517763"/>
                  </a:lnTo>
                  <a:cubicBezTo>
                    <a:pt x="1313502" y="399970"/>
                    <a:pt x="1229206" y="105777"/>
                    <a:pt x="1222430" y="78510"/>
                  </a:cubicBezTo>
                  <a:cubicBezTo>
                    <a:pt x="1110624" y="37126"/>
                    <a:pt x="886318" y="-712"/>
                    <a:pt x="617947" y="10"/>
                  </a:cubicBezTo>
                  <a:cubicBezTo>
                    <a:pt x="349577" y="731"/>
                    <a:pt x="211656" y="38177"/>
                    <a:pt x="10020" y="78510"/>
                  </a:cubicBezTo>
                  <a:cubicBezTo>
                    <a:pt x="2859" y="115291"/>
                    <a:pt x="-70919" y="365639"/>
                    <a:pt x="322666" y="493847"/>
                  </a:cubicBezTo>
                  <a:lnTo>
                    <a:pt x="402144" y="516180"/>
                  </a:lnTo>
                  <a:close/>
                  <a:moveTo>
                    <a:pt x="616227" y="1142536"/>
                  </a:moveTo>
                  <a:cubicBezTo>
                    <a:pt x="787819" y="1142536"/>
                    <a:pt x="926921" y="1008697"/>
                    <a:pt x="926921" y="843599"/>
                  </a:cubicBezTo>
                  <a:cubicBezTo>
                    <a:pt x="926921" y="678501"/>
                    <a:pt x="787819" y="544661"/>
                    <a:pt x="616227" y="544661"/>
                  </a:cubicBezTo>
                  <a:cubicBezTo>
                    <a:pt x="444636" y="544661"/>
                    <a:pt x="305533" y="678501"/>
                    <a:pt x="305533" y="843599"/>
                  </a:cubicBezTo>
                  <a:cubicBezTo>
                    <a:pt x="305533" y="1008697"/>
                    <a:pt x="444636" y="1142536"/>
                    <a:pt x="616227" y="1142536"/>
                  </a:cubicBezTo>
                  <a:close/>
                </a:path>
              </a:pathLst>
            </a:custGeom>
            <a:solidFill>
              <a:srgbClr val="70C7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 name="Rectangle 5"/>
          <p:cNvSpPr/>
          <p:nvPr/>
        </p:nvSpPr>
        <p:spPr>
          <a:xfrm>
            <a:off x="6403342" y="1720241"/>
            <a:ext cx="1381510" cy="822325"/>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40"/>
          <p:cNvSpPr/>
          <p:nvPr/>
        </p:nvSpPr>
        <p:spPr>
          <a:xfrm>
            <a:off x="6388530" y="1617083"/>
            <a:ext cx="1405847" cy="946165"/>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Up Arrow 43"/>
          <p:cNvSpPr/>
          <p:nvPr/>
        </p:nvSpPr>
        <p:spPr bwMode="auto">
          <a:xfrm rot="2700000">
            <a:off x="6890152" y="1842654"/>
            <a:ext cx="481826" cy="564483"/>
          </a:xfrm>
          <a:prstGeom prst="upArrow">
            <a:avLst>
              <a:gd name="adj1" fmla="val 55098"/>
              <a:gd name="adj2" fmla="val 50000"/>
            </a:avLst>
          </a:prstGeom>
          <a:solidFill>
            <a:srgbClr val="70C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7" name="Straight Connector 66"/>
          <p:cNvCxnSpPr/>
          <p:nvPr/>
        </p:nvCxnSpPr>
        <p:spPr>
          <a:xfrm flipH="1">
            <a:off x="7654757" y="4816269"/>
            <a:ext cx="1219630" cy="19973"/>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8939493" y="3506918"/>
            <a:ext cx="2956911" cy="2811504"/>
            <a:chOff x="8905528" y="3790022"/>
            <a:chExt cx="1432175" cy="1369331"/>
          </a:xfrm>
        </p:grpSpPr>
        <p:sp>
          <p:nvSpPr>
            <p:cNvPr id="39" name="Freeform 38"/>
            <p:cNvSpPr/>
            <p:nvPr/>
          </p:nvSpPr>
          <p:spPr bwMode="auto">
            <a:xfrm flipH="1">
              <a:off x="8905528" y="3790022"/>
              <a:ext cx="1432175" cy="136933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 name="Rectangle 1"/>
            <p:cNvSpPr/>
            <p:nvPr/>
          </p:nvSpPr>
          <p:spPr>
            <a:xfrm>
              <a:off x="9728350" y="4639210"/>
              <a:ext cx="593120" cy="280002"/>
            </a:xfrm>
            <a:prstGeom prst="rect">
              <a:avLst/>
            </a:prstGeom>
            <a:solidFill>
              <a:srgbClr val="002050"/>
            </a:solidFill>
            <a:ln>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0C7FF"/>
                  </a:solidFill>
                  <a:effectLst/>
                  <a:uLnTx/>
                  <a:uFillTx/>
                  <a:latin typeface="Segoe UI"/>
                  <a:ea typeface="+mn-ea"/>
                  <a:cs typeface="+mn-cs"/>
                </a:rPr>
                <a:t>DW</a:t>
              </a:r>
            </a:p>
          </p:txBody>
        </p:sp>
      </p:grpSp>
      <p:grpSp>
        <p:nvGrpSpPr>
          <p:cNvPr id="5" name="Group 4"/>
          <p:cNvGrpSpPr/>
          <p:nvPr/>
        </p:nvGrpSpPr>
        <p:grpSpPr>
          <a:xfrm>
            <a:off x="9744950" y="2250752"/>
            <a:ext cx="1530607" cy="1248740"/>
            <a:chOff x="10711223" y="804501"/>
            <a:chExt cx="1274998" cy="1040202"/>
          </a:xfrm>
        </p:grpSpPr>
        <p:sp>
          <p:nvSpPr>
            <p:cNvPr id="54" name="Freeform: Shape 126"/>
            <p:cNvSpPr/>
            <p:nvPr/>
          </p:nvSpPr>
          <p:spPr>
            <a:xfrm>
              <a:off x="10711223" y="804501"/>
              <a:ext cx="1274998" cy="1040202"/>
            </a:xfrm>
            <a:custGeom>
              <a:avLst/>
              <a:gdLst>
                <a:gd name="connsiteX0" fmla="*/ 286167 w 771201"/>
                <a:gd name="connsiteY0" fmla="*/ 0 h 629181"/>
                <a:gd name="connsiteX1" fmla="*/ 498645 w 771201"/>
                <a:gd name="connsiteY1" fmla="*/ 0 h 629181"/>
                <a:gd name="connsiteX2" fmla="*/ 771201 w 771201"/>
                <a:gd name="connsiteY2" fmla="*/ 272556 h 629181"/>
                <a:gd name="connsiteX3" fmla="*/ 498645 w 771201"/>
                <a:gd name="connsiteY3" fmla="*/ 545112 h 629181"/>
                <a:gd name="connsiteX4" fmla="*/ 286167 w 771201"/>
                <a:gd name="connsiteY4" fmla="*/ 545112 h 629181"/>
                <a:gd name="connsiteX5" fmla="*/ 231238 w 771201"/>
                <a:gd name="connsiteY5" fmla="*/ 539575 h 629181"/>
                <a:gd name="connsiteX6" fmla="*/ 180887 w 771201"/>
                <a:gd name="connsiteY6" fmla="*/ 523945 h 629181"/>
                <a:gd name="connsiteX7" fmla="*/ 135212 w 771201"/>
                <a:gd name="connsiteY7" fmla="*/ 583284 h 629181"/>
                <a:gd name="connsiteX8" fmla="*/ 0 w 771201"/>
                <a:gd name="connsiteY8" fmla="*/ 627871 h 629181"/>
                <a:gd name="connsiteX9" fmla="*/ 110939 w 771201"/>
                <a:gd name="connsiteY9" fmla="*/ 493202 h 629181"/>
                <a:gd name="connsiteX10" fmla="*/ 113662 w 771201"/>
                <a:gd name="connsiteY10" fmla="*/ 481966 h 629181"/>
                <a:gd name="connsiteX11" fmla="*/ 93441 w 771201"/>
                <a:gd name="connsiteY11" fmla="*/ 465282 h 629181"/>
                <a:gd name="connsiteX12" fmla="*/ 13611 w 771201"/>
                <a:gd name="connsiteY12" fmla="*/ 272556 h 629181"/>
                <a:gd name="connsiteX13" fmla="*/ 286167 w 771201"/>
                <a:gd name="connsiteY13" fmla="*/ 0 h 62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1201" h="629181">
                  <a:moveTo>
                    <a:pt x="286167" y="0"/>
                  </a:moveTo>
                  <a:lnTo>
                    <a:pt x="498645" y="0"/>
                  </a:lnTo>
                  <a:cubicBezTo>
                    <a:pt x="649174" y="0"/>
                    <a:pt x="771201" y="122027"/>
                    <a:pt x="771201" y="272556"/>
                  </a:cubicBezTo>
                  <a:cubicBezTo>
                    <a:pt x="771201" y="423085"/>
                    <a:pt x="649174" y="545112"/>
                    <a:pt x="498645" y="545112"/>
                  </a:cubicBezTo>
                  <a:lnTo>
                    <a:pt x="286167" y="545112"/>
                  </a:lnTo>
                  <a:cubicBezTo>
                    <a:pt x="267351" y="545112"/>
                    <a:pt x="248980" y="543205"/>
                    <a:pt x="231238" y="539575"/>
                  </a:cubicBezTo>
                  <a:lnTo>
                    <a:pt x="180887" y="523945"/>
                  </a:lnTo>
                  <a:lnTo>
                    <a:pt x="135212" y="583284"/>
                  </a:lnTo>
                  <a:cubicBezTo>
                    <a:pt x="97758" y="616780"/>
                    <a:pt x="49729" y="634288"/>
                    <a:pt x="0" y="627871"/>
                  </a:cubicBezTo>
                  <a:cubicBezTo>
                    <a:pt x="50549" y="599817"/>
                    <a:pt x="89852" y="551314"/>
                    <a:pt x="110939" y="493202"/>
                  </a:cubicBezTo>
                  <a:lnTo>
                    <a:pt x="113662" y="481966"/>
                  </a:lnTo>
                  <a:lnTo>
                    <a:pt x="93441" y="465282"/>
                  </a:lnTo>
                  <a:cubicBezTo>
                    <a:pt x="44118" y="415960"/>
                    <a:pt x="13611" y="347821"/>
                    <a:pt x="13611" y="272556"/>
                  </a:cubicBezTo>
                  <a:cubicBezTo>
                    <a:pt x="13611" y="122027"/>
                    <a:pt x="135638" y="0"/>
                    <a:pt x="286167" y="0"/>
                  </a:cubicBezTo>
                  <a:close/>
                </a:path>
              </a:pathLst>
            </a:cu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137160" bIns="365760" rtlCol="0" anchor="b">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HISTORICAL</a:t>
              </a:r>
            </a:p>
          </p:txBody>
        </p:sp>
        <p:sp>
          <p:nvSpPr>
            <p:cNvPr id="51" name="Freeform 18"/>
            <p:cNvSpPr>
              <a:spLocks noEditPoints="1"/>
            </p:cNvSpPr>
            <p:nvPr/>
          </p:nvSpPr>
          <p:spPr bwMode="black">
            <a:xfrm rot="17995606">
              <a:off x="11167121" y="947112"/>
              <a:ext cx="352270" cy="276615"/>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2050"/>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120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grpSp>
        <p:nvGrpSpPr>
          <p:cNvPr id="7" name="Group 6"/>
          <p:cNvGrpSpPr/>
          <p:nvPr/>
        </p:nvGrpSpPr>
        <p:grpSpPr>
          <a:xfrm>
            <a:off x="6346756" y="2940196"/>
            <a:ext cx="1205012" cy="1158075"/>
            <a:chOff x="6433613" y="3559531"/>
            <a:chExt cx="1427088" cy="1830315"/>
          </a:xfrm>
        </p:grpSpPr>
        <p:sp>
          <p:nvSpPr>
            <p:cNvPr id="38" name="Freeform 37"/>
            <p:cNvSpPr/>
            <p:nvPr/>
          </p:nvSpPr>
          <p:spPr bwMode="auto">
            <a:xfrm>
              <a:off x="6433613" y="3559531"/>
              <a:ext cx="1427088" cy="183031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p:cNvSpPr/>
            <p:nvPr/>
          </p:nvSpPr>
          <p:spPr>
            <a:xfrm>
              <a:off x="6461245" y="4435749"/>
              <a:ext cx="1371824" cy="280002"/>
            </a:xfrm>
            <a:prstGeom prst="rect">
              <a:avLst/>
            </a:prstGeom>
            <a:solidFill>
              <a:srgbClr val="002050"/>
            </a:solidFill>
            <a:ln>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C7FF"/>
                  </a:solidFill>
                  <a:effectLst/>
                  <a:uLnTx/>
                  <a:uFillTx/>
                  <a:latin typeface="Segoe UI"/>
                  <a:ea typeface="+mn-ea"/>
                  <a:cs typeface="+mn-cs"/>
                </a:rPr>
                <a:t>OLTP</a:t>
              </a:r>
            </a:p>
          </p:txBody>
        </p:sp>
      </p:grpSp>
      <p:grpSp>
        <p:nvGrpSpPr>
          <p:cNvPr id="31" name="Group 30"/>
          <p:cNvGrpSpPr/>
          <p:nvPr/>
        </p:nvGrpSpPr>
        <p:grpSpPr>
          <a:xfrm>
            <a:off x="6346756" y="4154054"/>
            <a:ext cx="1205012" cy="1158075"/>
            <a:chOff x="6433613" y="3559531"/>
            <a:chExt cx="1427088" cy="1830315"/>
          </a:xfrm>
        </p:grpSpPr>
        <p:sp>
          <p:nvSpPr>
            <p:cNvPr id="32" name="Freeform 37"/>
            <p:cNvSpPr/>
            <p:nvPr/>
          </p:nvSpPr>
          <p:spPr bwMode="auto">
            <a:xfrm>
              <a:off x="6433613" y="3559531"/>
              <a:ext cx="1427088" cy="183031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p:nvSpPr>
          <p:spPr>
            <a:xfrm>
              <a:off x="6461245" y="4435749"/>
              <a:ext cx="1371824" cy="280002"/>
            </a:xfrm>
            <a:prstGeom prst="rect">
              <a:avLst/>
            </a:prstGeom>
            <a:solidFill>
              <a:srgbClr val="002050"/>
            </a:solidFill>
            <a:ln>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C7FF"/>
                  </a:solidFill>
                  <a:effectLst/>
                  <a:uLnTx/>
                  <a:uFillTx/>
                  <a:latin typeface="Segoe UI"/>
                  <a:ea typeface="+mn-ea"/>
                  <a:cs typeface="+mn-cs"/>
                </a:rPr>
                <a:t>ERP</a:t>
              </a:r>
            </a:p>
          </p:txBody>
        </p:sp>
      </p:grpSp>
      <p:grpSp>
        <p:nvGrpSpPr>
          <p:cNvPr id="34" name="Group 33"/>
          <p:cNvGrpSpPr/>
          <p:nvPr/>
        </p:nvGrpSpPr>
        <p:grpSpPr>
          <a:xfrm>
            <a:off x="6347519" y="5367912"/>
            <a:ext cx="1205012" cy="1158075"/>
            <a:chOff x="6433613" y="3559531"/>
            <a:chExt cx="1427088" cy="1830315"/>
          </a:xfrm>
        </p:grpSpPr>
        <p:sp>
          <p:nvSpPr>
            <p:cNvPr id="35" name="Freeform 37"/>
            <p:cNvSpPr/>
            <p:nvPr/>
          </p:nvSpPr>
          <p:spPr bwMode="auto">
            <a:xfrm>
              <a:off x="6433613" y="3559531"/>
              <a:ext cx="1427088" cy="183031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p:cNvSpPr/>
            <p:nvPr/>
          </p:nvSpPr>
          <p:spPr>
            <a:xfrm>
              <a:off x="6461245" y="4435749"/>
              <a:ext cx="1371824" cy="280002"/>
            </a:xfrm>
            <a:prstGeom prst="rect">
              <a:avLst/>
            </a:prstGeom>
            <a:solidFill>
              <a:srgbClr val="002050"/>
            </a:solidFill>
            <a:ln>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C7FF"/>
                  </a:solidFill>
                  <a:effectLst/>
                  <a:uLnTx/>
                  <a:uFillTx/>
                  <a:latin typeface="Segoe UI"/>
                  <a:ea typeface="+mn-ea"/>
                  <a:cs typeface="+mn-cs"/>
                </a:rPr>
                <a:t>CRM</a:t>
              </a:r>
            </a:p>
          </p:txBody>
        </p:sp>
      </p:grpSp>
      <p:cxnSp>
        <p:nvCxnSpPr>
          <p:cNvPr id="37" name="Straight Connector 36"/>
          <p:cNvCxnSpPr/>
          <p:nvPr/>
        </p:nvCxnSpPr>
        <p:spPr>
          <a:xfrm flipH="1">
            <a:off x="7635815" y="5141663"/>
            <a:ext cx="1239314" cy="750662"/>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flipV="1">
            <a:off x="7654757" y="3781168"/>
            <a:ext cx="1210530" cy="696543"/>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673015" y="426403"/>
            <a:ext cx="1319712" cy="824222"/>
            <a:chOff x="5687405" y="417610"/>
            <a:chExt cx="1319712" cy="824222"/>
          </a:xfrm>
        </p:grpSpPr>
        <p:sp>
          <p:nvSpPr>
            <p:cNvPr id="49" name="Content Placeholder 2"/>
            <p:cNvSpPr txBox="1">
              <a:spLocks/>
            </p:cNvSpPr>
            <p:nvPr/>
          </p:nvSpPr>
          <p:spPr>
            <a:xfrm>
              <a:off x="5687405" y="1066399"/>
              <a:ext cx="1319712" cy="175433"/>
            </a:xfrm>
            <a:prstGeom prst="borderCallout1">
              <a:avLst>
                <a:gd name="adj1" fmla="val -641"/>
                <a:gd name="adj2" fmla="val 328"/>
                <a:gd name="adj3" fmla="val 27632"/>
                <a:gd name="adj4" fmla="val 28358"/>
              </a:avLst>
            </a:prstGeom>
            <a:noFill/>
            <a:ln w="19050">
              <a:noFill/>
            </a:ln>
          </p:spPr>
          <p:txBody>
            <a:bodyPr vert="horz" wrap="square" lIns="64008" tIns="18288" rIns="64008" bIns="18288" rtlCol="0">
              <a:sp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0072C6"/>
                </a:buClr>
                <a:buSzTx/>
                <a:buFont typeface="Arial" panose="020B0604020202020204" pitchFamily="34" charset="0"/>
                <a:buNone/>
                <a:tabLst/>
                <a:defRPr/>
              </a:pPr>
              <a:r>
                <a:rPr kumimoji="0" lang="en-US" sz="1000" b="1" i="0" u="none" strike="noStrike" kern="1200" cap="none" spc="0" normalizeH="0" baseline="0" noProof="0" dirty="0">
                  <a:ln>
                    <a:noFill/>
                  </a:ln>
                  <a:solidFill>
                    <a:srgbClr val="002050"/>
                  </a:solidFill>
                  <a:effectLst/>
                  <a:uLnTx/>
                  <a:uFillTx/>
                  <a:latin typeface="Segoe UI" charset="0"/>
                  <a:ea typeface="Segoe UI" charset="0"/>
                  <a:cs typeface="Segoe UI" charset="0"/>
                </a:rPr>
                <a:t>Analysts</a:t>
              </a:r>
            </a:p>
          </p:txBody>
        </p:sp>
        <p:sp>
          <p:nvSpPr>
            <p:cNvPr id="50" name="Freeform 46"/>
            <p:cNvSpPr/>
            <p:nvPr/>
          </p:nvSpPr>
          <p:spPr bwMode="auto">
            <a:xfrm flipV="1">
              <a:off x="6021507" y="417610"/>
              <a:ext cx="651508" cy="590043"/>
            </a:xfrm>
            <a:custGeom>
              <a:avLst/>
              <a:gdLst>
                <a:gd name="connsiteX0" fmla="*/ 402144 w 1232076"/>
                <a:gd name="connsiteY0" fmla="*/ 521164 h 1142536"/>
                <a:gd name="connsiteX1" fmla="*/ 403411 w 1232076"/>
                <a:gd name="connsiteY1" fmla="*/ 516536 h 1142536"/>
                <a:gd name="connsiteX2" fmla="*/ 407773 w 1232076"/>
                <a:gd name="connsiteY2" fmla="*/ 517761 h 1142536"/>
                <a:gd name="connsiteX3" fmla="*/ 412815 w 1232076"/>
                <a:gd name="connsiteY3" fmla="*/ 497941 h 1142536"/>
                <a:gd name="connsiteX4" fmla="*/ 418715 w 1232076"/>
                <a:gd name="connsiteY4" fmla="*/ 490944 h 1142536"/>
                <a:gd name="connsiteX5" fmla="*/ 612977 w 1232076"/>
                <a:gd name="connsiteY5" fmla="*/ 443543 h 1142536"/>
                <a:gd name="connsiteX6" fmla="*/ 823810 w 1232076"/>
                <a:gd name="connsiteY6" fmla="*/ 521164 h 1142536"/>
                <a:gd name="connsiteX7" fmla="*/ 823810 w 1232076"/>
                <a:gd name="connsiteY7" fmla="*/ 514694 h 1142536"/>
                <a:gd name="connsiteX8" fmla="*/ 824676 w 1232076"/>
                <a:gd name="connsiteY8" fmla="*/ 517763 h 1142536"/>
                <a:gd name="connsiteX9" fmla="*/ 1222430 w 1232076"/>
                <a:gd name="connsiteY9" fmla="*/ 78510 h 1142536"/>
                <a:gd name="connsiteX10" fmla="*/ 617947 w 1232076"/>
                <a:gd name="connsiteY10" fmla="*/ 10 h 1142536"/>
                <a:gd name="connsiteX11" fmla="*/ 10020 w 1232076"/>
                <a:gd name="connsiteY11" fmla="*/ 78510 h 1142536"/>
                <a:gd name="connsiteX12" fmla="*/ 322666 w 1232076"/>
                <a:gd name="connsiteY12" fmla="*/ 493847 h 1142536"/>
                <a:gd name="connsiteX13" fmla="*/ 402144 w 1232076"/>
                <a:gd name="connsiteY13" fmla="*/ 516180 h 1142536"/>
                <a:gd name="connsiteX14" fmla="*/ 616227 w 1232076"/>
                <a:gd name="connsiteY14" fmla="*/ 1142536 h 1142536"/>
                <a:gd name="connsiteX15" fmla="*/ 926921 w 1232076"/>
                <a:gd name="connsiteY15" fmla="*/ 843599 h 1142536"/>
                <a:gd name="connsiteX16" fmla="*/ 616227 w 1232076"/>
                <a:gd name="connsiteY16" fmla="*/ 544661 h 1142536"/>
                <a:gd name="connsiteX17" fmla="*/ 305533 w 1232076"/>
                <a:gd name="connsiteY17" fmla="*/ 843599 h 1142536"/>
                <a:gd name="connsiteX18" fmla="*/ 616227 w 1232076"/>
                <a:gd name="connsiteY18" fmla="*/ 1142536 h 114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2076" h="1142536">
                  <a:moveTo>
                    <a:pt x="402144" y="521164"/>
                  </a:moveTo>
                  <a:lnTo>
                    <a:pt x="403411" y="516536"/>
                  </a:lnTo>
                  <a:lnTo>
                    <a:pt x="407773" y="517761"/>
                  </a:lnTo>
                  <a:lnTo>
                    <a:pt x="412815" y="497941"/>
                  </a:lnTo>
                  <a:lnTo>
                    <a:pt x="418715" y="490944"/>
                  </a:lnTo>
                  <a:cubicBezTo>
                    <a:pt x="450725" y="463082"/>
                    <a:pt x="525661" y="443543"/>
                    <a:pt x="612977" y="443543"/>
                  </a:cubicBezTo>
                  <a:cubicBezTo>
                    <a:pt x="729399" y="443543"/>
                    <a:pt x="823810" y="478279"/>
                    <a:pt x="823810" y="521164"/>
                  </a:cubicBezTo>
                  <a:lnTo>
                    <a:pt x="823810" y="514694"/>
                  </a:lnTo>
                  <a:lnTo>
                    <a:pt x="824676" y="517763"/>
                  </a:lnTo>
                  <a:cubicBezTo>
                    <a:pt x="1313502" y="399970"/>
                    <a:pt x="1229206" y="105777"/>
                    <a:pt x="1222430" y="78510"/>
                  </a:cubicBezTo>
                  <a:cubicBezTo>
                    <a:pt x="1110624" y="37126"/>
                    <a:pt x="886318" y="-712"/>
                    <a:pt x="617947" y="10"/>
                  </a:cubicBezTo>
                  <a:cubicBezTo>
                    <a:pt x="349577" y="731"/>
                    <a:pt x="211656" y="38177"/>
                    <a:pt x="10020" y="78510"/>
                  </a:cubicBezTo>
                  <a:cubicBezTo>
                    <a:pt x="2859" y="115291"/>
                    <a:pt x="-70919" y="365639"/>
                    <a:pt x="322666" y="493847"/>
                  </a:cubicBezTo>
                  <a:lnTo>
                    <a:pt x="402144" y="516180"/>
                  </a:lnTo>
                  <a:close/>
                  <a:moveTo>
                    <a:pt x="616227" y="1142536"/>
                  </a:moveTo>
                  <a:cubicBezTo>
                    <a:pt x="787819" y="1142536"/>
                    <a:pt x="926921" y="1008697"/>
                    <a:pt x="926921" y="843599"/>
                  </a:cubicBezTo>
                  <a:cubicBezTo>
                    <a:pt x="926921" y="678501"/>
                    <a:pt x="787819" y="544661"/>
                    <a:pt x="616227" y="544661"/>
                  </a:cubicBezTo>
                  <a:cubicBezTo>
                    <a:pt x="444636" y="544661"/>
                    <a:pt x="305533" y="678501"/>
                    <a:pt x="305533" y="843599"/>
                  </a:cubicBezTo>
                  <a:cubicBezTo>
                    <a:pt x="305533" y="1008697"/>
                    <a:pt x="444636" y="1142536"/>
                    <a:pt x="616227" y="1142536"/>
                  </a:cubicBezTo>
                  <a:close/>
                </a:path>
              </a:pathLst>
            </a:custGeom>
            <a:solidFill>
              <a:srgbClr val="70C7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792687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6812280" y="1"/>
            <a:ext cx="5379719" cy="633256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2" name="Title 1"/>
          <p:cNvSpPr>
            <a:spLocks noGrp="1"/>
          </p:cNvSpPr>
          <p:nvPr>
            <p:ph type="title"/>
          </p:nvPr>
        </p:nvSpPr>
        <p:spPr>
          <a:xfrm>
            <a:off x="269240" y="289511"/>
            <a:ext cx="6941457" cy="899665"/>
          </a:xfrm>
        </p:spPr>
        <p:txBody>
          <a:bodyPr lIns="182880"/>
          <a:lstStyle/>
          <a:p>
            <a:r>
              <a:rPr lang="en-US" dirty="0"/>
              <a:t>Big Data is changing traditional data </a:t>
            </a:r>
            <a:br>
              <a:rPr lang="en-US" dirty="0"/>
            </a:br>
            <a:r>
              <a:rPr lang="en-US" dirty="0"/>
              <a:t>warehousing</a:t>
            </a:r>
          </a:p>
        </p:txBody>
      </p:sp>
      <p:sp>
        <p:nvSpPr>
          <p:cNvPr id="4" name="Rectangle 3"/>
          <p:cNvSpPr/>
          <p:nvPr/>
        </p:nvSpPr>
        <p:spPr bwMode="auto">
          <a:xfrm>
            <a:off x="624080" y="2662751"/>
            <a:ext cx="5484995" cy="2455928"/>
          </a:xfrm>
          <a:prstGeom prst="rect">
            <a:avLst/>
          </a:prstGeom>
          <a:noFill/>
          <a:ln w="38100" cap="flat" cmpd="sng" algn="ctr">
            <a:noFill/>
            <a:prstDash val="solid"/>
            <a:headEnd type="none" w="med" len="med"/>
            <a:tailEnd type="none" w="med" len="med"/>
          </a:ln>
          <a:effectLst/>
        </p:spPr>
        <p:txBody>
          <a:bodyPr vert="horz" wrap="square" lIns="182880" tIns="91440" rIns="179285" bIns="91440" numCol="1" rtlCol="0" anchor="t" anchorCtr="0" compatLnSpc="1">
            <a:prstTxWarp prst="textNoShape">
              <a:avLst/>
            </a:prstTxWarp>
          </a:bodyPr>
          <a:lstStyle/>
          <a:p>
            <a:pPr defTabSz="896091" fontAlgn="base">
              <a:spcAft>
                <a:spcPct val="0"/>
              </a:spcAft>
              <a:defRPr/>
            </a:pPr>
            <a:r>
              <a:rPr lang="en-US" sz="2400" kern="0" dirty="0">
                <a:solidFill>
                  <a:srgbClr val="0078D7"/>
                </a:solidFill>
                <a:latin typeface="Segoe UI" pitchFamily="34" charset="0"/>
                <a:ea typeface="Segoe UI" pitchFamily="34" charset="0"/>
                <a:cs typeface="Segoe UI" pitchFamily="34" charset="0"/>
              </a:rPr>
              <a:t>… data warehousing has reached the most significant tipping point since its inception. The biggest, possibly most elaborate data management system in IT is changing.  </a:t>
            </a:r>
          </a:p>
          <a:p>
            <a:pPr defTabSz="896091" fontAlgn="base">
              <a:spcAft>
                <a:spcPct val="0"/>
              </a:spcAft>
              <a:defRPr/>
            </a:pPr>
            <a:endParaRPr lang="en-US" sz="1600" b="1" kern="0" dirty="0">
              <a:solidFill>
                <a:srgbClr val="0078D7"/>
              </a:solidFill>
              <a:latin typeface="Segoe UI" pitchFamily="34" charset="0"/>
              <a:ea typeface="Segoe UI" pitchFamily="34" charset="0"/>
              <a:cs typeface="Segoe UI" pitchFamily="34" charset="0"/>
            </a:endParaRPr>
          </a:p>
          <a:p>
            <a:pPr defTabSz="896091" fontAlgn="base">
              <a:spcAft>
                <a:spcPct val="0"/>
              </a:spcAft>
              <a:defRPr/>
            </a:pPr>
            <a:r>
              <a:rPr lang="en-US" sz="1600" kern="0" dirty="0">
                <a:solidFill>
                  <a:srgbClr val="0078D7"/>
                </a:solidFill>
                <a:latin typeface="Segoe UI" pitchFamily="34" charset="0"/>
                <a:ea typeface="Segoe UI" pitchFamily="34" charset="0"/>
                <a:cs typeface="Segoe UI" pitchFamily="34" charset="0"/>
              </a:rPr>
              <a:t>– Gartner, “The State of Data Warehousing”*</a:t>
            </a:r>
          </a:p>
        </p:txBody>
      </p:sp>
      <p:sp>
        <p:nvSpPr>
          <p:cNvPr id="7" name="TextBox 6"/>
          <p:cNvSpPr txBox="1"/>
          <p:nvPr/>
        </p:nvSpPr>
        <p:spPr>
          <a:xfrm>
            <a:off x="0" y="5911939"/>
            <a:ext cx="8147713" cy="420115"/>
          </a:xfrm>
          <a:prstGeom prst="rect">
            <a:avLst/>
          </a:prstGeom>
          <a:noFill/>
        </p:spPr>
        <p:txBody>
          <a:bodyPr wrap="square" lIns="182880" tIns="146304" rIns="182880" bIns="146304" rtlCol="0">
            <a:spAutoFit/>
          </a:bodyPr>
          <a:lstStyle/>
          <a:p>
            <a:pPr>
              <a:lnSpc>
                <a:spcPct val="90000"/>
              </a:lnSpc>
              <a:spcAft>
                <a:spcPts val="600"/>
              </a:spcAft>
            </a:pPr>
            <a:r>
              <a:rPr lang="en-US" sz="800" dirty="0">
                <a:solidFill>
                  <a:schemeClr val="bg1"/>
                </a:solidFill>
              </a:rPr>
              <a:t>* Donald Feinberg, Mark Beyer, </a:t>
            </a:r>
            <a:r>
              <a:rPr lang="en-US" sz="800" dirty="0" err="1">
                <a:solidFill>
                  <a:schemeClr val="bg1"/>
                </a:solidFill>
              </a:rPr>
              <a:t>Merv</a:t>
            </a:r>
            <a:r>
              <a:rPr lang="en-US" sz="800" dirty="0">
                <a:solidFill>
                  <a:schemeClr val="bg1"/>
                </a:solidFill>
              </a:rPr>
              <a:t> Adrian, Roxane </a:t>
            </a:r>
            <a:r>
              <a:rPr lang="en-US" sz="800" dirty="0" err="1">
                <a:solidFill>
                  <a:schemeClr val="bg1"/>
                </a:solidFill>
              </a:rPr>
              <a:t>Edjlali</a:t>
            </a:r>
            <a:r>
              <a:rPr lang="en-US" sz="800" dirty="0">
                <a:solidFill>
                  <a:schemeClr val="bg1"/>
                </a:solidFill>
              </a:rPr>
              <a:t> (Gartner), The State of Data Warehousing in 2012 (Stamford, CT.: Gartner, 2012)</a:t>
            </a:r>
          </a:p>
        </p:txBody>
      </p:sp>
      <p:sp>
        <p:nvSpPr>
          <p:cNvPr id="33" name="Freeform 32"/>
          <p:cNvSpPr/>
          <p:nvPr/>
        </p:nvSpPr>
        <p:spPr bwMode="auto">
          <a:xfrm flipV="1">
            <a:off x="377850" y="2599796"/>
            <a:ext cx="304835" cy="200631"/>
          </a:xfrm>
          <a:custGeom>
            <a:avLst/>
            <a:gdLst/>
            <a:ahLst/>
            <a:cxnLst/>
            <a:rect l="l" t="t" r="r" b="b"/>
            <a:pathLst>
              <a:path w="670917" h="441573">
                <a:moveTo>
                  <a:pt x="629841" y="2567"/>
                </a:moveTo>
                <a:lnTo>
                  <a:pt x="629841" y="35086"/>
                </a:lnTo>
                <a:cubicBezTo>
                  <a:pt x="572220" y="68175"/>
                  <a:pt x="534281" y="97842"/>
                  <a:pt x="516024" y="124085"/>
                </a:cubicBezTo>
                <a:cubicBezTo>
                  <a:pt x="497768" y="150328"/>
                  <a:pt x="488640" y="181136"/>
                  <a:pt x="488640" y="216507"/>
                </a:cubicBezTo>
                <a:cubicBezTo>
                  <a:pt x="488640" y="232482"/>
                  <a:pt x="491778" y="244462"/>
                  <a:pt x="498053" y="252449"/>
                </a:cubicBezTo>
                <a:cubicBezTo>
                  <a:pt x="504329" y="260437"/>
                  <a:pt x="510890" y="264430"/>
                  <a:pt x="517736" y="264430"/>
                </a:cubicBezTo>
                <a:cubicBezTo>
                  <a:pt x="524012" y="264430"/>
                  <a:pt x="533425" y="262148"/>
                  <a:pt x="545976" y="257584"/>
                </a:cubicBezTo>
                <a:cubicBezTo>
                  <a:pt x="558527" y="253020"/>
                  <a:pt x="571078" y="250738"/>
                  <a:pt x="583630" y="250738"/>
                </a:cubicBezTo>
                <a:cubicBezTo>
                  <a:pt x="607020" y="250738"/>
                  <a:pt x="627416" y="259153"/>
                  <a:pt x="644817" y="275983"/>
                </a:cubicBezTo>
                <a:cubicBezTo>
                  <a:pt x="662217" y="292813"/>
                  <a:pt x="670917" y="313494"/>
                  <a:pt x="670917" y="338026"/>
                </a:cubicBezTo>
                <a:cubicBezTo>
                  <a:pt x="670917" y="365980"/>
                  <a:pt x="659935" y="390227"/>
                  <a:pt x="637971" y="410765"/>
                </a:cubicBezTo>
                <a:cubicBezTo>
                  <a:pt x="616006" y="431304"/>
                  <a:pt x="589049" y="441573"/>
                  <a:pt x="557101" y="441573"/>
                </a:cubicBezTo>
                <a:cubicBezTo>
                  <a:pt x="519448" y="441573"/>
                  <a:pt x="485502" y="425313"/>
                  <a:pt x="455265" y="392794"/>
                </a:cubicBezTo>
                <a:cubicBezTo>
                  <a:pt x="425029" y="360275"/>
                  <a:pt x="409910" y="319769"/>
                  <a:pt x="409910" y="271276"/>
                </a:cubicBezTo>
                <a:cubicBezTo>
                  <a:pt x="409910" y="211373"/>
                  <a:pt x="429022" y="156747"/>
                  <a:pt x="467246" y="107398"/>
                </a:cubicBezTo>
                <a:cubicBezTo>
                  <a:pt x="505470" y="58049"/>
                  <a:pt x="559668" y="23105"/>
                  <a:pt x="629841" y="2567"/>
                </a:cubicBezTo>
                <a:close/>
                <a:moveTo>
                  <a:pt x="221642" y="0"/>
                </a:moveTo>
                <a:lnTo>
                  <a:pt x="221642" y="35086"/>
                </a:lnTo>
                <a:cubicBezTo>
                  <a:pt x="171438" y="61329"/>
                  <a:pt x="135496" y="88714"/>
                  <a:pt x="113816" y="117239"/>
                </a:cubicBezTo>
                <a:cubicBezTo>
                  <a:pt x="92137" y="145764"/>
                  <a:pt x="81298" y="176857"/>
                  <a:pt x="81298" y="210517"/>
                </a:cubicBezTo>
                <a:cubicBezTo>
                  <a:pt x="81298" y="230485"/>
                  <a:pt x="84150" y="244177"/>
                  <a:pt x="89855" y="251594"/>
                </a:cubicBezTo>
                <a:cubicBezTo>
                  <a:pt x="94990" y="259581"/>
                  <a:pt x="101265" y="263574"/>
                  <a:pt x="108682" y="263574"/>
                </a:cubicBezTo>
                <a:cubicBezTo>
                  <a:pt x="116099" y="263574"/>
                  <a:pt x="126082" y="261435"/>
                  <a:pt x="138634" y="257156"/>
                </a:cubicBezTo>
                <a:cubicBezTo>
                  <a:pt x="151185" y="252877"/>
                  <a:pt x="162595" y="250738"/>
                  <a:pt x="172864" y="250738"/>
                </a:cubicBezTo>
                <a:cubicBezTo>
                  <a:pt x="196255" y="250738"/>
                  <a:pt x="216651" y="259438"/>
                  <a:pt x="234051" y="276839"/>
                </a:cubicBezTo>
                <a:cubicBezTo>
                  <a:pt x="251452" y="294239"/>
                  <a:pt x="260152" y="315491"/>
                  <a:pt x="260152" y="340593"/>
                </a:cubicBezTo>
                <a:cubicBezTo>
                  <a:pt x="260152" y="367977"/>
                  <a:pt x="249597" y="391511"/>
                  <a:pt x="228489" y="411193"/>
                </a:cubicBezTo>
                <a:cubicBezTo>
                  <a:pt x="207380" y="430876"/>
                  <a:pt x="181136" y="440717"/>
                  <a:pt x="149758" y="440717"/>
                </a:cubicBezTo>
                <a:cubicBezTo>
                  <a:pt x="111534" y="440717"/>
                  <a:pt x="77019" y="424172"/>
                  <a:pt x="46211" y="391083"/>
                </a:cubicBezTo>
                <a:cubicBezTo>
                  <a:pt x="15404" y="357993"/>
                  <a:pt x="0" y="317202"/>
                  <a:pt x="0" y="268709"/>
                </a:cubicBezTo>
                <a:cubicBezTo>
                  <a:pt x="0" y="211658"/>
                  <a:pt x="18970" y="158458"/>
                  <a:pt x="56908" y="109109"/>
                </a:cubicBezTo>
                <a:cubicBezTo>
                  <a:pt x="94847" y="59760"/>
                  <a:pt x="149758" y="23391"/>
                  <a:pt x="221642" y="0"/>
                </a:cubicBezTo>
                <a:close/>
              </a:path>
            </a:pathLst>
          </a:cu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5543835" y="4201061"/>
            <a:ext cx="304835" cy="200631"/>
          </a:xfrm>
          <a:custGeom>
            <a:avLst/>
            <a:gdLst>
              <a:gd name="connsiteX0" fmla="*/ 521159 w 670917"/>
              <a:gd name="connsiteY0" fmla="*/ 856 h 441573"/>
              <a:gd name="connsiteX1" fmla="*/ 624706 w 670917"/>
              <a:gd name="connsiteY1" fmla="*/ 50490 h 441573"/>
              <a:gd name="connsiteX2" fmla="*/ 670917 w 670917"/>
              <a:gd name="connsiteY2" fmla="*/ 172864 h 441573"/>
              <a:gd name="connsiteX3" fmla="*/ 614009 w 670917"/>
              <a:gd name="connsiteY3" fmla="*/ 332464 h 441573"/>
              <a:gd name="connsiteX4" fmla="*/ 449275 w 670917"/>
              <a:gd name="connsiteY4" fmla="*/ 441573 h 441573"/>
              <a:gd name="connsiteX5" fmla="*/ 449275 w 670917"/>
              <a:gd name="connsiteY5" fmla="*/ 406487 h 441573"/>
              <a:gd name="connsiteX6" fmla="*/ 557101 w 670917"/>
              <a:gd name="connsiteY6" fmla="*/ 324334 h 441573"/>
              <a:gd name="connsiteX7" fmla="*/ 589619 w 670917"/>
              <a:gd name="connsiteY7" fmla="*/ 231056 h 441573"/>
              <a:gd name="connsiteX8" fmla="*/ 581062 w 670917"/>
              <a:gd name="connsiteY8" fmla="*/ 189979 h 441573"/>
              <a:gd name="connsiteX9" fmla="*/ 562235 w 670917"/>
              <a:gd name="connsiteY9" fmla="*/ 177999 h 441573"/>
              <a:gd name="connsiteX10" fmla="*/ 532283 w 670917"/>
              <a:gd name="connsiteY10" fmla="*/ 184417 h 441573"/>
              <a:gd name="connsiteX11" fmla="*/ 498053 w 670917"/>
              <a:gd name="connsiteY11" fmla="*/ 190835 h 441573"/>
              <a:gd name="connsiteX12" fmla="*/ 436866 w 670917"/>
              <a:gd name="connsiteY12" fmla="*/ 164734 h 441573"/>
              <a:gd name="connsiteX13" fmla="*/ 410765 w 670917"/>
              <a:gd name="connsiteY13" fmla="*/ 100980 h 441573"/>
              <a:gd name="connsiteX14" fmla="*/ 442428 w 670917"/>
              <a:gd name="connsiteY14" fmla="*/ 30380 h 441573"/>
              <a:gd name="connsiteX15" fmla="*/ 521159 w 670917"/>
              <a:gd name="connsiteY15" fmla="*/ 856 h 441573"/>
              <a:gd name="connsiteX16" fmla="*/ 113816 w 670917"/>
              <a:gd name="connsiteY16" fmla="*/ 0 h 441573"/>
              <a:gd name="connsiteX17" fmla="*/ 215652 w 670917"/>
              <a:gd name="connsiteY17" fmla="*/ 48779 h 441573"/>
              <a:gd name="connsiteX18" fmla="*/ 261007 w 670917"/>
              <a:gd name="connsiteY18" fmla="*/ 170297 h 441573"/>
              <a:gd name="connsiteX19" fmla="*/ 203671 w 670917"/>
              <a:gd name="connsiteY19" fmla="*/ 334175 h 441573"/>
              <a:gd name="connsiteX20" fmla="*/ 41076 w 670917"/>
              <a:gd name="connsiteY20" fmla="*/ 439006 h 441573"/>
              <a:gd name="connsiteX21" fmla="*/ 41076 w 670917"/>
              <a:gd name="connsiteY21" fmla="*/ 406487 h 441573"/>
              <a:gd name="connsiteX22" fmla="*/ 154893 w 670917"/>
              <a:gd name="connsiteY22" fmla="*/ 317488 h 441573"/>
              <a:gd name="connsiteX23" fmla="*/ 182277 w 670917"/>
              <a:gd name="connsiteY23" fmla="*/ 225066 h 441573"/>
              <a:gd name="connsiteX24" fmla="*/ 172864 w 670917"/>
              <a:gd name="connsiteY24" fmla="*/ 189124 h 441573"/>
              <a:gd name="connsiteX25" fmla="*/ 153181 w 670917"/>
              <a:gd name="connsiteY25" fmla="*/ 177143 h 441573"/>
              <a:gd name="connsiteX26" fmla="*/ 124941 w 670917"/>
              <a:gd name="connsiteY26" fmla="*/ 183989 h 441573"/>
              <a:gd name="connsiteX27" fmla="*/ 87287 w 670917"/>
              <a:gd name="connsiteY27" fmla="*/ 190835 h 441573"/>
              <a:gd name="connsiteX28" fmla="*/ 26100 w 670917"/>
              <a:gd name="connsiteY28" fmla="*/ 165590 h 441573"/>
              <a:gd name="connsiteX29" fmla="*/ 0 w 670917"/>
              <a:gd name="connsiteY29" fmla="*/ 103547 h 441573"/>
              <a:gd name="connsiteX30" fmla="*/ 32946 w 670917"/>
              <a:gd name="connsiteY30" fmla="*/ 30808 h 441573"/>
              <a:gd name="connsiteX31" fmla="*/ 113816 w 670917"/>
              <a:gd name="connsiteY31" fmla="*/ 0 h 44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0917" h="441573">
                <a:moveTo>
                  <a:pt x="521159" y="856"/>
                </a:moveTo>
                <a:cubicBezTo>
                  <a:pt x="559383" y="856"/>
                  <a:pt x="593898" y="17401"/>
                  <a:pt x="624706" y="50490"/>
                </a:cubicBezTo>
                <a:cubicBezTo>
                  <a:pt x="655513" y="83580"/>
                  <a:pt x="670917" y="124371"/>
                  <a:pt x="670917" y="172864"/>
                </a:cubicBezTo>
                <a:cubicBezTo>
                  <a:pt x="670917" y="229915"/>
                  <a:pt x="651947" y="283115"/>
                  <a:pt x="614009" y="332464"/>
                </a:cubicBezTo>
                <a:cubicBezTo>
                  <a:pt x="576070" y="381813"/>
                  <a:pt x="521159" y="418182"/>
                  <a:pt x="449275" y="441573"/>
                </a:cubicBezTo>
                <a:lnTo>
                  <a:pt x="449275" y="406487"/>
                </a:lnTo>
                <a:cubicBezTo>
                  <a:pt x="499479" y="380244"/>
                  <a:pt x="535421" y="352859"/>
                  <a:pt x="557101" y="324334"/>
                </a:cubicBezTo>
                <a:cubicBezTo>
                  <a:pt x="578780" y="295809"/>
                  <a:pt x="589619" y="264716"/>
                  <a:pt x="589619" y="231056"/>
                </a:cubicBezTo>
                <a:cubicBezTo>
                  <a:pt x="589619" y="211088"/>
                  <a:pt x="586767" y="197396"/>
                  <a:pt x="581062" y="189979"/>
                </a:cubicBezTo>
                <a:cubicBezTo>
                  <a:pt x="575927" y="181992"/>
                  <a:pt x="569652" y="177999"/>
                  <a:pt x="562235" y="177999"/>
                </a:cubicBezTo>
                <a:cubicBezTo>
                  <a:pt x="554818" y="177999"/>
                  <a:pt x="544835" y="180138"/>
                  <a:pt x="532283" y="184417"/>
                </a:cubicBezTo>
                <a:cubicBezTo>
                  <a:pt x="519732" y="188696"/>
                  <a:pt x="508322" y="190835"/>
                  <a:pt x="498053" y="190835"/>
                </a:cubicBezTo>
                <a:cubicBezTo>
                  <a:pt x="474662" y="190835"/>
                  <a:pt x="454266" y="182135"/>
                  <a:pt x="436866" y="164734"/>
                </a:cubicBezTo>
                <a:cubicBezTo>
                  <a:pt x="419465" y="147334"/>
                  <a:pt x="410765" y="126082"/>
                  <a:pt x="410765" y="100980"/>
                </a:cubicBezTo>
                <a:cubicBezTo>
                  <a:pt x="410765" y="73596"/>
                  <a:pt x="421320" y="50062"/>
                  <a:pt x="442428" y="30380"/>
                </a:cubicBezTo>
                <a:cubicBezTo>
                  <a:pt x="463537" y="10697"/>
                  <a:pt x="489781" y="856"/>
                  <a:pt x="521159" y="856"/>
                </a:cubicBezTo>
                <a:close/>
                <a:moveTo>
                  <a:pt x="113816" y="0"/>
                </a:moveTo>
                <a:cubicBezTo>
                  <a:pt x="151469" y="0"/>
                  <a:pt x="185415" y="16260"/>
                  <a:pt x="215652" y="48779"/>
                </a:cubicBezTo>
                <a:cubicBezTo>
                  <a:pt x="245888" y="81298"/>
                  <a:pt x="261007" y="121804"/>
                  <a:pt x="261007" y="170297"/>
                </a:cubicBezTo>
                <a:cubicBezTo>
                  <a:pt x="261007" y="230200"/>
                  <a:pt x="241895" y="284826"/>
                  <a:pt x="203671" y="334175"/>
                </a:cubicBezTo>
                <a:cubicBezTo>
                  <a:pt x="165447" y="383524"/>
                  <a:pt x="111249" y="418468"/>
                  <a:pt x="41076" y="439006"/>
                </a:cubicBezTo>
                <a:lnTo>
                  <a:pt x="41076" y="406487"/>
                </a:lnTo>
                <a:cubicBezTo>
                  <a:pt x="98697" y="373398"/>
                  <a:pt x="136636" y="343731"/>
                  <a:pt x="154893" y="317488"/>
                </a:cubicBezTo>
                <a:cubicBezTo>
                  <a:pt x="173149" y="291245"/>
                  <a:pt x="182277" y="260437"/>
                  <a:pt x="182277" y="225066"/>
                </a:cubicBezTo>
                <a:cubicBezTo>
                  <a:pt x="182277" y="209091"/>
                  <a:pt x="179139" y="197111"/>
                  <a:pt x="172864" y="189124"/>
                </a:cubicBezTo>
                <a:cubicBezTo>
                  <a:pt x="166588" y="181136"/>
                  <a:pt x="160027" y="177143"/>
                  <a:pt x="153181" y="177143"/>
                </a:cubicBezTo>
                <a:cubicBezTo>
                  <a:pt x="146905" y="177143"/>
                  <a:pt x="137492" y="179425"/>
                  <a:pt x="124941" y="183989"/>
                </a:cubicBezTo>
                <a:cubicBezTo>
                  <a:pt x="112390" y="188553"/>
                  <a:pt x="99839" y="190835"/>
                  <a:pt x="87287" y="190835"/>
                </a:cubicBezTo>
                <a:cubicBezTo>
                  <a:pt x="63897" y="190835"/>
                  <a:pt x="43501" y="182420"/>
                  <a:pt x="26100" y="165590"/>
                </a:cubicBezTo>
                <a:cubicBezTo>
                  <a:pt x="8700" y="148760"/>
                  <a:pt x="0" y="128079"/>
                  <a:pt x="0" y="103547"/>
                </a:cubicBezTo>
                <a:cubicBezTo>
                  <a:pt x="0" y="75593"/>
                  <a:pt x="10982" y="51346"/>
                  <a:pt x="32946" y="30808"/>
                </a:cubicBezTo>
                <a:cubicBezTo>
                  <a:pt x="54911" y="10269"/>
                  <a:pt x="81868" y="0"/>
                  <a:pt x="113816" y="0"/>
                </a:cubicBezTo>
                <a:close/>
              </a:path>
            </a:pathLst>
          </a:cu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8" name="Straight Connector 37"/>
          <p:cNvCxnSpPr/>
          <p:nvPr/>
        </p:nvCxnSpPr>
        <p:spPr>
          <a:xfrm flipH="1">
            <a:off x="6812280" y="6332054"/>
            <a:ext cx="5379720"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301912" y="518140"/>
            <a:ext cx="2400454" cy="5296283"/>
            <a:chOff x="8301912" y="518140"/>
            <a:chExt cx="2400454" cy="5296283"/>
          </a:xfrm>
        </p:grpSpPr>
        <p:sp>
          <p:nvSpPr>
            <p:cNvPr id="42" name="Rectangle 41">
              <a:hlinkClick r:id="rId3" action="ppaction://hlinksldjump"/>
            </p:cNvPr>
            <p:cNvSpPr/>
            <p:nvPr/>
          </p:nvSpPr>
          <p:spPr bwMode="auto">
            <a:xfrm>
              <a:off x="8301912" y="518140"/>
              <a:ext cx="2400454" cy="3974835"/>
            </a:xfrm>
            <a:prstGeom prst="rect">
              <a:avLst/>
            </a:prstGeom>
            <a:noFill/>
            <a:ln w="12700" cap="flat" cmpd="sng" algn="ctr">
              <a:solidFill>
                <a:srgbClr val="00BCF2"/>
              </a:solidFill>
              <a:prstDash val="lgDash"/>
              <a:miter lim="800000"/>
              <a:headEnd type="none" w="med" len="med"/>
              <a:tailEnd type="none" w="med" len="med"/>
            </a:ln>
            <a:effectLst/>
          </p:spPr>
          <p:txBody>
            <a:bodyPr rot="0" spcFirstLastPara="0" vertOverflow="overflow" horzOverflow="overflow" vert="horz" wrap="square" lIns="179285" tIns="134464" rIns="179285" bIns="44821" numCol="1" spcCol="0" rtlCol="0" fromWordArt="0" anchor="t" anchorCtr="0" forceAA="0" compatLnSpc="1">
              <a:prstTxWarp prst="textNoShape">
                <a:avLst/>
              </a:prstTxWarp>
              <a:noAutofit/>
            </a:bodyPr>
            <a:lstStyle/>
            <a:p>
              <a:pPr defTabSz="761622" fontAlgn="base">
                <a:lnSpc>
                  <a:spcPct val="90000"/>
                </a:lnSpc>
                <a:spcBef>
                  <a:spcPct val="0"/>
                </a:spcBef>
                <a:spcAft>
                  <a:spcPct val="0"/>
                </a:spcAft>
                <a:defRPr/>
              </a:pPr>
              <a:endParaRPr lang="en-US" sz="1372" kern="0" dirty="0">
                <a:ln>
                  <a:solidFill>
                    <a:srgbClr val="FFFFFF">
                      <a:alpha val="0"/>
                    </a:srgbClr>
                  </a:solidFill>
                </a:ln>
                <a:latin typeface="Segoe UI Light"/>
              </a:endParaRPr>
            </a:p>
          </p:txBody>
        </p:sp>
        <p:grpSp>
          <p:nvGrpSpPr>
            <p:cNvPr id="163" name="Group 162"/>
            <p:cNvGrpSpPr/>
            <p:nvPr/>
          </p:nvGrpSpPr>
          <p:grpSpPr>
            <a:xfrm>
              <a:off x="8301912" y="4554444"/>
              <a:ext cx="2400454" cy="1259979"/>
              <a:chOff x="8389837" y="4364053"/>
              <a:chExt cx="2400454" cy="1259979"/>
            </a:xfrm>
          </p:grpSpPr>
          <p:sp>
            <p:nvSpPr>
              <p:cNvPr id="88" name="Rectangle 87">
                <a:hlinkClick r:id="rId3" action="ppaction://hlinksldjump"/>
              </p:cNvPr>
              <p:cNvSpPr/>
              <p:nvPr/>
            </p:nvSpPr>
            <p:spPr bwMode="auto">
              <a:xfrm>
                <a:off x="8389837" y="4364053"/>
                <a:ext cx="2400454" cy="1259979"/>
              </a:xfrm>
              <a:prstGeom prst="rect">
                <a:avLst/>
              </a:prstGeom>
              <a:solidFill>
                <a:schemeClr val="tx1"/>
              </a:solid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285" tIns="134464" rIns="179285" bIns="44821" numCol="1" spcCol="0" rtlCol="0" fromWordArt="0" anchor="t" anchorCtr="0" forceAA="0" compatLnSpc="1">
                <a:prstTxWarp prst="textNoShape">
                  <a:avLst/>
                </a:prstTxWarp>
                <a:noAutofit/>
              </a:bodyPr>
              <a:lstStyle/>
              <a:p>
                <a:pPr defTabSz="761622" fontAlgn="base">
                  <a:lnSpc>
                    <a:spcPct val="90000"/>
                  </a:lnSpc>
                  <a:spcBef>
                    <a:spcPct val="0"/>
                  </a:spcBef>
                  <a:spcAft>
                    <a:spcPct val="0"/>
                  </a:spcAft>
                  <a:defRPr/>
                </a:pPr>
                <a:endParaRPr lang="en-US" sz="1372" kern="0" dirty="0">
                  <a:ln>
                    <a:solidFill>
                      <a:srgbClr val="FFFFFF">
                        <a:alpha val="0"/>
                      </a:srgbClr>
                    </a:solidFill>
                  </a:ln>
                  <a:latin typeface="Segoe UI Light"/>
                </a:endParaRPr>
              </a:p>
            </p:txBody>
          </p:sp>
          <p:sp>
            <p:nvSpPr>
              <p:cNvPr id="44" name="TextBox 43"/>
              <p:cNvSpPr txBox="1"/>
              <p:nvPr/>
            </p:nvSpPr>
            <p:spPr>
              <a:xfrm>
                <a:off x="8413142" y="4400393"/>
                <a:ext cx="1223412" cy="307777"/>
              </a:xfrm>
              <a:prstGeom prst="rect">
                <a:avLst/>
              </a:prstGeom>
              <a:noFill/>
            </p:spPr>
            <p:txBody>
              <a:bodyPr wrap="none" rtlCol="0">
                <a:spAutoFit/>
              </a:bodyPr>
              <a:lstStyle/>
              <a:p>
                <a:r>
                  <a:rPr lang="en-US" sz="1400" dirty="0">
                    <a:solidFill>
                      <a:srgbClr val="0078D7"/>
                    </a:solidFill>
                    <a:latin typeface="Segoe UI Semibold" panose="020B0702040204020203" pitchFamily="34" charset="0"/>
                    <a:cs typeface="Segoe UI Semibold" panose="020B0702040204020203" pitchFamily="34" charset="0"/>
                  </a:rPr>
                  <a:t>Data sources</a:t>
                </a:r>
              </a:p>
            </p:txBody>
          </p:sp>
          <p:grpSp>
            <p:nvGrpSpPr>
              <p:cNvPr id="130" name="Group 129"/>
              <p:cNvGrpSpPr/>
              <p:nvPr/>
            </p:nvGrpSpPr>
            <p:grpSpPr>
              <a:xfrm>
                <a:off x="8648798" y="4863227"/>
                <a:ext cx="1874718" cy="609695"/>
                <a:chOff x="8589557" y="4794911"/>
                <a:chExt cx="1874718" cy="609695"/>
              </a:xfrm>
            </p:grpSpPr>
            <p:grpSp>
              <p:nvGrpSpPr>
                <p:cNvPr id="129" name="Group 128"/>
                <p:cNvGrpSpPr/>
                <p:nvPr/>
              </p:nvGrpSpPr>
              <p:grpSpPr>
                <a:xfrm>
                  <a:off x="8589557" y="4794911"/>
                  <a:ext cx="400677" cy="609695"/>
                  <a:chOff x="8738283" y="4794911"/>
                  <a:chExt cx="400677" cy="609695"/>
                </a:xfrm>
              </p:grpSpPr>
              <p:sp>
                <p:nvSpPr>
                  <p:cNvPr id="45" name="TextBox 44"/>
                  <p:cNvSpPr txBox="1"/>
                  <p:nvPr/>
                </p:nvSpPr>
                <p:spPr>
                  <a:xfrm>
                    <a:off x="8738283" y="5241741"/>
                    <a:ext cx="400677" cy="162865"/>
                  </a:xfrm>
                  <a:prstGeom prst="rect">
                    <a:avLst/>
                  </a:prstGeom>
                  <a:noFill/>
                </p:spPr>
                <p:txBody>
                  <a:bodyPr wrap="square" lIns="0" tIns="0" rIns="0" bIns="0" rtlCol="0">
                    <a:spAutoFit/>
                  </a:bodyPr>
                  <a:lstStyle/>
                  <a:p>
                    <a:pPr algn="ctr">
                      <a:lnSpc>
                        <a:spcPct val="90000"/>
                      </a:lnSpc>
                    </a:pPr>
                    <a:r>
                      <a:rPr lang="en-US" sz="1176" b="1" dirty="0">
                        <a:ln>
                          <a:solidFill>
                            <a:schemeClr val="bg1">
                              <a:alpha val="0"/>
                            </a:schemeClr>
                          </a:solidFill>
                        </a:ln>
                        <a:solidFill>
                          <a:srgbClr val="0078D7"/>
                        </a:solidFill>
                      </a:rPr>
                      <a:t>OLTP</a:t>
                    </a:r>
                  </a:p>
                </p:txBody>
              </p:sp>
              <p:sp>
                <p:nvSpPr>
                  <p:cNvPr id="87" name="Oval 86"/>
                  <p:cNvSpPr/>
                  <p:nvPr/>
                </p:nvSpPr>
                <p:spPr>
                  <a:xfrm>
                    <a:off x="8810626" y="4794911"/>
                    <a:ext cx="255992" cy="804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chemeClr val="tx1"/>
                      </a:solidFill>
                    </a:endParaRPr>
                  </a:p>
                </p:txBody>
              </p:sp>
            </p:grpSp>
            <p:sp>
              <p:nvSpPr>
                <p:cNvPr id="47" name="TextBox 46"/>
                <p:cNvSpPr txBox="1"/>
                <p:nvPr/>
              </p:nvSpPr>
              <p:spPr>
                <a:xfrm>
                  <a:off x="9157786" y="5241741"/>
                  <a:ext cx="293176" cy="162865"/>
                </a:xfrm>
                <a:prstGeom prst="rect">
                  <a:avLst/>
                </a:prstGeom>
                <a:noFill/>
              </p:spPr>
              <p:txBody>
                <a:bodyPr wrap="square" lIns="0" tIns="0" rIns="0" bIns="0" rtlCol="0">
                  <a:spAutoFit/>
                </a:bodyPr>
                <a:lstStyle/>
                <a:p>
                  <a:pPr algn="ctr">
                    <a:lnSpc>
                      <a:spcPct val="90000"/>
                    </a:lnSpc>
                  </a:pPr>
                  <a:r>
                    <a:rPr lang="en-US" sz="1176" b="1" dirty="0">
                      <a:ln>
                        <a:solidFill>
                          <a:schemeClr val="bg1">
                            <a:alpha val="0"/>
                          </a:schemeClr>
                        </a:solidFill>
                      </a:ln>
                      <a:solidFill>
                        <a:srgbClr val="0078D7"/>
                      </a:solidFill>
                    </a:rPr>
                    <a:t>ERP</a:t>
                  </a:r>
                </a:p>
              </p:txBody>
            </p:sp>
            <p:sp>
              <p:nvSpPr>
                <p:cNvPr id="116" name="Oval 115"/>
                <p:cNvSpPr/>
                <p:nvPr/>
              </p:nvSpPr>
              <p:spPr>
                <a:xfrm>
                  <a:off x="9176378" y="4794913"/>
                  <a:ext cx="255992" cy="804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chemeClr val="tx1"/>
                    </a:solidFill>
                  </a:endParaRPr>
                </a:p>
              </p:txBody>
            </p:sp>
            <p:grpSp>
              <p:nvGrpSpPr>
                <p:cNvPr id="126" name="Group 125"/>
                <p:cNvGrpSpPr/>
                <p:nvPr/>
              </p:nvGrpSpPr>
              <p:grpSpPr>
                <a:xfrm>
                  <a:off x="9618514" y="4794913"/>
                  <a:ext cx="381787" cy="609693"/>
                  <a:chOff x="9715989" y="4794913"/>
                  <a:chExt cx="381787" cy="609693"/>
                </a:xfrm>
              </p:grpSpPr>
              <p:sp>
                <p:nvSpPr>
                  <p:cNvPr id="49" name="TextBox 48"/>
                  <p:cNvSpPr txBox="1"/>
                  <p:nvPr/>
                </p:nvSpPr>
                <p:spPr>
                  <a:xfrm>
                    <a:off x="9715989" y="5241741"/>
                    <a:ext cx="381787" cy="162865"/>
                  </a:xfrm>
                  <a:prstGeom prst="rect">
                    <a:avLst/>
                  </a:prstGeom>
                  <a:noFill/>
                </p:spPr>
                <p:txBody>
                  <a:bodyPr wrap="square" lIns="0" tIns="0" rIns="0" bIns="0" rtlCol="0">
                    <a:spAutoFit/>
                  </a:bodyPr>
                  <a:lstStyle/>
                  <a:p>
                    <a:pPr algn="ctr">
                      <a:lnSpc>
                        <a:spcPct val="90000"/>
                      </a:lnSpc>
                    </a:pPr>
                    <a:r>
                      <a:rPr lang="en-US" sz="1176" b="1" dirty="0">
                        <a:ln>
                          <a:solidFill>
                            <a:schemeClr val="bg1">
                              <a:alpha val="0"/>
                            </a:schemeClr>
                          </a:solidFill>
                        </a:ln>
                        <a:solidFill>
                          <a:srgbClr val="0078D7"/>
                        </a:solidFill>
                      </a:rPr>
                      <a:t>CRM</a:t>
                    </a:r>
                  </a:p>
                </p:txBody>
              </p:sp>
              <p:sp>
                <p:nvSpPr>
                  <p:cNvPr id="119" name="Oval 118"/>
                  <p:cNvSpPr/>
                  <p:nvPr/>
                </p:nvSpPr>
                <p:spPr>
                  <a:xfrm>
                    <a:off x="9778886" y="4794913"/>
                    <a:ext cx="255992" cy="804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chemeClr val="tx1"/>
                      </a:solidFill>
                    </a:endParaRPr>
                  </a:p>
                </p:txBody>
              </p:sp>
            </p:grpSp>
            <p:grpSp>
              <p:nvGrpSpPr>
                <p:cNvPr id="127" name="Group 126"/>
                <p:cNvGrpSpPr/>
                <p:nvPr/>
              </p:nvGrpSpPr>
              <p:grpSpPr>
                <a:xfrm>
                  <a:off x="10164609" y="4794913"/>
                  <a:ext cx="299666" cy="581043"/>
                  <a:chOff x="10164609" y="4794913"/>
                  <a:chExt cx="299666" cy="581043"/>
                </a:xfrm>
              </p:grpSpPr>
              <p:sp>
                <p:nvSpPr>
                  <p:cNvPr id="51" name="TextBox 50"/>
                  <p:cNvSpPr txBox="1"/>
                  <p:nvPr/>
                </p:nvSpPr>
                <p:spPr>
                  <a:xfrm>
                    <a:off x="10164609" y="5241741"/>
                    <a:ext cx="299666" cy="134215"/>
                  </a:xfrm>
                  <a:prstGeom prst="rect">
                    <a:avLst/>
                  </a:prstGeom>
                  <a:noFill/>
                </p:spPr>
                <p:txBody>
                  <a:bodyPr wrap="square" lIns="0" tIns="0" rIns="0" bIns="0" rtlCol="0">
                    <a:noAutofit/>
                  </a:bodyPr>
                  <a:lstStyle/>
                  <a:p>
                    <a:pPr algn="ctr">
                      <a:lnSpc>
                        <a:spcPct val="90000"/>
                      </a:lnSpc>
                    </a:pPr>
                    <a:r>
                      <a:rPr lang="en-US" sz="1176" b="1" dirty="0">
                        <a:ln>
                          <a:solidFill>
                            <a:schemeClr val="bg1">
                              <a:alpha val="0"/>
                            </a:schemeClr>
                          </a:solidFill>
                        </a:ln>
                        <a:solidFill>
                          <a:srgbClr val="0078D7"/>
                        </a:solidFill>
                      </a:rPr>
                      <a:t>LOB</a:t>
                    </a:r>
                  </a:p>
                </p:txBody>
              </p:sp>
              <p:sp>
                <p:nvSpPr>
                  <p:cNvPr id="121" name="Oval 120"/>
                  <p:cNvSpPr/>
                  <p:nvPr/>
                </p:nvSpPr>
                <p:spPr>
                  <a:xfrm>
                    <a:off x="10186446" y="4794913"/>
                    <a:ext cx="255992" cy="804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chemeClr val="tx1"/>
                      </a:solidFill>
                    </a:endParaRPr>
                  </a:p>
                </p:txBody>
              </p:sp>
            </p:grpSp>
          </p:grpSp>
        </p:grpSp>
        <p:sp>
          <p:nvSpPr>
            <p:cNvPr id="68" name="Rectangle 67"/>
            <p:cNvSpPr/>
            <p:nvPr/>
          </p:nvSpPr>
          <p:spPr bwMode="auto">
            <a:xfrm>
              <a:off x="8512658" y="3133821"/>
              <a:ext cx="1978963" cy="1130595"/>
            </a:xfrm>
            <a:prstGeom prst="rect">
              <a:avLst/>
            </a:prstGeom>
            <a:noFill/>
            <a:ln w="12700">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89642" rIns="179234" bIns="143387" numCol="1" spcCol="0" rtlCol="0" fromWordArt="0" anchor="t" anchorCtr="0" forceAA="0" compatLnSpc="1">
              <a:prstTxWarp prst="textNoShape">
                <a:avLst/>
              </a:prstTxWarp>
              <a:noAutofit/>
            </a:bodyPr>
            <a:lstStyle/>
            <a:p>
              <a:pPr algn="ctr" defTabSz="761328" fontAlgn="base">
                <a:lnSpc>
                  <a:spcPct val="90000"/>
                </a:lnSpc>
                <a:spcBef>
                  <a:spcPct val="0"/>
                </a:spcBef>
                <a:spcAft>
                  <a:spcPct val="0"/>
                </a:spcAft>
              </a:pPr>
              <a:endParaRPr lang="en-US" sz="1961" dirty="0">
                <a:solidFill>
                  <a:schemeClr val="tx1"/>
                </a:solidFill>
              </a:endParaRPr>
            </a:p>
          </p:txBody>
        </p:sp>
        <p:sp>
          <p:nvSpPr>
            <p:cNvPr id="69" name="TextBox 68"/>
            <p:cNvSpPr txBox="1"/>
            <p:nvPr/>
          </p:nvSpPr>
          <p:spPr>
            <a:xfrm>
              <a:off x="8544176" y="3135956"/>
              <a:ext cx="466090" cy="307777"/>
            </a:xfrm>
            <a:prstGeom prst="rect">
              <a:avLst/>
            </a:prstGeom>
            <a:noFill/>
          </p:spPr>
          <p:txBody>
            <a:bodyPr wrap="none" rtlCol="0">
              <a:spAutoFit/>
            </a:bodyPr>
            <a:lstStyle/>
            <a:p>
              <a:r>
                <a:rPr lang="en-US" sz="1400" dirty="0">
                  <a:latin typeface="Segoe UI Semibold" panose="020B0702040204020203" pitchFamily="34" charset="0"/>
                  <a:cs typeface="Segoe UI Semibold" panose="020B0702040204020203" pitchFamily="34" charset="0"/>
                </a:rPr>
                <a:t>ETL</a:t>
              </a:r>
            </a:p>
          </p:txBody>
        </p:sp>
        <p:grpSp>
          <p:nvGrpSpPr>
            <p:cNvPr id="70" name="Group 69"/>
            <p:cNvGrpSpPr/>
            <p:nvPr/>
          </p:nvGrpSpPr>
          <p:grpSpPr>
            <a:xfrm>
              <a:off x="8726233" y="3492542"/>
              <a:ext cx="344848" cy="252177"/>
              <a:chOff x="3780165" y="2690677"/>
              <a:chExt cx="293046" cy="245360"/>
            </a:xfrm>
          </p:grpSpPr>
          <p:sp>
            <p:nvSpPr>
              <p:cNvPr id="79" name="Oval 78"/>
              <p:cNvSpPr/>
              <p:nvPr/>
            </p:nvSpPr>
            <p:spPr>
              <a:xfrm>
                <a:off x="3780165" y="2869651"/>
                <a:ext cx="198379" cy="66386"/>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chemeClr val="tx1"/>
                  </a:solidFill>
                </a:endParaRPr>
              </a:p>
            </p:txBody>
          </p:sp>
          <p:sp>
            <p:nvSpPr>
              <p:cNvPr id="77" name="Freeform 36"/>
              <p:cNvSpPr>
                <a:spLocks/>
              </p:cNvSpPr>
              <p:nvPr/>
            </p:nvSpPr>
            <p:spPr bwMode="auto">
              <a:xfrm rot="4500000">
                <a:off x="3837481" y="2688535"/>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chemeClr val="tx1"/>
              </a:solidFill>
              <a:ln w="9525">
                <a:noFill/>
                <a:round/>
                <a:headEnd/>
                <a:tailEnd/>
              </a:ln>
            </p:spPr>
            <p:txBody>
              <a:bodyPr vert="horz" wrap="square" lIns="89642" tIns="44821" rIns="89642" bIns="44821" numCol="1" anchor="t" anchorCtr="0" compatLnSpc="1">
                <a:prstTxWarp prst="textNoShape">
                  <a:avLst/>
                </a:prstTxWarp>
              </a:bodyPr>
              <a:lstStyle/>
              <a:p>
                <a:endParaRPr lang="en-US" sz="1765"/>
              </a:p>
            </p:txBody>
          </p:sp>
        </p:grpSp>
        <p:sp>
          <p:nvSpPr>
            <p:cNvPr id="63" name="Rectangle 62"/>
            <p:cNvSpPr/>
            <p:nvPr/>
          </p:nvSpPr>
          <p:spPr bwMode="auto">
            <a:xfrm>
              <a:off x="8512658" y="1941141"/>
              <a:ext cx="1978963" cy="1130595"/>
            </a:xfrm>
            <a:prstGeom prst="rect">
              <a:avLst/>
            </a:prstGeom>
            <a:solidFill>
              <a:srgbClr val="00BCF2"/>
            </a:solidFill>
            <a:ln w="12700">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89642" rIns="179234" bIns="143387" numCol="1" spcCol="0" rtlCol="0" fromWordArt="0" anchor="t" anchorCtr="0" forceAA="0" compatLnSpc="1">
              <a:prstTxWarp prst="textNoShape">
                <a:avLst/>
              </a:prstTxWarp>
              <a:noAutofit/>
            </a:bodyPr>
            <a:lstStyle/>
            <a:p>
              <a:pPr algn="ctr" defTabSz="761328" fontAlgn="base">
                <a:lnSpc>
                  <a:spcPct val="90000"/>
                </a:lnSpc>
                <a:spcBef>
                  <a:spcPct val="0"/>
                </a:spcBef>
                <a:spcAft>
                  <a:spcPct val="0"/>
                </a:spcAft>
              </a:pPr>
              <a:endParaRPr lang="en-US" sz="1961" dirty="0">
                <a:solidFill>
                  <a:schemeClr val="tx1"/>
                </a:solidFill>
              </a:endParaRPr>
            </a:p>
          </p:txBody>
        </p:sp>
        <p:sp>
          <p:nvSpPr>
            <p:cNvPr id="64" name="TextBox 63"/>
            <p:cNvSpPr txBox="1"/>
            <p:nvPr/>
          </p:nvSpPr>
          <p:spPr>
            <a:xfrm>
              <a:off x="8544176" y="1943276"/>
              <a:ext cx="1915096" cy="307777"/>
            </a:xfrm>
            <a:prstGeom prst="rect">
              <a:avLst/>
            </a:prstGeom>
            <a:noFill/>
          </p:spPr>
          <p:txBody>
            <a:bodyPr wrap="square" rtlCol="0">
              <a:spAutoFit/>
            </a:bodyPr>
            <a:lstStyle/>
            <a:p>
              <a:r>
                <a:rPr lang="en-US" sz="1400" dirty="0">
                  <a:latin typeface="Segoe UI Semibold" panose="020B0702040204020203" pitchFamily="34" charset="0"/>
                  <a:cs typeface="Segoe UI Semibold" panose="020B0702040204020203" pitchFamily="34" charset="0"/>
                </a:rPr>
                <a:t>Data warehouse</a:t>
              </a:r>
            </a:p>
          </p:txBody>
        </p:sp>
        <p:sp>
          <p:nvSpPr>
            <p:cNvPr id="57" name="Rectangle 56"/>
            <p:cNvSpPr/>
            <p:nvPr/>
          </p:nvSpPr>
          <p:spPr bwMode="auto">
            <a:xfrm>
              <a:off x="8512658" y="746699"/>
              <a:ext cx="1978963" cy="1130595"/>
            </a:xfrm>
            <a:prstGeom prst="rect">
              <a:avLst/>
            </a:prstGeom>
            <a:noFill/>
            <a:ln w="12700">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89642" rIns="179234" bIns="143387" numCol="1" spcCol="0" rtlCol="0" fromWordArt="0" anchor="t" anchorCtr="0" forceAA="0" compatLnSpc="1">
              <a:prstTxWarp prst="textNoShape">
                <a:avLst/>
              </a:prstTxWarp>
              <a:noAutofit/>
            </a:bodyPr>
            <a:lstStyle/>
            <a:p>
              <a:pPr algn="ctr" defTabSz="761328" fontAlgn="base">
                <a:lnSpc>
                  <a:spcPct val="90000"/>
                </a:lnSpc>
                <a:spcBef>
                  <a:spcPct val="0"/>
                </a:spcBef>
                <a:spcAft>
                  <a:spcPct val="0"/>
                </a:spcAft>
              </a:pPr>
              <a:endParaRPr lang="en-US" sz="1961" dirty="0">
                <a:solidFill>
                  <a:schemeClr val="tx1"/>
                </a:solidFill>
              </a:endParaRPr>
            </a:p>
          </p:txBody>
        </p:sp>
        <p:sp>
          <p:nvSpPr>
            <p:cNvPr id="58" name="TextBox 57"/>
            <p:cNvSpPr txBox="1"/>
            <p:nvPr/>
          </p:nvSpPr>
          <p:spPr>
            <a:xfrm>
              <a:off x="8544176" y="748834"/>
              <a:ext cx="1934578" cy="307777"/>
            </a:xfrm>
            <a:prstGeom prst="rect">
              <a:avLst/>
            </a:prstGeom>
            <a:noFill/>
          </p:spPr>
          <p:txBody>
            <a:bodyPr wrap="square" rtlCol="0">
              <a:spAutoFit/>
            </a:bodyPr>
            <a:lstStyle/>
            <a:p>
              <a:r>
                <a:rPr lang="en-US" sz="1400" dirty="0">
                  <a:latin typeface="Segoe UI Semibold" panose="020B0702040204020203" pitchFamily="34" charset="0"/>
                  <a:cs typeface="Segoe UI Semibold" panose="020B0702040204020203" pitchFamily="34" charset="0"/>
                </a:rPr>
                <a:t>BI and analytics</a:t>
              </a:r>
            </a:p>
          </p:txBody>
        </p:sp>
        <p:grpSp>
          <p:nvGrpSpPr>
            <p:cNvPr id="111" name="Group 110"/>
            <p:cNvGrpSpPr/>
            <p:nvPr/>
          </p:nvGrpSpPr>
          <p:grpSpPr>
            <a:xfrm>
              <a:off x="8699981" y="1151481"/>
              <a:ext cx="1622968" cy="667030"/>
              <a:chOff x="8750875" y="1117208"/>
              <a:chExt cx="1622968" cy="667030"/>
            </a:xfrm>
          </p:grpSpPr>
          <p:sp>
            <p:nvSpPr>
              <p:cNvPr id="60" name="TextBox 59"/>
              <p:cNvSpPr txBox="1"/>
              <p:nvPr/>
            </p:nvSpPr>
            <p:spPr>
              <a:xfrm>
                <a:off x="8750875" y="1631889"/>
                <a:ext cx="829661" cy="152349"/>
              </a:xfrm>
              <a:prstGeom prst="rect">
                <a:avLst/>
              </a:prstGeom>
              <a:noFill/>
            </p:spPr>
            <p:txBody>
              <a:bodyPr wrap="square" lIns="0" tIns="0" rIns="0" bIns="0" rtlCol="0">
                <a:spAutoFit/>
              </a:bodyPr>
              <a:lstStyle/>
              <a:p>
                <a:pPr algn="ctr">
                  <a:lnSpc>
                    <a:spcPct val="90000"/>
                  </a:lnSpc>
                </a:pPr>
                <a:r>
                  <a:rPr lang="en-US" sz="1100" dirty="0">
                    <a:ln>
                      <a:solidFill>
                        <a:schemeClr val="bg1">
                          <a:alpha val="0"/>
                        </a:schemeClr>
                      </a:solidFill>
                    </a:ln>
                  </a:rPr>
                  <a:t>Dashboards</a:t>
                </a:r>
              </a:p>
            </p:txBody>
          </p:sp>
          <p:sp>
            <p:nvSpPr>
              <p:cNvPr id="61" name="TextBox 60"/>
              <p:cNvSpPr txBox="1"/>
              <p:nvPr/>
            </p:nvSpPr>
            <p:spPr>
              <a:xfrm>
                <a:off x="9673950" y="1631889"/>
                <a:ext cx="699893" cy="152349"/>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a:r>
                  <a:rPr lang="en-US" sz="1100" dirty="0">
                    <a:solidFill>
                      <a:schemeClr val="tx1"/>
                    </a:solidFill>
                  </a:rPr>
                  <a:t>Reporting</a:t>
                </a:r>
              </a:p>
            </p:txBody>
          </p:sp>
          <p:sp>
            <p:nvSpPr>
              <p:cNvPr id="90" name="Freeform 89"/>
              <p:cNvSpPr/>
              <p:nvPr/>
            </p:nvSpPr>
            <p:spPr bwMode="auto">
              <a:xfrm>
                <a:off x="8796335" y="1117208"/>
                <a:ext cx="738741" cy="411410"/>
              </a:xfrm>
              <a:custGeom>
                <a:avLst/>
                <a:gdLst>
                  <a:gd name="connsiteX0" fmla="*/ 2096079 w 7733887"/>
                  <a:gd name="connsiteY0" fmla="*/ 2187091 h 4307055"/>
                  <a:gd name="connsiteX1" fmla="*/ 1264612 w 7733887"/>
                  <a:gd name="connsiteY1" fmla="*/ 2683653 h 4307055"/>
                  <a:gd name="connsiteX2" fmla="*/ 2186504 w 7733887"/>
                  <a:gd name="connsiteY2" fmla="*/ 3202380 h 4307055"/>
                  <a:gd name="connsiteX3" fmla="*/ 3022642 w 7733887"/>
                  <a:gd name="connsiteY3" fmla="*/ 2786729 h 4307055"/>
                  <a:gd name="connsiteX4" fmla="*/ 3053850 w 7733887"/>
                  <a:gd name="connsiteY4" fmla="*/ 2740060 h 4307055"/>
                  <a:gd name="connsiteX5" fmla="*/ 5873932 w 7733887"/>
                  <a:gd name="connsiteY5" fmla="*/ 1915322 h 4307055"/>
                  <a:gd name="connsiteX6" fmla="*/ 6409508 w 7733887"/>
                  <a:gd name="connsiteY6" fmla="*/ 2163071 h 4307055"/>
                  <a:gd name="connsiteX7" fmla="*/ 6409508 w 7733887"/>
                  <a:gd name="connsiteY7" fmla="*/ 2642487 h 4307055"/>
                  <a:gd name="connsiteX8" fmla="*/ 4646425 w 7733887"/>
                  <a:gd name="connsiteY8" fmla="*/ 2642487 h 4307055"/>
                  <a:gd name="connsiteX9" fmla="*/ 5055326 w 7733887"/>
                  <a:gd name="connsiteY9" fmla="*/ 2268019 h 4307055"/>
                  <a:gd name="connsiteX10" fmla="*/ 5425440 w 7733887"/>
                  <a:gd name="connsiteY10" fmla="*/ 2411710 h 4307055"/>
                  <a:gd name="connsiteX11" fmla="*/ 6409507 w 7733887"/>
                  <a:gd name="connsiteY11" fmla="*/ 1109173 h 4307055"/>
                  <a:gd name="connsiteX12" fmla="*/ 6409507 w 7733887"/>
                  <a:gd name="connsiteY12" fmla="*/ 1930743 h 4307055"/>
                  <a:gd name="connsiteX13" fmla="*/ 5839097 w 7733887"/>
                  <a:gd name="connsiteY13" fmla="*/ 1658419 h 4307055"/>
                  <a:gd name="connsiteX14" fmla="*/ 5399314 w 7733887"/>
                  <a:gd name="connsiteY14" fmla="*/ 2167870 h 4307055"/>
                  <a:gd name="connsiteX15" fmla="*/ 5020491 w 7733887"/>
                  <a:gd name="connsiteY15" fmla="*/ 2045950 h 4307055"/>
                  <a:gd name="connsiteX16" fmla="*/ 4615541 w 7733887"/>
                  <a:gd name="connsiteY16" fmla="*/ 2302660 h 4307055"/>
                  <a:gd name="connsiteX17" fmla="*/ 4615541 w 7733887"/>
                  <a:gd name="connsiteY17" fmla="*/ 1692763 h 4307055"/>
                  <a:gd name="connsiteX18" fmla="*/ 5142411 w 7733887"/>
                  <a:gd name="connsiteY18" fmla="*/ 1715025 h 4307055"/>
                  <a:gd name="connsiteX19" fmla="*/ 5412377 w 7733887"/>
                  <a:gd name="connsiteY19" fmla="*/ 1375390 h 4307055"/>
                  <a:gd name="connsiteX20" fmla="*/ 5904411 w 7733887"/>
                  <a:gd name="connsiteY20" fmla="*/ 1384099 h 4307055"/>
                  <a:gd name="connsiteX21" fmla="*/ 2177843 w 7733887"/>
                  <a:gd name="connsiteY21" fmla="*/ 1066233 h 4307055"/>
                  <a:gd name="connsiteX22" fmla="*/ 2177843 w 7733887"/>
                  <a:gd name="connsiteY22" fmla="*/ 2038210 h 4307055"/>
                  <a:gd name="connsiteX23" fmla="*/ 3135340 w 7733887"/>
                  <a:gd name="connsiteY23" fmla="*/ 2591021 h 4307055"/>
                  <a:gd name="connsiteX24" fmla="*/ 3167740 w 7733887"/>
                  <a:gd name="connsiteY24" fmla="*/ 2522735 h 4307055"/>
                  <a:gd name="connsiteX25" fmla="*/ 3095879 w 7733887"/>
                  <a:gd name="connsiteY25" fmla="*/ 1591752 h 4307055"/>
                  <a:gd name="connsiteX26" fmla="*/ 2177843 w 7733887"/>
                  <a:gd name="connsiteY26" fmla="*/ 1066233 h 4307055"/>
                  <a:gd name="connsiteX27" fmla="*/ 4114799 w 7733887"/>
                  <a:gd name="connsiteY27" fmla="*/ 992212 h 4307055"/>
                  <a:gd name="connsiteX28" fmla="*/ 4404363 w 7733887"/>
                  <a:gd name="connsiteY28" fmla="*/ 992212 h 4307055"/>
                  <a:gd name="connsiteX29" fmla="*/ 4404363 w 7733887"/>
                  <a:gd name="connsiteY29" fmla="*/ 2905926 h 4307055"/>
                  <a:gd name="connsiteX30" fmla="*/ 6396445 w 7733887"/>
                  <a:gd name="connsiteY30" fmla="*/ 2905926 h 4307055"/>
                  <a:gd name="connsiteX31" fmla="*/ 6396445 w 7733887"/>
                  <a:gd name="connsiteY31" fmla="*/ 3208544 h 4307055"/>
                  <a:gd name="connsiteX32" fmla="*/ 4114799 w 7733887"/>
                  <a:gd name="connsiteY32" fmla="*/ 3208544 h 4307055"/>
                  <a:gd name="connsiteX33" fmla="*/ 2179319 w 7733887"/>
                  <a:gd name="connsiteY33" fmla="*/ 935606 h 4307055"/>
                  <a:gd name="connsiteX34" fmla="*/ 3374571 w 7733887"/>
                  <a:gd name="connsiteY34" fmla="*/ 2130858 h 4307055"/>
                  <a:gd name="connsiteX35" fmla="*/ 2179319 w 7733887"/>
                  <a:gd name="connsiteY35" fmla="*/ 3326110 h 4307055"/>
                  <a:gd name="connsiteX36" fmla="*/ 984067 w 7733887"/>
                  <a:gd name="connsiteY36" fmla="*/ 2130858 h 4307055"/>
                  <a:gd name="connsiteX37" fmla="*/ 2179319 w 7733887"/>
                  <a:gd name="connsiteY37" fmla="*/ 935606 h 4307055"/>
                  <a:gd name="connsiteX38" fmla="*/ 593626 w 7733887"/>
                  <a:gd name="connsiteY38" fmla="*/ 413490 h 4307055"/>
                  <a:gd name="connsiteX39" fmla="*/ 361224 w 7733887"/>
                  <a:gd name="connsiteY39" fmla="*/ 645892 h 4307055"/>
                  <a:gd name="connsiteX40" fmla="*/ 361224 w 7733887"/>
                  <a:gd name="connsiteY40" fmla="*/ 3681640 h 4307055"/>
                  <a:gd name="connsiteX41" fmla="*/ 593626 w 7733887"/>
                  <a:gd name="connsiteY41" fmla="*/ 3914042 h 4307055"/>
                  <a:gd name="connsiteX42" fmla="*/ 7126407 w 7733887"/>
                  <a:gd name="connsiteY42" fmla="*/ 3914042 h 4307055"/>
                  <a:gd name="connsiteX43" fmla="*/ 7358809 w 7733887"/>
                  <a:gd name="connsiteY43" fmla="*/ 3681640 h 4307055"/>
                  <a:gd name="connsiteX44" fmla="*/ 7358809 w 7733887"/>
                  <a:gd name="connsiteY44" fmla="*/ 645892 h 4307055"/>
                  <a:gd name="connsiteX45" fmla="*/ 7126407 w 7733887"/>
                  <a:gd name="connsiteY45" fmla="*/ 413490 h 4307055"/>
                  <a:gd name="connsiteX46" fmla="*/ 285945 w 7733887"/>
                  <a:gd name="connsiteY46" fmla="*/ 0 h 4307055"/>
                  <a:gd name="connsiteX47" fmla="*/ 7447942 w 7733887"/>
                  <a:gd name="connsiteY47" fmla="*/ 0 h 4307055"/>
                  <a:gd name="connsiteX48" fmla="*/ 7733887 w 7733887"/>
                  <a:gd name="connsiteY48" fmla="*/ 285945 h 4307055"/>
                  <a:gd name="connsiteX49" fmla="*/ 7733887 w 7733887"/>
                  <a:gd name="connsiteY49" fmla="*/ 4021110 h 4307055"/>
                  <a:gd name="connsiteX50" fmla="*/ 7447942 w 7733887"/>
                  <a:gd name="connsiteY50" fmla="*/ 4307055 h 4307055"/>
                  <a:gd name="connsiteX51" fmla="*/ 285945 w 7733887"/>
                  <a:gd name="connsiteY51" fmla="*/ 4307055 h 4307055"/>
                  <a:gd name="connsiteX52" fmla="*/ 0 w 7733887"/>
                  <a:gd name="connsiteY52" fmla="*/ 4021110 h 4307055"/>
                  <a:gd name="connsiteX53" fmla="*/ 0 w 7733887"/>
                  <a:gd name="connsiteY53" fmla="*/ 285945 h 4307055"/>
                  <a:gd name="connsiteX54" fmla="*/ 285945 w 7733887"/>
                  <a:gd name="connsiteY54" fmla="*/ 0 h 430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733887" h="4307055">
                    <a:moveTo>
                      <a:pt x="2096079" y="2187091"/>
                    </a:moveTo>
                    <a:lnTo>
                      <a:pt x="1264612" y="2683653"/>
                    </a:lnTo>
                    <a:cubicBezTo>
                      <a:pt x="1458192" y="3007796"/>
                      <a:pt x="1808967" y="3205168"/>
                      <a:pt x="2186504" y="3202380"/>
                    </a:cubicBezTo>
                    <a:cubicBezTo>
                      <a:pt x="2516848" y="3199940"/>
                      <a:pt x="2824442" y="3044573"/>
                      <a:pt x="3022642" y="2786729"/>
                    </a:cubicBezTo>
                    <a:lnTo>
                      <a:pt x="3053850" y="2740060"/>
                    </a:lnTo>
                    <a:close/>
                    <a:moveTo>
                      <a:pt x="5873932" y="1915322"/>
                    </a:moveTo>
                    <a:lnTo>
                      <a:pt x="6409508" y="2163071"/>
                    </a:lnTo>
                    <a:lnTo>
                      <a:pt x="6409508" y="2642487"/>
                    </a:lnTo>
                    <a:lnTo>
                      <a:pt x="4646425" y="2642487"/>
                    </a:lnTo>
                    <a:lnTo>
                      <a:pt x="5055326" y="2268019"/>
                    </a:lnTo>
                    <a:lnTo>
                      <a:pt x="5425440" y="2411710"/>
                    </a:lnTo>
                    <a:close/>
                    <a:moveTo>
                      <a:pt x="6409507" y="1109173"/>
                    </a:moveTo>
                    <a:lnTo>
                      <a:pt x="6409507" y="1930743"/>
                    </a:lnTo>
                    <a:lnTo>
                      <a:pt x="5839097" y="1658419"/>
                    </a:lnTo>
                    <a:lnTo>
                      <a:pt x="5399314" y="2167870"/>
                    </a:lnTo>
                    <a:lnTo>
                      <a:pt x="5020491" y="2045950"/>
                    </a:lnTo>
                    <a:lnTo>
                      <a:pt x="4615541" y="2302660"/>
                    </a:lnTo>
                    <a:lnTo>
                      <a:pt x="4615541" y="1692763"/>
                    </a:lnTo>
                    <a:lnTo>
                      <a:pt x="5142411" y="1715025"/>
                    </a:lnTo>
                    <a:lnTo>
                      <a:pt x="5412377" y="1375390"/>
                    </a:lnTo>
                    <a:lnTo>
                      <a:pt x="5904411" y="1384099"/>
                    </a:lnTo>
                    <a:close/>
                    <a:moveTo>
                      <a:pt x="2177843" y="1066233"/>
                    </a:moveTo>
                    <a:lnTo>
                      <a:pt x="2177843" y="2038210"/>
                    </a:lnTo>
                    <a:lnTo>
                      <a:pt x="3135340" y="2591021"/>
                    </a:lnTo>
                    <a:lnTo>
                      <a:pt x="3167740" y="2522735"/>
                    </a:lnTo>
                    <a:cubicBezTo>
                      <a:pt x="3287488" y="2220365"/>
                      <a:pt x="3263164" y="1876619"/>
                      <a:pt x="3095879" y="1591752"/>
                    </a:cubicBezTo>
                    <a:cubicBezTo>
                      <a:pt x="2904697" y="1266190"/>
                      <a:pt x="2555390" y="1066233"/>
                      <a:pt x="2177843" y="1066233"/>
                    </a:cubicBezTo>
                    <a:close/>
                    <a:moveTo>
                      <a:pt x="4114799" y="992212"/>
                    </a:moveTo>
                    <a:lnTo>
                      <a:pt x="4404363" y="992212"/>
                    </a:lnTo>
                    <a:lnTo>
                      <a:pt x="4404363" y="2905926"/>
                    </a:lnTo>
                    <a:lnTo>
                      <a:pt x="6396445" y="2905926"/>
                    </a:lnTo>
                    <a:lnTo>
                      <a:pt x="6396445" y="3208544"/>
                    </a:lnTo>
                    <a:lnTo>
                      <a:pt x="4114799" y="3208544"/>
                    </a:lnTo>
                    <a:close/>
                    <a:moveTo>
                      <a:pt x="2179319" y="935606"/>
                    </a:moveTo>
                    <a:cubicBezTo>
                      <a:pt x="2839438" y="935606"/>
                      <a:pt x="3374571" y="1470739"/>
                      <a:pt x="3374571" y="2130858"/>
                    </a:cubicBezTo>
                    <a:cubicBezTo>
                      <a:pt x="3374571" y="2790977"/>
                      <a:pt x="2839438" y="3326110"/>
                      <a:pt x="2179319" y="3326110"/>
                    </a:cubicBezTo>
                    <a:cubicBezTo>
                      <a:pt x="1519200" y="3326110"/>
                      <a:pt x="984067" y="2790977"/>
                      <a:pt x="984067" y="2130858"/>
                    </a:cubicBezTo>
                    <a:cubicBezTo>
                      <a:pt x="984067" y="1470739"/>
                      <a:pt x="1519200" y="935606"/>
                      <a:pt x="2179319" y="935606"/>
                    </a:cubicBezTo>
                    <a:close/>
                    <a:moveTo>
                      <a:pt x="593626" y="413490"/>
                    </a:moveTo>
                    <a:cubicBezTo>
                      <a:pt x="465274" y="413490"/>
                      <a:pt x="361224" y="517540"/>
                      <a:pt x="361224" y="645892"/>
                    </a:cubicBezTo>
                    <a:lnTo>
                      <a:pt x="361224" y="3681640"/>
                    </a:lnTo>
                    <a:cubicBezTo>
                      <a:pt x="361224" y="3809992"/>
                      <a:pt x="465274" y="3914042"/>
                      <a:pt x="593626" y="3914042"/>
                    </a:cubicBezTo>
                    <a:lnTo>
                      <a:pt x="7126407" y="3914042"/>
                    </a:lnTo>
                    <a:cubicBezTo>
                      <a:pt x="7254759" y="3914042"/>
                      <a:pt x="7358809" y="3809992"/>
                      <a:pt x="7358809" y="3681640"/>
                    </a:cubicBezTo>
                    <a:lnTo>
                      <a:pt x="7358809" y="645892"/>
                    </a:lnTo>
                    <a:cubicBezTo>
                      <a:pt x="7358809" y="517540"/>
                      <a:pt x="7254759" y="413490"/>
                      <a:pt x="7126407" y="413490"/>
                    </a:cubicBezTo>
                    <a:close/>
                    <a:moveTo>
                      <a:pt x="285945" y="0"/>
                    </a:moveTo>
                    <a:lnTo>
                      <a:pt x="7447942" y="0"/>
                    </a:lnTo>
                    <a:cubicBezTo>
                      <a:pt x="7605865" y="0"/>
                      <a:pt x="7733887" y="128022"/>
                      <a:pt x="7733887" y="285945"/>
                    </a:cubicBezTo>
                    <a:lnTo>
                      <a:pt x="7733887" y="4021110"/>
                    </a:lnTo>
                    <a:cubicBezTo>
                      <a:pt x="7733887" y="4179033"/>
                      <a:pt x="7605865" y="4307055"/>
                      <a:pt x="7447942" y="4307055"/>
                    </a:cubicBezTo>
                    <a:lnTo>
                      <a:pt x="285945" y="4307055"/>
                    </a:lnTo>
                    <a:cubicBezTo>
                      <a:pt x="128022" y="4307055"/>
                      <a:pt x="0" y="4179033"/>
                      <a:pt x="0" y="4021110"/>
                    </a:cubicBezTo>
                    <a:lnTo>
                      <a:pt x="0" y="285945"/>
                    </a:lnTo>
                    <a:cubicBezTo>
                      <a:pt x="0" y="128022"/>
                      <a:pt x="128022" y="0"/>
                      <a:pt x="28594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tx1"/>
                  </a:solidFill>
                  <a:latin typeface="+mj-lt"/>
                  <a:ea typeface="Segoe UI" pitchFamily="34" charset="0"/>
                  <a:cs typeface="Segoe UI" pitchFamily="34" charset="0"/>
                </a:endParaRPr>
              </a:p>
            </p:txBody>
          </p:sp>
          <p:grpSp>
            <p:nvGrpSpPr>
              <p:cNvPr id="110" name="Group 109"/>
              <p:cNvGrpSpPr/>
              <p:nvPr/>
            </p:nvGrpSpPr>
            <p:grpSpPr>
              <a:xfrm>
                <a:off x="9828070" y="1117208"/>
                <a:ext cx="391652" cy="411410"/>
                <a:chOff x="11247618" y="2556573"/>
                <a:chExt cx="379069" cy="398192"/>
              </a:xfrm>
            </p:grpSpPr>
            <p:sp>
              <p:nvSpPr>
                <p:cNvPr id="93" name="Freeform 43"/>
                <p:cNvSpPr>
                  <a:spLocks/>
                </p:cNvSpPr>
                <p:nvPr/>
              </p:nvSpPr>
              <p:spPr bwMode="auto">
                <a:xfrm>
                  <a:off x="11301610" y="2611690"/>
                  <a:ext cx="325077" cy="343075"/>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44"/>
                <p:cNvSpPr>
                  <a:spLocks/>
                </p:cNvSpPr>
                <p:nvPr/>
              </p:nvSpPr>
              <p:spPr bwMode="auto">
                <a:xfrm>
                  <a:off x="11301610" y="2611690"/>
                  <a:ext cx="325077" cy="343075"/>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Freeform 45"/>
                <p:cNvSpPr>
                  <a:spLocks/>
                </p:cNvSpPr>
                <p:nvPr/>
              </p:nvSpPr>
              <p:spPr bwMode="auto">
                <a:xfrm>
                  <a:off x="11319607" y="2629687"/>
                  <a:ext cx="289082" cy="307080"/>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Freeform 46"/>
                <p:cNvSpPr>
                  <a:spLocks/>
                </p:cNvSpPr>
                <p:nvPr/>
              </p:nvSpPr>
              <p:spPr bwMode="auto">
                <a:xfrm>
                  <a:off x="11319607" y="2629687"/>
                  <a:ext cx="289082" cy="307080"/>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Freeform 47"/>
                <p:cNvSpPr>
                  <a:spLocks/>
                </p:cNvSpPr>
                <p:nvPr/>
              </p:nvSpPr>
              <p:spPr bwMode="auto">
                <a:xfrm>
                  <a:off x="11364601" y="2849030"/>
                  <a:ext cx="129356" cy="15748"/>
                </a:xfrm>
                <a:custGeom>
                  <a:avLst/>
                  <a:gdLst>
                    <a:gd name="T0" fmla="*/ 0 w 57"/>
                    <a:gd name="T1" fmla="*/ 3 h 7"/>
                    <a:gd name="T2" fmla="*/ 4 w 57"/>
                    <a:gd name="T3" fmla="*/ 0 h 7"/>
                    <a:gd name="T4" fmla="*/ 53 w 57"/>
                    <a:gd name="T5" fmla="*/ 0 h 7"/>
                    <a:gd name="T6" fmla="*/ 57 w 57"/>
                    <a:gd name="T7" fmla="*/ 3 h 7"/>
                    <a:gd name="T8" fmla="*/ 53 w 57"/>
                    <a:gd name="T9" fmla="*/ 7 h 7"/>
                    <a:gd name="T10" fmla="*/ 4 w 57"/>
                    <a:gd name="T11" fmla="*/ 7 h 7"/>
                    <a:gd name="T12" fmla="*/ 0 w 5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7" h="7">
                      <a:moveTo>
                        <a:pt x="0" y="3"/>
                      </a:moveTo>
                      <a:cubicBezTo>
                        <a:pt x="0" y="1"/>
                        <a:pt x="2" y="0"/>
                        <a:pt x="4" y="0"/>
                      </a:cubicBezTo>
                      <a:cubicBezTo>
                        <a:pt x="53" y="0"/>
                        <a:pt x="53" y="0"/>
                        <a:pt x="53" y="0"/>
                      </a:cubicBezTo>
                      <a:cubicBezTo>
                        <a:pt x="55" y="0"/>
                        <a:pt x="57" y="1"/>
                        <a:pt x="57" y="3"/>
                      </a:cubicBezTo>
                      <a:cubicBezTo>
                        <a:pt x="57" y="5"/>
                        <a:pt x="55" y="7"/>
                        <a:pt x="53" y="7"/>
                      </a:cubicBezTo>
                      <a:cubicBezTo>
                        <a:pt x="4" y="7"/>
                        <a:pt x="4" y="7"/>
                        <a:pt x="4" y="7"/>
                      </a:cubicBezTo>
                      <a:cubicBezTo>
                        <a:pt x="2" y="7"/>
                        <a:pt x="0" y="5"/>
                        <a:pt x="0" y="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Freeform 48"/>
                <p:cNvSpPr>
                  <a:spLocks/>
                </p:cNvSpPr>
                <p:nvPr/>
              </p:nvSpPr>
              <p:spPr bwMode="auto">
                <a:xfrm>
                  <a:off x="11364601" y="2791664"/>
                  <a:ext cx="201345" cy="15748"/>
                </a:xfrm>
                <a:custGeom>
                  <a:avLst/>
                  <a:gdLst>
                    <a:gd name="T0" fmla="*/ 0 w 89"/>
                    <a:gd name="T1" fmla="*/ 4 h 7"/>
                    <a:gd name="T2" fmla="*/ 4 w 89"/>
                    <a:gd name="T3" fmla="*/ 0 h 7"/>
                    <a:gd name="T4" fmla="*/ 86 w 89"/>
                    <a:gd name="T5" fmla="*/ 0 h 7"/>
                    <a:gd name="T6" fmla="*/ 89 w 89"/>
                    <a:gd name="T7" fmla="*/ 4 h 7"/>
                    <a:gd name="T8" fmla="*/ 86 w 89"/>
                    <a:gd name="T9" fmla="*/ 7 h 7"/>
                    <a:gd name="T10" fmla="*/ 4 w 89"/>
                    <a:gd name="T11" fmla="*/ 7 h 7"/>
                    <a:gd name="T12" fmla="*/ 0 w 89"/>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9" h="7">
                      <a:moveTo>
                        <a:pt x="0" y="4"/>
                      </a:moveTo>
                      <a:cubicBezTo>
                        <a:pt x="0" y="2"/>
                        <a:pt x="2" y="0"/>
                        <a:pt x="4" y="0"/>
                      </a:cubicBezTo>
                      <a:cubicBezTo>
                        <a:pt x="86" y="0"/>
                        <a:pt x="86" y="0"/>
                        <a:pt x="86" y="0"/>
                      </a:cubicBezTo>
                      <a:cubicBezTo>
                        <a:pt x="88" y="0"/>
                        <a:pt x="89" y="2"/>
                        <a:pt x="89" y="4"/>
                      </a:cubicBezTo>
                      <a:cubicBezTo>
                        <a:pt x="89" y="6"/>
                        <a:pt x="88" y="7"/>
                        <a:pt x="86" y="7"/>
                      </a:cubicBezTo>
                      <a:cubicBezTo>
                        <a:pt x="4" y="7"/>
                        <a:pt x="4" y="7"/>
                        <a:pt x="4" y="7"/>
                      </a:cubicBezTo>
                      <a:cubicBezTo>
                        <a:pt x="2" y="7"/>
                        <a:pt x="0" y="6"/>
                        <a:pt x="0"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49"/>
                <p:cNvSpPr>
                  <a:spLocks/>
                </p:cNvSpPr>
                <p:nvPr/>
              </p:nvSpPr>
              <p:spPr bwMode="auto">
                <a:xfrm>
                  <a:off x="11364601" y="2739921"/>
                  <a:ext cx="201345" cy="15748"/>
                </a:xfrm>
                <a:custGeom>
                  <a:avLst/>
                  <a:gdLst>
                    <a:gd name="T0" fmla="*/ 0 w 89"/>
                    <a:gd name="T1" fmla="*/ 3 h 7"/>
                    <a:gd name="T2" fmla="*/ 4 w 89"/>
                    <a:gd name="T3" fmla="*/ 0 h 7"/>
                    <a:gd name="T4" fmla="*/ 86 w 89"/>
                    <a:gd name="T5" fmla="*/ 0 h 7"/>
                    <a:gd name="T6" fmla="*/ 89 w 89"/>
                    <a:gd name="T7" fmla="*/ 3 h 7"/>
                    <a:gd name="T8" fmla="*/ 86 w 89"/>
                    <a:gd name="T9" fmla="*/ 7 h 7"/>
                    <a:gd name="T10" fmla="*/ 4 w 89"/>
                    <a:gd name="T11" fmla="*/ 7 h 7"/>
                    <a:gd name="T12" fmla="*/ 0 w 89"/>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89" h="7">
                      <a:moveTo>
                        <a:pt x="0" y="3"/>
                      </a:moveTo>
                      <a:cubicBezTo>
                        <a:pt x="0" y="1"/>
                        <a:pt x="2" y="0"/>
                        <a:pt x="4" y="0"/>
                      </a:cubicBezTo>
                      <a:cubicBezTo>
                        <a:pt x="86" y="0"/>
                        <a:pt x="86" y="0"/>
                        <a:pt x="86" y="0"/>
                      </a:cubicBezTo>
                      <a:cubicBezTo>
                        <a:pt x="88" y="0"/>
                        <a:pt x="89" y="1"/>
                        <a:pt x="89" y="3"/>
                      </a:cubicBezTo>
                      <a:cubicBezTo>
                        <a:pt x="89" y="5"/>
                        <a:pt x="88" y="7"/>
                        <a:pt x="86" y="7"/>
                      </a:cubicBezTo>
                      <a:cubicBezTo>
                        <a:pt x="4" y="7"/>
                        <a:pt x="4" y="7"/>
                        <a:pt x="4" y="7"/>
                      </a:cubicBezTo>
                      <a:cubicBezTo>
                        <a:pt x="2" y="7"/>
                        <a:pt x="0" y="5"/>
                        <a:pt x="0" y="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Rectangle 58"/>
                <p:cNvSpPr>
                  <a:spLocks noChangeArrowheads="1"/>
                </p:cNvSpPr>
                <p:nvPr/>
              </p:nvSpPr>
              <p:spPr bwMode="auto">
                <a:xfrm>
                  <a:off x="11265615" y="2556573"/>
                  <a:ext cx="262086" cy="55117"/>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Rectangle 59"/>
                <p:cNvSpPr>
                  <a:spLocks noChangeArrowheads="1"/>
                </p:cNvSpPr>
                <p:nvPr/>
              </p:nvSpPr>
              <p:spPr bwMode="auto">
                <a:xfrm>
                  <a:off x="11265615" y="2556573"/>
                  <a:ext cx="262086" cy="5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Rectangle 60"/>
                <p:cNvSpPr>
                  <a:spLocks noChangeArrowheads="1"/>
                </p:cNvSpPr>
                <p:nvPr/>
              </p:nvSpPr>
              <p:spPr bwMode="auto">
                <a:xfrm>
                  <a:off x="11247618" y="2556573"/>
                  <a:ext cx="53992" cy="344200"/>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5" name="Rectangle 61"/>
                <p:cNvSpPr>
                  <a:spLocks noChangeArrowheads="1"/>
                </p:cNvSpPr>
                <p:nvPr/>
              </p:nvSpPr>
              <p:spPr bwMode="auto">
                <a:xfrm>
                  <a:off x="11247618" y="2556573"/>
                  <a:ext cx="53992" cy="34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62"/>
                <p:cNvSpPr>
                  <a:spLocks noChangeArrowheads="1"/>
                </p:cNvSpPr>
                <p:nvPr/>
              </p:nvSpPr>
              <p:spPr bwMode="auto">
                <a:xfrm>
                  <a:off x="11301610" y="2574570"/>
                  <a:ext cx="208094" cy="371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Rectangle 63"/>
                <p:cNvSpPr>
                  <a:spLocks noChangeArrowheads="1"/>
                </p:cNvSpPr>
                <p:nvPr/>
              </p:nvSpPr>
              <p:spPr bwMode="auto">
                <a:xfrm>
                  <a:off x="11301610" y="2574570"/>
                  <a:ext cx="208094" cy="3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Freeform 64"/>
                <p:cNvSpPr>
                  <a:spLocks/>
                </p:cNvSpPr>
                <p:nvPr/>
              </p:nvSpPr>
              <p:spPr bwMode="auto">
                <a:xfrm>
                  <a:off x="11265615" y="2574570"/>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Freeform 65"/>
                <p:cNvSpPr>
                  <a:spLocks/>
                </p:cNvSpPr>
                <p:nvPr/>
              </p:nvSpPr>
              <p:spPr bwMode="auto">
                <a:xfrm>
                  <a:off x="11265615" y="2574570"/>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60" name="Group 159"/>
            <p:cNvGrpSpPr/>
            <p:nvPr/>
          </p:nvGrpSpPr>
          <p:grpSpPr>
            <a:xfrm>
              <a:off x="9638849" y="3742327"/>
              <a:ext cx="291837" cy="156336"/>
              <a:chOff x="9733373" y="3713562"/>
              <a:chExt cx="291837" cy="156336"/>
            </a:xfrm>
          </p:grpSpPr>
          <p:sp>
            <p:nvSpPr>
              <p:cNvPr id="74" name="Freeform 26"/>
              <p:cNvSpPr>
                <a:spLocks/>
              </p:cNvSpPr>
              <p:nvPr/>
            </p:nvSpPr>
            <p:spPr bwMode="auto">
              <a:xfrm>
                <a:off x="9928683" y="3718028"/>
                <a:ext cx="96527" cy="151870"/>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175"/>
                <a:endParaRPr lang="en-US" sz="1667"/>
              </a:p>
            </p:txBody>
          </p:sp>
          <p:sp>
            <p:nvSpPr>
              <p:cNvPr id="75" name="Freeform 26"/>
              <p:cNvSpPr>
                <a:spLocks/>
              </p:cNvSpPr>
              <p:nvPr/>
            </p:nvSpPr>
            <p:spPr bwMode="auto">
              <a:xfrm flipH="1">
                <a:off x="9733373" y="3713562"/>
                <a:ext cx="96527" cy="151870"/>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175"/>
                <a:endParaRPr lang="en-US" sz="1667"/>
              </a:p>
            </p:txBody>
          </p:sp>
        </p:grpSp>
        <p:grpSp>
          <p:nvGrpSpPr>
            <p:cNvPr id="151" name="Group 150"/>
            <p:cNvGrpSpPr/>
            <p:nvPr/>
          </p:nvGrpSpPr>
          <p:grpSpPr>
            <a:xfrm>
              <a:off x="9251369" y="3645497"/>
              <a:ext cx="335868" cy="354463"/>
              <a:chOff x="8437721" y="-758222"/>
              <a:chExt cx="335868" cy="354463"/>
            </a:xfrm>
          </p:grpSpPr>
          <p:sp>
            <p:nvSpPr>
              <p:cNvPr id="136" name="Freeform 43"/>
              <p:cNvSpPr>
                <a:spLocks/>
              </p:cNvSpPr>
              <p:nvPr/>
            </p:nvSpPr>
            <p:spPr bwMode="auto">
              <a:xfrm>
                <a:off x="8437721" y="-758222"/>
                <a:ext cx="335868" cy="354463"/>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Freeform 44"/>
              <p:cNvSpPr>
                <a:spLocks/>
              </p:cNvSpPr>
              <p:nvPr/>
            </p:nvSpPr>
            <p:spPr bwMode="auto">
              <a:xfrm>
                <a:off x="8437721" y="-758222"/>
                <a:ext cx="335868" cy="354463"/>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 name="Freeform 45"/>
              <p:cNvSpPr>
                <a:spLocks/>
              </p:cNvSpPr>
              <p:nvPr/>
            </p:nvSpPr>
            <p:spPr bwMode="auto">
              <a:xfrm>
                <a:off x="8456316" y="-739628"/>
                <a:ext cx="298678" cy="317274"/>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 name="Freeform 46"/>
              <p:cNvSpPr>
                <a:spLocks/>
              </p:cNvSpPr>
              <p:nvPr/>
            </p:nvSpPr>
            <p:spPr bwMode="auto">
              <a:xfrm>
                <a:off x="8456316" y="-739628"/>
                <a:ext cx="298678" cy="317274"/>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Freeform 47"/>
              <p:cNvSpPr>
                <a:spLocks/>
              </p:cNvSpPr>
              <p:nvPr/>
            </p:nvSpPr>
            <p:spPr bwMode="auto">
              <a:xfrm>
                <a:off x="8502803" y="-513004"/>
                <a:ext cx="133650" cy="16271"/>
              </a:xfrm>
              <a:custGeom>
                <a:avLst/>
                <a:gdLst>
                  <a:gd name="T0" fmla="*/ 0 w 57"/>
                  <a:gd name="T1" fmla="*/ 3 h 7"/>
                  <a:gd name="T2" fmla="*/ 4 w 57"/>
                  <a:gd name="T3" fmla="*/ 0 h 7"/>
                  <a:gd name="T4" fmla="*/ 53 w 57"/>
                  <a:gd name="T5" fmla="*/ 0 h 7"/>
                  <a:gd name="T6" fmla="*/ 57 w 57"/>
                  <a:gd name="T7" fmla="*/ 3 h 7"/>
                  <a:gd name="T8" fmla="*/ 53 w 57"/>
                  <a:gd name="T9" fmla="*/ 7 h 7"/>
                  <a:gd name="T10" fmla="*/ 4 w 57"/>
                  <a:gd name="T11" fmla="*/ 7 h 7"/>
                  <a:gd name="T12" fmla="*/ 0 w 5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7" h="7">
                    <a:moveTo>
                      <a:pt x="0" y="3"/>
                    </a:moveTo>
                    <a:cubicBezTo>
                      <a:pt x="0" y="1"/>
                      <a:pt x="2" y="0"/>
                      <a:pt x="4" y="0"/>
                    </a:cubicBezTo>
                    <a:cubicBezTo>
                      <a:pt x="53" y="0"/>
                      <a:pt x="53" y="0"/>
                      <a:pt x="53" y="0"/>
                    </a:cubicBezTo>
                    <a:cubicBezTo>
                      <a:pt x="55" y="0"/>
                      <a:pt x="57" y="1"/>
                      <a:pt x="57" y="3"/>
                    </a:cubicBezTo>
                    <a:cubicBezTo>
                      <a:pt x="57" y="5"/>
                      <a:pt x="55" y="7"/>
                      <a:pt x="53" y="7"/>
                    </a:cubicBezTo>
                    <a:cubicBezTo>
                      <a:pt x="4" y="7"/>
                      <a:pt x="4" y="7"/>
                      <a:pt x="4" y="7"/>
                    </a:cubicBezTo>
                    <a:cubicBezTo>
                      <a:pt x="2" y="7"/>
                      <a:pt x="0" y="5"/>
                      <a:pt x="0" y="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 name="Freeform 48"/>
              <p:cNvSpPr>
                <a:spLocks/>
              </p:cNvSpPr>
              <p:nvPr/>
            </p:nvSpPr>
            <p:spPr bwMode="auto">
              <a:xfrm>
                <a:off x="8502803" y="-572274"/>
                <a:ext cx="208029" cy="16271"/>
              </a:xfrm>
              <a:custGeom>
                <a:avLst/>
                <a:gdLst>
                  <a:gd name="T0" fmla="*/ 0 w 89"/>
                  <a:gd name="T1" fmla="*/ 4 h 7"/>
                  <a:gd name="T2" fmla="*/ 4 w 89"/>
                  <a:gd name="T3" fmla="*/ 0 h 7"/>
                  <a:gd name="T4" fmla="*/ 86 w 89"/>
                  <a:gd name="T5" fmla="*/ 0 h 7"/>
                  <a:gd name="T6" fmla="*/ 89 w 89"/>
                  <a:gd name="T7" fmla="*/ 4 h 7"/>
                  <a:gd name="T8" fmla="*/ 86 w 89"/>
                  <a:gd name="T9" fmla="*/ 7 h 7"/>
                  <a:gd name="T10" fmla="*/ 4 w 89"/>
                  <a:gd name="T11" fmla="*/ 7 h 7"/>
                  <a:gd name="T12" fmla="*/ 0 w 89"/>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9" h="7">
                    <a:moveTo>
                      <a:pt x="0" y="4"/>
                    </a:moveTo>
                    <a:cubicBezTo>
                      <a:pt x="0" y="2"/>
                      <a:pt x="2" y="0"/>
                      <a:pt x="4" y="0"/>
                    </a:cubicBezTo>
                    <a:cubicBezTo>
                      <a:pt x="86" y="0"/>
                      <a:pt x="86" y="0"/>
                      <a:pt x="86" y="0"/>
                    </a:cubicBezTo>
                    <a:cubicBezTo>
                      <a:pt x="88" y="0"/>
                      <a:pt x="89" y="2"/>
                      <a:pt x="89" y="4"/>
                    </a:cubicBezTo>
                    <a:cubicBezTo>
                      <a:pt x="89" y="6"/>
                      <a:pt x="88" y="7"/>
                      <a:pt x="86" y="7"/>
                    </a:cubicBezTo>
                    <a:cubicBezTo>
                      <a:pt x="4" y="7"/>
                      <a:pt x="4" y="7"/>
                      <a:pt x="4" y="7"/>
                    </a:cubicBezTo>
                    <a:cubicBezTo>
                      <a:pt x="2" y="7"/>
                      <a:pt x="0" y="6"/>
                      <a:pt x="0"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 name="Freeform 49"/>
              <p:cNvSpPr>
                <a:spLocks/>
              </p:cNvSpPr>
              <p:nvPr/>
            </p:nvSpPr>
            <p:spPr bwMode="auto">
              <a:xfrm>
                <a:off x="8502803" y="-625735"/>
                <a:ext cx="208029" cy="16271"/>
              </a:xfrm>
              <a:custGeom>
                <a:avLst/>
                <a:gdLst>
                  <a:gd name="T0" fmla="*/ 0 w 89"/>
                  <a:gd name="T1" fmla="*/ 3 h 7"/>
                  <a:gd name="T2" fmla="*/ 4 w 89"/>
                  <a:gd name="T3" fmla="*/ 0 h 7"/>
                  <a:gd name="T4" fmla="*/ 86 w 89"/>
                  <a:gd name="T5" fmla="*/ 0 h 7"/>
                  <a:gd name="T6" fmla="*/ 89 w 89"/>
                  <a:gd name="T7" fmla="*/ 3 h 7"/>
                  <a:gd name="T8" fmla="*/ 86 w 89"/>
                  <a:gd name="T9" fmla="*/ 7 h 7"/>
                  <a:gd name="T10" fmla="*/ 4 w 89"/>
                  <a:gd name="T11" fmla="*/ 7 h 7"/>
                  <a:gd name="T12" fmla="*/ 0 w 89"/>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89" h="7">
                    <a:moveTo>
                      <a:pt x="0" y="3"/>
                    </a:moveTo>
                    <a:cubicBezTo>
                      <a:pt x="0" y="1"/>
                      <a:pt x="2" y="0"/>
                      <a:pt x="4" y="0"/>
                    </a:cubicBezTo>
                    <a:cubicBezTo>
                      <a:pt x="86" y="0"/>
                      <a:pt x="86" y="0"/>
                      <a:pt x="86" y="0"/>
                    </a:cubicBezTo>
                    <a:cubicBezTo>
                      <a:pt x="88" y="0"/>
                      <a:pt x="89" y="1"/>
                      <a:pt x="89" y="3"/>
                    </a:cubicBezTo>
                    <a:cubicBezTo>
                      <a:pt x="89" y="5"/>
                      <a:pt x="88" y="7"/>
                      <a:pt x="86" y="7"/>
                    </a:cubicBezTo>
                    <a:cubicBezTo>
                      <a:pt x="4" y="7"/>
                      <a:pt x="4" y="7"/>
                      <a:pt x="4" y="7"/>
                    </a:cubicBezTo>
                    <a:cubicBezTo>
                      <a:pt x="2" y="7"/>
                      <a:pt x="0" y="5"/>
                      <a:pt x="0" y="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52" name="Group 151"/>
            <p:cNvGrpSpPr/>
            <p:nvPr/>
          </p:nvGrpSpPr>
          <p:grpSpPr>
            <a:xfrm>
              <a:off x="9982299" y="3645497"/>
              <a:ext cx="335868" cy="354463"/>
              <a:chOff x="8437721" y="-758222"/>
              <a:chExt cx="335868" cy="354463"/>
            </a:xfrm>
          </p:grpSpPr>
          <p:sp>
            <p:nvSpPr>
              <p:cNvPr id="153" name="Freeform 43"/>
              <p:cNvSpPr>
                <a:spLocks/>
              </p:cNvSpPr>
              <p:nvPr/>
            </p:nvSpPr>
            <p:spPr bwMode="auto">
              <a:xfrm>
                <a:off x="8437721" y="-758222"/>
                <a:ext cx="335868" cy="354463"/>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Freeform 44"/>
              <p:cNvSpPr>
                <a:spLocks/>
              </p:cNvSpPr>
              <p:nvPr/>
            </p:nvSpPr>
            <p:spPr bwMode="auto">
              <a:xfrm>
                <a:off x="8437721" y="-758222"/>
                <a:ext cx="335868" cy="354463"/>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Freeform 45"/>
              <p:cNvSpPr>
                <a:spLocks/>
              </p:cNvSpPr>
              <p:nvPr/>
            </p:nvSpPr>
            <p:spPr bwMode="auto">
              <a:xfrm>
                <a:off x="8456316" y="-739628"/>
                <a:ext cx="298678" cy="317274"/>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 name="Freeform 46"/>
              <p:cNvSpPr>
                <a:spLocks/>
              </p:cNvSpPr>
              <p:nvPr/>
            </p:nvSpPr>
            <p:spPr bwMode="auto">
              <a:xfrm>
                <a:off x="8456316" y="-739628"/>
                <a:ext cx="298678" cy="317274"/>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 name="Freeform 47"/>
              <p:cNvSpPr>
                <a:spLocks/>
              </p:cNvSpPr>
              <p:nvPr/>
            </p:nvSpPr>
            <p:spPr bwMode="auto">
              <a:xfrm>
                <a:off x="8502803" y="-513004"/>
                <a:ext cx="133650" cy="16271"/>
              </a:xfrm>
              <a:custGeom>
                <a:avLst/>
                <a:gdLst>
                  <a:gd name="T0" fmla="*/ 0 w 57"/>
                  <a:gd name="T1" fmla="*/ 3 h 7"/>
                  <a:gd name="T2" fmla="*/ 4 w 57"/>
                  <a:gd name="T3" fmla="*/ 0 h 7"/>
                  <a:gd name="T4" fmla="*/ 53 w 57"/>
                  <a:gd name="T5" fmla="*/ 0 h 7"/>
                  <a:gd name="T6" fmla="*/ 57 w 57"/>
                  <a:gd name="T7" fmla="*/ 3 h 7"/>
                  <a:gd name="T8" fmla="*/ 53 w 57"/>
                  <a:gd name="T9" fmla="*/ 7 h 7"/>
                  <a:gd name="T10" fmla="*/ 4 w 57"/>
                  <a:gd name="T11" fmla="*/ 7 h 7"/>
                  <a:gd name="T12" fmla="*/ 0 w 5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7" h="7">
                    <a:moveTo>
                      <a:pt x="0" y="3"/>
                    </a:moveTo>
                    <a:cubicBezTo>
                      <a:pt x="0" y="1"/>
                      <a:pt x="2" y="0"/>
                      <a:pt x="4" y="0"/>
                    </a:cubicBezTo>
                    <a:cubicBezTo>
                      <a:pt x="53" y="0"/>
                      <a:pt x="53" y="0"/>
                      <a:pt x="53" y="0"/>
                    </a:cubicBezTo>
                    <a:cubicBezTo>
                      <a:pt x="55" y="0"/>
                      <a:pt x="57" y="1"/>
                      <a:pt x="57" y="3"/>
                    </a:cubicBezTo>
                    <a:cubicBezTo>
                      <a:pt x="57" y="5"/>
                      <a:pt x="55" y="7"/>
                      <a:pt x="53" y="7"/>
                    </a:cubicBezTo>
                    <a:cubicBezTo>
                      <a:pt x="4" y="7"/>
                      <a:pt x="4" y="7"/>
                      <a:pt x="4" y="7"/>
                    </a:cubicBezTo>
                    <a:cubicBezTo>
                      <a:pt x="2" y="7"/>
                      <a:pt x="0" y="5"/>
                      <a:pt x="0" y="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 name="Freeform 48"/>
              <p:cNvSpPr>
                <a:spLocks/>
              </p:cNvSpPr>
              <p:nvPr/>
            </p:nvSpPr>
            <p:spPr bwMode="auto">
              <a:xfrm>
                <a:off x="8502803" y="-572274"/>
                <a:ext cx="208029" cy="16271"/>
              </a:xfrm>
              <a:custGeom>
                <a:avLst/>
                <a:gdLst>
                  <a:gd name="T0" fmla="*/ 0 w 89"/>
                  <a:gd name="T1" fmla="*/ 4 h 7"/>
                  <a:gd name="T2" fmla="*/ 4 w 89"/>
                  <a:gd name="T3" fmla="*/ 0 h 7"/>
                  <a:gd name="T4" fmla="*/ 86 w 89"/>
                  <a:gd name="T5" fmla="*/ 0 h 7"/>
                  <a:gd name="T6" fmla="*/ 89 w 89"/>
                  <a:gd name="T7" fmla="*/ 4 h 7"/>
                  <a:gd name="T8" fmla="*/ 86 w 89"/>
                  <a:gd name="T9" fmla="*/ 7 h 7"/>
                  <a:gd name="T10" fmla="*/ 4 w 89"/>
                  <a:gd name="T11" fmla="*/ 7 h 7"/>
                  <a:gd name="T12" fmla="*/ 0 w 89"/>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9" h="7">
                    <a:moveTo>
                      <a:pt x="0" y="4"/>
                    </a:moveTo>
                    <a:cubicBezTo>
                      <a:pt x="0" y="2"/>
                      <a:pt x="2" y="0"/>
                      <a:pt x="4" y="0"/>
                    </a:cubicBezTo>
                    <a:cubicBezTo>
                      <a:pt x="86" y="0"/>
                      <a:pt x="86" y="0"/>
                      <a:pt x="86" y="0"/>
                    </a:cubicBezTo>
                    <a:cubicBezTo>
                      <a:pt x="88" y="0"/>
                      <a:pt x="89" y="2"/>
                      <a:pt x="89" y="4"/>
                    </a:cubicBezTo>
                    <a:cubicBezTo>
                      <a:pt x="89" y="6"/>
                      <a:pt x="88" y="7"/>
                      <a:pt x="86" y="7"/>
                    </a:cubicBezTo>
                    <a:cubicBezTo>
                      <a:pt x="4" y="7"/>
                      <a:pt x="4" y="7"/>
                      <a:pt x="4" y="7"/>
                    </a:cubicBezTo>
                    <a:cubicBezTo>
                      <a:pt x="2" y="7"/>
                      <a:pt x="0" y="6"/>
                      <a:pt x="0"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 name="Freeform 49"/>
              <p:cNvSpPr>
                <a:spLocks/>
              </p:cNvSpPr>
              <p:nvPr/>
            </p:nvSpPr>
            <p:spPr bwMode="auto">
              <a:xfrm>
                <a:off x="8502803" y="-625735"/>
                <a:ext cx="208029" cy="16271"/>
              </a:xfrm>
              <a:custGeom>
                <a:avLst/>
                <a:gdLst>
                  <a:gd name="T0" fmla="*/ 0 w 89"/>
                  <a:gd name="T1" fmla="*/ 3 h 7"/>
                  <a:gd name="T2" fmla="*/ 4 w 89"/>
                  <a:gd name="T3" fmla="*/ 0 h 7"/>
                  <a:gd name="T4" fmla="*/ 86 w 89"/>
                  <a:gd name="T5" fmla="*/ 0 h 7"/>
                  <a:gd name="T6" fmla="*/ 89 w 89"/>
                  <a:gd name="T7" fmla="*/ 3 h 7"/>
                  <a:gd name="T8" fmla="*/ 86 w 89"/>
                  <a:gd name="T9" fmla="*/ 7 h 7"/>
                  <a:gd name="T10" fmla="*/ 4 w 89"/>
                  <a:gd name="T11" fmla="*/ 7 h 7"/>
                  <a:gd name="T12" fmla="*/ 0 w 89"/>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89" h="7">
                    <a:moveTo>
                      <a:pt x="0" y="3"/>
                    </a:moveTo>
                    <a:cubicBezTo>
                      <a:pt x="0" y="1"/>
                      <a:pt x="2" y="0"/>
                      <a:pt x="4" y="0"/>
                    </a:cubicBezTo>
                    <a:cubicBezTo>
                      <a:pt x="86" y="0"/>
                      <a:pt x="86" y="0"/>
                      <a:pt x="86" y="0"/>
                    </a:cubicBezTo>
                    <a:cubicBezTo>
                      <a:pt x="88" y="0"/>
                      <a:pt x="89" y="1"/>
                      <a:pt x="89" y="3"/>
                    </a:cubicBezTo>
                    <a:cubicBezTo>
                      <a:pt x="89" y="5"/>
                      <a:pt x="88" y="7"/>
                      <a:pt x="86" y="7"/>
                    </a:cubicBezTo>
                    <a:cubicBezTo>
                      <a:pt x="4" y="7"/>
                      <a:pt x="4" y="7"/>
                      <a:pt x="4" y="7"/>
                    </a:cubicBezTo>
                    <a:cubicBezTo>
                      <a:pt x="2" y="7"/>
                      <a:pt x="0" y="5"/>
                      <a:pt x="0" y="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 name="Group 2"/>
            <p:cNvGrpSpPr/>
            <p:nvPr/>
          </p:nvGrpSpPr>
          <p:grpSpPr>
            <a:xfrm>
              <a:off x="9309730" y="2413690"/>
              <a:ext cx="375512" cy="465984"/>
              <a:chOff x="9608629" y="1646827"/>
              <a:chExt cx="375512" cy="465984"/>
            </a:xfrm>
            <a:solidFill>
              <a:schemeClr val="tx1"/>
            </a:solidFill>
          </p:grpSpPr>
          <p:sp>
            <p:nvSpPr>
              <p:cNvPr id="91" name="Freeform 90"/>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1"/>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5" name="Group 4"/>
            <p:cNvGrpSpPr/>
            <p:nvPr/>
          </p:nvGrpSpPr>
          <p:grpSpPr>
            <a:xfrm>
              <a:off x="8702393" y="3654074"/>
              <a:ext cx="287527" cy="356801"/>
              <a:chOff x="9123831" y="2360607"/>
              <a:chExt cx="375512" cy="465984"/>
            </a:xfrm>
            <a:solidFill>
              <a:schemeClr val="tx1"/>
            </a:solidFill>
          </p:grpSpPr>
          <p:sp>
            <p:nvSpPr>
              <p:cNvPr id="100" name="Freeform 99"/>
              <p:cNvSpPr>
                <a:spLocks/>
              </p:cNvSpPr>
              <p:nvPr/>
            </p:nvSpPr>
            <p:spPr bwMode="auto">
              <a:xfrm>
                <a:off x="9123831" y="243878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00"/>
              <p:cNvSpPr>
                <a:spLocks noEditPoints="1"/>
              </p:cNvSpPr>
              <p:nvPr/>
            </p:nvSpPr>
            <p:spPr bwMode="auto">
              <a:xfrm>
                <a:off x="9123831" y="236060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112" name="Group 111"/>
            <p:cNvGrpSpPr/>
            <p:nvPr/>
          </p:nvGrpSpPr>
          <p:grpSpPr>
            <a:xfrm>
              <a:off x="8593952" y="5034042"/>
              <a:ext cx="327005" cy="405791"/>
              <a:chOff x="9123831" y="2360607"/>
              <a:chExt cx="375512" cy="465984"/>
            </a:xfrm>
            <a:solidFill>
              <a:srgbClr val="0078D7"/>
            </a:solidFill>
          </p:grpSpPr>
          <p:sp>
            <p:nvSpPr>
              <p:cNvPr id="113" name="Freeform 112"/>
              <p:cNvSpPr>
                <a:spLocks/>
              </p:cNvSpPr>
              <p:nvPr/>
            </p:nvSpPr>
            <p:spPr bwMode="auto">
              <a:xfrm>
                <a:off x="9123831" y="243878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13"/>
              <p:cNvSpPr>
                <a:spLocks noEditPoints="1"/>
              </p:cNvSpPr>
              <p:nvPr/>
            </p:nvSpPr>
            <p:spPr bwMode="auto">
              <a:xfrm>
                <a:off x="9123831" y="236060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117" name="Group 116"/>
            <p:cNvGrpSpPr/>
            <p:nvPr/>
          </p:nvGrpSpPr>
          <p:grpSpPr>
            <a:xfrm>
              <a:off x="9114811" y="5034042"/>
              <a:ext cx="327005" cy="405791"/>
              <a:chOff x="9123831" y="2360607"/>
              <a:chExt cx="375512" cy="465984"/>
            </a:xfrm>
            <a:solidFill>
              <a:srgbClr val="0078D7"/>
            </a:solidFill>
          </p:grpSpPr>
          <p:sp>
            <p:nvSpPr>
              <p:cNvPr id="125" name="Freeform 124"/>
              <p:cNvSpPr>
                <a:spLocks/>
              </p:cNvSpPr>
              <p:nvPr/>
            </p:nvSpPr>
            <p:spPr bwMode="auto">
              <a:xfrm>
                <a:off x="9123831" y="243878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7"/>
              <p:cNvSpPr>
                <a:spLocks noEditPoints="1"/>
              </p:cNvSpPr>
              <p:nvPr/>
            </p:nvSpPr>
            <p:spPr bwMode="auto">
              <a:xfrm>
                <a:off x="9123831" y="236060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131" name="Group 130"/>
            <p:cNvGrpSpPr/>
            <p:nvPr/>
          </p:nvGrpSpPr>
          <p:grpSpPr>
            <a:xfrm>
              <a:off x="9613673" y="5033188"/>
              <a:ext cx="327005" cy="405791"/>
              <a:chOff x="9123831" y="2360607"/>
              <a:chExt cx="375512" cy="465984"/>
            </a:xfrm>
            <a:solidFill>
              <a:srgbClr val="0078D7"/>
            </a:solidFill>
          </p:grpSpPr>
          <p:sp>
            <p:nvSpPr>
              <p:cNvPr id="132" name="Freeform 131"/>
              <p:cNvSpPr>
                <a:spLocks/>
              </p:cNvSpPr>
              <p:nvPr/>
            </p:nvSpPr>
            <p:spPr bwMode="auto">
              <a:xfrm>
                <a:off x="9123831" y="243878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32"/>
              <p:cNvSpPr>
                <a:spLocks noEditPoints="1"/>
              </p:cNvSpPr>
              <p:nvPr/>
            </p:nvSpPr>
            <p:spPr bwMode="auto">
              <a:xfrm>
                <a:off x="9123831" y="236060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134" name="Group 133"/>
            <p:cNvGrpSpPr/>
            <p:nvPr/>
          </p:nvGrpSpPr>
          <p:grpSpPr>
            <a:xfrm>
              <a:off x="10122255" y="5028521"/>
              <a:ext cx="327005" cy="405791"/>
              <a:chOff x="9123831" y="2360607"/>
              <a:chExt cx="375512" cy="465984"/>
            </a:xfrm>
            <a:solidFill>
              <a:srgbClr val="0078D7"/>
            </a:solidFill>
          </p:grpSpPr>
          <p:sp>
            <p:nvSpPr>
              <p:cNvPr id="135" name="Freeform 134"/>
              <p:cNvSpPr>
                <a:spLocks/>
              </p:cNvSpPr>
              <p:nvPr/>
            </p:nvSpPr>
            <p:spPr bwMode="auto">
              <a:xfrm>
                <a:off x="9123831" y="243878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42"/>
              <p:cNvSpPr>
                <a:spLocks noEditPoints="1"/>
              </p:cNvSpPr>
              <p:nvPr/>
            </p:nvSpPr>
            <p:spPr bwMode="auto">
              <a:xfrm>
                <a:off x="9123831" y="236060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spTree>
    <p:extLst>
      <p:ext uri="{BB962C8B-B14F-4D97-AF65-F5344CB8AC3E}">
        <p14:creationId xmlns:p14="http://schemas.microsoft.com/office/powerpoint/2010/main" val="72784726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5341384" y="258508"/>
            <a:ext cx="6737405" cy="6698974"/>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cxnSp>
        <p:nvCxnSpPr>
          <p:cNvPr id="56" name="Straight Connector 55"/>
          <p:cNvCxnSpPr/>
          <p:nvPr/>
        </p:nvCxnSpPr>
        <p:spPr>
          <a:xfrm>
            <a:off x="8387971" y="3169681"/>
            <a:ext cx="0" cy="469735"/>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388951" y="373505"/>
            <a:ext cx="5342378"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rPr>
              <a:t>Operational DW</a:t>
            </a:r>
          </a:p>
        </p:txBody>
      </p:sp>
      <p:sp>
        <p:nvSpPr>
          <p:cNvPr id="21" name="Rectangle 20"/>
          <p:cNvSpPr/>
          <p:nvPr/>
        </p:nvSpPr>
        <p:spPr>
          <a:xfrm>
            <a:off x="-2" y="4790976"/>
            <a:ext cx="4178809" cy="1843962"/>
          </a:xfrm>
          <a:prstGeom prst="rect">
            <a:avLst/>
          </a:pr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50"/>
              </a:solidFill>
              <a:effectLst/>
              <a:uLnTx/>
              <a:uFillTx/>
              <a:latin typeface="Segoe UI"/>
              <a:ea typeface="+mn-ea"/>
              <a:cs typeface="+mn-cs"/>
            </a:endParaRPr>
          </a:p>
        </p:txBody>
      </p:sp>
      <p:sp>
        <p:nvSpPr>
          <p:cNvPr id="22" name="Content Placeholder 2"/>
          <p:cNvSpPr txBox="1">
            <a:spLocks/>
          </p:cNvSpPr>
          <p:nvPr/>
        </p:nvSpPr>
        <p:spPr>
          <a:xfrm>
            <a:off x="388951" y="4908579"/>
            <a:ext cx="3723002" cy="164748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
              </a:rPr>
              <a:t>Sales and marketing automation, </a:t>
            </a:r>
            <a:br>
              <a:rPr kumimoji="0" lang="en-US" sz="1400" b="1" i="0" u="none" strike="noStrike" kern="1200" cap="none" spc="0" normalizeH="0" baseline="0" noProof="0" dirty="0">
                <a:ln>
                  <a:noFill/>
                </a:ln>
                <a:solidFill>
                  <a:srgbClr val="002050"/>
                </a:solidFill>
                <a:effectLst/>
                <a:uLnTx/>
                <a:uFillTx/>
                <a:latin typeface="Segoe UI"/>
                <a:ea typeface="+mn-ea"/>
                <a:cs typeface=""/>
              </a:rPr>
            </a:br>
            <a:r>
              <a:rPr kumimoji="0" lang="en-US" sz="1400" b="0" i="0" u="none" strike="noStrike" kern="1200" cap="none" spc="0" normalizeH="0" baseline="0" noProof="0" dirty="0">
                <a:ln>
                  <a:noFill/>
                </a:ln>
                <a:solidFill>
                  <a:srgbClr val="002050"/>
                </a:solidFill>
                <a:effectLst/>
                <a:uLnTx/>
                <a:uFillTx/>
                <a:latin typeface="Segoe UI"/>
                <a:ea typeface="+mn-ea"/>
                <a:cs typeface=""/>
              </a:rPr>
              <a:t>including real-time customer outreach</a:t>
            </a:r>
          </a:p>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
              </a:rPr>
              <a:t>Continuous inventory </a:t>
            </a:r>
            <a:br>
              <a:rPr kumimoji="0" lang="en-US" sz="1400" b="1" i="0" u="none" strike="noStrike" kern="1200" cap="none" spc="0" normalizeH="0" baseline="0" noProof="0" dirty="0">
                <a:ln>
                  <a:noFill/>
                </a:ln>
                <a:solidFill>
                  <a:srgbClr val="002050"/>
                </a:solidFill>
                <a:effectLst/>
                <a:uLnTx/>
                <a:uFillTx/>
                <a:latin typeface="Segoe UI"/>
                <a:ea typeface="+mn-ea"/>
                <a:cs typeface=""/>
              </a:rPr>
            </a:br>
            <a:r>
              <a:rPr kumimoji="0" lang="en-US" sz="1400" b="0" i="0" u="none" strike="noStrike" kern="1200" cap="none" spc="0" normalizeH="0" baseline="0" noProof="0" dirty="0">
                <a:ln>
                  <a:noFill/>
                </a:ln>
                <a:solidFill>
                  <a:srgbClr val="002050"/>
                </a:solidFill>
                <a:effectLst/>
                <a:uLnTx/>
                <a:uFillTx/>
                <a:latin typeface="Segoe UI"/>
                <a:ea typeface="+mn-ea"/>
                <a:cs typeface=""/>
              </a:rPr>
              <a:t>and other real-time operations</a:t>
            </a:r>
          </a:p>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
              </a:rPr>
              <a:t>Safety and shutdown systems </a:t>
            </a:r>
            <a:br>
              <a:rPr kumimoji="0" lang="en-US" sz="1400" b="1" i="0" u="none" strike="noStrike" kern="1200" cap="none" spc="0" normalizeH="0" baseline="0" noProof="0" dirty="0">
                <a:ln>
                  <a:noFill/>
                </a:ln>
                <a:solidFill>
                  <a:srgbClr val="002050"/>
                </a:solidFill>
                <a:effectLst/>
                <a:uLnTx/>
                <a:uFillTx/>
                <a:latin typeface="Segoe UI"/>
                <a:ea typeface="+mn-ea"/>
                <a:cs typeface=""/>
              </a:rPr>
            </a:br>
            <a:r>
              <a:rPr kumimoji="0" lang="en-US" sz="1400" b="0" i="0" u="none" strike="noStrike" kern="1200" cap="none" spc="0" normalizeH="0" baseline="0" noProof="0" dirty="0">
                <a:ln>
                  <a:noFill/>
                </a:ln>
                <a:solidFill>
                  <a:srgbClr val="002050"/>
                </a:solidFill>
                <a:effectLst/>
                <a:uLnTx/>
                <a:uFillTx/>
                <a:latin typeface="Segoe UI"/>
                <a:ea typeface="+mn-ea"/>
                <a:cs typeface=""/>
              </a:rPr>
              <a:t>for mission critical operations </a:t>
            </a:r>
          </a:p>
        </p:txBody>
      </p:sp>
      <p:sp>
        <p:nvSpPr>
          <p:cNvPr id="42" name="Content Placeholder 2"/>
          <p:cNvSpPr txBox="1">
            <a:spLocks/>
          </p:cNvSpPr>
          <p:nvPr/>
        </p:nvSpPr>
        <p:spPr>
          <a:xfrm>
            <a:off x="388953" y="2899555"/>
            <a:ext cx="3996538" cy="70844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600"/>
              </a:spcAft>
              <a:buClr>
                <a:srgbClr val="00C0F9"/>
              </a:buClr>
              <a:buSzTx/>
              <a:buFont typeface="Arial" panose="020B0604020202020204" pitchFamily="34" charset="0"/>
              <a:buNone/>
              <a:tabLst/>
              <a:defRPr/>
            </a:pPr>
            <a:r>
              <a:rPr kumimoji="0" lang="en-US" sz="2800" b="1" i="0" u="none" strike="noStrike" kern="1200" cap="none" spc="0" normalizeH="0" baseline="0" noProof="0">
                <a:ln>
                  <a:noFill/>
                </a:ln>
                <a:solidFill>
                  <a:srgbClr val="FFFFFF"/>
                </a:solidFill>
                <a:effectLst/>
                <a:uLnTx/>
                <a:uFillTx/>
                <a:latin typeface="Segoe UI"/>
                <a:ea typeface="+mn-ea"/>
                <a:cs typeface="Segoe UI Light" panose="020B0502040204020203" pitchFamily="34" charset="0"/>
              </a:rPr>
              <a:t>Gain real-time insights without impacting performance</a:t>
            </a:r>
          </a:p>
        </p:txBody>
      </p:sp>
      <p:sp>
        <p:nvSpPr>
          <p:cNvPr id="43" name="Rectangle 42"/>
          <p:cNvSpPr/>
          <p:nvPr/>
        </p:nvSpPr>
        <p:spPr>
          <a:xfrm>
            <a:off x="388951" y="4432157"/>
            <a:ext cx="104246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Ideal for: </a:t>
            </a:r>
          </a:p>
        </p:txBody>
      </p:sp>
      <p:sp>
        <p:nvSpPr>
          <p:cNvPr id="6" name="Rectangle 5"/>
          <p:cNvSpPr/>
          <p:nvPr/>
        </p:nvSpPr>
        <p:spPr>
          <a:xfrm>
            <a:off x="7689239" y="2347356"/>
            <a:ext cx="1381510" cy="822325"/>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40"/>
          <p:cNvSpPr/>
          <p:nvPr/>
        </p:nvSpPr>
        <p:spPr>
          <a:xfrm>
            <a:off x="7674427" y="2244198"/>
            <a:ext cx="1405847" cy="946165"/>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Up Arrow 43"/>
          <p:cNvSpPr/>
          <p:nvPr/>
        </p:nvSpPr>
        <p:spPr bwMode="auto">
          <a:xfrm rot="2700000">
            <a:off x="8176049" y="2469769"/>
            <a:ext cx="481826" cy="564483"/>
          </a:xfrm>
          <a:prstGeom prst="upArrow">
            <a:avLst>
              <a:gd name="adj1" fmla="val 55098"/>
              <a:gd name="adj2" fmla="val 50000"/>
            </a:avLst>
          </a:prstGeom>
          <a:solidFill>
            <a:srgbClr val="70C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9451680" y="2438420"/>
            <a:ext cx="1530607" cy="1248740"/>
            <a:chOff x="10711223" y="804501"/>
            <a:chExt cx="1274998" cy="1040202"/>
          </a:xfrm>
        </p:grpSpPr>
        <p:sp>
          <p:nvSpPr>
            <p:cNvPr id="54" name="Freeform: Shape 126"/>
            <p:cNvSpPr/>
            <p:nvPr/>
          </p:nvSpPr>
          <p:spPr>
            <a:xfrm>
              <a:off x="10711223" y="804501"/>
              <a:ext cx="1274998" cy="1040202"/>
            </a:xfrm>
            <a:custGeom>
              <a:avLst/>
              <a:gdLst>
                <a:gd name="connsiteX0" fmla="*/ 286167 w 771201"/>
                <a:gd name="connsiteY0" fmla="*/ 0 h 629181"/>
                <a:gd name="connsiteX1" fmla="*/ 498645 w 771201"/>
                <a:gd name="connsiteY1" fmla="*/ 0 h 629181"/>
                <a:gd name="connsiteX2" fmla="*/ 771201 w 771201"/>
                <a:gd name="connsiteY2" fmla="*/ 272556 h 629181"/>
                <a:gd name="connsiteX3" fmla="*/ 498645 w 771201"/>
                <a:gd name="connsiteY3" fmla="*/ 545112 h 629181"/>
                <a:gd name="connsiteX4" fmla="*/ 286167 w 771201"/>
                <a:gd name="connsiteY4" fmla="*/ 545112 h 629181"/>
                <a:gd name="connsiteX5" fmla="*/ 231238 w 771201"/>
                <a:gd name="connsiteY5" fmla="*/ 539575 h 629181"/>
                <a:gd name="connsiteX6" fmla="*/ 180887 w 771201"/>
                <a:gd name="connsiteY6" fmla="*/ 523945 h 629181"/>
                <a:gd name="connsiteX7" fmla="*/ 135212 w 771201"/>
                <a:gd name="connsiteY7" fmla="*/ 583284 h 629181"/>
                <a:gd name="connsiteX8" fmla="*/ 0 w 771201"/>
                <a:gd name="connsiteY8" fmla="*/ 627871 h 629181"/>
                <a:gd name="connsiteX9" fmla="*/ 110939 w 771201"/>
                <a:gd name="connsiteY9" fmla="*/ 493202 h 629181"/>
                <a:gd name="connsiteX10" fmla="*/ 113662 w 771201"/>
                <a:gd name="connsiteY10" fmla="*/ 481966 h 629181"/>
                <a:gd name="connsiteX11" fmla="*/ 93441 w 771201"/>
                <a:gd name="connsiteY11" fmla="*/ 465282 h 629181"/>
                <a:gd name="connsiteX12" fmla="*/ 13611 w 771201"/>
                <a:gd name="connsiteY12" fmla="*/ 272556 h 629181"/>
                <a:gd name="connsiteX13" fmla="*/ 286167 w 771201"/>
                <a:gd name="connsiteY13" fmla="*/ 0 h 62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1201" h="629181">
                  <a:moveTo>
                    <a:pt x="286167" y="0"/>
                  </a:moveTo>
                  <a:lnTo>
                    <a:pt x="498645" y="0"/>
                  </a:lnTo>
                  <a:cubicBezTo>
                    <a:pt x="649174" y="0"/>
                    <a:pt x="771201" y="122027"/>
                    <a:pt x="771201" y="272556"/>
                  </a:cubicBezTo>
                  <a:cubicBezTo>
                    <a:pt x="771201" y="423085"/>
                    <a:pt x="649174" y="545112"/>
                    <a:pt x="498645" y="545112"/>
                  </a:cubicBezTo>
                  <a:lnTo>
                    <a:pt x="286167" y="545112"/>
                  </a:lnTo>
                  <a:cubicBezTo>
                    <a:pt x="267351" y="545112"/>
                    <a:pt x="248980" y="543205"/>
                    <a:pt x="231238" y="539575"/>
                  </a:cubicBezTo>
                  <a:lnTo>
                    <a:pt x="180887" y="523945"/>
                  </a:lnTo>
                  <a:lnTo>
                    <a:pt x="135212" y="583284"/>
                  </a:lnTo>
                  <a:cubicBezTo>
                    <a:pt x="97758" y="616780"/>
                    <a:pt x="49729" y="634288"/>
                    <a:pt x="0" y="627871"/>
                  </a:cubicBezTo>
                  <a:cubicBezTo>
                    <a:pt x="50549" y="599817"/>
                    <a:pt x="89852" y="551314"/>
                    <a:pt x="110939" y="493202"/>
                  </a:cubicBezTo>
                  <a:lnTo>
                    <a:pt x="113662" y="481966"/>
                  </a:lnTo>
                  <a:lnTo>
                    <a:pt x="93441" y="465282"/>
                  </a:lnTo>
                  <a:cubicBezTo>
                    <a:pt x="44118" y="415960"/>
                    <a:pt x="13611" y="347821"/>
                    <a:pt x="13611" y="272556"/>
                  </a:cubicBezTo>
                  <a:cubicBezTo>
                    <a:pt x="13611" y="122027"/>
                    <a:pt x="135638" y="0"/>
                    <a:pt x="286167" y="0"/>
                  </a:cubicBezTo>
                  <a:close/>
                </a:path>
              </a:pathLst>
            </a:cu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137160" bIns="365760" rtlCol="0" anchor="b">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REAL-TIME</a:t>
              </a:r>
            </a:p>
          </p:txBody>
        </p:sp>
        <p:sp>
          <p:nvSpPr>
            <p:cNvPr id="51" name="Freeform 18"/>
            <p:cNvSpPr>
              <a:spLocks noEditPoints="1"/>
            </p:cNvSpPr>
            <p:nvPr/>
          </p:nvSpPr>
          <p:spPr bwMode="black">
            <a:xfrm rot="17995606">
              <a:off x="11167121" y="947112"/>
              <a:ext cx="352270" cy="276615"/>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2050"/>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120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grpSp>
        <p:nvGrpSpPr>
          <p:cNvPr id="7" name="Group 6"/>
          <p:cNvGrpSpPr/>
          <p:nvPr/>
        </p:nvGrpSpPr>
        <p:grpSpPr>
          <a:xfrm>
            <a:off x="6497060" y="3687160"/>
            <a:ext cx="4041008" cy="2015192"/>
            <a:chOff x="6433613" y="3559531"/>
            <a:chExt cx="1427088" cy="1830315"/>
          </a:xfrm>
        </p:grpSpPr>
        <p:sp>
          <p:nvSpPr>
            <p:cNvPr id="38" name="Freeform 37"/>
            <p:cNvSpPr/>
            <p:nvPr/>
          </p:nvSpPr>
          <p:spPr bwMode="auto">
            <a:xfrm>
              <a:off x="6433613" y="3559531"/>
              <a:ext cx="1427088" cy="183031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p:cNvSpPr/>
            <p:nvPr/>
          </p:nvSpPr>
          <p:spPr>
            <a:xfrm>
              <a:off x="6488877" y="4346132"/>
              <a:ext cx="1371824" cy="280002"/>
            </a:xfrm>
            <a:prstGeom prst="rect">
              <a:avLst/>
            </a:prstGeom>
            <a:solidFill>
              <a:srgbClr val="002050"/>
            </a:solidFill>
            <a:ln>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0C7FF"/>
                  </a:solidFill>
                  <a:effectLst/>
                  <a:uLnTx/>
                  <a:uFillTx/>
                  <a:latin typeface="Segoe UI"/>
                  <a:ea typeface="+mn-ea"/>
                  <a:cs typeface="+mn-cs"/>
                </a:rPr>
                <a:t>DW + real-time</a:t>
              </a:r>
            </a:p>
          </p:txBody>
        </p:sp>
      </p:grpSp>
      <p:grpSp>
        <p:nvGrpSpPr>
          <p:cNvPr id="25" name="Group 24"/>
          <p:cNvGrpSpPr/>
          <p:nvPr/>
        </p:nvGrpSpPr>
        <p:grpSpPr>
          <a:xfrm>
            <a:off x="5687405" y="427457"/>
            <a:ext cx="1319712" cy="824222"/>
            <a:chOff x="5687405" y="417610"/>
            <a:chExt cx="1319712" cy="824222"/>
          </a:xfrm>
        </p:grpSpPr>
        <p:sp>
          <p:nvSpPr>
            <p:cNvPr id="26" name="Content Placeholder 2"/>
            <p:cNvSpPr txBox="1">
              <a:spLocks/>
            </p:cNvSpPr>
            <p:nvPr/>
          </p:nvSpPr>
          <p:spPr>
            <a:xfrm>
              <a:off x="5687405" y="1066399"/>
              <a:ext cx="1319712" cy="175433"/>
            </a:xfrm>
            <a:prstGeom prst="borderCallout1">
              <a:avLst>
                <a:gd name="adj1" fmla="val -641"/>
                <a:gd name="adj2" fmla="val 328"/>
                <a:gd name="adj3" fmla="val 27632"/>
                <a:gd name="adj4" fmla="val 28358"/>
              </a:avLst>
            </a:prstGeom>
            <a:noFill/>
            <a:ln w="19050">
              <a:noFill/>
            </a:ln>
          </p:spPr>
          <p:txBody>
            <a:bodyPr vert="horz" wrap="square" lIns="64008" tIns="18288" rIns="64008" bIns="18288" rtlCol="0">
              <a:sp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0072C6"/>
                </a:buClr>
                <a:buSzTx/>
                <a:buFont typeface="Arial" panose="020B0604020202020204" pitchFamily="34" charset="0"/>
                <a:buNone/>
                <a:tabLst/>
                <a:defRPr/>
              </a:pPr>
              <a:r>
                <a:rPr kumimoji="0" lang="en-US" sz="1000" b="1" i="0" u="none" strike="noStrike" kern="1200" cap="none" spc="0" normalizeH="0" baseline="0" noProof="0" dirty="0">
                  <a:ln>
                    <a:noFill/>
                  </a:ln>
                  <a:solidFill>
                    <a:srgbClr val="002050"/>
                  </a:solidFill>
                  <a:effectLst/>
                  <a:uLnTx/>
                  <a:uFillTx/>
                  <a:latin typeface="Segoe UI" charset="0"/>
                  <a:ea typeface="Segoe UI" charset="0"/>
                  <a:cs typeface="Segoe UI" charset="0"/>
                </a:rPr>
                <a:t>ITDMs</a:t>
              </a:r>
            </a:p>
          </p:txBody>
        </p:sp>
        <p:sp>
          <p:nvSpPr>
            <p:cNvPr id="27" name="Freeform 46"/>
            <p:cNvSpPr/>
            <p:nvPr/>
          </p:nvSpPr>
          <p:spPr bwMode="auto">
            <a:xfrm flipV="1">
              <a:off x="6021507" y="417610"/>
              <a:ext cx="651508" cy="590043"/>
            </a:xfrm>
            <a:custGeom>
              <a:avLst/>
              <a:gdLst>
                <a:gd name="connsiteX0" fmla="*/ 402144 w 1232076"/>
                <a:gd name="connsiteY0" fmla="*/ 521164 h 1142536"/>
                <a:gd name="connsiteX1" fmla="*/ 403411 w 1232076"/>
                <a:gd name="connsiteY1" fmla="*/ 516536 h 1142536"/>
                <a:gd name="connsiteX2" fmla="*/ 407773 w 1232076"/>
                <a:gd name="connsiteY2" fmla="*/ 517761 h 1142536"/>
                <a:gd name="connsiteX3" fmla="*/ 412815 w 1232076"/>
                <a:gd name="connsiteY3" fmla="*/ 497941 h 1142536"/>
                <a:gd name="connsiteX4" fmla="*/ 418715 w 1232076"/>
                <a:gd name="connsiteY4" fmla="*/ 490944 h 1142536"/>
                <a:gd name="connsiteX5" fmla="*/ 612977 w 1232076"/>
                <a:gd name="connsiteY5" fmla="*/ 443543 h 1142536"/>
                <a:gd name="connsiteX6" fmla="*/ 823810 w 1232076"/>
                <a:gd name="connsiteY6" fmla="*/ 521164 h 1142536"/>
                <a:gd name="connsiteX7" fmla="*/ 823810 w 1232076"/>
                <a:gd name="connsiteY7" fmla="*/ 514694 h 1142536"/>
                <a:gd name="connsiteX8" fmla="*/ 824676 w 1232076"/>
                <a:gd name="connsiteY8" fmla="*/ 517763 h 1142536"/>
                <a:gd name="connsiteX9" fmla="*/ 1222430 w 1232076"/>
                <a:gd name="connsiteY9" fmla="*/ 78510 h 1142536"/>
                <a:gd name="connsiteX10" fmla="*/ 617947 w 1232076"/>
                <a:gd name="connsiteY10" fmla="*/ 10 h 1142536"/>
                <a:gd name="connsiteX11" fmla="*/ 10020 w 1232076"/>
                <a:gd name="connsiteY11" fmla="*/ 78510 h 1142536"/>
                <a:gd name="connsiteX12" fmla="*/ 322666 w 1232076"/>
                <a:gd name="connsiteY12" fmla="*/ 493847 h 1142536"/>
                <a:gd name="connsiteX13" fmla="*/ 402144 w 1232076"/>
                <a:gd name="connsiteY13" fmla="*/ 516180 h 1142536"/>
                <a:gd name="connsiteX14" fmla="*/ 616227 w 1232076"/>
                <a:gd name="connsiteY14" fmla="*/ 1142536 h 1142536"/>
                <a:gd name="connsiteX15" fmla="*/ 926921 w 1232076"/>
                <a:gd name="connsiteY15" fmla="*/ 843599 h 1142536"/>
                <a:gd name="connsiteX16" fmla="*/ 616227 w 1232076"/>
                <a:gd name="connsiteY16" fmla="*/ 544661 h 1142536"/>
                <a:gd name="connsiteX17" fmla="*/ 305533 w 1232076"/>
                <a:gd name="connsiteY17" fmla="*/ 843599 h 1142536"/>
                <a:gd name="connsiteX18" fmla="*/ 616227 w 1232076"/>
                <a:gd name="connsiteY18" fmla="*/ 1142536 h 114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2076" h="1142536">
                  <a:moveTo>
                    <a:pt x="402144" y="521164"/>
                  </a:moveTo>
                  <a:lnTo>
                    <a:pt x="403411" y="516536"/>
                  </a:lnTo>
                  <a:lnTo>
                    <a:pt x="407773" y="517761"/>
                  </a:lnTo>
                  <a:lnTo>
                    <a:pt x="412815" y="497941"/>
                  </a:lnTo>
                  <a:lnTo>
                    <a:pt x="418715" y="490944"/>
                  </a:lnTo>
                  <a:cubicBezTo>
                    <a:pt x="450725" y="463082"/>
                    <a:pt x="525661" y="443543"/>
                    <a:pt x="612977" y="443543"/>
                  </a:cubicBezTo>
                  <a:cubicBezTo>
                    <a:pt x="729399" y="443543"/>
                    <a:pt x="823810" y="478279"/>
                    <a:pt x="823810" y="521164"/>
                  </a:cubicBezTo>
                  <a:lnTo>
                    <a:pt x="823810" y="514694"/>
                  </a:lnTo>
                  <a:lnTo>
                    <a:pt x="824676" y="517763"/>
                  </a:lnTo>
                  <a:cubicBezTo>
                    <a:pt x="1313502" y="399970"/>
                    <a:pt x="1229206" y="105777"/>
                    <a:pt x="1222430" y="78510"/>
                  </a:cubicBezTo>
                  <a:cubicBezTo>
                    <a:pt x="1110624" y="37126"/>
                    <a:pt x="886318" y="-712"/>
                    <a:pt x="617947" y="10"/>
                  </a:cubicBezTo>
                  <a:cubicBezTo>
                    <a:pt x="349577" y="731"/>
                    <a:pt x="211656" y="38177"/>
                    <a:pt x="10020" y="78510"/>
                  </a:cubicBezTo>
                  <a:cubicBezTo>
                    <a:pt x="2859" y="115291"/>
                    <a:pt x="-70919" y="365639"/>
                    <a:pt x="322666" y="493847"/>
                  </a:cubicBezTo>
                  <a:lnTo>
                    <a:pt x="402144" y="516180"/>
                  </a:lnTo>
                  <a:close/>
                  <a:moveTo>
                    <a:pt x="616227" y="1142536"/>
                  </a:moveTo>
                  <a:cubicBezTo>
                    <a:pt x="787819" y="1142536"/>
                    <a:pt x="926921" y="1008697"/>
                    <a:pt x="926921" y="843599"/>
                  </a:cubicBezTo>
                  <a:cubicBezTo>
                    <a:pt x="926921" y="678501"/>
                    <a:pt x="787819" y="544661"/>
                    <a:pt x="616227" y="544661"/>
                  </a:cubicBezTo>
                  <a:cubicBezTo>
                    <a:pt x="444636" y="544661"/>
                    <a:pt x="305533" y="678501"/>
                    <a:pt x="305533" y="843599"/>
                  </a:cubicBezTo>
                  <a:cubicBezTo>
                    <a:pt x="305533" y="1008697"/>
                    <a:pt x="444636" y="1142536"/>
                    <a:pt x="616227" y="1142536"/>
                  </a:cubicBezTo>
                  <a:close/>
                </a:path>
              </a:pathLst>
            </a:custGeom>
            <a:solidFill>
              <a:srgbClr val="70C7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28" name="Group 27"/>
          <p:cNvGrpSpPr/>
          <p:nvPr/>
        </p:nvGrpSpPr>
        <p:grpSpPr>
          <a:xfrm>
            <a:off x="6673015" y="426403"/>
            <a:ext cx="1319712" cy="824222"/>
            <a:chOff x="5687405" y="417610"/>
            <a:chExt cx="1319712" cy="824222"/>
          </a:xfrm>
        </p:grpSpPr>
        <p:sp>
          <p:nvSpPr>
            <p:cNvPr id="29" name="Content Placeholder 2"/>
            <p:cNvSpPr txBox="1">
              <a:spLocks/>
            </p:cNvSpPr>
            <p:nvPr/>
          </p:nvSpPr>
          <p:spPr>
            <a:xfrm>
              <a:off x="5687405" y="1066399"/>
              <a:ext cx="1319712" cy="175433"/>
            </a:xfrm>
            <a:prstGeom prst="borderCallout1">
              <a:avLst>
                <a:gd name="adj1" fmla="val -641"/>
                <a:gd name="adj2" fmla="val 328"/>
                <a:gd name="adj3" fmla="val 27632"/>
                <a:gd name="adj4" fmla="val 28358"/>
              </a:avLst>
            </a:prstGeom>
            <a:noFill/>
            <a:ln w="19050">
              <a:noFill/>
            </a:ln>
          </p:spPr>
          <p:txBody>
            <a:bodyPr vert="horz" wrap="square" lIns="64008" tIns="18288" rIns="64008" bIns="18288" rtlCol="0">
              <a:sp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0072C6"/>
                </a:buClr>
                <a:buSzTx/>
                <a:buFont typeface="Arial" panose="020B0604020202020204" pitchFamily="34" charset="0"/>
                <a:buNone/>
                <a:tabLst/>
                <a:defRPr/>
              </a:pPr>
              <a:r>
                <a:rPr kumimoji="0" lang="en-US" sz="1000" b="1" i="0" u="none" strike="noStrike" kern="1200" cap="none" spc="0" normalizeH="0" baseline="0" noProof="0" dirty="0">
                  <a:ln>
                    <a:noFill/>
                  </a:ln>
                  <a:solidFill>
                    <a:srgbClr val="002050"/>
                  </a:solidFill>
                  <a:effectLst/>
                  <a:uLnTx/>
                  <a:uFillTx/>
                  <a:latin typeface="Segoe UI" charset="0"/>
                  <a:ea typeface="Segoe UI" charset="0"/>
                  <a:cs typeface="Segoe UI" charset="0"/>
                </a:rPr>
                <a:t>Analysts</a:t>
              </a:r>
            </a:p>
          </p:txBody>
        </p:sp>
        <p:sp>
          <p:nvSpPr>
            <p:cNvPr id="30" name="Freeform 46"/>
            <p:cNvSpPr/>
            <p:nvPr/>
          </p:nvSpPr>
          <p:spPr bwMode="auto">
            <a:xfrm flipV="1">
              <a:off x="6021507" y="417610"/>
              <a:ext cx="651508" cy="590043"/>
            </a:xfrm>
            <a:custGeom>
              <a:avLst/>
              <a:gdLst>
                <a:gd name="connsiteX0" fmla="*/ 402144 w 1232076"/>
                <a:gd name="connsiteY0" fmla="*/ 521164 h 1142536"/>
                <a:gd name="connsiteX1" fmla="*/ 403411 w 1232076"/>
                <a:gd name="connsiteY1" fmla="*/ 516536 h 1142536"/>
                <a:gd name="connsiteX2" fmla="*/ 407773 w 1232076"/>
                <a:gd name="connsiteY2" fmla="*/ 517761 h 1142536"/>
                <a:gd name="connsiteX3" fmla="*/ 412815 w 1232076"/>
                <a:gd name="connsiteY3" fmla="*/ 497941 h 1142536"/>
                <a:gd name="connsiteX4" fmla="*/ 418715 w 1232076"/>
                <a:gd name="connsiteY4" fmla="*/ 490944 h 1142536"/>
                <a:gd name="connsiteX5" fmla="*/ 612977 w 1232076"/>
                <a:gd name="connsiteY5" fmla="*/ 443543 h 1142536"/>
                <a:gd name="connsiteX6" fmla="*/ 823810 w 1232076"/>
                <a:gd name="connsiteY6" fmla="*/ 521164 h 1142536"/>
                <a:gd name="connsiteX7" fmla="*/ 823810 w 1232076"/>
                <a:gd name="connsiteY7" fmla="*/ 514694 h 1142536"/>
                <a:gd name="connsiteX8" fmla="*/ 824676 w 1232076"/>
                <a:gd name="connsiteY8" fmla="*/ 517763 h 1142536"/>
                <a:gd name="connsiteX9" fmla="*/ 1222430 w 1232076"/>
                <a:gd name="connsiteY9" fmla="*/ 78510 h 1142536"/>
                <a:gd name="connsiteX10" fmla="*/ 617947 w 1232076"/>
                <a:gd name="connsiteY10" fmla="*/ 10 h 1142536"/>
                <a:gd name="connsiteX11" fmla="*/ 10020 w 1232076"/>
                <a:gd name="connsiteY11" fmla="*/ 78510 h 1142536"/>
                <a:gd name="connsiteX12" fmla="*/ 322666 w 1232076"/>
                <a:gd name="connsiteY12" fmla="*/ 493847 h 1142536"/>
                <a:gd name="connsiteX13" fmla="*/ 402144 w 1232076"/>
                <a:gd name="connsiteY13" fmla="*/ 516180 h 1142536"/>
                <a:gd name="connsiteX14" fmla="*/ 616227 w 1232076"/>
                <a:gd name="connsiteY14" fmla="*/ 1142536 h 1142536"/>
                <a:gd name="connsiteX15" fmla="*/ 926921 w 1232076"/>
                <a:gd name="connsiteY15" fmla="*/ 843599 h 1142536"/>
                <a:gd name="connsiteX16" fmla="*/ 616227 w 1232076"/>
                <a:gd name="connsiteY16" fmla="*/ 544661 h 1142536"/>
                <a:gd name="connsiteX17" fmla="*/ 305533 w 1232076"/>
                <a:gd name="connsiteY17" fmla="*/ 843599 h 1142536"/>
                <a:gd name="connsiteX18" fmla="*/ 616227 w 1232076"/>
                <a:gd name="connsiteY18" fmla="*/ 1142536 h 114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2076" h="1142536">
                  <a:moveTo>
                    <a:pt x="402144" y="521164"/>
                  </a:moveTo>
                  <a:lnTo>
                    <a:pt x="403411" y="516536"/>
                  </a:lnTo>
                  <a:lnTo>
                    <a:pt x="407773" y="517761"/>
                  </a:lnTo>
                  <a:lnTo>
                    <a:pt x="412815" y="497941"/>
                  </a:lnTo>
                  <a:lnTo>
                    <a:pt x="418715" y="490944"/>
                  </a:lnTo>
                  <a:cubicBezTo>
                    <a:pt x="450725" y="463082"/>
                    <a:pt x="525661" y="443543"/>
                    <a:pt x="612977" y="443543"/>
                  </a:cubicBezTo>
                  <a:cubicBezTo>
                    <a:pt x="729399" y="443543"/>
                    <a:pt x="823810" y="478279"/>
                    <a:pt x="823810" y="521164"/>
                  </a:cubicBezTo>
                  <a:lnTo>
                    <a:pt x="823810" y="514694"/>
                  </a:lnTo>
                  <a:lnTo>
                    <a:pt x="824676" y="517763"/>
                  </a:lnTo>
                  <a:cubicBezTo>
                    <a:pt x="1313502" y="399970"/>
                    <a:pt x="1229206" y="105777"/>
                    <a:pt x="1222430" y="78510"/>
                  </a:cubicBezTo>
                  <a:cubicBezTo>
                    <a:pt x="1110624" y="37126"/>
                    <a:pt x="886318" y="-712"/>
                    <a:pt x="617947" y="10"/>
                  </a:cubicBezTo>
                  <a:cubicBezTo>
                    <a:pt x="349577" y="731"/>
                    <a:pt x="211656" y="38177"/>
                    <a:pt x="10020" y="78510"/>
                  </a:cubicBezTo>
                  <a:cubicBezTo>
                    <a:pt x="2859" y="115291"/>
                    <a:pt x="-70919" y="365639"/>
                    <a:pt x="322666" y="493847"/>
                  </a:cubicBezTo>
                  <a:lnTo>
                    <a:pt x="402144" y="516180"/>
                  </a:lnTo>
                  <a:close/>
                  <a:moveTo>
                    <a:pt x="616227" y="1142536"/>
                  </a:moveTo>
                  <a:cubicBezTo>
                    <a:pt x="787819" y="1142536"/>
                    <a:pt x="926921" y="1008697"/>
                    <a:pt x="926921" y="843599"/>
                  </a:cubicBezTo>
                  <a:cubicBezTo>
                    <a:pt x="926921" y="678501"/>
                    <a:pt x="787819" y="544661"/>
                    <a:pt x="616227" y="544661"/>
                  </a:cubicBezTo>
                  <a:cubicBezTo>
                    <a:pt x="444636" y="544661"/>
                    <a:pt x="305533" y="678501"/>
                    <a:pt x="305533" y="843599"/>
                  </a:cubicBezTo>
                  <a:cubicBezTo>
                    <a:pt x="305533" y="1008697"/>
                    <a:pt x="444636" y="1142536"/>
                    <a:pt x="616227" y="1142536"/>
                  </a:cubicBezTo>
                  <a:close/>
                </a:path>
              </a:pathLst>
            </a:custGeom>
            <a:solidFill>
              <a:srgbClr val="70C7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7976349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5454595" y="154342"/>
            <a:ext cx="6737405" cy="6698974"/>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 name="Rectangle 12"/>
          <p:cNvSpPr/>
          <p:nvPr/>
        </p:nvSpPr>
        <p:spPr>
          <a:xfrm>
            <a:off x="388951" y="373505"/>
            <a:ext cx="5342378"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rPr>
              <a:t>Logical DW</a:t>
            </a:r>
          </a:p>
        </p:txBody>
      </p:sp>
      <p:sp>
        <p:nvSpPr>
          <p:cNvPr id="21" name="Rectangle 20"/>
          <p:cNvSpPr/>
          <p:nvPr/>
        </p:nvSpPr>
        <p:spPr>
          <a:xfrm>
            <a:off x="-2" y="4790976"/>
            <a:ext cx="4178809" cy="1843962"/>
          </a:xfrm>
          <a:prstGeom prst="rect">
            <a:avLst/>
          </a:pr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50"/>
              </a:solidFill>
              <a:effectLst/>
              <a:uLnTx/>
              <a:uFillTx/>
              <a:latin typeface="Segoe UI"/>
              <a:ea typeface="+mn-ea"/>
              <a:cs typeface="+mn-cs"/>
            </a:endParaRPr>
          </a:p>
        </p:txBody>
      </p:sp>
      <p:sp>
        <p:nvSpPr>
          <p:cNvPr id="22" name="Content Placeholder 2"/>
          <p:cNvSpPr txBox="1">
            <a:spLocks/>
          </p:cNvSpPr>
          <p:nvPr/>
        </p:nvSpPr>
        <p:spPr>
          <a:xfrm>
            <a:off x="388951" y="4908579"/>
            <a:ext cx="3723002" cy="164748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
              </a:rPr>
              <a:t>Monitoring environmental sensory data </a:t>
            </a:r>
            <a:r>
              <a:rPr kumimoji="0" lang="en-US" sz="1400" b="0" i="0" u="none" strike="noStrike" kern="1200" cap="none" spc="0" normalizeH="0" baseline="0" noProof="0" dirty="0">
                <a:ln>
                  <a:noFill/>
                </a:ln>
                <a:solidFill>
                  <a:srgbClr val="002050"/>
                </a:solidFill>
                <a:effectLst/>
                <a:uLnTx/>
                <a:uFillTx/>
                <a:latin typeface="Segoe UI"/>
                <a:ea typeface="+mn-ea"/>
                <a:cs typeface=""/>
              </a:rPr>
              <a:t>of Internet of Things devices </a:t>
            </a:r>
          </a:p>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
              </a:rPr>
              <a:t>Sentiment analysis </a:t>
            </a:r>
            <a:r>
              <a:rPr kumimoji="0" lang="en-US" sz="1400" b="0" i="0" u="none" strike="noStrike" kern="1200" cap="none" spc="0" normalizeH="0" baseline="0" noProof="0" dirty="0">
                <a:ln>
                  <a:noFill/>
                </a:ln>
                <a:solidFill>
                  <a:srgbClr val="002050"/>
                </a:solidFill>
                <a:effectLst/>
                <a:uLnTx/>
                <a:uFillTx/>
                <a:latin typeface="Segoe UI"/>
                <a:ea typeface="+mn-ea"/>
                <a:cs typeface=""/>
              </a:rPr>
              <a:t>of complex </a:t>
            </a:r>
            <a:br>
              <a:rPr kumimoji="0" lang="en-US" sz="1400" b="0" i="0" u="none" strike="noStrike" kern="1200" cap="none" spc="0" normalizeH="0" baseline="0" noProof="0" dirty="0">
                <a:ln>
                  <a:noFill/>
                </a:ln>
                <a:solidFill>
                  <a:srgbClr val="002050"/>
                </a:solidFill>
                <a:effectLst/>
                <a:uLnTx/>
                <a:uFillTx/>
                <a:latin typeface="Segoe UI"/>
                <a:ea typeface="+mn-ea"/>
                <a:cs typeface=""/>
              </a:rPr>
            </a:br>
            <a:r>
              <a:rPr kumimoji="0" lang="en-US" sz="1400" b="0" i="0" u="none" strike="noStrike" kern="1200" cap="none" spc="0" normalizeH="0" baseline="0" noProof="0" dirty="0">
                <a:ln>
                  <a:noFill/>
                </a:ln>
                <a:solidFill>
                  <a:srgbClr val="002050"/>
                </a:solidFill>
                <a:effectLst/>
                <a:uLnTx/>
                <a:uFillTx/>
                <a:latin typeface="Segoe UI"/>
                <a:ea typeface="+mn-ea"/>
                <a:cs typeface=""/>
              </a:rPr>
              <a:t>or nested social media data </a:t>
            </a:r>
          </a:p>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
              </a:rPr>
              <a:t>Detecting visual events </a:t>
            </a:r>
            <a:r>
              <a:rPr kumimoji="0" lang="en-US" sz="1400" b="0" i="0" u="none" strike="noStrike" kern="1200" cap="none" spc="0" normalizeH="0" baseline="0" noProof="0" dirty="0">
                <a:ln>
                  <a:noFill/>
                </a:ln>
                <a:solidFill>
                  <a:srgbClr val="002050"/>
                </a:solidFill>
                <a:effectLst/>
                <a:uLnTx/>
                <a:uFillTx/>
                <a:latin typeface="Segoe UI"/>
                <a:ea typeface="+mn-ea"/>
                <a:cs typeface=""/>
              </a:rPr>
              <a:t>by querying disparate image and text data </a:t>
            </a:r>
          </a:p>
        </p:txBody>
      </p:sp>
      <p:sp>
        <p:nvSpPr>
          <p:cNvPr id="42" name="Content Placeholder 2"/>
          <p:cNvSpPr txBox="1">
            <a:spLocks/>
          </p:cNvSpPr>
          <p:nvPr/>
        </p:nvSpPr>
        <p:spPr>
          <a:xfrm>
            <a:off x="388953" y="2899555"/>
            <a:ext cx="3996538" cy="70844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600"/>
              </a:spcAft>
              <a:buClr>
                <a:srgbClr val="00C0F9"/>
              </a:buClr>
              <a:buSzTx/>
              <a:buFont typeface="Arial" panose="020B0604020202020204" pitchFamily="34" charset="0"/>
              <a:buNone/>
              <a:tabLst/>
              <a:defRPr/>
            </a:pPr>
            <a:r>
              <a:rPr kumimoji="0" lang="en-US" sz="2800" b="1" i="0" u="none" strike="noStrike" kern="1200" cap="none" spc="0" normalizeH="0" baseline="0" noProof="0" dirty="0">
                <a:ln>
                  <a:noFill/>
                </a:ln>
                <a:solidFill>
                  <a:srgbClr val="FFFFFF"/>
                </a:solidFill>
                <a:effectLst/>
                <a:uLnTx/>
                <a:uFillTx/>
                <a:latin typeface="Segoe UI"/>
                <a:ea typeface="+mn-ea"/>
                <a:cs typeface="Segoe UI Light" panose="020B0502040204020203" pitchFamily="34" charset="0"/>
              </a:rPr>
              <a:t>Ask questions of big data—all types, volumes and locations</a:t>
            </a:r>
          </a:p>
        </p:txBody>
      </p:sp>
      <p:sp>
        <p:nvSpPr>
          <p:cNvPr id="43" name="Rectangle 42"/>
          <p:cNvSpPr/>
          <p:nvPr/>
        </p:nvSpPr>
        <p:spPr>
          <a:xfrm>
            <a:off x="388951" y="4432157"/>
            <a:ext cx="104246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Ideal for: </a:t>
            </a:r>
          </a:p>
        </p:txBody>
      </p:sp>
      <p:grpSp>
        <p:nvGrpSpPr>
          <p:cNvPr id="4" name="Group 3"/>
          <p:cNvGrpSpPr/>
          <p:nvPr/>
        </p:nvGrpSpPr>
        <p:grpSpPr>
          <a:xfrm>
            <a:off x="8101353" y="2131465"/>
            <a:ext cx="1708602" cy="1683709"/>
            <a:chOff x="7111883" y="2309581"/>
            <a:chExt cx="1530607" cy="1269787"/>
          </a:xfrm>
        </p:grpSpPr>
        <p:grpSp>
          <p:nvGrpSpPr>
            <p:cNvPr id="5" name="Group 4"/>
            <p:cNvGrpSpPr/>
            <p:nvPr/>
          </p:nvGrpSpPr>
          <p:grpSpPr>
            <a:xfrm>
              <a:off x="7111883" y="2330628"/>
              <a:ext cx="1530607" cy="1248740"/>
              <a:chOff x="10711223" y="804501"/>
              <a:chExt cx="1274998" cy="1040202"/>
            </a:xfrm>
          </p:grpSpPr>
          <p:sp>
            <p:nvSpPr>
              <p:cNvPr id="54" name="Freeform: Shape 126"/>
              <p:cNvSpPr/>
              <p:nvPr/>
            </p:nvSpPr>
            <p:spPr>
              <a:xfrm>
                <a:off x="10711223" y="804501"/>
                <a:ext cx="1274998" cy="1040202"/>
              </a:xfrm>
              <a:custGeom>
                <a:avLst/>
                <a:gdLst>
                  <a:gd name="connsiteX0" fmla="*/ 286167 w 771201"/>
                  <a:gd name="connsiteY0" fmla="*/ 0 h 629181"/>
                  <a:gd name="connsiteX1" fmla="*/ 498645 w 771201"/>
                  <a:gd name="connsiteY1" fmla="*/ 0 h 629181"/>
                  <a:gd name="connsiteX2" fmla="*/ 771201 w 771201"/>
                  <a:gd name="connsiteY2" fmla="*/ 272556 h 629181"/>
                  <a:gd name="connsiteX3" fmla="*/ 498645 w 771201"/>
                  <a:gd name="connsiteY3" fmla="*/ 545112 h 629181"/>
                  <a:gd name="connsiteX4" fmla="*/ 286167 w 771201"/>
                  <a:gd name="connsiteY4" fmla="*/ 545112 h 629181"/>
                  <a:gd name="connsiteX5" fmla="*/ 231238 w 771201"/>
                  <a:gd name="connsiteY5" fmla="*/ 539575 h 629181"/>
                  <a:gd name="connsiteX6" fmla="*/ 180887 w 771201"/>
                  <a:gd name="connsiteY6" fmla="*/ 523945 h 629181"/>
                  <a:gd name="connsiteX7" fmla="*/ 135212 w 771201"/>
                  <a:gd name="connsiteY7" fmla="*/ 583284 h 629181"/>
                  <a:gd name="connsiteX8" fmla="*/ 0 w 771201"/>
                  <a:gd name="connsiteY8" fmla="*/ 627871 h 629181"/>
                  <a:gd name="connsiteX9" fmla="*/ 110939 w 771201"/>
                  <a:gd name="connsiteY9" fmla="*/ 493202 h 629181"/>
                  <a:gd name="connsiteX10" fmla="*/ 113662 w 771201"/>
                  <a:gd name="connsiteY10" fmla="*/ 481966 h 629181"/>
                  <a:gd name="connsiteX11" fmla="*/ 93441 w 771201"/>
                  <a:gd name="connsiteY11" fmla="*/ 465282 h 629181"/>
                  <a:gd name="connsiteX12" fmla="*/ 13611 w 771201"/>
                  <a:gd name="connsiteY12" fmla="*/ 272556 h 629181"/>
                  <a:gd name="connsiteX13" fmla="*/ 286167 w 771201"/>
                  <a:gd name="connsiteY13" fmla="*/ 0 h 62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1201" h="629181">
                    <a:moveTo>
                      <a:pt x="286167" y="0"/>
                    </a:moveTo>
                    <a:lnTo>
                      <a:pt x="498645" y="0"/>
                    </a:lnTo>
                    <a:cubicBezTo>
                      <a:pt x="649174" y="0"/>
                      <a:pt x="771201" y="122027"/>
                      <a:pt x="771201" y="272556"/>
                    </a:cubicBezTo>
                    <a:cubicBezTo>
                      <a:pt x="771201" y="423085"/>
                      <a:pt x="649174" y="545112"/>
                      <a:pt x="498645" y="545112"/>
                    </a:cubicBezTo>
                    <a:lnTo>
                      <a:pt x="286167" y="545112"/>
                    </a:lnTo>
                    <a:cubicBezTo>
                      <a:pt x="267351" y="545112"/>
                      <a:pt x="248980" y="543205"/>
                      <a:pt x="231238" y="539575"/>
                    </a:cubicBezTo>
                    <a:lnTo>
                      <a:pt x="180887" y="523945"/>
                    </a:lnTo>
                    <a:lnTo>
                      <a:pt x="135212" y="583284"/>
                    </a:lnTo>
                    <a:cubicBezTo>
                      <a:pt x="97758" y="616780"/>
                      <a:pt x="49729" y="634288"/>
                      <a:pt x="0" y="627871"/>
                    </a:cubicBezTo>
                    <a:cubicBezTo>
                      <a:pt x="50549" y="599817"/>
                      <a:pt x="89852" y="551314"/>
                      <a:pt x="110939" y="493202"/>
                    </a:cubicBezTo>
                    <a:lnTo>
                      <a:pt x="113662" y="481966"/>
                    </a:lnTo>
                    <a:lnTo>
                      <a:pt x="93441" y="465282"/>
                    </a:lnTo>
                    <a:cubicBezTo>
                      <a:pt x="44118" y="415960"/>
                      <a:pt x="13611" y="347821"/>
                      <a:pt x="13611" y="272556"/>
                    </a:cubicBezTo>
                    <a:cubicBezTo>
                      <a:pt x="13611" y="122027"/>
                      <a:pt x="135638" y="0"/>
                      <a:pt x="286167" y="0"/>
                    </a:cubicBezTo>
                    <a:close/>
                  </a:path>
                </a:pathLst>
              </a:cu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137160" bIns="365760" rtlCol="0" anchor="b">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HISTORICAL</a:t>
                </a:r>
              </a:p>
            </p:txBody>
          </p:sp>
          <p:sp>
            <p:nvSpPr>
              <p:cNvPr id="51" name="Freeform 18"/>
              <p:cNvSpPr>
                <a:spLocks noEditPoints="1"/>
              </p:cNvSpPr>
              <p:nvPr/>
            </p:nvSpPr>
            <p:spPr bwMode="black">
              <a:xfrm rot="17995606">
                <a:off x="11167121" y="947112"/>
                <a:ext cx="352270" cy="276615"/>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2050"/>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120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grpSp>
          <p:nvGrpSpPr>
            <p:cNvPr id="34" name="Group 33"/>
            <p:cNvGrpSpPr/>
            <p:nvPr/>
          </p:nvGrpSpPr>
          <p:grpSpPr>
            <a:xfrm flipH="1">
              <a:off x="7111883" y="2309581"/>
              <a:ext cx="1530607" cy="1248740"/>
              <a:chOff x="10711223" y="804501"/>
              <a:chExt cx="1274998" cy="1040202"/>
            </a:xfrm>
          </p:grpSpPr>
          <p:sp>
            <p:nvSpPr>
              <p:cNvPr id="35" name="Freeform: Shape 126"/>
              <p:cNvSpPr/>
              <p:nvPr/>
            </p:nvSpPr>
            <p:spPr>
              <a:xfrm>
                <a:off x="10711223" y="804501"/>
                <a:ext cx="1274998" cy="1040202"/>
              </a:xfrm>
              <a:custGeom>
                <a:avLst/>
                <a:gdLst>
                  <a:gd name="connsiteX0" fmla="*/ 286167 w 771201"/>
                  <a:gd name="connsiteY0" fmla="*/ 0 h 629181"/>
                  <a:gd name="connsiteX1" fmla="*/ 498645 w 771201"/>
                  <a:gd name="connsiteY1" fmla="*/ 0 h 629181"/>
                  <a:gd name="connsiteX2" fmla="*/ 771201 w 771201"/>
                  <a:gd name="connsiteY2" fmla="*/ 272556 h 629181"/>
                  <a:gd name="connsiteX3" fmla="*/ 498645 w 771201"/>
                  <a:gd name="connsiteY3" fmla="*/ 545112 h 629181"/>
                  <a:gd name="connsiteX4" fmla="*/ 286167 w 771201"/>
                  <a:gd name="connsiteY4" fmla="*/ 545112 h 629181"/>
                  <a:gd name="connsiteX5" fmla="*/ 231238 w 771201"/>
                  <a:gd name="connsiteY5" fmla="*/ 539575 h 629181"/>
                  <a:gd name="connsiteX6" fmla="*/ 180887 w 771201"/>
                  <a:gd name="connsiteY6" fmla="*/ 523945 h 629181"/>
                  <a:gd name="connsiteX7" fmla="*/ 135212 w 771201"/>
                  <a:gd name="connsiteY7" fmla="*/ 583284 h 629181"/>
                  <a:gd name="connsiteX8" fmla="*/ 0 w 771201"/>
                  <a:gd name="connsiteY8" fmla="*/ 627871 h 629181"/>
                  <a:gd name="connsiteX9" fmla="*/ 110939 w 771201"/>
                  <a:gd name="connsiteY9" fmla="*/ 493202 h 629181"/>
                  <a:gd name="connsiteX10" fmla="*/ 113662 w 771201"/>
                  <a:gd name="connsiteY10" fmla="*/ 481966 h 629181"/>
                  <a:gd name="connsiteX11" fmla="*/ 93441 w 771201"/>
                  <a:gd name="connsiteY11" fmla="*/ 465282 h 629181"/>
                  <a:gd name="connsiteX12" fmla="*/ 13611 w 771201"/>
                  <a:gd name="connsiteY12" fmla="*/ 272556 h 629181"/>
                  <a:gd name="connsiteX13" fmla="*/ 286167 w 771201"/>
                  <a:gd name="connsiteY13" fmla="*/ 0 h 62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1201" h="629181">
                    <a:moveTo>
                      <a:pt x="286167" y="0"/>
                    </a:moveTo>
                    <a:lnTo>
                      <a:pt x="498645" y="0"/>
                    </a:lnTo>
                    <a:cubicBezTo>
                      <a:pt x="649174" y="0"/>
                      <a:pt x="771201" y="122027"/>
                      <a:pt x="771201" y="272556"/>
                    </a:cubicBezTo>
                    <a:cubicBezTo>
                      <a:pt x="771201" y="423085"/>
                      <a:pt x="649174" y="545112"/>
                      <a:pt x="498645" y="545112"/>
                    </a:cubicBezTo>
                    <a:lnTo>
                      <a:pt x="286167" y="545112"/>
                    </a:lnTo>
                    <a:cubicBezTo>
                      <a:pt x="267351" y="545112"/>
                      <a:pt x="248980" y="543205"/>
                      <a:pt x="231238" y="539575"/>
                    </a:cubicBezTo>
                    <a:lnTo>
                      <a:pt x="180887" y="523945"/>
                    </a:lnTo>
                    <a:lnTo>
                      <a:pt x="135212" y="583284"/>
                    </a:lnTo>
                    <a:cubicBezTo>
                      <a:pt x="97758" y="616780"/>
                      <a:pt x="49729" y="634288"/>
                      <a:pt x="0" y="627871"/>
                    </a:cubicBezTo>
                    <a:cubicBezTo>
                      <a:pt x="50549" y="599817"/>
                      <a:pt x="89852" y="551314"/>
                      <a:pt x="110939" y="493202"/>
                    </a:cubicBezTo>
                    <a:lnTo>
                      <a:pt x="113662" y="481966"/>
                    </a:lnTo>
                    <a:lnTo>
                      <a:pt x="93441" y="465282"/>
                    </a:lnTo>
                    <a:cubicBezTo>
                      <a:pt x="44118" y="415960"/>
                      <a:pt x="13611" y="347821"/>
                      <a:pt x="13611" y="272556"/>
                    </a:cubicBezTo>
                    <a:cubicBezTo>
                      <a:pt x="13611" y="122027"/>
                      <a:pt x="135638" y="0"/>
                      <a:pt x="286167" y="0"/>
                    </a:cubicBezTo>
                    <a:close/>
                  </a:path>
                </a:pathLst>
              </a:cu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137160" bIns="365760" rtlCol="0" anchor="b">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Data Virtualization</a:t>
                </a:r>
              </a:p>
            </p:txBody>
          </p:sp>
          <p:sp>
            <p:nvSpPr>
              <p:cNvPr id="36" name="Freeform 18"/>
              <p:cNvSpPr>
                <a:spLocks noEditPoints="1"/>
              </p:cNvSpPr>
              <p:nvPr/>
            </p:nvSpPr>
            <p:spPr bwMode="black">
              <a:xfrm rot="17995606">
                <a:off x="11167121" y="947112"/>
                <a:ext cx="352270" cy="276615"/>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2050"/>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120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grpSp>
      <p:grpSp>
        <p:nvGrpSpPr>
          <p:cNvPr id="30" name="Group 29"/>
          <p:cNvGrpSpPr/>
          <p:nvPr/>
        </p:nvGrpSpPr>
        <p:grpSpPr>
          <a:xfrm>
            <a:off x="5687405" y="427457"/>
            <a:ext cx="1319712" cy="824222"/>
            <a:chOff x="5687405" y="417610"/>
            <a:chExt cx="1319712" cy="824222"/>
          </a:xfrm>
        </p:grpSpPr>
        <p:sp>
          <p:nvSpPr>
            <p:cNvPr id="37" name="Content Placeholder 2"/>
            <p:cNvSpPr txBox="1">
              <a:spLocks/>
            </p:cNvSpPr>
            <p:nvPr/>
          </p:nvSpPr>
          <p:spPr>
            <a:xfrm>
              <a:off x="5687405" y="1066399"/>
              <a:ext cx="1319712" cy="175433"/>
            </a:xfrm>
            <a:prstGeom prst="borderCallout1">
              <a:avLst>
                <a:gd name="adj1" fmla="val -641"/>
                <a:gd name="adj2" fmla="val 328"/>
                <a:gd name="adj3" fmla="val 27632"/>
                <a:gd name="adj4" fmla="val 28358"/>
              </a:avLst>
            </a:prstGeom>
            <a:noFill/>
            <a:ln w="19050">
              <a:noFill/>
            </a:ln>
          </p:spPr>
          <p:txBody>
            <a:bodyPr vert="horz" wrap="square" lIns="64008" tIns="18288" rIns="64008" bIns="18288" rtlCol="0">
              <a:sp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0072C6"/>
                </a:buClr>
                <a:buSzTx/>
                <a:buFont typeface="Arial" panose="020B0604020202020204" pitchFamily="34" charset="0"/>
                <a:buNone/>
                <a:tabLst/>
                <a:defRPr/>
              </a:pPr>
              <a:r>
                <a:rPr kumimoji="0" lang="en-US" sz="1000" b="1" i="0" u="none" strike="noStrike" kern="1200" cap="none" spc="0" normalizeH="0" baseline="0" noProof="0" dirty="0">
                  <a:ln>
                    <a:noFill/>
                  </a:ln>
                  <a:solidFill>
                    <a:srgbClr val="002050"/>
                  </a:solidFill>
                  <a:effectLst/>
                  <a:uLnTx/>
                  <a:uFillTx/>
                  <a:latin typeface="Segoe UI" charset="0"/>
                  <a:ea typeface="Segoe UI" charset="0"/>
                  <a:cs typeface="Segoe UI" charset="0"/>
                </a:rPr>
                <a:t>ITDMs</a:t>
              </a:r>
            </a:p>
          </p:txBody>
        </p:sp>
        <p:sp>
          <p:nvSpPr>
            <p:cNvPr id="39" name="Freeform 46"/>
            <p:cNvSpPr/>
            <p:nvPr/>
          </p:nvSpPr>
          <p:spPr bwMode="auto">
            <a:xfrm flipV="1">
              <a:off x="6021507" y="417610"/>
              <a:ext cx="651508" cy="590043"/>
            </a:xfrm>
            <a:custGeom>
              <a:avLst/>
              <a:gdLst>
                <a:gd name="connsiteX0" fmla="*/ 402144 w 1232076"/>
                <a:gd name="connsiteY0" fmla="*/ 521164 h 1142536"/>
                <a:gd name="connsiteX1" fmla="*/ 403411 w 1232076"/>
                <a:gd name="connsiteY1" fmla="*/ 516536 h 1142536"/>
                <a:gd name="connsiteX2" fmla="*/ 407773 w 1232076"/>
                <a:gd name="connsiteY2" fmla="*/ 517761 h 1142536"/>
                <a:gd name="connsiteX3" fmla="*/ 412815 w 1232076"/>
                <a:gd name="connsiteY3" fmla="*/ 497941 h 1142536"/>
                <a:gd name="connsiteX4" fmla="*/ 418715 w 1232076"/>
                <a:gd name="connsiteY4" fmla="*/ 490944 h 1142536"/>
                <a:gd name="connsiteX5" fmla="*/ 612977 w 1232076"/>
                <a:gd name="connsiteY5" fmla="*/ 443543 h 1142536"/>
                <a:gd name="connsiteX6" fmla="*/ 823810 w 1232076"/>
                <a:gd name="connsiteY6" fmla="*/ 521164 h 1142536"/>
                <a:gd name="connsiteX7" fmla="*/ 823810 w 1232076"/>
                <a:gd name="connsiteY7" fmla="*/ 514694 h 1142536"/>
                <a:gd name="connsiteX8" fmla="*/ 824676 w 1232076"/>
                <a:gd name="connsiteY8" fmla="*/ 517763 h 1142536"/>
                <a:gd name="connsiteX9" fmla="*/ 1222430 w 1232076"/>
                <a:gd name="connsiteY9" fmla="*/ 78510 h 1142536"/>
                <a:gd name="connsiteX10" fmla="*/ 617947 w 1232076"/>
                <a:gd name="connsiteY10" fmla="*/ 10 h 1142536"/>
                <a:gd name="connsiteX11" fmla="*/ 10020 w 1232076"/>
                <a:gd name="connsiteY11" fmla="*/ 78510 h 1142536"/>
                <a:gd name="connsiteX12" fmla="*/ 322666 w 1232076"/>
                <a:gd name="connsiteY12" fmla="*/ 493847 h 1142536"/>
                <a:gd name="connsiteX13" fmla="*/ 402144 w 1232076"/>
                <a:gd name="connsiteY13" fmla="*/ 516180 h 1142536"/>
                <a:gd name="connsiteX14" fmla="*/ 616227 w 1232076"/>
                <a:gd name="connsiteY14" fmla="*/ 1142536 h 1142536"/>
                <a:gd name="connsiteX15" fmla="*/ 926921 w 1232076"/>
                <a:gd name="connsiteY15" fmla="*/ 843599 h 1142536"/>
                <a:gd name="connsiteX16" fmla="*/ 616227 w 1232076"/>
                <a:gd name="connsiteY16" fmla="*/ 544661 h 1142536"/>
                <a:gd name="connsiteX17" fmla="*/ 305533 w 1232076"/>
                <a:gd name="connsiteY17" fmla="*/ 843599 h 1142536"/>
                <a:gd name="connsiteX18" fmla="*/ 616227 w 1232076"/>
                <a:gd name="connsiteY18" fmla="*/ 1142536 h 114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2076" h="1142536">
                  <a:moveTo>
                    <a:pt x="402144" y="521164"/>
                  </a:moveTo>
                  <a:lnTo>
                    <a:pt x="403411" y="516536"/>
                  </a:lnTo>
                  <a:lnTo>
                    <a:pt x="407773" y="517761"/>
                  </a:lnTo>
                  <a:lnTo>
                    <a:pt x="412815" y="497941"/>
                  </a:lnTo>
                  <a:lnTo>
                    <a:pt x="418715" y="490944"/>
                  </a:lnTo>
                  <a:cubicBezTo>
                    <a:pt x="450725" y="463082"/>
                    <a:pt x="525661" y="443543"/>
                    <a:pt x="612977" y="443543"/>
                  </a:cubicBezTo>
                  <a:cubicBezTo>
                    <a:pt x="729399" y="443543"/>
                    <a:pt x="823810" y="478279"/>
                    <a:pt x="823810" y="521164"/>
                  </a:cubicBezTo>
                  <a:lnTo>
                    <a:pt x="823810" y="514694"/>
                  </a:lnTo>
                  <a:lnTo>
                    <a:pt x="824676" y="517763"/>
                  </a:lnTo>
                  <a:cubicBezTo>
                    <a:pt x="1313502" y="399970"/>
                    <a:pt x="1229206" y="105777"/>
                    <a:pt x="1222430" y="78510"/>
                  </a:cubicBezTo>
                  <a:cubicBezTo>
                    <a:pt x="1110624" y="37126"/>
                    <a:pt x="886318" y="-712"/>
                    <a:pt x="617947" y="10"/>
                  </a:cubicBezTo>
                  <a:cubicBezTo>
                    <a:pt x="349577" y="731"/>
                    <a:pt x="211656" y="38177"/>
                    <a:pt x="10020" y="78510"/>
                  </a:cubicBezTo>
                  <a:cubicBezTo>
                    <a:pt x="2859" y="115291"/>
                    <a:pt x="-70919" y="365639"/>
                    <a:pt x="322666" y="493847"/>
                  </a:cubicBezTo>
                  <a:lnTo>
                    <a:pt x="402144" y="516180"/>
                  </a:lnTo>
                  <a:close/>
                  <a:moveTo>
                    <a:pt x="616227" y="1142536"/>
                  </a:moveTo>
                  <a:cubicBezTo>
                    <a:pt x="787819" y="1142536"/>
                    <a:pt x="926921" y="1008697"/>
                    <a:pt x="926921" y="843599"/>
                  </a:cubicBezTo>
                  <a:cubicBezTo>
                    <a:pt x="926921" y="678501"/>
                    <a:pt x="787819" y="544661"/>
                    <a:pt x="616227" y="544661"/>
                  </a:cubicBezTo>
                  <a:cubicBezTo>
                    <a:pt x="444636" y="544661"/>
                    <a:pt x="305533" y="678501"/>
                    <a:pt x="305533" y="843599"/>
                  </a:cubicBezTo>
                  <a:cubicBezTo>
                    <a:pt x="305533" y="1008697"/>
                    <a:pt x="444636" y="1142536"/>
                    <a:pt x="616227" y="1142536"/>
                  </a:cubicBezTo>
                  <a:close/>
                </a:path>
              </a:pathLst>
            </a:custGeom>
            <a:solidFill>
              <a:srgbClr val="70C7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40" name="Group 39"/>
          <p:cNvGrpSpPr/>
          <p:nvPr/>
        </p:nvGrpSpPr>
        <p:grpSpPr>
          <a:xfrm>
            <a:off x="6673015" y="426403"/>
            <a:ext cx="1319712" cy="824222"/>
            <a:chOff x="5687405" y="417610"/>
            <a:chExt cx="1319712" cy="824222"/>
          </a:xfrm>
        </p:grpSpPr>
        <p:sp>
          <p:nvSpPr>
            <p:cNvPr id="41" name="Content Placeholder 2"/>
            <p:cNvSpPr txBox="1">
              <a:spLocks/>
            </p:cNvSpPr>
            <p:nvPr/>
          </p:nvSpPr>
          <p:spPr>
            <a:xfrm>
              <a:off x="5687405" y="1066399"/>
              <a:ext cx="1319712" cy="175433"/>
            </a:xfrm>
            <a:prstGeom prst="borderCallout1">
              <a:avLst>
                <a:gd name="adj1" fmla="val -641"/>
                <a:gd name="adj2" fmla="val 328"/>
                <a:gd name="adj3" fmla="val 27632"/>
                <a:gd name="adj4" fmla="val 28358"/>
              </a:avLst>
            </a:prstGeom>
            <a:noFill/>
            <a:ln w="19050">
              <a:noFill/>
            </a:ln>
          </p:spPr>
          <p:txBody>
            <a:bodyPr vert="horz" wrap="square" lIns="64008" tIns="18288" rIns="64008" bIns="18288" rtlCol="0">
              <a:sp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0072C6"/>
                </a:buClr>
                <a:buSzTx/>
                <a:buFont typeface="Arial" panose="020B0604020202020204" pitchFamily="34" charset="0"/>
                <a:buNone/>
                <a:tabLst/>
                <a:defRPr/>
              </a:pPr>
              <a:r>
                <a:rPr kumimoji="0" lang="en-US" sz="1000" b="1" i="0" u="none" strike="noStrike" kern="1200" cap="none" spc="0" normalizeH="0" baseline="0" noProof="0" dirty="0">
                  <a:ln>
                    <a:noFill/>
                  </a:ln>
                  <a:solidFill>
                    <a:srgbClr val="002050"/>
                  </a:solidFill>
                  <a:effectLst/>
                  <a:uLnTx/>
                  <a:uFillTx/>
                  <a:latin typeface="Segoe UI" charset="0"/>
                  <a:ea typeface="Segoe UI" charset="0"/>
                  <a:cs typeface="Segoe UI" charset="0"/>
                </a:rPr>
                <a:t>Analysts</a:t>
              </a:r>
            </a:p>
          </p:txBody>
        </p:sp>
        <p:sp>
          <p:nvSpPr>
            <p:cNvPr id="44" name="Freeform 46"/>
            <p:cNvSpPr/>
            <p:nvPr/>
          </p:nvSpPr>
          <p:spPr bwMode="auto">
            <a:xfrm flipV="1">
              <a:off x="6021507" y="417610"/>
              <a:ext cx="651508" cy="590043"/>
            </a:xfrm>
            <a:custGeom>
              <a:avLst/>
              <a:gdLst>
                <a:gd name="connsiteX0" fmla="*/ 402144 w 1232076"/>
                <a:gd name="connsiteY0" fmla="*/ 521164 h 1142536"/>
                <a:gd name="connsiteX1" fmla="*/ 403411 w 1232076"/>
                <a:gd name="connsiteY1" fmla="*/ 516536 h 1142536"/>
                <a:gd name="connsiteX2" fmla="*/ 407773 w 1232076"/>
                <a:gd name="connsiteY2" fmla="*/ 517761 h 1142536"/>
                <a:gd name="connsiteX3" fmla="*/ 412815 w 1232076"/>
                <a:gd name="connsiteY3" fmla="*/ 497941 h 1142536"/>
                <a:gd name="connsiteX4" fmla="*/ 418715 w 1232076"/>
                <a:gd name="connsiteY4" fmla="*/ 490944 h 1142536"/>
                <a:gd name="connsiteX5" fmla="*/ 612977 w 1232076"/>
                <a:gd name="connsiteY5" fmla="*/ 443543 h 1142536"/>
                <a:gd name="connsiteX6" fmla="*/ 823810 w 1232076"/>
                <a:gd name="connsiteY6" fmla="*/ 521164 h 1142536"/>
                <a:gd name="connsiteX7" fmla="*/ 823810 w 1232076"/>
                <a:gd name="connsiteY7" fmla="*/ 514694 h 1142536"/>
                <a:gd name="connsiteX8" fmla="*/ 824676 w 1232076"/>
                <a:gd name="connsiteY8" fmla="*/ 517763 h 1142536"/>
                <a:gd name="connsiteX9" fmla="*/ 1222430 w 1232076"/>
                <a:gd name="connsiteY9" fmla="*/ 78510 h 1142536"/>
                <a:gd name="connsiteX10" fmla="*/ 617947 w 1232076"/>
                <a:gd name="connsiteY10" fmla="*/ 10 h 1142536"/>
                <a:gd name="connsiteX11" fmla="*/ 10020 w 1232076"/>
                <a:gd name="connsiteY11" fmla="*/ 78510 h 1142536"/>
                <a:gd name="connsiteX12" fmla="*/ 322666 w 1232076"/>
                <a:gd name="connsiteY12" fmla="*/ 493847 h 1142536"/>
                <a:gd name="connsiteX13" fmla="*/ 402144 w 1232076"/>
                <a:gd name="connsiteY13" fmla="*/ 516180 h 1142536"/>
                <a:gd name="connsiteX14" fmla="*/ 616227 w 1232076"/>
                <a:gd name="connsiteY14" fmla="*/ 1142536 h 1142536"/>
                <a:gd name="connsiteX15" fmla="*/ 926921 w 1232076"/>
                <a:gd name="connsiteY15" fmla="*/ 843599 h 1142536"/>
                <a:gd name="connsiteX16" fmla="*/ 616227 w 1232076"/>
                <a:gd name="connsiteY16" fmla="*/ 544661 h 1142536"/>
                <a:gd name="connsiteX17" fmla="*/ 305533 w 1232076"/>
                <a:gd name="connsiteY17" fmla="*/ 843599 h 1142536"/>
                <a:gd name="connsiteX18" fmla="*/ 616227 w 1232076"/>
                <a:gd name="connsiteY18" fmla="*/ 1142536 h 114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2076" h="1142536">
                  <a:moveTo>
                    <a:pt x="402144" y="521164"/>
                  </a:moveTo>
                  <a:lnTo>
                    <a:pt x="403411" y="516536"/>
                  </a:lnTo>
                  <a:lnTo>
                    <a:pt x="407773" y="517761"/>
                  </a:lnTo>
                  <a:lnTo>
                    <a:pt x="412815" y="497941"/>
                  </a:lnTo>
                  <a:lnTo>
                    <a:pt x="418715" y="490944"/>
                  </a:lnTo>
                  <a:cubicBezTo>
                    <a:pt x="450725" y="463082"/>
                    <a:pt x="525661" y="443543"/>
                    <a:pt x="612977" y="443543"/>
                  </a:cubicBezTo>
                  <a:cubicBezTo>
                    <a:pt x="729399" y="443543"/>
                    <a:pt x="823810" y="478279"/>
                    <a:pt x="823810" y="521164"/>
                  </a:cubicBezTo>
                  <a:lnTo>
                    <a:pt x="823810" y="514694"/>
                  </a:lnTo>
                  <a:lnTo>
                    <a:pt x="824676" y="517763"/>
                  </a:lnTo>
                  <a:cubicBezTo>
                    <a:pt x="1313502" y="399970"/>
                    <a:pt x="1229206" y="105777"/>
                    <a:pt x="1222430" y="78510"/>
                  </a:cubicBezTo>
                  <a:cubicBezTo>
                    <a:pt x="1110624" y="37126"/>
                    <a:pt x="886318" y="-712"/>
                    <a:pt x="617947" y="10"/>
                  </a:cubicBezTo>
                  <a:cubicBezTo>
                    <a:pt x="349577" y="731"/>
                    <a:pt x="211656" y="38177"/>
                    <a:pt x="10020" y="78510"/>
                  </a:cubicBezTo>
                  <a:cubicBezTo>
                    <a:pt x="2859" y="115291"/>
                    <a:pt x="-70919" y="365639"/>
                    <a:pt x="322666" y="493847"/>
                  </a:cubicBezTo>
                  <a:lnTo>
                    <a:pt x="402144" y="516180"/>
                  </a:lnTo>
                  <a:close/>
                  <a:moveTo>
                    <a:pt x="616227" y="1142536"/>
                  </a:moveTo>
                  <a:cubicBezTo>
                    <a:pt x="787819" y="1142536"/>
                    <a:pt x="926921" y="1008697"/>
                    <a:pt x="926921" y="843599"/>
                  </a:cubicBezTo>
                  <a:cubicBezTo>
                    <a:pt x="926921" y="678501"/>
                    <a:pt x="787819" y="544661"/>
                    <a:pt x="616227" y="544661"/>
                  </a:cubicBezTo>
                  <a:cubicBezTo>
                    <a:pt x="444636" y="544661"/>
                    <a:pt x="305533" y="678501"/>
                    <a:pt x="305533" y="843599"/>
                  </a:cubicBezTo>
                  <a:cubicBezTo>
                    <a:pt x="305533" y="1008697"/>
                    <a:pt x="444636" y="1142536"/>
                    <a:pt x="616227" y="1142536"/>
                  </a:cubicBezTo>
                  <a:close/>
                </a:path>
              </a:pathLst>
            </a:custGeom>
            <a:solidFill>
              <a:srgbClr val="70C7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mn-ea"/>
                <a:cs typeface="+mn-cs"/>
              </a:endParaRPr>
            </a:p>
          </p:txBody>
        </p:sp>
      </p:grpSp>
      <p:cxnSp>
        <p:nvCxnSpPr>
          <p:cNvPr id="48" name="Straight Connector 47"/>
          <p:cNvCxnSpPr/>
          <p:nvPr/>
        </p:nvCxnSpPr>
        <p:spPr>
          <a:xfrm>
            <a:off x="6255478" y="2867501"/>
            <a:ext cx="0" cy="286144"/>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5875877" y="2366574"/>
            <a:ext cx="750533" cy="500927"/>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40"/>
          <p:cNvSpPr/>
          <p:nvPr/>
        </p:nvSpPr>
        <p:spPr>
          <a:xfrm>
            <a:off x="5867831" y="2303734"/>
            <a:ext cx="763755" cy="576366"/>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Up Arrow 43"/>
          <p:cNvSpPr/>
          <p:nvPr/>
        </p:nvSpPr>
        <p:spPr bwMode="auto">
          <a:xfrm rot="2700000">
            <a:off x="6124473" y="2459740"/>
            <a:ext cx="293509" cy="306667"/>
          </a:xfrm>
          <a:prstGeom prst="upArrow">
            <a:avLst>
              <a:gd name="adj1" fmla="val 55098"/>
              <a:gd name="adj2" fmla="val 50000"/>
            </a:avLst>
          </a:prstGeom>
          <a:solidFill>
            <a:srgbClr val="70C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Connector 52"/>
          <p:cNvCxnSpPr/>
          <p:nvPr/>
        </p:nvCxnSpPr>
        <p:spPr>
          <a:xfrm flipH="1">
            <a:off x="6555734" y="4252550"/>
            <a:ext cx="662589" cy="12167"/>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7253693" y="3454946"/>
            <a:ext cx="1606401" cy="1712655"/>
            <a:chOff x="8905528" y="3790022"/>
            <a:chExt cx="1432175" cy="1369331"/>
          </a:xfrm>
        </p:grpSpPr>
        <p:sp>
          <p:nvSpPr>
            <p:cNvPr id="57" name="Freeform 38"/>
            <p:cNvSpPr/>
            <p:nvPr/>
          </p:nvSpPr>
          <p:spPr bwMode="auto">
            <a:xfrm flipH="1">
              <a:off x="8905528" y="3790022"/>
              <a:ext cx="1432175" cy="136933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64" name="Rectangle 63"/>
            <p:cNvSpPr/>
            <p:nvPr/>
          </p:nvSpPr>
          <p:spPr>
            <a:xfrm>
              <a:off x="9728350" y="4639210"/>
              <a:ext cx="593120" cy="280002"/>
            </a:xfrm>
            <a:prstGeom prst="rect">
              <a:avLst/>
            </a:prstGeom>
            <a:solidFill>
              <a:srgbClr val="002050"/>
            </a:solidFill>
            <a:ln>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C7FF"/>
                  </a:solidFill>
                  <a:effectLst/>
                  <a:uLnTx/>
                  <a:uFillTx/>
                  <a:latin typeface="Segoe UI"/>
                  <a:ea typeface="+mn-ea"/>
                  <a:cs typeface="+mn-cs"/>
                </a:rPr>
                <a:t>DW</a:t>
              </a:r>
            </a:p>
          </p:txBody>
        </p:sp>
      </p:grpSp>
      <p:grpSp>
        <p:nvGrpSpPr>
          <p:cNvPr id="68" name="Group 67"/>
          <p:cNvGrpSpPr/>
          <p:nvPr/>
        </p:nvGrpSpPr>
        <p:grpSpPr>
          <a:xfrm>
            <a:off x="5845136" y="3109721"/>
            <a:ext cx="654647" cy="705453"/>
            <a:chOff x="6433613" y="3559531"/>
            <a:chExt cx="1427088" cy="1830315"/>
          </a:xfrm>
        </p:grpSpPr>
        <p:sp>
          <p:nvSpPr>
            <p:cNvPr id="69" name="Freeform 37"/>
            <p:cNvSpPr/>
            <p:nvPr/>
          </p:nvSpPr>
          <p:spPr bwMode="auto">
            <a:xfrm>
              <a:off x="6433613" y="3559531"/>
              <a:ext cx="1427088" cy="183031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p:cNvSpPr/>
            <p:nvPr/>
          </p:nvSpPr>
          <p:spPr>
            <a:xfrm>
              <a:off x="6461245" y="4435749"/>
              <a:ext cx="1371824" cy="280002"/>
            </a:xfrm>
            <a:prstGeom prst="rect">
              <a:avLst/>
            </a:prstGeom>
            <a:solidFill>
              <a:srgbClr val="002050"/>
            </a:solidFill>
            <a:ln>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C7FF"/>
                  </a:solidFill>
                  <a:effectLst/>
                  <a:uLnTx/>
                  <a:uFillTx/>
                  <a:latin typeface="Segoe UI"/>
                  <a:ea typeface="+mn-ea"/>
                  <a:cs typeface="+mn-cs"/>
                </a:rPr>
                <a:t>OLTP</a:t>
              </a:r>
            </a:p>
          </p:txBody>
        </p:sp>
      </p:grpSp>
      <p:grpSp>
        <p:nvGrpSpPr>
          <p:cNvPr id="71" name="Group 70"/>
          <p:cNvGrpSpPr/>
          <p:nvPr/>
        </p:nvGrpSpPr>
        <p:grpSpPr>
          <a:xfrm>
            <a:off x="5845136" y="3849155"/>
            <a:ext cx="654647" cy="705453"/>
            <a:chOff x="6433613" y="3559531"/>
            <a:chExt cx="1427088" cy="1830315"/>
          </a:xfrm>
        </p:grpSpPr>
        <p:sp>
          <p:nvSpPr>
            <p:cNvPr id="72" name="Freeform 37"/>
            <p:cNvSpPr/>
            <p:nvPr/>
          </p:nvSpPr>
          <p:spPr bwMode="auto">
            <a:xfrm>
              <a:off x="6433613" y="3559531"/>
              <a:ext cx="1427088" cy="183031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p:cNvSpPr/>
            <p:nvPr/>
          </p:nvSpPr>
          <p:spPr>
            <a:xfrm>
              <a:off x="6461245" y="4435749"/>
              <a:ext cx="1371824" cy="280002"/>
            </a:xfrm>
            <a:prstGeom prst="rect">
              <a:avLst/>
            </a:prstGeom>
            <a:solidFill>
              <a:srgbClr val="002050"/>
            </a:solidFill>
            <a:ln>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C7FF"/>
                  </a:solidFill>
                  <a:effectLst/>
                  <a:uLnTx/>
                  <a:uFillTx/>
                  <a:latin typeface="Segoe UI"/>
                  <a:ea typeface="+mn-ea"/>
                  <a:cs typeface="+mn-cs"/>
                </a:rPr>
                <a:t>ERP</a:t>
              </a:r>
            </a:p>
          </p:txBody>
        </p:sp>
      </p:grpSp>
      <p:grpSp>
        <p:nvGrpSpPr>
          <p:cNvPr id="74" name="Group 73"/>
          <p:cNvGrpSpPr/>
          <p:nvPr/>
        </p:nvGrpSpPr>
        <p:grpSpPr>
          <a:xfrm>
            <a:off x="5845551" y="4588588"/>
            <a:ext cx="654647" cy="705453"/>
            <a:chOff x="6433613" y="3559531"/>
            <a:chExt cx="1427088" cy="1830315"/>
          </a:xfrm>
        </p:grpSpPr>
        <p:sp>
          <p:nvSpPr>
            <p:cNvPr id="75" name="Freeform 37"/>
            <p:cNvSpPr/>
            <p:nvPr/>
          </p:nvSpPr>
          <p:spPr bwMode="auto">
            <a:xfrm>
              <a:off x="6433613" y="3559531"/>
              <a:ext cx="1427088" cy="183031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p:cNvSpPr/>
            <p:nvPr/>
          </p:nvSpPr>
          <p:spPr>
            <a:xfrm>
              <a:off x="6461245" y="4435749"/>
              <a:ext cx="1371824" cy="280002"/>
            </a:xfrm>
            <a:prstGeom prst="rect">
              <a:avLst/>
            </a:prstGeom>
            <a:solidFill>
              <a:srgbClr val="002050"/>
            </a:solidFill>
            <a:ln>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C7FF"/>
                  </a:solidFill>
                  <a:effectLst/>
                  <a:uLnTx/>
                  <a:uFillTx/>
                  <a:latin typeface="Segoe UI"/>
                  <a:ea typeface="+mn-ea"/>
                  <a:cs typeface="+mn-cs"/>
                </a:rPr>
                <a:t>CRM</a:t>
              </a:r>
            </a:p>
          </p:txBody>
        </p:sp>
      </p:grpSp>
      <p:cxnSp>
        <p:nvCxnSpPr>
          <p:cNvPr id="77" name="Straight Connector 76"/>
          <p:cNvCxnSpPr/>
          <p:nvPr/>
        </p:nvCxnSpPr>
        <p:spPr>
          <a:xfrm flipH="1">
            <a:off x="6545443" y="4450766"/>
            <a:ext cx="673282" cy="457273"/>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flipV="1">
            <a:off x="6555734" y="3622008"/>
            <a:ext cx="657645" cy="424306"/>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H="1">
            <a:off x="10008077" y="4241327"/>
            <a:ext cx="662589" cy="12167"/>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10024772" y="3605435"/>
            <a:ext cx="673282" cy="457273"/>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flipV="1">
            <a:off x="9989869" y="4433168"/>
            <a:ext cx="657645" cy="424306"/>
          </a:xfrm>
          <a:prstGeom prst="line">
            <a:avLst/>
          </a:prstGeom>
          <a:ln w="25400">
            <a:solidFill>
              <a:srgbClr val="70C7FF"/>
            </a:solidFill>
            <a:prstDash val="sysDash"/>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9283898" y="4120405"/>
            <a:ext cx="645299" cy="987054"/>
            <a:chOff x="3473450" y="4579938"/>
            <a:chExt cx="1741488" cy="2278062"/>
          </a:xfrm>
          <a:solidFill>
            <a:srgbClr val="002050"/>
          </a:solidFill>
        </p:grpSpPr>
        <p:sp>
          <p:nvSpPr>
            <p:cNvPr id="83"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86" name="Rectangle 85"/>
          <p:cNvSpPr/>
          <p:nvPr/>
        </p:nvSpPr>
        <p:spPr>
          <a:xfrm>
            <a:off x="9299323" y="4395325"/>
            <a:ext cx="665274" cy="350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C7FF"/>
                </a:solidFill>
                <a:effectLst/>
                <a:uLnTx/>
                <a:uFillTx/>
                <a:latin typeface="Segoe UI"/>
                <a:ea typeface="+mn-ea"/>
                <a:cs typeface="+mn-cs"/>
              </a:rPr>
              <a:t>Big Data</a:t>
            </a:r>
          </a:p>
        </p:txBody>
      </p:sp>
      <p:sp>
        <p:nvSpPr>
          <p:cNvPr id="92" name="Freeform 5"/>
          <p:cNvSpPr>
            <a:spLocks noEditPoints="1"/>
          </p:cNvSpPr>
          <p:nvPr/>
        </p:nvSpPr>
        <p:spPr bwMode="auto">
          <a:xfrm>
            <a:off x="10891703" y="3342577"/>
            <a:ext cx="522994" cy="464821"/>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02050"/>
          </a:solidFill>
          <a:ln>
            <a:noFill/>
          </a:ln>
        </p:spPr>
        <p:txBody>
          <a:bodyPr vert="horz" wrap="square" lIns="23341" tIns="23341" rIns="0" bIns="23341" numCol="1" anchor="t" anchorCtr="0" compatLnSpc="1">
            <a:prstTxWarp prst="textNoShape">
              <a:avLst/>
            </a:prstTxWarp>
          </a:bodyPr>
          <a:lstStyle/>
          <a:p>
            <a:pPr marL="0" marR="0" lvl="0" indent="0" algn="l" defTabSz="476149" rtl="0" eaLnBrk="1" fontAlgn="auto" latinLnBrk="0" hangingPunct="1">
              <a:lnSpc>
                <a:spcPct val="100000"/>
              </a:lnSpc>
              <a:spcBef>
                <a:spcPts val="0"/>
              </a:spcBef>
              <a:spcAft>
                <a:spcPts val="0"/>
              </a:spcAft>
              <a:buClrTx/>
              <a:buSzTx/>
              <a:buFontTx/>
              <a:buNone/>
              <a:tabLst/>
              <a:defRPr/>
            </a:pPr>
            <a:endParaRPr kumimoji="0" lang="en-US" sz="667"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93" name="Group 92"/>
          <p:cNvGrpSpPr/>
          <p:nvPr/>
        </p:nvGrpSpPr>
        <p:grpSpPr>
          <a:xfrm>
            <a:off x="10804565" y="3994246"/>
            <a:ext cx="929182" cy="484325"/>
            <a:chOff x="2769908" y="1409697"/>
            <a:chExt cx="1965320" cy="1055586"/>
          </a:xfrm>
          <a:solidFill>
            <a:srgbClr val="002050"/>
          </a:solidFill>
        </p:grpSpPr>
        <p:sp>
          <p:nvSpPr>
            <p:cNvPr id="9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23341" rIns="0" rtlCol="0" anchor="ctr"/>
            <a:lstStyle/>
            <a:p>
              <a:pPr marL="0" marR="0" lvl="0" indent="0" algn="l" defTabSz="466769" rtl="0" eaLnBrk="1" fontAlgn="auto" latinLnBrk="0" hangingPunct="1">
                <a:lnSpc>
                  <a:spcPct val="100000"/>
                </a:lnSpc>
                <a:spcBef>
                  <a:spcPts val="0"/>
                </a:spcBef>
                <a:spcAft>
                  <a:spcPts val="0"/>
                </a:spcAft>
                <a:buClrTx/>
                <a:buSzTx/>
                <a:buFontTx/>
                <a:buNone/>
                <a:tabLst/>
                <a:defRPr/>
              </a:pPr>
              <a:endParaRPr kumimoji="0" lang="en-US" sz="667" b="0" i="0" u="none" strike="noStrike" kern="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endParaRPr>
            </a:p>
          </p:txBody>
        </p:sp>
        <p:sp>
          <p:nvSpPr>
            <p:cNvPr id="9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23341" tIns="23341" rIns="0" bIns="46682" numCol="1" spcCol="0" rtlCol="0" fromWordArt="0" anchor="b" anchorCtr="0" forceAA="0" compatLnSpc="1">
              <a:prstTxWarp prst="textNoShape">
                <a:avLst/>
              </a:prstTxWarp>
              <a:noAutofit/>
            </a:bodyPr>
            <a:lstStyle/>
            <a:p>
              <a:pPr marL="0" marR="0" lvl="0" indent="0" algn="l" defTabSz="466615" rtl="0" eaLnBrk="1" fontAlgn="base" latinLnBrk="0" hangingPunct="1">
                <a:lnSpc>
                  <a:spcPct val="100000"/>
                </a:lnSpc>
                <a:spcBef>
                  <a:spcPct val="0"/>
                </a:spcBef>
                <a:spcAft>
                  <a:spcPct val="0"/>
                </a:spcAft>
                <a:buClrTx/>
                <a:buSzTx/>
                <a:buFontTx/>
                <a:buNone/>
                <a:tabLst/>
                <a:defRPr/>
              </a:pPr>
              <a:endParaRPr kumimoji="0" lang="en-US" sz="667" b="0" i="0" u="none" strike="noStrike" kern="0" cap="none" spc="-25" normalizeH="0" baseline="0" noProof="0" dirty="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9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23341" tIns="23340" rIns="0" bIns="23340" numCol="1" rtlCol="0" anchor="ctr" anchorCtr="0" compatLnSpc="1">
              <a:prstTxWarp prst="textNoShape">
                <a:avLst/>
              </a:prstTxWarp>
            </a:bodyPr>
            <a:lstStyle/>
            <a:p>
              <a:pPr marL="0" marR="0" lvl="0" indent="0" algn="l" defTabSz="420089" rtl="0" eaLnBrk="1" fontAlgn="auto" latinLnBrk="0" hangingPunct="1">
                <a:lnSpc>
                  <a:spcPct val="100000"/>
                </a:lnSpc>
                <a:spcBef>
                  <a:spcPts val="0"/>
                </a:spcBef>
                <a:spcAft>
                  <a:spcPts val="0"/>
                </a:spcAft>
                <a:buClrTx/>
                <a:buSzTx/>
                <a:buFontTx/>
                <a:buNone/>
                <a:tabLst/>
                <a:defRPr/>
              </a:pPr>
              <a:endParaRPr kumimoji="0" lang="en-US" sz="667"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grpSp>
      <p:sp>
        <p:nvSpPr>
          <p:cNvPr id="97" name="Rounded Rectangle 18"/>
          <p:cNvSpPr/>
          <p:nvPr/>
        </p:nvSpPr>
        <p:spPr bwMode="auto">
          <a:xfrm>
            <a:off x="10891703" y="4695845"/>
            <a:ext cx="435324" cy="471755"/>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23341" tIns="23341" rIns="0" bIns="46682" numCol="1" spcCol="0" rtlCol="0" fromWordArt="0" anchor="b" anchorCtr="0" forceAA="0" compatLnSpc="1">
            <a:prstTxWarp prst="textNoShape">
              <a:avLst/>
            </a:prstTxWarp>
            <a:noAutofit/>
          </a:bodyPr>
          <a:lstStyle/>
          <a:p>
            <a:pPr marL="0" marR="0" lvl="0" indent="0" algn="l" defTabSz="466615" rtl="0" eaLnBrk="1" fontAlgn="base" latinLnBrk="0" hangingPunct="1">
              <a:lnSpc>
                <a:spcPct val="100000"/>
              </a:lnSpc>
              <a:spcBef>
                <a:spcPct val="0"/>
              </a:spcBef>
              <a:spcAft>
                <a:spcPct val="0"/>
              </a:spcAft>
              <a:buClrTx/>
              <a:buSzTx/>
              <a:buFontTx/>
              <a:buNone/>
              <a:tabLst/>
              <a:defRPr/>
            </a:pPr>
            <a:endParaRPr kumimoji="0" lang="en-US" sz="667" b="0" i="0" u="none" strike="noStrike" kern="0" cap="none" spc="-25" normalizeH="0" baseline="0" noProof="0" dirty="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99" name="Rectangle 98"/>
          <p:cNvSpPr/>
          <p:nvPr/>
        </p:nvSpPr>
        <p:spPr>
          <a:xfrm>
            <a:off x="10587258" y="3687638"/>
            <a:ext cx="1179900" cy="3959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C7FF"/>
                </a:solidFill>
                <a:effectLst/>
                <a:uLnTx/>
                <a:uFillTx/>
                <a:latin typeface="Segoe UI"/>
                <a:ea typeface="+mn-ea"/>
                <a:cs typeface="+mn-cs"/>
              </a:rPr>
              <a:t>Social Media</a:t>
            </a:r>
          </a:p>
        </p:txBody>
      </p:sp>
      <p:sp>
        <p:nvSpPr>
          <p:cNvPr id="100" name="Rectangle 99"/>
          <p:cNvSpPr/>
          <p:nvPr/>
        </p:nvSpPr>
        <p:spPr>
          <a:xfrm>
            <a:off x="10583242" y="4380947"/>
            <a:ext cx="1179900" cy="3959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C7FF"/>
                </a:solidFill>
                <a:effectLst/>
                <a:uLnTx/>
                <a:uFillTx/>
                <a:latin typeface="Segoe UI"/>
                <a:ea typeface="+mn-ea"/>
                <a:cs typeface="+mn-cs"/>
              </a:rPr>
              <a:t>Devices</a:t>
            </a:r>
          </a:p>
        </p:txBody>
      </p:sp>
      <p:sp>
        <p:nvSpPr>
          <p:cNvPr id="101" name="Rectangle 100"/>
          <p:cNvSpPr/>
          <p:nvPr/>
        </p:nvSpPr>
        <p:spPr>
          <a:xfrm>
            <a:off x="10615035" y="5101743"/>
            <a:ext cx="1179900" cy="3959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C7FF"/>
                </a:solidFill>
                <a:effectLst/>
                <a:uLnTx/>
                <a:uFillTx/>
                <a:latin typeface="Segoe UI"/>
                <a:ea typeface="+mn-ea"/>
                <a:cs typeface="+mn-cs"/>
              </a:rPr>
              <a:t>Web / logs</a:t>
            </a:r>
          </a:p>
        </p:txBody>
      </p:sp>
    </p:spTree>
    <p:extLst>
      <p:ext uri="{BB962C8B-B14F-4D97-AF65-F5344CB8AC3E}">
        <p14:creationId xmlns:p14="http://schemas.microsoft.com/office/powerpoint/2010/main" val="19230591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5454595" y="159026"/>
            <a:ext cx="6737405" cy="6698974"/>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 name="Rectangle 12"/>
          <p:cNvSpPr/>
          <p:nvPr/>
        </p:nvSpPr>
        <p:spPr>
          <a:xfrm>
            <a:off x="388951" y="373505"/>
            <a:ext cx="5342378"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rPr>
              <a:t>Free-form DW</a:t>
            </a:r>
          </a:p>
        </p:txBody>
      </p:sp>
      <p:sp>
        <p:nvSpPr>
          <p:cNvPr id="21" name="Rectangle 20"/>
          <p:cNvSpPr/>
          <p:nvPr/>
        </p:nvSpPr>
        <p:spPr>
          <a:xfrm>
            <a:off x="-2" y="4790976"/>
            <a:ext cx="4178809" cy="1843962"/>
          </a:xfrm>
          <a:prstGeom prst="rect">
            <a:avLst/>
          </a:pr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50"/>
              </a:solidFill>
              <a:effectLst/>
              <a:uLnTx/>
              <a:uFillTx/>
              <a:latin typeface="Segoe UI"/>
              <a:ea typeface="+mn-ea"/>
              <a:cs typeface="+mn-cs"/>
            </a:endParaRPr>
          </a:p>
        </p:txBody>
      </p:sp>
      <p:sp>
        <p:nvSpPr>
          <p:cNvPr id="42" name="Content Placeholder 2"/>
          <p:cNvSpPr txBox="1">
            <a:spLocks/>
          </p:cNvSpPr>
          <p:nvPr/>
        </p:nvSpPr>
        <p:spPr>
          <a:xfrm>
            <a:off x="388953" y="2899555"/>
            <a:ext cx="3996538" cy="70844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600"/>
              </a:spcAft>
              <a:buClr>
                <a:srgbClr val="00C0F9"/>
              </a:buClr>
              <a:buSzTx/>
              <a:buFont typeface="Arial" panose="020B0604020202020204" pitchFamily="34" charset="0"/>
              <a:buNone/>
              <a:tabLst/>
              <a:defRPr/>
            </a:pPr>
            <a:r>
              <a:rPr kumimoji="0" lang="en-US" sz="2800" b="1" i="0" u="none" strike="noStrike" kern="1200" cap="none" spc="0" normalizeH="0" baseline="0" noProof="0" dirty="0">
                <a:ln>
                  <a:noFill/>
                </a:ln>
                <a:solidFill>
                  <a:srgbClr val="FFFFFF"/>
                </a:solidFill>
                <a:effectLst/>
                <a:uLnTx/>
                <a:uFillTx/>
                <a:latin typeface="Segoe UI"/>
                <a:ea typeface="+mn-ea"/>
                <a:cs typeface="Segoe UI Light" panose="020B0502040204020203" pitchFamily="34" charset="0"/>
              </a:rPr>
              <a:t>Unlock advanced data science and the power of deep learning</a:t>
            </a:r>
          </a:p>
        </p:txBody>
      </p:sp>
      <p:sp>
        <p:nvSpPr>
          <p:cNvPr id="43" name="Rectangle 42"/>
          <p:cNvSpPr/>
          <p:nvPr/>
        </p:nvSpPr>
        <p:spPr>
          <a:xfrm>
            <a:off x="388951" y="4432157"/>
            <a:ext cx="104246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Ideal for: </a:t>
            </a:r>
          </a:p>
        </p:txBody>
      </p:sp>
      <p:grpSp>
        <p:nvGrpSpPr>
          <p:cNvPr id="8" name="Group 7"/>
          <p:cNvGrpSpPr/>
          <p:nvPr/>
        </p:nvGrpSpPr>
        <p:grpSpPr>
          <a:xfrm>
            <a:off x="5687405" y="427457"/>
            <a:ext cx="1319712" cy="824222"/>
            <a:chOff x="5687405" y="417610"/>
            <a:chExt cx="1319712" cy="824222"/>
          </a:xfrm>
        </p:grpSpPr>
        <p:sp>
          <p:nvSpPr>
            <p:cNvPr id="46" name="Content Placeholder 2"/>
            <p:cNvSpPr txBox="1">
              <a:spLocks/>
            </p:cNvSpPr>
            <p:nvPr/>
          </p:nvSpPr>
          <p:spPr>
            <a:xfrm>
              <a:off x="5687405" y="1066399"/>
              <a:ext cx="1319712" cy="175433"/>
            </a:xfrm>
            <a:prstGeom prst="borderCallout1">
              <a:avLst>
                <a:gd name="adj1" fmla="val -641"/>
                <a:gd name="adj2" fmla="val 328"/>
                <a:gd name="adj3" fmla="val 27632"/>
                <a:gd name="adj4" fmla="val 28358"/>
              </a:avLst>
            </a:prstGeom>
            <a:noFill/>
            <a:ln w="19050">
              <a:noFill/>
            </a:ln>
          </p:spPr>
          <p:txBody>
            <a:bodyPr vert="horz" wrap="square" lIns="64008" tIns="18288" rIns="64008" bIns="18288" rtlCol="0">
              <a:sp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0072C6"/>
                </a:buClr>
                <a:buSzTx/>
                <a:buFont typeface="Arial" panose="020B0604020202020204" pitchFamily="34" charset="0"/>
                <a:buNone/>
                <a:tabLst/>
                <a:defRPr/>
              </a:pPr>
              <a:r>
                <a:rPr kumimoji="0" lang="en-US" sz="1000" b="1" i="0" u="none" strike="noStrike" kern="1200" cap="none" spc="0" normalizeH="0" baseline="0" noProof="0" dirty="0">
                  <a:ln>
                    <a:noFill/>
                  </a:ln>
                  <a:solidFill>
                    <a:srgbClr val="002050"/>
                  </a:solidFill>
                  <a:effectLst/>
                  <a:uLnTx/>
                  <a:uFillTx/>
                  <a:latin typeface="Segoe UI" charset="0"/>
                  <a:ea typeface="Segoe UI" charset="0"/>
                  <a:cs typeface="Segoe UI" charset="0"/>
                </a:rPr>
                <a:t>BDMs</a:t>
              </a:r>
            </a:p>
          </p:txBody>
        </p:sp>
        <p:sp>
          <p:nvSpPr>
            <p:cNvPr id="47" name="Freeform 46"/>
            <p:cNvSpPr/>
            <p:nvPr/>
          </p:nvSpPr>
          <p:spPr bwMode="auto">
            <a:xfrm flipV="1">
              <a:off x="6021507" y="417610"/>
              <a:ext cx="651508" cy="590043"/>
            </a:xfrm>
            <a:custGeom>
              <a:avLst/>
              <a:gdLst>
                <a:gd name="connsiteX0" fmla="*/ 402144 w 1232076"/>
                <a:gd name="connsiteY0" fmla="*/ 521164 h 1142536"/>
                <a:gd name="connsiteX1" fmla="*/ 403411 w 1232076"/>
                <a:gd name="connsiteY1" fmla="*/ 516536 h 1142536"/>
                <a:gd name="connsiteX2" fmla="*/ 407773 w 1232076"/>
                <a:gd name="connsiteY2" fmla="*/ 517761 h 1142536"/>
                <a:gd name="connsiteX3" fmla="*/ 412815 w 1232076"/>
                <a:gd name="connsiteY3" fmla="*/ 497941 h 1142536"/>
                <a:gd name="connsiteX4" fmla="*/ 418715 w 1232076"/>
                <a:gd name="connsiteY4" fmla="*/ 490944 h 1142536"/>
                <a:gd name="connsiteX5" fmla="*/ 612977 w 1232076"/>
                <a:gd name="connsiteY5" fmla="*/ 443543 h 1142536"/>
                <a:gd name="connsiteX6" fmla="*/ 823810 w 1232076"/>
                <a:gd name="connsiteY6" fmla="*/ 521164 h 1142536"/>
                <a:gd name="connsiteX7" fmla="*/ 823810 w 1232076"/>
                <a:gd name="connsiteY7" fmla="*/ 514694 h 1142536"/>
                <a:gd name="connsiteX8" fmla="*/ 824676 w 1232076"/>
                <a:gd name="connsiteY8" fmla="*/ 517763 h 1142536"/>
                <a:gd name="connsiteX9" fmla="*/ 1222430 w 1232076"/>
                <a:gd name="connsiteY9" fmla="*/ 78510 h 1142536"/>
                <a:gd name="connsiteX10" fmla="*/ 617947 w 1232076"/>
                <a:gd name="connsiteY10" fmla="*/ 10 h 1142536"/>
                <a:gd name="connsiteX11" fmla="*/ 10020 w 1232076"/>
                <a:gd name="connsiteY11" fmla="*/ 78510 h 1142536"/>
                <a:gd name="connsiteX12" fmla="*/ 322666 w 1232076"/>
                <a:gd name="connsiteY12" fmla="*/ 493847 h 1142536"/>
                <a:gd name="connsiteX13" fmla="*/ 402144 w 1232076"/>
                <a:gd name="connsiteY13" fmla="*/ 516180 h 1142536"/>
                <a:gd name="connsiteX14" fmla="*/ 616227 w 1232076"/>
                <a:gd name="connsiteY14" fmla="*/ 1142536 h 1142536"/>
                <a:gd name="connsiteX15" fmla="*/ 926921 w 1232076"/>
                <a:gd name="connsiteY15" fmla="*/ 843599 h 1142536"/>
                <a:gd name="connsiteX16" fmla="*/ 616227 w 1232076"/>
                <a:gd name="connsiteY16" fmla="*/ 544661 h 1142536"/>
                <a:gd name="connsiteX17" fmla="*/ 305533 w 1232076"/>
                <a:gd name="connsiteY17" fmla="*/ 843599 h 1142536"/>
                <a:gd name="connsiteX18" fmla="*/ 616227 w 1232076"/>
                <a:gd name="connsiteY18" fmla="*/ 1142536 h 114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2076" h="1142536">
                  <a:moveTo>
                    <a:pt x="402144" y="521164"/>
                  </a:moveTo>
                  <a:lnTo>
                    <a:pt x="403411" y="516536"/>
                  </a:lnTo>
                  <a:lnTo>
                    <a:pt x="407773" y="517761"/>
                  </a:lnTo>
                  <a:lnTo>
                    <a:pt x="412815" y="497941"/>
                  </a:lnTo>
                  <a:lnTo>
                    <a:pt x="418715" y="490944"/>
                  </a:lnTo>
                  <a:cubicBezTo>
                    <a:pt x="450725" y="463082"/>
                    <a:pt x="525661" y="443543"/>
                    <a:pt x="612977" y="443543"/>
                  </a:cubicBezTo>
                  <a:cubicBezTo>
                    <a:pt x="729399" y="443543"/>
                    <a:pt x="823810" y="478279"/>
                    <a:pt x="823810" y="521164"/>
                  </a:cubicBezTo>
                  <a:lnTo>
                    <a:pt x="823810" y="514694"/>
                  </a:lnTo>
                  <a:lnTo>
                    <a:pt x="824676" y="517763"/>
                  </a:lnTo>
                  <a:cubicBezTo>
                    <a:pt x="1313502" y="399970"/>
                    <a:pt x="1229206" y="105777"/>
                    <a:pt x="1222430" y="78510"/>
                  </a:cubicBezTo>
                  <a:cubicBezTo>
                    <a:pt x="1110624" y="37126"/>
                    <a:pt x="886318" y="-712"/>
                    <a:pt x="617947" y="10"/>
                  </a:cubicBezTo>
                  <a:cubicBezTo>
                    <a:pt x="349577" y="731"/>
                    <a:pt x="211656" y="38177"/>
                    <a:pt x="10020" y="78510"/>
                  </a:cubicBezTo>
                  <a:cubicBezTo>
                    <a:pt x="2859" y="115291"/>
                    <a:pt x="-70919" y="365639"/>
                    <a:pt x="322666" y="493847"/>
                  </a:cubicBezTo>
                  <a:lnTo>
                    <a:pt x="402144" y="516180"/>
                  </a:lnTo>
                  <a:close/>
                  <a:moveTo>
                    <a:pt x="616227" y="1142536"/>
                  </a:moveTo>
                  <a:cubicBezTo>
                    <a:pt x="787819" y="1142536"/>
                    <a:pt x="926921" y="1008697"/>
                    <a:pt x="926921" y="843599"/>
                  </a:cubicBezTo>
                  <a:cubicBezTo>
                    <a:pt x="926921" y="678501"/>
                    <a:pt x="787819" y="544661"/>
                    <a:pt x="616227" y="544661"/>
                  </a:cubicBezTo>
                  <a:cubicBezTo>
                    <a:pt x="444636" y="544661"/>
                    <a:pt x="305533" y="678501"/>
                    <a:pt x="305533" y="843599"/>
                  </a:cubicBezTo>
                  <a:cubicBezTo>
                    <a:pt x="305533" y="1008697"/>
                    <a:pt x="444636" y="1142536"/>
                    <a:pt x="616227" y="1142536"/>
                  </a:cubicBezTo>
                  <a:close/>
                </a:path>
              </a:pathLst>
            </a:custGeom>
            <a:solidFill>
              <a:srgbClr val="70C7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58" name="Group 57"/>
          <p:cNvGrpSpPr/>
          <p:nvPr/>
        </p:nvGrpSpPr>
        <p:grpSpPr>
          <a:xfrm>
            <a:off x="7060282" y="427457"/>
            <a:ext cx="1319712" cy="824222"/>
            <a:chOff x="5687405" y="417610"/>
            <a:chExt cx="1319712" cy="824222"/>
          </a:xfrm>
        </p:grpSpPr>
        <p:sp>
          <p:nvSpPr>
            <p:cNvPr id="59" name="Content Placeholder 2"/>
            <p:cNvSpPr txBox="1">
              <a:spLocks/>
            </p:cNvSpPr>
            <p:nvPr/>
          </p:nvSpPr>
          <p:spPr>
            <a:xfrm>
              <a:off x="5687405" y="1066399"/>
              <a:ext cx="1319712" cy="175433"/>
            </a:xfrm>
            <a:prstGeom prst="borderCallout1">
              <a:avLst>
                <a:gd name="adj1" fmla="val -641"/>
                <a:gd name="adj2" fmla="val 328"/>
                <a:gd name="adj3" fmla="val 27632"/>
                <a:gd name="adj4" fmla="val 28358"/>
              </a:avLst>
            </a:prstGeom>
            <a:noFill/>
            <a:ln w="19050">
              <a:noFill/>
            </a:ln>
          </p:spPr>
          <p:txBody>
            <a:bodyPr vert="horz" wrap="square" lIns="64008" tIns="18288" rIns="64008" bIns="18288" rtlCol="0">
              <a:sp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0072C6"/>
                </a:buClr>
                <a:buSzTx/>
                <a:buFont typeface="Arial" panose="020B0604020202020204" pitchFamily="34" charset="0"/>
                <a:buNone/>
                <a:tabLst/>
                <a:defRPr/>
              </a:pPr>
              <a:r>
                <a:rPr kumimoji="0" lang="en-US" sz="1000" b="1" i="0" u="none" strike="noStrike" kern="1200" cap="none" spc="0" normalizeH="0" baseline="0" noProof="0" dirty="0">
                  <a:ln>
                    <a:noFill/>
                  </a:ln>
                  <a:solidFill>
                    <a:srgbClr val="002050"/>
                  </a:solidFill>
                  <a:effectLst/>
                  <a:uLnTx/>
                  <a:uFillTx/>
                  <a:latin typeface="Segoe UI" charset="0"/>
                  <a:ea typeface="Segoe UI" charset="0"/>
                  <a:cs typeface="Segoe UI" charset="0"/>
                </a:rPr>
                <a:t>Data Scientists</a:t>
              </a:r>
            </a:p>
          </p:txBody>
        </p:sp>
        <p:sp>
          <p:nvSpPr>
            <p:cNvPr id="60" name="Freeform 59"/>
            <p:cNvSpPr/>
            <p:nvPr/>
          </p:nvSpPr>
          <p:spPr bwMode="auto">
            <a:xfrm flipV="1">
              <a:off x="6021507" y="417610"/>
              <a:ext cx="651508" cy="590043"/>
            </a:xfrm>
            <a:custGeom>
              <a:avLst/>
              <a:gdLst>
                <a:gd name="connsiteX0" fmla="*/ 402144 w 1232076"/>
                <a:gd name="connsiteY0" fmla="*/ 521164 h 1142536"/>
                <a:gd name="connsiteX1" fmla="*/ 403411 w 1232076"/>
                <a:gd name="connsiteY1" fmla="*/ 516536 h 1142536"/>
                <a:gd name="connsiteX2" fmla="*/ 407773 w 1232076"/>
                <a:gd name="connsiteY2" fmla="*/ 517761 h 1142536"/>
                <a:gd name="connsiteX3" fmla="*/ 412815 w 1232076"/>
                <a:gd name="connsiteY3" fmla="*/ 497941 h 1142536"/>
                <a:gd name="connsiteX4" fmla="*/ 418715 w 1232076"/>
                <a:gd name="connsiteY4" fmla="*/ 490944 h 1142536"/>
                <a:gd name="connsiteX5" fmla="*/ 612977 w 1232076"/>
                <a:gd name="connsiteY5" fmla="*/ 443543 h 1142536"/>
                <a:gd name="connsiteX6" fmla="*/ 823810 w 1232076"/>
                <a:gd name="connsiteY6" fmla="*/ 521164 h 1142536"/>
                <a:gd name="connsiteX7" fmla="*/ 823810 w 1232076"/>
                <a:gd name="connsiteY7" fmla="*/ 514694 h 1142536"/>
                <a:gd name="connsiteX8" fmla="*/ 824676 w 1232076"/>
                <a:gd name="connsiteY8" fmla="*/ 517763 h 1142536"/>
                <a:gd name="connsiteX9" fmla="*/ 1222430 w 1232076"/>
                <a:gd name="connsiteY9" fmla="*/ 78510 h 1142536"/>
                <a:gd name="connsiteX10" fmla="*/ 617947 w 1232076"/>
                <a:gd name="connsiteY10" fmla="*/ 10 h 1142536"/>
                <a:gd name="connsiteX11" fmla="*/ 10020 w 1232076"/>
                <a:gd name="connsiteY11" fmla="*/ 78510 h 1142536"/>
                <a:gd name="connsiteX12" fmla="*/ 322666 w 1232076"/>
                <a:gd name="connsiteY12" fmla="*/ 493847 h 1142536"/>
                <a:gd name="connsiteX13" fmla="*/ 402144 w 1232076"/>
                <a:gd name="connsiteY13" fmla="*/ 516180 h 1142536"/>
                <a:gd name="connsiteX14" fmla="*/ 616227 w 1232076"/>
                <a:gd name="connsiteY14" fmla="*/ 1142536 h 1142536"/>
                <a:gd name="connsiteX15" fmla="*/ 926921 w 1232076"/>
                <a:gd name="connsiteY15" fmla="*/ 843599 h 1142536"/>
                <a:gd name="connsiteX16" fmla="*/ 616227 w 1232076"/>
                <a:gd name="connsiteY16" fmla="*/ 544661 h 1142536"/>
                <a:gd name="connsiteX17" fmla="*/ 305533 w 1232076"/>
                <a:gd name="connsiteY17" fmla="*/ 843599 h 1142536"/>
                <a:gd name="connsiteX18" fmla="*/ 616227 w 1232076"/>
                <a:gd name="connsiteY18" fmla="*/ 1142536 h 1142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2076" h="1142536">
                  <a:moveTo>
                    <a:pt x="402144" y="521164"/>
                  </a:moveTo>
                  <a:lnTo>
                    <a:pt x="403411" y="516536"/>
                  </a:lnTo>
                  <a:lnTo>
                    <a:pt x="407773" y="517761"/>
                  </a:lnTo>
                  <a:lnTo>
                    <a:pt x="412815" y="497941"/>
                  </a:lnTo>
                  <a:lnTo>
                    <a:pt x="418715" y="490944"/>
                  </a:lnTo>
                  <a:cubicBezTo>
                    <a:pt x="450725" y="463082"/>
                    <a:pt x="525661" y="443543"/>
                    <a:pt x="612977" y="443543"/>
                  </a:cubicBezTo>
                  <a:cubicBezTo>
                    <a:pt x="729399" y="443543"/>
                    <a:pt x="823810" y="478279"/>
                    <a:pt x="823810" y="521164"/>
                  </a:cubicBezTo>
                  <a:lnTo>
                    <a:pt x="823810" y="514694"/>
                  </a:lnTo>
                  <a:lnTo>
                    <a:pt x="824676" y="517763"/>
                  </a:lnTo>
                  <a:cubicBezTo>
                    <a:pt x="1313502" y="399970"/>
                    <a:pt x="1229206" y="105777"/>
                    <a:pt x="1222430" y="78510"/>
                  </a:cubicBezTo>
                  <a:cubicBezTo>
                    <a:pt x="1110624" y="37126"/>
                    <a:pt x="886318" y="-712"/>
                    <a:pt x="617947" y="10"/>
                  </a:cubicBezTo>
                  <a:cubicBezTo>
                    <a:pt x="349577" y="731"/>
                    <a:pt x="211656" y="38177"/>
                    <a:pt x="10020" y="78510"/>
                  </a:cubicBezTo>
                  <a:cubicBezTo>
                    <a:pt x="2859" y="115291"/>
                    <a:pt x="-70919" y="365639"/>
                    <a:pt x="322666" y="493847"/>
                  </a:cubicBezTo>
                  <a:lnTo>
                    <a:pt x="402144" y="516180"/>
                  </a:lnTo>
                  <a:close/>
                  <a:moveTo>
                    <a:pt x="616227" y="1142536"/>
                  </a:moveTo>
                  <a:cubicBezTo>
                    <a:pt x="787819" y="1142536"/>
                    <a:pt x="926921" y="1008697"/>
                    <a:pt x="926921" y="843599"/>
                  </a:cubicBezTo>
                  <a:cubicBezTo>
                    <a:pt x="926921" y="678501"/>
                    <a:pt x="787819" y="544661"/>
                    <a:pt x="616227" y="544661"/>
                  </a:cubicBezTo>
                  <a:cubicBezTo>
                    <a:pt x="444636" y="544661"/>
                    <a:pt x="305533" y="678501"/>
                    <a:pt x="305533" y="843599"/>
                  </a:cubicBezTo>
                  <a:cubicBezTo>
                    <a:pt x="305533" y="1008697"/>
                    <a:pt x="444636" y="1142536"/>
                    <a:pt x="616227" y="1142536"/>
                  </a:cubicBezTo>
                  <a:close/>
                </a:path>
              </a:pathLst>
            </a:custGeom>
            <a:solidFill>
              <a:srgbClr val="70C7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31" name="Content Placeholder 2"/>
          <p:cNvSpPr txBox="1">
            <a:spLocks/>
          </p:cNvSpPr>
          <p:nvPr/>
        </p:nvSpPr>
        <p:spPr>
          <a:xfrm>
            <a:off x="388951" y="4908579"/>
            <a:ext cx="3723002" cy="164748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Light" panose="020B0502040204020203" pitchFamily="34" charset="0"/>
              </a:rPr>
              <a:t>Predicting complex customer behavior </a:t>
            </a:r>
            <a:br>
              <a:rPr kumimoji="0" lang="en-US" sz="1400" b="1" i="0" u="none" strike="noStrike" kern="1200" cap="none" spc="0" normalizeH="0" baseline="0" noProof="0" dirty="0">
                <a:ln>
                  <a:noFill/>
                </a:ln>
                <a:solidFill>
                  <a:srgbClr val="002050"/>
                </a:solidFill>
                <a:effectLst/>
                <a:uLnTx/>
                <a:uFillTx/>
                <a:latin typeface="Segoe UI"/>
                <a:ea typeface="+mn-ea"/>
                <a:cs typeface="Segoe UI Light" panose="020B0502040204020203" pitchFamily="34" charset="0"/>
              </a:rPr>
            </a:br>
            <a:r>
              <a:rPr kumimoji="0" lang="en-US" sz="1400" b="0" i="0" u="none" strike="noStrike" kern="1200" cap="none" spc="0" normalizeH="0" baseline="0" noProof="0" dirty="0">
                <a:ln>
                  <a:noFill/>
                </a:ln>
                <a:solidFill>
                  <a:srgbClr val="002050"/>
                </a:solidFill>
                <a:effectLst/>
                <a:uLnTx/>
                <a:uFillTx/>
                <a:latin typeface="Segoe UI"/>
                <a:ea typeface="+mn-ea"/>
                <a:cs typeface="Segoe UI Light" panose="020B0502040204020203" pitchFamily="34" charset="0"/>
              </a:rPr>
              <a:t>via abstract data models</a:t>
            </a:r>
          </a:p>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Light" panose="020B0502040204020203" pitchFamily="34" charset="0"/>
              </a:rPr>
              <a:t>Hands-free tasks </a:t>
            </a:r>
            <a:r>
              <a:rPr kumimoji="0" lang="en-US" sz="1400" b="0" i="0" u="none" strike="noStrike" kern="1200" cap="none" spc="0" normalizeH="0" baseline="0" noProof="0" dirty="0">
                <a:ln>
                  <a:noFill/>
                </a:ln>
                <a:solidFill>
                  <a:srgbClr val="002050"/>
                </a:solidFill>
                <a:effectLst/>
                <a:uLnTx/>
                <a:uFillTx/>
                <a:latin typeface="Segoe UI"/>
                <a:ea typeface="+mn-ea"/>
                <a:cs typeface="Segoe UI Light" panose="020B0502040204020203" pitchFamily="34" charset="0"/>
              </a:rPr>
              <a:t>requiring adaptive speech recognition and language processing</a:t>
            </a:r>
          </a:p>
          <a:p>
            <a:pPr marL="0" marR="0" lvl="0" indent="0" algn="l" defTabSz="914400" rtl="0" eaLnBrk="1" fontAlgn="auto" latinLnBrk="0" hangingPunct="1">
              <a:lnSpc>
                <a:spcPct val="90000"/>
              </a:lnSpc>
              <a:spcBef>
                <a:spcPts val="800"/>
              </a:spcBef>
              <a:spcAft>
                <a:spcPts val="600"/>
              </a:spcAft>
              <a:buClr>
                <a:srgbClr val="00C0F9"/>
              </a:buClr>
              <a:buSzTx/>
              <a:buFont typeface="Arial" panose="020B0604020202020204" pitchFamily="34" charset="0"/>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Light" panose="020B0502040204020203" pitchFamily="34" charset="0"/>
              </a:rPr>
              <a:t>Advanced motion recognition </a:t>
            </a:r>
            <a:r>
              <a:rPr kumimoji="0" lang="en-US" sz="1400" b="0" i="0" u="none" strike="noStrike" kern="1200" cap="none" spc="0" normalizeH="0" baseline="0" noProof="0" dirty="0">
                <a:ln>
                  <a:noFill/>
                </a:ln>
                <a:solidFill>
                  <a:srgbClr val="002050"/>
                </a:solidFill>
                <a:effectLst/>
                <a:uLnTx/>
                <a:uFillTx/>
                <a:latin typeface="Segoe UI"/>
                <a:ea typeface="+mn-ea"/>
                <a:cs typeface="Segoe UI Light" panose="020B0502040204020203" pitchFamily="34" charset="0"/>
              </a:rPr>
              <a:t>through computer vision machine learning</a:t>
            </a:r>
          </a:p>
        </p:txBody>
      </p:sp>
      <p:grpSp>
        <p:nvGrpSpPr>
          <p:cNvPr id="15" name="Group 14"/>
          <p:cNvGrpSpPr/>
          <p:nvPr/>
        </p:nvGrpSpPr>
        <p:grpSpPr>
          <a:xfrm>
            <a:off x="8140984" y="3919731"/>
            <a:ext cx="1793847" cy="1477999"/>
            <a:chOff x="3473450" y="4579938"/>
            <a:chExt cx="1741488" cy="2278062"/>
          </a:xfrm>
          <a:solidFill>
            <a:srgbClr val="002050"/>
          </a:solidFill>
        </p:grpSpPr>
        <p:sp>
          <p:nvSpPr>
            <p:cNvPr id="1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9" name="Rectangle 18"/>
          <p:cNvSpPr/>
          <p:nvPr/>
        </p:nvSpPr>
        <p:spPr>
          <a:xfrm>
            <a:off x="8626476" y="4390887"/>
            <a:ext cx="822861" cy="2758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C7FF"/>
                </a:solidFill>
                <a:effectLst/>
                <a:uLnTx/>
                <a:uFillTx/>
                <a:latin typeface="Segoe UI"/>
                <a:ea typeface="+mn-ea"/>
                <a:cs typeface="+mn-cs"/>
              </a:rPr>
              <a:t>Data Lake</a:t>
            </a:r>
          </a:p>
        </p:txBody>
      </p:sp>
      <p:grpSp>
        <p:nvGrpSpPr>
          <p:cNvPr id="20" name="Group 19"/>
          <p:cNvGrpSpPr/>
          <p:nvPr/>
        </p:nvGrpSpPr>
        <p:grpSpPr>
          <a:xfrm>
            <a:off x="6661971" y="2546113"/>
            <a:ext cx="1412680" cy="1302989"/>
            <a:chOff x="10738625" y="863769"/>
            <a:chExt cx="1176765" cy="1085391"/>
          </a:xfrm>
        </p:grpSpPr>
        <p:sp>
          <p:nvSpPr>
            <p:cNvPr id="22" name="Freeform: Shape 126"/>
            <p:cNvSpPr/>
            <p:nvPr/>
          </p:nvSpPr>
          <p:spPr>
            <a:xfrm flipH="1">
              <a:off x="10738625" y="863769"/>
              <a:ext cx="1176765" cy="1085391"/>
            </a:xfrm>
            <a:custGeom>
              <a:avLst/>
              <a:gdLst>
                <a:gd name="connsiteX0" fmla="*/ 286167 w 771201"/>
                <a:gd name="connsiteY0" fmla="*/ 0 h 629181"/>
                <a:gd name="connsiteX1" fmla="*/ 498645 w 771201"/>
                <a:gd name="connsiteY1" fmla="*/ 0 h 629181"/>
                <a:gd name="connsiteX2" fmla="*/ 771201 w 771201"/>
                <a:gd name="connsiteY2" fmla="*/ 272556 h 629181"/>
                <a:gd name="connsiteX3" fmla="*/ 498645 w 771201"/>
                <a:gd name="connsiteY3" fmla="*/ 545112 h 629181"/>
                <a:gd name="connsiteX4" fmla="*/ 286167 w 771201"/>
                <a:gd name="connsiteY4" fmla="*/ 545112 h 629181"/>
                <a:gd name="connsiteX5" fmla="*/ 231238 w 771201"/>
                <a:gd name="connsiteY5" fmla="*/ 539575 h 629181"/>
                <a:gd name="connsiteX6" fmla="*/ 180887 w 771201"/>
                <a:gd name="connsiteY6" fmla="*/ 523945 h 629181"/>
                <a:gd name="connsiteX7" fmla="*/ 135212 w 771201"/>
                <a:gd name="connsiteY7" fmla="*/ 583284 h 629181"/>
                <a:gd name="connsiteX8" fmla="*/ 0 w 771201"/>
                <a:gd name="connsiteY8" fmla="*/ 627871 h 629181"/>
                <a:gd name="connsiteX9" fmla="*/ 110939 w 771201"/>
                <a:gd name="connsiteY9" fmla="*/ 493202 h 629181"/>
                <a:gd name="connsiteX10" fmla="*/ 113662 w 771201"/>
                <a:gd name="connsiteY10" fmla="*/ 481966 h 629181"/>
                <a:gd name="connsiteX11" fmla="*/ 93441 w 771201"/>
                <a:gd name="connsiteY11" fmla="*/ 465282 h 629181"/>
                <a:gd name="connsiteX12" fmla="*/ 13611 w 771201"/>
                <a:gd name="connsiteY12" fmla="*/ 272556 h 629181"/>
                <a:gd name="connsiteX13" fmla="*/ 286167 w 771201"/>
                <a:gd name="connsiteY13" fmla="*/ 0 h 62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1201" h="629181">
                  <a:moveTo>
                    <a:pt x="286167" y="0"/>
                  </a:moveTo>
                  <a:lnTo>
                    <a:pt x="498645" y="0"/>
                  </a:lnTo>
                  <a:cubicBezTo>
                    <a:pt x="649174" y="0"/>
                    <a:pt x="771201" y="122027"/>
                    <a:pt x="771201" y="272556"/>
                  </a:cubicBezTo>
                  <a:cubicBezTo>
                    <a:pt x="771201" y="423085"/>
                    <a:pt x="649174" y="545112"/>
                    <a:pt x="498645" y="545112"/>
                  </a:cubicBezTo>
                  <a:lnTo>
                    <a:pt x="286167" y="545112"/>
                  </a:lnTo>
                  <a:cubicBezTo>
                    <a:pt x="267351" y="545112"/>
                    <a:pt x="248980" y="543205"/>
                    <a:pt x="231238" y="539575"/>
                  </a:cubicBezTo>
                  <a:lnTo>
                    <a:pt x="180887" y="523945"/>
                  </a:lnTo>
                  <a:lnTo>
                    <a:pt x="135212" y="583284"/>
                  </a:lnTo>
                  <a:cubicBezTo>
                    <a:pt x="97758" y="616780"/>
                    <a:pt x="49729" y="634288"/>
                    <a:pt x="0" y="627871"/>
                  </a:cubicBezTo>
                  <a:cubicBezTo>
                    <a:pt x="50549" y="599817"/>
                    <a:pt x="89852" y="551314"/>
                    <a:pt x="110939" y="493202"/>
                  </a:cubicBezTo>
                  <a:lnTo>
                    <a:pt x="113662" y="481966"/>
                  </a:lnTo>
                  <a:lnTo>
                    <a:pt x="93441" y="465282"/>
                  </a:lnTo>
                  <a:cubicBezTo>
                    <a:pt x="44118" y="415960"/>
                    <a:pt x="13611" y="347821"/>
                    <a:pt x="13611" y="272556"/>
                  </a:cubicBezTo>
                  <a:cubicBezTo>
                    <a:pt x="13611" y="122027"/>
                    <a:pt x="135638" y="0"/>
                    <a:pt x="286167" y="0"/>
                  </a:cubicBezTo>
                  <a:close/>
                </a:path>
              </a:pathLst>
            </a:cu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137160" bIns="365760" rtlCol="0" anchor="b">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5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5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Machine Learning</a:t>
              </a:r>
            </a:p>
          </p:txBody>
        </p:sp>
        <p:sp>
          <p:nvSpPr>
            <p:cNvPr id="23" name="Freeform 18"/>
            <p:cNvSpPr>
              <a:spLocks noEditPoints="1"/>
            </p:cNvSpPr>
            <p:nvPr/>
          </p:nvSpPr>
          <p:spPr bwMode="black">
            <a:xfrm rot="17995606">
              <a:off x="11167121" y="947112"/>
              <a:ext cx="352270" cy="276615"/>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2050"/>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120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grpSp>
        <p:nvGrpSpPr>
          <p:cNvPr id="24" name="Group 23"/>
          <p:cNvGrpSpPr/>
          <p:nvPr/>
        </p:nvGrpSpPr>
        <p:grpSpPr>
          <a:xfrm>
            <a:off x="8116960" y="2512292"/>
            <a:ext cx="1412680" cy="1302988"/>
            <a:chOff x="10738628" y="863769"/>
            <a:chExt cx="1176765" cy="1085391"/>
          </a:xfrm>
        </p:grpSpPr>
        <p:sp>
          <p:nvSpPr>
            <p:cNvPr id="25" name="Freeform: Shape 126"/>
            <p:cNvSpPr/>
            <p:nvPr/>
          </p:nvSpPr>
          <p:spPr>
            <a:xfrm flipH="1">
              <a:off x="10738628" y="863769"/>
              <a:ext cx="1176765" cy="1085391"/>
            </a:xfrm>
            <a:custGeom>
              <a:avLst/>
              <a:gdLst>
                <a:gd name="connsiteX0" fmla="*/ 286167 w 771201"/>
                <a:gd name="connsiteY0" fmla="*/ 0 h 629181"/>
                <a:gd name="connsiteX1" fmla="*/ 498645 w 771201"/>
                <a:gd name="connsiteY1" fmla="*/ 0 h 629181"/>
                <a:gd name="connsiteX2" fmla="*/ 771201 w 771201"/>
                <a:gd name="connsiteY2" fmla="*/ 272556 h 629181"/>
                <a:gd name="connsiteX3" fmla="*/ 498645 w 771201"/>
                <a:gd name="connsiteY3" fmla="*/ 545112 h 629181"/>
                <a:gd name="connsiteX4" fmla="*/ 286167 w 771201"/>
                <a:gd name="connsiteY4" fmla="*/ 545112 h 629181"/>
                <a:gd name="connsiteX5" fmla="*/ 231238 w 771201"/>
                <a:gd name="connsiteY5" fmla="*/ 539575 h 629181"/>
                <a:gd name="connsiteX6" fmla="*/ 180887 w 771201"/>
                <a:gd name="connsiteY6" fmla="*/ 523945 h 629181"/>
                <a:gd name="connsiteX7" fmla="*/ 135212 w 771201"/>
                <a:gd name="connsiteY7" fmla="*/ 583284 h 629181"/>
                <a:gd name="connsiteX8" fmla="*/ 0 w 771201"/>
                <a:gd name="connsiteY8" fmla="*/ 627871 h 629181"/>
                <a:gd name="connsiteX9" fmla="*/ 110939 w 771201"/>
                <a:gd name="connsiteY9" fmla="*/ 493202 h 629181"/>
                <a:gd name="connsiteX10" fmla="*/ 113662 w 771201"/>
                <a:gd name="connsiteY10" fmla="*/ 481966 h 629181"/>
                <a:gd name="connsiteX11" fmla="*/ 93441 w 771201"/>
                <a:gd name="connsiteY11" fmla="*/ 465282 h 629181"/>
                <a:gd name="connsiteX12" fmla="*/ 13611 w 771201"/>
                <a:gd name="connsiteY12" fmla="*/ 272556 h 629181"/>
                <a:gd name="connsiteX13" fmla="*/ 286167 w 771201"/>
                <a:gd name="connsiteY13" fmla="*/ 0 h 62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1201" h="629181">
                  <a:moveTo>
                    <a:pt x="286167" y="0"/>
                  </a:moveTo>
                  <a:lnTo>
                    <a:pt x="498645" y="0"/>
                  </a:lnTo>
                  <a:cubicBezTo>
                    <a:pt x="649174" y="0"/>
                    <a:pt x="771201" y="122027"/>
                    <a:pt x="771201" y="272556"/>
                  </a:cubicBezTo>
                  <a:cubicBezTo>
                    <a:pt x="771201" y="423085"/>
                    <a:pt x="649174" y="545112"/>
                    <a:pt x="498645" y="545112"/>
                  </a:cubicBezTo>
                  <a:lnTo>
                    <a:pt x="286167" y="545112"/>
                  </a:lnTo>
                  <a:cubicBezTo>
                    <a:pt x="267351" y="545112"/>
                    <a:pt x="248980" y="543205"/>
                    <a:pt x="231238" y="539575"/>
                  </a:cubicBezTo>
                  <a:lnTo>
                    <a:pt x="180887" y="523945"/>
                  </a:lnTo>
                  <a:lnTo>
                    <a:pt x="135212" y="583284"/>
                  </a:lnTo>
                  <a:cubicBezTo>
                    <a:pt x="97758" y="616780"/>
                    <a:pt x="49729" y="634288"/>
                    <a:pt x="0" y="627871"/>
                  </a:cubicBezTo>
                  <a:cubicBezTo>
                    <a:pt x="50549" y="599817"/>
                    <a:pt x="89852" y="551314"/>
                    <a:pt x="110939" y="493202"/>
                  </a:cubicBezTo>
                  <a:lnTo>
                    <a:pt x="113662" y="481966"/>
                  </a:lnTo>
                  <a:lnTo>
                    <a:pt x="93441" y="465282"/>
                  </a:lnTo>
                  <a:cubicBezTo>
                    <a:pt x="44118" y="415960"/>
                    <a:pt x="13611" y="347821"/>
                    <a:pt x="13611" y="272556"/>
                  </a:cubicBezTo>
                  <a:cubicBezTo>
                    <a:pt x="13611" y="122027"/>
                    <a:pt x="135638" y="0"/>
                    <a:pt x="286167" y="0"/>
                  </a:cubicBezTo>
                  <a:close/>
                </a:path>
              </a:pathLst>
            </a:cu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137160" bIns="365760" rtlCol="0" anchor="b">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5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5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Advanced Analytics</a:t>
              </a:r>
            </a:p>
          </p:txBody>
        </p:sp>
        <p:sp>
          <p:nvSpPr>
            <p:cNvPr id="26" name="Freeform 18"/>
            <p:cNvSpPr>
              <a:spLocks noEditPoints="1"/>
            </p:cNvSpPr>
            <p:nvPr/>
          </p:nvSpPr>
          <p:spPr bwMode="black">
            <a:xfrm rot="17995606">
              <a:off x="11167121" y="947112"/>
              <a:ext cx="352270" cy="276615"/>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2050"/>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120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grpSp>
        <p:nvGrpSpPr>
          <p:cNvPr id="27" name="Group 26"/>
          <p:cNvGrpSpPr/>
          <p:nvPr/>
        </p:nvGrpSpPr>
        <p:grpSpPr>
          <a:xfrm flipH="1">
            <a:off x="9666135" y="2504760"/>
            <a:ext cx="1547337" cy="1302988"/>
            <a:chOff x="10738628" y="863769"/>
            <a:chExt cx="1176765" cy="1085391"/>
          </a:xfrm>
        </p:grpSpPr>
        <p:sp>
          <p:nvSpPr>
            <p:cNvPr id="28" name="Freeform: Shape 126"/>
            <p:cNvSpPr/>
            <p:nvPr/>
          </p:nvSpPr>
          <p:spPr>
            <a:xfrm flipH="1">
              <a:off x="10738628" y="863769"/>
              <a:ext cx="1176765" cy="1085391"/>
            </a:xfrm>
            <a:custGeom>
              <a:avLst/>
              <a:gdLst>
                <a:gd name="connsiteX0" fmla="*/ 286167 w 771201"/>
                <a:gd name="connsiteY0" fmla="*/ 0 h 629181"/>
                <a:gd name="connsiteX1" fmla="*/ 498645 w 771201"/>
                <a:gd name="connsiteY1" fmla="*/ 0 h 629181"/>
                <a:gd name="connsiteX2" fmla="*/ 771201 w 771201"/>
                <a:gd name="connsiteY2" fmla="*/ 272556 h 629181"/>
                <a:gd name="connsiteX3" fmla="*/ 498645 w 771201"/>
                <a:gd name="connsiteY3" fmla="*/ 545112 h 629181"/>
                <a:gd name="connsiteX4" fmla="*/ 286167 w 771201"/>
                <a:gd name="connsiteY4" fmla="*/ 545112 h 629181"/>
                <a:gd name="connsiteX5" fmla="*/ 231238 w 771201"/>
                <a:gd name="connsiteY5" fmla="*/ 539575 h 629181"/>
                <a:gd name="connsiteX6" fmla="*/ 180887 w 771201"/>
                <a:gd name="connsiteY6" fmla="*/ 523945 h 629181"/>
                <a:gd name="connsiteX7" fmla="*/ 135212 w 771201"/>
                <a:gd name="connsiteY7" fmla="*/ 583284 h 629181"/>
                <a:gd name="connsiteX8" fmla="*/ 0 w 771201"/>
                <a:gd name="connsiteY8" fmla="*/ 627871 h 629181"/>
                <a:gd name="connsiteX9" fmla="*/ 110939 w 771201"/>
                <a:gd name="connsiteY9" fmla="*/ 493202 h 629181"/>
                <a:gd name="connsiteX10" fmla="*/ 113662 w 771201"/>
                <a:gd name="connsiteY10" fmla="*/ 481966 h 629181"/>
                <a:gd name="connsiteX11" fmla="*/ 93441 w 771201"/>
                <a:gd name="connsiteY11" fmla="*/ 465282 h 629181"/>
                <a:gd name="connsiteX12" fmla="*/ 13611 w 771201"/>
                <a:gd name="connsiteY12" fmla="*/ 272556 h 629181"/>
                <a:gd name="connsiteX13" fmla="*/ 286167 w 771201"/>
                <a:gd name="connsiteY13" fmla="*/ 0 h 62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1201" h="629181">
                  <a:moveTo>
                    <a:pt x="286167" y="0"/>
                  </a:moveTo>
                  <a:lnTo>
                    <a:pt x="498645" y="0"/>
                  </a:lnTo>
                  <a:cubicBezTo>
                    <a:pt x="649174" y="0"/>
                    <a:pt x="771201" y="122027"/>
                    <a:pt x="771201" y="272556"/>
                  </a:cubicBezTo>
                  <a:cubicBezTo>
                    <a:pt x="771201" y="423085"/>
                    <a:pt x="649174" y="545112"/>
                    <a:pt x="498645" y="545112"/>
                  </a:cubicBezTo>
                  <a:lnTo>
                    <a:pt x="286167" y="545112"/>
                  </a:lnTo>
                  <a:cubicBezTo>
                    <a:pt x="267351" y="545112"/>
                    <a:pt x="248980" y="543205"/>
                    <a:pt x="231238" y="539575"/>
                  </a:cubicBezTo>
                  <a:lnTo>
                    <a:pt x="180887" y="523945"/>
                  </a:lnTo>
                  <a:lnTo>
                    <a:pt x="135212" y="583284"/>
                  </a:lnTo>
                  <a:cubicBezTo>
                    <a:pt x="97758" y="616780"/>
                    <a:pt x="49729" y="634288"/>
                    <a:pt x="0" y="627871"/>
                  </a:cubicBezTo>
                  <a:cubicBezTo>
                    <a:pt x="50549" y="599817"/>
                    <a:pt x="89852" y="551314"/>
                    <a:pt x="110939" y="493202"/>
                  </a:cubicBezTo>
                  <a:lnTo>
                    <a:pt x="113662" y="481966"/>
                  </a:lnTo>
                  <a:lnTo>
                    <a:pt x="93441" y="465282"/>
                  </a:lnTo>
                  <a:cubicBezTo>
                    <a:pt x="44118" y="415960"/>
                    <a:pt x="13611" y="347821"/>
                    <a:pt x="13611" y="272556"/>
                  </a:cubicBezTo>
                  <a:cubicBezTo>
                    <a:pt x="13611" y="122027"/>
                    <a:pt x="135638" y="0"/>
                    <a:pt x="286167" y="0"/>
                  </a:cubicBezTo>
                  <a:close/>
                </a:path>
              </a:pathLst>
            </a:custGeom>
            <a:solidFill>
              <a:srgbClr val="70C7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137160" bIns="365760" rtlCol="0" anchor="b">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5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5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mn-cs"/>
                </a:rPr>
                <a:t>AI and Cognition</a:t>
              </a:r>
            </a:p>
          </p:txBody>
        </p:sp>
        <p:sp>
          <p:nvSpPr>
            <p:cNvPr id="29" name="Freeform 18"/>
            <p:cNvSpPr>
              <a:spLocks noEditPoints="1"/>
            </p:cNvSpPr>
            <p:nvPr/>
          </p:nvSpPr>
          <p:spPr bwMode="black">
            <a:xfrm rot="17995606">
              <a:off x="11167121" y="947112"/>
              <a:ext cx="352270" cy="276615"/>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2050"/>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120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896321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400" dirty="0"/>
              <a:t>Comparing data warehousing and Big Data</a:t>
            </a:r>
            <a:br>
              <a:rPr lang="en-US" sz="4400" dirty="0"/>
            </a:br>
            <a:r>
              <a:rPr lang="en-US" sz="2400" dirty="0"/>
              <a:t>Both are needed</a:t>
            </a:r>
          </a:p>
        </p:txBody>
      </p:sp>
      <p:graphicFrame>
        <p:nvGraphicFramePr>
          <p:cNvPr id="8" name="Content Placeholder 7"/>
          <p:cNvGraphicFramePr>
            <a:graphicFrameLocks noGrp="1"/>
          </p:cNvGraphicFramePr>
          <p:nvPr>
            <p:ph idx="4294967295"/>
            <p:extLst/>
          </p:nvPr>
        </p:nvGraphicFramePr>
        <p:xfrm>
          <a:off x="910044" y="2270373"/>
          <a:ext cx="10154196" cy="2449673"/>
        </p:xfrm>
        <a:graphic>
          <a:graphicData uri="http://schemas.openxmlformats.org/drawingml/2006/table">
            <a:tbl>
              <a:tblPr firstRow="1" bandRow="1">
                <a:tableStyleId>{5C22544A-7EE6-4342-B048-85BDC9FD1C3A}</a:tableStyleId>
              </a:tblPr>
              <a:tblGrid>
                <a:gridCol w="4811487">
                  <a:extLst>
                    <a:ext uri="{9D8B030D-6E8A-4147-A177-3AD203B41FA5}">
                      <a16:colId xmlns:a16="http://schemas.microsoft.com/office/drawing/2014/main" val="20000"/>
                    </a:ext>
                  </a:extLst>
                </a:gridCol>
                <a:gridCol w="5342709">
                  <a:extLst>
                    <a:ext uri="{9D8B030D-6E8A-4147-A177-3AD203B41FA5}">
                      <a16:colId xmlns:a16="http://schemas.microsoft.com/office/drawing/2014/main" val="20001"/>
                    </a:ext>
                  </a:extLst>
                </a:gridCol>
              </a:tblGrid>
              <a:tr h="505488">
                <a:tc>
                  <a:txBody>
                    <a:bodyPr/>
                    <a:lstStyle/>
                    <a:p>
                      <a:pPr algn="ctr"/>
                      <a:r>
                        <a:rPr lang="en-US" sz="2000" dirty="0"/>
                        <a:t>Data warehouse</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2000" dirty="0"/>
                        <a:t>Data lake</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88837">
                <a:tc>
                  <a:txBody>
                    <a:bodyPr/>
                    <a:lstStyle/>
                    <a:p>
                      <a:r>
                        <a:rPr lang="en-US" sz="1400" dirty="0">
                          <a:solidFill>
                            <a:schemeClr val="tx2"/>
                          </a:solidFill>
                        </a:rPr>
                        <a:t>Data of common meaning </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CEFF3"/>
                    </a:solidFill>
                  </a:tcPr>
                </a:tc>
                <a:tc>
                  <a:txBody>
                    <a:bodyPr/>
                    <a:lstStyle/>
                    <a:p>
                      <a:r>
                        <a:rPr lang="en-US" sz="1400" dirty="0">
                          <a:solidFill>
                            <a:schemeClr val="tx2"/>
                          </a:solidFill>
                        </a:rPr>
                        <a:t>Physical collection of un-curated data</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CEFF3"/>
                    </a:solidFill>
                  </a:tcPr>
                </a:tc>
                <a:extLst>
                  <a:ext uri="{0D108BD9-81ED-4DB2-BD59-A6C34878D82A}">
                    <a16:rowId xmlns:a16="http://schemas.microsoft.com/office/drawing/2014/main" val="10001"/>
                  </a:ext>
                </a:extLst>
              </a:tr>
              <a:tr h="388837">
                <a:tc>
                  <a:txBody>
                    <a:bodyPr/>
                    <a:lstStyle/>
                    <a:p>
                      <a:r>
                        <a:rPr lang="en-US" sz="1400" dirty="0">
                          <a:solidFill>
                            <a:schemeClr val="tx2"/>
                          </a:solidFill>
                        </a:rPr>
                        <a:t>Well-understood</a:t>
                      </a:r>
                      <a:r>
                        <a:rPr lang="en-US" sz="1400" baseline="0" dirty="0">
                          <a:solidFill>
                            <a:schemeClr val="tx2"/>
                          </a:solidFill>
                        </a:rPr>
                        <a:t> data to do operational reporting </a:t>
                      </a:r>
                      <a:endParaRPr lang="en-US" sz="1400" dirty="0">
                        <a:solidFill>
                          <a:schemeClr val="tx2"/>
                        </a:solidFill>
                      </a:endParaRP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CEFF3"/>
                    </a:solidFill>
                  </a:tcPr>
                </a:tc>
                <a:tc>
                  <a:txBody>
                    <a:bodyPr/>
                    <a:lstStyle/>
                    <a:p>
                      <a:r>
                        <a:rPr lang="en-US" sz="1400" dirty="0">
                          <a:solidFill>
                            <a:schemeClr val="tx2"/>
                          </a:solidFill>
                        </a:rPr>
                        <a:t>Unknown data to do experimentation and discovery</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CEFF3"/>
                    </a:solidFill>
                  </a:tcPr>
                </a:tc>
                <a:extLst>
                  <a:ext uri="{0D108BD9-81ED-4DB2-BD59-A6C34878D82A}">
                    <a16:rowId xmlns:a16="http://schemas.microsoft.com/office/drawing/2014/main" val="10002"/>
                  </a:ext>
                </a:extLst>
              </a:tr>
              <a:tr h="388837">
                <a:tc>
                  <a:txBody>
                    <a:bodyPr/>
                    <a:lstStyle/>
                    <a:p>
                      <a:r>
                        <a:rPr lang="en-US" sz="1400" dirty="0">
                          <a:solidFill>
                            <a:schemeClr val="tx2"/>
                          </a:solidFill>
                        </a:rPr>
                        <a:t>Limited</a:t>
                      </a:r>
                      <a:r>
                        <a:rPr lang="en-US" sz="1400" baseline="0" dirty="0">
                          <a:solidFill>
                            <a:schemeClr val="tx2"/>
                          </a:solidFill>
                        </a:rPr>
                        <a:t> set of data types (i.e. relational)</a:t>
                      </a:r>
                      <a:endParaRPr lang="en-US" sz="1400" dirty="0">
                        <a:solidFill>
                          <a:schemeClr val="tx2"/>
                        </a:solidFill>
                      </a:endParaRP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CEFF3"/>
                    </a:solidFill>
                  </a:tcPr>
                </a:tc>
                <a:tc>
                  <a:txBody>
                    <a:bodyPr/>
                    <a:lstStyle/>
                    <a:p>
                      <a:r>
                        <a:rPr lang="en-US" sz="1400" dirty="0">
                          <a:solidFill>
                            <a:schemeClr val="tx2"/>
                          </a:solidFill>
                        </a:rPr>
                        <a:t>Any type</a:t>
                      </a:r>
                      <a:r>
                        <a:rPr lang="en-US" sz="1400" baseline="0" dirty="0">
                          <a:solidFill>
                            <a:schemeClr val="tx2"/>
                          </a:solidFill>
                        </a:rPr>
                        <a:t> of data </a:t>
                      </a:r>
                      <a:endParaRPr lang="en-US" sz="1400" dirty="0">
                        <a:solidFill>
                          <a:schemeClr val="tx2"/>
                        </a:solidFill>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CEFF3"/>
                    </a:solidFill>
                  </a:tcPr>
                </a:tc>
                <a:extLst>
                  <a:ext uri="{0D108BD9-81ED-4DB2-BD59-A6C34878D82A}">
                    <a16:rowId xmlns:a16="http://schemas.microsoft.com/office/drawing/2014/main" val="10003"/>
                  </a:ext>
                </a:extLst>
              </a:tr>
              <a:tr h="388837">
                <a:tc>
                  <a:txBody>
                    <a:bodyPr/>
                    <a:lstStyle/>
                    <a:p>
                      <a:r>
                        <a:rPr lang="en-US" sz="1400" dirty="0">
                          <a:solidFill>
                            <a:schemeClr val="tx2"/>
                          </a:solidFill>
                        </a:rPr>
                        <a:t>Skills mostly available</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CEFF3"/>
                    </a:solidFill>
                  </a:tcPr>
                </a:tc>
                <a:tc>
                  <a:txBody>
                    <a:bodyPr/>
                    <a:lstStyle/>
                    <a:p>
                      <a:r>
                        <a:rPr lang="en-US" sz="1400" dirty="0">
                          <a:solidFill>
                            <a:schemeClr val="tx2"/>
                          </a:solidFill>
                        </a:rPr>
                        <a:t>Skills are</a:t>
                      </a:r>
                      <a:r>
                        <a:rPr lang="en-US" sz="1400" baseline="0" dirty="0">
                          <a:solidFill>
                            <a:schemeClr val="tx2"/>
                          </a:solidFill>
                        </a:rPr>
                        <a:t> limited</a:t>
                      </a:r>
                      <a:endParaRPr lang="en-US" sz="1400" dirty="0">
                        <a:solidFill>
                          <a:schemeClr val="tx2"/>
                        </a:solidFill>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CEFF3"/>
                    </a:solidFill>
                  </a:tcPr>
                </a:tc>
                <a:extLst>
                  <a:ext uri="{0D108BD9-81ED-4DB2-BD59-A6C34878D82A}">
                    <a16:rowId xmlns:a16="http://schemas.microsoft.com/office/drawing/2014/main" val="10004"/>
                  </a:ext>
                </a:extLst>
              </a:tr>
              <a:tr h="388837">
                <a:tc>
                  <a:txBody>
                    <a:bodyPr/>
                    <a:lstStyle/>
                    <a:p>
                      <a:r>
                        <a:rPr lang="en-US" sz="1400" dirty="0">
                          <a:solidFill>
                            <a:schemeClr val="tx2"/>
                          </a:solidFill>
                        </a:rPr>
                        <a:t>Optimized for interactive querying</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rgbClr val="ECEFF3"/>
                    </a:solidFill>
                  </a:tcPr>
                </a:tc>
                <a:tc>
                  <a:txBody>
                    <a:bodyPr/>
                    <a:lstStyle/>
                    <a:p>
                      <a:r>
                        <a:rPr lang="en-US" sz="1400" dirty="0">
                          <a:solidFill>
                            <a:schemeClr val="tx2"/>
                          </a:solidFill>
                        </a:rPr>
                        <a:t>All workloads – batch, interactive, streaming, machine learning</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rgbClr val="ECEFF3"/>
                    </a:solidFill>
                  </a:tcPr>
                </a:tc>
                <a:extLst>
                  <a:ext uri="{0D108BD9-81ED-4DB2-BD59-A6C34878D82A}">
                    <a16:rowId xmlns:a16="http://schemas.microsoft.com/office/drawing/2014/main" val="10005"/>
                  </a:ext>
                </a:extLst>
              </a:tr>
            </a:tbl>
          </a:graphicData>
        </a:graphic>
      </p:graphicFrame>
      <p:sp>
        <p:nvSpPr>
          <p:cNvPr id="9" name="TextBox 8"/>
          <p:cNvSpPr txBox="1"/>
          <p:nvPr/>
        </p:nvSpPr>
        <p:spPr>
          <a:xfrm>
            <a:off x="274639" y="26393"/>
            <a:ext cx="35643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C7FF"/>
                </a:solidFill>
                <a:effectLst/>
                <a:uLnTx/>
                <a:uFillTx/>
                <a:latin typeface="Segoe UI Semilight" panose="020B0402040204020203" pitchFamily="34" charset="0"/>
                <a:ea typeface="+mn-ea"/>
                <a:cs typeface="Segoe UI Semilight" panose="020B0402040204020203" pitchFamily="34" charset="0"/>
              </a:rPr>
              <a:t>POSITIONING THE DIFFERENT SOLUTIONS</a:t>
            </a:r>
          </a:p>
        </p:txBody>
      </p:sp>
    </p:spTree>
    <p:extLst>
      <p:ext uri="{BB962C8B-B14F-4D97-AF65-F5344CB8AC3E}">
        <p14:creationId xmlns:p14="http://schemas.microsoft.com/office/powerpoint/2010/main" val="3547384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g Data as part of Data Warehousing</a:t>
            </a:r>
          </a:p>
        </p:txBody>
      </p:sp>
      <p:grpSp>
        <p:nvGrpSpPr>
          <p:cNvPr id="3" name="Group 2"/>
          <p:cNvGrpSpPr/>
          <p:nvPr/>
        </p:nvGrpSpPr>
        <p:grpSpPr>
          <a:xfrm>
            <a:off x="419479" y="1445789"/>
            <a:ext cx="5315128" cy="4442531"/>
            <a:chOff x="5888009" y="960626"/>
            <a:chExt cx="5961725" cy="4982974"/>
          </a:xfrm>
        </p:grpSpPr>
        <p:sp>
          <p:nvSpPr>
            <p:cNvPr id="4" name="Oval 3"/>
            <p:cNvSpPr>
              <a:spLocks noChangeAspect="1"/>
            </p:cNvSpPr>
            <p:nvPr/>
          </p:nvSpPr>
          <p:spPr bwMode="auto">
            <a:xfrm>
              <a:off x="7676775" y="2101585"/>
              <a:ext cx="2561255" cy="2562926"/>
            </a:xfrm>
            <a:prstGeom prst="ellipse">
              <a:avLst/>
            </a:prstGeom>
            <a:noFill/>
            <a:ln w="1079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6593" tIns="46593" rIns="46593" bIns="46593" numCol="1" spcCol="0" rtlCol="0" fromWordArt="0" anchor="ctr" anchorCtr="0" forceAA="0" compatLnSpc="1">
              <a:prstTxWarp prst="textNoShape">
                <a:avLst/>
              </a:prstTxWarp>
              <a:noAutofit/>
            </a:bodyPr>
            <a:lstStyle/>
            <a:p>
              <a:pPr marL="0" marR="0" lvl="0" indent="0" algn="ctr" defTabSz="931036" eaLnBrk="1" fontAlgn="auto" latinLnBrk="0" hangingPunct="1">
                <a:lnSpc>
                  <a:spcPct val="100000"/>
                </a:lnSpc>
                <a:spcBef>
                  <a:spcPts val="612"/>
                </a:spcBef>
                <a:spcAft>
                  <a:spcPts val="0"/>
                </a:spcAft>
                <a:buClrTx/>
                <a:buSzTx/>
                <a:buFontTx/>
                <a:buNone/>
                <a:tabLst/>
                <a:defRPr/>
              </a:pPr>
              <a:endParaRPr kumimoji="0" lang="en-US" sz="2400" b="0" i="0" u="none" strike="noStrike" kern="0" cap="none" spc="0" normalizeH="0" baseline="0" noProof="0" dirty="0">
                <a:ln>
                  <a:noFill/>
                </a:ln>
                <a:solidFill>
                  <a:schemeClr val="tx1"/>
                </a:solidFill>
                <a:effectLst/>
                <a:uLnTx/>
                <a:uFillTx/>
                <a:latin typeface="Segoe UI Semibold" panose="020B0702040204020203" pitchFamily="34" charset="0"/>
                <a:ea typeface="MS PGothic" charset="0"/>
                <a:cs typeface="Segoe UI Semibold" panose="020B0702040204020203" pitchFamily="34" charset="0"/>
              </a:endParaRPr>
            </a:p>
          </p:txBody>
        </p:sp>
        <p:grpSp>
          <p:nvGrpSpPr>
            <p:cNvPr id="5" name="Group 4"/>
            <p:cNvGrpSpPr/>
            <p:nvPr/>
          </p:nvGrpSpPr>
          <p:grpSpPr>
            <a:xfrm>
              <a:off x="6064429" y="960626"/>
              <a:ext cx="5785305" cy="287480"/>
              <a:chOff x="821550" y="364537"/>
              <a:chExt cx="7313575" cy="442424"/>
            </a:xfrm>
            <a:solidFill>
              <a:srgbClr val="0078D7"/>
            </a:solidFill>
          </p:grpSpPr>
          <p:sp>
            <p:nvSpPr>
              <p:cNvPr id="29" name="Pentagon 28"/>
              <p:cNvSpPr/>
              <p:nvPr/>
            </p:nvSpPr>
            <p:spPr bwMode="auto">
              <a:xfrm>
                <a:off x="4179199" y="364537"/>
                <a:ext cx="3955926" cy="442424"/>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a:ln>
                    <a:noFill/>
                  </a:ln>
                  <a:solidFill>
                    <a:schemeClr val="tx1"/>
                  </a:solidFill>
                  <a:effectLst/>
                  <a:uLnTx/>
                  <a:uFillTx/>
                  <a:ea typeface="Segoe UI" pitchFamily="34" charset="0"/>
                  <a:cs typeface="Segoe UI Semibold" panose="020B0702040204020203" pitchFamily="34" charset="0"/>
                </a:endParaRPr>
              </a:p>
            </p:txBody>
          </p:sp>
          <p:sp>
            <p:nvSpPr>
              <p:cNvPr id="30" name="Pentagon 29"/>
              <p:cNvSpPr/>
              <p:nvPr/>
            </p:nvSpPr>
            <p:spPr bwMode="auto">
              <a:xfrm flipH="1">
                <a:off x="821550" y="364537"/>
                <a:ext cx="3357649" cy="442424"/>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a:ln>
                    <a:noFill/>
                  </a:ln>
                  <a:solidFill>
                    <a:schemeClr val="tx1"/>
                  </a:solidFill>
                  <a:effectLst/>
                  <a:uLnTx/>
                  <a:uFillTx/>
                  <a:ea typeface="Segoe UI" pitchFamily="34" charset="0"/>
                  <a:cs typeface="Segoe UI Semibold" panose="020B0702040204020203" pitchFamily="34" charset="0"/>
                </a:endParaRPr>
              </a:p>
            </p:txBody>
          </p:sp>
          <p:sp>
            <p:nvSpPr>
              <p:cNvPr id="31" name="TextBox 30"/>
              <p:cNvSpPr txBox="1"/>
              <p:nvPr/>
            </p:nvSpPr>
            <p:spPr>
              <a:xfrm>
                <a:off x="982392" y="461920"/>
                <a:ext cx="2481944" cy="272830"/>
              </a:xfrm>
              <a:prstGeom prst="rect">
                <a:avLst/>
              </a:prstGeom>
              <a:noFill/>
            </p:spPr>
            <p:txBody>
              <a:bodyPr wrap="square" lIns="182854" tIns="146284" rIns="182854" bIns="146284" rtlCol="0" anchor="ctr">
                <a:no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effectLst/>
                    <a:uLnTx/>
                    <a:uFillTx/>
                    <a:cs typeface="Segoe UI Semibold" panose="020B0702040204020203" pitchFamily="34" charset="0"/>
                  </a:rPr>
                  <a:t>Relational </a:t>
                </a:r>
              </a:p>
            </p:txBody>
          </p:sp>
          <p:sp>
            <p:nvSpPr>
              <p:cNvPr id="32" name="TextBox 31"/>
              <p:cNvSpPr txBox="1"/>
              <p:nvPr/>
            </p:nvSpPr>
            <p:spPr>
              <a:xfrm>
                <a:off x="4515157" y="451240"/>
                <a:ext cx="3423678" cy="294190"/>
              </a:xfrm>
              <a:prstGeom prst="rect">
                <a:avLst/>
              </a:prstGeom>
              <a:noFill/>
            </p:spPr>
            <p:txBody>
              <a:bodyPr wrap="square" lIns="182854" tIns="146284" rIns="182854" bIns="146284" rtlCol="0" anchor="ctr">
                <a:noAutofit/>
              </a:bodyPr>
              <a:lstStyle/>
              <a:p>
                <a:pPr marL="0" marR="0" lvl="0" indent="0" algn="r" defTabSz="914225"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effectLst/>
                    <a:uLnTx/>
                    <a:uFillTx/>
                    <a:cs typeface="Segoe UI Semibold" panose="020B0702040204020203" pitchFamily="34" charset="0"/>
                  </a:rPr>
                  <a:t>Beyond relational </a:t>
                </a:r>
              </a:p>
            </p:txBody>
          </p:sp>
        </p:grpSp>
        <p:grpSp>
          <p:nvGrpSpPr>
            <p:cNvPr id="6" name="Group 5"/>
            <p:cNvGrpSpPr/>
            <p:nvPr/>
          </p:nvGrpSpPr>
          <p:grpSpPr>
            <a:xfrm>
              <a:off x="6217267" y="1298115"/>
              <a:ext cx="5475277" cy="2052367"/>
              <a:chOff x="6217267" y="1298115"/>
              <a:chExt cx="5475277" cy="2052367"/>
            </a:xfrm>
          </p:grpSpPr>
          <p:sp>
            <p:nvSpPr>
              <p:cNvPr id="25" name="Rectangle 24"/>
              <p:cNvSpPr/>
              <p:nvPr/>
            </p:nvSpPr>
            <p:spPr bwMode="auto">
              <a:xfrm>
                <a:off x="8982017" y="1298115"/>
                <a:ext cx="2710527" cy="20523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34464" rIns="134464" bIns="134464" numCol="1" spcCol="0" rtlCol="0" fromWordArt="0" anchor="t" anchorCtr="0" forceAA="0" compatLnSpc="1">
                <a:prstTxWarp prst="textNoShape">
                  <a:avLst/>
                </a:prstTxWarp>
                <a:noAutofit/>
              </a:bodyPr>
              <a:lstStyle/>
              <a:p>
                <a:pPr marL="0" marR="0" lvl="0" indent="0" algn="r" defTabSz="931036" eaLnBrk="1" fontAlgn="auto" latinLnBrk="0" hangingPunct="1">
                  <a:lnSpc>
                    <a:spcPct val="100000"/>
                  </a:lnSpc>
                  <a:spcBef>
                    <a:spcPts val="612"/>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Azure Data Lake</a:t>
                </a:r>
              </a:p>
              <a:p>
                <a:pPr marL="0" marR="0" lvl="0" indent="0" algn="r" defTabSz="931036" eaLnBrk="1" fontAlgn="auto" latinLnBrk="0" hangingPunct="1">
                  <a:lnSpc>
                    <a:spcPct val="100000"/>
                  </a:lnSpc>
                  <a:spcBef>
                    <a:spcPts val="612"/>
                  </a:spcBef>
                  <a:spcAft>
                    <a:spcPts val="0"/>
                  </a:spcAft>
                  <a:buClrTx/>
                  <a:buSzTx/>
                  <a:buFontTx/>
                  <a:buNone/>
                  <a:tabLst/>
                  <a:defRPr/>
                </a:pPr>
                <a:r>
                  <a:rPr lang="en-US" sz="1200" kern="0" dirty="0">
                    <a:solidFill>
                      <a:schemeClr val="tx1"/>
                    </a:solidFill>
                    <a:latin typeface="Segoe UI Semibold" panose="020B0702040204020203" pitchFamily="34" charset="0"/>
                    <a:ea typeface="Segoe UI" pitchFamily="34" charset="0"/>
                    <a:cs typeface="Segoe UI Semibold" panose="020B0702040204020203" pitchFamily="34" charset="0"/>
                  </a:rPr>
                  <a:t>Azure HDInsight</a:t>
                </a:r>
                <a:endPar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r" defTabSz="931036" eaLnBrk="1" fontAlgn="auto" latinLnBrk="0" hangingPunct="1">
                  <a:lnSpc>
                    <a:spcPct val="100000"/>
                  </a:lnSpc>
                  <a:spcBef>
                    <a:spcPts val="612"/>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Azure Marketplace</a:t>
                </a:r>
              </a:p>
              <a:p>
                <a:pPr marL="0" marR="0" lvl="0" indent="0" algn="r" defTabSz="93103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w="0">
                      <a:noFill/>
                    </a:ln>
                    <a:solidFill>
                      <a:schemeClr val="tx1"/>
                    </a:solidFill>
                    <a:effectLst/>
                    <a:uLnTx/>
                    <a:uFillTx/>
                    <a:ea typeface="Segoe UI" panose="020B0502040204020203" pitchFamily="34" charset="0"/>
                    <a:cs typeface="Segoe UI" panose="020B0502040204020203" pitchFamily="34" charset="0"/>
                  </a:rPr>
                  <a:t>Hortonworks, Cloudera, MapR</a:t>
                </a:r>
              </a:p>
              <a:p>
                <a:pPr marL="0" marR="0" lvl="0" indent="0" algn="r" defTabSz="931036" eaLnBrk="1" fontAlgn="auto" latinLnBrk="0" hangingPunct="1">
                  <a:lnSpc>
                    <a:spcPct val="100000"/>
                  </a:lnSpc>
                  <a:spcBef>
                    <a:spcPts val="612"/>
                  </a:spcBef>
                  <a:spcAft>
                    <a:spcPts val="0"/>
                  </a:spcAft>
                  <a:buClrTx/>
                  <a:buSzTx/>
                  <a:buFontTx/>
                  <a:buNone/>
                  <a:tabLst/>
                  <a:defRPr/>
                </a:pPr>
                <a:endPar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Freeform 25"/>
              <p:cNvSpPr/>
              <p:nvPr/>
            </p:nvSpPr>
            <p:spPr>
              <a:xfrm>
                <a:off x="11176580" y="2757288"/>
                <a:ext cx="409828" cy="525625"/>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0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27" name="Rectangle 26"/>
              <p:cNvSpPr/>
              <p:nvPr/>
            </p:nvSpPr>
            <p:spPr bwMode="auto">
              <a:xfrm>
                <a:off x="6217267" y="1298115"/>
                <a:ext cx="2710527" cy="20523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34464" rIns="134464" bIns="134464" numCol="1" spcCol="0" rtlCol="0" fromWordArt="0" anchor="t" anchorCtr="0" forceAA="0" compatLnSpc="1">
                <a:prstTxWarp prst="textNoShape">
                  <a:avLst/>
                </a:prstTxWarp>
                <a:noAutofit/>
              </a:bodyPr>
              <a:lstStyle/>
              <a:p>
                <a:pPr marL="0" marR="0" lvl="0" indent="0" defTabSz="931036" eaLnBrk="1" fontAlgn="auto" latinLnBrk="0" hangingPunct="1">
                  <a:lnSpc>
                    <a:spcPct val="100000"/>
                  </a:lnSpc>
                  <a:spcBef>
                    <a:spcPts val="612"/>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Azure SQL Data Warehouse </a:t>
                </a:r>
              </a:p>
              <a:p>
                <a:pPr marL="0" marR="0" lvl="0" indent="0" defTabSz="931036" eaLnBrk="1" fontAlgn="auto" latinLnBrk="0" hangingPunct="1">
                  <a:lnSpc>
                    <a:spcPct val="100000"/>
                  </a:lnSpc>
                  <a:spcBef>
                    <a:spcPts val="612"/>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SQL Server in Azure VMs</a:t>
                </a:r>
              </a:p>
              <a:p>
                <a:pPr marL="0" marR="0" lvl="0" indent="0" defTabSz="931036" eaLnBrk="1" fontAlgn="auto" latinLnBrk="0" hangingPunct="1">
                  <a:lnSpc>
                    <a:spcPct val="100000"/>
                  </a:lnSpc>
                  <a:spcBef>
                    <a:spcPts val="612"/>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SQL Server 2016 Fast Track </a:t>
                </a:r>
                <a:b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b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for Azure VMs</a:t>
                </a:r>
              </a:p>
            </p:txBody>
          </p:sp>
          <p:sp>
            <p:nvSpPr>
              <p:cNvPr id="28" name="Freeform 27"/>
              <p:cNvSpPr>
                <a:spLocks noChangeAspect="1"/>
              </p:cNvSpPr>
              <p:nvPr/>
            </p:nvSpPr>
            <p:spPr bwMode="auto">
              <a:xfrm>
                <a:off x="6312613" y="2724846"/>
                <a:ext cx="554423" cy="590509"/>
              </a:xfrm>
              <a:custGeom>
                <a:avLst/>
                <a:gdLst>
                  <a:gd name="connsiteX0" fmla="*/ 3269159 w 4663940"/>
                  <a:gd name="connsiteY0" fmla="*/ 3053384 h 4967504"/>
                  <a:gd name="connsiteX1" fmla="*/ 2445040 w 4663940"/>
                  <a:gd name="connsiteY1" fmla="*/ 3698745 h 4967504"/>
                  <a:gd name="connsiteX2" fmla="*/ 1561166 w 4663940"/>
                  <a:gd name="connsiteY2" fmla="*/ 4258161 h 4967504"/>
                  <a:gd name="connsiteX3" fmla="*/ 2246169 w 4663940"/>
                  <a:gd name="connsiteY3" fmla="*/ 4814882 h 4967504"/>
                  <a:gd name="connsiteX4" fmla="*/ 4100618 w 4663940"/>
                  <a:gd name="connsiteY4" fmla="*/ 4825767 h 4967504"/>
                  <a:gd name="connsiteX5" fmla="*/ 4544311 w 4663940"/>
                  <a:gd name="connsiteY5" fmla="*/ 4450687 h 4967504"/>
                  <a:gd name="connsiteX6" fmla="*/ 4105694 w 4663940"/>
                  <a:gd name="connsiteY6" fmla="*/ 4053489 h 4967504"/>
                  <a:gd name="connsiteX7" fmla="*/ 3269159 w 4663940"/>
                  <a:gd name="connsiteY7" fmla="*/ 3053384 h 4967504"/>
                  <a:gd name="connsiteX8" fmla="*/ 3249592 w 4663940"/>
                  <a:gd name="connsiteY8" fmla="*/ 2871742 h 4967504"/>
                  <a:gd name="connsiteX9" fmla="*/ 4236289 w 4663940"/>
                  <a:gd name="connsiteY9" fmla="*/ 3899454 h 4967504"/>
                  <a:gd name="connsiteX10" fmla="*/ 4228504 w 4663940"/>
                  <a:gd name="connsiteY10" fmla="*/ 3978178 h 4967504"/>
                  <a:gd name="connsiteX11" fmla="*/ 4663084 w 4663940"/>
                  <a:gd name="connsiteY11" fmla="*/ 4467152 h 4967504"/>
                  <a:gd name="connsiteX12" fmla="*/ 4208525 w 4663940"/>
                  <a:gd name="connsiteY12" fmla="*/ 4967499 h 4967504"/>
                  <a:gd name="connsiteX13" fmla="*/ 1987713 w 4663940"/>
                  <a:gd name="connsiteY13" fmla="*/ 4952792 h 4967504"/>
                  <a:gd name="connsiteX14" fmla="*/ 1420637 w 4663940"/>
                  <a:gd name="connsiteY14" fmla="*/ 4243438 h 4967504"/>
                  <a:gd name="connsiteX15" fmla="*/ 2331634 w 4663940"/>
                  <a:gd name="connsiteY15" fmla="*/ 3552334 h 4967504"/>
                  <a:gd name="connsiteX16" fmla="*/ 3249592 w 4663940"/>
                  <a:gd name="connsiteY16" fmla="*/ 2871742 h 4967504"/>
                  <a:gd name="connsiteX17" fmla="*/ 1637250 w 4663940"/>
                  <a:gd name="connsiteY17" fmla="*/ 2023154 h 4967504"/>
                  <a:gd name="connsiteX18" fmla="*/ 1744469 w 4663940"/>
                  <a:gd name="connsiteY18" fmla="*/ 2081956 h 4967504"/>
                  <a:gd name="connsiteX19" fmla="*/ 1783665 w 4663940"/>
                  <a:gd name="connsiteY19" fmla="*/ 2242785 h 4967504"/>
                  <a:gd name="connsiteX20" fmla="*/ 1742159 w 4663940"/>
                  <a:gd name="connsiteY20" fmla="*/ 2396117 h 4967504"/>
                  <a:gd name="connsiteX21" fmla="*/ 1633210 w 4663940"/>
                  <a:gd name="connsiteY21" fmla="*/ 2453183 h 4967504"/>
                  <a:gd name="connsiteX22" fmla="*/ 1521091 w 4663940"/>
                  <a:gd name="connsiteY22" fmla="*/ 2396694 h 4967504"/>
                  <a:gd name="connsiteX23" fmla="*/ 1479878 w 4663940"/>
                  <a:gd name="connsiteY23" fmla="*/ 2239322 h 4967504"/>
                  <a:gd name="connsiteX24" fmla="*/ 1521384 w 4663940"/>
                  <a:gd name="connsiteY24" fmla="*/ 2079643 h 4967504"/>
                  <a:gd name="connsiteX25" fmla="*/ 1637250 w 4663940"/>
                  <a:gd name="connsiteY25" fmla="*/ 2023154 h 4967504"/>
                  <a:gd name="connsiteX26" fmla="*/ 2164186 w 4663940"/>
                  <a:gd name="connsiteY26" fmla="*/ 1824859 h 4967504"/>
                  <a:gd name="connsiteX27" fmla="*/ 2164186 w 4663940"/>
                  <a:gd name="connsiteY27" fmla="*/ 2651487 h 4967504"/>
                  <a:gd name="connsiteX28" fmla="*/ 2697977 w 4663940"/>
                  <a:gd name="connsiteY28" fmla="*/ 2651487 h 4967504"/>
                  <a:gd name="connsiteX29" fmla="*/ 2697977 w 4663940"/>
                  <a:gd name="connsiteY29" fmla="*/ 2456646 h 4967504"/>
                  <a:gd name="connsiteX30" fmla="*/ 2413213 w 4663940"/>
                  <a:gd name="connsiteY30" fmla="*/ 2456646 h 4967504"/>
                  <a:gd name="connsiteX31" fmla="*/ 2413213 w 4663940"/>
                  <a:gd name="connsiteY31" fmla="*/ 1824859 h 4967504"/>
                  <a:gd name="connsiteX32" fmla="*/ 1639554 w 4663940"/>
                  <a:gd name="connsiteY32" fmla="*/ 1811020 h 4967504"/>
                  <a:gd name="connsiteX33" fmla="*/ 1419348 w 4663940"/>
                  <a:gd name="connsiteY33" fmla="*/ 1866073 h 4967504"/>
                  <a:gd name="connsiteX34" fmla="*/ 1268893 w 4663940"/>
                  <a:gd name="connsiteY34" fmla="*/ 2022002 h 4967504"/>
                  <a:gd name="connsiteX35" fmla="*/ 1215283 w 4663940"/>
                  <a:gd name="connsiteY35" fmla="*/ 2249121 h 4967504"/>
                  <a:gd name="connsiteX36" fmla="*/ 1268318 w 4663940"/>
                  <a:gd name="connsiteY36" fmla="*/ 2465002 h 4967504"/>
                  <a:gd name="connsiteX37" fmla="*/ 1416753 w 4663940"/>
                  <a:gd name="connsiteY37" fmla="*/ 2613150 h 4967504"/>
                  <a:gd name="connsiteX38" fmla="*/ 1628603 w 4663940"/>
                  <a:gd name="connsiteY38" fmla="*/ 2665894 h 4967504"/>
                  <a:gd name="connsiteX39" fmla="*/ 1724862 w 4663940"/>
                  <a:gd name="connsiteY39" fmla="*/ 2656095 h 4967504"/>
                  <a:gd name="connsiteX40" fmla="*/ 1829779 w 4663940"/>
                  <a:gd name="connsiteY40" fmla="*/ 2762737 h 4967504"/>
                  <a:gd name="connsiteX41" fmla="*/ 2142213 w 4663940"/>
                  <a:gd name="connsiteY41" fmla="*/ 2762737 h 4967504"/>
                  <a:gd name="connsiteX42" fmla="*/ 1923743 w 4663940"/>
                  <a:gd name="connsiteY42" fmla="*/ 2551755 h 4967504"/>
                  <a:gd name="connsiteX43" fmla="*/ 2047678 w 4663940"/>
                  <a:gd name="connsiteY43" fmla="*/ 2235865 h 4967504"/>
                  <a:gd name="connsiteX44" fmla="*/ 1996666 w 4663940"/>
                  <a:gd name="connsiteY44" fmla="*/ 2014217 h 4967504"/>
                  <a:gd name="connsiteX45" fmla="*/ 1851972 w 4663940"/>
                  <a:gd name="connsiteY45" fmla="*/ 1863771 h 4967504"/>
                  <a:gd name="connsiteX46" fmla="*/ 1639554 w 4663940"/>
                  <a:gd name="connsiteY46" fmla="*/ 1811020 h 4967504"/>
                  <a:gd name="connsiteX47" fmla="*/ 868429 w 4663940"/>
                  <a:gd name="connsiteY47" fmla="*/ 1811020 h 4967504"/>
                  <a:gd name="connsiteX48" fmla="*/ 624020 w 4663940"/>
                  <a:gd name="connsiteY48" fmla="*/ 1882791 h 4967504"/>
                  <a:gd name="connsiteX49" fmla="*/ 532935 w 4663940"/>
                  <a:gd name="connsiteY49" fmla="*/ 2074460 h 4967504"/>
                  <a:gd name="connsiteX50" fmla="*/ 732391 w 4663940"/>
                  <a:gd name="connsiteY50" fmla="*/ 2322335 h 4967504"/>
                  <a:gd name="connsiteX51" fmla="*/ 816840 w 4663940"/>
                  <a:gd name="connsiteY51" fmla="*/ 2358651 h 4967504"/>
                  <a:gd name="connsiteX52" fmla="*/ 850852 w 4663940"/>
                  <a:gd name="connsiteY52" fmla="*/ 2387179 h 4967504"/>
                  <a:gd name="connsiteX53" fmla="*/ 862087 w 4663940"/>
                  <a:gd name="connsiteY53" fmla="*/ 2422634 h 4967504"/>
                  <a:gd name="connsiteX54" fmla="*/ 839610 w 4663940"/>
                  <a:gd name="connsiteY54" fmla="*/ 2465577 h 4967504"/>
                  <a:gd name="connsiteX55" fmla="*/ 776202 w 4663940"/>
                  <a:gd name="connsiteY55" fmla="*/ 2480275 h 4967504"/>
                  <a:gd name="connsiteX56" fmla="*/ 659184 w 4663940"/>
                  <a:gd name="connsiteY56" fmla="*/ 2456930 h 4967504"/>
                  <a:gd name="connsiteX57" fmla="*/ 544470 w 4663940"/>
                  <a:gd name="connsiteY57" fmla="*/ 2395542 h 4967504"/>
                  <a:gd name="connsiteX58" fmla="*/ 544470 w 4663940"/>
                  <a:gd name="connsiteY58" fmla="*/ 2622083 h 4967504"/>
                  <a:gd name="connsiteX59" fmla="*/ 781960 w 4663940"/>
                  <a:gd name="connsiteY59" fmla="*/ 2665894 h 4967504"/>
                  <a:gd name="connsiteX60" fmla="*/ 973344 w 4663940"/>
                  <a:gd name="connsiteY60" fmla="*/ 2635920 h 4967504"/>
                  <a:gd name="connsiteX61" fmla="*/ 1096991 w 4663940"/>
                  <a:gd name="connsiteY61" fmla="*/ 2544843 h 4967504"/>
                  <a:gd name="connsiteX62" fmla="*/ 1141093 w 4663940"/>
                  <a:gd name="connsiteY62" fmla="*/ 2401309 h 4967504"/>
                  <a:gd name="connsiteX63" fmla="*/ 1087767 w 4663940"/>
                  <a:gd name="connsiteY63" fmla="*/ 2254886 h 4967504"/>
                  <a:gd name="connsiteX64" fmla="*/ 905898 w 4663940"/>
                  <a:gd name="connsiteY64" fmla="*/ 2141324 h 4967504"/>
                  <a:gd name="connsiteX65" fmla="*/ 820296 w 4663940"/>
                  <a:gd name="connsiteY65" fmla="*/ 2097229 h 4967504"/>
                  <a:gd name="connsiteX66" fmla="*/ 799831 w 4663940"/>
                  <a:gd name="connsiteY66" fmla="*/ 2054280 h 4967504"/>
                  <a:gd name="connsiteX67" fmla="*/ 825196 w 4663940"/>
                  <a:gd name="connsiteY67" fmla="*/ 2011628 h 4967504"/>
                  <a:gd name="connsiteX68" fmla="*/ 892067 w 4663940"/>
                  <a:gd name="connsiteY68" fmla="*/ 1996062 h 4967504"/>
                  <a:gd name="connsiteX69" fmla="*/ 1097282 w 4663940"/>
                  <a:gd name="connsiteY69" fmla="*/ 2053128 h 4967504"/>
                  <a:gd name="connsiteX70" fmla="*/ 1097282 w 4663940"/>
                  <a:gd name="connsiteY70" fmla="*/ 1842728 h 4967504"/>
                  <a:gd name="connsiteX71" fmla="*/ 1013985 w 4663940"/>
                  <a:gd name="connsiteY71" fmla="*/ 1823123 h 4967504"/>
                  <a:gd name="connsiteX72" fmla="*/ 947981 w 4663940"/>
                  <a:gd name="connsiteY72" fmla="*/ 1814477 h 4967504"/>
                  <a:gd name="connsiteX73" fmla="*/ 868429 w 4663940"/>
                  <a:gd name="connsiteY73" fmla="*/ 1811020 h 4967504"/>
                  <a:gd name="connsiteX74" fmla="*/ 1615458 w 4663940"/>
                  <a:gd name="connsiteY74" fmla="*/ 237723 h 4967504"/>
                  <a:gd name="connsiteX75" fmla="*/ 500399 w 4663940"/>
                  <a:gd name="connsiteY75" fmla="*/ 564991 h 4967504"/>
                  <a:gd name="connsiteX76" fmla="*/ 1615458 w 4663940"/>
                  <a:gd name="connsiteY76" fmla="*/ 892256 h 4967504"/>
                  <a:gd name="connsiteX77" fmla="*/ 2730517 w 4663940"/>
                  <a:gd name="connsiteY77" fmla="*/ 564991 h 4967504"/>
                  <a:gd name="connsiteX78" fmla="*/ 1615458 w 4663940"/>
                  <a:gd name="connsiteY78" fmla="*/ 237723 h 4967504"/>
                  <a:gd name="connsiteX79" fmla="*/ 1615456 w 4663940"/>
                  <a:gd name="connsiteY79" fmla="*/ 0 h 4967504"/>
                  <a:gd name="connsiteX80" fmla="*/ 3222576 w 4663940"/>
                  <a:gd name="connsiteY80" fmla="*/ 591590 h 4967504"/>
                  <a:gd name="connsiteX81" fmla="*/ 3228448 w 4663940"/>
                  <a:gd name="connsiteY81" fmla="*/ 639031 h 4967504"/>
                  <a:gd name="connsiteX82" fmla="*/ 3230914 w 4663940"/>
                  <a:gd name="connsiteY82" fmla="*/ 639031 h 4967504"/>
                  <a:gd name="connsiteX83" fmla="*/ 3230914 w 4663940"/>
                  <a:gd name="connsiteY83" fmla="*/ 658966 h 4967504"/>
                  <a:gd name="connsiteX84" fmla="*/ 3230916 w 4663940"/>
                  <a:gd name="connsiteY84" fmla="*/ 2749970 h 4967504"/>
                  <a:gd name="connsiteX85" fmla="*/ 2269213 w 4663940"/>
                  <a:gd name="connsiteY85" fmla="*/ 3410748 h 4967504"/>
                  <a:gd name="connsiteX86" fmla="*/ 1309648 w 4663940"/>
                  <a:gd name="connsiteY86" fmla="*/ 4132024 h 4967504"/>
                  <a:gd name="connsiteX87" fmla="*/ 8341 w 4663940"/>
                  <a:gd name="connsiteY87" fmla="*/ 3552225 h 4967504"/>
                  <a:gd name="connsiteX88" fmla="*/ 2469 w 4663940"/>
                  <a:gd name="connsiteY88" fmla="*/ 3504785 h 4967504"/>
                  <a:gd name="connsiteX89" fmla="*/ 0 w 4663940"/>
                  <a:gd name="connsiteY89" fmla="*/ 3504785 h 4967504"/>
                  <a:gd name="connsiteX90" fmla="*/ 0 w 4663940"/>
                  <a:gd name="connsiteY90" fmla="*/ 3484849 h 4967504"/>
                  <a:gd name="connsiteX91" fmla="*/ 0 w 4663940"/>
                  <a:gd name="connsiteY91" fmla="*/ 658972 h 4967504"/>
                  <a:gd name="connsiteX92" fmla="*/ 0 w 4663940"/>
                  <a:gd name="connsiteY92" fmla="*/ 658959 h 4967504"/>
                  <a:gd name="connsiteX93" fmla="*/ 8341 w 4663940"/>
                  <a:gd name="connsiteY93" fmla="*/ 591590 h 4967504"/>
                  <a:gd name="connsiteX94" fmla="*/ 1615456 w 4663940"/>
                  <a:gd name="connsiteY94" fmla="*/ 0 h 496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663940" h="4967504">
                    <a:moveTo>
                      <a:pt x="3269159" y="3053384"/>
                    </a:moveTo>
                    <a:cubicBezTo>
                      <a:pt x="2727496" y="3037804"/>
                      <a:pt x="2521360" y="3447912"/>
                      <a:pt x="2445040" y="3698745"/>
                    </a:cubicBezTo>
                    <a:cubicBezTo>
                      <a:pt x="1937681" y="3611785"/>
                      <a:pt x="1541945" y="3871372"/>
                      <a:pt x="1561166" y="4258161"/>
                    </a:cubicBezTo>
                    <a:cubicBezTo>
                      <a:pt x="1579044" y="4617907"/>
                      <a:pt x="1785606" y="4807107"/>
                      <a:pt x="2246169" y="4814882"/>
                    </a:cubicBezTo>
                    <a:lnTo>
                      <a:pt x="4100618" y="4825767"/>
                    </a:lnTo>
                    <a:cubicBezTo>
                      <a:pt x="4427642" y="4814660"/>
                      <a:pt x="4550722" y="4673742"/>
                      <a:pt x="4544311" y="4450687"/>
                    </a:cubicBezTo>
                    <a:cubicBezTo>
                      <a:pt x="4537900" y="4227631"/>
                      <a:pt x="4316004" y="4066148"/>
                      <a:pt x="4105694" y="4053489"/>
                    </a:cubicBezTo>
                    <a:cubicBezTo>
                      <a:pt x="4118460" y="3538650"/>
                      <a:pt x="3810821" y="3068965"/>
                      <a:pt x="3269159" y="3053384"/>
                    </a:cubicBezTo>
                    <a:close/>
                    <a:moveTo>
                      <a:pt x="3249592" y="2871742"/>
                    </a:moveTo>
                    <a:cubicBezTo>
                      <a:pt x="3790903" y="2875368"/>
                      <a:pt x="4236289" y="3343887"/>
                      <a:pt x="4236289" y="3899454"/>
                    </a:cubicBezTo>
                    <a:lnTo>
                      <a:pt x="4228504" y="3978178"/>
                    </a:lnTo>
                    <a:cubicBezTo>
                      <a:pt x="4445936" y="3982724"/>
                      <a:pt x="4651898" y="4193407"/>
                      <a:pt x="4663084" y="4467152"/>
                    </a:cubicBezTo>
                    <a:cubicBezTo>
                      <a:pt x="4674270" y="4740896"/>
                      <a:pt x="4578681" y="4968777"/>
                      <a:pt x="4208525" y="4967499"/>
                    </a:cubicBezTo>
                    <a:lnTo>
                      <a:pt x="1987713" y="4952792"/>
                    </a:lnTo>
                    <a:cubicBezTo>
                      <a:pt x="1664084" y="4885275"/>
                      <a:pt x="1416177" y="4647324"/>
                      <a:pt x="1420637" y="4243438"/>
                    </a:cubicBezTo>
                    <a:cubicBezTo>
                      <a:pt x="1425096" y="3839551"/>
                      <a:pt x="1696606" y="3443492"/>
                      <a:pt x="2331634" y="3552334"/>
                    </a:cubicBezTo>
                    <a:cubicBezTo>
                      <a:pt x="2427160" y="3238382"/>
                      <a:pt x="2708282" y="2868115"/>
                      <a:pt x="3249592" y="2871742"/>
                    </a:cubicBezTo>
                    <a:close/>
                    <a:moveTo>
                      <a:pt x="1637250" y="2023154"/>
                    </a:moveTo>
                    <a:cubicBezTo>
                      <a:pt x="1682591" y="2023154"/>
                      <a:pt x="1718332" y="2042752"/>
                      <a:pt x="1744469" y="2081956"/>
                    </a:cubicBezTo>
                    <a:cubicBezTo>
                      <a:pt x="1770598" y="2121152"/>
                      <a:pt x="1783665" y="2174761"/>
                      <a:pt x="1783665" y="2242785"/>
                    </a:cubicBezTo>
                    <a:cubicBezTo>
                      <a:pt x="1783665" y="2306957"/>
                      <a:pt x="1769835" y="2358074"/>
                      <a:pt x="1742159" y="2396117"/>
                    </a:cubicBezTo>
                    <a:cubicBezTo>
                      <a:pt x="1714489" y="2434160"/>
                      <a:pt x="1678173" y="2453183"/>
                      <a:pt x="1633210" y="2453183"/>
                    </a:cubicBezTo>
                    <a:cubicBezTo>
                      <a:pt x="1585945" y="2453183"/>
                      <a:pt x="1548572" y="2434358"/>
                      <a:pt x="1521091" y="2396694"/>
                    </a:cubicBezTo>
                    <a:cubicBezTo>
                      <a:pt x="1493613" y="2359028"/>
                      <a:pt x="1479878" y="2306580"/>
                      <a:pt x="1479878" y="2239322"/>
                    </a:cubicBezTo>
                    <a:cubicBezTo>
                      <a:pt x="1479878" y="2170532"/>
                      <a:pt x="1493708" y="2117309"/>
                      <a:pt x="1521384" y="2079643"/>
                    </a:cubicBezTo>
                    <a:cubicBezTo>
                      <a:pt x="1549052" y="2041986"/>
                      <a:pt x="1587672" y="2023154"/>
                      <a:pt x="1637250" y="2023154"/>
                    </a:cubicBezTo>
                    <a:close/>
                    <a:moveTo>
                      <a:pt x="2164186" y="1824859"/>
                    </a:moveTo>
                    <a:lnTo>
                      <a:pt x="2164186" y="2651487"/>
                    </a:lnTo>
                    <a:lnTo>
                      <a:pt x="2697977" y="2651487"/>
                    </a:lnTo>
                    <a:lnTo>
                      <a:pt x="2697977" y="2456646"/>
                    </a:lnTo>
                    <a:lnTo>
                      <a:pt x="2413213" y="2456646"/>
                    </a:lnTo>
                    <a:lnTo>
                      <a:pt x="2413213" y="1824859"/>
                    </a:lnTo>
                    <a:close/>
                    <a:moveTo>
                      <a:pt x="1639554" y="1811020"/>
                    </a:moveTo>
                    <a:cubicBezTo>
                      <a:pt x="1557311" y="1811020"/>
                      <a:pt x="1483908" y="1829370"/>
                      <a:pt x="1419348" y="1866073"/>
                    </a:cubicBezTo>
                    <a:cubicBezTo>
                      <a:pt x="1354787" y="1902775"/>
                      <a:pt x="1304634" y="1954751"/>
                      <a:pt x="1268893" y="2022002"/>
                    </a:cubicBezTo>
                    <a:cubicBezTo>
                      <a:pt x="1233154" y="2089253"/>
                      <a:pt x="1215283" y="2164962"/>
                      <a:pt x="1215283" y="2249121"/>
                    </a:cubicBezTo>
                    <a:cubicBezTo>
                      <a:pt x="1215283" y="2329443"/>
                      <a:pt x="1232965" y="2401403"/>
                      <a:pt x="1268318" y="2465002"/>
                    </a:cubicBezTo>
                    <a:cubicBezTo>
                      <a:pt x="1303671" y="2528606"/>
                      <a:pt x="1353153" y="2577989"/>
                      <a:pt x="1416753" y="2613150"/>
                    </a:cubicBezTo>
                    <a:cubicBezTo>
                      <a:pt x="1480357" y="2648314"/>
                      <a:pt x="1550969" y="2665894"/>
                      <a:pt x="1628603" y="2665894"/>
                    </a:cubicBezTo>
                    <a:cubicBezTo>
                      <a:pt x="1662031" y="2665894"/>
                      <a:pt x="1694124" y="2662626"/>
                      <a:pt x="1724862" y="2656095"/>
                    </a:cubicBezTo>
                    <a:lnTo>
                      <a:pt x="1829779" y="2762737"/>
                    </a:lnTo>
                    <a:lnTo>
                      <a:pt x="2142213" y="2762737"/>
                    </a:lnTo>
                    <a:lnTo>
                      <a:pt x="1923743" y="2551755"/>
                    </a:lnTo>
                    <a:cubicBezTo>
                      <a:pt x="2006369" y="2469136"/>
                      <a:pt x="2047678" y="2363834"/>
                      <a:pt x="2047678" y="2235865"/>
                    </a:cubicBezTo>
                    <a:cubicBezTo>
                      <a:pt x="2047678" y="2153239"/>
                      <a:pt x="2030669" y="2079359"/>
                      <a:pt x="1996666" y="2014217"/>
                    </a:cubicBezTo>
                    <a:cubicBezTo>
                      <a:pt x="1962654" y="1949079"/>
                      <a:pt x="1914423" y="1898926"/>
                      <a:pt x="1851972" y="1863771"/>
                    </a:cubicBezTo>
                    <a:cubicBezTo>
                      <a:pt x="1789525" y="1828607"/>
                      <a:pt x="1718717" y="1811020"/>
                      <a:pt x="1639554" y="1811020"/>
                    </a:cubicBezTo>
                    <a:close/>
                    <a:moveTo>
                      <a:pt x="868429" y="1811020"/>
                    </a:moveTo>
                    <a:cubicBezTo>
                      <a:pt x="766205" y="1811020"/>
                      <a:pt x="684737" y="1834942"/>
                      <a:pt x="624020" y="1882791"/>
                    </a:cubicBezTo>
                    <a:cubicBezTo>
                      <a:pt x="563295" y="1930633"/>
                      <a:pt x="532935" y="1994524"/>
                      <a:pt x="532935" y="2074460"/>
                    </a:cubicBezTo>
                    <a:cubicBezTo>
                      <a:pt x="532935" y="2188598"/>
                      <a:pt x="599420" y="2271218"/>
                      <a:pt x="732391" y="2322335"/>
                    </a:cubicBezTo>
                    <a:cubicBezTo>
                      <a:pt x="773511" y="2337703"/>
                      <a:pt x="801660" y="2349807"/>
                      <a:pt x="816840" y="2358651"/>
                    </a:cubicBezTo>
                    <a:cubicBezTo>
                      <a:pt x="832020" y="2367486"/>
                      <a:pt x="843357" y="2377001"/>
                      <a:pt x="850852" y="2387179"/>
                    </a:cubicBezTo>
                    <a:cubicBezTo>
                      <a:pt x="858346" y="2397365"/>
                      <a:pt x="862087" y="2409184"/>
                      <a:pt x="862087" y="2422634"/>
                    </a:cubicBezTo>
                    <a:cubicBezTo>
                      <a:pt x="862087" y="2441466"/>
                      <a:pt x="854599" y="2455778"/>
                      <a:pt x="839610" y="2465577"/>
                    </a:cubicBezTo>
                    <a:cubicBezTo>
                      <a:pt x="824619" y="2475376"/>
                      <a:pt x="803483" y="2480275"/>
                      <a:pt x="776202" y="2480275"/>
                    </a:cubicBezTo>
                    <a:cubicBezTo>
                      <a:pt x="740074" y="2480275"/>
                      <a:pt x="701070" y="2472497"/>
                      <a:pt x="659184" y="2456930"/>
                    </a:cubicBezTo>
                    <a:cubicBezTo>
                      <a:pt x="617291" y="2441373"/>
                      <a:pt x="579057" y="2420907"/>
                      <a:pt x="544470" y="2395542"/>
                    </a:cubicBezTo>
                    <a:lnTo>
                      <a:pt x="544470" y="2622083"/>
                    </a:lnTo>
                    <a:cubicBezTo>
                      <a:pt x="616327" y="2651289"/>
                      <a:pt x="695500" y="2665894"/>
                      <a:pt x="781960" y="2665894"/>
                    </a:cubicBezTo>
                    <a:cubicBezTo>
                      <a:pt x="856517" y="2665894"/>
                      <a:pt x="920312" y="2655904"/>
                      <a:pt x="973344" y="2635920"/>
                    </a:cubicBezTo>
                    <a:cubicBezTo>
                      <a:pt x="1026379" y="2615936"/>
                      <a:pt x="1067595" y="2585576"/>
                      <a:pt x="1096991" y="2544843"/>
                    </a:cubicBezTo>
                    <a:cubicBezTo>
                      <a:pt x="1126394" y="2504102"/>
                      <a:pt x="1141093" y="2456260"/>
                      <a:pt x="1141093" y="2401309"/>
                    </a:cubicBezTo>
                    <a:cubicBezTo>
                      <a:pt x="1141093" y="2344812"/>
                      <a:pt x="1123317" y="2296006"/>
                      <a:pt x="1087767" y="2254886"/>
                    </a:cubicBezTo>
                    <a:cubicBezTo>
                      <a:pt x="1052226" y="2213766"/>
                      <a:pt x="991601" y="2175913"/>
                      <a:pt x="905898" y="2141324"/>
                    </a:cubicBezTo>
                    <a:cubicBezTo>
                      <a:pt x="862473" y="2123265"/>
                      <a:pt x="833938" y="2108567"/>
                      <a:pt x="820296" y="2097229"/>
                    </a:cubicBezTo>
                    <a:cubicBezTo>
                      <a:pt x="806655" y="2085892"/>
                      <a:pt x="799831" y="2071574"/>
                      <a:pt x="799831" y="2054280"/>
                    </a:cubicBezTo>
                    <a:cubicBezTo>
                      <a:pt x="799831" y="2036221"/>
                      <a:pt x="808289" y="2022002"/>
                      <a:pt x="825196" y="2011628"/>
                    </a:cubicBezTo>
                    <a:cubicBezTo>
                      <a:pt x="842110" y="2001246"/>
                      <a:pt x="864398" y="1996062"/>
                      <a:pt x="892067" y="1996062"/>
                    </a:cubicBezTo>
                    <a:cubicBezTo>
                      <a:pt x="959319" y="1996062"/>
                      <a:pt x="1027720" y="2015085"/>
                      <a:pt x="1097282" y="2053128"/>
                    </a:cubicBezTo>
                    <a:lnTo>
                      <a:pt x="1097282" y="1842728"/>
                    </a:lnTo>
                    <a:cubicBezTo>
                      <a:pt x="1061543" y="1833120"/>
                      <a:pt x="1033778" y="1826587"/>
                      <a:pt x="1013985" y="1823123"/>
                    </a:cubicBezTo>
                    <a:cubicBezTo>
                      <a:pt x="994196" y="1819667"/>
                      <a:pt x="972194" y="1816788"/>
                      <a:pt x="947981" y="1814477"/>
                    </a:cubicBezTo>
                    <a:cubicBezTo>
                      <a:pt x="923768" y="1812172"/>
                      <a:pt x="897251" y="1811020"/>
                      <a:pt x="868429" y="1811020"/>
                    </a:cubicBezTo>
                    <a:close/>
                    <a:moveTo>
                      <a:pt x="1615458" y="237723"/>
                    </a:moveTo>
                    <a:cubicBezTo>
                      <a:pt x="999628" y="237723"/>
                      <a:pt x="500399" y="384245"/>
                      <a:pt x="500399" y="564991"/>
                    </a:cubicBezTo>
                    <a:cubicBezTo>
                      <a:pt x="500399" y="745735"/>
                      <a:pt x="999628" y="892256"/>
                      <a:pt x="1615458" y="892256"/>
                    </a:cubicBezTo>
                    <a:cubicBezTo>
                      <a:pt x="2231288" y="892256"/>
                      <a:pt x="2730517" y="745735"/>
                      <a:pt x="2730517" y="564991"/>
                    </a:cubicBezTo>
                    <a:cubicBezTo>
                      <a:pt x="2730517" y="384245"/>
                      <a:pt x="2231288" y="237723"/>
                      <a:pt x="1615458" y="237723"/>
                    </a:cubicBezTo>
                    <a:close/>
                    <a:moveTo>
                      <a:pt x="1615456" y="0"/>
                    </a:moveTo>
                    <a:cubicBezTo>
                      <a:pt x="2451887" y="0"/>
                      <a:pt x="3139847" y="259304"/>
                      <a:pt x="3222576" y="591590"/>
                    </a:cubicBezTo>
                    <a:lnTo>
                      <a:pt x="3228448" y="639031"/>
                    </a:lnTo>
                    <a:lnTo>
                      <a:pt x="3230914" y="639031"/>
                    </a:lnTo>
                    <a:lnTo>
                      <a:pt x="3230914" y="658966"/>
                    </a:lnTo>
                    <a:cubicBezTo>
                      <a:pt x="3230914" y="1010789"/>
                      <a:pt x="3234566" y="2597955"/>
                      <a:pt x="3230916" y="2749970"/>
                    </a:cubicBezTo>
                    <a:cubicBezTo>
                      <a:pt x="2813586" y="2788801"/>
                      <a:pt x="2392628" y="2983660"/>
                      <a:pt x="2269213" y="3410748"/>
                    </a:cubicBezTo>
                    <a:cubicBezTo>
                      <a:pt x="1886462" y="3324602"/>
                      <a:pt x="1434770" y="3503342"/>
                      <a:pt x="1309648" y="4132024"/>
                    </a:cubicBezTo>
                    <a:cubicBezTo>
                      <a:pt x="616495" y="4077849"/>
                      <a:pt x="80728" y="3842976"/>
                      <a:pt x="8341" y="3552225"/>
                    </a:cubicBezTo>
                    <a:lnTo>
                      <a:pt x="2469" y="3504785"/>
                    </a:lnTo>
                    <a:lnTo>
                      <a:pt x="0" y="3504785"/>
                    </a:lnTo>
                    <a:lnTo>
                      <a:pt x="0" y="3484849"/>
                    </a:lnTo>
                    <a:lnTo>
                      <a:pt x="0" y="658972"/>
                    </a:lnTo>
                    <a:lnTo>
                      <a:pt x="0" y="658959"/>
                    </a:lnTo>
                    <a:lnTo>
                      <a:pt x="8341" y="591590"/>
                    </a:lnTo>
                    <a:cubicBezTo>
                      <a:pt x="91067" y="259304"/>
                      <a:pt x="779025" y="0"/>
                      <a:pt x="161545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800" b="1"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endParaRPr>
              </a:p>
            </p:txBody>
          </p:sp>
        </p:grpSp>
        <p:grpSp>
          <p:nvGrpSpPr>
            <p:cNvPr id="7" name="Group 6"/>
            <p:cNvGrpSpPr/>
            <p:nvPr/>
          </p:nvGrpSpPr>
          <p:grpSpPr>
            <a:xfrm>
              <a:off x="5888009" y="1147426"/>
              <a:ext cx="287480" cy="4796174"/>
              <a:chOff x="487966" y="588651"/>
              <a:chExt cx="576073" cy="6273264"/>
            </a:xfrm>
            <a:solidFill>
              <a:srgbClr val="0078D7"/>
            </a:solidFill>
          </p:grpSpPr>
          <p:sp>
            <p:nvSpPr>
              <p:cNvPr id="21" name="Pentagon 20"/>
              <p:cNvSpPr/>
              <p:nvPr/>
            </p:nvSpPr>
            <p:spPr bwMode="auto">
              <a:xfrm rot="5400000" flipH="1">
                <a:off x="-869917" y="1946534"/>
                <a:ext cx="3291837" cy="576072"/>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a:ln>
                    <a:noFill/>
                  </a:ln>
                  <a:solidFill>
                    <a:schemeClr val="tx1"/>
                  </a:solidFill>
                  <a:effectLst/>
                  <a:uLnTx/>
                  <a:uFillTx/>
                  <a:ea typeface="Segoe UI" pitchFamily="34" charset="0"/>
                  <a:cs typeface="Segoe UI Semibold" panose="020B0702040204020203" pitchFamily="34" charset="0"/>
                </a:endParaRPr>
              </a:p>
            </p:txBody>
          </p:sp>
          <p:sp>
            <p:nvSpPr>
              <p:cNvPr id="22" name="Pentagon 21"/>
              <p:cNvSpPr/>
              <p:nvPr/>
            </p:nvSpPr>
            <p:spPr bwMode="auto">
              <a:xfrm rot="16200000" flipH="1">
                <a:off x="-717578" y="5080298"/>
                <a:ext cx="2987161" cy="576073"/>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a:ln>
                    <a:noFill/>
                  </a:ln>
                  <a:solidFill>
                    <a:schemeClr val="tx1"/>
                  </a:solidFill>
                  <a:effectLst/>
                  <a:uLnTx/>
                  <a:uFillTx/>
                  <a:ea typeface="Segoe UI" pitchFamily="34" charset="0"/>
                  <a:cs typeface="Segoe UI Semibold" panose="020B0702040204020203" pitchFamily="34" charset="0"/>
                </a:endParaRPr>
              </a:p>
            </p:txBody>
          </p:sp>
          <p:sp>
            <p:nvSpPr>
              <p:cNvPr id="23" name="TextBox 22"/>
              <p:cNvSpPr txBox="1"/>
              <p:nvPr/>
            </p:nvSpPr>
            <p:spPr>
              <a:xfrm rot="16200000">
                <a:off x="-455190" y="5308153"/>
                <a:ext cx="2481943" cy="272829"/>
              </a:xfrm>
              <a:prstGeom prst="rect">
                <a:avLst/>
              </a:prstGeom>
              <a:noFill/>
            </p:spPr>
            <p:txBody>
              <a:bodyPr wrap="square" lIns="182854" tIns="146284" rIns="182854" bIns="146284" rtlCol="0" anchor="ctr">
                <a:no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effectLst/>
                    <a:uLnTx/>
                    <a:uFillTx/>
                    <a:cs typeface="Segoe UI Semibold" panose="020B0702040204020203" pitchFamily="34" charset="0"/>
                  </a:rPr>
                  <a:t>On-premises</a:t>
                </a:r>
              </a:p>
            </p:txBody>
          </p:sp>
          <p:sp>
            <p:nvSpPr>
              <p:cNvPr id="24" name="TextBox 23"/>
              <p:cNvSpPr txBox="1"/>
              <p:nvPr/>
            </p:nvSpPr>
            <p:spPr>
              <a:xfrm rot="16200000">
                <a:off x="-455190" y="1862837"/>
                <a:ext cx="2481943" cy="272829"/>
              </a:xfrm>
              <a:prstGeom prst="rect">
                <a:avLst/>
              </a:prstGeom>
              <a:noFill/>
            </p:spPr>
            <p:txBody>
              <a:bodyPr wrap="square" lIns="182854" tIns="146284" rIns="182854" bIns="146284" rtlCol="0" anchor="ctr">
                <a:noAutofit/>
              </a:bodyPr>
              <a:lstStyle/>
              <a:p>
                <a:pPr marL="0" marR="0" lvl="0" indent="0" algn="r" defTabSz="914225"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effectLst/>
                    <a:uLnTx/>
                    <a:uFillTx/>
                    <a:cs typeface="Segoe UI Semibold" panose="020B0702040204020203" pitchFamily="34" charset="0"/>
                  </a:rPr>
                  <a:t>Cloud</a:t>
                </a:r>
              </a:p>
            </p:txBody>
          </p:sp>
        </p:grpSp>
        <p:grpSp>
          <p:nvGrpSpPr>
            <p:cNvPr id="8" name="Group 7"/>
            <p:cNvGrpSpPr/>
            <p:nvPr/>
          </p:nvGrpSpPr>
          <p:grpSpPr>
            <a:xfrm>
              <a:off x="6217267" y="3740357"/>
              <a:ext cx="5475277" cy="2052367"/>
              <a:chOff x="6217267" y="3399158"/>
              <a:chExt cx="5475277" cy="2052367"/>
            </a:xfrm>
          </p:grpSpPr>
          <p:sp>
            <p:nvSpPr>
              <p:cNvPr id="17" name="Rectangle 16"/>
              <p:cNvSpPr/>
              <p:nvPr/>
            </p:nvSpPr>
            <p:spPr bwMode="auto">
              <a:xfrm>
                <a:off x="6217267" y="3399158"/>
                <a:ext cx="2710527" cy="20523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34464" rIns="134464" bIns="134464" numCol="1" spcCol="0" rtlCol="0" fromWordArt="0" anchor="b" anchorCtr="0" forceAA="0" compatLnSpc="1">
                <a:prstTxWarp prst="textNoShape">
                  <a:avLst/>
                </a:prstTxWarp>
                <a:noAutofit/>
              </a:bodyPr>
              <a:lstStyle/>
              <a:p>
                <a:pPr marL="0" marR="0" lvl="0" indent="0" defTabSz="931036" eaLnBrk="1" fontAlgn="auto" latinLnBrk="0" hangingPunct="1">
                  <a:lnSpc>
                    <a:spcPct val="100000"/>
                  </a:lnSpc>
                  <a:spcBef>
                    <a:spcPts val="612"/>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SQL Server 2016</a:t>
                </a:r>
              </a:p>
              <a:p>
                <a:pPr marL="0" marR="0" lvl="0" indent="0" defTabSz="931036" eaLnBrk="1" fontAlgn="auto" latinLnBrk="0" hangingPunct="1">
                  <a:lnSpc>
                    <a:spcPct val="100000"/>
                  </a:lnSpc>
                  <a:spcBef>
                    <a:spcPts val="612"/>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SQL Server 2016 Fast Track</a:t>
                </a:r>
              </a:p>
              <a:p>
                <a:pPr marL="0" marR="0" lvl="0" indent="0" defTabSz="931036" eaLnBrk="1" fontAlgn="auto" latinLnBrk="0" hangingPunct="1">
                  <a:lnSpc>
                    <a:spcPct val="100000"/>
                  </a:lnSpc>
                  <a:spcBef>
                    <a:spcPts val="612"/>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Analytics Platform System</a:t>
                </a:r>
              </a:p>
            </p:txBody>
          </p:sp>
          <p:sp>
            <p:nvSpPr>
              <p:cNvPr id="18" name="Freeform 17"/>
              <p:cNvSpPr/>
              <p:nvPr/>
            </p:nvSpPr>
            <p:spPr bwMode="auto">
              <a:xfrm>
                <a:off x="6312613" y="3492573"/>
                <a:ext cx="409829" cy="525626"/>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a:ln>
                    <a:noFill/>
                  </a:ln>
                  <a:solidFill>
                    <a:schemeClr val="tx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9" name="Rectangle 18"/>
              <p:cNvSpPr/>
              <p:nvPr/>
            </p:nvSpPr>
            <p:spPr bwMode="auto">
              <a:xfrm>
                <a:off x="8982017" y="3399158"/>
                <a:ext cx="2710527" cy="20523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34464" rIns="134464" bIns="134464" numCol="1" spcCol="0" rtlCol="0" fromWordArt="0" anchor="b" anchorCtr="0" forceAA="0" compatLnSpc="1">
                <a:prstTxWarp prst="textNoShape">
                  <a:avLst/>
                </a:prstTxWarp>
                <a:noAutofit/>
              </a:bodyPr>
              <a:lstStyle/>
              <a:p>
                <a:pPr marL="0" marR="0" lvl="0" indent="0" algn="r" defTabSz="931036" eaLnBrk="1" fontAlgn="auto" latinLnBrk="0" hangingPunct="1">
                  <a:lnSpc>
                    <a:spcPct val="100000"/>
                  </a:lnSpc>
                  <a:spcBef>
                    <a:spcPts val="612"/>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3</a:t>
                </a:r>
                <a:r>
                  <a:rPr kumimoji="0" lang="en-US" sz="1200" b="0" i="0" u="none" strike="noStrike" kern="0" cap="none" spc="0" normalizeH="0" baseline="3000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rd</a:t>
                </a: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 Party Hadoop Distributions</a:t>
                </a:r>
              </a:p>
              <a:p>
                <a:pPr marL="0" marR="0" lvl="0" indent="0" algn="r" defTabSz="93103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w="0">
                      <a:noFill/>
                    </a:ln>
                    <a:solidFill>
                      <a:schemeClr val="tx1"/>
                    </a:solidFill>
                    <a:effectLst/>
                    <a:uLnTx/>
                    <a:uFillTx/>
                    <a:ea typeface="Segoe UI" panose="020B0502040204020203" pitchFamily="34" charset="0"/>
                    <a:cs typeface="Segoe UI" panose="020B0502040204020203" pitchFamily="34" charset="0"/>
                  </a:rPr>
                  <a:t>Hortonworks, Cloudera </a:t>
                </a:r>
              </a:p>
            </p:txBody>
          </p:sp>
          <p:sp>
            <p:nvSpPr>
              <p:cNvPr id="20" name="Freeform 19"/>
              <p:cNvSpPr/>
              <p:nvPr/>
            </p:nvSpPr>
            <p:spPr>
              <a:xfrm>
                <a:off x="11147959" y="3587700"/>
                <a:ext cx="467071" cy="335373"/>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grpSp>
          <p:nvGrpSpPr>
            <p:cNvPr id="9" name="Group 8"/>
            <p:cNvGrpSpPr/>
            <p:nvPr/>
          </p:nvGrpSpPr>
          <p:grpSpPr>
            <a:xfrm>
              <a:off x="6217267" y="3401680"/>
              <a:ext cx="5475278" cy="287480"/>
              <a:chOff x="8254153" y="-697151"/>
              <a:chExt cx="3049423" cy="287480"/>
            </a:xfrm>
            <a:solidFill>
              <a:srgbClr val="002050"/>
            </a:solidFill>
          </p:grpSpPr>
          <p:sp>
            <p:nvSpPr>
              <p:cNvPr id="15" name="Pentagon 38"/>
              <p:cNvSpPr/>
              <p:nvPr/>
            </p:nvSpPr>
            <p:spPr bwMode="auto">
              <a:xfrm>
                <a:off x="8254153" y="-697151"/>
                <a:ext cx="3049423" cy="287480"/>
              </a:xfrm>
              <a:custGeom>
                <a:avLst/>
                <a:gdLst>
                  <a:gd name="connsiteX0" fmla="*/ 0 w 5632467"/>
                  <a:gd name="connsiteY0" fmla="*/ 0 h 287480"/>
                  <a:gd name="connsiteX1" fmla="*/ 5488727 w 5632467"/>
                  <a:gd name="connsiteY1" fmla="*/ 0 h 287480"/>
                  <a:gd name="connsiteX2" fmla="*/ 5632467 w 5632467"/>
                  <a:gd name="connsiteY2" fmla="*/ 143740 h 287480"/>
                  <a:gd name="connsiteX3" fmla="*/ 5488727 w 5632467"/>
                  <a:gd name="connsiteY3" fmla="*/ 287480 h 287480"/>
                  <a:gd name="connsiteX4" fmla="*/ 0 w 5632467"/>
                  <a:gd name="connsiteY4" fmla="*/ 287480 h 287480"/>
                  <a:gd name="connsiteX5" fmla="*/ 0 w 5632467"/>
                  <a:gd name="connsiteY5" fmla="*/ 0 h 287480"/>
                  <a:gd name="connsiteX0" fmla="*/ 0 w 5488727"/>
                  <a:gd name="connsiteY0" fmla="*/ 0 h 287480"/>
                  <a:gd name="connsiteX1" fmla="*/ 5488727 w 5488727"/>
                  <a:gd name="connsiteY1" fmla="*/ 0 h 287480"/>
                  <a:gd name="connsiteX2" fmla="*/ 5488727 w 5488727"/>
                  <a:gd name="connsiteY2" fmla="*/ 287480 h 287480"/>
                  <a:gd name="connsiteX3" fmla="*/ 0 w 5488727"/>
                  <a:gd name="connsiteY3" fmla="*/ 287480 h 287480"/>
                  <a:gd name="connsiteX4" fmla="*/ 0 w 5488727"/>
                  <a:gd name="connsiteY4" fmla="*/ 0 h 287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8727" h="287480">
                    <a:moveTo>
                      <a:pt x="0" y="0"/>
                    </a:moveTo>
                    <a:lnTo>
                      <a:pt x="5488727" y="0"/>
                    </a:lnTo>
                    <a:lnTo>
                      <a:pt x="5488727" y="287480"/>
                    </a:lnTo>
                    <a:lnTo>
                      <a:pt x="0" y="28748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a:ln>
                    <a:noFill/>
                  </a:ln>
                  <a:solidFill>
                    <a:schemeClr val="tx1"/>
                  </a:solidFill>
                  <a:effectLst/>
                  <a:uLnTx/>
                  <a:uFillTx/>
                  <a:ea typeface="Segoe UI" pitchFamily="34" charset="0"/>
                  <a:cs typeface="Segoe UI Semibold" panose="020B0702040204020203" pitchFamily="34" charset="0"/>
                </a:endParaRPr>
              </a:p>
            </p:txBody>
          </p:sp>
          <p:sp>
            <p:nvSpPr>
              <p:cNvPr id="16" name="TextBox 15"/>
              <p:cNvSpPr txBox="1"/>
              <p:nvPr/>
            </p:nvSpPr>
            <p:spPr>
              <a:xfrm>
                <a:off x="8315192" y="-648991"/>
                <a:ext cx="2708254" cy="191160"/>
              </a:xfrm>
              <a:prstGeom prst="rect">
                <a:avLst/>
              </a:prstGeom>
              <a:solidFill>
                <a:schemeClr val="accent1"/>
              </a:solidFill>
            </p:spPr>
            <p:txBody>
              <a:bodyPr wrap="square" lIns="0" tIns="146284" rIns="182854" bIns="146284" rtlCol="0" anchor="ctr">
                <a:no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PolyBase</a:t>
                </a:r>
              </a:p>
            </p:txBody>
          </p:sp>
        </p:grpSp>
        <p:cxnSp>
          <p:nvCxnSpPr>
            <p:cNvPr id="10" name="Straight Arrow Connector 9"/>
            <p:cNvCxnSpPr/>
            <p:nvPr/>
          </p:nvCxnSpPr>
          <p:spPr>
            <a:xfrm>
              <a:off x="7078057" y="3545420"/>
              <a:ext cx="4508351" cy="0"/>
            </a:xfrm>
            <a:prstGeom prst="straightConnector1">
              <a:avLst/>
            </a:prstGeom>
            <a:ln w="19050" cap="rnd">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8466460" y="3055907"/>
              <a:ext cx="976519" cy="977157"/>
              <a:chOff x="2453704" y="2778557"/>
              <a:chExt cx="2795290" cy="2797115"/>
            </a:xfrm>
          </p:grpSpPr>
          <p:sp>
            <p:nvSpPr>
              <p:cNvPr id="12" name="Oval 11"/>
              <p:cNvSpPr>
                <a:spLocks noChangeAspect="1"/>
              </p:cNvSpPr>
              <p:nvPr/>
            </p:nvSpPr>
            <p:spPr bwMode="auto">
              <a:xfrm>
                <a:off x="2453704" y="2778557"/>
                <a:ext cx="2795290" cy="2797115"/>
              </a:xfrm>
              <a:prstGeom prst="ellipse">
                <a:avLst/>
              </a:prstGeom>
              <a:solidFill>
                <a:schemeClr val="accent1"/>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6593" tIns="46593" rIns="46593" bIns="46593" numCol="1" spcCol="0" rtlCol="0" fromWordArt="0" anchor="ctr" anchorCtr="0" forceAA="0" compatLnSpc="1">
                <a:prstTxWarp prst="textNoShape">
                  <a:avLst/>
                </a:prstTxWarp>
                <a:noAutofit/>
              </a:bodyPr>
              <a:lstStyle/>
              <a:p>
                <a:pPr marL="0" marR="0" lvl="0" indent="0" algn="ctr" defTabSz="931036" eaLnBrk="1" fontAlgn="auto" latinLnBrk="0" hangingPunct="1">
                  <a:lnSpc>
                    <a:spcPct val="100000"/>
                  </a:lnSpc>
                  <a:spcBef>
                    <a:spcPts val="612"/>
                  </a:spcBef>
                  <a:spcAft>
                    <a:spcPts val="0"/>
                  </a:spcAft>
                  <a:buClrTx/>
                  <a:buSzTx/>
                  <a:buFontTx/>
                  <a:buNone/>
                  <a:tabLst/>
                  <a:defRPr/>
                </a:pPr>
                <a:endParaRPr kumimoji="0" lang="en-US" sz="2400" b="0" i="0" u="none" strike="noStrike" kern="0" cap="none" spc="0" normalizeH="0" baseline="0" noProof="0" dirty="0">
                  <a:ln>
                    <a:noFill/>
                  </a:ln>
                  <a:solidFill>
                    <a:schemeClr val="tx1"/>
                  </a:solidFill>
                  <a:effectLst/>
                  <a:uLnTx/>
                  <a:uFillTx/>
                  <a:latin typeface="Segoe UI Semibold" panose="020B0702040204020203" pitchFamily="34" charset="0"/>
                  <a:ea typeface="MS PGothic" charset="0"/>
                  <a:cs typeface="Segoe UI Semibold" panose="020B0702040204020203" pitchFamily="34" charset="0"/>
                </a:endParaRPr>
              </a:p>
            </p:txBody>
          </p:sp>
          <p:sp>
            <p:nvSpPr>
              <p:cNvPr id="13" name="TextBox 12"/>
              <p:cNvSpPr txBox="1"/>
              <p:nvPr/>
            </p:nvSpPr>
            <p:spPr>
              <a:xfrm>
                <a:off x="2661851" y="3629621"/>
                <a:ext cx="2378999" cy="654795"/>
              </a:xfrm>
              <a:prstGeom prst="rect">
                <a:avLst/>
              </a:prstGeom>
              <a:noFill/>
            </p:spPr>
            <p:txBody>
              <a:bodyPr wrap="square" lIns="0" tIns="0" rIns="0" bIns="0" rtlCol="0" anchor="ctr">
                <a:noAutofit/>
              </a:bodyPr>
              <a:lstStyle/>
              <a:p>
                <a:pPr marL="0" marR="0" lvl="0" indent="0" algn="ctr" defTabSz="914225"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effectLst/>
                    <a:uLnTx/>
                    <a:uFillTx/>
                    <a:cs typeface="Segoe UI Semibold" panose="020B0702040204020203" pitchFamily="34" charset="0"/>
                  </a:rPr>
                  <a:t>Insights</a:t>
                </a:r>
              </a:p>
            </p:txBody>
          </p:sp>
          <p:sp>
            <p:nvSpPr>
              <p:cNvPr id="14" name="Freeform 13"/>
              <p:cNvSpPr/>
              <p:nvPr>
                <p:custDataLst>
                  <p:tags r:id="rId1"/>
                </p:custDataLst>
              </p:nvPr>
            </p:nvSpPr>
            <p:spPr>
              <a:xfrm>
                <a:off x="3568359" y="4516873"/>
                <a:ext cx="565984" cy="49699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tx1"/>
              </a:solidFill>
              <a:ln w="19050" cap="flat" cmpd="sng" algn="ctr">
                <a:noFill/>
                <a:prstDash val="solid"/>
              </a:ln>
              <a:effectLst/>
            </p:spPr>
            <p:txBody>
              <a:bodyPr lIns="89642" tIns="44821" rIns="89642" bIns="44821" rtlCol="0" anchor="ctr"/>
              <a:lstStyle/>
              <a:p>
                <a:pPr marL="0" marR="0" lvl="0" indent="0" algn="ctr" defTabSz="89594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Arial"/>
                </a:endParaRPr>
              </a:p>
            </p:txBody>
          </p:sp>
        </p:grpSp>
      </p:grpSp>
      <p:sp>
        <p:nvSpPr>
          <p:cNvPr id="33" name="Content Placeholder 2"/>
          <p:cNvSpPr txBox="1">
            <a:spLocks/>
          </p:cNvSpPr>
          <p:nvPr/>
        </p:nvSpPr>
        <p:spPr>
          <a:xfrm>
            <a:off x="6116037" y="1445789"/>
            <a:ext cx="5362259" cy="3985706"/>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100000"/>
              </a:lnSpc>
              <a:spcBef>
                <a:spcPts val="0"/>
              </a:spcBef>
              <a:spcAft>
                <a:spcPts val="600"/>
              </a:spcAft>
              <a:buFont typeface="Arial" pitchFamily="34" charset="0"/>
              <a:buNone/>
            </a:pPr>
            <a:r>
              <a:rPr lang="en-US" sz="2400" dirty="0">
                <a:solidFill>
                  <a:srgbClr val="0078D7"/>
                </a:solidFill>
                <a:latin typeface="Segoe UI Light" panose="020B0502040204020203" pitchFamily="34" charset="0"/>
                <a:cs typeface="Segoe UI Light" panose="020B0502040204020203" pitchFamily="34" charset="0"/>
              </a:rPr>
              <a:t>Fastest insights</a:t>
            </a:r>
            <a:br>
              <a:rPr lang="en-US" sz="1800" dirty="0">
                <a:solidFill>
                  <a:srgbClr val="505050"/>
                </a:solidFill>
              </a:rPr>
            </a:br>
            <a:r>
              <a:rPr lang="en-US" sz="1400" dirty="0">
                <a:ln w="3175">
                  <a:noFill/>
                </a:ln>
                <a:solidFill>
                  <a:srgbClr val="505050"/>
                </a:solidFill>
              </a:rPr>
              <a:t>Real-time insights with breakthrough query performance</a:t>
            </a:r>
          </a:p>
          <a:p>
            <a:pPr marL="0" indent="0">
              <a:lnSpc>
                <a:spcPct val="100000"/>
              </a:lnSpc>
              <a:spcBef>
                <a:spcPts val="0"/>
              </a:spcBef>
              <a:spcAft>
                <a:spcPts val="600"/>
              </a:spcAft>
              <a:buFont typeface="Arial" pitchFamily="34" charset="0"/>
              <a:buNone/>
            </a:pPr>
            <a:r>
              <a:rPr lang="en-US" sz="2400" dirty="0">
                <a:solidFill>
                  <a:srgbClr val="0078D7"/>
                </a:solidFill>
                <a:latin typeface="Segoe UI Light" panose="020B0502040204020203" pitchFamily="34" charset="0"/>
                <a:cs typeface="Segoe UI Light" panose="020B0502040204020203" pitchFamily="34" charset="0"/>
              </a:rPr>
              <a:t>Analytics built-in</a:t>
            </a:r>
            <a:br>
              <a:rPr lang="en-US" sz="1800" dirty="0">
                <a:solidFill>
                  <a:srgbClr val="505050"/>
                </a:solidFill>
              </a:rPr>
            </a:br>
            <a:r>
              <a:rPr lang="en-US" sz="1400" dirty="0">
                <a:ln w="3175">
                  <a:noFill/>
                </a:ln>
                <a:solidFill>
                  <a:srgbClr val="505050"/>
                </a:solidFill>
              </a:rPr>
              <a:t>Real-time insights with analytics built in</a:t>
            </a:r>
          </a:p>
          <a:p>
            <a:pPr marL="0" indent="0">
              <a:lnSpc>
                <a:spcPct val="100000"/>
              </a:lnSpc>
              <a:spcBef>
                <a:spcPts val="0"/>
              </a:spcBef>
              <a:spcAft>
                <a:spcPts val="600"/>
              </a:spcAft>
              <a:buFont typeface="Arial" pitchFamily="34" charset="0"/>
              <a:buNone/>
            </a:pPr>
            <a:r>
              <a:rPr lang="en-US" sz="2400" dirty="0">
                <a:solidFill>
                  <a:srgbClr val="0078D7"/>
                </a:solidFill>
                <a:latin typeface="Segoe UI Light" panose="020B0502040204020203" pitchFamily="34" charset="0"/>
                <a:cs typeface="Segoe UI Light" panose="020B0502040204020203" pitchFamily="34" charset="0"/>
              </a:rPr>
              <a:t>Choice of deployment</a:t>
            </a:r>
            <a:br>
              <a:rPr lang="en-US" sz="1800" dirty="0">
                <a:solidFill>
                  <a:srgbClr val="505050"/>
                </a:solidFill>
              </a:rPr>
            </a:br>
            <a:r>
              <a:rPr lang="en-US" sz="1400" dirty="0">
                <a:ln w="3175">
                  <a:noFill/>
                </a:ln>
                <a:solidFill>
                  <a:srgbClr val="505050"/>
                </a:solidFill>
              </a:rPr>
              <a:t>Leading solutions—on-premises and in the cloud</a:t>
            </a:r>
          </a:p>
          <a:p>
            <a:pPr marL="0" indent="0">
              <a:lnSpc>
                <a:spcPct val="100000"/>
              </a:lnSpc>
              <a:spcBef>
                <a:spcPts val="0"/>
              </a:spcBef>
              <a:spcAft>
                <a:spcPts val="600"/>
              </a:spcAft>
              <a:buFont typeface="Arial" pitchFamily="34" charset="0"/>
              <a:buNone/>
            </a:pPr>
            <a:r>
              <a:rPr lang="en-US" sz="2400" dirty="0">
                <a:solidFill>
                  <a:srgbClr val="0078D7"/>
                </a:solidFill>
                <a:latin typeface="Segoe UI Light" panose="020B0502040204020203" pitchFamily="34" charset="0"/>
                <a:cs typeface="Segoe UI Light" panose="020B0502040204020203" pitchFamily="34" charset="0"/>
              </a:rPr>
              <a:t>Layers of security</a:t>
            </a:r>
            <a:br>
              <a:rPr lang="en-US" sz="3200" dirty="0">
                <a:solidFill>
                  <a:srgbClr val="505050"/>
                </a:solidFill>
              </a:rPr>
            </a:br>
            <a:r>
              <a:rPr lang="en-US" sz="1400" dirty="0">
                <a:ln w="3175">
                  <a:noFill/>
                </a:ln>
                <a:solidFill>
                  <a:srgbClr val="505050"/>
                </a:solidFill>
              </a:rPr>
              <a:t>Least vulnerable database 6 years in a row</a:t>
            </a:r>
          </a:p>
          <a:p>
            <a:pPr marL="0" indent="0">
              <a:lnSpc>
                <a:spcPct val="100000"/>
              </a:lnSpc>
              <a:spcBef>
                <a:spcPts val="0"/>
              </a:spcBef>
              <a:spcAft>
                <a:spcPts val="600"/>
              </a:spcAft>
              <a:buFont typeface="Arial" pitchFamily="34" charset="0"/>
              <a:buNone/>
            </a:pPr>
            <a:r>
              <a:rPr lang="en-US" sz="2400" dirty="0">
                <a:solidFill>
                  <a:srgbClr val="0078D7"/>
                </a:solidFill>
                <a:latin typeface="Segoe UI Light" panose="020B0502040204020203" pitchFamily="34" charset="0"/>
                <a:cs typeface="Segoe UI Light" panose="020B0502040204020203" pitchFamily="34" charset="0"/>
              </a:rPr>
              <a:t>Any data, any scale</a:t>
            </a:r>
            <a:br>
              <a:rPr lang="en-US" sz="3200" dirty="0">
                <a:solidFill>
                  <a:srgbClr val="505050"/>
                </a:solidFill>
              </a:rPr>
            </a:br>
            <a:r>
              <a:rPr lang="en-US" sz="1400" dirty="0">
                <a:ln w="3175">
                  <a:noFill/>
                </a:ln>
                <a:solidFill>
                  <a:srgbClr val="505050"/>
                </a:solidFill>
              </a:rPr>
              <a:t>A hybrid solution that grows in step with customer needs </a:t>
            </a:r>
          </a:p>
          <a:p>
            <a:pPr marL="0" indent="0">
              <a:lnSpc>
                <a:spcPct val="100000"/>
              </a:lnSpc>
              <a:spcBef>
                <a:spcPts val="0"/>
              </a:spcBef>
              <a:spcAft>
                <a:spcPts val="600"/>
              </a:spcAft>
              <a:buFont typeface="Arial" pitchFamily="34" charset="0"/>
              <a:buNone/>
            </a:pPr>
            <a:r>
              <a:rPr lang="en-US" sz="2400" dirty="0">
                <a:solidFill>
                  <a:srgbClr val="0078D7"/>
                </a:solidFill>
                <a:latin typeface="Segoe UI Light" panose="020B0502040204020203" pitchFamily="34" charset="0"/>
                <a:cs typeface="Segoe UI Light" panose="020B0502040204020203" pitchFamily="34" charset="0"/>
              </a:rPr>
              <a:t>More for the price</a:t>
            </a:r>
            <a:br>
              <a:rPr lang="en-US" sz="3200" dirty="0">
                <a:solidFill>
                  <a:srgbClr val="505050"/>
                </a:solidFill>
              </a:rPr>
            </a:br>
            <a:r>
              <a:rPr lang="en-US" sz="1400" dirty="0">
                <a:ln w="3175">
                  <a:noFill/>
                </a:ln>
                <a:solidFill>
                  <a:srgbClr val="505050"/>
                </a:solidFill>
              </a:rPr>
              <a:t>Customers do more with industry-leading TCO</a:t>
            </a:r>
          </a:p>
        </p:txBody>
      </p:sp>
      <p:sp>
        <p:nvSpPr>
          <p:cNvPr id="34" name="Title 18"/>
          <p:cNvSpPr txBox="1">
            <a:spLocks/>
          </p:cNvSpPr>
          <p:nvPr/>
        </p:nvSpPr>
        <p:spPr>
          <a:xfrm>
            <a:off x="105117" y="75404"/>
            <a:ext cx="10515600" cy="36027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a:lnSpc>
                <a:spcPct val="100000"/>
              </a:lnSpc>
              <a:spcBef>
                <a:spcPts val="0"/>
              </a:spcBef>
              <a:defRPr/>
            </a:pPr>
            <a:r>
              <a:rPr lang="en-US" sz="1200" dirty="0">
                <a:solidFill>
                  <a:srgbClr val="0078D7"/>
                </a:solidFill>
                <a:latin typeface="Segoe UI" panose="020B0502040204020203" pitchFamily="34" charset="0"/>
              </a:rPr>
              <a:t>MICROSOFT BIG DATA SOLUTIONS</a:t>
            </a:r>
            <a:endParaRPr lang="en-US" dirty="0"/>
          </a:p>
        </p:txBody>
      </p:sp>
    </p:spTree>
    <p:extLst>
      <p:ext uri="{BB962C8B-B14F-4D97-AF65-F5344CB8AC3E}">
        <p14:creationId xmlns:p14="http://schemas.microsoft.com/office/powerpoint/2010/main" val="73542610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378101"/>
            <a:ext cx="8458773" cy="434434"/>
            <a:chOff x="821550" y="364537"/>
            <a:chExt cx="7313575" cy="442424"/>
          </a:xfrm>
          <a:solidFill>
            <a:srgbClr val="0078D7"/>
          </a:solidFill>
        </p:grpSpPr>
        <p:sp>
          <p:nvSpPr>
            <p:cNvPr id="38" name="Pentagon 63"/>
            <p:cNvSpPr/>
            <p:nvPr/>
          </p:nvSpPr>
          <p:spPr bwMode="auto">
            <a:xfrm>
              <a:off x="4179199" y="364537"/>
              <a:ext cx="3955926" cy="442424"/>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noFill/>
          </p:spPr>
          <p:txBody>
            <a:bodyPr wrap="square" lIns="182854" tIns="146284" rIns="182854" bIns="146284" rtlCol="0" anchor="ctr">
              <a:noAutofit/>
            </a:bodyPr>
            <a:lstStyle/>
            <a:p>
              <a:pPr marL="0" marR="0" lvl="0" indent="0" defTabSz="914225" eaLnBrk="1" fontAlgn="auto" latinLnBrk="0" hangingPunct="1">
                <a:lnSpc>
                  <a:spcPct val="90000"/>
                </a:lnSpc>
                <a:spcBef>
                  <a:spcPts val="0"/>
                </a:spcBef>
                <a:spcAft>
                  <a:spcPts val="600"/>
                </a:spcAft>
                <a:buClrTx/>
                <a:buSzTx/>
                <a:buFontTx/>
                <a:buNone/>
                <a:tabLst/>
                <a:defRPr/>
              </a:pPr>
              <a:r>
                <a:rPr lang="en-US" sz="1200" b="1" dirty="0">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noFill/>
          </p:spPr>
          <p:txBody>
            <a:bodyPr wrap="square" lIns="182854" tIns="146284" rIns="182854" bIns="146284" rtlCol="0" anchor="ctr">
              <a:noAutofit/>
            </a:bodyPr>
            <a:lstStyle/>
            <a:p>
              <a:pPr marL="0" marR="0" lvl="0" indent="0" algn="r" defTabSz="914225" eaLnBrk="1" fontAlgn="auto" latinLnBrk="0" hangingPunct="1">
                <a:lnSpc>
                  <a:spcPct val="90000"/>
                </a:lnSpc>
                <a:spcBef>
                  <a:spcPts val="0"/>
                </a:spcBef>
                <a:spcAft>
                  <a:spcPts val="600"/>
                </a:spcAft>
                <a:buClrTx/>
                <a:buSzTx/>
                <a:buFontTx/>
                <a:buNone/>
                <a:tabLst/>
                <a:defRPr/>
              </a:pPr>
              <a:r>
                <a:rPr lang="en-US" sz="1200" b="1" dirty="0">
                  <a:ea typeface="Segoe UI" pitchFamily="34" charset="0"/>
                  <a:cs typeface="Segoe UI" pitchFamily="34" charset="0"/>
                </a:rPr>
                <a:t>EASE </a:t>
              </a:r>
              <a:r>
                <a:rPr lang="en-US" sz="1200" b="1">
                  <a:ea typeface="Segoe UI" pitchFamily="34" charset="0"/>
                  <a:cs typeface="Segoe UI" pitchFamily="34" charset="0"/>
                </a:rPr>
                <a:t>OF USE</a:t>
              </a:r>
              <a:endParaRPr lang="en-US" sz="1200" b="1" dirty="0">
                <a:ea typeface="Segoe UI" pitchFamily="34" charset="0"/>
                <a:cs typeface="Segoe UI" pitchFamily="34" charset="0"/>
              </a:endParaRP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Segoe UI" panose="020B0502040204020203" pitchFamily="34" charset="0"/>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Segoe UI" panose="020B0502040204020203" pitchFamily="34" charset="0"/>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Segoe UI" panose="020B0502040204020203" pitchFamily="34" charset="0"/>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8" name="Group 7"/>
          <p:cNvGrpSpPr/>
          <p:nvPr/>
        </p:nvGrpSpPr>
        <p:grpSpPr>
          <a:xfrm>
            <a:off x="2307031" y="1897672"/>
            <a:ext cx="7808967" cy="2998360"/>
            <a:chOff x="2657138" y="957414"/>
            <a:chExt cx="7808967" cy="2998360"/>
          </a:xfrm>
        </p:grpSpPr>
        <p:sp>
          <p:nvSpPr>
            <p:cNvPr id="4" name="Rectangle 3"/>
            <p:cNvSpPr/>
            <p:nvPr/>
          </p:nvSpPr>
          <p:spPr>
            <a:xfrm>
              <a:off x="2657138" y="2231609"/>
              <a:ext cx="2560320" cy="1289324"/>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731520" rtlCol="0" anchor="ctr"/>
            <a:lstStyle/>
            <a:p>
              <a:pPr algn="ctr"/>
              <a:r>
                <a:rPr lang="en-US" sz="1400" dirty="0">
                  <a:solidFill>
                    <a:prstClr val="white"/>
                  </a:solidFill>
                  <a:latin typeface="Segoe UI" panose="020B0502040204020203" pitchFamily="34" charset="0"/>
                  <a:cs typeface="Segoe UI" panose="020B0502040204020203" pitchFamily="34" charset="0"/>
                </a:rPr>
                <a:t>Any Hadoop technology</a:t>
              </a:r>
            </a:p>
          </p:txBody>
        </p:sp>
        <p:sp>
          <p:nvSpPr>
            <p:cNvPr id="5" name="Rectangle 4"/>
            <p:cNvSpPr/>
            <p:nvPr/>
          </p:nvSpPr>
          <p:spPr>
            <a:xfrm>
              <a:off x="5260127" y="1703551"/>
              <a:ext cx="2560320" cy="1821284"/>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731520" rtlCol="0" anchor="ctr"/>
            <a:lstStyle/>
            <a:p>
              <a:pPr algn="ctr"/>
              <a:r>
                <a:rPr lang="en-US" sz="1400" dirty="0">
                  <a:solidFill>
                    <a:schemeClr val="tx1"/>
                  </a:solidFill>
                  <a:latin typeface="Segoe UI" panose="020B0502040204020203" pitchFamily="34" charset="0"/>
                  <a:cs typeface="Segoe UI" panose="020B0502040204020203" pitchFamily="34" charset="0"/>
                </a:rPr>
                <a:t>Workload optimized, managed clusters</a:t>
              </a:r>
            </a:p>
          </p:txBody>
        </p:sp>
        <p:sp>
          <p:nvSpPr>
            <p:cNvPr id="6" name="Rectangle 5"/>
            <p:cNvSpPr/>
            <p:nvPr/>
          </p:nvSpPr>
          <p:spPr>
            <a:xfrm>
              <a:off x="7863116" y="957414"/>
              <a:ext cx="2560320" cy="2567421"/>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731520" rtlCol="0" anchor="ctr"/>
            <a:lstStyle/>
            <a:p>
              <a:pPr algn="ctr"/>
              <a:r>
                <a:rPr lang="en-US" sz="1400" dirty="0">
                  <a:solidFill>
                    <a:schemeClr val="tx1"/>
                  </a:solidFill>
                  <a:latin typeface="Segoe UI" panose="020B0502040204020203" pitchFamily="34" charset="0"/>
                  <a:cs typeface="Segoe UI" panose="020B0502040204020203" pitchFamily="34" charset="0"/>
                </a:rPr>
                <a:t>Specific apps in a multi-tenant form factor</a:t>
              </a:r>
            </a:p>
          </p:txBody>
        </p:sp>
        <p:sp>
          <p:nvSpPr>
            <p:cNvPr id="10" name="Rectangle 9"/>
            <p:cNvSpPr/>
            <p:nvPr/>
          </p:nvSpPr>
          <p:spPr>
            <a:xfrm>
              <a:off x="2887574" y="2461517"/>
              <a:ext cx="2099448" cy="3347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Segoe UI" panose="020B0502040204020203" pitchFamily="34" charset="0"/>
                  <a:cs typeface="Segoe UI" panose="020B0502040204020203" pitchFamily="34" charset="0"/>
                </a:rPr>
                <a:t>Azure Marketplace</a:t>
              </a:r>
            </a:p>
            <a:p>
              <a:pPr algn="ctr"/>
              <a:r>
                <a:rPr lang="en-US" sz="1600" b="1" dirty="0">
                  <a:solidFill>
                    <a:schemeClr val="tx1"/>
                  </a:solidFill>
                  <a:latin typeface="Segoe UI" panose="020B0502040204020203" pitchFamily="34" charset="0"/>
                  <a:cs typeface="Segoe UI" panose="020B0502040204020203" pitchFamily="34" charset="0"/>
                </a:rPr>
                <a:t>HDP | CDH | </a:t>
              </a:r>
              <a:r>
                <a:rPr lang="en-US" sz="1600" b="1" dirty="0" err="1">
                  <a:solidFill>
                    <a:schemeClr val="tx1"/>
                  </a:solidFill>
                  <a:latin typeface="Segoe UI" panose="020B0502040204020203" pitchFamily="34" charset="0"/>
                  <a:cs typeface="Segoe UI" panose="020B0502040204020203" pitchFamily="34" charset="0"/>
                </a:rPr>
                <a:t>MapR</a:t>
              </a:r>
              <a:endParaRPr lang="en-US" sz="1600" b="1" dirty="0">
                <a:solidFill>
                  <a:schemeClr val="tx1"/>
                </a:solidFill>
                <a:latin typeface="Segoe UI" panose="020B0502040204020203" pitchFamily="34" charset="0"/>
                <a:cs typeface="Segoe UI" panose="020B0502040204020203" pitchFamily="34" charset="0"/>
              </a:endParaRPr>
            </a:p>
          </p:txBody>
        </p:sp>
        <p:sp>
          <p:nvSpPr>
            <p:cNvPr id="11" name="Rectangle 10"/>
            <p:cNvSpPr/>
            <p:nvPr/>
          </p:nvSpPr>
          <p:spPr>
            <a:xfrm>
              <a:off x="7929504" y="1223013"/>
              <a:ext cx="2536601" cy="3349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Segoe UI" panose="020B0502040204020203" pitchFamily="34" charset="0"/>
                  <a:cs typeface="Segoe UI" panose="020B0502040204020203" pitchFamily="34" charset="0"/>
                </a:rPr>
                <a:t>Azure Data Lake Analytics</a:t>
              </a:r>
            </a:p>
          </p:txBody>
        </p:sp>
        <p:sp>
          <p:nvSpPr>
            <p:cNvPr id="48" name="Rectangle 47"/>
            <p:cNvSpPr/>
            <p:nvPr/>
          </p:nvSpPr>
          <p:spPr bwMode="auto">
            <a:xfrm>
              <a:off x="2904026"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dirty="0">
                  <a:solidFill>
                    <a:schemeClr val="bg1"/>
                  </a:solidFill>
                  <a:ea typeface="Segoe UI" pitchFamily="34" charset="0"/>
                  <a:cs typeface="Segoe UI" pitchFamily="34" charset="0"/>
                </a:rPr>
                <a:t>IaaS Hadoop</a:t>
              </a:r>
            </a:p>
          </p:txBody>
        </p:sp>
        <p:sp>
          <p:nvSpPr>
            <p:cNvPr id="54" name="Rectangle 53"/>
            <p:cNvSpPr/>
            <p:nvPr/>
          </p:nvSpPr>
          <p:spPr bwMode="auto">
            <a:xfrm>
              <a:off x="5507015"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dirty="0">
                  <a:solidFill>
                    <a:schemeClr val="bg1"/>
                  </a:solidFill>
                  <a:ea typeface="Segoe UI" pitchFamily="34" charset="0"/>
                  <a:cs typeface="Segoe UI" pitchFamily="34" charset="0"/>
                </a:rPr>
                <a:t>Managed Hadoop</a:t>
              </a:r>
            </a:p>
          </p:txBody>
        </p:sp>
        <p:sp>
          <p:nvSpPr>
            <p:cNvPr id="55" name="Rectangle 54"/>
            <p:cNvSpPr/>
            <p:nvPr/>
          </p:nvSpPr>
          <p:spPr bwMode="auto">
            <a:xfrm>
              <a:off x="8110004"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dirty="0">
                  <a:solidFill>
                    <a:schemeClr val="bg1"/>
                  </a:solidFill>
                  <a:ea typeface="Segoe UI" pitchFamily="34" charset="0"/>
                  <a:cs typeface="Segoe UI" pitchFamily="34" charset="0"/>
                </a:rPr>
                <a:t>Big Data as-a-service</a:t>
              </a:r>
            </a:p>
          </p:txBody>
        </p:sp>
        <p:sp>
          <p:nvSpPr>
            <p:cNvPr id="56" name="Rectangle 55"/>
            <p:cNvSpPr/>
            <p:nvPr/>
          </p:nvSpPr>
          <p:spPr>
            <a:xfrm>
              <a:off x="5588935" y="1950528"/>
              <a:ext cx="1902705" cy="281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Segoe UI" panose="020B0502040204020203" pitchFamily="34" charset="0"/>
                  <a:cs typeface="Segoe UI" panose="020B0502040204020203" pitchFamily="34" charset="0"/>
                </a:rPr>
                <a:t>Azure HDInsight</a:t>
              </a: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algn="ctr">
              <a:lnSpc>
                <a:spcPct val="90000"/>
              </a:lnSpc>
              <a:spcAft>
                <a:spcPts val="600"/>
              </a:spcAft>
            </a:pPr>
            <a:r>
              <a:rPr lang="en-US" sz="1200" b="1" dirty="0">
                <a:solidFill>
                  <a:srgbClr val="00BCF2"/>
                </a:solidFill>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algn="ctr">
              <a:lnSpc>
                <a:spcPct val="90000"/>
              </a:lnSpc>
              <a:spcAft>
                <a:spcPts val="600"/>
              </a:spcAft>
            </a:pPr>
            <a:r>
              <a:rPr lang="en-US" sz="1200" b="1" dirty="0">
                <a:solidFill>
                  <a:srgbClr val="00BCF2"/>
                </a:solidFill>
                <a:ea typeface="Segoe UI" pitchFamily="34" charset="0"/>
                <a:cs typeface="Segoe UI" pitchFamily="34" charset="0"/>
              </a:rPr>
              <a:t>BIG DATA </a:t>
            </a:r>
            <a:br>
              <a:rPr lang="en-US" sz="1200" b="1" dirty="0">
                <a:solidFill>
                  <a:srgbClr val="00BCF2"/>
                </a:solidFill>
                <a:ea typeface="Segoe UI" pitchFamily="34" charset="0"/>
                <a:cs typeface="Segoe UI" pitchFamily="34" charset="0"/>
              </a:rPr>
            </a:br>
            <a:r>
              <a:rPr lang="en-US" sz="1200" b="1" dirty="0">
                <a:solidFill>
                  <a:srgbClr val="00BCF2"/>
                </a:solidFill>
                <a:ea typeface="Segoe UI" pitchFamily="34" charset="0"/>
                <a:cs typeface="Segoe UI" pitchFamily="34" charset="0"/>
              </a:rPr>
              <a:t>ANALYTICS</a:t>
            </a:r>
          </a:p>
        </p:txBody>
      </p:sp>
      <p:sp>
        <p:nvSpPr>
          <p:cNvPr id="25" name="Rectangle 24"/>
          <p:cNvSpPr/>
          <p:nvPr/>
        </p:nvSpPr>
        <p:spPr>
          <a:xfrm>
            <a:off x="2197134" y="1882348"/>
            <a:ext cx="7986092" cy="296398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r>
              <a:rPr lang="en-US" dirty="0"/>
              <a:t>Bringing Big Data to everybody</a:t>
            </a:r>
            <a:br>
              <a:rPr lang="en-US" dirty="0"/>
            </a:br>
            <a:r>
              <a:rPr lang="en-US" sz="2400" dirty="0">
                <a:solidFill>
                  <a:srgbClr val="0078D7"/>
                </a:solidFill>
              </a:rPr>
              <a:t>Accelerate the pace of innovation through a state-of-the-art cloud platform </a:t>
            </a:r>
            <a:endParaRPr lang="en-US" dirty="0">
              <a:solidFill>
                <a:srgbClr val="0078D7"/>
              </a:solidFill>
            </a:endParaRPr>
          </a:p>
        </p:txBody>
      </p:sp>
      <p:sp>
        <p:nvSpPr>
          <p:cNvPr id="29" name="Pentagon 63"/>
          <p:cNvSpPr/>
          <p:nvPr/>
        </p:nvSpPr>
        <p:spPr bwMode="auto">
          <a:xfrm rot="16200000">
            <a:off x="414007" y="3009790"/>
            <a:ext cx="3238661" cy="434434"/>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R="0" lvl="0" algn="r" defTabSz="932293" eaLnBrk="1" fontAlgn="base" latinLnBrk="0" hangingPunct="1">
              <a:lnSpc>
                <a:spcPct val="90000"/>
              </a:lnSpc>
              <a:spcBef>
                <a:spcPct val="0"/>
              </a:spcBef>
              <a:spcAft>
                <a:spcPct val="0"/>
              </a:spcAft>
              <a:buClrTx/>
              <a:buSzTx/>
              <a:tabLst/>
              <a:defRPr/>
            </a:pPr>
            <a:r>
              <a:rPr kumimoji="0" lang="en-US" sz="1400" b="1" i="0" u="none" strike="noStrike" kern="0" cap="none" spc="0" normalizeH="0" baseline="0" noProof="0" dirty="0">
                <a:ln>
                  <a:noFill/>
                </a:ln>
                <a:solidFill>
                  <a:srgbClr val="FFFFFF"/>
                </a:solidFill>
                <a:effectLst/>
                <a:uLnTx/>
                <a:uFillTx/>
                <a:ea typeface="Segoe UI" pitchFamily="34" charset="0"/>
                <a:cs typeface="Segoe UI Semibold" panose="020B0702040204020203" pitchFamily="34" charset="0"/>
              </a:rPr>
              <a:t>User Adoption</a:t>
            </a:r>
          </a:p>
        </p:txBody>
      </p:sp>
    </p:spTree>
    <p:extLst>
      <p:ext uri="{BB962C8B-B14F-4D97-AF65-F5344CB8AC3E}">
        <p14:creationId xmlns:p14="http://schemas.microsoft.com/office/powerpoint/2010/main" val="267939356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right solution for the job</a:t>
            </a:r>
          </a:p>
        </p:txBody>
      </p:sp>
      <p:sp>
        <p:nvSpPr>
          <p:cNvPr id="4" name="Rectangle 3"/>
          <p:cNvSpPr/>
          <p:nvPr/>
        </p:nvSpPr>
        <p:spPr bwMode="auto">
          <a:xfrm>
            <a:off x="5298462" y="1245301"/>
            <a:ext cx="1161392" cy="872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Light"/>
                <a:ea typeface="+mn-ea"/>
                <a:cs typeface="+mn-cs"/>
              </a:rPr>
              <a:t>Want Hadoop?</a:t>
            </a:r>
          </a:p>
        </p:txBody>
      </p:sp>
      <p:sp>
        <p:nvSpPr>
          <p:cNvPr id="14" name="Rectangle 13"/>
          <p:cNvSpPr/>
          <p:nvPr/>
        </p:nvSpPr>
        <p:spPr bwMode="auto">
          <a:xfrm>
            <a:off x="2784296" y="2339346"/>
            <a:ext cx="1637150" cy="1324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Need it to be exactly the same as on-premises?</a:t>
            </a:r>
          </a:p>
        </p:txBody>
      </p:sp>
      <p:sp>
        <p:nvSpPr>
          <p:cNvPr id="18" name="Rectangle 17"/>
          <p:cNvSpPr/>
          <p:nvPr/>
        </p:nvSpPr>
        <p:spPr bwMode="auto">
          <a:xfrm>
            <a:off x="7564139" y="2436239"/>
            <a:ext cx="1418897" cy="1130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Light"/>
                <a:ea typeface="+mn-ea"/>
                <a:cs typeface="+mn-cs"/>
              </a:rPr>
              <a:t>Need interactive and/or streaming?</a:t>
            </a:r>
          </a:p>
        </p:txBody>
      </p:sp>
      <p:sp>
        <p:nvSpPr>
          <p:cNvPr id="21" name="TextBox 20"/>
          <p:cNvSpPr txBox="1"/>
          <p:nvPr/>
        </p:nvSpPr>
        <p:spPr>
          <a:xfrm>
            <a:off x="3844158" y="1361014"/>
            <a:ext cx="1246004" cy="258532"/>
          </a:xfrm>
          <a:prstGeom prst="rect">
            <a:avLst/>
          </a:prstGeom>
          <a:noFill/>
        </p:spPr>
        <p:txBody>
          <a:bodyPr wrap="square" lIns="91440" tIns="91440" rIns="9144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Mandatory</a:t>
            </a:r>
          </a:p>
        </p:txBody>
      </p:sp>
      <p:sp>
        <p:nvSpPr>
          <p:cNvPr id="22" name="TextBox 21"/>
          <p:cNvSpPr txBox="1"/>
          <p:nvPr/>
        </p:nvSpPr>
        <p:spPr>
          <a:xfrm>
            <a:off x="6668154" y="1350504"/>
            <a:ext cx="1652154" cy="258532"/>
          </a:xfrm>
          <a:prstGeom prst="rect">
            <a:avLst/>
          </a:prstGeom>
          <a:noFill/>
        </p:spPr>
        <p:txBody>
          <a:bodyPr wrap="square" lIns="91440" tIns="91440" rIns="9144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No strong opinion</a:t>
            </a:r>
          </a:p>
        </p:txBody>
      </p:sp>
      <p:sp>
        <p:nvSpPr>
          <p:cNvPr id="23" name="Rectangle 22"/>
          <p:cNvSpPr/>
          <p:nvPr/>
        </p:nvSpPr>
        <p:spPr bwMode="auto">
          <a:xfrm>
            <a:off x="247204" y="3939082"/>
            <a:ext cx="3556278" cy="21468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Azure Marketplace (IaaS)</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All workloads exactly like on-premises</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Cloudera/MapR</a:t>
            </a:r>
          </a:p>
        </p:txBody>
      </p:sp>
      <p:sp>
        <p:nvSpPr>
          <p:cNvPr id="24" name="Rectangle 23"/>
          <p:cNvSpPr/>
          <p:nvPr/>
        </p:nvSpPr>
        <p:spPr bwMode="auto">
          <a:xfrm>
            <a:off x="4134687" y="3939082"/>
            <a:ext cx="3488942" cy="21468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Azure HDInsight</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Most Hadoop workloads</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Fully managed by Microsoft</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Sell HDI + ADLS</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Stickier to Microsoft than VMs</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Can do interactive (Spark) and streaming (Storm/Spark)</a:t>
            </a:r>
          </a:p>
        </p:txBody>
      </p:sp>
      <p:sp>
        <p:nvSpPr>
          <p:cNvPr id="25" name="Rectangle 24"/>
          <p:cNvSpPr/>
          <p:nvPr/>
        </p:nvSpPr>
        <p:spPr bwMode="auto">
          <a:xfrm>
            <a:off x="8273588" y="3939082"/>
            <a:ext cx="3221726" cy="21468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Azure Data Lake</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Easiest experience for admin: no sense of clusters, instant scale per job</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Easiest experience for developers: Visual Studio/U-SQL (C#+SQL)</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Sell ADLA + ADLS</a:t>
            </a:r>
          </a:p>
          <a:p>
            <a:pPr marL="91440" marR="0" lvl="0" indent="-91440" algn="l" defTabSz="914367" rtl="0" eaLnBrk="1" fontAlgn="base" latinLnBrk="0" hangingPunct="1">
              <a:lnSpc>
                <a:spcPct val="100000"/>
              </a:lnSpc>
              <a:spcBef>
                <a:spcPct val="0"/>
              </a:spcBef>
              <a:spcAft>
                <a:spcPts val="600"/>
              </a:spcAft>
              <a:buClr>
                <a:srgbClr val="0078D7"/>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Batch workloads only</a:t>
            </a:r>
          </a:p>
        </p:txBody>
      </p:sp>
      <p:sp>
        <p:nvSpPr>
          <p:cNvPr id="34" name="TextBox 33"/>
          <p:cNvSpPr txBox="1"/>
          <p:nvPr/>
        </p:nvSpPr>
        <p:spPr>
          <a:xfrm>
            <a:off x="1929994" y="2675381"/>
            <a:ext cx="474250" cy="258532"/>
          </a:xfrm>
          <a:prstGeom prst="rect">
            <a:avLst/>
          </a:prstGeom>
          <a:noFill/>
        </p:spPr>
        <p:txBody>
          <a:bodyPr wrap="square" lIns="91440" tIns="91440" rIns="9144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Yes</a:t>
            </a:r>
          </a:p>
        </p:txBody>
      </p:sp>
      <p:sp>
        <p:nvSpPr>
          <p:cNvPr id="35" name="TextBox 34"/>
          <p:cNvSpPr txBox="1"/>
          <p:nvPr/>
        </p:nvSpPr>
        <p:spPr>
          <a:xfrm>
            <a:off x="4421446" y="2509181"/>
            <a:ext cx="1235497" cy="424732"/>
          </a:xfrm>
          <a:prstGeom prst="rect">
            <a:avLst/>
          </a:prstGeom>
          <a:noFill/>
        </p:spPr>
        <p:txBody>
          <a:bodyPr wrap="square" lIns="91440" tIns="91440" rIns="9144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Need</a:t>
            </a:r>
            <a:br>
              <a:rPr kumimoji="0" lang="en-US" sz="1200" b="0" i="0" u="none" strike="noStrike" kern="0" cap="none" spc="0" normalizeH="0" baseline="0" noProof="0" dirty="0">
                <a:ln>
                  <a:noFill/>
                </a:ln>
                <a:solidFill>
                  <a:srgbClr val="0078D7"/>
                </a:solidFill>
                <a:effectLst/>
                <a:uLnTx/>
                <a:uFillTx/>
                <a:latin typeface="Segoe UI"/>
                <a:ea typeface="+mn-ea"/>
                <a:cs typeface="+mn-cs"/>
              </a:rPr>
            </a:br>
            <a:r>
              <a:rPr kumimoji="0" lang="en-US" sz="1200" b="0" i="0" u="none" strike="noStrike" kern="0" cap="none" spc="0" normalizeH="0" baseline="0" noProof="0" dirty="0">
                <a:ln>
                  <a:noFill/>
                </a:ln>
                <a:solidFill>
                  <a:srgbClr val="0078D7"/>
                </a:solidFill>
                <a:effectLst/>
                <a:uLnTx/>
                <a:uFillTx/>
                <a:latin typeface="Segoe UI"/>
                <a:ea typeface="+mn-ea"/>
                <a:cs typeface="+mn-cs"/>
              </a:rPr>
              <a:t>core projects</a:t>
            </a:r>
          </a:p>
        </p:txBody>
      </p:sp>
      <p:sp>
        <p:nvSpPr>
          <p:cNvPr id="36" name="TextBox 35"/>
          <p:cNvSpPr txBox="1"/>
          <p:nvPr/>
        </p:nvSpPr>
        <p:spPr>
          <a:xfrm>
            <a:off x="6978859" y="2675381"/>
            <a:ext cx="585280" cy="258532"/>
          </a:xfrm>
          <a:prstGeom prst="rect">
            <a:avLst/>
          </a:prstGeom>
          <a:noFill/>
        </p:spPr>
        <p:txBody>
          <a:bodyPr wrap="square" lIns="91440" tIns="91440" rIns="9144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Yes</a:t>
            </a:r>
          </a:p>
        </p:txBody>
      </p:sp>
      <p:sp>
        <p:nvSpPr>
          <p:cNvPr id="37" name="TextBox 36"/>
          <p:cNvSpPr txBox="1"/>
          <p:nvPr/>
        </p:nvSpPr>
        <p:spPr>
          <a:xfrm>
            <a:off x="8983036" y="2675381"/>
            <a:ext cx="1212579" cy="258532"/>
          </a:xfrm>
          <a:prstGeom prst="rect">
            <a:avLst/>
          </a:prstGeom>
          <a:noFill/>
        </p:spPr>
        <p:txBody>
          <a:bodyPr wrap="square" lIns="91440" tIns="91440" rIns="9144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Batch is OK</a:t>
            </a:r>
          </a:p>
        </p:txBody>
      </p:sp>
      <p:sp>
        <p:nvSpPr>
          <p:cNvPr id="31" name="Title 3"/>
          <p:cNvSpPr txBox="1">
            <a:spLocks/>
          </p:cNvSpPr>
          <p:nvPr/>
        </p:nvSpPr>
        <p:spPr>
          <a:xfrm>
            <a:off x="93455" y="71011"/>
            <a:ext cx="11655840" cy="364668"/>
          </a:xfrm>
          <a:prstGeom prst="rect">
            <a:avLst/>
          </a:prstGeom>
        </p:spPr>
        <p:txBody>
          <a:bodyPr vert="horz" wrap="square" lIns="146304" tIns="91440" rIns="146304" bIns="91440" rtlCol="0" anchor="ctr">
            <a:normAutofit fontScale="97500" lnSpcReduction="100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dirty="0">
                <a:ln w="3175">
                  <a:noFill/>
                </a:ln>
                <a:solidFill>
                  <a:srgbClr val="0078D7"/>
                </a:solidFill>
                <a:effectLst/>
                <a:uLnTx/>
                <a:uFillTx/>
                <a:latin typeface="Segoe UI" panose="020B0502040204020203" pitchFamily="34" charset="0"/>
                <a:ea typeface="+mn-ea"/>
                <a:cs typeface="Segoe UI" pitchFamily="34" charset="0"/>
              </a:rPr>
              <a:t>POSITIONING THE DIFFERENT SOLUTIONS</a:t>
            </a: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cxnSp>
        <p:nvCxnSpPr>
          <p:cNvPr id="7" name="Elbow Connector 6"/>
          <p:cNvCxnSpPr>
            <a:stCxn id="4" idx="1"/>
            <a:endCxn id="14" idx="0"/>
          </p:cNvCxnSpPr>
          <p:nvPr/>
        </p:nvCxnSpPr>
        <p:spPr>
          <a:xfrm rot="10800000" flipV="1">
            <a:off x="3602872" y="1681654"/>
            <a:ext cx="1695591" cy="657691"/>
          </a:xfrm>
          <a:prstGeom prst="bentConnector2">
            <a:avLst/>
          </a:prstGeom>
          <a:ln w="28575">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4" idx="3"/>
            <a:endCxn id="18" idx="0"/>
          </p:cNvCxnSpPr>
          <p:nvPr/>
        </p:nvCxnSpPr>
        <p:spPr>
          <a:xfrm>
            <a:off x="6459854" y="1681655"/>
            <a:ext cx="1813734" cy="754584"/>
          </a:xfrm>
          <a:prstGeom prst="bentConnector2">
            <a:avLst/>
          </a:prstGeom>
          <a:ln w="28575">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8" idx="3"/>
            <a:endCxn id="25" idx="0"/>
          </p:cNvCxnSpPr>
          <p:nvPr/>
        </p:nvCxnSpPr>
        <p:spPr>
          <a:xfrm>
            <a:off x="8983036" y="3001498"/>
            <a:ext cx="901415" cy="937584"/>
          </a:xfrm>
          <a:prstGeom prst="bentConnector2">
            <a:avLst/>
          </a:prstGeom>
          <a:ln w="28575">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4" idx="1"/>
            <a:endCxn id="23" idx="0"/>
          </p:cNvCxnSpPr>
          <p:nvPr/>
        </p:nvCxnSpPr>
        <p:spPr>
          <a:xfrm rot="10800000" flipV="1">
            <a:off x="2025344" y="3001498"/>
            <a:ext cx="758953" cy="937584"/>
          </a:xfrm>
          <a:prstGeom prst="bentConnector2">
            <a:avLst/>
          </a:prstGeom>
          <a:ln w="28575">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18" idx="1"/>
          </p:cNvCxnSpPr>
          <p:nvPr/>
        </p:nvCxnSpPr>
        <p:spPr>
          <a:xfrm rot="10800000" flipV="1">
            <a:off x="6455975" y="3001498"/>
            <a:ext cx="1108164" cy="901294"/>
          </a:xfrm>
          <a:prstGeom prst="bentConnector3">
            <a:avLst>
              <a:gd name="adj1" fmla="val 100098"/>
            </a:avLst>
          </a:prstGeom>
          <a:ln w="28575">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4" idx="3"/>
          </p:cNvCxnSpPr>
          <p:nvPr/>
        </p:nvCxnSpPr>
        <p:spPr>
          <a:xfrm>
            <a:off x="4421446" y="3001498"/>
            <a:ext cx="1039332" cy="901294"/>
          </a:xfrm>
          <a:prstGeom prst="bentConnector3">
            <a:avLst>
              <a:gd name="adj1" fmla="val 99925"/>
            </a:avLst>
          </a:prstGeom>
          <a:ln w="28575">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3932792" y="3902792"/>
            <a:ext cx="0" cy="2359994"/>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825524" y="3902792"/>
            <a:ext cx="0" cy="2359994"/>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10044104" y="1361014"/>
            <a:ext cx="1418897" cy="1130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Light"/>
                <a:ea typeface="+mn-ea"/>
                <a:cs typeface="+mn-cs"/>
              </a:rPr>
              <a:t>If .NET or VS shop?</a:t>
            </a:r>
          </a:p>
        </p:txBody>
      </p:sp>
      <p:cxnSp>
        <p:nvCxnSpPr>
          <p:cNvPr id="5" name="Straight Arrow Connector 4"/>
          <p:cNvCxnSpPr/>
          <p:nvPr/>
        </p:nvCxnSpPr>
        <p:spPr>
          <a:xfrm>
            <a:off x="10753552" y="2260600"/>
            <a:ext cx="0" cy="1642192"/>
          </a:xfrm>
          <a:prstGeom prst="straightConnector1">
            <a:avLst/>
          </a:prstGeom>
          <a:ln w="28575">
            <a:solidFill>
              <a:srgbClr val="00BCF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0732743" y="2663370"/>
            <a:ext cx="1569324"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Always present ADLA if .NET or Visual Studio Shop</a:t>
            </a:r>
          </a:p>
        </p:txBody>
      </p:sp>
    </p:spTree>
    <p:extLst>
      <p:ext uri="{BB962C8B-B14F-4D97-AF65-F5344CB8AC3E}">
        <p14:creationId xmlns:p14="http://schemas.microsoft.com/office/powerpoint/2010/main" val="427037154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 how the big data solutions differ</a:t>
            </a:r>
          </a:p>
        </p:txBody>
      </p:sp>
      <p:sp>
        <p:nvSpPr>
          <p:cNvPr id="76" name="Title 3"/>
          <p:cNvSpPr txBox="1">
            <a:spLocks/>
          </p:cNvSpPr>
          <p:nvPr/>
        </p:nvSpPr>
        <p:spPr>
          <a:xfrm>
            <a:off x="93455" y="71011"/>
            <a:ext cx="11655840" cy="364668"/>
          </a:xfrm>
          <a:prstGeom prst="rect">
            <a:avLst/>
          </a:prstGeom>
        </p:spPr>
        <p:txBody>
          <a:bodyPr vert="horz" wrap="square" lIns="146304" tIns="91440" rIns="146304" bIns="91440" rtlCol="0" anchor="ctr">
            <a:normAutofit fontScale="97500" lnSpcReduction="100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a:lnSpc>
                <a:spcPct val="100000"/>
              </a:lnSpc>
              <a:spcBef>
                <a:spcPts val="0"/>
              </a:spcBef>
              <a:defRPr/>
            </a:pPr>
            <a:r>
              <a:rPr lang="en-US" sz="1200" dirty="0">
                <a:solidFill>
                  <a:srgbClr val="0078D7"/>
                </a:solidFill>
                <a:latin typeface="Segoe UI" panose="020B0502040204020203" pitchFamily="34" charset="0"/>
              </a:rPr>
              <a:t>POSITIONING THE DIFFERENT SOLUTIONS</a:t>
            </a:r>
            <a:endParaRPr lang="en-US" dirty="0"/>
          </a:p>
        </p:txBody>
      </p:sp>
      <p:graphicFrame>
        <p:nvGraphicFramePr>
          <p:cNvPr id="8" name="Table 7"/>
          <p:cNvGraphicFramePr>
            <a:graphicFrameLocks noGrp="1"/>
          </p:cNvGraphicFramePr>
          <p:nvPr>
            <p:extLst/>
          </p:nvPr>
        </p:nvGraphicFramePr>
        <p:xfrm>
          <a:off x="-2" y="1934029"/>
          <a:ext cx="12192001" cy="4487776"/>
        </p:xfrm>
        <a:graphic>
          <a:graphicData uri="http://schemas.openxmlformats.org/drawingml/2006/table">
            <a:tbl>
              <a:tblPr firstRow="1" bandRow="1">
                <a:tableStyleId>{5940675A-B579-460E-94D1-54222C63F5DA}</a:tableStyleId>
              </a:tblPr>
              <a:tblGrid>
                <a:gridCol w="1420588">
                  <a:extLst>
                    <a:ext uri="{9D8B030D-6E8A-4147-A177-3AD203B41FA5}">
                      <a16:colId xmlns:a16="http://schemas.microsoft.com/office/drawing/2014/main" val="2226495704"/>
                    </a:ext>
                  </a:extLst>
                </a:gridCol>
                <a:gridCol w="2634343">
                  <a:extLst>
                    <a:ext uri="{9D8B030D-6E8A-4147-A177-3AD203B41FA5}">
                      <a16:colId xmlns:a16="http://schemas.microsoft.com/office/drawing/2014/main" val="3245696527"/>
                    </a:ext>
                  </a:extLst>
                </a:gridCol>
                <a:gridCol w="4388031">
                  <a:extLst>
                    <a:ext uri="{9D8B030D-6E8A-4147-A177-3AD203B41FA5}">
                      <a16:colId xmlns:a16="http://schemas.microsoft.com/office/drawing/2014/main" val="2147176237"/>
                    </a:ext>
                  </a:extLst>
                </a:gridCol>
                <a:gridCol w="3749039">
                  <a:extLst>
                    <a:ext uri="{9D8B030D-6E8A-4147-A177-3AD203B41FA5}">
                      <a16:colId xmlns:a16="http://schemas.microsoft.com/office/drawing/2014/main" val="3075609348"/>
                    </a:ext>
                  </a:extLst>
                </a:gridCol>
              </a:tblGrid>
              <a:tr h="347670">
                <a:tc>
                  <a:txBody>
                    <a:bodyPr/>
                    <a:lstStyle/>
                    <a:p>
                      <a:endParaRPr lang="en-US" sz="1400" dirty="0">
                        <a:solidFill>
                          <a:schemeClr val="tx1"/>
                        </a:solidFill>
                        <a:latin typeface="+mn-lt"/>
                      </a:endParaRPr>
                    </a:p>
                  </a:txBody>
                  <a:tcPr>
                    <a:lnL w="12700" cmpd="sng">
                      <a:noFill/>
                    </a:lnL>
                    <a:lnR w="6350" cap="flat" cmpd="sng" algn="ctr">
                      <a:solidFill>
                        <a:schemeClr val="bg2"/>
                      </a:solidFill>
                      <a:prstDash val="lgDash"/>
                      <a:round/>
                      <a:headEnd type="none" w="med" len="med"/>
                      <a:tailEnd type="none" w="med" len="med"/>
                    </a:lnR>
                    <a:lnT w="12700" cmpd="sng">
                      <a:noFill/>
                    </a:lnT>
                    <a:lnB w="6350" cap="flat" cmpd="sng" algn="ctr">
                      <a:noFill/>
                      <a:prstDash val="lgDash"/>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50" dirty="0">
                          <a:solidFill>
                            <a:schemeClr val="bg2"/>
                          </a:solidFill>
                          <a:latin typeface="Segoe UI Semibold" panose="020B0702040204020203" pitchFamily="34" charset="0"/>
                          <a:cs typeface="Segoe UI Semibold" panose="020B0702040204020203" pitchFamily="34" charset="0"/>
                        </a:rPr>
                        <a:t>HDP | CDH | MapR (Azure Marketplace)</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050" dirty="0">
                          <a:solidFill>
                            <a:schemeClr val="bg2"/>
                          </a:solidFill>
                          <a:latin typeface="Segoe UI" panose="020B0502040204020203" pitchFamily="34" charset="0"/>
                          <a:cs typeface="Segoe UI" panose="020B0502040204020203" pitchFamily="34" charset="0"/>
                        </a:rPr>
                        <a:t>Any Hadoop technology</a:t>
                      </a: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bg2"/>
                          </a:solidFill>
                          <a:latin typeface="Segoe UI Semibold" panose="020B0702040204020203" pitchFamily="34" charset="0"/>
                          <a:cs typeface="Segoe UI Semibold" panose="020B0702040204020203" pitchFamily="34" charset="0"/>
                        </a:rPr>
                        <a:t>HDInsight</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050" dirty="0">
                          <a:solidFill>
                            <a:schemeClr val="bg2"/>
                          </a:solidFill>
                          <a:latin typeface="Segoe UI" panose="020B0502040204020203" pitchFamily="34" charset="0"/>
                          <a:cs typeface="Segoe UI" panose="020B0502040204020203" pitchFamily="34" charset="0"/>
                        </a:rPr>
                        <a:t>Workload-optimized, managed clusters</a:t>
                      </a: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50" dirty="0">
                          <a:solidFill>
                            <a:schemeClr val="bg2"/>
                          </a:solidFill>
                          <a:latin typeface="Segoe UI Semibold" panose="020B0702040204020203" pitchFamily="34" charset="0"/>
                          <a:cs typeface="Segoe UI Semibold" panose="020B0702040204020203" pitchFamily="34" charset="0"/>
                        </a:rPr>
                        <a:t>Data Lake Analytics</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050" dirty="0">
                          <a:solidFill>
                            <a:schemeClr val="bg2"/>
                          </a:solidFill>
                          <a:latin typeface="Segoe UI" panose="020B0502040204020203" pitchFamily="34" charset="0"/>
                          <a:cs typeface="Segoe UI" panose="020B0502040204020203" pitchFamily="34" charset="0"/>
                        </a:rPr>
                        <a:t>Specific apps in a multi-tenant form factor</a:t>
                      </a:r>
                    </a:p>
                  </a:txBody>
                  <a:tcPr>
                    <a:lnL w="6350" cap="flat" cmpd="sng" algn="ctr">
                      <a:solidFill>
                        <a:schemeClr val="bg2"/>
                      </a:solidFill>
                      <a:prstDash val="lgDash"/>
                      <a:round/>
                      <a:headEnd type="none" w="med" len="med"/>
                      <a:tailEnd type="none" w="med" len="med"/>
                    </a:lnL>
                    <a:lnR w="12700" cmpd="sng">
                      <a:noFill/>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1560902"/>
                  </a:ext>
                </a:extLst>
              </a:tr>
              <a:tr h="164390">
                <a:tc>
                  <a:txBody>
                    <a:bodyPr/>
                    <a:lstStyle/>
                    <a:p>
                      <a:endParaRPr lang="en-US" sz="1400" dirty="0">
                        <a:solidFill>
                          <a:schemeClr val="tx1"/>
                        </a:solidFill>
                        <a:latin typeface="+mn-lt"/>
                      </a:endParaRPr>
                    </a:p>
                  </a:txBody>
                  <a:tcPr>
                    <a:lnL w="12700" cmpd="sng">
                      <a:noFill/>
                    </a:lnL>
                    <a:lnR w="6350" cap="flat" cmpd="sng" algn="ctr">
                      <a:solidFill>
                        <a:schemeClr val="bg2"/>
                      </a:solidFill>
                      <a:prstDash val="lgDash"/>
                      <a:round/>
                      <a:headEnd type="none" w="med" len="med"/>
                      <a:tailEnd type="none" w="med" len="med"/>
                    </a:lnR>
                    <a:lnT w="6350" cap="flat" cmpd="sng" algn="ctr">
                      <a:no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bg2"/>
                          </a:solidFill>
                          <a:latin typeface="+mn-lt"/>
                        </a:rPr>
                        <a:t>IaaS Hadoop</a:t>
                      </a: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2"/>
                          </a:solidFill>
                          <a:latin typeface="+mn-lt"/>
                        </a:rPr>
                        <a:t>Managed Hadoop</a:t>
                      </a: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2"/>
                          </a:solidFill>
                          <a:latin typeface="+mn-lt"/>
                        </a:rPr>
                        <a:t>Big Data as-a-service</a:t>
                      </a:r>
                    </a:p>
                  </a:txBody>
                  <a:tcPr>
                    <a:lnL w="6350" cap="flat" cmpd="sng" algn="ctr">
                      <a:solidFill>
                        <a:schemeClr val="bg2"/>
                      </a:solidFill>
                      <a:prstDash val="lgDash"/>
                      <a:round/>
                      <a:headEnd type="none" w="med" len="med"/>
                      <a:tailEnd type="none" w="med" len="med"/>
                    </a:lnL>
                    <a:lnR w="12700" cmpd="sng">
                      <a:noFill/>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25797907"/>
                  </a:ext>
                </a:extLst>
              </a:tr>
              <a:tr h="504318">
                <a:tc>
                  <a:txBody>
                    <a:bodyPr/>
                    <a:lstStyle/>
                    <a:p>
                      <a:r>
                        <a:rPr lang="en-US" sz="1400" dirty="0">
                          <a:solidFill>
                            <a:schemeClr val="tx1"/>
                          </a:solidFill>
                          <a:latin typeface="+mn-lt"/>
                        </a:rPr>
                        <a:t>Best for…</a:t>
                      </a:r>
                    </a:p>
                  </a:txBody>
                  <a:tcPr anchor="ctr">
                    <a:lnL w="12700" cmpd="sng">
                      <a:noFill/>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mn-lt"/>
                          <a:ea typeface="+mn-ea"/>
                          <a:cs typeface="+mn-cs"/>
                        </a:rPr>
                        <a:t>Lifting and shifting existing Hadoop workloads to the cloud without changes, full control</a:t>
                      </a:r>
                      <a:endParaRPr lang="en-US" sz="1100" kern="1200" noProof="0" dirty="0">
                        <a:solidFill>
                          <a:schemeClr val="bg1"/>
                        </a:solidFill>
                        <a:latin typeface="+mn-lt"/>
                        <a:ea typeface="+mn-ea"/>
                        <a:cs typeface="+mn-cs"/>
                      </a:endParaRP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rPr>
                        <a:t>Spinning up HDInsight (PaaS) in minutes, fully managed by Microsoft with some control </a:t>
                      </a:r>
                      <a:endParaRPr kumimoji="0" lang="en-US" sz="1100" b="0" u="none" strike="noStrike" kern="1200" cap="none" spc="0" normalizeH="0" baseline="0" noProof="0" dirty="0">
                        <a:ln>
                          <a:noFill/>
                        </a:ln>
                        <a:solidFill>
                          <a:schemeClr val="bg1"/>
                        </a:solidFill>
                        <a:effectLst/>
                        <a:uLnTx/>
                        <a:uFillTx/>
                        <a:latin typeface="+mn-lt"/>
                      </a:endParaRP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a:spcBef>
                          <a:spcPct val="20000"/>
                        </a:spcBef>
                      </a:pPr>
                      <a:r>
                        <a:rPr lang="en-US" sz="1100" b="1" dirty="0">
                          <a:gradFill>
                            <a:gsLst>
                              <a:gs pos="2917">
                                <a:srgbClr val="000000"/>
                              </a:gs>
                              <a:gs pos="30000">
                                <a:srgbClr val="000000"/>
                              </a:gs>
                            </a:gsLst>
                            <a:lin ang="5400000" scaled="0"/>
                          </a:gradFill>
                          <a:latin typeface="Segoe UI Light"/>
                        </a:rPr>
                        <a:t>Easiest way to get started on big data </a:t>
                      </a:r>
                      <a:r>
                        <a:rPr lang="en-US" sz="1100" dirty="0">
                          <a:gradFill>
                            <a:gsLst>
                              <a:gs pos="2917">
                                <a:srgbClr val="000000"/>
                              </a:gs>
                              <a:gs pos="30000">
                                <a:srgbClr val="000000"/>
                              </a:gs>
                            </a:gsLst>
                            <a:lin ang="5400000" scaled="0"/>
                          </a:gradFill>
                          <a:latin typeface="Segoe UI Light"/>
                        </a:rPr>
                        <a:t>- Leverage SQL + C# skills, no infrastructure administration needed</a:t>
                      </a:r>
                    </a:p>
                  </a:txBody>
                  <a:tcPr>
                    <a:lnL w="6350" cap="flat" cmpd="sng" algn="ctr">
                      <a:solidFill>
                        <a:schemeClr val="bg2"/>
                      </a:solidFill>
                      <a:prstDash val="lgDash"/>
                      <a:round/>
                      <a:headEnd type="none" w="med" len="med"/>
                      <a:tailEnd type="none" w="med" len="med"/>
                    </a:lnL>
                    <a:lnR w="12700" cmpd="sng">
                      <a:noFill/>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extLst>
                  <a:ext uri="{0D108BD9-81ED-4DB2-BD59-A6C34878D82A}">
                    <a16:rowId xmlns:a16="http://schemas.microsoft.com/office/drawing/2014/main" val="3060023040"/>
                  </a:ext>
                </a:extLst>
              </a:tr>
              <a:tr h="347360">
                <a:tc>
                  <a:txBody>
                    <a:bodyPr/>
                    <a:lstStyle/>
                    <a:p>
                      <a:r>
                        <a:rPr lang="en-US" sz="1400" dirty="0">
                          <a:solidFill>
                            <a:schemeClr val="tx1"/>
                          </a:solidFill>
                          <a:latin typeface="+mn-lt"/>
                        </a:rPr>
                        <a:t>Workloads</a:t>
                      </a:r>
                    </a:p>
                  </a:txBody>
                  <a:tcPr anchor="ctr">
                    <a:lnL w="12700" cmpd="sng">
                      <a:noFill/>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rPr>
                        <a:t>Full Hadoop distribution and projects</a:t>
                      </a:r>
                      <a:endParaRPr kumimoji="0" lang="en-US" sz="1100" b="0" u="none" strike="noStrike" kern="1200" cap="none" spc="0" normalizeH="0" baseline="0" noProof="0" dirty="0">
                        <a:ln>
                          <a:noFill/>
                        </a:ln>
                        <a:solidFill>
                          <a:schemeClr val="bg1"/>
                        </a:solidFill>
                        <a:effectLst/>
                        <a:uLnTx/>
                        <a:uFillTx/>
                        <a:latin typeface="+mn-lt"/>
                      </a:endParaRP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rPr>
                        <a:t>Most Hadoop distribution: batch, streaming, interactive and machine learning with ability to customize cluster</a:t>
                      </a: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noProof="0" dirty="0">
                          <a:solidFill>
                            <a:schemeClr val="bg1"/>
                          </a:solidFill>
                          <a:latin typeface="+mn-lt"/>
                        </a:rPr>
                        <a:t>No Hadoop distribution: Batch processing support announced at preview (U-SQL)</a:t>
                      </a:r>
                      <a:endParaRPr kumimoji="0" lang="en-US" sz="1100" b="0" u="none" strike="noStrike" kern="1200" cap="none" spc="0" normalizeH="0" baseline="0" noProof="0" dirty="0">
                        <a:ln>
                          <a:noFill/>
                        </a:ln>
                        <a:solidFill>
                          <a:schemeClr val="bg1"/>
                        </a:solidFill>
                        <a:effectLst/>
                        <a:uLnTx/>
                        <a:uFillTx/>
                        <a:latin typeface="+mn-lt"/>
                      </a:endParaRPr>
                    </a:p>
                  </a:txBody>
                  <a:tcPr>
                    <a:lnL w="6350" cap="flat" cmpd="sng" algn="ctr">
                      <a:solidFill>
                        <a:schemeClr val="bg2"/>
                      </a:solidFill>
                      <a:prstDash val="lgDash"/>
                      <a:round/>
                      <a:headEnd type="none" w="med" len="med"/>
                      <a:tailEnd type="none" w="med" len="med"/>
                    </a:lnL>
                    <a:lnR w="12700" cmpd="sng">
                      <a:noFill/>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extLst>
                  <a:ext uri="{0D108BD9-81ED-4DB2-BD59-A6C34878D82A}">
                    <a16:rowId xmlns:a16="http://schemas.microsoft.com/office/drawing/2014/main" val="3939681133"/>
                  </a:ext>
                </a:extLst>
              </a:tr>
              <a:tr h="662536">
                <a:tc>
                  <a:txBody>
                    <a:bodyPr/>
                    <a:lstStyle/>
                    <a:p>
                      <a:r>
                        <a:rPr lang="en-US" sz="1400" dirty="0">
                          <a:solidFill>
                            <a:schemeClr val="tx1"/>
                          </a:solidFill>
                          <a:latin typeface="+mn-lt"/>
                        </a:rPr>
                        <a:t>Administrative</a:t>
                      </a:r>
                    </a:p>
                  </a:txBody>
                  <a:tcPr anchor="ctr">
                    <a:lnL w="12700" cmpd="sng">
                      <a:noFill/>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rPr>
                        <a:t>Will need Hadoop admin experience – everything done yourself. Still need to manage clusters.</a:t>
                      </a:r>
                      <a:endParaRPr kumimoji="0" lang="en-US" sz="1100" b="0" u="none" strike="noStrike" kern="1200" cap="none" spc="0" normalizeH="0" baseline="0" noProof="0" dirty="0">
                        <a:ln>
                          <a:noFill/>
                        </a:ln>
                        <a:solidFill>
                          <a:schemeClr val="bg1"/>
                        </a:solidFill>
                        <a:effectLst/>
                        <a:uLnTx/>
                        <a:uFillTx/>
                        <a:latin typeface="+mn-lt"/>
                      </a:endParaRP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Easier to use</a:t>
                      </a:r>
                      <a:r>
                        <a:rPr lang="en-US" sz="1100" dirty="0">
                          <a:solidFill>
                            <a:schemeClr val="bg1"/>
                          </a:solidFill>
                          <a:latin typeface="+mn-lt"/>
                        </a:rPr>
                        <a:t>—Make admin jobs easier: OS upgrades, patching, Hadoop version upgrades done for you. Still need to manage clusters.</a:t>
                      </a: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Easiest to use</a:t>
                      </a:r>
                      <a:r>
                        <a:rPr lang="en-US" sz="1100" dirty="0">
                          <a:solidFill>
                            <a:schemeClr val="bg1"/>
                          </a:solidFill>
                          <a:latin typeface="+mn-lt"/>
                        </a:rPr>
                        <a:t>—minimal admin functions needed. No cluster notion. Instantly, scales elastically per job.</a:t>
                      </a:r>
                    </a:p>
                  </a:txBody>
                  <a:tcPr>
                    <a:lnL w="6350" cap="flat" cmpd="sng" algn="ctr">
                      <a:solidFill>
                        <a:schemeClr val="bg2"/>
                      </a:solidFill>
                      <a:prstDash val="lgDash"/>
                      <a:round/>
                      <a:headEnd type="none" w="med" len="med"/>
                      <a:tailEnd type="none" w="med" len="med"/>
                    </a:lnL>
                    <a:lnR w="12700" cmpd="sng">
                      <a:noFill/>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extLst>
                  <a:ext uri="{0D108BD9-81ED-4DB2-BD59-A6C34878D82A}">
                    <a16:rowId xmlns:a16="http://schemas.microsoft.com/office/drawing/2014/main" val="2666600089"/>
                  </a:ext>
                </a:extLst>
              </a:tr>
              <a:tr h="192039">
                <a:tc>
                  <a:txBody>
                    <a:bodyPr/>
                    <a:lstStyle/>
                    <a:p>
                      <a:r>
                        <a:rPr lang="en-US" sz="1400" dirty="0">
                          <a:solidFill>
                            <a:schemeClr val="tx1"/>
                          </a:solidFill>
                          <a:latin typeface="+mn-lt"/>
                        </a:rPr>
                        <a:t>Developer</a:t>
                      </a:r>
                    </a:p>
                  </a:txBody>
                  <a:tcPr anchor="ctr">
                    <a:lnL w="12700" cmpd="sng">
                      <a:noFill/>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rPr>
                        <a:t>Will need to understand Hadoop (Hive, Spark, etc.) </a:t>
                      </a:r>
                      <a:endParaRPr kumimoji="0" lang="en-US" sz="1100" b="0" u="none" strike="noStrike" kern="1200" cap="none" spc="0" normalizeH="0" baseline="0" noProof="0" dirty="0">
                        <a:ln>
                          <a:noFill/>
                        </a:ln>
                        <a:solidFill>
                          <a:schemeClr val="bg1"/>
                        </a:solidFill>
                        <a:effectLst/>
                        <a:uLnTx/>
                        <a:uFillTx/>
                        <a:latin typeface="+mn-lt"/>
                      </a:endParaRP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Easier to use</a:t>
                      </a:r>
                      <a:r>
                        <a:rPr lang="en-US" sz="1100" dirty="0">
                          <a:solidFill>
                            <a:schemeClr val="bg1"/>
                          </a:solidFill>
                          <a:latin typeface="+mn-lt"/>
                        </a:rPr>
                        <a:t>—Will need to understand Hadoop (Hive, Spark, etc.). Microsoft provides some Visual Studio and IntelliJ integration </a:t>
                      </a: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Easiest to use</a:t>
                      </a:r>
                      <a:r>
                        <a:rPr lang="en-US" sz="1100" dirty="0">
                          <a:solidFill>
                            <a:schemeClr val="bg1"/>
                          </a:solidFill>
                          <a:latin typeface="+mn-lt"/>
                        </a:rPr>
                        <a:t>—Deep Visual Studio integration for coding, debugging, optimizing (.NET – C# / SQL)</a:t>
                      </a:r>
                    </a:p>
                  </a:txBody>
                  <a:tcPr>
                    <a:lnL w="6350" cap="flat" cmpd="sng" algn="ctr">
                      <a:solidFill>
                        <a:schemeClr val="bg2"/>
                      </a:solidFill>
                      <a:prstDash val="lgDash"/>
                      <a:round/>
                      <a:headEnd type="none" w="med" len="med"/>
                      <a:tailEnd type="none" w="med" len="med"/>
                    </a:lnL>
                    <a:lnR w="12700" cmpd="sng">
                      <a:noFill/>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extLst>
                  <a:ext uri="{0D108BD9-81ED-4DB2-BD59-A6C34878D82A}">
                    <a16:rowId xmlns:a16="http://schemas.microsoft.com/office/drawing/2014/main" val="2285163012"/>
                  </a:ext>
                </a:extLst>
              </a:tr>
              <a:tr h="444588">
                <a:tc>
                  <a:txBody>
                    <a:bodyPr/>
                    <a:lstStyle/>
                    <a:p>
                      <a:r>
                        <a:rPr lang="en-US" sz="1400" dirty="0">
                          <a:solidFill>
                            <a:schemeClr val="tx1"/>
                          </a:solidFill>
                          <a:latin typeface="+mn-lt"/>
                        </a:rPr>
                        <a:t>Control &amp; configuration</a:t>
                      </a:r>
                    </a:p>
                  </a:txBody>
                  <a:tcPr anchor="ctr">
                    <a:lnL w="12700" cmpd="sng">
                      <a:noFill/>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Full control </a:t>
                      </a:r>
                      <a:r>
                        <a:rPr lang="en-US" sz="1100" dirty="0">
                          <a:solidFill>
                            <a:schemeClr val="bg1"/>
                          </a:solidFill>
                          <a:latin typeface="+mn-lt"/>
                        </a:rPr>
                        <a:t>of managing and running your clusters. Spin up VMs as needed</a:t>
                      </a:r>
                      <a:endParaRPr kumimoji="0" lang="en-US" sz="1100" b="0" u="none" strike="noStrike" kern="1200" cap="none" spc="0" normalizeH="0" baseline="0" noProof="0" dirty="0">
                        <a:ln>
                          <a:noFill/>
                        </a:ln>
                        <a:solidFill>
                          <a:schemeClr val="bg1"/>
                        </a:solidFill>
                        <a:effectLst/>
                        <a:uLnTx/>
                        <a:uFillTx/>
                        <a:latin typeface="+mn-lt"/>
                      </a:endParaRP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Some control and some configuration</a:t>
                      </a:r>
                      <a:r>
                        <a:rPr lang="en-US" sz="1100" dirty="0">
                          <a:solidFill>
                            <a:schemeClr val="bg1"/>
                          </a:solidFill>
                          <a:latin typeface="+mn-lt"/>
                        </a:rPr>
                        <a:t>. Fully managed and monitored by Microsoft with 99.9% SLA, scale nodes on demand, control # of VMs on Azure</a:t>
                      </a:r>
                      <a:endParaRPr kumimoji="0" lang="en-US" sz="1100" b="0" u="none" strike="noStrike" kern="1200" cap="none" spc="0" normalizeH="0" baseline="0" noProof="0" dirty="0">
                        <a:ln>
                          <a:noFill/>
                        </a:ln>
                        <a:solidFill>
                          <a:schemeClr val="bg1"/>
                        </a:solidFill>
                        <a:effectLst/>
                        <a:uLnTx/>
                        <a:uFillTx/>
                        <a:latin typeface="+mn-lt"/>
                      </a:endParaRP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rPr>
                        <a:t>No need to control or configure</a:t>
                      </a:r>
                      <a:br>
                        <a:rPr lang="en-US" sz="1100" dirty="0">
                          <a:solidFill>
                            <a:schemeClr val="bg1"/>
                          </a:solidFill>
                          <a:latin typeface="+mn-lt"/>
                        </a:rPr>
                      </a:br>
                      <a:r>
                        <a:rPr lang="en-US" sz="1100" dirty="0">
                          <a:solidFill>
                            <a:schemeClr val="bg1"/>
                          </a:solidFill>
                          <a:latin typeface="+mn-lt"/>
                        </a:rPr>
                        <a:t>Instantly scales elastically per job</a:t>
                      </a:r>
                    </a:p>
                  </a:txBody>
                  <a:tcPr>
                    <a:lnL w="6350" cap="flat" cmpd="sng" algn="ctr">
                      <a:solidFill>
                        <a:schemeClr val="bg2"/>
                      </a:solidFill>
                      <a:prstDash val="lgDash"/>
                      <a:round/>
                      <a:headEnd type="none" w="med" len="med"/>
                      <a:tailEnd type="none" w="med" len="med"/>
                    </a:lnL>
                    <a:lnR w="12700" cmpd="sng">
                      <a:noFill/>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extLst>
                  <a:ext uri="{0D108BD9-81ED-4DB2-BD59-A6C34878D82A}">
                    <a16:rowId xmlns:a16="http://schemas.microsoft.com/office/drawing/2014/main" val="3070632371"/>
                  </a:ext>
                </a:extLst>
              </a:tr>
              <a:tr h="238222">
                <a:tc>
                  <a:txBody>
                    <a:bodyPr/>
                    <a:lstStyle/>
                    <a:p>
                      <a:r>
                        <a:rPr lang="en-US" sz="1400" dirty="0">
                          <a:solidFill>
                            <a:schemeClr val="tx1"/>
                          </a:solidFill>
                          <a:latin typeface="+mn-lt"/>
                        </a:rPr>
                        <a:t>Service Level Agreement</a:t>
                      </a:r>
                    </a:p>
                  </a:txBody>
                  <a:tcPr anchor="ctr">
                    <a:lnL w="12700" cmpd="sng">
                      <a:noFill/>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Only on VM network connectivity</a:t>
                      </a:r>
                      <a:endParaRPr kumimoji="0" lang="en-US" sz="1100" b="0" u="none" strike="noStrike" kern="1200" cap="none" spc="0" normalizeH="0" baseline="0" noProof="0" dirty="0">
                        <a:ln>
                          <a:noFill/>
                        </a:ln>
                        <a:solidFill>
                          <a:schemeClr val="bg1"/>
                        </a:solidFill>
                        <a:effectLst/>
                        <a:uLnTx/>
                        <a:uFillTx/>
                        <a:latin typeface="+mn-lt"/>
                      </a:endParaRP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rPr>
                        <a:t>99.9% on both network connectivity and Hadoop bits are running in VMs</a:t>
                      </a:r>
                      <a:endParaRPr kumimoji="0" lang="en-US" sz="1100" u="none" strike="noStrike" kern="1200" cap="none" spc="0" normalizeH="0" baseline="0" noProof="0" dirty="0">
                        <a:ln>
                          <a:noFill/>
                        </a:ln>
                        <a:solidFill>
                          <a:schemeClr val="bg1"/>
                        </a:solidFill>
                        <a:effectLst/>
                        <a:uLnTx/>
                        <a:uFillTx/>
                        <a:latin typeface="+mn-lt"/>
                      </a:endParaRP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rPr>
                        <a:t>99.9% SLA at GA</a:t>
                      </a:r>
                    </a:p>
                  </a:txBody>
                  <a:tcPr>
                    <a:lnL w="6350" cap="flat" cmpd="sng" algn="ctr">
                      <a:solidFill>
                        <a:schemeClr val="bg2"/>
                      </a:solidFill>
                      <a:prstDash val="lgDash"/>
                      <a:round/>
                      <a:headEnd type="none" w="med" len="med"/>
                      <a:tailEnd type="none" w="med" len="med"/>
                    </a:lnL>
                    <a:lnR w="12700" cmpd="sng">
                      <a:noFill/>
                    </a:lnR>
                    <a:lnT w="6350" cap="flat" cmpd="sng" algn="ctr">
                      <a:solidFill>
                        <a:schemeClr val="bg2"/>
                      </a:solidFill>
                      <a:prstDash val="lgDash"/>
                      <a:round/>
                      <a:headEnd type="none" w="med" len="med"/>
                      <a:tailEnd type="none" w="med" len="med"/>
                    </a:lnT>
                    <a:lnB w="6350" cap="flat" cmpd="sng" algn="ctr">
                      <a:solidFill>
                        <a:schemeClr val="bg2"/>
                      </a:solidFill>
                      <a:prstDash val="lgDash"/>
                      <a:round/>
                      <a:headEnd type="none" w="med" len="med"/>
                      <a:tailEnd type="none" w="med" len="med"/>
                    </a:lnB>
                    <a:lnTlToBr w="12700" cmpd="sng">
                      <a:noFill/>
                      <a:prstDash val="solid"/>
                    </a:lnTlToBr>
                    <a:lnBlToTr w="12700" cmpd="sng">
                      <a:noFill/>
                      <a:prstDash val="solid"/>
                    </a:lnBlToTr>
                    <a:solidFill>
                      <a:srgbClr val="F0F7FD"/>
                    </a:solidFill>
                  </a:tcPr>
                </a:tc>
                <a:extLst>
                  <a:ext uri="{0D108BD9-81ED-4DB2-BD59-A6C34878D82A}">
                    <a16:rowId xmlns:a16="http://schemas.microsoft.com/office/drawing/2014/main" val="1179335861"/>
                  </a:ext>
                </a:extLst>
              </a:tr>
              <a:tr h="286793">
                <a:tc>
                  <a:txBody>
                    <a:bodyPr/>
                    <a:lstStyle/>
                    <a:p>
                      <a:r>
                        <a:rPr lang="en-US" sz="1400" dirty="0">
                          <a:solidFill>
                            <a:schemeClr val="tx1"/>
                          </a:solidFill>
                          <a:latin typeface="+mn-lt"/>
                        </a:rPr>
                        <a:t>TCO</a:t>
                      </a:r>
                    </a:p>
                  </a:txBody>
                  <a:tcPr anchor="ctr">
                    <a:lnL w="12700" cmpd="sng">
                      <a:noFill/>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nSpc>
                          <a:spcPts val="1800"/>
                        </a:lnSpc>
                        <a:spcBef>
                          <a:spcPts val="24"/>
                        </a:spcBef>
                        <a:defRPr/>
                      </a:pPr>
                      <a:r>
                        <a:rPr lang="en-US" sz="1100" dirty="0">
                          <a:solidFill>
                            <a:schemeClr val="bg1"/>
                          </a:solidFill>
                          <a:latin typeface="+mn-lt"/>
                        </a:rPr>
                        <a:t>Lowest cost per query</a:t>
                      </a:r>
                    </a:p>
                    <a:p>
                      <a:pPr>
                        <a:lnSpc>
                          <a:spcPts val="1800"/>
                        </a:lnSpc>
                        <a:spcBef>
                          <a:spcPts val="24"/>
                        </a:spcBef>
                        <a:defRPr/>
                      </a:pPr>
                      <a:r>
                        <a:rPr lang="en-US" sz="1100" dirty="0">
                          <a:solidFill>
                            <a:schemeClr val="bg1"/>
                          </a:solidFill>
                          <a:latin typeface="+mn-lt"/>
                        </a:rPr>
                        <a:t>Higher TCO </a:t>
                      </a: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12700" cmpd="sng">
                      <a:noFill/>
                    </a:lnB>
                    <a:lnTlToBr w="12700" cmpd="sng">
                      <a:noFill/>
                      <a:prstDash val="solid"/>
                    </a:lnTlToBr>
                    <a:lnBlToTr w="12700" cmpd="sng">
                      <a:noFill/>
                      <a:prstDash val="solid"/>
                    </a:lnBlToTr>
                    <a:solidFill>
                      <a:srgbClr val="F0F7FD"/>
                    </a:solidFill>
                  </a:tcPr>
                </a:tc>
                <a:tc>
                  <a:txBody>
                    <a:bodyPr/>
                    <a:lstStyle/>
                    <a:p>
                      <a:pPr>
                        <a:lnSpc>
                          <a:spcPts val="1800"/>
                        </a:lnSpc>
                        <a:spcBef>
                          <a:spcPts val="24"/>
                        </a:spcBef>
                        <a:defRPr/>
                      </a:pPr>
                      <a:r>
                        <a:rPr lang="en-US" sz="1100" dirty="0">
                          <a:solidFill>
                            <a:schemeClr val="bg1"/>
                          </a:solidFill>
                          <a:latin typeface="+mn-lt"/>
                        </a:rPr>
                        <a:t>Low cost per query </a:t>
                      </a:r>
                    </a:p>
                    <a:p>
                      <a:pPr>
                        <a:lnSpc>
                          <a:spcPts val="1800"/>
                        </a:lnSpc>
                        <a:spcBef>
                          <a:spcPts val="24"/>
                        </a:spcBef>
                        <a:defRPr/>
                      </a:pPr>
                      <a:r>
                        <a:rPr lang="en-US" sz="1100" dirty="0">
                          <a:solidFill>
                            <a:schemeClr val="bg1"/>
                          </a:solidFill>
                          <a:latin typeface="+mn-lt"/>
                        </a:rPr>
                        <a:t>Low TCO from balanced resourcing</a:t>
                      </a:r>
                    </a:p>
                  </a:txBody>
                  <a:tcPr>
                    <a:lnL w="6350" cap="flat" cmpd="sng" algn="ctr">
                      <a:solidFill>
                        <a:schemeClr val="bg2"/>
                      </a:solidFill>
                      <a:prstDash val="lgDash"/>
                      <a:round/>
                      <a:headEnd type="none" w="med" len="med"/>
                      <a:tailEnd type="none" w="med" len="med"/>
                    </a:lnL>
                    <a:lnR w="6350" cap="flat" cmpd="sng" algn="ctr">
                      <a:solidFill>
                        <a:schemeClr val="bg2"/>
                      </a:solidFill>
                      <a:prstDash val="lgDash"/>
                      <a:round/>
                      <a:headEnd type="none" w="med" len="med"/>
                      <a:tailEnd type="none" w="med" len="med"/>
                    </a:lnR>
                    <a:lnT w="6350" cap="flat" cmpd="sng" algn="ctr">
                      <a:solidFill>
                        <a:schemeClr val="bg2"/>
                      </a:solidFill>
                      <a:prstDash val="lgDash"/>
                      <a:round/>
                      <a:headEnd type="none" w="med" len="med"/>
                      <a:tailEnd type="none" w="med" len="med"/>
                    </a:lnT>
                    <a:lnB w="12700" cmpd="sng">
                      <a:noFill/>
                    </a:lnB>
                    <a:lnTlToBr w="12700" cmpd="sng">
                      <a:noFill/>
                      <a:prstDash val="solid"/>
                    </a:lnTlToBr>
                    <a:lnBlToTr w="12700" cmpd="sng">
                      <a:noFill/>
                      <a:prstDash val="solid"/>
                    </a:lnBlToTr>
                    <a:solidFill>
                      <a:srgbClr val="F0F7FD"/>
                    </a:solidFill>
                  </a:tcPr>
                </a:tc>
                <a:tc>
                  <a:txBody>
                    <a:bodyPr/>
                    <a:lstStyle/>
                    <a:p>
                      <a:pPr>
                        <a:lnSpc>
                          <a:spcPts val="1800"/>
                        </a:lnSpc>
                        <a:spcBef>
                          <a:spcPts val="24"/>
                        </a:spcBef>
                        <a:defRPr/>
                      </a:pPr>
                      <a:r>
                        <a:rPr lang="en-US" sz="1100" dirty="0">
                          <a:solidFill>
                            <a:schemeClr val="bg1"/>
                          </a:solidFill>
                          <a:latin typeface="+mn-lt"/>
                        </a:rPr>
                        <a:t>Highest cost per query</a:t>
                      </a:r>
                    </a:p>
                    <a:p>
                      <a:pPr>
                        <a:lnSpc>
                          <a:spcPts val="1800"/>
                        </a:lnSpc>
                        <a:spcBef>
                          <a:spcPts val="24"/>
                        </a:spcBef>
                        <a:defRPr/>
                      </a:pPr>
                      <a:r>
                        <a:rPr lang="en-US" sz="1100" dirty="0">
                          <a:solidFill>
                            <a:schemeClr val="bg1"/>
                          </a:solidFill>
                          <a:latin typeface="+mn-lt"/>
                        </a:rPr>
                        <a:t>Lowest TCO</a:t>
                      </a:r>
                    </a:p>
                  </a:txBody>
                  <a:tcPr>
                    <a:lnL w="6350" cap="flat" cmpd="sng" algn="ctr">
                      <a:solidFill>
                        <a:schemeClr val="bg2"/>
                      </a:solidFill>
                      <a:prstDash val="lgDash"/>
                      <a:round/>
                      <a:headEnd type="none" w="med" len="med"/>
                      <a:tailEnd type="none" w="med" len="med"/>
                    </a:lnL>
                    <a:lnR w="12700" cmpd="sng">
                      <a:noFill/>
                    </a:lnR>
                    <a:lnT w="6350" cap="flat" cmpd="sng" algn="ctr">
                      <a:solidFill>
                        <a:schemeClr val="bg2"/>
                      </a:solidFill>
                      <a:prstDash val="lgDash"/>
                      <a:round/>
                      <a:headEnd type="none" w="med" len="med"/>
                      <a:tailEnd type="none" w="med" len="med"/>
                    </a:lnT>
                    <a:lnB w="12700" cmpd="sng">
                      <a:noFill/>
                    </a:lnB>
                    <a:lnTlToBr w="12700" cmpd="sng">
                      <a:noFill/>
                      <a:prstDash val="solid"/>
                    </a:lnTlToBr>
                    <a:lnBlToTr w="12700" cmpd="sng">
                      <a:noFill/>
                      <a:prstDash val="solid"/>
                    </a:lnBlToTr>
                    <a:solidFill>
                      <a:srgbClr val="F0F7FD"/>
                    </a:solidFill>
                  </a:tcPr>
                </a:tc>
                <a:extLst>
                  <a:ext uri="{0D108BD9-81ED-4DB2-BD59-A6C34878D82A}">
                    <a16:rowId xmlns:a16="http://schemas.microsoft.com/office/drawing/2014/main" val="1878750664"/>
                  </a:ext>
                </a:extLst>
              </a:tr>
            </a:tbl>
          </a:graphicData>
        </a:graphic>
      </p:graphicFrame>
      <p:grpSp>
        <p:nvGrpSpPr>
          <p:cNvPr id="75" name="Group 74"/>
          <p:cNvGrpSpPr/>
          <p:nvPr/>
        </p:nvGrpSpPr>
        <p:grpSpPr>
          <a:xfrm>
            <a:off x="1460963" y="1354377"/>
            <a:ext cx="10731037" cy="380986"/>
            <a:chOff x="821550" y="364537"/>
            <a:chExt cx="7313575" cy="442424"/>
          </a:xfrm>
          <a:solidFill>
            <a:srgbClr val="0078D7"/>
          </a:solidFill>
        </p:grpSpPr>
        <p:sp>
          <p:nvSpPr>
            <p:cNvPr id="111" name="Pentagon 63"/>
            <p:cNvSpPr/>
            <p:nvPr/>
          </p:nvSpPr>
          <p:spPr bwMode="auto">
            <a:xfrm>
              <a:off x="4179199" y="364537"/>
              <a:ext cx="3955926" cy="442424"/>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a:ln>
                  <a:noFill/>
                </a:ln>
                <a:solidFill>
                  <a:srgbClr val="FFFFFF"/>
                </a:solidFill>
                <a:effectLst/>
                <a:uLnTx/>
                <a:uFillTx/>
                <a:ea typeface="Segoe UI" pitchFamily="34" charset="0"/>
                <a:cs typeface="Segoe UI Semibold" panose="020B0702040204020203" pitchFamily="34" charset="0"/>
              </a:endParaRPr>
            </a:p>
          </p:txBody>
        </p:sp>
        <p:sp>
          <p:nvSpPr>
            <p:cNvPr id="112" name="Pentagon 64"/>
            <p:cNvSpPr/>
            <p:nvPr/>
          </p:nvSpPr>
          <p:spPr bwMode="auto">
            <a:xfrm flipH="1">
              <a:off x="821550" y="364537"/>
              <a:ext cx="3357649" cy="442424"/>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a:ln>
                  <a:noFill/>
                </a:ln>
                <a:solidFill>
                  <a:srgbClr val="FFFFFF"/>
                </a:solidFill>
                <a:effectLst/>
                <a:uLnTx/>
                <a:uFillTx/>
                <a:ea typeface="Segoe UI" pitchFamily="34" charset="0"/>
                <a:cs typeface="Segoe UI Semibold" panose="020B0702040204020203" pitchFamily="34" charset="0"/>
              </a:endParaRPr>
            </a:p>
          </p:txBody>
        </p:sp>
        <p:sp>
          <p:nvSpPr>
            <p:cNvPr id="113" name="TextBox 112"/>
            <p:cNvSpPr txBox="1"/>
            <p:nvPr/>
          </p:nvSpPr>
          <p:spPr>
            <a:xfrm>
              <a:off x="982392" y="461920"/>
              <a:ext cx="2481944" cy="272830"/>
            </a:xfrm>
            <a:prstGeom prst="rect">
              <a:avLst/>
            </a:prstGeom>
            <a:noFill/>
          </p:spPr>
          <p:txBody>
            <a:bodyPr wrap="square" lIns="182854" tIns="146284" rIns="182854" bIns="146284" rtlCol="0" anchor="ctr">
              <a:noAutofit/>
            </a:bodyPr>
            <a:lstStyle/>
            <a:p>
              <a:pPr marL="0" marR="0" lvl="0" indent="0" defTabSz="914225" eaLnBrk="1" fontAlgn="auto" latinLnBrk="0" hangingPunct="1">
                <a:lnSpc>
                  <a:spcPct val="90000"/>
                </a:lnSpc>
                <a:spcBef>
                  <a:spcPts val="0"/>
                </a:spcBef>
                <a:spcAft>
                  <a:spcPts val="600"/>
                </a:spcAft>
                <a:buClrTx/>
                <a:buSzTx/>
                <a:buFontTx/>
                <a:buNone/>
                <a:tabLst/>
                <a:defRPr/>
              </a:pPr>
              <a:r>
                <a:rPr lang="en-US" sz="1200" b="1" dirty="0">
                  <a:ea typeface="Segoe UI" pitchFamily="34" charset="0"/>
                  <a:cs typeface="Segoe UI" pitchFamily="34" charset="0"/>
                </a:rPr>
                <a:t>CONTROL</a:t>
              </a:r>
            </a:p>
          </p:txBody>
        </p:sp>
        <p:sp>
          <p:nvSpPr>
            <p:cNvPr id="114" name="TextBox 113"/>
            <p:cNvSpPr txBox="1"/>
            <p:nvPr/>
          </p:nvSpPr>
          <p:spPr>
            <a:xfrm>
              <a:off x="4515157" y="451240"/>
              <a:ext cx="3423678" cy="294190"/>
            </a:xfrm>
            <a:prstGeom prst="rect">
              <a:avLst/>
            </a:prstGeom>
            <a:noFill/>
          </p:spPr>
          <p:txBody>
            <a:bodyPr wrap="square" lIns="182854" tIns="146284" rIns="182854" bIns="146284" rtlCol="0" anchor="ctr">
              <a:noAutofit/>
            </a:bodyPr>
            <a:lstStyle/>
            <a:p>
              <a:pPr marL="0" marR="0" lvl="0" indent="0" algn="r" defTabSz="914225" eaLnBrk="1" fontAlgn="auto" latinLnBrk="0" hangingPunct="1">
                <a:lnSpc>
                  <a:spcPct val="90000"/>
                </a:lnSpc>
                <a:spcBef>
                  <a:spcPts val="0"/>
                </a:spcBef>
                <a:spcAft>
                  <a:spcPts val="600"/>
                </a:spcAft>
                <a:buClrTx/>
                <a:buSzTx/>
                <a:buFontTx/>
                <a:buNone/>
                <a:tabLst/>
                <a:defRPr/>
              </a:pPr>
              <a:r>
                <a:rPr lang="en-US" sz="1200" b="1" dirty="0">
                  <a:ea typeface="Segoe UI" pitchFamily="34" charset="0"/>
                  <a:cs typeface="Segoe UI" pitchFamily="34" charset="0"/>
                </a:rPr>
                <a:t>EASE OF USE AND ADOPTION</a:t>
              </a:r>
            </a:p>
          </p:txBody>
        </p:sp>
      </p:grpSp>
      <p:sp>
        <p:nvSpPr>
          <p:cNvPr id="3" name="Rectangle 2"/>
          <p:cNvSpPr/>
          <p:nvPr/>
        </p:nvSpPr>
        <p:spPr bwMode="auto">
          <a:xfrm>
            <a:off x="3825378" y="2222117"/>
            <a:ext cx="232329" cy="1203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17" name="Rectangle 16"/>
          <p:cNvSpPr/>
          <p:nvPr/>
        </p:nvSpPr>
        <p:spPr bwMode="auto">
          <a:xfrm>
            <a:off x="8212327" y="2140787"/>
            <a:ext cx="232329" cy="2016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18" name="Rectangle 17"/>
          <p:cNvSpPr/>
          <p:nvPr/>
        </p:nvSpPr>
        <p:spPr bwMode="auto">
          <a:xfrm>
            <a:off x="11962169" y="1934030"/>
            <a:ext cx="232329" cy="4083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5557299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125542" y="1188258"/>
            <a:ext cx="5809919" cy="4481488"/>
            <a:chOff x="6248374" y="1211263"/>
            <a:chExt cx="5927261" cy="4572000"/>
          </a:xfrm>
        </p:grpSpPr>
        <p:sp>
          <p:nvSpPr>
            <p:cNvPr id="82" name="Rectangle 81"/>
            <p:cNvSpPr/>
            <p:nvPr/>
          </p:nvSpPr>
          <p:spPr>
            <a:xfrm>
              <a:off x="6248374" y="1211263"/>
              <a:ext cx="5927261" cy="4572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179259" tIns="143407" rIns="179259" bIns="143407"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3136" dirty="0">
                  <a:latin typeface="+mj-lt"/>
                </a:rPr>
                <a:t>Cloud</a:t>
              </a:r>
            </a:p>
          </p:txBody>
        </p:sp>
        <p:sp>
          <p:nvSpPr>
            <p:cNvPr id="83" name="Rectangle 82"/>
            <p:cNvSpPr/>
            <p:nvPr/>
          </p:nvSpPr>
          <p:spPr>
            <a:xfrm>
              <a:off x="7775555" y="2000837"/>
              <a:ext cx="4350563" cy="162368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79259" tIns="143407" rIns="179259" bIns="143407"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765"/>
            </a:p>
          </p:txBody>
        </p:sp>
        <p:sp>
          <p:nvSpPr>
            <p:cNvPr id="89" name="Rectangle 88"/>
            <p:cNvSpPr/>
            <p:nvPr/>
          </p:nvSpPr>
          <p:spPr>
            <a:xfrm>
              <a:off x="7775555" y="3677964"/>
              <a:ext cx="4350563" cy="162368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79259" tIns="143407" rIns="179259" bIns="143407"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765"/>
            </a:p>
          </p:txBody>
        </p:sp>
        <p:sp>
          <p:nvSpPr>
            <p:cNvPr id="84" name="TextBox 13"/>
            <p:cNvSpPr txBox="1"/>
            <p:nvPr/>
          </p:nvSpPr>
          <p:spPr>
            <a:xfrm>
              <a:off x="9642459" y="2010639"/>
              <a:ext cx="2483659" cy="1622804"/>
            </a:xfrm>
            <a:prstGeom prst="rect">
              <a:avLst/>
            </a:prstGeom>
            <a:solidFill>
              <a:schemeClr val="accent1"/>
            </a:solidFill>
          </p:spPr>
          <p:txBody>
            <a:bodyPr vert="horz" wrap="square" lIns="89630" tIns="89630" rIns="89630" bIns="143407" rtlCol="0">
              <a:noAutofit/>
            </a:bodyPr>
            <a:lstStyle>
              <a:defPPr>
                <a:defRPr lang="en-US"/>
              </a:defPPr>
              <a:lvl1pPr marR="0" indent="0" defTabSz="457200" fontAlgn="auto">
                <a:lnSpc>
                  <a:spcPct val="90000"/>
                </a:lnSpc>
                <a:spcAft>
                  <a:spcPts val="0"/>
                </a:spcAft>
                <a:buClrTx/>
                <a:buSzTx/>
                <a:buFont typeface="Arial"/>
                <a:buNone/>
                <a:tabLst/>
                <a:defRPr kumimoji="0" i="0" u="none" strike="noStrike" cap="none" spc="0" normalizeH="0" baseline="0">
                  <a:ln>
                    <a:noFill/>
                  </a:ln>
                  <a:gradFill>
                    <a:gsLst>
                      <a:gs pos="2920">
                        <a:schemeClr val="accent2">
                          <a:lumMod val="75000"/>
                        </a:schemeClr>
                      </a:gs>
                      <a:gs pos="100000">
                        <a:schemeClr val="accent2">
                          <a:lumMod val="75000"/>
                        </a:schemeClr>
                      </a:gs>
                    </a:gsLst>
                    <a:lin ang="5400000" scaled="0"/>
                  </a:gradFill>
                  <a:effectLst/>
                  <a:uLnTx/>
                  <a:uFillTx/>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a:spcBef>
                  <a:spcPct val="20000"/>
                </a:spcBef>
              </a:pPr>
              <a:r>
                <a:rPr lang="en-US" sz="1765" dirty="0">
                  <a:solidFill>
                    <a:schemeClr val="tx1"/>
                  </a:solidFill>
                </a:rPr>
                <a:t>Azure </a:t>
              </a:r>
              <a:r>
                <a:rPr lang="en-US" sz="1765" dirty="0" err="1">
                  <a:solidFill>
                    <a:schemeClr val="tx1"/>
                  </a:solidFill>
                </a:rPr>
                <a:t>HDInsight</a:t>
              </a:r>
              <a:endParaRPr lang="en-US" sz="1765" dirty="0">
                <a:solidFill>
                  <a:schemeClr val="tx1"/>
                </a:solidFill>
              </a:endParaRPr>
            </a:p>
            <a:p>
              <a:pPr>
                <a:spcBef>
                  <a:spcPct val="20000"/>
                </a:spcBef>
              </a:pPr>
              <a:endParaRPr lang="en-US" sz="1371" dirty="0">
                <a:gradFill>
                  <a:gsLst>
                    <a:gs pos="2920">
                      <a:schemeClr val="tx1"/>
                    </a:gs>
                    <a:gs pos="100000">
                      <a:schemeClr val="tx1"/>
                    </a:gs>
                  </a:gsLst>
                  <a:lin ang="5400000" scaled="0"/>
                </a:gradFill>
              </a:endParaRPr>
            </a:p>
            <a:p>
              <a:pPr>
                <a:spcBef>
                  <a:spcPct val="20000"/>
                </a:spcBef>
              </a:pPr>
              <a:r>
                <a:rPr lang="en-US" sz="1371" dirty="0">
                  <a:gradFill>
                    <a:gsLst>
                      <a:gs pos="2920">
                        <a:schemeClr val="tx1"/>
                      </a:gs>
                      <a:gs pos="100000">
                        <a:schemeClr val="tx1"/>
                      </a:gs>
                    </a:gsLst>
                    <a:lin ang="5400000" scaled="0"/>
                  </a:gradFill>
                </a:rPr>
                <a:t>Managed Hadoop service</a:t>
              </a:r>
            </a:p>
            <a:p>
              <a:pPr>
                <a:spcBef>
                  <a:spcPct val="20000"/>
                </a:spcBef>
              </a:pPr>
              <a:r>
                <a:rPr lang="en-US" sz="1371" dirty="0">
                  <a:gradFill>
                    <a:gsLst>
                      <a:gs pos="2920">
                        <a:schemeClr val="tx1"/>
                      </a:gs>
                      <a:gs pos="100000">
                        <a:schemeClr val="tx1"/>
                      </a:gs>
                    </a:gsLst>
                    <a:lin ang="5400000" scaled="0"/>
                  </a:gradFill>
                </a:rPr>
                <a:t>Built on Azure storage</a:t>
              </a:r>
            </a:p>
            <a:p>
              <a:pPr>
                <a:spcBef>
                  <a:spcPct val="20000"/>
                </a:spcBef>
              </a:pPr>
              <a:endParaRPr lang="en-US" sz="1765" dirty="0"/>
            </a:p>
          </p:txBody>
        </p:sp>
        <p:grpSp>
          <p:nvGrpSpPr>
            <p:cNvPr id="28" name="Group 27"/>
            <p:cNvGrpSpPr/>
            <p:nvPr/>
          </p:nvGrpSpPr>
          <p:grpSpPr>
            <a:xfrm>
              <a:off x="7821656" y="2044418"/>
              <a:ext cx="1820802" cy="1531736"/>
              <a:chOff x="6340511" y="2044418"/>
              <a:chExt cx="1820802" cy="1531736"/>
            </a:xfrm>
          </p:grpSpPr>
          <p:sp>
            <p:nvSpPr>
              <p:cNvPr id="86" name="Rectangle 85"/>
              <p:cNvSpPr/>
              <p:nvPr/>
            </p:nvSpPr>
            <p:spPr bwMode="auto">
              <a:xfrm>
                <a:off x="6340511" y="2044418"/>
                <a:ext cx="1820802" cy="15317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588"/>
                  </a:spcAft>
                </a:pPr>
                <a:r>
                  <a:rPr lang="en-US" sz="1765" dirty="0">
                    <a:gradFill>
                      <a:gsLst>
                        <a:gs pos="85841">
                          <a:srgbClr val="FFFFFF"/>
                        </a:gs>
                        <a:gs pos="0">
                          <a:srgbClr val="FFFFFF"/>
                        </a:gs>
                      </a:gsLst>
                      <a:lin ang="5400000" scaled="0"/>
                    </a:gradFill>
                  </a:rPr>
                  <a:t>Cloud</a:t>
                </a:r>
              </a:p>
            </p:txBody>
          </p:sp>
          <p:sp>
            <p:nvSpPr>
              <p:cNvPr id="95" name="Freeform 13"/>
              <p:cNvSpPr>
                <a:spLocks/>
              </p:cNvSpPr>
              <p:nvPr/>
            </p:nvSpPr>
            <p:spPr bwMode="auto">
              <a:xfrm>
                <a:off x="7111825" y="2912872"/>
                <a:ext cx="955417" cy="52914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endParaRPr lang="en-US" sz="1765">
                  <a:solidFill>
                    <a:srgbClr val="505050"/>
                  </a:solidFill>
                </a:endParaRPr>
              </a:p>
            </p:txBody>
          </p:sp>
        </p:grpSp>
        <p:sp>
          <p:nvSpPr>
            <p:cNvPr id="92" name="TextBox 27"/>
            <p:cNvSpPr txBox="1"/>
            <p:nvPr/>
          </p:nvSpPr>
          <p:spPr>
            <a:xfrm>
              <a:off x="9645401" y="3684645"/>
              <a:ext cx="2480717" cy="1587980"/>
            </a:xfrm>
            <a:prstGeom prst="rect">
              <a:avLst/>
            </a:prstGeom>
            <a:solidFill>
              <a:schemeClr val="accent1"/>
            </a:solidFill>
          </p:spPr>
          <p:txBody>
            <a:bodyPr vert="horz" wrap="square" lIns="89630" tIns="89630" rIns="89630" bIns="143407" rtlCol="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Bef>
                  <a:spcPct val="20000"/>
                </a:spcBef>
              </a:pPr>
              <a:r>
                <a:rPr lang="en-US" sz="1765" dirty="0"/>
                <a:t>Azure Hadoop VMs (HDP on Win or Linux)</a:t>
              </a:r>
            </a:p>
            <a:p>
              <a:pPr>
                <a:lnSpc>
                  <a:spcPct val="90000"/>
                </a:lnSpc>
                <a:spcBef>
                  <a:spcPct val="20000"/>
                </a:spcBef>
              </a:pPr>
              <a:endParaRPr lang="en-US" sz="1371" dirty="0">
                <a:gradFill>
                  <a:gsLst>
                    <a:gs pos="2920">
                      <a:schemeClr val="tx1"/>
                    </a:gs>
                    <a:gs pos="100000">
                      <a:schemeClr val="tx1"/>
                    </a:gs>
                  </a:gsLst>
                  <a:lin ang="5400000" scaled="0"/>
                </a:gradFill>
              </a:endParaRPr>
            </a:p>
            <a:p>
              <a:pPr>
                <a:lnSpc>
                  <a:spcPct val="90000"/>
                </a:lnSpc>
                <a:spcBef>
                  <a:spcPct val="20000"/>
                </a:spcBef>
              </a:pPr>
              <a:r>
                <a:rPr lang="en-US" sz="1371" dirty="0">
                  <a:gradFill>
                    <a:gsLst>
                      <a:gs pos="2920">
                        <a:schemeClr val="tx1"/>
                      </a:gs>
                      <a:gs pos="100000">
                        <a:schemeClr val="tx1"/>
                      </a:gs>
                    </a:gsLst>
                    <a:lin ang="5400000" scaled="0"/>
                  </a:gradFill>
                </a:rPr>
                <a:t>Your deployment of Hadoop hosted as a VM in Azure</a:t>
              </a:r>
            </a:p>
          </p:txBody>
        </p:sp>
        <p:grpSp>
          <p:nvGrpSpPr>
            <p:cNvPr id="32" name="Group 31"/>
            <p:cNvGrpSpPr/>
            <p:nvPr/>
          </p:nvGrpSpPr>
          <p:grpSpPr>
            <a:xfrm>
              <a:off x="7822352" y="3721545"/>
              <a:ext cx="1820802" cy="1531736"/>
              <a:chOff x="6340511" y="3721545"/>
              <a:chExt cx="1820802" cy="1531736"/>
            </a:xfrm>
          </p:grpSpPr>
          <p:sp>
            <p:nvSpPr>
              <p:cNvPr id="90" name="Rectangle 89"/>
              <p:cNvSpPr/>
              <p:nvPr/>
            </p:nvSpPr>
            <p:spPr bwMode="auto">
              <a:xfrm>
                <a:off x="6340511" y="3721545"/>
                <a:ext cx="1820802" cy="15317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588"/>
                  </a:spcAft>
                </a:pPr>
                <a:r>
                  <a:rPr lang="en-US" sz="1765" dirty="0">
                    <a:gradFill>
                      <a:gsLst>
                        <a:gs pos="85841">
                          <a:srgbClr val="FFFFFF"/>
                        </a:gs>
                        <a:gs pos="0">
                          <a:srgbClr val="FFFFFF"/>
                        </a:gs>
                      </a:gsLst>
                      <a:lin ang="5400000" scaled="0"/>
                    </a:gradFill>
                  </a:rPr>
                  <a:t>Cloud</a:t>
                </a:r>
              </a:p>
            </p:txBody>
          </p:sp>
          <p:grpSp>
            <p:nvGrpSpPr>
              <p:cNvPr id="31" name="Group 30"/>
              <p:cNvGrpSpPr/>
              <p:nvPr/>
            </p:nvGrpSpPr>
            <p:grpSpPr>
              <a:xfrm>
                <a:off x="7111825" y="4590358"/>
                <a:ext cx="955417" cy="529148"/>
                <a:chOff x="7111825" y="4590358"/>
                <a:chExt cx="955417" cy="529148"/>
              </a:xfrm>
            </p:grpSpPr>
            <p:sp>
              <p:nvSpPr>
                <p:cNvPr id="96" name="Freeform 13"/>
                <p:cNvSpPr>
                  <a:spLocks/>
                </p:cNvSpPr>
                <p:nvPr/>
              </p:nvSpPr>
              <p:spPr bwMode="auto">
                <a:xfrm>
                  <a:off x="7111825" y="4590358"/>
                  <a:ext cx="955417" cy="52914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endParaRPr lang="en-US" sz="1765">
                    <a:solidFill>
                      <a:srgbClr val="505050"/>
                    </a:solidFill>
                  </a:endParaRPr>
                </a:p>
              </p:txBody>
            </p:sp>
            <p:pic>
              <p:nvPicPr>
                <p:cNvPr id="25" name="Picture 24"/>
                <p:cNvPicPr>
                  <a:picLocks noChangeAspect="1"/>
                </p:cNvPicPr>
                <p:nvPr/>
              </p:nvPicPr>
              <p:blipFill>
                <a:blip r:embed="rId3" cstate="email">
                  <a:grayscl/>
                  <a:extLst>
                    <a:ext uri="{28A0092B-C50C-407E-A947-70E740481C1C}">
                      <a14:useLocalDpi xmlns:a14="http://schemas.microsoft.com/office/drawing/2010/main" val="0"/>
                    </a:ext>
                  </a:extLst>
                </a:blip>
                <a:srcRect/>
                <a:stretch>
                  <a:fillRect/>
                </a:stretch>
              </p:blipFill>
              <p:spPr bwMode="auto">
                <a:xfrm>
                  <a:off x="7376897" y="4754745"/>
                  <a:ext cx="425272" cy="339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sp>
        <p:nvSpPr>
          <p:cNvPr id="2" name="Title 1"/>
          <p:cNvSpPr>
            <a:spLocks noGrp="1"/>
          </p:cNvSpPr>
          <p:nvPr>
            <p:ph type="title"/>
          </p:nvPr>
        </p:nvSpPr>
        <p:spPr/>
        <p:txBody>
          <a:bodyPr/>
          <a:lstStyle/>
          <a:p>
            <a:r>
              <a:rPr lang="en-US" dirty="0"/>
              <a:t>Microsoft’s Hadoop offers</a:t>
            </a:r>
          </a:p>
        </p:txBody>
      </p:sp>
      <p:sp>
        <p:nvSpPr>
          <p:cNvPr id="61" name="TextBox 35"/>
          <p:cNvSpPr txBox="1"/>
          <p:nvPr/>
        </p:nvSpPr>
        <p:spPr>
          <a:xfrm>
            <a:off x="270068" y="5712195"/>
            <a:ext cx="11665393" cy="674901"/>
          </a:xfrm>
          <a:prstGeom prst="rect">
            <a:avLst/>
          </a:prstGeom>
          <a:solidFill>
            <a:schemeClr val="accent6">
              <a:lumMod val="20000"/>
              <a:lumOff val="80000"/>
            </a:schemeClr>
          </a:solidFill>
          <a:ln>
            <a:noFill/>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89630" tIns="89630" rIns="89630" bIns="44814" rtlCol="0">
            <a:norm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ct val="20000"/>
              </a:spcBef>
            </a:pPr>
            <a:r>
              <a:rPr lang="en-US" sz="2745" dirty="0">
                <a:gradFill>
                  <a:gsLst>
                    <a:gs pos="2920">
                      <a:schemeClr val="bg1"/>
                    </a:gs>
                    <a:gs pos="100000">
                      <a:schemeClr val="bg1"/>
                    </a:gs>
                  </a:gsLst>
                  <a:lin ang="5400000" scaled="0"/>
                </a:gradFill>
                <a:latin typeface="+mj-lt"/>
              </a:rPr>
              <a:t>Enjoy cross-platform interoperability based on 100% open source Hadoop</a:t>
            </a:r>
          </a:p>
          <a:p>
            <a:pPr algn="ctr" defTabSz="448107">
              <a:spcBef>
                <a:spcPct val="20000"/>
              </a:spcBef>
            </a:pPr>
            <a:endParaRPr lang="en-US" sz="1765" i="1" dirty="0">
              <a:gradFill>
                <a:gsLst>
                  <a:gs pos="2920">
                    <a:schemeClr val="bg1"/>
                  </a:gs>
                  <a:gs pos="100000">
                    <a:schemeClr val="bg1"/>
                  </a:gs>
                </a:gsLst>
                <a:lin ang="5400000" scaled="0"/>
              </a:gradFill>
            </a:endParaRPr>
          </a:p>
        </p:txBody>
      </p:sp>
      <p:grpSp>
        <p:nvGrpSpPr>
          <p:cNvPr id="3" name="Group 2"/>
          <p:cNvGrpSpPr/>
          <p:nvPr/>
        </p:nvGrpSpPr>
        <p:grpSpPr>
          <a:xfrm>
            <a:off x="270068" y="1188258"/>
            <a:ext cx="5809919" cy="4481488"/>
            <a:chOff x="274639" y="1211263"/>
            <a:chExt cx="5927261" cy="4572000"/>
          </a:xfrm>
        </p:grpSpPr>
        <p:sp>
          <p:nvSpPr>
            <p:cNvPr id="4" name="Rectangle 3"/>
            <p:cNvSpPr/>
            <p:nvPr/>
          </p:nvSpPr>
          <p:spPr>
            <a:xfrm>
              <a:off x="274639" y="1211263"/>
              <a:ext cx="5927261" cy="4572000"/>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lIns="179259" tIns="143407" rIns="179259" bIns="143407"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3136" dirty="0">
                  <a:latin typeface="+mj-lt"/>
                </a:rPr>
                <a:t>On-premises </a:t>
              </a:r>
            </a:p>
          </p:txBody>
        </p:sp>
        <p:sp>
          <p:nvSpPr>
            <p:cNvPr id="8" name="Rectangle 7"/>
            <p:cNvSpPr/>
            <p:nvPr/>
          </p:nvSpPr>
          <p:spPr>
            <a:xfrm>
              <a:off x="320675" y="2000837"/>
              <a:ext cx="4350563" cy="162368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765"/>
            </a:p>
          </p:txBody>
        </p:sp>
        <p:sp>
          <p:nvSpPr>
            <p:cNvPr id="13" name="TextBox 13"/>
            <p:cNvSpPr txBox="1"/>
            <p:nvPr/>
          </p:nvSpPr>
          <p:spPr>
            <a:xfrm>
              <a:off x="2187579" y="2010639"/>
              <a:ext cx="2483659" cy="1622804"/>
            </a:xfrm>
            <a:prstGeom prst="rect">
              <a:avLst/>
            </a:prstGeom>
            <a:solidFill>
              <a:schemeClr val="accent3"/>
            </a:solidFill>
          </p:spPr>
          <p:txBody>
            <a:bodyPr vert="horz" wrap="square" lIns="89630" tIns="89630" rIns="89630" bIns="143407" rtlCol="0">
              <a:noAutofit/>
            </a:bodyPr>
            <a:lstStyle>
              <a:defPPr>
                <a:defRPr lang="en-US"/>
              </a:defPPr>
              <a:lvl1pPr marR="0" indent="0" defTabSz="457200" fontAlgn="auto">
                <a:lnSpc>
                  <a:spcPct val="90000"/>
                </a:lnSpc>
                <a:spcAft>
                  <a:spcPts val="0"/>
                </a:spcAft>
                <a:buClrTx/>
                <a:buSzTx/>
                <a:buFont typeface="Arial"/>
                <a:buNone/>
                <a:tabLst/>
                <a:defRPr kumimoji="0" i="0" u="none" strike="noStrike" cap="none" spc="0" normalizeH="0" baseline="0">
                  <a:ln>
                    <a:noFill/>
                  </a:ln>
                  <a:gradFill>
                    <a:gsLst>
                      <a:gs pos="2920">
                        <a:schemeClr val="accent2">
                          <a:lumMod val="75000"/>
                        </a:schemeClr>
                      </a:gs>
                      <a:gs pos="100000">
                        <a:schemeClr val="accent2">
                          <a:lumMod val="75000"/>
                        </a:schemeClr>
                      </a:gs>
                    </a:gsLst>
                    <a:lin ang="5400000" scaled="0"/>
                  </a:gradFill>
                  <a:effectLst/>
                  <a:uLnTx/>
                  <a:uFillTx/>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r>
                <a:rPr lang="en-US" sz="1765" dirty="0">
                  <a:solidFill>
                    <a:schemeClr val="tx1"/>
                  </a:solidFill>
                </a:rPr>
                <a:t>HDP on Windows</a:t>
              </a:r>
            </a:p>
            <a:p>
              <a:r>
                <a:rPr lang="en-US" sz="1765" dirty="0">
                  <a:solidFill>
                    <a:schemeClr val="tx1"/>
                  </a:solidFill>
                </a:rPr>
                <a:t>HDP on Linux</a:t>
              </a:r>
            </a:p>
            <a:p>
              <a:endParaRPr lang="en-US" sz="1765" dirty="0"/>
            </a:p>
            <a:p>
              <a:r>
                <a:rPr lang="en-US" sz="1371" dirty="0">
                  <a:gradFill>
                    <a:gsLst>
                      <a:gs pos="2920">
                        <a:schemeClr val="tx1"/>
                      </a:gs>
                      <a:gs pos="100000">
                        <a:schemeClr val="tx1"/>
                      </a:gs>
                    </a:gsLst>
                    <a:lin ang="5400000" scaled="0"/>
                  </a:gradFill>
                </a:rPr>
                <a:t>Full control of </a:t>
              </a:r>
              <a:r>
                <a:rPr lang="en-US" sz="1371" dirty="0" err="1">
                  <a:gradFill>
                    <a:gsLst>
                      <a:gs pos="2920">
                        <a:schemeClr val="tx1"/>
                      </a:gs>
                      <a:gs pos="100000">
                        <a:schemeClr val="tx1"/>
                      </a:gs>
                    </a:gsLst>
                    <a:lin ang="5400000" scaled="0"/>
                  </a:gradFill>
                </a:rPr>
                <a:t>Hortonworks</a:t>
              </a:r>
              <a:r>
                <a:rPr lang="en-US" sz="1371" dirty="0">
                  <a:gradFill>
                    <a:gsLst>
                      <a:gs pos="2920">
                        <a:schemeClr val="tx1"/>
                      </a:gs>
                      <a:gs pos="100000">
                        <a:schemeClr val="tx1"/>
                      </a:gs>
                    </a:gsLst>
                    <a:lin ang="5400000" scaled="0"/>
                  </a:gradFill>
                </a:rPr>
                <a:t> and software configurations </a:t>
              </a:r>
            </a:p>
          </p:txBody>
        </p:sp>
        <p:grpSp>
          <p:nvGrpSpPr>
            <p:cNvPr id="26" name="Group 25"/>
            <p:cNvGrpSpPr/>
            <p:nvPr/>
          </p:nvGrpSpPr>
          <p:grpSpPr>
            <a:xfrm>
              <a:off x="366776" y="2044418"/>
              <a:ext cx="1820802" cy="1531736"/>
              <a:chOff x="503301" y="2044418"/>
              <a:chExt cx="1820802" cy="1531736"/>
            </a:xfrm>
          </p:grpSpPr>
          <p:sp>
            <p:nvSpPr>
              <p:cNvPr id="66" name="Rectangle 65"/>
              <p:cNvSpPr/>
              <p:nvPr/>
            </p:nvSpPr>
            <p:spPr bwMode="auto">
              <a:xfrm>
                <a:off x="503301" y="2044418"/>
                <a:ext cx="1820802" cy="1531736"/>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588"/>
                  </a:spcAft>
                </a:pPr>
                <a:r>
                  <a:rPr lang="en-US" sz="1765" dirty="0">
                    <a:gradFill>
                      <a:gsLst>
                        <a:gs pos="85841">
                          <a:srgbClr val="FFFFFF"/>
                        </a:gs>
                        <a:gs pos="0">
                          <a:srgbClr val="FFFFFF"/>
                        </a:gs>
                      </a:gsLst>
                      <a:lin ang="5400000" scaled="0"/>
                    </a:gradFill>
                  </a:rPr>
                  <a:t>Software</a:t>
                </a:r>
              </a:p>
            </p:txBody>
          </p:sp>
          <p:sp>
            <p:nvSpPr>
              <p:cNvPr id="69" name="Freeform 5"/>
              <p:cNvSpPr>
                <a:spLocks noEditPoints="1"/>
              </p:cNvSpPr>
              <p:nvPr/>
            </p:nvSpPr>
            <p:spPr bwMode="auto">
              <a:xfrm>
                <a:off x="1524473" y="2864358"/>
                <a:ext cx="659738" cy="629228"/>
              </a:xfrm>
              <a:custGeom>
                <a:avLst/>
                <a:gdLst>
                  <a:gd name="T0" fmla="*/ 0 w 4266"/>
                  <a:gd name="T1" fmla="*/ 1598 h 3730"/>
                  <a:gd name="T2" fmla="*/ 2129 w 4266"/>
                  <a:gd name="T3" fmla="*/ 2132 h 3730"/>
                  <a:gd name="T4" fmla="*/ 4266 w 4266"/>
                  <a:gd name="T5" fmla="*/ 1598 h 3730"/>
                  <a:gd name="T6" fmla="*/ 4266 w 4266"/>
                  <a:gd name="T7" fmla="*/ 2132 h 3730"/>
                  <a:gd name="T8" fmla="*/ 2129 w 4266"/>
                  <a:gd name="T9" fmla="*/ 2665 h 3730"/>
                  <a:gd name="T10" fmla="*/ 0 w 4266"/>
                  <a:gd name="T11" fmla="*/ 2132 h 3730"/>
                  <a:gd name="T12" fmla="*/ 0 w 4266"/>
                  <a:gd name="T13" fmla="*/ 1598 h 3730"/>
                  <a:gd name="T14" fmla="*/ 0 w 4266"/>
                  <a:gd name="T15" fmla="*/ 1598 h 3730"/>
                  <a:gd name="T16" fmla="*/ 0 w 4266"/>
                  <a:gd name="T17" fmla="*/ 1598 h 3730"/>
                  <a:gd name="T18" fmla="*/ 0 w 4266"/>
                  <a:gd name="T19" fmla="*/ 2665 h 3730"/>
                  <a:gd name="T20" fmla="*/ 2129 w 4266"/>
                  <a:gd name="T21" fmla="*/ 3197 h 3730"/>
                  <a:gd name="T22" fmla="*/ 4266 w 4266"/>
                  <a:gd name="T23" fmla="*/ 2665 h 3730"/>
                  <a:gd name="T24" fmla="*/ 4266 w 4266"/>
                  <a:gd name="T25" fmla="*/ 3197 h 3730"/>
                  <a:gd name="T26" fmla="*/ 2129 w 4266"/>
                  <a:gd name="T27" fmla="*/ 3730 h 3730"/>
                  <a:gd name="T28" fmla="*/ 0 w 4266"/>
                  <a:gd name="T29" fmla="*/ 3197 h 3730"/>
                  <a:gd name="T30" fmla="*/ 0 w 4266"/>
                  <a:gd name="T31" fmla="*/ 2665 h 3730"/>
                  <a:gd name="T32" fmla="*/ 0 w 4266"/>
                  <a:gd name="T33" fmla="*/ 2665 h 3730"/>
                  <a:gd name="T34" fmla="*/ 0 w 4266"/>
                  <a:gd name="T35" fmla="*/ 2665 h 3730"/>
                  <a:gd name="T36" fmla="*/ 0 w 4266"/>
                  <a:gd name="T37" fmla="*/ 533 h 3730"/>
                  <a:gd name="T38" fmla="*/ 2129 w 4266"/>
                  <a:gd name="T39" fmla="*/ 0 h 3730"/>
                  <a:gd name="T40" fmla="*/ 4266 w 4266"/>
                  <a:gd name="T41" fmla="*/ 533 h 3730"/>
                  <a:gd name="T42" fmla="*/ 4266 w 4266"/>
                  <a:gd name="T43" fmla="*/ 1065 h 3730"/>
                  <a:gd name="T44" fmla="*/ 2129 w 4266"/>
                  <a:gd name="T45" fmla="*/ 1598 h 3730"/>
                  <a:gd name="T46" fmla="*/ 0 w 4266"/>
                  <a:gd name="T47" fmla="*/ 1065 h 3730"/>
                  <a:gd name="T48" fmla="*/ 0 w 4266"/>
                  <a:gd name="T49" fmla="*/ 533 h 3730"/>
                  <a:gd name="T50" fmla="*/ 0 w 4266"/>
                  <a:gd name="T51" fmla="*/ 533 h 3730"/>
                  <a:gd name="T52" fmla="*/ 0 w 4266"/>
                  <a:gd name="T53" fmla="*/ 533 h 3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66" h="3730">
                    <a:moveTo>
                      <a:pt x="0" y="1598"/>
                    </a:moveTo>
                    <a:lnTo>
                      <a:pt x="2129" y="2132"/>
                    </a:lnTo>
                    <a:lnTo>
                      <a:pt x="4266" y="1598"/>
                    </a:lnTo>
                    <a:lnTo>
                      <a:pt x="4266" y="2132"/>
                    </a:lnTo>
                    <a:lnTo>
                      <a:pt x="2129" y="2665"/>
                    </a:lnTo>
                    <a:lnTo>
                      <a:pt x="0" y="2132"/>
                    </a:lnTo>
                    <a:lnTo>
                      <a:pt x="0" y="1598"/>
                    </a:lnTo>
                    <a:lnTo>
                      <a:pt x="0" y="1598"/>
                    </a:lnTo>
                    <a:lnTo>
                      <a:pt x="0" y="1598"/>
                    </a:lnTo>
                    <a:close/>
                    <a:moveTo>
                      <a:pt x="0" y="2665"/>
                    </a:moveTo>
                    <a:lnTo>
                      <a:pt x="2129" y="3197"/>
                    </a:lnTo>
                    <a:lnTo>
                      <a:pt x="4266" y="2665"/>
                    </a:lnTo>
                    <a:lnTo>
                      <a:pt x="4266" y="3197"/>
                    </a:lnTo>
                    <a:lnTo>
                      <a:pt x="2129" y="3730"/>
                    </a:lnTo>
                    <a:lnTo>
                      <a:pt x="0" y="3197"/>
                    </a:lnTo>
                    <a:lnTo>
                      <a:pt x="0" y="2665"/>
                    </a:lnTo>
                    <a:lnTo>
                      <a:pt x="0" y="2665"/>
                    </a:lnTo>
                    <a:lnTo>
                      <a:pt x="0" y="2665"/>
                    </a:lnTo>
                    <a:close/>
                    <a:moveTo>
                      <a:pt x="0" y="533"/>
                    </a:moveTo>
                    <a:lnTo>
                      <a:pt x="2129" y="0"/>
                    </a:lnTo>
                    <a:lnTo>
                      <a:pt x="4266" y="533"/>
                    </a:lnTo>
                    <a:lnTo>
                      <a:pt x="4266" y="1065"/>
                    </a:lnTo>
                    <a:lnTo>
                      <a:pt x="2129" y="1598"/>
                    </a:lnTo>
                    <a:lnTo>
                      <a:pt x="0" y="1065"/>
                    </a:lnTo>
                    <a:lnTo>
                      <a:pt x="0" y="533"/>
                    </a:lnTo>
                    <a:lnTo>
                      <a:pt x="0" y="533"/>
                    </a:lnTo>
                    <a:lnTo>
                      <a:pt x="0" y="533"/>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endParaRPr lang="en-US" sz="1765"/>
              </a:p>
            </p:txBody>
          </p:sp>
        </p:grpSp>
        <p:sp>
          <p:nvSpPr>
            <p:cNvPr id="75" name="Rectangle 74"/>
            <p:cNvSpPr/>
            <p:nvPr/>
          </p:nvSpPr>
          <p:spPr>
            <a:xfrm>
              <a:off x="320675" y="3677964"/>
              <a:ext cx="4350563" cy="1623683"/>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765"/>
            </a:p>
          </p:txBody>
        </p:sp>
        <p:sp>
          <p:nvSpPr>
            <p:cNvPr id="77" name="Rectangle 76"/>
            <p:cNvSpPr/>
            <p:nvPr/>
          </p:nvSpPr>
          <p:spPr bwMode="auto">
            <a:xfrm>
              <a:off x="366776" y="3721545"/>
              <a:ext cx="1820802" cy="1531736"/>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588"/>
                </a:spcAft>
              </a:pPr>
              <a:r>
                <a:rPr lang="en-US" sz="1765" dirty="0">
                  <a:gradFill>
                    <a:gsLst>
                      <a:gs pos="85841">
                        <a:srgbClr val="FFFFFF"/>
                      </a:gs>
                      <a:gs pos="0">
                        <a:srgbClr val="FFFFFF"/>
                      </a:gs>
                    </a:gsLst>
                    <a:lin ang="5400000" scaled="0"/>
                  </a:gradFill>
                </a:rPr>
                <a:t>Appliances</a:t>
              </a:r>
            </a:p>
          </p:txBody>
        </p:sp>
        <p:sp>
          <p:nvSpPr>
            <p:cNvPr id="79" name="Freeform 21"/>
            <p:cNvSpPr>
              <a:spLocks noEditPoints="1"/>
            </p:cNvSpPr>
            <p:nvPr/>
          </p:nvSpPr>
          <p:spPr bwMode="auto">
            <a:xfrm>
              <a:off x="1428746" y="4507678"/>
              <a:ext cx="618730" cy="611828"/>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5" name="TextBox 27"/>
            <p:cNvSpPr txBox="1"/>
            <p:nvPr/>
          </p:nvSpPr>
          <p:spPr>
            <a:xfrm>
              <a:off x="2189825" y="3684645"/>
              <a:ext cx="2480717" cy="1587980"/>
            </a:xfrm>
            <a:prstGeom prst="rect">
              <a:avLst/>
            </a:prstGeom>
          </p:spPr>
          <p:txBody>
            <a:bodyPr vert="horz" wrap="square" lIns="89630" tIns="89630" rIns="89630" bIns="44814" rtlCol="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48107">
                <a:lnSpc>
                  <a:spcPct val="90000"/>
                </a:lnSpc>
              </a:pPr>
              <a:r>
                <a:rPr lang="en-US" sz="1765" dirty="0"/>
                <a:t>Analytics </a:t>
              </a:r>
              <a:br>
                <a:rPr lang="en-US" sz="1765" dirty="0"/>
              </a:br>
              <a:r>
                <a:rPr lang="en-US" sz="1765" dirty="0"/>
                <a:t>platform system</a:t>
              </a:r>
            </a:p>
            <a:p>
              <a:pPr defTabSz="448107">
                <a:lnSpc>
                  <a:spcPct val="90000"/>
                </a:lnSpc>
              </a:pPr>
              <a:endParaRPr lang="en-US" sz="1371" dirty="0">
                <a:gradFill>
                  <a:gsLst>
                    <a:gs pos="2920">
                      <a:schemeClr val="tx1"/>
                    </a:gs>
                    <a:gs pos="100000">
                      <a:schemeClr val="tx1"/>
                    </a:gs>
                  </a:gsLst>
                  <a:lin ang="5400000" scaled="0"/>
                </a:gradFill>
              </a:endParaRPr>
            </a:p>
            <a:p>
              <a:pPr defTabSz="448107">
                <a:lnSpc>
                  <a:spcPct val="90000"/>
                </a:lnSpc>
              </a:pPr>
              <a:r>
                <a:rPr lang="en-US" sz="1371" dirty="0">
                  <a:gradFill>
                    <a:gsLst>
                      <a:gs pos="2920">
                        <a:schemeClr val="tx1"/>
                      </a:gs>
                      <a:gs pos="100000">
                        <a:schemeClr val="tx1"/>
                      </a:gs>
                    </a:gsLst>
                    <a:lin ang="5400000" scaled="0"/>
                  </a:gradFill>
                </a:rPr>
                <a:t>Turnkey Hadoop </a:t>
              </a:r>
              <a:br>
                <a:rPr lang="en-US" sz="1371" dirty="0">
                  <a:gradFill>
                    <a:gsLst>
                      <a:gs pos="2920">
                        <a:schemeClr val="tx1"/>
                      </a:gs>
                      <a:gs pos="100000">
                        <a:schemeClr val="tx1"/>
                      </a:gs>
                    </a:gsLst>
                    <a:lin ang="5400000" scaled="0"/>
                  </a:gradFill>
                </a:rPr>
              </a:br>
              <a:r>
                <a:rPr lang="en-US" sz="1371" dirty="0">
                  <a:gradFill>
                    <a:gsLst>
                      <a:gs pos="2920">
                        <a:schemeClr val="tx1"/>
                      </a:gs>
                      <a:gs pos="100000">
                        <a:schemeClr val="tx1"/>
                      </a:gs>
                    </a:gsLst>
                    <a:lin ang="5400000" scaled="0"/>
                  </a:gradFill>
                </a:rPr>
                <a:t>and relational </a:t>
              </a:r>
              <a:br>
                <a:rPr lang="en-US" sz="1371" dirty="0">
                  <a:gradFill>
                    <a:gsLst>
                      <a:gs pos="2920">
                        <a:schemeClr val="tx1"/>
                      </a:gs>
                      <a:gs pos="100000">
                        <a:schemeClr val="tx1"/>
                      </a:gs>
                    </a:gsLst>
                    <a:lin ang="5400000" scaled="0"/>
                  </a:gradFill>
                </a:rPr>
              </a:br>
              <a:r>
                <a:rPr lang="en-US" sz="1371" dirty="0">
                  <a:gradFill>
                    <a:gsLst>
                      <a:gs pos="2920">
                        <a:schemeClr val="tx1"/>
                      </a:gs>
                      <a:gs pos="100000">
                        <a:schemeClr val="tx1"/>
                      </a:gs>
                    </a:gsLst>
                    <a:lin ang="5400000" scaled="0"/>
                  </a:gradFill>
                </a:rPr>
                <a:t>warehouse appliance</a:t>
              </a:r>
            </a:p>
          </p:txBody>
        </p:sp>
      </p:grpSp>
      <p:sp>
        <p:nvSpPr>
          <p:cNvPr id="80" name="Rectangle 79"/>
          <p:cNvSpPr/>
          <p:nvPr/>
        </p:nvSpPr>
        <p:spPr>
          <a:xfrm>
            <a:off x="4626947" y="1962201"/>
            <a:ext cx="1404504" cy="1591539"/>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8626" dirty="0">
                <a:gradFill>
                  <a:gsLst>
                    <a:gs pos="0">
                      <a:schemeClr val="tx1"/>
                    </a:gs>
                    <a:gs pos="100000">
                      <a:schemeClr val="tx1"/>
                    </a:gs>
                  </a:gsLst>
                  <a:lin ang="16200000" scaled="0"/>
                </a:gradFill>
              </a:rPr>
              <a:t>1</a:t>
            </a:r>
          </a:p>
        </p:txBody>
      </p:sp>
      <p:sp>
        <p:nvSpPr>
          <p:cNvPr id="81" name="Rectangle 80"/>
          <p:cNvSpPr/>
          <p:nvPr/>
        </p:nvSpPr>
        <p:spPr>
          <a:xfrm>
            <a:off x="4626947" y="3606126"/>
            <a:ext cx="1404504" cy="1591539"/>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8626" dirty="0">
                <a:gradFill>
                  <a:gsLst>
                    <a:gs pos="0">
                      <a:schemeClr val="tx1"/>
                    </a:gs>
                    <a:gs pos="100000">
                      <a:schemeClr val="tx1"/>
                    </a:gs>
                  </a:gsLst>
                  <a:lin ang="16200000" scaled="0"/>
                </a:gradFill>
              </a:rPr>
              <a:t>3</a:t>
            </a:r>
          </a:p>
        </p:txBody>
      </p:sp>
      <p:sp>
        <p:nvSpPr>
          <p:cNvPr id="93" name="Rectangle 92"/>
          <p:cNvSpPr/>
          <p:nvPr/>
        </p:nvSpPr>
        <p:spPr>
          <a:xfrm>
            <a:off x="6170665" y="1962201"/>
            <a:ext cx="1404504" cy="1591539"/>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8626" dirty="0">
                <a:gradFill>
                  <a:gsLst>
                    <a:gs pos="0">
                      <a:schemeClr val="tx1"/>
                    </a:gs>
                    <a:gs pos="100000">
                      <a:schemeClr val="tx1"/>
                    </a:gs>
                  </a:gsLst>
                  <a:lin ang="16200000" scaled="0"/>
                </a:gradFill>
              </a:rPr>
              <a:t>2</a:t>
            </a:r>
          </a:p>
        </p:txBody>
      </p:sp>
      <p:sp>
        <p:nvSpPr>
          <p:cNvPr id="94" name="Rectangle 93"/>
          <p:cNvSpPr/>
          <p:nvPr/>
        </p:nvSpPr>
        <p:spPr>
          <a:xfrm>
            <a:off x="6170665" y="3606126"/>
            <a:ext cx="1404504" cy="1591539"/>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8626" dirty="0">
                <a:gradFill>
                  <a:gsLst>
                    <a:gs pos="0">
                      <a:schemeClr val="tx1"/>
                    </a:gs>
                    <a:gs pos="100000">
                      <a:schemeClr val="tx1"/>
                    </a:gs>
                  </a:gsLst>
                  <a:lin ang="16200000" scaled="0"/>
                </a:gradFill>
              </a:rPr>
              <a:t>4</a:t>
            </a:r>
          </a:p>
        </p:txBody>
      </p:sp>
      <p:sp useBgFill="1">
        <p:nvSpPr>
          <p:cNvPr id="6" name="Rectangle 5"/>
          <p:cNvSpPr/>
          <p:nvPr/>
        </p:nvSpPr>
        <p:spPr bwMode="auto">
          <a:xfrm>
            <a:off x="867" y="1058605"/>
            <a:ext cx="269201" cy="546741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pPr>
            <a:endParaRPr lang="en-US" sz="1961" b="1" dirty="0">
              <a:solidFill>
                <a:schemeClr val="bg1"/>
              </a:solidFill>
              <a:latin typeface="+mj-lt"/>
              <a:ea typeface="Segoe UI" pitchFamily="34" charset="0"/>
              <a:cs typeface="Segoe UI" pitchFamily="34" charset="0"/>
            </a:endParaRPr>
          </a:p>
        </p:txBody>
      </p:sp>
      <p:sp useBgFill="1">
        <p:nvSpPr>
          <p:cNvPr id="9" name="Rectangle 8"/>
          <p:cNvSpPr/>
          <p:nvPr/>
        </p:nvSpPr>
        <p:spPr bwMode="auto">
          <a:xfrm>
            <a:off x="11923492" y="933124"/>
            <a:ext cx="1539765" cy="55928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pPr>
            <a:endParaRPr lang="en-US" sz="1961" b="1" dirty="0">
              <a:solidFill>
                <a:schemeClr val="bg1"/>
              </a:solidFill>
              <a:latin typeface="+mj-lt"/>
              <a:ea typeface="Segoe UI" pitchFamily="34" charset="0"/>
              <a:cs typeface="Segoe UI" pitchFamily="34" charset="0"/>
            </a:endParaRPr>
          </a:p>
        </p:txBody>
      </p:sp>
      <p:sp useBgFill="1">
        <p:nvSpPr>
          <p:cNvPr id="10" name="Rectangle 9"/>
          <p:cNvSpPr/>
          <p:nvPr/>
        </p:nvSpPr>
        <p:spPr bwMode="auto">
          <a:xfrm>
            <a:off x="-1486988" y="6387096"/>
            <a:ext cx="13678125" cy="78426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pPr>
            <a:endParaRPr lang="en-US" sz="1961"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869870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0-#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1+#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80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750"/>
                                        <p:tgtEl>
                                          <p:spTgt spid="80"/>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93"/>
                                        </p:tgtEl>
                                        <p:attrNameLst>
                                          <p:attrName>style.visibility</p:attrName>
                                        </p:attrNameLst>
                                      </p:cBhvr>
                                      <p:to>
                                        <p:strVal val="visible"/>
                                      </p:to>
                                    </p:set>
                                    <p:animEffect transition="in" filter="fade">
                                      <p:cBhvr>
                                        <p:cTn id="18" dur="750"/>
                                        <p:tgtEl>
                                          <p:spTgt spid="93"/>
                                        </p:tgtEl>
                                      </p:cBhvr>
                                    </p:animEffect>
                                  </p:childTnLst>
                                </p:cTn>
                              </p:par>
                              <p:par>
                                <p:cTn id="19" presetID="10" presetClass="entr" presetSubtype="0" fill="hold" grpId="0" nodeType="withEffect">
                                  <p:stCondLst>
                                    <p:cond delay="1200"/>
                                  </p:stCondLst>
                                  <p:childTnLst>
                                    <p:set>
                                      <p:cBhvr>
                                        <p:cTn id="20" dur="1" fill="hold">
                                          <p:stCondLst>
                                            <p:cond delay="0"/>
                                          </p:stCondLst>
                                        </p:cTn>
                                        <p:tgtEl>
                                          <p:spTgt spid="81"/>
                                        </p:tgtEl>
                                        <p:attrNameLst>
                                          <p:attrName>style.visibility</p:attrName>
                                        </p:attrNameLst>
                                      </p:cBhvr>
                                      <p:to>
                                        <p:strVal val="visible"/>
                                      </p:to>
                                    </p:set>
                                    <p:animEffect transition="in" filter="fade">
                                      <p:cBhvr>
                                        <p:cTn id="21" dur="750"/>
                                        <p:tgtEl>
                                          <p:spTgt spid="81"/>
                                        </p:tgtEl>
                                      </p:cBhvr>
                                    </p:animEffect>
                                  </p:childTnLst>
                                </p:cTn>
                              </p:par>
                              <p:par>
                                <p:cTn id="22" presetID="10" presetClass="entr" presetSubtype="0" fill="hold" grpId="0" nodeType="withEffect">
                                  <p:stCondLst>
                                    <p:cond delay="1400"/>
                                  </p:stCondLst>
                                  <p:childTnLst>
                                    <p:set>
                                      <p:cBhvr>
                                        <p:cTn id="23" dur="1" fill="hold">
                                          <p:stCondLst>
                                            <p:cond delay="0"/>
                                          </p:stCondLst>
                                        </p:cTn>
                                        <p:tgtEl>
                                          <p:spTgt spid="94"/>
                                        </p:tgtEl>
                                        <p:attrNameLst>
                                          <p:attrName>style.visibility</p:attrName>
                                        </p:attrNameLst>
                                      </p:cBhvr>
                                      <p:to>
                                        <p:strVal val="visible"/>
                                      </p:to>
                                    </p:set>
                                    <p:animEffect transition="in" filter="fade">
                                      <p:cBhvr>
                                        <p:cTn id="24" dur="750"/>
                                        <p:tgtEl>
                                          <p:spTgt spid="94"/>
                                        </p:tgtEl>
                                      </p:cBhvr>
                                    </p:animEffect>
                                  </p:childTnLst>
                                </p:cTn>
                              </p:par>
                              <p:par>
                                <p:cTn id="25" presetID="2" presetClass="entr" presetSubtype="4" decel="100000" fill="hold" grpId="0" nodeType="withEffect">
                                  <p:stCondLst>
                                    <p:cond delay="2000"/>
                                  </p:stCondLst>
                                  <p:childTnLst>
                                    <p:set>
                                      <p:cBhvr>
                                        <p:cTn id="26" dur="1" fill="hold">
                                          <p:stCondLst>
                                            <p:cond delay="0"/>
                                          </p:stCondLst>
                                        </p:cTn>
                                        <p:tgtEl>
                                          <p:spTgt spid="61"/>
                                        </p:tgtEl>
                                        <p:attrNameLst>
                                          <p:attrName>style.visibility</p:attrName>
                                        </p:attrNameLst>
                                      </p:cBhvr>
                                      <p:to>
                                        <p:strVal val="visible"/>
                                      </p:to>
                                    </p:set>
                                    <p:anim calcmode="lin" valueType="num">
                                      <p:cBhvr additive="base">
                                        <p:cTn id="27" dur="750" fill="hold"/>
                                        <p:tgtEl>
                                          <p:spTgt spid="61"/>
                                        </p:tgtEl>
                                        <p:attrNameLst>
                                          <p:attrName>ppt_x</p:attrName>
                                        </p:attrNameLst>
                                      </p:cBhvr>
                                      <p:tavLst>
                                        <p:tav tm="0">
                                          <p:val>
                                            <p:strVal val="#ppt_x"/>
                                          </p:val>
                                        </p:tav>
                                        <p:tav tm="100000">
                                          <p:val>
                                            <p:strVal val="#ppt_x"/>
                                          </p:val>
                                        </p:tav>
                                      </p:tavLst>
                                    </p:anim>
                                    <p:anim calcmode="lin" valueType="num">
                                      <p:cBhvr additive="base">
                                        <p:cTn id="28" dur="75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80" grpId="0" animBg="1"/>
      <p:bldP spid="81" grpId="0" animBg="1"/>
      <p:bldP spid="93" grpId="0" animBg="1"/>
      <p:bldP spid="9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oup 116"/>
          <p:cNvGrpSpPr/>
          <p:nvPr/>
        </p:nvGrpSpPr>
        <p:grpSpPr>
          <a:xfrm>
            <a:off x="9076358" y="3362902"/>
            <a:ext cx="2173512" cy="2201708"/>
            <a:chOff x="8983693" y="3362902"/>
            <a:chExt cx="2173512" cy="2201708"/>
          </a:xfrm>
        </p:grpSpPr>
        <p:sp>
          <p:nvSpPr>
            <p:cNvPr id="91" name="Freeform 90"/>
            <p:cNvSpPr>
              <a:spLocks/>
            </p:cNvSpPr>
            <p:nvPr/>
          </p:nvSpPr>
          <p:spPr bwMode="auto">
            <a:xfrm>
              <a:off x="8983693" y="3892492"/>
              <a:ext cx="1727568" cy="1672118"/>
            </a:xfrm>
            <a:custGeom>
              <a:avLst/>
              <a:gdLst>
                <a:gd name="connsiteX0" fmla="*/ 1374746 w 4797425"/>
                <a:gd name="connsiteY0" fmla="*/ 3544713 h 4643438"/>
                <a:gd name="connsiteX1" fmla="*/ 1374746 w 4797425"/>
                <a:gd name="connsiteY1" fmla="*/ 4431859 h 4643438"/>
                <a:gd name="connsiteX2" fmla="*/ 1374746 w 4797425"/>
                <a:gd name="connsiteY2" fmla="*/ 4473575 h 4643438"/>
                <a:gd name="connsiteX3" fmla="*/ 1612356 w 4797425"/>
                <a:gd name="connsiteY3" fmla="*/ 4473575 h 4643438"/>
                <a:gd name="connsiteX4" fmla="*/ 1932802 w 4797425"/>
                <a:gd name="connsiteY4" fmla="*/ 4473575 h 4643438"/>
                <a:gd name="connsiteX5" fmla="*/ 1935194 w 4797425"/>
                <a:gd name="connsiteY5" fmla="*/ 4473575 h 4643438"/>
                <a:gd name="connsiteX6" fmla="*/ 1935194 w 4797425"/>
                <a:gd name="connsiteY6" fmla="*/ 4380126 h 4643438"/>
                <a:gd name="connsiteX7" fmla="*/ 1935194 w 4797425"/>
                <a:gd name="connsiteY7" fmla="*/ 3544713 h 4643438"/>
                <a:gd name="connsiteX8" fmla="*/ 1374746 w 4797425"/>
                <a:gd name="connsiteY8" fmla="*/ 3544713 h 4643438"/>
                <a:gd name="connsiteX9" fmla="*/ 2762250 w 4797425"/>
                <a:gd name="connsiteY9" fmla="*/ 2568575 h 4643438"/>
                <a:gd name="connsiteX10" fmla="*/ 2762250 w 4797425"/>
                <a:gd name="connsiteY10" fmla="*/ 3013075 h 4643438"/>
                <a:gd name="connsiteX11" fmla="*/ 3321050 w 4797425"/>
                <a:gd name="connsiteY11" fmla="*/ 3013075 h 4643438"/>
                <a:gd name="connsiteX12" fmla="*/ 3321050 w 4797425"/>
                <a:gd name="connsiteY12" fmla="*/ 2568575 h 4643438"/>
                <a:gd name="connsiteX13" fmla="*/ 1374775 w 4797425"/>
                <a:gd name="connsiteY13" fmla="*/ 2568575 h 4643438"/>
                <a:gd name="connsiteX14" fmla="*/ 1374775 w 4797425"/>
                <a:gd name="connsiteY14" fmla="*/ 3013075 h 4643438"/>
                <a:gd name="connsiteX15" fmla="*/ 1935163 w 4797425"/>
                <a:gd name="connsiteY15" fmla="*/ 3013075 h 4643438"/>
                <a:gd name="connsiteX16" fmla="*/ 1935163 w 4797425"/>
                <a:gd name="connsiteY16" fmla="*/ 2568575 h 4643438"/>
                <a:gd name="connsiteX17" fmla="*/ 2677155 w 4797425"/>
                <a:gd name="connsiteY17" fmla="*/ 2398713 h 4643438"/>
                <a:gd name="connsiteX18" fmla="*/ 3406147 w 4797425"/>
                <a:gd name="connsiteY18" fmla="*/ 2398713 h 4643438"/>
                <a:gd name="connsiteX19" fmla="*/ 3490913 w 4797425"/>
                <a:gd name="connsiteY19" fmla="*/ 2483494 h 4643438"/>
                <a:gd name="connsiteX20" fmla="*/ 3490913 w 4797425"/>
                <a:gd name="connsiteY20" fmla="*/ 3098157 h 4643438"/>
                <a:gd name="connsiteX21" fmla="*/ 3406147 w 4797425"/>
                <a:gd name="connsiteY21" fmla="*/ 3182938 h 4643438"/>
                <a:gd name="connsiteX22" fmla="*/ 2677155 w 4797425"/>
                <a:gd name="connsiteY22" fmla="*/ 3182938 h 4643438"/>
                <a:gd name="connsiteX23" fmla="*/ 2592388 w 4797425"/>
                <a:gd name="connsiteY23" fmla="*/ 3098157 h 4643438"/>
                <a:gd name="connsiteX24" fmla="*/ 2592388 w 4797425"/>
                <a:gd name="connsiteY24" fmla="*/ 2483494 h 4643438"/>
                <a:gd name="connsiteX25" fmla="*/ 2677155 w 4797425"/>
                <a:gd name="connsiteY25" fmla="*/ 2398713 h 4643438"/>
                <a:gd name="connsiteX26" fmla="*/ 1289830 w 4797425"/>
                <a:gd name="connsiteY26" fmla="*/ 2398713 h 4643438"/>
                <a:gd name="connsiteX27" fmla="*/ 2020110 w 4797425"/>
                <a:gd name="connsiteY27" fmla="*/ 2398713 h 4643438"/>
                <a:gd name="connsiteX28" fmla="*/ 2105026 w 4797425"/>
                <a:gd name="connsiteY28" fmla="*/ 2483494 h 4643438"/>
                <a:gd name="connsiteX29" fmla="*/ 2105026 w 4797425"/>
                <a:gd name="connsiteY29" fmla="*/ 3098157 h 4643438"/>
                <a:gd name="connsiteX30" fmla="*/ 2020110 w 4797425"/>
                <a:gd name="connsiteY30" fmla="*/ 3182938 h 4643438"/>
                <a:gd name="connsiteX31" fmla="*/ 1289830 w 4797425"/>
                <a:gd name="connsiteY31" fmla="*/ 3182938 h 4643438"/>
                <a:gd name="connsiteX32" fmla="*/ 1204913 w 4797425"/>
                <a:gd name="connsiteY32" fmla="*/ 3098157 h 4643438"/>
                <a:gd name="connsiteX33" fmla="*/ 1204913 w 4797425"/>
                <a:gd name="connsiteY33" fmla="*/ 2483494 h 4643438"/>
                <a:gd name="connsiteX34" fmla="*/ 1289830 w 4797425"/>
                <a:gd name="connsiteY34" fmla="*/ 2398713 h 4643438"/>
                <a:gd name="connsiteX35" fmla="*/ 2762250 w 4797425"/>
                <a:gd name="connsiteY35" fmla="*/ 1587500 h 4643438"/>
                <a:gd name="connsiteX36" fmla="*/ 2762250 w 4797425"/>
                <a:gd name="connsiteY36" fmla="*/ 2036763 h 4643438"/>
                <a:gd name="connsiteX37" fmla="*/ 3321050 w 4797425"/>
                <a:gd name="connsiteY37" fmla="*/ 2036763 h 4643438"/>
                <a:gd name="connsiteX38" fmla="*/ 3321050 w 4797425"/>
                <a:gd name="connsiteY38" fmla="*/ 1587500 h 4643438"/>
                <a:gd name="connsiteX39" fmla="*/ 1374775 w 4797425"/>
                <a:gd name="connsiteY39" fmla="*/ 1587500 h 4643438"/>
                <a:gd name="connsiteX40" fmla="*/ 1374775 w 4797425"/>
                <a:gd name="connsiteY40" fmla="*/ 2036763 h 4643438"/>
                <a:gd name="connsiteX41" fmla="*/ 1935163 w 4797425"/>
                <a:gd name="connsiteY41" fmla="*/ 2036763 h 4643438"/>
                <a:gd name="connsiteX42" fmla="*/ 1935163 w 4797425"/>
                <a:gd name="connsiteY42" fmla="*/ 1587500 h 4643438"/>
                <a:gd name="connsiteX43" fmla="*/ 2677155 w 4797425"/>
                <a:gd name="connsiteY43" fmla="*/ 1417638 h 4643438"/>
                <a:gd name="connsiteX44" fmla="*/ 3406147 w 4797425"/>
                <a:gd name="connsiteY44" fmla="*/ 1417638 h 4643438"/>
                <a:gd name="connsiteX45" fmla="*/ 3490913 w 4797425"/>
                <a:gd name="connsiteY45" fmla="*/ 1502476 h 4643438"/>
                <a:gd name="connsiteX46" fmla="*/ 3490913 w 4797425"/>
                <a:gd name="connsiteY46" fmla="*/ 2121789 h 4643438"/>
                <a:gd name="connsiteX47" fmla="*/ 3406147 w 4797425"/>
                <a:gd name="connsiteY47" fmla="*/ 2206626 h 4643438"/>
                <a:gd name="connsiteX48" fmla="*/ 2677155 w 4797425"/>
                <a:gd name="connsiteY48" fmla="*/ 2206626 h 4643438"/>
                <a:gd name="connsiteX49" fmla="*/ 2592388 w 4797425"/>
                <a:gd name="connsiteY49" fmla="*/ 2121789 h 4643438"/>
                <a:gd name="connsiteX50" fmla="*/ 2592388 w 4797425"/>
                <a:gd name="connsiteY50" fmla="*/ 1502476 h 4643438"/>
                <a:gd name="connsiteX51" fmla="*/ 2677155 w 4797425"/>
                <a:gd name="connsiteY51" fmla="*/ 1417638 h 4643438"/>
                <a:gd name="connsiteX52" fmla="*/ 1289830 w 4797425"/>
                <a:gd name="connsiteY52" fmla="*/ 1417638 h 4643438"/>
                <a:gd name="connsiteX53" fmla="*/ 2020110 w 4797425"/>
                <a:gd name="connsiteY53" fmla="*/ 1417638 h 4643438"/>
                <a:gd name="connsiteX54" fmla="*/ 2105026 w 4797425"/>
                <a:gd name="connsiteY54" fmla="*/ 1502476 h 4643438"/>
                <a:gd name="connsiteX55" fmla="*/ 2105026 w 4797425"/>
                <a:gd name="connsiteY55" fmla="*/ 2121789 h 4643438"/>
                <a:gd name="connsiteX56" fmla="*/ 2020110 w 4797425"/>
                <a:gd name="connsiteY56" fmla="*/ 2206626 h 4643438"/>
                <a:gd name="connsiteX57" fmla="*/ 1289830 w 4797425"/>
                <a:gd name="connsiteY57" fmla="*/ 2206626 h 4643438"/>
                <a:gd name="connsiteX58" fmla="*/ 1204913 w 4797425"/>
                <a:gd name="connsiteY58" fmla="*/ 2121789 h 4643438"/>
                <a:gd name="connsiteX59" fmla="*/ 1204913 w 4797425"/>
                <a:gd name="connsiteY59" fmla="*/ 1502476 h 4643438"/>
                <a:gd name="connsiteX60" fmla="*/ 1289830 w 4797425"/>
                <a:gd name="connsiteY60" fmla="*/ 1417638 h 4643438"/>
                <a:gd name="connsiteX61" fmla="*/ 2762250 w 4797425"/>
                <a:gd name="connsiteY61" fmla="*/ 649288 h 4643438"/>
                <a:gd name="connsiteX62" fmla="*/ 2762250 w 4797425"/>
                <a:gd name="connsiteY62" fmla="*/ 1095376 h 4643438"/>
                <a:gd name="connsiteX63" fmla="*/ 3321050 w 4797425"/>
                <a:gd name="connsiteY63" fmla="*/ 1095376 h 4643438"/>
                <a:gd name="connsiteX64" fmla="*/ 3321050 w 4797425"/>
                <a:gd name="connsiteY64" fmla="*/ 649288 h 4643438"/>
                <a:gd name="connsiteX65" fmla="*/ 1374775 w 4797425"/>
                <a:gd name="connsiteY65" fmla="*/ 649288 h 4643438"/>
                <a:gd name="connsiteX66" fmla="*/ 1374775 w 4797425"/>
                <a:gd name="connsiteY66" fmla="*/ 1095376 h 4643438"/>
                <a:gd name="connsiteX67" fmla="*/ 1935163 w 4797425"/>
                <a:gd name="connsiteY67" fmla="*/ 1095376 h 4643438"/>
                <a:gd name="connsiteX68" fmla="*/ 1935163 w 4797425"/>
                <a:gd name="connsiteY68" fmla="*/ 649288 h 4643438"/>
                <a:gd name="connsiteX69" fmla="*/ 2677155 w 4797425"/>
                <a:gd name="connsiteY69" fmla="*/ 479425 h 4643438"/>
                <a:gd name="connsiteX70" fmla="*/ 3406147 w 4797425"/>
                <a:gd name="connsiteY70" fmla="*/ 479425 h 4643438"/>
                <a:gd name="connsiteX71" fmla="*/ 3490913 w 4797425"/>
                <a:gd name="connsiteY71" fmla="*/ 564378 h 4643438"/>
                <a:gd name="connsiteX72" fmla="*/ 3490913 w 4797425"/>
                <a:gd name="connsiteY72" fmla="*/ 1180285 h 4643438"/>
                <a:gd name="connsiteX73" fmla="*/ 3406147 w 4797425"/>
                <a:gd name="connsiteY73" fmla="*/ 1265238 h 4643438"/>
                <a:gd name="connsiteX74" fmla="*/ 2677155 w 4797425"/>
                <a:gd name="connsiteY74" fmla="*/ 1265238 h 4643438"/>
                <a:gd name="connsiteX75" fmla="*/ 2592388 w 4797425"/>
                <a:gd name="connsiteY75" fmla="*/ 1180285 h 4643438"/>
                <a:gd name="connsiteX76" fmla="*/ 2592388 w 4797425"/>
                <a:gd name="connsiteY76" fmla="*/ 564378 h 4643438"/>
                <a:gd name="connsiteX77" fmla="*/ 2677155 w 4797425"/>
                <a:gd name="connsiteY77" fmla="*/ 479425 h 4643438"/>
                <a:gd name="connsiteX78" fmla="*/ 1289830 w 4797425"/>
                <a:gd name="connsiteY78" fmla="*/ 479425 h 4643438"/>
                <a:gd name="connsiteX79" fmla="*/ 2020110 w 4797425"/>
                <a:gd name="connsiteY79" fmla="*/ 479425 h 4643438"/>
                <a:gd name="connsiteX80" fmla="*/ 2105026 w 4797425"/>
                <a:gd name="connsiteY80" fmla="*/ 564378 h 4643438"/>
                <a:gd name="connsiteX81" fmla="*/ 2105026 w 4797425"/>
                <a:gd name="connsiteY81" fmla="*/ 1180285 h 4643438"/>
                <a:gd name="connsiteX82" fmla="*/ 2020110 w 4797425"/>
                <a:gd name="connsiteY82" fmla="*/ 1265238 h 4643438"/>
                <a:gd name="connsiteX83" fmla="*/ 1289830 w 4797425"/>
                <a:gd name="connsiteY83" fmla="*/ 1265238 h 4643438"/>
                <a:gd name="connsiteX84" fmla="*/ 1204913 w 4797425"/>
                <a:gd name="connsiteY84" fmla="*/ 1180285 h 4643438"/>
                <a:gd name="connsiteX85" fmla="*/ 1204913 w 4797425"/>
                <a:gd name="connsiteY85" fmla="*/ 564378 h 4643438"/>
                <a:gd name="connsiteX86" fmla="*/ 1289830 w 4797425"/>
                <a:gd name="connsiteY86" fmla="*/ 479425 h 4643438"/>
                <a:gd name="connsiteX87" fmla="*/ 900113 w 4797425"/>
                <a:gd name="connsiteY87" fmla="*/ 169863 h 4643438"/>
                <a:gd name="connsiteX88" fmla="*/ 900113 w 4797425"/>
                <a:gd name="connsiteY88" fmla="*/ 4473575 h 4643438"/>
                <a:gd name="connsiteX89" fmla="*/ 1204913 w 4797425"/>
                <a:gd name="connsiteY89" fmla="*/ 4473575 h 4643438"/>
                <a:gd name="connsiteX90" fmla="*/ 1204913 w 4797425"/>
                <a:gd name="connsiteY90" fmla="*/ 4365191 h 4643438"/>
                <a:gd name="connsiteX91" fmla="*/ 1204913 w 4797425"/>
                <a:gd name="connsiteY91" fmla="*/ 3459869 h 4643438"/>
                <a:gd name="connsiteX92" fmla="*/ 1289830 w 4797425"/>
                <a:gd name="connsiteY92" fmla="*/ 3375025 h 4643438"/>
                <a:gd name="connsiteX93" fmla="*/ 2020110 w 4797425"/>
                <a:gd name="connsiteY93" fmla="*/ 3375025 h 4643438"/>
                <a:gd name="connsiteX94" fmla="*/ 2105026 w 4797425"/>
                <a:gd name="connsiteY94" fmla="*/ 3459869 h 4643438"/>
                <a:gd name="connsiteX95" fmla="*/ 2105026 w 4797425"/>
                <a:gd name="connsiteY95" fmla="*/ 4466587 h 4643438"/>
                <a:gd name="connsiteX96" fmla="*/ 2105026 w 4797425"/>
                <a:gd name="connsiteY96" fmla="*/ 4473575 h 4643438"/>
                <a:gd name="connsiteX97" fmla="*/ 2230369 w 4797425"/>
                <a:gd name="connsiteY97" fmla="*/ 4473575 h 4643438"/>
                <a:gd name="connsiteX98" fmla="*/ 3888949 w 4797425"/>
                <a:gd name="connsiteY98" fmla="*/ 4473575 h 4643438"/>
                <a:gd name="connsiteX99" fmla="*/ 3932238 w 4797425"/>
                <a:gd name="connsiteY99" fmla="*/ 4473575 h 4643438"/>
                <a:gd name="connsiteX100" fmla="*/ 3932238 w 4797425"/>
                <a:gd name="connsiteY100" fmla="*/ 169863 h 4643438"/>
                <a:gd name="connsiteX101" fmla="*/ 815077 w 4797425"/>
                <a:gd name="connsiteY101" fmla="*/ 0 h 4643438"/>
                <a:gd name="connsiteX102" fmla="*/ 4017274 w 4797425"/>
                <a:gd name="connsiteY102" fmla="*/ 0 h 4643438"/>
                <a:gd name="connsiteX103" fmla="*/ 4102100 w 4797425"/>
                <a:gd name="connsiteY103" fmla="*/ 84889 h 4643438"/>
                <a:gd name="connsiteX104" fmla="*/ 4102100 w 4797425"/>
                <a:gd name="connsiteY104" fmla="*/ 4459022 h 4643438"/>
                <a:gd name="connsiteX105" fmla="*/ 4102100 w 4797425"/>
                <a:gd name="connsiteY105" fmla="*/ 4473575 h 4643438"/>
                <a:gd name="connsiteX106" fmla="*/ 4134121 w 4797425"/>
                <a:gd name="connsiteY106" fmla="*/ 4473575 h 4643438"/>
                <a:gd name="connsiteX107" fmla="*/ 4712590 w 4797425"/>
                <a:gd name="connsiteY107" fmla="*/ 4473575 h 4643438"/>
                <a:gd name="connsiteX108" fmla="*/ 4797425 w 4797425"/>
                <a:gd name="connsiteY108" fmla="*/ 4558507 h 4643438"/>
                <a:gd name="connsiteX109" fmla="*/ 4712590 w 4797425"/>
                <a:gd name="connsiteY109" fmla="*/ 4643438 h 4643438"/>
                <a:gd name="connsiteX110" fmla="*/ 4292155 w 4797425"/>
                <a:gd name="connsiteY110" fmla="*/ 4643438 h 4643438"/>
                <a:gd name="connsiteX111" fmla="*/ 4017274 w 4797425"/>
                <a:gd name="connsiteY111" fmla="*/ 4643438 h 4643438"/>
                <a:gd name="connsiteX112" fmla="*/ 3897988 w 4797425"/>
                <a:gd name="connsiteY112" fmla="*/ 4643438 h 4643438"/>
                <a:gd name="connsiteX113" fmla="*/ 3726352 w 4797425"/>
                <a:gd name="connsiteY113" fmla="*/ 4643438 h 4643438"/>
                <a:gd name="connsiteX114" fmla="*/ 3529242 w 4797425"/>
                <a:gd name="connsiteY114" fmla="*/ 4643438 h 4643438"/>
                <a:gd name="connsiteX115" fmla="*/ 3453606 w 4797425"/>
                <a:gd name="connsiteY115" fmla="*/ 4643438 h 4643438"/>
                <a:gd name="connsiteX116" fmla="*/ 3198451 w 4797425"/>
                <a:gd name="connsiteY116" fmla="*/ 4643438 h 4643438"/>
                <a:gd name="connsiteX117" fmla="*/ 3185070 w 4797425"/>
                <a:gd name="connsiteY117" fmla="*/ 4643438 h 4643438"/>
                <a:gd name="connsiteX118" fmla="*/ 2960299 w 4797425"/>
                <a:gd name="connsiteY118" fmla="*/ 4643438 h 4643438"/>
                <a:gd name="connsiteX119" fmla="*/ 2864624 w 4797425"/>
                <a:gd name="connsiteY119" fmla="*/ 4643438 h 4643438"/>
                <a:gd name="connsiteX120" fmla="*/ 2738565 w 4797425"/>
                <a:gd name="connsiteY120" fmla="*/ 4643438 h 4643438"/>
                <a:gd name="connsiteX121" fmla="*/ 2567056 w 4797425"/>
                <a:gd name="connsiteY121" fmla="*/ 4643438 h 4643438"/>
                <a:gd name="connsiteX122" fmla="*/ 2532662 w 4797425"/>
                <a:gd name="connsiteY122" fmla="*/ 4643438 h 4643438"/>
                <a:gd name="connsiteX123" fmla="*/ 2342004 w 4797425"/>
                <a:gd name="connsiteY123" fmla="*/ 4643438 h 4643438"/>
                <a:gd name="connsiteX124" fmla="*/ 2291521 w 4797425"/>
                <a:gd name="connsiteY124" fmla="*/ 4643438 h 4643438"/>
                <a:gd name="connsiteX125" fmla="*/ 2166004 w 4797425"/>
                <a:gd name="connsiteY125" fmla="*/ 4643438 h 4643438"/>
                <a:gd name="connsiteX126" fmla="*/ 2037169 w 4797425"/>
                <a:gd name="connsiteY126" fmla="*/ 4643438 h 4643438"/>
                <a:gd name="connsiteX127" fmla="*/ 2020110 w 4797425"/>
                <a:gd name="connsiteY127" fmla="*/ 4643438 h 4643438"/>
                <a:gd name="connsiteX128" fmla="*/ 2004077 w 4797425"/>
                <a:gd name="connsiteY128" fmla="*/ 4643438 h 4643438"/>
                <a:gd name="connsiteX129" fmla="*/ 1803155 w 4797425"/>
                <a:gd name="connsiteY129" fmla="*/ 4643438 h 4643438"/>
                <a:gd name="connsiteX130" fmla="*/ 1786288 w 4797425"/>
                <a:gd name="connsiteY130" fmla="*/ 4643438 h 4643438"/>
                <a:gd name="connsiteX131" fmla="*/ 1596864 w 4797425"/>
                <a:gd name="connsiteY131" fmla="*/ 4643438 h 4643438"/>
                <a:gd name="connsiteX132" fmla="*/ 1588630 w 4797425"/>
                <a:gd name="connsiteY132" fmla="*/ 4643438 h 4643438"/>
                <a:gd name="connsiteX133" fmla="*/ 1433825 w 4797425"/>
                <a:gd name="connsiteY133" fmla="*/ 4643438 h 4643438"/>
                <a:gd name="connsiteX134" fmla="*/ 1392747 w 4797425"/>
                <a:gd name="connsiteY134" fmla="*/ 4643438 h 4643438"/>
                <a:gd name="connsiteX135" fmla="*/ 1295192 w 4797425"/>
                <a:gd name="connsiteY135" fmla="*/ 4643438 h 4643438"/>
                <a:gd name="connsiteX136" fmla="*/ 1289830 w 4797425"/>
                <a:gd name="connsiteY136" fmla="*/ 4643438 h 4643438"/>
                <a:gd name="connsiteX137" fmla="*/ 1215352 w 4797425"/>
                <a:gd name="connsiteY137" fmla="*/ 4643438 h 4643438"/>
                <a:gd name="connsiteX138" fmla="*/ 1214658 w 4797425"/>
                <a:gd name="connsiteY138" fmla="*/ 4643438 h 4643438"/>
                <a:gd name="connsiteX139" fmla="*/ 1144893 w 4797425"/>
                <a:gd name="connsiteY139" fmla="*/ 4643438 h 4643438"/>
                <a:gd name="connsiteX140" fmla="*/ 1083229 w 4797425"/>
                <a:gd name="connsiteY140" fmla="*/ 4643438 h 4643438"/>
                <a:gd name="connsiteX141" fmla="*/ 1053517 w 4797425"/>
                <a:gd name="connsiteY141" fmla="*/ 4643438 h 4643438"/>
                <a:gd name="connsiteX142" fmla="*/ 1029775 w 4797425"/>
                <a:gd name="connsiteY142" fmla="*/ 4643438 h 4643438"/>
                <a:gd name="connsiteX143" fmla="*/ 912800 w 4797425"/>
                <a:gd name="connsiteY143" fmla="*/ 4643438 h 4643438"/>
                <a:gd name="connsiteX144" fmla="*/ 908476 w 4797425"/>
                <a:gd name="connsiteY144" fmla="*/ 4643438 h 4643438"/>
                <a:gd name="connsiteX145" fmla="*/ 865111 w 4797425"/>
                <a:gd name="connsiteY145" fmla="*/ 4643438 h 4643438"/>
                <a:gd name="connsiteX146" fmla="*/ 815077 w 4797425"/>
                <a:gd name="connsiteY146" fmla="*/ 4643438 h 4643438"/>
                <a:gd name="connsiteX147" fmla="*/ 778687 w 4797425"/>
                <a:gd name="connsiteY147" fmla="*/ 4643438 h 4643438"/>
                <a:gd name="connsiteX148" fmla="*/ 84835 w 4797425"/>
                <a:gd name="connsiteY148" fmla="*/ 4643438 h 4643438"/>
                <a:gd name="connsiteX149" fmla="*/ 0 w 4797425"/>
                <a:gd name="connsiteY149" fmla="*/ 4558507 h 4643438"/>
                <a:gd name="connsiteX150" fmla="*/ 84835 w 4797425"/>
                <a:gd name="connsiteY150" fmla="*/ 4473575 h 4643438"/>
                <a:gd name="connsiteX151" fmla="*/ 505270 w 4797425"/>
                <a:gd name="connsiteY151" fmla="*/ 4473575 h 4643438"/>
                <a:gd name="connsiteX152" fmla="*/ 730250 w 4797425"/>
                <a:gd name="connsiteY152" fmla="*/ 4473575 h 4643438"/>
                <a:gd name="connsiteX153" fmla="*/ 730250 w 4797425"/>
                <a:gd name="connsiteY153" fmla="*/ 4152114 h 4643438"/>
                <a:gd name="connsiteX154" fmla="*/ 730250 w 4797425"/>
                <a:gd name="connsiteY154" fmla="*/ 84889 h 4643438"/>
                <a:gd name="connsiteX155" fmla="*/ 815077 w 4797425"/>
                <a:gd name="connsiteY155" fmla="*/ 0 h 464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797425" h="4643438">
                  <a:moveTo>
                    <a:pt x="1374746" y="3544713"/>
                  </a:moveTo>
                  <a:cubicBezTo>
                    <a:pt x="1374746" y="4051654"/>
                    <a:pt x="1374746" y="4305124"/>
                    <a:pt x="1374746" y="4431859"/>
                  </a:cubicBezTo>
                  <a:lnTo>
                    <a:pt x="1374746" y="4473575"/>
                  </a:lnTo>
                  <a:lnTo>
                    <a:pt x="1612356" y="4473575"/>
                  </a:lnTo>
                  <a:cubicBezTo>
                    <a:pt x="1723079" y="4473575"/>
                    <a:pt x="1829847" y="4473575"/>
                    <a:pt x="1932802" y="4473575"/>
                  </a:cubicBezTo>
                  <a:lnTo>
                    <a:pt x="1935194" y="4473575"/>
                  </a:lnTo>
                  <a:lnTo>
                    <a:pt x="1935194" y="4380126"/>
                  </a:lnTo>
                  <a:cubicBezTo>
                    <a:pt x="1935194" y="3544713"/>
                    <a:pt x="1935194" y="3544713"/>
                    <a:pt x="1935194" y="3544713"/>
                  </a:cubicBezTo>
                  <a:cubicBezTo>
                    <a:pt x="1374746" y="3544713"/>
                    <a:pt x="1374746" y="3544713"/>
                    <a:pt x="1374746" y="3544713"/>
                  </a:cubicBezTo>
                  <a:close/>
                  <a:moveTo>
                    <a:pt x="2762250" y="2568575"/>
                  </a:moveTo>
                  <a:lnTo>
                    <a:pt x="2762250" y="3013075"/>
                  </a:lnTo>
                  <a:lnTo>
                    <a:pt x="3321050" y="3013075"/>
                  </a:lnTo>
                  <a:lnTo>
                    <a:pt x="3321050" y="2568575"/>
                  </a:lnTo>
                  <a:close/>
                  <a:moveTo>
                    <a:pt x="1374775" y="2568575"/>
                  </a:moveTo>
                  <a:lnTo>
                    <a:pt x="1374775" y="3013075"/>
                  </a:lnTo>
                  <a:lnTo>
                    <a:pt x="1935163" y="3013075"/>
                  </a:lnTo>
                  <a:lnTo>
                    <a:pt x="1935163" y="2568575"/>
                  </a:lnTo>
                  <a:close/>
                  <a:moveTo>
                    <a:pt x="2677155" y="2398713"/>
                  </a:moveTo>
                  <a:cubicBezTo>
                    <a:pt x="3406147" y="2398713"/>
                    <a:pt x="3406147" y="2398713"/>
                    <a:pt x="3406147" y="2398713"/>
                  </a:cubicBezTo>
                  <a:cubicBezTo>
                    <a:pt x="3452768" y="2398713"/>
                    <a:pt x="3490913" y="2436865"/>
                    <a:pt x="3490913" y="2483494"/>
                  </a:cubicBezTo>
                  <a:cubicBezTo>
                    <a:pt x="3490913" y="3098157"/>
                    <a:pt x="3490913" y="3098157"/>
                    <a:pt x="3490913" y="3098157"/>
                  </a:cubicBezTo>
                  <a:cubicBezTo>
                    <a:pt x="3490913" y="3144787"/>
                    <a:pt x="3452768" y="3182938"/>
                    <a:pt x="3406147" y="3182938"/>
                  </a:cubicBezTo>
                  <a:cubicBezTo>
                    <a:pt x="2677155" y="3182938"/>
                    <a:pt x="2677155" y="3182938"/>
                    <a:pt x="2677155" y="3182938"/>
                  </a:cubicBezTo>
                  <a:cubicBezTo>
                    <a:pt x="2630533" y="3182938"/>
                    <a:pt x="2592388" y="3144787"/>
                    <a:pt x="2592388" y="3098157"/>
                  </a:cubicBezTo>
                  <a:cubicBezTo>
                    <a:pt x="2592388" y="2483494"/>
                    <a:pt x="2592388" y="2483494"/>
                    <a:pt x="2592388" y="2483494"/>
                  </a:cubicBezTo>
                  <a:cubicBezTo>
                    <a:pt x="2592388" y="2436865"/>
                    <a:pt x="2630533" y="2398713"/>
                    <a:pt x="2677155" y="2398713"/>
                  </a:cubicBezTo>
                  <a:close/>
                  <a:moveTo>
                    <a:pt x="1289830" y="2398713"/>
                  </a:moveTo>
                  <a:cubicBezTo>
                    <a:pt x="2020110" y="2398713"/>
                    <a:pt x="2020110" y="2398713"/>
                    <a:pt x="2020110" y="2398713"/>
                  </a:cubicBezTo>
                  <a:cubicBezTo>
                    <a:pt x="2066814" y="2398713"/>
                    <a:pt x="2105026" y="2436865"/>
                    <a:pt x="2105026" y="2483494"/>
                  </a:cubicBezTo>
                  <a:cubicBezTo>
                    <a:pt x="2105026" y="3098157"/>
                    <a:pt x="2105026" y="3098157"/>
                    <a:pt x="2105026" y="3098157"/>
                  </a:cubicBezTo>
                  <a:cubicBezTo>
                    <a:pt x="2105026" y="3144787"/>
                    <a:pt x="2066814" y="3182938"/>
                    <a:pt x="2020110" y="3182938"/>
                  </a:cubicBezTo>
                  <a:cubicBezTo>
                    <a:pt x="1289830" y="3182938"/>
                    <a:pt x="1289830" y="3182938"/>
                    <a:pt x="1289830" y="3182938"/>
                  </a:cubicBezTo>
                  <a:cubicBezTo>
                    <a:pt x="1243126" y="3182938"/>
                    <a:pt x="1204913" y="3144787"/>
                    <a:pt x="1204913" y="3098157"/>
                  </a:cubicBezTo>
                  <a:cubicBezTo>
                    <a:pt x="1204913" y="2483494"/>
                    <a:pt x="1204913" y="2483494"/>
                    <a:pt x="1204913" y="2483494"/>
                  </a:cubicBezTo>
                  <a:cubicBezTo>
                    <a:pt x="1204913" y="2436865"/>
                    <a:pt x="1243126" y="2398713"/>
                    <a:pt x="1289830" y="2398713"/>
                  </a:cubicBezTo>
                  <a:close/>
                  <a:moveTo>
                    <a:pt x="2762250" y="1587500"/>
                  </a:moveTo>
                  <a:lnTo>
                    <a:pt x="2762250" y="2036763"/>
                  </a:lnTo>
                  <a:lnTo>
                    <a:pt x="3321050" y="2036763"/>
                  </a:lnTo>
                  <a:lnTo>
                    <a:pt x="3321050" y="1587500"/>
                  </a:lnTo>
                  <a:close/>
                  <a:moveTo>
                    <a:pt x="1374775" y="1587500"/>
                  </a:moveTo>
                  <a:lnTo>
                    <a:pt x="1374775" y="2036763"/>
                  </a:lnTo>
                  <a:lnTo>
                    <a:pt x="1935163" y="2036763"/>
                  </a:lnTo>
                  <a:lnTo>
                    <a:pt x="1935163" y="1587500"/>
                  </a:lnTo>
                  <a:close/>
                  <a:moveTo>
                    <a:pt x="2677155" y="1417638"/>
                  </a:moveTo>
                  <a:cubicBezTo>
                    <a:pt x="3406147" y="1417638"/>
                    <a:pt x="3406147" y="1417638"/>
                    <a:pt x="3406147" y="1417638"/>
                  </a:cubicBezTo>
                  <a:cubicBezTo>
                    <a:pt x="3452768" y="1417638"/>
                    <a:pt x="3490913" y="1455815"/>
                    <a:pt x="3490913" y="1502476"/>
                  </a:cubicBezTo>
                  <a:cubicBezTo>
                    <a:pt x="3490913" y="2121789"/>
                    <a:pt x="3490913" y="2121789"/>
                    <a:pt x="3490913" y="2121789"/>
                  </a:cubicBezTo>
                  <a:cubicBezTo>
                    <a:pt x="3490913" y="2168449"/>
                    <a:pt x="3452768" y="2206626"/>
                    <a:pt x="3406147" y="2206626"/>
                  </a:cubicBezTo>
                  <a:cubicBezTo>
                    <a:pt x="2677155" y="2206626"/>
                    <a:pt x="2677155" y="2206626"/>
                    <a:pt x="2677155" y="2206626"/>
                  </a:cubicBezTo>
                  <a:cubicBezTo>
                    <a:pt x="2630533" y="2206626"/>
                    <a:pt x="2592388" y="2168449"/>
                    <a:pt x="2592388" y="2121789"/>
                  </a:cubicBezTo>
                  <a:cubicBezTo>
                    <a:pt x="2592388" y="1502476"/>
                    <a:pt x="2592388" y="1502476"/>
                    <a:pt x="2592388" y="1502476"/>
                  </a:cubicBezTo>
                  <a:cubicBezTo>
                    <a:pt x="2592388" y="1455815"/>
                    <a:pt x="2630533" y="1417638"/>
                    <a:pt x="2677155" y="1417638"/>
                  </a:cubicBezTo>
                  <a:close/>
                  <a:moveTo>
                    <a:pt x="1289830" y="1417638"/>
                  </a:moveTo>
                  <a:cubicBezTo>
                    <a:pt x="2020110" y="1417638"/>
                    <a:pt x="2020110" y="1417638"/>
                    <a:pt x="2020110" y="1417638"/>
                  </a:cubicBezTo>
                  <a:cubicBezTo>
                    <a:pt x="2066814" y="1417638"/>
                    <a:pt x="2105026" y="1455815"/>
                    <a:pt x="2105026" y="1502476"/>
                  </a:cubicBezTo>
                  <a:cubicBezTo>
                    <a:pt x="2105026" y="2121789"/>
                    <a:pt x="2105026" y="2121789"/>
                    <a:pt x="2105026" y="2121789"/>
                  </a:cubicBezTo>
                  <a:cubicBezTo>
                    <a:pt x="2105026" y="2168449"/>
                    <a:pt x="2066814" y="2206626"/>
                    <a:pt x="2020110" y="2206626"/>
                  </a:cubicBezTo>
                  <a:cubicBezTo>
                    <a:pt x="1289830" y="2206626"/>
                    <a:pt x="1289830" y="2206626"/>
                    <a:pt x="1289830" y="2206626"/>
                  </a:cubicBezTo>
                  <a:cubicBezTo>
                    <a:pt x="1243126" y="2206626"/>
                    <a:pt x="1204913" y="2168449"/>
                    <a:pt x="1204913" y="2121789"/>
                  </a:cubicBezTo>
                  <a:cubicBezTo>
                    <a:pt x="1204913" y="1502476"/>
                    <a:pt x="1204913" y="1502476"/>
                    <a:pt x="1204913" y="1502476"/>
                  </a:cubicBezTo>
                  <a:cubicBezTo>
                    <a:pt x="1204913" y="1455815"/>
                    <a:pt x="1243126" y="1417638"/>
                    <a:pt x="1289830" y="1417638"/>
                  </a:cubicBezTo>
                  <a:close/>
                  <a:moveTo>
                    <a:pt x="2762250" y="649288"/>
                  </a:moveTo>
                  <a:lnTo>
                    <a:pt x="2762250" y="1095376"/>
                  </a:lnTo>
                  <a:lnTo>
                    <a:pt x="3321050" y="1095376"/>
                  </a:lnTo>
                  <a:lnTo>
                    <a:pt x="3321050" y="649288"/>
                  </a:lnTo>
                  <a:close/>
                  <a:moveTo>
                    <a:pt x="1374775" y="649288"/>
                  </a:moveTo>
                  <a:lnTo>
                    <a:pt x="1374775" y="1095376"/>
                  </a:lnTo>
                  <a:lnTo>
                    <a:pt x="1935163" y="1095376"/>
                  </a:lnTo>
                  <a:lnTo>
                    <a:pt x="1935163" y="649288"/>
                  </a:lnTo>
                  <a:close/>
                  <a:moveTo>
                    <a:pt x="2677155" y="479425"/>
                  </a:moveTo>
                  <a:cubicBezTo>
                    <a:pt x="3406147" y="479425"/>
                    <a:pt x="3406147" y="479425"/>
                    <a:pt x="3406147" y="479425"/>
                  </a:cubicBezTo>
                  <a:cubicBezTo>
                    <a:pt x="3452768" y="479425"/>
                    <a:pt x="3490913" y="517654"/>
                    <a:pt x="3490913" y="564378"/>
                  </a:cubicBezTo>
                  <a:cubicBezTo>
                    <a:pt x="3490913" y="1180285"/>
                    <a:pt x="3490913" y="1180285"/>
                    <a:pt x="3490913" y="1180285"/>
                  </a:cubicBezTo>
                  <a:cubicBezTo>
                    <a:pt x="3490913" y="1231257"/>
                    <a:pt x="3452768" y="1265238"/>
                    <a:pt x="3406147" y="1265238"/>
                  </a:cubicBezTo>
                  <a:cubicBezTo>
                    <a:pt x="2677155" y="1265238"/>
                    <a:pt x="2677155" y="1265238"/>
                    <a:pt x="2677155" y="1265238"/>
                  </a:cubicBezTo>
                  <a:cubicBezTo>
                    <a:pt x="2630533" y="1265238"/>
                    <a:pt x="2592388" y="1231257"/>
                    <a:pt x="2592388" y="1180285"/>
                  </a:cubicBezTo>
                  <a:cubicBezTo>
                    <a:pt x="2592388" y="564378"/>
                    <a:pt x="2592388" y="564378"/>
                    <a:pt x="2592388" y="564378"/>
                  </a:cubicBezTo>
                  <a:cubicBezTo>
                    <a:pt x="2592388" y="517654"/>
                    <a:pt x="2630533" y="479425"/>
                    <a:pt x="2677155" y="479425"/>
                  </a:cubicBezTo>
                  <a:close/>
                  <a:moveTo>
                    <a:pt x="1289830" y="479425"/>
                  </a:moveTo>
                  <a:cubicBezTo>
                    <a:pt x="2020110" y="479425"/>
                    <a:pt x="2020110" y="479425"/>
                    <a:pt x="2020110" y="479425"/>
                  </a:cubicBezTo>
                  <a:cubicBezTo>
                    <a:pt x="2066814" y="479425"/>
                    <a:pt x="2105026" y="517654"/>
                    <a:pt x="2105026" y="564378"/>
                  </a:cubicBezTo>
                  <a:cubicBezTo>
                    <a:pt x="2105026" y="1180285"/>
                    <a:pt x="2105026" y="1180285"/>
                    <a:pt x="2105026" y="1180285"/>
                  </a:cubicBezTo>
                  <a:cubicBezTo>
                    <a:pt x="2105026" y="1231257"/>
                    <a:pt x="2066814" y="1265238"/>
                    <a:pt x="2020110" y="1265238"/>
                  </a:cubicBezTo>
                  <a:cubicBezTo>
                    <a:pt x="1289830" y="1265238"/>
                    <a:pt x="1289830" y="1265238"/>
                    <a:pt x="1289830" y="1265238"/>
                  </a:cubicBezTo>
                  <a:cubicBezTo>
                    <a:pt x="1243126" y="1265238"/>
                    <a:pt x="1204913" y="1231257"/>
                    <a:pt x="1204913" y="1180285"/>
                  </a:cubicBezTo>
                  <a:cubicBezTo>
                    <a:pt x="1204913" y="564378"/>
                    <a:pt x="1204913" y="564378"/>
                    <a:pt x="1204913" y="564378"/>
                  </a:cubicBezTo>
                  <a:cubicBezTo>
                    <a:pt x="1204913" y="517654"/>
                    <a:pt x="1243126" y="479425"/>
                    <a:pt x="1289830" y="479425"/>
                  </a:cubicBezTo>
                  <a:close/>
                  <a:moveTo>
                    <a:pt x="900113" y="169863"/>
                  </a:moveTo>
                  <a:lnTo>
                    <a:pt x="900113" y="4473575"/>
                  </a:lnTo>
                  <a:lnTo>
                    <a:pt x="1204913" y="4473575"/>
                  </a:lnTo>
                  <a:lnTo>
                    <a:pt x="1204913" y="4365191"/>
                  </a:lnTo>
                  <a:cubicBezTo>
                    <a:pt x="1204913" y="3459869"/>
                    <a:pt x="1204913" y="3459869"/>
                    <a:pt x="1204913" y="3459869"/>
                  </a:cubicBezTo>
                  <a:cubicBezTo>
                    <a:pt x="1204913" y="3413205"/>
                    <a:pt x="1243126" y="3375025"/>
                    <a:pt x="1289830" y="3375025"/>
                  </a:cubicBezTo>
                  <a:cubicBezTo>
                    <a:pt x="2020110" y="3375025"/>
                    <a:pt x="2020110" y="3375025"/>
                    <a:pt x="2020110" y="3375025"/>
                  </a:cubicBezTo>
                  <a:cubicBezTo>
                    <a:pt x="2066814" y="3375025"/>
                    <a:pt x="2105026" y="3413205"/>
                    <a:pt x="2105026" y="3459869"/>
                  </a:cubicBezTo>
                  <a:cubicBezTo>
                    <a:pt x="2105026" y="4077902"/>
                    <a:pt x="2105026" y="4348292"/>
                    <a:pt x="2105026" y="4466587"/>
                  </a:cubicBezTo>
                  <a:lnTo>
                    <a:pt x="2105026" y="4473575"/>
                  </a:lnTo>
                  <a:lnTo>
                    <a:pt x="2230369" y="4473575"/>
                  </a:lnTo>
                  <a:cubicBezTo>
                    <a:pt x="2994129" y="4473575"/>
                    <a:pt x="3522887" y="4473575"/>
                    <a:pt x="3888949" y="4473575"/>
                  </a:cubicBezTo>
                  <a:lnTo>
                    <a:pt x="3932238" y="4473575"/>
                  </a:lnTo>
                  <a:lnTo>
                    <a:pt x="3932238" y="169863"/>
                  </a:lnTo>
                  <a:close/>
                  <a:moveTo>
                    <a:pt x="815077" y="0"/>
                  </a:moveTo>
                  <a:cubicBezTo>
                    <a:pt x="4017274" y="0"/>
                    <a:pt x="4017274" y="0"/>
                    <a:pt x="4017274" y="0"/>
                  </a:cubicBezTo>
                  <a:cubicBezTo>
                    <a:pt x="4063928" y="0"/>
                    <a:pt x="4102100" y="38200"/>
                    <a:pt x="4102100" y="84889"/>
                  </a:cubicBezTo>
                  <a:cubicBezTo>
                    <a:pt x="4102100" y="3300332"/>
                    <a:pt x="4102100" y="4204676"/>
                    <a:pt x="4102100" y="4459022"/>
                  </a:cubicBezTo>
                  <a:lnTo>
                    <a:pt x="4102100" y="4473575"/>
                  </a:lnTo>
                  <a:lnTo>
                    <a:pt x="4134121" y="4473575"/>
                  </a:lnTo>
                  <a:cubicBezTo>
                    <a:pt x="4712590" y="4473575"/>
                    <a:pt x="4712590" y="4473575"/>
                    <a:pt x="4712590" y="4473575"/>
                  </a:cubicBezTo>
                  <a:cubicBezTo>
                    <a:pt x="4759249" y="4473575"/>
                    <a:pt x="4797425" y="4511794"/>
                    <a:pt x="4797425" y="4558507"/>
                  </a:cubicBezTo>
                  <a:cubicBezTo>
                    <a:pt x="4797425" y="4605219"/>
                    <a:pt x="4759249" y="4643438"/>
                    <a:pt x="4712590" y="4643438"/>
                  </a:cubicBezTo>
                  <a:cubicBezTo>
                    <a:pt x="4567973" y="4643438"/>
                    <a:pt x="4427875" y="4643438"/>
                    <a:pt x="4292155" y="4643438"/>
                  </a:cubicBezTo>
                  <a:lnTo>
                    <a:pt x="4017274" y="4643438"/>
                  </a:lnTo>
                  <a:lnTo>
                    <a:pt x="3897988" y="4643438"/>
                  </a:lnTo>
                  <a:lnTo>
                    <a:pt x="3726352" y="4643438"/>
                  </a:lnTo>
                  <a:lnTo>
                    <a:pt x="3529242" y="4643438"/>
                  </a:lnTo>
                  <a:lnTo>
                    <a:pt x="3453606" y="4643438"/>
                  </a:lnTo>
                  <a:cubicBezTo>
                    <a:pt x="3365655" y="4643438"/>
                    <a:pt x="3280636" y="4643438"/>
                    <a:pt x="3198451" y="4643438"/>
                  </a:cubicBezTo>
                  <a:lnTo>
                    <a:pt x="3185070" y="4643438"/>
                  </a:lnTo>
                  <a:lnTo>
                    <a:pt x="2960299" y="4643438"/>
                  </a:lnTo>
                  <a:lnTo>
                    <a:pt x="2864624" y="4643438"/>
                  </a:lnTo>
                  <a:lnTo>
                    <a:pt x="2738565" y="4643438"/>
                  </a:lnTo>
                  <a:lnTo>
                    <a:pt x="2567056" y="4643438"/>
                  </a:lnTo>
                  <a:lnTo>
                    <a:pt x="2532662" y="4643438"/>
                  </a:lnTo>
                  <a:cubicBezTo>
                    <a:pt x="2466601" y="4643438"/>
                    <a:pt x="2403081" y="4643438"/>
                    <a:pt x="2342004" y="4643438"/>
                  </a:cubicBezTo>
                  <a:lnTo>
                    <a:pt x="2291521" y="4643438"/>
                  </a:lnTo>
                  <a:lnTo>
                    <a:pt x="2166004" y="4643438"/>
                  </a:lnTo>
                  <a:lnTo>
                    <a:pt x="2037169" y="4643438"/>
                  </a:lnTo>
                  <a:lnTo>
                    <a:pt x="2020110" y="4643438"/>
                  </a:lnTo>
                  <a:lnTo>
                    <a:pt x="2004077" y="4643438"/>
                  </a:lnTo>
                  <a:lnTo>
                    <a:pt x="1803155" y="4643438"/>
                  </a:lnTo>
                  <a:lnTo>
                    <a:pt x="1786288" y="4643438"/>
                  </a:lnTo>
                  <a:cubicBezTo>
                    <a:pt x="1718529" y="4643438"/>
                    <a:pt x="1655498" y="4643438"/>
                    <a:pt x="1596864" y="4643438"/>
                  </a:cubicBezTo>
                  <a:lnTo>
                    <a:pt x="1588630" y="4643438"/>
                  </a:lnTo>
                  <a:lnTo>
                    <a:pt x="1433825" y="4643438"/>
                  </a:lnTo>
                  <a:lnTo>
                    <a:pt x="1392747" y="4643438"/>
                  </a:lnTo>
                  <a:lnTo>
                    <a:pt x="1295192" y="4643438"/>
                  </a:lnTo>
                  <a:lnTo>
                    <a:pt x="1289830" y="4643438"/>
                  </a:lnTo>
                  <a:lnTo>
                    <a:pt x="1215352" y="4643438"/>
                  </a:lnTo>
                  <a:lnTo>
                    <a:pt x="1214658" y="4643438"/>
                  </a:lnTo>
                  <a:lnTo>
                    <a:pt x="1144893" y="4643438"/>
                  </a:lnTo>
                  <a:cubicBezTo>
                    <a:pt x="1122905" y="4643438"/>
                    <a:pt x="1102383" y="4643438"/>
                    <a:pt x="1083229" y="4643438"/>
                  </a:cubicBezTo>
                  <a:lnTo>
                    <a:pt x="1053517" y="4643438"/>
                  </a:lnTo>
                  <a:lnTo>
                    <a:pt x="1029775" y="4643438"/>
                  </a:lnTo>
                  <a:cubicBezTo>
                    <a:pt x="980229" y="4643438"/>
                    <a:pt x="942117" y="4643438"/>
                    <a:pt x="912800" y="4643438"/>
                  </a:cubicBezTo>
                  <a:lnTo>
                    <a:pt x="908476" y="4643438"/>
                  </a:lnTo>
                  <a:lnTo>
                    <a:pt x="865111" y="4643438"/>
                  </a:lnTo>
                  <a:cubicBezTo>
                    <a:pt x="815077" y="4643438"/>
                    <a:pt x="815077" y="4643438"/>
                    <a:pt x="815077" y="4643438"/>
                  </a:cubicBezTo>
                  <a:lnTo>
                    <a:pt x="778687" y="4643438"/>
                  </a:lnTo>
                  <a:cubicBezTo>
                    <a:pt x="84835" y="4643438"/>
                    <a:pt x="84835" y="4643438"/>
                    <a:pt x="84835" y="4643438"/>
                  </a:cubicBezTo>
                  <a:cubicBezTo>
                    <a:pt x="38176" y="4643438"/>
                    <a:pt x="0" y="4605219"/>
                    <a:pt x="0" y="4558507"/>
                  </a:cubicBezTo>
                  <a:cubicBezTo>
                    <a:pt x="0" y="4511794"/>
                    <a:pt x="38176" y="4473575"/>
                    <a:pt x="84835" y="4473575"/>
                  </a:cubicBezTo>
                  <a:cubicBezTo>
                    <a:pt x="229452" y="4473575"/>
                    <a:pt x="369550" y="4473575"/>
                    <a:pt x="505270" y="4473575"/>
                  </a:cubicBezTo>
                  <a:lnTo>
                    <a:pt x="730250" y="4473575"/>
                  </a:lnTo>
                  <a:lnTo>
                    <a:pt x="730250" y="4152114"/>
                  </a:lnTo>
                  <a:cubicBezTo>
                    <a:pt x="730250" y="84889"/>
                    <a:pt x="730250" y="84889"/>
                    <a:pt x="730250" y="84889"/>
                  </a:cubicBezTo>
                  <a:cubicBezTo>
                    <a:pt x="730250" y="38200"/>
                    <a:pt x="768422" y="0"/>
                    <a:pt x="815077" y="0"/>
                  </a:cubicBezTo>
                  <a:close/>
                </a:path>
              </a:pathLst>
            </a:custGeom>
            <a:solidFill>
              <a:srgbClr val="0078D7"/>
            </a:solidFill>
            <a:ln w="41275">
              <a:solidFill>
                <a:schemeClr val="tx1"/>
              </a:solidFill>
            </a:ln>
          </p:spPr>
          <p:txBody>
            <a:bodyPr vert="horz" wrap="square" lIns="91440" tIns="45720" rIns="91440" bIns="45720" numCol="1" anchor="t" anchorCtr="0" compatLnSpc="1">
              <a:prstTxWarp prst="textNoShape">
                <a:avLst/>
              </a:prstTxWarp>
              <a:noAutofit/>
            </a:bodyPr>
            <a:lstStyle/>
            <a:p>
              <a:endParaRPr lang="en-US"/>
            </a:p>
          </p:txBody>
        </p:sp>
        <p:grpSp>
          <p:nvGrpSpPr>
            <p:cNvPr id="116" name="Group 115"/>
            <p:cNvGrpSpPr/>
            <p:nvPr/>
          </p:nvGrpSpPr>
          <p:grpSpPr>
            <a:xfrm>
              <a:off x="10044022" y="3362902"/>
              <a:ext cx="1113183" cy="1113183"/>
              <a:chOff x="10098565" y="310348"/>
              <a:chExt cx="1113183" cy="1113183"/>
            </a:xfrm>
          </p:grpSpPr>
          <p:sp>
            <p:nvSpPr>
              <p:cNvPr id="115" name="Oval 114"/>
              <p:cNvSpPr/>
              <p:nvPr/>
            </p:nvSpPr>
            <p:spPr bwMode="auto">
              <a:xfrm>
                <a:off x="10098565" y="310348"/>
                <a:ext cx="1113183" cy="1113183"/>
              </a:xfrm>
              <a:prstGeom prst="ellipse">
                <a:avLst/>
              </a:prstGeom>
              <a:solidFill>
                <a:schemeClr val="tx1"/>
              </a:solidFill>
              <a:ln w="1905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grpSp>
            <p:nvGrpSpPr>
              <p:cNvPr id="22" name="Group 21"/>
              <p:cNvGrpSpPr/>
              <p:nvPr/>
            </p:nvGrpSpPr>
            <p:grpSpPr>
              <a:xfrm>
                <a:off x="10269870" y="433763"/>
                <a:ext cx="790453" cy="737132"/>
                <a:chOff x="10486141" y="3021512"/>
                <a:chExt cx="1256052" cy="1171324"/>
              </a:xfrm>
            </p:grpSpPr>
            <p:sp>
              <p:nvSpPr>
                <p:cNvPr id="97" name="Freeform 11"/>
                <p:cNvSpPr>
                  <a:spLocks/>
                </p:cNvSpPr>
                <p:nvPr/>
              </p:nvSpPr>
              <p:spPr bwMode="auto">
                <a:xfrm>
                  <a:off x="10833971" y="3021512"/>
                  <a:ext cx="908222" cy="116091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
                <p:cNvSpPr>
                  <a:spLocks/>
                </p:cNvSpPr>
                <p:nvPr/>
              </p:nvSpPr>
              <p:spPr bwMode="auto">
                <a:xfrm>
                  <a:off x="10486141" y="3570013"/>
                  <a:ext cx="337425" cy="62282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19050"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25" name="Rectangle 24"/>
          <p:cNvSpPr/>
          <p:nvPr/>
        </p:nvSpPr>
        <p:spPr bwMode="auto">
          <a:xfrm>
            <a:off x="0" y="1632940"/>
            <a:ext cx="12192000" cy="98602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4" name="Title 1"/>
          <p:cNvSpPr>
            <a:spLocks noGrp="1"/>
          </p:cNvSpPr>
          <p:nvPr>
            <p:ph type="title"/>
          </p:nvPr>
        </p:nvSpPr>
        <p:spPr>
          <a:prstGeom prst="rect">
            <a:avLst/>
          </a:prstGeom>
        </p:spPr>
        <p:txBody>
          <a:bodyPr/>
          <a:lstStyle/>
          <a:p>
            <a:r>
              <a:rPr lang="en-US" dirty="0"/>
              <a:t>Azure Data Lake</a:t>
            </a:r>
            <a:br>
              <a:rPr lang="en-US" dirty="0"/>
            </a:br>
            <a:r>
              <a:rPr lang="en-US" sz="2800" dirty="0">
                <a:solidFill>
                  <a:srgbClr val="0078D7"/>
                </a:solidFill>
              </a:rPr>
              <a:t>Big Data made easy</a:t>
            </a:r>
            <a:endParaRPr lang="en-US" sz="3200" dirty="0">
              <a:solidFill>
                <a:srgbClr val="0078D7"/>
              </a:solidFill>
            </a:endParaRPr>
          </a:p>
        </p:txBody>
      </p:sp>
      <p:grpSp>
        <p:nvGrpSpPr>
          <p:cNvPr id="24" name="Group 23"/>
          <p:cNvGrpSpPr/>
          <p:nvPr/>
        </p:nvGrpSpPr>
        <p:grpSpPr>
          <a:xfrm>
            <a:off x="1135943" y="3297661"/>
            <a:ext cx="1785889" cy="2266949"/>
            <a:chOff x="1369783" y="3088939"/>
            <a:chExt cx="1785889" cy="2266949"/>
          </a:xfrm>
        </p:grpSpPr>
        <p:grpSp>
          <p:nvGrpSpPr>
            <p:cNvPr id="2" name="Group 1"/>
            <p:cNvGrpSpPr/>
            <p:nvPr/>
          </p:nvGrpSpPr>
          <p:grpSpPr>
            <a:xfrm>
              <a:off x="1625047" y="3088939"/>
              <a:ext cx="1318396" cy="1057911"/>
              <a:chOff x="1534290" y="3079525"/>
              <a:chExt cx="1642059" cy="1317626"/>
            </a:xfrm>
          </p:grpSpPr>
          <p:grpSp>
            <p:nvGrpSpPr>
              <p:cNvPr id="35" name="Group 34"/>
              <p:cNvGrpSpPr/>
              <p:nvPr/>
            </p:nvGrpSpPr>
            <p:grpSpPr>
              <a:xfrm>
                <a:off x="2813815" y="4082826"/>
                <a:ext cx="241300" cy="314325"/>
                <a:chOff x="9717088" y="2738438"/>
                <a:chExt cx="241300" cy="314325"/>
              </a:xfrm>
            </p:grpSpPr>
            <p:sp>
              <p:nvSpPr>
                <p:cNvPr id="36" name="Freeform 35"/>
                <p:cNvSpPr>
                  <a:spLocks/>
                </p:cNvSpPr>
                <p:nvPr/>
              </p:nvSpPr>
              <p:spPr bwMode="auto">
                <a:xfrm>
                  <a:off x="9717088" y="2738438"/>
                  <a:ext cx="241300" cy="314325"/>
                </a:xfrm>
                <a:custGeom>
                  <a:avLst/>
                  <a:gdLst>
                    <a:gd name="connsiteX0" fmla="*/ 120357 w 241300"/>
                    <a:gd name="connsiteY0" fmla="*/ 25400 h 314325"/>
                    <a:gd name="connsiteX1" fmla="*/ 26987 w 241300"/>
                    <a:gd name="connsiteY1" fmla="*/ 119116 h 314325"/>
                    <a:gd name="connsiteX2" fmla="*/ 120357 w 241300"/>
                    <a:gd name="connsiteY2" fmla="*/ 282575 h 314325"/>
                    <a:gd name="connsiteX3" fmla="*/ 215899 w 241300"/>
                    <a:gd name="connsiteY3" fmla="*/ 119116 h 314325"/>
                    <a:gd name="connsiteX4" fmla="*/ 120357 w 241300"/>
                    <a:gd name="connsiteY4" fmla="*/ 25400 h 314325"/>
                    <a:gd name="connsiteX5" fmla="*/ 119563 w 241300"/>
                    <a:gd name="connsiteY5" fmla="*/ 0 h 314325"/>
                    <a:gd name="connsiteX6" fmla="*/ 241300 w 241300"/>
                    <a:gd name="connsiteY6" fmla="*/ 119227 h 314325"/>
                    <a:gd name="connsiteX7" fmla="*/ 130432 w 241300"/>
                    <a:gd name="connsiteY7" fmla="*/ 309990 h 314325"/>
                    <a:gd name="connsiteX8" fmla="*/ 119563 w 241300"/>
                    <a:gd name="connsiteY8" fmla="*/ 314325 h 314325"/>
                    <a:gd name="connsiteX9" fmla="*/ 110868 w 241300"/>
                    <a:gd name="connsiteY9" fmla="*/ 309990 h 314325"/>
                    <a:gd name="connsiteX10" fmla="*/ 0 w 241300"/>
                    <a:gd name="connsiteY10" fmla="*/ 119227 h 314325"/>
                    <a:gd name="connsiteX11" fmla="*/ 119563 w 241300"/>
                    <a:gd name="connsiteY11"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314325">
                      <a:moveTo>
                        <a:pt x="120357" y="25400"/>
                      </a:moveTo>
                      <a:cubicBezTo>
                        <a:pt x="68244" y="25400"/>
                        <a:pt x="26987" y="66810"/>
                        <a:pt x="26987" y="119116"/>
                      </a:cubicBezTo>
                      <a:cubicBezTo>
                        <a:pt x="26987" y="160526"/>
                        <a:pt x="87786" y="243345"/>
                        <a:pt x="120357" y="282575"/>
                      </a:cubicBezTo>
                      <a:cubicBezTo>
                        <a:pt x="155100" y="243345"/>
                        <a:pt x="215899" y="160526"/>
                        <a:pt x="215899" y="119116"/>
                      </a:cubicBezTo>
                      <a:cubicBezTo>
                        <a:pt x="215899" y="66810"/>
                        <a:pt x="172471" y="25400"/>
                        <a:pt x="120357" y="25400"/>
                      </a:cubicBezTo>
                      <a:close/>
                      <a:moveTo>
                        <a:pt x="119563" y="0"/>
                      </a:moveTo>
                      <a:cubicBezTo>
                        <a:pt x="186953" y="0"/>
                        <a:pt x="241300" y="54194"/>
                        <a:pt x="241300" y="119227"/>
                      </a:cubicBezTo>
                      <a:cubicBezTo>
                        <a:pt x="241300" y="182092"/>
                        <a:pt x="141302" y="296983"/>
                        <a:pt x="130432" y="309990"/>
                      </a:cubicBezTo>
                      <a:cubicBezTo>
                        <a:pt x="128259" y="312157"/>
                        <a:pt x="123911" y="314325"/>
                        <a:pt x="119563" y="314325"/>
                      </a:cubicBezTo>
                      <a:cubicBezTo>
                        <a:pt x="117389" y="314325"/>
                        <a:pt x="113041" y="312157"/>
                        <a:pt x="110868" y="309990"/>
                      </a:cubicBezTo>
                      <a:cubicBezTo>
                        <a:pt x="99998" y="296983"/>
                        <a:pt x="0" y="182092"/>
                        <a:pt x="0" y="119227"/>
                      </a:cubicBezTo>
                      <a:cubicBezTo>
                        <a:pt x="0" y="54194"/>
                        <a:pt x="54347" y="0"/>
                        <a:pt x="119563"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37" name="Freeform 36"/>
                <p:cNvSpPr>
                  <a:spLocks noChangeArrowheads="1"/>
                </p:cNvSpPr>
                <p:nvPr/>
              </p:nvSpPr>
              <p:spPr bwMode="auto">
                <a:xfrm>
                  <a:off x="9771062" y="2794000"/>
                  <a:ext cx="128588" cy="128588"/>
                </a:xfrm>
                <a:custGeom>
                  <a:avLst/>
                  <a:gdLst>
                    <a:gd name="connsiteX0" fmla="*/ 65087 w 128588"/>
                    <a:gd name="connsiteY0" fmla="*/ 26988 h 128588"/>
                    <a:gd name="connsiteX1" fmla="*/ 26987 w 128588"/>
                    <a:gd name="connsiteY1" fmla="*/ 65088 h 128588"/>
                    <a:gd name="connsiteX2" fmla="*/ 65087 w 128588"/>
                    <a:gd name="connsiteY2" fmla="*/ 103188 h 128588"/>
                    <a:gd name="connsiteX3" fmla="*/ 103187 w 128588"/>
                    <a:gd name="connsiteY3" fmla="*/ 65088 h 128588"/>
                    <a:gd name="connsiteX4" fmla="*/ 65087 w 128588"/>
                    <a:gd name="connsiteY4" fmla="*/ 26988 h 128588"/>
                    <a:gd name="connsiteX5" fmla="*/ 64294 w 128588"/>
                    <a:gd name="connsiteY5" fmla="*/ 0 h 128588"/>
                    <a:gd name="connsiteX6" fmla="*/ 128588 w 128588"/>
                    <a:gd name="connsiteY6" fmla="*/ 64294 h 128588"/>
                    <a:gd name="connsiteX7" fmla="*/ 64294 w 128588"/>
                    <a:gd name="connsiteY7" fmla="*/ 128588 h 128588"/>
                    <a:gd name="connsiteX8" fmla="*/ 0 w 128588"/>
                    <a:gd name="connsiteY8" fmla="*/ 64294 h 128588"/>
                    <a:gd name="connsiteX9" fmla="*/ 64294 w 128588"/>
                    <a:gd name="connsiteY9" fmla="*/ 0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8" h="128588">
                      <a:moveTo>
                        <a:pt x="65087" y="26988"/>
                      </a:moveTo>
                      <a:cubicBezTo>
                        <a:pt x="44045" y="26988"/>
                        <a:pt x="26987" y="44046"/>
                        <a:pt x="26987" y="65088"/>
                      </a:cubicBezTo>
                      <a:cubicBezTo>
                        <a:pt x="26987" y="86130"/>
                        <a:pt x="44045" y="103188"/>
                        <a:pt x="65087" y="103188"/>
                      </a:cubicBezTo>
                      <a:cubicBezTo>
                        <a:pt x="86129" y="103188"/>
                        <a:pt x="103187" y="86130"/>
                        <a:pt x="103187" y="65088"/>
                      </a:cubicBezTo>
                      <a:cubicBezTo>
                        <a:pt x="103187" y="44046"/>
                        <a:pt x="86129" y="26988"/>
                        <a:pt x="65087" y="26988"/>
                      </a:cubicBezTo>
                      <a:close/>
                      <a:moveTo>
                        <a:pt x="64294" y="0"/>
                      </a:moveTo>
                      <a:cubicBezTo>
                        <a:pt x="99803" y="0"/>
                        <a:pt x="128588" y="28785"/>
                        <a:pt x="128588" y="64294"/>
                      </a:cubicBezTo>
                      <a:cubicBezTo>
                        <a:pt x="128588" y="99803"/>
                        <a:pt x="99803" y="128588"/>
                        <a:pt x="64294" y="128588"/>
                      </a:cubicBezTo>
                      <a:cubicBezTo>
                        <a:pt x="28785" y="128588"/>
                        <a:pt x="0" y="99803"/>
                        <a:pt x="0" y="64294"/>
                      </a:cubicBezTo>
                      <a:cubicBezTo>
                        <a:pt x="0" y="28785"/>
                        <a:pt x="28785" y="0"/>
                        <a:pt x="64294"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38" name="Freeform 37"/>
              <p:cNvSpPr>
                <a:spLocks/>
              </p:cNvSpPr>
              <p:nvPr/>
            </p:nvSpPr>
            <p:spPr bwMode="auto">
              <a:xfrm>
                <a:off x="2299465" y="3339876"/>
                <a:ext cx="79375"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p:nvSpPr>
            <p:spPr bwMode="auto">
              <a:xfrm>
                <a:off x="2178815" y="3525613"/>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p:nvSpPr>
            <p:spPr bwMode="auto">
              <a:xfrm>
                <a:off x="2831277" y="3652613"/>
                <a:ext cx="77787"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3" name="Freeform 34"/>
              <p:cNvSpPr>
                <a:spLocks/>
              </p:cNvSpPr>
              <p:nvPr/>
            </p:nvSpPr>
            <p:spPr bwMode="auto">
              <a:xfrm>
                <a:off x="2709040" y="3838351"/>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7" name="Freeform 35"/>
              <p:cNvSpPr>
                <a:spLocks/>
              </p:cNvSpPr>
              <p:nvPr/>
            </p:nvSpPr>
            <p:spPr bwMode="auto">
              <a:xfrm>
                <a:off x="1656527" y="3739926"/>
                <a:ext cx="77787"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8" name="Freeform 36"/>
              <p:cNvSpPr>
                <a:spLocks/>
              </p:cNvSpPr>
              <p:nvPr/>
            </p:nvSpPr>
            <p:spPr bwMode="auto">
              <a:xfrm>
                <a:off x="1534290" y="3925663"/>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p:cNvSpPr>
              <p:nvPr/>
            </p:nvSpPr>
            <p:spPr bwMode="auto">
              <a:xfrm>
                <a:off x="1610490" y="3079525"/>
                <a:ext cx="541337" cy="534988"/>
              </a:xfrm>
              <a:custGeom>
                <a:avLst/>
                <a:gdLst>
                  <a:gd name="connsiteX0" fmla="*/ 270668 w 541337"/>
                  <a:gd name="connsiteY0" fmla="*/ 223836 h 534988"/>
                  <a:gd name="connsiteX1" fmla="*/ 225424 w 541337"/>
                  <a:gd name="connsiteY1" fmla="*/ 267493 h 534988"/>
                  <a:gd name="connsiteX2" fmla="*/ 270668 w 541337"/>
                  <a:gd name="connsiteY2" fmla="*/ 311150 h 534988"/>
                  <a:gd name="connsiteX3" fmla="*/ 315912 w 541337"/>
                  <a:gd name="connsiteY3" fmla="*/ 267493 h 534988"/>
                  <a:gd name="connsiteX4" fmla="*/ 270668 w 541337"/>
                  <a:gd name="connsiteY4" fmla="*/ 223836 h 534988"/>
                  <a:gd name="connsiteX5" fmla="*/ 42862 w 541337"/>
                  <a:gd name="connsiteY5" fmla="*/ 195263 h 534988"/>
                  <a:gd name="connsiteX6" fmla="*/ 42862 w 541337"/>
                  <a:gd name="connsiteY6" fmla="*/ 202446 h 534988"/>
                  <a:gd name="connsiteX7" fmla="*/ 42862 w 541337"/>
                  <a:gd name="connsiteY7" fmla="*/ 455766 h 534988"/>
                  <a:gd name="connsiteX8" fmla="*/ 77696 w 541337"/>
                  <a:gd name="connsiteY8" fmla="*/ 490537 h 534988"/>
                  <a:gd name="connsiteX9" fmla="*/ 463051 w 541337"/>
                  <a:gd name="connsiteY9" fmla="*/ 490537 h 534988"/>
                  <a:gd name="connsiteX10" fmla="*/ 500062 w 541337"/>
                  <a:gd name="connsiteY10" fmla="*/ 455766 h 534988"/>
                  <a:gd name="connsiteX11" fmla="*/ 500062 w 541337"/>
                  <a:gd name="connsiteY11" fmla="*/ 237158 h 534988"/>
                  <a:gd name="connsiteX12" fmla="*/ 500062 w 541337"/>
                  <a:gd name="connsiteY12" fmla="*/ 195263 h 534988"/>
                  <a:gd name="connsiteX13" fmla="*/ 470386 w 541337"/>
                  <a:gd name="connsiteY13" fmla="*/ 195263 h 534988"/>
                  <a:gd name="connsiteX14" fmla="*/ 433335 w 541337"/>
                  <a:gd name="connsiteY14" fmla="*/ 195263 h 534988"/>
                  <a:gd name="connsiteX15" fmla="*/ 408673 w 541337"/>
                  <a:gd name="connsiteY15" fmla="*/ 195263 h 534988"/>
                  <a:gd name="connsiteX16" fmla="*/ 416336 w 541337"/>
                  <a:gd name="connsiteY16" fmla="*/ 206628 h 534988"/>
                  <a:gd name="connsiteX17" fmla="*/ 428624 w 541337"/>
                  <a:gd name="connsiteY17" fmla="*/ 267494 h 534988"/>
                  <a:gd name="connsiteX18" fmla="*/ 272255 w 541337"/>
                  <a:gd name="connsiteY18" fmla="*/ 423863 h 534988"/>
                  <a:gd name="connsiteX19" fmla="*/ 115886 w 541337"/>
                  <a:gd name="connsiteY19" fmla="*/ 267494 h 534988"/>
                  <a:gd name="connsiteX20" fmla="*/ 128174 w 541337"/>
                  <a:gd name="connsiteY20" fmla="*/ 206628 h 534988"/>
                  <a:gd name="connsiteX21" fmla="*/ 135837 w 541337"/>
                  <a:gd name="connsiteY21" fmla="*/ 195263 h 534988"/>
                  <a:gd name="connsiteX22" fmla="*/ 122134 w 541337"/>
                  <a:gd name="connsiteY22" fmla="*/ 195263 h 534988"/>
                  <a:gd name="connsiteX23" fmla="*/ 59996 w 541337"/>
                  <a:gd name="connsiteY23" fmla="*/ 195263 h 534988"/>
                  <a:gd name="connsiteX24" fmla="*/ 270668 w 541337"/>
                  <a:gd name="connsiteY24" fmla="*/ 179386 h 534988"/>
                  <a:gd name="connsiteX25" fmla="*/ 357187 w 541337"/>
                  <a:gd name="connsiteY25" fmla="*/ 266699 h 534988"/>
                  <a:gd name="connsiteX26" fmla="*/ 270668 w 541337"/>
                  <a:gd name="connsiteY26" fmla="*/ 354012 h 534988"/>
                  <a:gd name="connsiteX27" fmla="*/ 184149 w 541337"/>
                  <a:gd name="connsiteY27" fmla="*/ 266699 h 534988"/>
                  <a:gd name="connsiteX28" fmla="*/ 270668 w 541337"/>
                  <a:gd name="connsiteY28" fmla="*/ 179386 h 534988"/>
                  <a:gd name="connsiteX29" fmla="*/ 271461 w 541337"/>
                  <a:gd name="connsiteY29" fmla="*/ 152400 h 534988"/>
                  <a:gd name="connsiteX30" fmla="*/ 157161 w 541337"/>
                  <a:gd name="connsiteY30" fmla="*/ 267494 h 534988"/>
                  <a:gd name="connsiteX31" fmla="*/ 271461 w 541337"/>
                  <a:gd name="connsiteY31" fmla="*/ 382588 h 534988"/>
                  <a:gd name="connsiteX32" fmla="*/ 385761 w 541337"/>
                  <a:gd name="connsiteY32" fmla="*/ 267494 h 534988"/>
                  <a:gd name="connsiteX33" fmla="*/ 271461 w 541337"/>
                  <a:gd name="connsiteY33" fmla="*/ 152400 h 534988"/>
                  <a:gd name="connsiteX34" fmla="*/ 434975 w 541337"/>
                  <a:gd name="connsiteY34" fmla="*/ 85725 h 534988"/>
                  <a:gd name="connsiteX35" fmla="*/ 422275 w 541337"/>
                  <a:gd name="connsiteY35" fmla="*/ 98425 h 534988"/>
                  <a:gd name="connsiteX36" fmla="*/ 434975 w 541337"/>
                  <a:gd name="connsiteY36" fmla="*/ 111125 h 534988"/>
                  <a:gd name="connsiteX37" fmla="*/ 447675 w 541337"/>
                  <a:gd name="connsiteY37" fmla="*/ 98425 h 534988"/>
                  <a:gd name="connsiteX38" fmla="*/ 434975 w 541337"/>
                  <a:gd name="connsiteY38" fmla="*/ 85725 h 534988"/>
                  <a:gd name="connsiteX39" fmla="*/ 434975 w 541337"/>
                  <a:gd name="connsiteY39" fmla="*/ 42862 h 534988"/>
                  <a:gd name="connsiteX40" fmla="*/ 488950 w 541337"/>
                  <a:gd name="connsiteY40" fmla="*/ 97631 h 534988"/>
                  <a:gd name="connsiteX41" fmla="*/ 434975 w 541337"/>
                  <a:gd name="connsiteY41" fmla="*/ 152400 h 534988"/>
                  <a:gd name="connsiteX42" fmla="*/ 381000 w 541337"/>
                  <a:gd name="connsiteY42" fmla="*/ 97631 h 534988"/>
                  <a:gd name="connsiteX43" fmla="*/ 434975 w 541337"/>
                  <a:gd name="connsiteY43" fmla="*/ 42862 h 534988"/>
                  <a:gd name="connsiteX44" fmla="*/ 176212 w 541337"/>
                  <a:gd name="connsiteY44" fmla="*/ 42862 h 534988"/>
                  <a:gd name="connsiteX45" fmla="*/ 176212 w 541337"/>
                  <a:gd name="connsiteY45" fmla="*/ 70038 h 534988"/>
                  <a:gd name="connsiteX46" fmla="*/ 176212 w 541337"/>
                  <a:gd name="connsiteY46" fmla="*/ 141605 h 534988"/>
                  <a:gd name="connsiteX47" fmla="*/ 176212 w 541337"/>
                  <a:gd name="connsiteY47" fmla="*/ 147131 h 534988"/>
                  <a:gd name="connsiteX48" fmla="*/ 211389 w 541337"/>
                  <a:gd name="connsiteY48" fmla="*/ 123413 h 534988"/>
                  <a:gd name="connsiteX49" fmla="*/ 272255 w 541337"/>
                  <a:gd name="connsiteY49" fmla="*/ 111125 h 534988"/>
                  <a:gd name="connsiteX50" fmla="*/ 333121 w 541337"/>
                  <a:gd name="connsiteY50" fmla="*/ 123413 h 534988"/>
                  <a:gd name="connsiteX51" fmla="*/ 376114 w 541337"/>
                  <a:gd name="connsiteY51" fmla="*/ 152400 h 534988"/>
                  <a:gd name="connsiteX52" fmla="*/ 419623 w 541337"/>
                  <a:gd name="connsiteY52" fmla="*/ 152400 h 534988"/>
                  <a:gd name="connsiteX53" fmla="*/ 434975 w 541337"/>
                  <a:gd name="connsiteY53" fmla="*/ 152400 h 534988"/>
                  <a:gd name="connsiteX54" fmla="*/ 456674 w 541337"/>
                  <a:gd name="connsiteY54" fmla="*/ 152400 h 534988"/>
                  <a:gd name="connsiteX55" fmla="*/ 483222 w 541337"/>
                  <a:gd name="connsiteY55" fmla="*/ 152400 h 534988"/>
                  <a:gd name="connsiteX56" fmla="*/ 500062 w 541337"/>
                  <a:gd name="connsiteY56" fmla="*/ 152400 h 534988"/>
                  <a:gd name="connsiteX57" fmla="*/ 500062 w 541337"/>
                  <a:gd name="connsiteY57" fmla="*/ 124900 h 534988"/>
                  <a:gd name="connsiteX58" fmla="*/ 500062 w 541337"/>
                  <a:gd name="connsiteY58" fmla="*/ 77633 h 534988"/>
                  <a:gd name="connsiteX59" fmla="*/ 463051 w 541337"/>
                  <a:gd name="connsiteY59" fmla="*/ 42862 h 534988"/>
                  <a:gd name="connsiteX60" fmla="*/ 434975 w 541337"/>
                  <a:gd name="connsiteY60" fmla="*/ 42862 h 534988"/>
                  <a:gd name="connsiteX61" fmla="*/ 77696 w 541337"/>
                  <a:gd name="connsiteY61" fmla="*/ 42862 h 534988"/>
                  <a:gd name="connsiteX62" fmla="*/ 42862 w 541337"/>
                  <a:gd name="connsiteY62" fmla="*/ 77633 h 534988"/>
                  <a:gd name="connsiteX63" fmla="*/ 42862 w 541337"/>
                  <a:gd name="connsiteY63" fmla="*/ 144194 h 534988"/>
                  <a:gd name="connsiteX64" fmla="*/ 42862 w 541337"/>
                  <a:gd name="connsiteY64" fmla="*/ 152400 h 534988"/>
                  <a:gd name="connsiteX65" fmla="*/ 72537 w 541337"/>
                  <a:gd name="connsiteY65" fmla="*/ 152400 h 534988"/>
                  <a:gd name="connsiteX66" fmla="*/ 108737 w 541337"/>
                  <a:gd name="connsiteY66" fmla="*/ 152400 h 534988"/>
                  <a:gd name="connsiteX67" fmla="*/ 133625 w 541337"/>
                  <a:gd name="connsiteY67" fmla="*/ 152400 h 534988"/>
                  <a:gd name="connsiteX68" fmla="*/ 133350 w 541337"/>
                  <a:gd name="connsiteY68" fmla="*/ 151829 h 534988"/>
                  <a:gd name="connsiteX69" fmla="*/ 133350 w 541337"/>
                  <a:gd name="connsiteY69" fmla="*/ 45000 h 534988"/>
                  <a:gd name="connsiteX70" fmla="*/ 133350 w 541337"/>
                  <a:gd name="connsiteY70" fmla="*/ 42862 h 534988"/>
                  <a:gd name="connsiteX71" fmla="*/ 78266 w 541337"/>
                  <a:gd name="connsiteY71" fmla="*/ 0 h 534988"/>
                  <a:gd name="connsiteX72" fmla="*/ 463071 w 541337"/>
                  <a:gd name="connsiteY72" fmla="*/ 0 h 534988"/>
                  <a:gd name="connsiteX73" fmla="*/ 541337 w 541337"/>
                  <a:gd name="connsiteY73" fmla="*/ 78291 h 534988"/>
                  <a:gd name="connsiteX74" fmla="*/ 541337 w 541337"/>
                  <a:gd name="connsiteY74" fmla="*/ 144900 h 534988"/>
                  <a:gd name="connsiteX75" fmla="*/ 541337 w 541337"/>
                  <a:gd name="connsiteY75" fmla="*/ 173832 h 534988"/>
                  <a:gd name="connsiteX76" fmla="*/ 541337 w 541337"/>
                  <a:gd name="connsiteY76" fmla="*/ 203195 h 534988"/>
                  <a:gd name="connsiteX77" fmla="*/ 541337 w 541337"/>
                  <a:gd name="connsiteY77" fmla="*/ 456697 h 534988"/>
                  <a:gd name="connsiteX78" fmla="*/ 463071 w 541337"/>
                  <a:gd name="connsiteY78" fmla="*/ 534988 h 534988"/>
                  <a:gd name="connsiteX79" fmla="*/ 78266 w 541337"/>
                  <a:gd name="connsiteY79" fmla="*/ 534988 h 534988"/>
                  <a:gd name="connsiteX80" fmla="*/ 0 w 541337"/>
                  <a:gd name="connsiteY80" fmla="*/ 456697 h 534988"/>
                  <a:gd name="connsiteX81" fmla="*/ 0 w 541337"/>
                  <a:gd name="connsiteY81" fmla="*/ 78291 h 534988"/>
                  <a:gd name="connsiteX82" fmla="*/ 78266 w 541337"/>
                  <a:gd name="connsiteY82" fmla="*/ 0 h 5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1337" h="534988">
                    <a:moveTo>
                      <a:pt x="270668" y="223836"/>
                    </a:moveTo>
                    <a:cubicBezTo>
                      <a:pt x="245680" y="223836"/>
                      <a:pt x="225424" y="243382"/>
                      <a:pt x="225424" y="267493"/>
                    </a:cubicBezTo>
                    <a:cubicBezTo>
                      <a:pt x="225424" y="291604"/>
                      <a:pt x="245680" y="311150"/>
                      <a:pt x="270668" y="311150"/>
                    </a:cubicBezTo>
                    <a:cubicBezTo>
                      <a:pt x="295656" y="311150"/>
                      <a:pt x="315912" y="291604"/>
                      <a:pt x="315912" y="267493"/>
                    </a:cubicBezTo>
                    <a:cubicBezTo>
                      <a:pt x="315912" y="243382"/>
                      <a:pt x="295656" y="223836"/>
                      <a:pt x="270668" y="223836"/>
                    </a:cubicBezTo>
                    <a:close/>
                    <a:moveTo>
                      <a:pt x="42862" y="195263"/>
                    </a:moveTo>
                    <a:lnTo>
                      <a:pt x="42862" y="202446"/>
                    </a:lnTo>
                    <a:cubicBezTo>
                      <a:pt x="42862" y="455766"/>
                      <a:pt x="42862" y="455766"/>
                      <a:pt x="42862" y="455766"/>
                    </a:cubicBezTo>
                    <a:cubicBezTo>
                      <a:pt x="42862" y="475325"/>
                      <a:pt x="58102" y="490537"/>
                      <a:pt x="77696" y="490537"/>
                    </a:cubicBezTo>
                    <a:cubicBezTo>
                      <a:pt x="463051" y="490537"/>
                      <a:pt x="463051" y="490537"/>
                      <a:pt x="463051" y="490537"/>
                    </a:cubicBezTo>
                    <a:cubicBezTo>
                      <a:pt x="482645" y="490537"/>
                      <a:pt x="500062" y="475325"/>
                      <a:pt x="500062" y="455766"/>
                    </a:cubicBezTo>
                    <a:cubicBezTo>
                      <a:pt x="500062" y="361233"/>
                      <a:pt x="500062" y="290333"/>
                      <a:pt x="500062" y="237158"/>
                    </a:cubicBezTo>
                    <a:lnTo>
                      <a:pt x="500062" y="195263"/>
                    </a:lnTo>
                    <a:lnTo>
                      <a:pt x="470386" y="195263"/>
                    </a:lnTo>
                    <a:cubicBezTo>
                      <a:pt x="456090" y="195263"/>
                      <a:pt x="443838" y="195263"/>
                      <a:pt x="433335" y="195263"/>
                    </a:cubicBezTo>
                    <a:lnTo>
                      <a:pt x="408673" y="195263"/>
                    </a:lnTo>
                    <a:lnTo>
                      <a:pt x="416336" y="206628"/>
                    </a:lnTo>
                    <a:cubicBezTo>
                      <a:pt x="424248" y="225336"/>
                      <a:pt x="428624" y="245904"/>
                      <a:pt x="428624" y="267494"/>
                    </a:cubicBezTo>
                    <a:cubicBezTo>
                      <a:pt x="428624" y="353854"/>
                      <a:pt x="358615" y="423863"/>
                      <a:pt x="272255" y="423863"/>
                    </a:cubicBezTo>
                    <a:cubicBezTo>
                      <a:pt x="185895" y="423863"/>
                      <a:pt x="115886" y="353854"/>
                      <a:pt x="115886" y="267494"/>
                    </a:cubicBezTo>
                    <a:cubicBezTo>
                      <a:pt x="115886" y="245904"/>
                      <a:pt x="120262" y="225336"/>
                      <a:pt x="128174" y="206628"/>
                    </a:cubicBezTo>
                    <a:lnTo>
                      <a:pt x="135837" y="195263"/>
                    </a:lnTo>
                    <a:lnTo>
                      <a:pt x="122134" y="195263"/>
                    </a:lnTo>
                    <a:cubicBezTo>
                      <a:pt x="94200" y="195263"/>
                      <a:pt x="74248" y="195263"/>
                      <a:pt x="59996" y="195263"/>
                    </a:cubicBezTo>
                    <a:close/>
                    <a:moveTo>
                      <a:pt x="270668" y="179386"/>
                    </a:moveTo>
                    <a:cubicBezTo>
                      <a:pt x="318451" y="179386"/>
                      <a:pt x="357187" y="218477"/>
                      <a:pt x="357187" y="266699"/>
                    </a:cubicBezTo>
                    <a:cubicBezTo>
                      <a:pt x="357187" y="314921"/>
                      <a:pt x="318451" y="354012"/>
                      <a:pt x="270668" y="354012"/>
                    </a:cubicBezTo>
                    <a:cubicBezTo>
                      <a:pt x="222885" y="354012"/>
                      <a:pt x="184149" y="314921"/>
                      <a:pt x="184149" y="266699"/>
                    </a:cubicBezTo>
                    <a:cubicBezTo>
                      <a:pt x="184149" y="218477"/>
                      <a:pt x="222885" y="179386"/>
                      <a:pt x="270668" y="179386"/>
                    </a:cubicBezTo>
                    <a:close/>
                    <a:moveTo>
                      <a:pt x="271461" y="152400"/>
                    </a:moveTo>
                    <a:cubicBezTo>
                      <a:pt x="208335" y="152400"/>
                      <a:pt x="157161" y="203929"/>
                      <a:pt x="157161" y="267494"/>
                    </a:cubicBezTo>
                    <a:cubicBezTo>
                      <a:pt x="157161" y="331059"/>
                      <a:pt x="208335" y="382588"/>
                      <a:pt x="271461" y="382588"/>
                    </a:cubicBezTo>
                    <a:cubicBezTo>
                      <a:pt x="334587" y="382588"/>
                      <a:pt x="385761" y="331059"/>
                      <a:pt x="385761" y="267494"/>
                    </a:cubicBezTo>
                    <a:cubicBezTo>
                      <a:pt x="385761" y="203929"/>
                      <a:pt x="334587" y="152400"/>
                      <a:pt x="271461" y="152400"/>
                    </a:cubicBezTo>
                    <a:close/>
                    <a:moveTo>
                      <a:pt x="434975" y="85725"/>
                    </a:moveTo>
                    <a:cubicBezTo>
                      <a:pt x="427961" y="85725"/>
                      <a:pt x="422275" y="91411"/>
                      <a:pt x="422275" y="98425"/>
                    </a:cubicBezTo>
                    <a:cubicBezTo>
                      <a:pt x="422275" y="105439"/>
                      <a:pt x="427961" y="111125"/>
                      <a:pt x="434975" y="111125"/>
                    </a:cubicBezTo>
                    <a:cubicBezTo>
                      <a:pt x="441989" y="111125"/>
                      <a:pt x="447675" y="105439"/>
                      <a:pt x="447675" y="98425"/>
                    </a:cubicBezTo>
                    <a:cubicBezTo>
                      <a:pt x="447675" y="91411"/>
                      <a:pt x="441989" y="85725"/>
                      <a:pt x="434975" y="85725"/>
                    </a:cubicBezTo>
                    <a:close/>
                    <a:moveTo>
                      <a:pt x="434975" y="42862"/>
                    </a:moveTo>
                    <a:cubicBezTo>
                      <a:pt x="464785" y="42862"/>
                      <a:pt x="488950" y="67383"/>
                      <a:pt x="488950" y="97631"/>
                    </a:cubicBezTo>
                    <a:cubicBezTo>
                      <a:pt x="488950" y="127879"/>
                      <a:pt x="464785" y="152400"/>
                      <a:pt x="434975" y="152400"/>
                    </a:cubicBezTo>
                    <a:cubicBezTo>
                      <a:pt x="405165" y="152400"/>
                      <a:pt x="381000" y="127879"/>
                      <a:pt x="381000" y="97631"/>
                    </a:cubicBezTo>
                    <a:cubicBezTo>
                      <a:pt x="381000" y="67383"/>
                      <a:pt x="405165" y="42862"/>
                      <a:pt x="434975" y="42862"/>
                    </a:cubicBezTo>
                    <a:close/>
                    <a:moveTo>
                      <a:pt x="176212" y="42862"/>
                    </a:moveTo>
                    <a:lnTo>
                      <a:pt x="176212" y="70038"/>
                    </a:lnTo>
                    <a:cubicBezTo>
                      <a:pt x="176212" y="110933"/>
                      <a:pt x="176212" y="131381"/>
                      <a:pt x="176212" y="141605"/>
                    </a:cubicBezTo>
                    <a:lnTo>
                      <a:pt x="176212" y="147131"/>
                    </a:lnTo>
                    <a:lnTo>
                      <a:pt x="211389" y="123413"/>
                    </a:lnTo>
                    <a:cubicBezTo>
                      <a:pt x="230097" y="115501"/>
                      <a:pt x="250665" y="111125"/>
                      <a:pt x="272255" y="111125"/>
                    </a:cubicBezTo>
                    <a:cubicBezTo>
                      <a:pt x="293845" y="111125"/>
                      <a:pt x="314413" y="115501"/>
                      <a:pt x="333121" y="123413"/>
                    </a:cubicBezTo>
                    <a:lnTo>
                      <a:pt x="376114" y="152400"/>
                    </a:lnTo>
                    <a:lnTo>
                      <a:pt x="419623" y="152400"/>
                    </a:lnTo>
                    <a:lnTo>
                      <a:pt x="434975" y="152400"/>
                    </a:lnTo>
                    <a:lnTo>
                      <a:pt x="456674" y="152400"/>
                    </a:lnTo>
                    <a:cubicBezTo>
                      <a:pt x="467176" y="152400"/>
                      <a:pt x="475929" y="152400"/>
                      <a:pt x="483222" y="152400"/>
                    </a:cubicBezTo>
                    <a:lnTo>
                      <a:pt x="500062" y="152400"/>
                    </a:lnTo>
                    <a:lnTo>
                      <a:pt x="500062" y="124900"/>
                    </a:lnTo>
                    <a:cubicBezTo>
                      <a:pt x="500062" y="77633"/>
                      <a:pt x="500062" y="77633"/>
                      <a:pt x="500062" y="77633"/>
                    </a:cubicBezTo>
                    <a:cubicBezTo>
                      <a:pt x="500062" y="58074"/>
                      <a:pt x="482645" y="42862"/>
                      <a:pt x="463051" y="42862"/>
                    </a:cubicBezTo>
                    <a:lnTo>
                      <a:pt x="434975" y="42862"/>
                    </a:lnTo>
                    <a:close/>
                    <a:moveTo>
                      <a:pt x="77696" y="42862"/>
                    </a:moveTo>
                    <a:cubicBezTo>
                      <a:pt x="58102" y="42862"/>
                      <a:pt x="42862" y="58074"/>
                      <a:pt x="42862" y="77633"/>
                    </a:cubicBezTo>
                    <a:cubicBezTo>
                      <a:pt x="42862" y="101266"/>
                      <a:pt x="42862" y="123423"/>
                      <a:pt x="42862" y="144194"/>
                    </a:cubicBezTo>
                    <a:lnTo>
                      <a:pt x="42862" y="152400"/>
                    </a:lnTo>
                    <a:lnTo>
                      <a:pt x="72537" y="152400"/>
                    </a:lnTo>
                    <a:cubicBezTo>
                      <a:pt x="86504" y="152400"/>
                      <a:pt x="98476" y="152400"/>
                      <a:pt x="108737" y="152400"/>
                    </a:cubicBezTo>
                    <a:lnTo>
                      <a:pt x="133625" y="152400"/>
                    </a:lnTo>
                    <a:lnTo>
                      <a:pt x="133350" y="151829"/>
                    </a:lnTo>
                    <a:cubicBezTo>
                      <a:pt x="133350" y="90784"/>
                      <a:pt x="133350" y="60261"/>
                      <a:pt x="133350" y="45000"/>
                    </a:cubicBezTo>
                    <a:lnTo>
                      <a:pt x="133350" y="42862"/>
                    </a:lnTo>
                    <a:close/>
                    <a:moveTo>
                      <a:pt x="78266" y="0"/>
                    </a:moveTo>
                    <a:cubicBezTo>
                      <a:pt x="463071" y="0"/>
                      <a:pt x="463071" y="0"/>
                      <a:pt x="463071" y="0"/>
                    </a:cubicBezTo>
                    <a:cubicBezTo>
                      <a:pt x="506552" y="0"/>
                      <a:pt x="541337" y="34796"/>
                      <a:pt x="541337" y="78291"/>
                    </a:cubicBezTo>
                    <a:cubicBezTo>
                      <a:pt x="541337" y="101941"/>
                      <a:pt x="541337" y="124114"/>
                      <a:pt x="541337" y="144900"/>
                    </a:cubicBezTo>
                    <a:lnTo>
                      <a:pt x="541337" y="173832"/>
                    </a:lnTo>
                    <a:lnTo>
                      <a:pt x="541337" y="203195"/>
                    </a:lnTo>
                    <a:cubicBezTo>
                      <a:pt x="541337" y="456697"/>
                      <a:pt x="541337" y="456697"/>
                      <a:pt x="541337" y="456697"/>
                    </a:cubicBezTo>
                    <a:cubicBezTo>
                      <a:pt x="541337" y="500192"/>
                      <a:pt x="506552" y="534988"/>
                      <a:pt x="463071" y="534988"/>
                    </a:cubicBezTo>
                    <a:cubicBezTo>
                      <a:pt x="78266" y="534988"/>
                      <a:pt x="78266" y="534988"/>
                      <a:pt x="78266" y="534988"/>
                    </a:cubicBezTo>
                    <a:cubicBezTo>
                      <a:pt x="34785" y="534988"/>
                      <a:pt x="0" y="500192"/>
                      <a:pt x="0" y="456697"/>
                    </a:cubicBezTo>
                    <a:cubicBezTo>
                      <a:pt x="0" y="78291"/>
                      <a:pt x="0" y="78291"/>
                      <a:pt x="0" y="78291"/>
                    </a:cubicBezTo>
                    <a:cubicBezTo>
                      <a:pt x="0" y="34796"/>
                      <a:pt x="34785" y="0"/>
                      <a:pt x="78266" y="0"/>
                    </a:cubicBezTo>
                    <a:close/>
                  </a:path>
                </a:pathLst>
              </a:custGeom>
              <a:solidFill>
                <a:srgbClr val="0072C6"/>
              </a:solidFill>
              <a:ln w="190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50" name="Freeform 49"/>
              <p:cNvSpPr>
                <a:spLocks/>
              </p:cNvSpPr>
              <p:nvPr/>
            </p:nvSpPr>
            <p:spPr bwMode="auto">
              <a:xfrm>
                <a:off x="2415352" y="3204967"/>
                <a:ext cx="314160" cy="300009"/>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51" name="Freeform 50"/>
              <p:cNvSpPr>
                <a:spLocks/>
              </p:cNvSpPr>
              <p:nvPr/>
            </p:nvSpPr>
            <p:spPr bwMode="auto">
              <a:xfrm>
                <a:off x="2196277" y="3728316"/>
                <a:ext cx="468812" cy="471985"/>
              </a:xfrm>
              <a:custGeom>
                <a:avLst/>
                <a:gdLst>
                  <a:gd name="connsiteX0" fmla="*/ 290954 w 468812"/>
                  <a:gd name="connsiteY0" fmla="*/ 32247 h 471985"/>
                  <a:gd name="connsiteX1" fmla="*/ 30163 w 468812"/>
                  <a:gd name="connsiteY1" fmla="*/ 293039 h 471985"/>
                  <a:gd name="connsiteX2" fmla="*/ 56242 w 468812"/>
                  <a:gd name="connsiteY2" fmla="*/ 319118 h 471985"/>
                  <a:gd name="connsiteX3" fmla="*/ 143173 w 468812"/>
                  <a:gd name="connsiteY3" fmla="*/ 332157 h 471985"/>
                  <a:gd name="connsiteX4" fmla="*/ 149692 w 468812"/>
                  <a:gd name="connsiteY4" fmla="*/ 414741 h 471985"/>
                  <a:gd name="connsiteX5" fmla="*/ 175772 w 468812"/>
                  <a:gd name="connsiteY5" fmla="*/ 438647 h 471985"/>
                  <a:gd name="connsiteX6" fmla="*/ 436563 w 468812"/>
                  <a:gd name="connsiteY6" fmla="*/ 180029 h 471985"/>
                  <a:gd name="connsiteX7" fmla="*/ 414830 w 468812"/>
                  <a:gd name="connsiteY7" fmla="*/ 156123 h 471985"/>
                  <a:gd name="connsiteX8" fmla="*/ 327900 w 468812"/>
                  <a:gd name="connsiteY8" fmla="*/ 140910 h 471985"/>
                  <a:gd name="connsiteX9" fmla="*/ 317034 w 468812"/>
                  <a:gd name="connsiteY9" fmla="*/ 58326 h 471985"/>
                  <a:gd name="connsiteX10" fmla="*/ 290954 w 468812"/>
                  <a:gd name="connsiteY10" fmla="*/ 32247 h 471985"/>
                  <a:gd name="connsiteX11" fmla="*/ 282810 w 468812"/>
                  <a:gd name="connsiteY11" fmla="*/ 3270 h 471985"/>
                  <a:gd name="connsiteX12" fmla="*/ 302389 w 468812"/>
                  <a:gd name="connsiteY12" fmla="*/ 3270 h 471985"/>
                  <a:gd name="connsiteX13" fmla="*/ 343723 w 468812"/>
                  <a:gd name="connsiteY13" fmla="*/ 44692 h 471985"/>
                  <a:gd name="connsiteX14" fmla="*/ 345899 w 468812"/>
                  <a:gd name="connsiteY14" fmla="*/ 62132 h 471985"/>
                  <a:gd name="connsiteX15" fmla="*/ 345899 w 468812"/>
                  <a:gd name="connsiteY15" fmla="*/ 120994 h 471985"/>
                  <a:gd name="connsiteX16" fmla="*/ 406812 w 468812"/>
                  <a:gd name="connsiteY16" fmla="*/ 129714 h 471985"/>
                  <a:gd name="connsiteX17" fmla="*/ 426391 w 468812"/>
                  <a:gd name="connsiteY17" fmla="*/ 129714 h 471985"/>
                  <a:gd name="connsiteX18" fmla="*/ 465549 w 468812"/>
                  <a:gd name="connsiteY18" fmla="*/ 171136 h 471985"/>
                  <a:gd name="connsiteX19" fmla="*/ 465549 w 468812"/>
                  <a:gd name="connsiteY19" fmla="*/ 188576 h 471985"/>
                  <a:gd name="connsiteX20" fmla="*/ 184914 w 468812"/>
                  <a:gd name="connsiteY20" fmla="*/ 467625 h 471985"/>
                  <a:gd name="connsiteX21" fmla="*/ 176212 w 468812"/>
                  <a:gd name="connsiteY21" fmla="*/ 471985 h 471985"/>
                  <a:gd name="connsiteX22" fmla="*/ 165335 w 468812"/>
                  <a:gd name="connsiteY22" fmla="*/ 467625 h 471985"/>
                  <a:gd name="connsiteX23" fmla="*/ 124001 w 468812"/>
                  <a:gd name="connsiteY23" fmla="*/ 424024 h 471985"/>
                  <a:gd name="connsiteX24" fmla="*/ 124001 w 468812"/>
                  <a:gd name="connsiteY24" fmla="*/ 406583 h 471985"/>
                  <a:gd name="connsiteX25" fmla="*/ 121826 w 468812"/>
                  <a:gd name="connsiteY25" fmla="*/ 349901 h 471985"/>
                  <a:gd name="connsiteX26" fmla="*/ 60913 w 468812"/>
                  <a:gd name="connsiteY26" fmla="*/ 345541 h 471985"/>
                  <a:gd name="connsiteX27" fmla="*/ 43509 w 468812"/>
                  <a:gd name="connsiteY27" fmla="*/ 345541 h 471985"/>
                  <a:gd name="connsiteX28" fmla="*/ 2175 w 468812"/>
                  <a:gd name="connsiteY28" fmla="*/ 301940 h 471985"/>
                  <a:gd name="connsiteX29" fmla="*/ 0 w 468812"/>
                  <a:gd name="connsiteY29" fmla="*/ 293219 h 471985"/>
                  <a:gd name="connsiteX30" fmla="*/ 2175 w 468812"/>
                  <a:gd name="connsiteY30" fmla="*/ 284499 h 471985"/>
                  <a:gd name="connsiteX31" fmla="*/ 282810 w 468812"/>
                  <a:gd name="connsiteY31" fmla="*/ 3270 h 47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812" h="471985">
                    <a:moveTo>
                      <a:pt x="290954" y="32247"/>
                    </a:moveTo>
                    <a:cubicBezTo>
                      <a:pt x="30163" y="293039"/>
                      <a:pt x="30163" y="293039"/>
                      <a:pt x="30163" y="293039"/>
                    </a:cubicBezTo>
                    <a:cubicBezTo>
                      <a:pt x="56242" y="319118"/>
                      <a:pt x="56242" y="319118"/>
                      <a:pt x="56242" y="319118"/>
                    </a:cubicBezTo>
                    <a:cubicBezTo>
                      <a:pt x="77975" y="306078"/>
                      <a:pt x="114920" y="299558"/>
                      <a:pt x="143173" y="332157"/>
                    </a:cubicBezTo>
                    <a:cubicBezTo>
                      <a:pt x="169252" y="364756"/>
                      <a:pt x="160559" y="395182"/>
                      <a:pt x="149692" y="414741"/>
                    </a:cubicBezTo>
                    <a:cubicBezTo>
                      <a:pt x="175772" y="438647"/>
                      <a:pt x="175772" y="438647"/>
                      <a:pt x="175772" y="438647"/>
                    </a:cubicBezTo>
                    <a:cubicBezTo>
                      <a:pt x="436563" y="180029"/>
                      <a:pt x="436563" y="180029"/>
                      <a:pt x="436563" y="180029"/>
                    </a:cubicBezTo>
                    <a:cubicBezTo>
                      <a:pt x="414830" y="156123"/>
                      <a:pt x="414830" y="156123"/>
                      <a:pt x="414830" y="156123"/>
                    </a:cubicBezTo>
                    <a:cubicBezTo>
                      <a:pt x="395271" y="166989"/>
                      <a:pt x="362672" y="173509"/>
                      <a:pt x="327900" y="140910"/>
                    </a:cubicBezTo>
                    <a:cubicBezTo>
                      <a:pt x="301821" y="112658"/>
                      <a:pt x="308341" y="77886"/>
                      <a:pt x="317034" y="58326"/>
                    </a:cubicBezTo>
                    <a:cubicBezTo>
                      <a:pt x="290954" y="32247"/>
                      <a:pt x="290954" y="32247"/>
                      <a:pt x="290954" y="32247"/>
                    </a:cubicBezTo>
                    <a:close/>
                    <a:moveTo>
                      <a:pt x="282810" y="3270"/>
                    </a:moveTo>
                    <a:cubicBezTo>
                      <a:pt x="287161" y="-1090"/>
                      <a:pt x="295863" y="-1090"/>
                      <a:pt x="302389" y="3270"/>
                    </a:cubicBezTo>
                    <a:cubicBezTo>
                      <a:pt x="343723" y="44692"/>
                      <a:pt x="343723" y="44692"/>
                      <a:pt x="343723" y="44692"/>
                    </a:cubicBezTo>
                    <a:cubicBezTo>
                      <a:pt x="348074" y="49052"/>
                      <a:pt x="348074" y="57772"/>
                      <a:pt x="345899" y="62132"/>
                    </a:cubicBezTo>
                    <a:cubicBezTo>
                      <a:pt x="343723" y="64312"/>
                      <a:pt x="321969" y="97013"/>
                      <a:pt x="345899" y="120994"/>
                    </a:cubicBezTo>
                    <a:cubicBezTo>
                      <a:pt x="380706" y="151515"/>
                      <a:pt x="404636" y="131894"/>
                      <a:pt x="406812" y="129714"/>
                    </a:cubicBezTo>
                    <a:cubicBezTo>
                      <a:pt x="413338" y="123174"/>
                      <a:pt x="422040" y="125354"/>
                      <a:pt x="426391" y="129714"/>
                    </a:cubicBezTo>
                    <a:cubicBezTo>
                      <a:pt x="465549" y="171136"/>
                      <a:pt x="465549" y="171136"/>
                      <a:pt x="465549" y="171136"/>
                    </a:cubicBezTo>
                    <a:cubicBezTo>
                      <a:pt x="469900" y="175496"/>
                      <a:pt x="469900" y="184216"/>
                      <a:pt x="465549" y="188576"/>
                    </a:cubicBezTo>
                    <a:cubicBezTo>
                      <a:pt x="184914" y="467625"/>
                      <a:pt x="184914" y="467625"/>
                      <a:pt x="184914" y="467625"/>
                    </a:cubicBezTo>
                    <a:cubicBezTo>
                      <a:pt x="182739" y="469805"/>
                      <a:pt x="178388" y="471985"/>
                      <a:pt x="176212" y="471985"/>
                    </a:cubicBezTo>
                    <a:cubicBezTo>
                      <a:pt x="171862" y="471985"/>
                      <a:pt x="167511" y="469805"/>
                      <a:pt x="165335" y="467625"/>
                    </a:cubicBezTo>
                    <a:cubicBezTo>
                      <a:pt x="124001" y="424024"/>
                      <a:pt x="124001" y="424024"/>
                      <a:pt x="124001" y="424024"/>
                    </a:cubicBezTo>
                    <a:cubicBezTo>
                      <a:pt x="119650" y="419663"/>
                      <a:pt x="119650" y="410943"/>
                      <a:pt x="124001" y="406583"/>
                    </a:cubicBezTo>
                    <a:cubicBezTo>
                      <a:pt x="126177" y="404403"/>
                      <a:pt x="147931" y="380422"/>
                      <a:pt x="121826" y="349901"/>
                    </a:cubicBezTo>
                    <a:cubicBezTo>
                      <a:pt x="97896" y="319380"/>
                      <a:pt x="63088" y="345541"/>
                      <a:pt x="60913" y="345541"/>
                    </a:cubicBezTo>
                    <a:cubicBezTo>
                      <a:pt x="56562" y="349901"/>
                      <a:pt x="50036" y="349901"/>
                      <a:pt x="43509" y="345541"/>
                    </a:cubicBezTo>
                    <a:cubicBezTo>
                      <a:pt x="2175" y="301940"/>
                      <a:pt x="2175" y="301940"/>
                      <a:pt x="2175" y="301940"/>
                    </a:cubicBezTo>
                    <a:cubicBezTo>
                      <a:pt x="0" y="299760"/>
                      <a:pt x="0" y="297580"/>
                      <a:pt x="0" y="293219"/>
                    </a:cubicBezTo>
                    <a:cubicBezTo>
                      <a:pt x="0" y="291039"/>
                      <a:pt x="0" y="286679"/>
                      <a:pt x="2175" y="284499"/>
                    </a:cubicBezTo>
                    <a:cubicBezTo>
                      <a:pt x="282810" y="3270"/>
                      <a:pt x="282810" y="3270"/>
                      <a:pt x="282810" y="327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52" name="Freeform 77"/>
              <p:cNvSpPr>
                <a:spLocks/>
              </p:cNvSpPr>
              <p:nvPr/>
            </p:nvSpPr>
            <p:spPr bwMode="auto">
              <a:xfrm>
                <a:off x="2502665" y="3955826"/>
                <a:ext cx="58737" cy="57150"/>
              </a:xfrm>
              <a:custGeom>
                <a:avLst/>
                <a:gdLst>
                  <a:gd name="T0" fmla="*/ 20 w 27"/>
                  <a:gd name="T1" fmla="*/ 26 h 26"/>
                  <a:gd name="T2" fmla="*/ 16 w 27"/>
                  <a:gd name="T3" fmla="*/ 24 h 26"/>
                  <a:gd name="T4" fmla="*/ 3 w 27"/>
                  <a:gd name="T5" fmla="*/ 11 h 26"/>
                  <a:gd name="T6" fmla="*/ 3 w 27"/>
                  <a:gd name="T7" fmla="*/ 3 h 26"/>
                  <a:gd name="T8" fmla="*/ 11 w 27"/>
                  <a:gd name="T9" fmla="*/ 3 h 26"/>
                  <a:gd name="T10" fmla="*/ 24 w 27"/>
                  <a:gd name="T11" fmla="*/ 16 h 26"/>
                  <a:gd name="T12" fmla="*/ 24 w 27"/>
                  <a:gd name="T13" fmla="*/ 24 h 26"/>
                  <a:gd name="T14" fmla="*/ 20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0" y="26"/>
                    </a:moveTo>
                    <a:cubicBezTo>
                      <a:pt x="19" y="26"/>
                      <a:pt x="17" y="25"/>
                      <a:pt x="16" y="24"/>
                    </a:cubicBezTo>
                    <a:cubicBezTo>
                      <a:pt x="3" y="11"/>
                      <a:pt x="3" y="11"/>
                      <a:pt x="3" y="11"/>
                    </a:cubicBezTo>
                    <a:cubicBezTo>
                      <a:pt x="0" y="9"/>
                      <a:pt x="0" y="5"/>
                      <a:pt x="3" y="3"/>
                    </a:cubicBezTo>
                    <a:cubicBezTo>
                      <a:pt x="5" y="0"/>
                      <a:pt x="9" y="0"/>
                      <a:pt x="11" y="3"/>
                    </a:cubicBezTo>
                    <a:cubicBezTo>
                      <a:pt x="24" y="16"/>
                      <a:pt x="24" y="16"/>
                      <a:pt x="24" y="16"/>
                    </a:cubicBezTo>
                    <a:cubicBezTo>
                      <a:pt x="27" y="18"/>
                      <a:pt x="27" y="22"/>
                      <a:pt x="24" y="24"/>
                    </a:cubicBezTo>
                    <a:cubicBezTo>
                      <a:pt x="23" y="25"/>
                      <a:pt x="22" y="26"/>
                      <a:pt x="20"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78"/>
              <p:cNvSpPr>
                <a:spLocks/>
              </p:cNvSpPr>
              <p:nvPr/>
            </p:nvSpPr>
            <p:spPr bwMode="auto">
              <a:xfrm>
                <a:off x="2462977" y="3914551"/>
                <a:ext cx="57150" cy="57150"/>
              </a:xfrm>
              <a:custGeom>
                <a:avLst/>
                <a:gdLst>
                  <a:gd name="T0" fmla="*/ 19 w 26"/>
                  <a:gd name="T1" fmla="*/ 26 h 26"/>
                  <a:gd name="T2" fmla="*/ 15 w 26"/>
                  <a:gd name="T3" fmla="*/ 24 h 26"/>
                  <a:gd name="T4" fmla="*/ 2 w 26"/>
                  <a:gd name="T5" fmla="*/ 11 h 26"/>
                  <a:gd name="T6" fmla="*/ 2 w 26"/>
                  <a:gd name="T7" fmla="*/ 3 h 26"/>
                  <a:gd name="T8" fmla="*/ 11 w 26"/>
                  <a:gd name="T9" fmla="*/ 3 h 26"/>
                  <a:gd name="T10" fmla="*/ 24 w 26"/>
                  <a:gd name="T11" fmla="*/ 16 h 26"/>
                  <a:gd name="T12" fmla="*/ 24 w 26"/>
                  <a:gd name="T13" fmla="*/ 24 h 26"/>
                  <a:gd name="T14" fmla="*/ 19 w 2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6">
                    <a:moveTo>
                      <a:pt x="19" y="26"/>
                    </a:moveTo>
                    <a:cubicBezTo>
                      <a:pt x="18" y="26"/>
                      <a:pt x="16" y="26"/>
                      <a:pt x="15" y="24"/>
                    </a:cubicBezTo>
                    <a:cubicBezTo>
                      <a:pt x="2" y="11"/>
                      <a:pt x="2" y="11"/>
                      <a:pt x="2" y="11"/>
                    </a:cubicBezTo>
                    <a:cubicBezTo>
                      <a:pt x="0" y="9"/>
                      <a:pt x="0" y="5"/>
                      <a:pt x="2" y="3"/>
                    </a:cubicBezTo>
                    <a:cubicBezTo>
                      <a:pt x="4" y="0"/>
                      <a:pt x="8" y="0"/>
                      <a:pt x="11" y="3"/>
                    </a:cubicBezTo>
                    <a:cubicBezTo>
                      <a:pt x="24" y="16"/>
                      <a:pt x="24" y="16"/>
                      <a:pt x="24" y="16"/>
                    </a:cubicBezTo>
                    <a:cubicBezTo>
                      <a:pt x="26" y="18"/>
                      <a:pt x="26" y="22"/>
                      <a:pt x="24" y="24"/>
                    </a:cubicBezTo>
                    <a:cubicBezTo>
                      <a:pt x="22" y="26"/>
                      <a:pt x="21" y="26"/>
                      <a:pt x="19"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79"/>
              <p:cNvSpPr>
                <a:spLocks/>
              </p:cNvSpPr>
              <p:nvPr/>
            </p:nvSpPr>
            <p:spPr bwMode="auto">
              <a:xfrm>
                <a:off x="2420115" y="3874863"/>
                <a:ext cx="57150" cy="55563"/>
              </a:xfrm>
              <a:custGeom>
                <a:avLst/>
                <a:gdLst>
                  <a:gd name="T0" fmla="*/ 19 w 26"/>
                  <a:gd name="T1" fmla="*/ 25 h 25"/>
                  <a:gd name="T2" fmla="*/ 15 w 26"/>
                  <a:gd name="T3" fmla="*/ 24 h 25"/>
                  <a:gd name="T4" fmla="*/ 2 w 26"/>
                  <a:gd name="T5" fmla="*/ 11 h 25"/>
                  <a:gd name="T6" fmla="*/ 2 w 26"/>
                  <a:gd name="T7" fmla="*/ 2 h 25"/>
                  <a:gd name="T8" fmla="*/ 11 w 26"/>
                  <a:gd name="T9" fmla="*/ 2 h 25"/>
                  <a:gd name="T10" fmla="*/ 24 w 26"/>
                  <a:gd name="T11" fmla="*/ 15 h 25"/>
                  <a:gd name="T12" fmla="*/ 24 w 26"/>
                  <a:gd name="T13" fmla="*/ 24 h 25"/>
                  <a:gd name="T14" fmla="*/ 19 w 26"/>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5">
                    <a:moveTo>
                      <a:pt x="19" y="25"/>
                    </a:moveTo>
                    <a:cubicBezTo>
                      <a:pt x="18" y="25"/>
                      <a:pt x="16" y="25"/>
                      <a:pt x="15" y="24"/>
                    </a:cubicBezTo>
                    <a:cubicBezTo>
                      <a:pt x="2" y="11"/>
                      <a:pt x="2" y="11"/>
                      <a:pt x="2" y="11"/>
                    </a:cubicBezTo>
                    <a:cubicBezTo>
                      <a:pt x="0" y="8"/>
                      <a:pt x="0" y="4"/>
                      <a:pt x="2" y="2"/>
                    </a:cubicBezTo>
                    <a:cubicBezTo>
                      <a:pt x="5" y="0"/>
                      <a:pt x="8" y="0"/>
                      <a:pt x="11" y="2"/>
                    </a:cubicBezTo>
                    <a:cubicBezTo>
                      <a:pt x="24" y="15"/>
                      <a:pt x="24" y="15"/>
                      <a:pt x="24" y="15"/>
                    </a:cubicBezTo>
                    <a:cubicBezTo>
                      <a:pt x="26" y="17"/>
                      <a:pt x="26" y="21"/>
                      <a:pt x="24" y="24"/>
                    </a:cubicBezTo>
                    <a:cubicBezTo>
                      <a:pt x="23" y="25"/>
                      <a:pt x="21" y="25"/>
                      <a:pt x="19" y="2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80"/>
              <p:cNvSpPr>
                <a:spLocks/>
              </p:cNvSpPr>
              <p:nvPr/>
            </p:nvSpPr>
            <p:spPr bwMode="auto">
              <a:xfrm>
                <a:off x="2378840" y="3833588"/>
                <a:ext cx="55562" cy="57150"/>
              </a:xfrm>
              <a:custGeom>
                <a:avLst/>
                <a:gdLst>
                  <a:gd name="T0" fmla="*/ 19 w 26"/>
                  <a:gd name="T1" fmla="*/ 26 h 26"/>
                  <a:gd name="T2" fmla="*/ 15 w 26"/>
                  <a:gd name="T3" fmla="*/ 24 h 26"/>
                  <a:gd name="T4" fmla="*/ 2 w 26"/>
                  <a:gd name="T5" fmla="*/ 11 h 26"/>
                  <a:gd name="T6" fmla="*/ 2 w 26"/>
                  <a:gd name="T7" fmla="*/ 2 h 26"/>
                  <a:gd name="T8" fmla="*/ 10 w 26"/>
                  <a:gd name="T9" fmla="*/ 2 h 26"/>
                  <a:gd name="T10" fmla="*/ 23 w 26"/>
                  <a:gd name="T11" fmla="*/ 15 h 26"/>
                  <a:gd name="T12" fmla="*/ 23 w 26"/>
                  <a:gd name="T13" fmla="*/ 24 h 26"/>
                  <a:gd name="T14" fmla="*/ 19 w 2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6">
                    <a:moveTo>
                      <a:pt x="19" y="26"/>
                    </a:moveTo>
                    <a:cubicBezTo>
                      <a:pt x="18" y="26"/>
                      <a:pt x="16" y="25"/>
                      <a:pt x="15" y="24"/>
                    </a:cubicBezTo>
                    <a:cubicBezTo>
                      <a:pt x="2" y="11"/>
                      <a:pt x="2" y="11"/>
                      <a:pt x="2" y="11"/>
                    </a:cubicBezTo>
                    <a:cubicBezTo>
                      <a:pt x="0" y="8"/>
                      <a:pt x="0" y="5"/>
                      <a:pt x="2" y="2"/>
                    </a:cubicBezTo>
                    <a:cubicBezTo>
                      <a:pt x="4" y="0"/>
                      <a:pt x="8" y="0"/>
                      <a:pt x="10" y="2"/>
                    </a:cubicBezTo>
                    <a:cubicBezTo>
                      <a:pt x="23" y="15"/>
                      <a:pt x="23" y="15"/>
                      <a:pt x="23" y="15"/>
                    </a:cubicBezTo>
                    <a:cubicBezTo>
                      <a:pt x="26" y="18"/>
                      <a:pt x="26" y="21"/>
                      <a:pt x="23" y="24"/>
                    </a:cubicBezTo>
                    <a:cubicBezTo>
                      <a:pt x="22" y="25"/>
                      <a:pt x="21" y="26"/>
                      <a:pt x="19"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p:cNvGrpSpPr/>
              <p:nvPr/>
            </p:nvGrpSpPr>
            <p:grpSpPr>
              <a:xfrm>
                <a:off x="1837748" y="4093497"/>
                <a:ext cx="284166" cy="220428"/>
                <a:chOff x="8964790" y="2459832"/>
                <a:chExt cx="339725" cy="263525"/>
              </a:xfrm>
            </p:grpSpPr>
            <p:sp>
              <p:nvSpPr>
                <p:cNvPr id="57" name="Freeform 85"/>
                <p:cNvSpPr>
                  <a:spLocks/>
                </p:cNvSpPr>
                <p:nvPr/>
              </p:nvSpPr>
              <p:spPr bwMode="auto">
                <a:xfrm>
                  <a:off x="8964790" y="2459832"/>
                  <a:ext cx="287337" cy="182563"/>
                </a:xfrm>
                <a:custGeom>
                  <a:avLst/>
                  <a:gdLst>
                    <a:gd name="T0" fmla="*/ 84 w 132"/>
                    <a:gd name="T1" fmla="*/ 84 h 84"/>
                    <a:gd name="T2" fmla="*/ 47 w 132"/>
                    <a:gd name="T3" fmla="*/ 84 h 84"/>
                    <a:gd name="T4" fmla="*/ 27 w 132"/>
                    <a:gd name="T5" fmla="*/ 12 h 84"/>
                    <a:gd name="T6" fmla="*/ 6 w 132"/>
                    <a:gd name="T7" fmla="*/ 12 h 84"/>
                    <a:gd name="T8" fmla="*/ 0 w 132"/>
                    <a:gd name="T9" fmla="*/ 6 h 84"/>
                    <a:gd name="T10" fmla="*/ 6 w 132"/>
                    <a:gd name="T11" fmla="*/ 0 h 84"/>
                    <a:gd name="T12" fmla="*/ 32 w 132"/>
                    <a:gd name="T13" fmla="*/ 0 h 84"/>
                    <a:gd name="T14" fmla="*/ 38 w 132"/>
                    <a:gd name="T15" fmla="*/ 5 h 84"/>
                    <a:gd name="T16" fmla="*/ 52 w 132"/>
                    <a:gd name="T17" fmla="*/ 72 h 84"/>
                    <a:gd name="T18" fmla="*/ 126 w 132"/>
                    <a:gd name="T19" fmla="*/ 72 h 84"/>
                    <a:gd name="T20" fmla="*/ 126 w 132"/>
                    <a:gd name="T21" fmla="*/ 72 h 84"/>
                    <a:gd name="T22" fmla="*/ 132 w 132"/>
                    <a:gd name="T23" fmla="*/ 78 h 84"/>
                    <a:gd name="T24" fmla="*/ 126 w 132"/>
                    <a:gd name="T25" fmla="*/ 84 h 84"/>
                    <a:gd name="T26" fmla="*/ 84 w 132"/>
                    <a:gd name="T2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84">
                      <a:moveTo>
                        <a:pt x="84" y="84"/>
                      </a:moveTo>
                      <a:cubicBezTo>
                        <a:pt x="48" y="84"/>
                        <a:pt x="47" y="84"/>
                        <a:pt x="47" y="84"/>
                      </a:cubicBezTo>
                      <a:cubicBezTo>
                        <a:pt x="42" y="83"/>
                        <a:pt x="41" y="83"/>
                        <a:pt x="27" y="12"/>
                      </a:cubicBezTo>
                      <a:cubicBezTo>
                        <a:pt x="6" y="12"/>
                        <a:pt x="6" y="12"/>
                        <a:pt x="6" y="12"/>
                      </a:cubicBezTo>
                      <a:cubicBezTo>
                        <a:pt x="3" y="12"/>
                        <a:pt x="0" y="9"/>
                        <a:pt x="0" y="6"/>
                      </a:cubicBezTo>
                      <a:cubicBezTo>
                        <a:pt x="0" y="3"/>
                        <a:pt x="3" y="0"/>
                        <a:pt x="6" y="0"/>
                      </a:cubicBezTo>
                      <a:cubicBezTo>
                        <a:pt x="32" y="0"/>
                        <a:pt x="32" y="0"/>
                        <a:pt x="32" y="0"/>
                      </a:cubicBezTo>
                      <a:cubicBezTo>
                        <a:pt x="35" y="0"/>
                        <a:pt x="37" y="2"/>
                        <a:pt x="38" y="5"/>
                      </a:cubicBezTo>
                      <a:cubicBezTo>
                        <a:pt x="43" y="32"/>
                        <a:pt x="50" y="62"/>
                        <a:pt x="52" y="72"/>
                      </a:cubicBezTo>
                      <a:cubicBezTo>
                        <a:pt x="64" y="72"/>
                        <a:pt x="101" y="72"/>
                        <a:pt x="126" y="72"/>
                      </a:cubicBezTo>
                      <a:cubicBezTo>
                        <a:pt x="126" y="72"/>
                        <a:pt x="126" y="72"/>
                        <a:pt x="126" y="72"/>
                      </a:cubicBezTo>
                      <a:cubicBezTo>
                        <a:pt x="129" y="72"/>
                        <a:pt x="132" y="75"/>
                        <a:pt x="132" y="78"/>
                      </a:cubicBezTo>
                      <a:cubicBezTo>
                        <a:pt x="132" y="81"/>
                        <a:pt x="129" y="84"/>
                        <a:pt x="126" y="84"/>
                      </a:cubicBezTo>
                      <a:cubicBezTo>
                        <a:pt x="108" y="84"/>
                        <a:pt x="95" y="84"/>
                        <a:pt x="84" y="84"/>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8" name="Freeform 86"/>
                <p:cNvSpPr>
                  <a:spLocks/>
                </p:cNvSpPr>
                <p:nvPr/>
              </p:nvSpPr>
              <p:spPr bwMode="auto">
                <a:xfrm>
                  <a:off x="9061628" y="2494757"/>
                  <a:ext cx="242887" cy="25400"/>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3" y="12"/>
                        <a:pt x="0" y="9"/>
                        <a:pt x="0" y="6"/>
                      </a:cubicBezTo>
                      <a:cubicBezTo>
                        <a:pt x="0" y="3"/>
                        <a:pt x="3" y="0"/>
                        <a:pt x="6" y="0"/>
                      </a:cubicBezTo>
                      <a:cubicBezTo>
                        <a:pt x="106" y="0"/>
                        <a:pt x="106" y="0"/>
                        <a:pt x="106" y="0"/>
                      </a:cubicBezTo>
                      <a:cubicBezTo>
                        <a:pt x="109" y="0"/>
                        <a:pt x="112" y="3"/>
                        <a:pt x="112" y="6"/>
                      </a:cubicBezTo>
                      <a:cubicBezTo>
                        <a:pt x="112" y="9"/>
                        <a:pt x="109" y="12"/>
                        <a:pt x="106"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9" name="Freeform 87"/>
                <p:cNvSpPr>
                  <a:spLocks/>
                </p:cNvSpPr>
                <p:nvPr/>
              </p:nvSpPr>
              <p:spPr bwMode="auto">
                <a:xfrm>
                  <a:off x="9079090" y="2537619"/>
                  <a:ext cx="217487" cy="2698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3" y="12"/>
                        <a:pt x="0" y="9"/>
                        <a:pt x="0" y="6"/>
                      </a:cubicBezTo>
                      <a:cubicBezTo>
                        <a:pt x="0" y="3"/>
                        <a:pt x="3" y="0"/>
                        <a:pt x="6" y="0"/>
                      </a:cubicBezTo>
                      <a:cubicBezTo>
                        <a:pt x="94" y="0"/>
                        <a:pt x="94" y="0"/>
                        <a:pt x="94" y="0"/>
                      </a:cubicBezTo>
                      <a:cubicBezTo>
                        <a:pt x="97" y="0"/>
                        <a:pt x="100" y="3"/>
                        <a:pt x="100" y="6"/>
                      </a:cubicBezTo>
                      <a:cubicBezTo>
                        <a:pt x="100" y="9"/>
                        <a:pt x="97" y="12"/>
                        <a:pt x="94"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0" name="Freeform 88"/>
                <p:cNvSpPr>
                  <a:spLocks/>
                </p:cNvSpPr>
                <p:nvPr/>
              </p:nvSpPr>
              <p:spPr bwMode="auto">
                <a:xfrm>
                  <a:off x="9087028" y="2572544"/>
                  <a:ext cx="192087" cy="26988"/>
                </a:xfrm>
                <a:custGeom>
                  <a:avLst/>
                  <a:gdLst>
                    <a:gd name="T0" fmla="*/ 82 w 88"/>
                    <a:gd name="T1" fmla="*/ 12 h 12"/>
                    <a:gd name="T2" fmla="*/ 6 w 88"/>
                    <a:gd name="T3" fmla="*/ 12 h 12"/>
                    <a:gd name="T4" fmla="*/ 0 w 88"/>
                    <a:gd name="T5" fmla="*/ 6 h 12"/>
                    <a:gd name="T6" fmla="*/ 6 w 88"/>
                    <a:gd name="T7" fmla="*/ 0 h 12"/>
                    <a:gd name="T8" fmla="*/ 82 w 88"/>
                    <a:gd name="T9" fmla="*/ 0 h 12"/>
                    <a:gd name="T10" fmla="*/ 88 w 88"/>
                    <a:gd name="T11" fmla="*/ 6 h 12"/>
                    <a:gd name="T12" fmla="*/ 82 w 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8" h="12">
                      <a:moveTo>
                        <a:pt x="82" y="12"/>
                      </a:moveTo>
                      <a:cubicBezTo>
                        <a:pt x="6" y="12"/>
                        <a:pt x="6" y="12"/>
                        <a:pt x="6" y="12"/>
                      </a:cubicBezTo>
                      <a:cubicBezTo>
                        <a:pt x="3" y="12"/>
                        <a:pt x="0" y="9"/>
                        <a:pt x="0" y="6"/>
                      </a:cubicBezTo>
                      <a:cubicBezTo>
                        <a:pt x="0" y="3"/>
                        <a:pt x="3" y="0"/>
                        <a:pt x="6" y="0"/>
                      </a:cubicBezTo>
                      <a:cubicBezTo>
                        <a:pt x="82" y="0"/>
                        <a:pt x="82" y="0"/>
                        <a:pt x="82" y="0"/>
                      </a:cubicBezTo>
                      <a:cubicBezTo>
                        <a:pt x="85" y="0"/>
                        <a:pt x="88" y="3"/>
                        <a:pt x="88" y="6"/>
                      </a:cubicBezTo>
                      <a:cubicBezTo>
                        <a:pt x="88" y="9"/>
                        <a:pt x="85" y="12"/>
                        <a:pt x="82"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noChangeArrowheads="1"/>
                </p:cNvSpPr>
                <p:nvPr/>
              </p:nvSpPr>
              <p:spPr bwMode="auto">
                <a:xfrm>
                  <a:off x="9045753" y="2647157"/>
                  <a:ext cx="76200" cy="76200"/>
                </a:xfrm>
                <a:custGeom>
                  <a:avLst/>
                  <a:gdLst>
                    <a:gd name="connsiteX0" fmla="*/ 37306 w 76200"/>
                    <a:gd name="connsiteY0" fmla="*/ 25400 h 76200"/>
                    <a:gd name="connsiteX1" fmla="*/ 25400 w 76200"/>
                    <a:gd name="connsiteY1" fmla="*/ 37307 h 76200"/>
                    <a:gd name="connsiteX2" fmla="*/ 37306 w 76200"/>
                    <a:gd name="connsiteY2" fmla="*/ 49214 h 76200"/>
                    <a:gd name="connsiteX3" fmla="*/ 49212 w 76200"/>
                    <a:gd name="connsiteY3" fmla="*/ 37307 h 76200"/>
                    <a:gd name="connsiteX4" fmla="*/ 37306 w 76200"/>
                    <a:gd name="connsiteY4" fmla="*/ 25400 h 76200"/>
                    <a:gd name="connsiteX5" fmla="*/ 38100 w 76200"/>
                    <a:gd name="connsiteY5" fmla="*/ 0 h 76200"/>
                    <a:gd name="connsiteX6" fmla="*/ 76200 w 76200"/>
                    <a:gd name="connsiteY6" fmla="*/ 38100 h 76200"/>
                    <a:gd name="connsiteX7" fmla="*/ 38100 w 76200"/>
                    <a:gd name="connsiteY7" fmla="*/ 76200 h 76200"/>
                    <a:gd name="connsiteX8" fmla="*/ 0 w 76200"/>
                    <a:gd name="connsiteY8" fmla="*/ 38100 h 76200"/>
                    <a:gd name="connsiteX9" fmla="*/ 38100 w 76200"/>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7306" y="25400"/>
                      </a:moveTo>
                      <a:cubicBezTo>
                        <a:pt x="30730" y="25400"/>
                        <a:pt x="25400" y="30731"/>
                        <a:pt x="25400" y="37307"/>
                      </a:cubicBezTo>
                      <a:cubicBezTo>
                        <a:pt x="25400" y="43883"/>
                        <a:pt x="30730" y="49214"/>
                        <a:pt x="37306" y="49214"/>
                      </a:cubicBezTo>
                      <a:cubicBezTo>
                        <a:pt x="43882" y="49214"/>
                        <a:pt x="49212" y="43883"/>
                        <a:pt x="49212" y="37307"/>
                      </a:cubicBezTo>
                      <a:cubicBezTo>
                        <a:pt x="49212" y="30731"/>
                        <a:pt x="43882" y="25400"/>
                        <a:pt x="37306" y="25400"/>
                      </a:cubicBezTo>
                      <a:close/>
                      <a:moveTo>
                        <a:pt x="38100" y="0"/>
                      </a:moveTo>
                      <a:cubicBezTo>
                        <a:pt x="59142" y="0"/>
                        <a:pt x="76200" y="17058"/>
                        <a:pt x="76200" y="38100"/>
                      </a:cubicBezTo>
                      <a:cubicBezTo>
                        <a:pt x="76200" y="59142"/>
                        <a:pt x="59142" y="76200"/>
                        <a:pt x="38100" y="76200"/>
                      </a:cubicBezTo>
                      <a:cubicBezTo>
                        <a:pt x="17058" y="76200"/>
                        <a:pt x="0" y="59142"/>
                        <a:pt x="0" y="38100"/>
                      </a:cubicBezTo>
                      <a:cubicBezTo>
                        <a:pt x="0" y="17058"/>
                        <a:pt x="17058" y="0"/>
                        <a:pt x="38100"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62" name="Freeform 61"/>
                <p:cNvSpPr>
                  <a:spLocks noChangeArrowheads="1"/>
                </p:cNvSpPr>
                <p:nvPr/>
              </p:nvSpPr>
              <p:spPr bwMode="auto">
                <a:xfrm>
                  <a:off x="9174339" y="2647157"/>
                  <a:ext cx="77788" cy="76200"/>
                </a:xfrm>
                <a:custGeom>
                  <a:avLst/>
                  <a:gdLst>
                    <a:gd name="connsiteX0" fmla="*/ 38894 w 77788"/>
                    <a:gd name="connsiteY0" fmla="*/ 25400 h 76200"/>
                    <a:gd name="connsiteX1" fmla="*/ 25400 w 77788"/>
                    <a:gd name="connsiteY1" fmla="*/ 37307 h 76200"/>
                    <a:gd name="connsiteX2" fmla="*/ 38894 w 77788"/>
                    <a:gd name="connsiteY2" fmla="*/ 49214 h 76200"/>
                    <a:gd name="connsiteX3" fmla="*/ 52388 w 77788"/>
                    <a:gd name="connsiteY3" fmla="*/ 37307 h 76200"/>
                    <a:gd name="connsiteX4" fmla="*/ 38894 w 77788"/>
                    <a:gd name="connsiteY4" fmla="*/ 25400 h 76200"/>
                    <a:gd name="connsiteX5" fmla="*/ 38894 w 77788"/>
                    <a:gd name="connsiteY5" fmla="*/ 0 h 76200"/>
                    <a:gd name="connsiteX6" fmla="*/ 77788 w 77788"/>
                    <a:gd name="connsiteY6" fmla="*/ 38100 h 76200"/>
                    <a:gd name="connsiteX7" fmla="*/ 38894 w 77788"/>
                    <a:gd name="connsiteY7" fmla="*/ 76200 h 76200"/>
                    <a:gd name="connsiteX8" fmla="*/ 0 w 77788"/>
                    <a:gd name="connsiteY8" fmla="*/ 38100 h 76200"/>
                    <a:gd name="connsiteX9" fmla="*/ 38894 w 77788"/>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88" h="76200">
                      <a:moveTo>
                        <a:pt x="38894" y="25400"/>
                      </a:moveTo>
                      <a:cubicBezTo>
                        <a:pt x="31441" y="25400"/>
                        <a:pt x="25400" y="30731"/>
                        <a:pt x="25400" y="37307"/>
                      </a:cubicBezTo>
                      <a:cubicBezTo>
                        <a:pt x="25400" y="43883"/>
                        <a:pt x="31441" y="49214"/>
                        <a:pt x="38894" y="49214"/>
                      </a:cubicBezTo>
                      <a:cubicBezTo>
                        <a:pt x="46347" y="49214"/>
                        <a:pt x="52388" y="43883"/>
                        <a:pt x="52388" y="37307"/>
                      </a:cubicBezTo>
                      <a:cubicBezTo>
                        <a:pt x="52388" y="30731"/>
                        <a:pt x="46347" y="25400"/>
                        <a:pt x="38894" y="25400"/>
                      </a:cubicBezTo>
                      <a:close/>
                      <a:moveTo>
                        <a:pt x="38894" y="0"/>
                      </a:moveTo>
                      <a:cubicBezTo>
                        <a:pt x="60375" y="0"/>
                        <a:pt x="77788" y="17058"/>
                        <a:pt x="77788" y="38100"/>
                      </a:cubicBezTo>
                      <a:cubicBezTo>
                        <a:pt x="77788" y="59142"/>
                        <a:pt x="60375" y="76200"/>
                        <a:pt x="38894" y="76200"/>
                      </a:cubicBezTo>
                      <a:cubicBezTo>
                        <a:pt x="17413" y="76200"/>
                        <a:pt x="0" y="59142"/>
                        <a:pt x="0" y="38100"/>
                      </a:cubicBezTo>
                      <a:cubicBezTo>
                        <a:pt x="0" y="17058"/>
                        <a:pt x="17413" y="0"/>
                        <a:pt x="38894"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63" name="Freeform 62"/>
              <p:cNvSpPr>
                <a:spLocks/>
              </p:cNvSpPr>
              <p:nvPr/>
            </p:nvSpPr>
            <p:spPr bwMode="auto">
              <a:xfrm>
                <a:off x="2781037" y="3093241"/>
                <a:ext cx="265748" cy="253778"/>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3175">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64" name="Freeform 63"/>
              <p:cNvSpPr>
                <a:spLocks/>
              </p:cNvSpPr>
              <p:nvPr/>
            </p:nvSpPr>
            <p:spPr bwMode="auto">
              <a:xfrm>
                <a:off x="2975141" y="3459732"/>
                <a:ext cx="201208" cy="192146"/>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3175">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65" name="Group 64"/>
            <p:cNvGrpSpPr/>
            <p:nvPr/>
          </p:nvGrpSpPr>
          <p:grpSpPr>
            <a:xfrm>
              <a:off x="1369783" y="4198990"/>
              <a:ext cx="1785889" cy="1156898"/>
              <a:chOff x="2668588" y="8150225"/>
              <a:chExt cx="1514475" cy="981075"/>
            </a:xfrm>
            <a:solidFill>
              <a:srgbClr val="0078D7"/>
            </a:solidFill>
          </p:grpSpPr>
          <p:sp>
            <p:nvSpPr>
              <p:cNvPr id="66" name="Freeform 60"/>
              <p:cNvSpPr>
                <a:spLocks noEditPoints="1"/>
              </p:cNvSpPr>
              <p:nvPr/>
            </p:nvSpPr>
            <p:spPr bwMode="auto">
              <a:xfrm>
                <a:off x="2668588" y="8150225"/>
                <a:ext cx="1514475" cy="981075"/>
              </a:xfrm>
              <a:custGeom>
                <a:avLst/>
                <a:gdLst>
                  <a:gd name="T0" fmla="*/ 46 w 954"/>
                  <a:gd name="T1" fmla="*/ 618 h 618"/>
                  <a:gd name="T2" fmla="*/ 34 w 954"/>
                  <a:gd name="T3" fmla="*/ 618 h 618"/>
                  <a:gd name="T4" fmla="*/ 18 w 954"/>
                  <a:gd name="T5" fmla="*/ 610 h 618"/>
                  <a:gd name="T6" fmla="*/ 6 w 954"/>
                  <a:gd name="T7" fmla="*/ 592 h 618"/>
                  <a:gd name="T8" fmla="*/ 0 w 954"/>
                  <a:gd name="T9" fmla="*/ 562 h 618"/>
                  <a:gd name="T10" fmla="*/ 0 w 954"/>
                  <a:gd name="T11" fmla="*/ 550 h 618"/>
                  <a:gd name="T12" fmla="*/ 6 w 954"/>
                  <a:gd name="T13" fmla="*/ 520 h 618"/>
                  <a:gd name="T14" fmla="*/ 18 w 954"/>
                  <a:gd name="T15" fmla="*/ 502 h 618"/>
                  <a:gd name="T16" fmla="*/ 34 w 954"/>
                  <a:gd name="T17" fmla="*/ 494 h 618"/>
                  <a:gd name="T18" fmla="*/ 60 w 954"/>
                  <a:gd name="T19" fmla="*/ 494 h 618"/>
                  <a:gd name="T20" fmla="*/ 60 w 954"/>
                  <a:gd name="T21" fmla="*/ 58 h 618"/>
                  <a:gd name="T22" fmla="*/ 64 w 954"/>
                  <a:gd name="T23" fmla="*/ 36 h 618"/>
                  <a:gd name="T24" fmla="*/ 76 w 954"/>
                  <a:gd name="T25" fmla="*/ 18 h 618"/>
                  <a:gd name="T26" fmla="*/ 94 w 954"/>
                  <a:gd name="T27" fmla="*/ 6 h 618"/>
                  <a:gd name="T28" fmla="*/ 116 w 954"/>
                  <a:gd name="T29" fmla="*/ 0 h 618"/>
                  <a:gd name="T30" fmla="*/ 838 w 954"/>
                  <a:gd name="T31" fmla="*/ 0 h 618"/>
                  <a:gd name="T32" fmla="*/ 860 w 954"/>
                  <a:gd name="T33" fmla="*/ 6 h 618"/>
                  <a:gd name="T34" fmla="*/ 878 w 954"/>
                  <a:gd name="T35" fmla="*/ 18 h 618"/>
                  <a:gd name="T36" fmla="*/ 890 w 954"/>
                  <a:gd name="T37" fmla="*/ 36 h 618"/>
                  <a:gd name="T38" fmla="*/ 896 w 954"/>
                  <a:gd name="T39" fmla="*/ 58 h 618"/>
                  <a:gd name="T40" fmla="*/ 910 w 954"/>
                  <a:gd name="T41" fmla="*/ 494 h 618"/>
                  <a:gd name="T42" fmla="*/ 922 w 954"/>
                  <a:gd name="T43" fmla="*/ 494 h 618"/>
                  <a:gd name="T44" fmla="*/ 936 w 954"/>
                  <a:gd name="T45" fmla="*/ 502 h 618"/>
                  <a:gd name="T46" fmla="*/ 950 w 954"/>
                  <a:gd name="T47" fmla="*/ 520 h 618"/>
                  <a:gd name="T48" fmla="*/ 954 w 954"/>
                  <a:gd name="T49" fmla="*/ 550 h 618"/>
                  <a:gd name="T50" fmla="*/ 954 w 954"/>
                  <a:gd name="T51" fmla="*/ 562 h 618"/>
                  <a:gd name="T52" fmla="*/ 950 w 954"/>
                  <a:gd name="T53" fmla="*/ 592 h 618"/>
                  <a:gd name="T54" fmla="*/ 936 w 954"/>
                  <a:gd name="T55" fmla="*/ 610 h 618"/>
                  <a:gd name="T56" fmla="*/ 922 w 954"/>
                  <a:gd name="T57" fmla="*/ 618 h 618"/>
                  <a:gd name="T58" fmla="*/ 910 w 954"/>
                  <a:gd name="T59" fmla="*/ 618 h 618"/>
                  <a:gd name="T60" fmla="*/ 46 w 954"/>
                  <a:gd name="T61" fmla="*/ 522 h 618"/>
                  <a:gd name="T62" fmla="*/ 36 w 954"/>
                  <a:gd name="T63" fmla="*/ 524 h 618"/>
                  <a:gd name="T64" fmla="*/ 30 w 954"/>
                  <a:gd name="T65" fmla="*/ 534 h 618"/>
                  <a:gd name="T66" fmla="*/ 28 w 954"/>
                  <a:gd name="T67" fmla="*/ 550 h 618"/>
                  <a:gd name="T68" fmla="*/ 28 w 954"/>
                  <a:gd name="T69" fmla="*/ 562 h 618"/>
                  <a:gd name="T70" fmla="*/ 30 w 954"/>
                  <a:gd name="T71" fmla="*/ 578 h 618"/>
                  <a:gd name="T72" fmla="*/ 36 w 954"/>
                  <a:gd name="T73" fmla="*/ 588 h 618"/>
                  <a:gd name="T74" fmla="*/ 46 w 954"/>
                  <a:gd name="T75" fmla="*/ 590 h 618"/>
                  <a:gd name="T76" fmla="*/ 910 w 954"/>
                  <a:gd name="T77" fmla="*/ 590 h 618"/>
                  <a:gd name="T78" fmla="*/ 920 w 954"/>
                  <a:gd name="T79" fmla="*/ 588 h 618"/>
                  <a:gd name="T80" fmla="*/ 924 w 954"/>
                  <a:gd name="T81" fmla="*/ 578 h 618"/>
                  <a:gd name="T82" fmla="*/ 926 w 954"/>
                  <a:gd name="T83" fmla="*/ 562 h 618"/>
                  <a:gd name="T84" fmla="*/ 926 w 954"/>
                  <a:gd name="T85" fmla="*/ 550 h 618"/>
                  <a:gd name="T86" fmla="*/ 924 w 954"/>
                  <a:gd name="T87" fmla="*/ 534 h 618"/>
                  <a:gd name="T88" fmla="*/ 920 w 954"/>
                  <a:gd name="T89" fmla="*/ 524 h 618"/>
                  <a:gd name="T90" fmla="*/ 910 w 954"/>
                  <a:gd name="T91" fmla="*/ 522 h 618"/>
                  <a:gd name="T92" fmla="*/ 882 w 954"/>
                  <a:gd name="T93" fmla="*/ 522 h 618"/>
                  <a:gd name="T94" fmla="*/ 872 w 954"/>
                  <a:gd name="T95" fmla="*/ 518 h 618"/>
                  <a:gd name="T96" fmla="*/ 868 w 954"/>
                  <a:gd name="T97" fmla="*/ 508 h 618"/>
                  <a:gd name="T98" fmla="*/ 868 w 954"/>
                  <a:gd name="T99" fmla="*/ 58 h 618"/>
                  <a:gd name="T100" fmla="*/ 858 w 954"/>
                  <a:gd name="T101" fmla="*/ 38 h 618"/>
                  <a:gd name="T102" fmla="*/ 838 w 954"/>
                  <a:gd name="T103" fmla="*/ 28 h 618"/>
                  <a:gd name="T104" fmla="*/ 116 w 954"/>
                  <a:gd name="T105" fmla="*/ 28 h 618"/>
                  <a:gd name="T106" fmla="*/ 96 w 954"/>
                  <a:gd name="T107" fmla="*/ 38 h 618"/>
                  <a:gd name="T108" fmla="*/ 88 w 954"/>
                  <a:gd name="T109" fmla="*/ 58 h 618"/>
                  <a:gd name="T110" fmla="*/ 88 w 954"/>
                  <a:gd name="T111" fmla="*/ 508 h 618"/>
                  <a:gd name="T112" fmla="*/ 84 w 954"/>
                  <a:gd name="T113" fmla="*/ 518 h 618"/>
                  <a:gd name="T114" fmla="*/ 74 w 954"/>
                  <a:gd name="T115" fmla="*/ 52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4" h="618">
                    <a:moveTo>
                      <a:pt x="910" y="618"/>
                    </a:moveTo>
                    <a:lnTo>
                      <a:pt x="46" y="618"/>
                    </a:lnTo>
                    <a:lnTo>
                      <a:pt x="46" y="618"/>
                    </a:lnTo>
                    <a:lnTo>
                      <a:pt x="34" y="618"/>
                    </a:lnTo>
                    <a:lnTo>
                      <a:pt x="26" y="614"/>
                    </a:lnTo>
                    <a:lnTo>
                      <a:pt x="18" y="610"/>
                    </a:lnTo>
                    <a:lnTo>
                      <a:pt x="12" y="602"/>
                    </a:lnTo>
                    <a:lnTo>
                      <a:pt x="6" y="592"/>
                    </a:lnTo>
                    <a:lnTo>
                      <a:pt x="2" y="580"/>
                    </a:lnTo>
                    <a:lnTo>
                      <a:pt x="0" y="562"/>
                    </a:lnTo>
                    <a:lnTo>
                      <a:pt x="0" y="550"/>
                    </a:lnTo>
                    <a:lnTo>
                      <a:pt x="0" y="550"/>
                    </a:lnTo>
                    <a:lnTo>
                      <a:pt x="2" y="534"/>
                    </a:lnTo>
                    <a:lnTo>
                      <a:pt x="6" y="520"/>
                    </a:lnTo>
                    <a:lnTo>
                      <a:pt x="12" y="510"/>
                    </a:lnTo>
                    <a:lnTo>
                      <a:pt x="18" y="502"/>
                    </a:lnTo>
                    <a:lnTo>
                      <a:pt x="26" y="498"/>
                    </a:lnTo>
                    <a:lnTo>
                      <a:pt x="34" y="494"/>
                    </a:lnTo>
                    <a:lnTo>
                      <a:pt x="46" y="494"/>
                    </a:lnTo>
                    <a:lnTo>
                      <a:pt x="60" y="494"/>
                    </a:lnTo>
                    <a:lnTo>
                      <a:pt x="60" y="58"/>
                    </a:lnTo>
                    <a:lnTo>
                      <a:pt x="60" y="58"/>
                    </a:lnTo>
                    <a:lnTo>
                      <a:pt x="60" y="46"/>
                    </a:lnTo>
                    <a:lnTo>
                      <a:pt x="64" y="36"/>
                    </a:lnTo>
                    <a:lnTo>
                      <a:pt x="70" y="26"/>
                    </a:lnTo>
                    <a:lnTo>
                      <a:pt x="76" y="18"/>
                    </a:lnTo>
                    <a:lnTo>
                      <a:pt x="84" y="10"/>
                    </a:lnTo>
                    <a:lnTo>
                      <a:pt x="94" y="6"/>
                    </a:lnTo>
                    <a:lnTo>
                      <a:pt x="106" y="2"/>
                    </a:lnTo>
                    <a:lnTo>
                      <a:pt x="116" y="0"/>
                    </a:lnTo>
                    <a:lnTo>
                      <a:pt x="838" y="0"/>
                    </a:lnTo>
                    <a:lnTo>
                      <a:pt x="838" y="0"/>
                    </a:lnTo>
                    <a:lnTo>
                      <a:pt x="850" y="2"/>
                    </a:lnTo>
                    <a:lnTo>
                      <a:pt x="860" y="6"/>
                    </a:lnTo>
                    <a:lnTo>
                      <a:pt x="870" y="10"/>
                    </a:lnTo>
                    <a:lnTo>
                      <a:pt x="878" y="18"/>
                    </a:lnTo>
                    <a:lnTo>
                      <a:pt x="886" y="26"/>
                    </a:lnTo>
                    <a:lnTo>
                      <a:pt x="890" y="36"/>
                    </a:lnTo>
                    <a:lnTo>
                      <a:pt x="894" y="46"/>
                    </a:lnTo>
                    <a:lnTo>
                      <a:pt x="896" y="58"/>
                    </a:lnTo>
                    <a:lnTo>
                      <a:pt x="896" y="494"/>
                    </a:lnTo>
                    <a:lnTo>
                      <a:pt x="910" y="494"/>
                    </a:lnTo>
                    <a:lnTo>
                      <a:pt x="910" y="494"/>
                    </a:lnTo>
                    <a:lnTo>
                      <a:pt x="922" y="494"/>
                    </a:lnTo>
                    <a:lnTo>
                      <a:pt x="930" y="498"/>
                    </a:lnTo>
                    <a:lnTo>
                      <a:pt x="936" y="502"/>
                    </a:lnTo>
                    <a:lnTo>
                      <a:pt x="944" y="510"/>
                    </a:lnTo>
                    <a:lnTo>
                      <a:pt x="950" y="520"/>
                    </a:lnTo>
                    <a:lnTo>
                      <a:pt x="954" y="534"/>
                    </a:lnTo>
                    <a:lnTo>
                      <a:pt x="954" y="550"/>
                    </a:lnTo>
                    <a:lnTo>
                      <a:pt x="954" y="562"/>
                    </a:lnTo>
                    <a:lnTo>
                      <a:pt x="954" y="562"/>
                    </a:lnTo>
                    <a:lnTo>
                      <a:pt x="954" y="580"/>
                    </a:lnTo>
                    <a:lnTo>
                      <a:pt x="950" y="592"/>
                    </a:lnTo>
                    <a:lnTo>
                      <a:pt x="944" y="602"/>
                    </a:lnTo>
                    <a:lnTo>
                      <a:pt x="936" y="610"/>
                    </a:lnTo>
                    <a:lnTo>
                      <a:pt x="930" y="614"/>
                    </a:lnTo>
                    <a:lnTo>
                      <a:pt x="922" y="618"/>
                    </a:lnTo>
                    <a:lnTo>
                      <a:pt x="910" y="618"/>
                    </a:lnTo>
                    <a:lnTo>
                      <a:pt x="910" y="618"/>
                    </a:lnTo>
                    <a:close/>
                    <a:moveTo>
                      <a:pt x="46" y="522"/>
                    </a:moveTo>
                    <a:lnTo>
                      <a:pt x="46" y="522"/>
                    </a:lnTo>
                    <a:lnTo>
                      <a:pt x="40" y="522"/>
                    </a:lnTo>
                    <a:lnTo>
                      <a:pt x="36" y="524"/>
                    </a:lnTo>
                    <a:lnTo>
                      <a:pt x="32" y="528"/>
                    </a:lnTo>
                    <a:lnTo>
                      <a:pt x="30" y="534"/>
                    </a:lnTo>
                    <a:lnTo>
                      <a:pt x="30" y="540"/>
                    </a:lnTo>
                    <a:lnTo>
                      <a:pt x="28" y="550"/>
                    </a:lnTo>
                    <a:lnTo>
                      <a:pt x="28" y="562"/>
                    </a:lnTo>
                    <a:lnTo>
                      <a:pt x="28" y="562"/>
                    </a:lnTo>
                    <a:lnTo>
                      <a:pt x="30" y="572"/>
                    </a:lnTo>
                    <a:lnTo>
                      <a:pt x="30" y="578"/>
                    </a:lnTo>
                    <a:lnTo>
                      <a:pt x="32" y="584"/>
                    </a:lnTo>
                    <a:lnTo>
                      <a:pt x="36" y="588"/>
                    </a:lnTo>
                    <a:lnTo>
                      <a:pt x="40" y="590"/>
                    </a:lnTo>
                    <a:lnTo>
                      <a:pt x="46" y="590"/>
                    </a:lnTo>
                    <a:lnTo>
                      <a:pt x="910" y="590"/>
                    </a:lnTo>
                    <a:lnTo>
                      <a:pt x="910" y="590"/>
                    </a:lnTo>
                    <a:lnTo>
                      <a:pt x="914" y="590"/>
                    </a:lnTo>
                    <a:lnTo>
                      <a:pt x="920" y="588"/>
                    </a:lnTo>
                    <a:lnTo>
                      <a:pt x="922" y="584"/>
                    </a:lnTo>
                    <a:lnTo>
                      <a:pt x="924" y="578"/>
                    </a:lnTo>
                    <a:lnTo>
                      <a:pt x="926" y="572"/>
                    </a:lnTo>
                    <a:lnTo>
                      <a:pt x="926" y="562"/>
                    </a:lnTo>
                    <a:lnTo>
                      <a:pt x="926" y="550"/>
                    </a:lnTo>
                    <a:lnTo>
                      <a:pt x="926" y="550"/>
                    </a:lnTo>
                    <a:lnTo>
                      <a:pt x="926" y="540"/>
                    </a:lnTo>
                    <a:lnTo>
                      <a:pt x="924" y="534"/>
                    </a:lnTo>
                    <a:lnTo>
                      <a:pt x="922" y="528"/>
                    </a:lnTo>
                    <a:lnTo>
                      <a:pt x="920" y="524"/>
                    </a:lnTo>
                    <a:lnTo>
                      <a:pt x="914" y="522"/>
                    </a:lnTo>
                    <a:lnTo>
                      <a:pt x="910" y="522"/>
                    </a:lnTo>
                    <a:lnTo>
                      <a:pt x="882" y="522"/>
                    </a:lnTo>
                    <a:lnTo>
                      <a:pt x="882" y="522"/>
                    </a:lnTo>
                    <a:lnTo>
                      <a:pt x="876" y="520"/>
                    </a:lnTo>
                    <a:lnTo>
                      <a:pt x="872" y="518"/>
                    </a:lnTo>
                    <a:lnTo>
                      <a:pt x="868" y="512"/>
                    </a:lnTo>
                    <a:lnTo>
                      <a:pt x="868" y="508"/>
                    </a:lnTo>
                    <a:lnTo>
                      <a:pt x="868" y="58"/>
                    </a:lnTo>
                    <a:lnTo>
                      <a:pt x="868" y="58"/>
                    </a:lnTo>
                    <a:lnTo>
                      <a:pt x="866" y="46"/>
                    </a:lnTo>
                    <a:lnTo>
                      <a:pt x="858" y="38"/>
                    </a:lnTo>
                    <a:lnTo>
                      <a:pt x="850" y="30"/>
                    </a:lnTo>
                    <a:lnTo>
                      <a:pt x="838" y="28"/>
                    </a:lnTo>
                    <a:lnTo>
                      <a:pt x="116" y="28"/>
                    </a:lnTo>
                    <a:lnTo>
                      <a:pt x="116" y="28"/>
                    </a:lnTo>
                    <a:lnTo>
                      <a:pt x="106" y="30"/>
                    </a:lnTo>
                    <a:lnTo>
                      <a:pt x="96" y="38"/>
                    </a:lnTo>
                    <a:lnTo>
                      <a:pt x="90" y="46"/>
                    </a:lnTo>
                    <a:lnTo>
                      <a:pt x="88" y="58"/>
                    </a:lnTo>
                    <a:lnTo>
                      <a:pt x="88" y="508"/>
                    </a:lnTo>
                    <a:lnTo>
                      <a:pt x="88" y="508"/>
                    </a:lnTo>
                    <a:lnTo>
                      <a:pt x="86" y="512"/>
                    </a:lnTo>
                    <a:lnTo>
                      <a:pt x="84" y="518"/>
                    </a:lnTo>
                    <a:lnTo>
                      <a:pt x="80" y="520"/>
                    </a:lnTo>
                    <a:lnTo>
                      <a:pt x="74" y="522"/>
                    </a:lnTo>
                    <a:lnTo>
                      <a:pt x="46" y="522"/>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67" name="Freeform 61"/>
              <p:cNvSpPr>
                <a:spLocks noEditPoints="1"/>
              </p:cNvSpPr>
              <p:nvPr/>
            </p:nvSpPr>
            <p:spPr bwMode="auto">
              <a:xfrm>
                <a:off x="2843213" y="8232775"/>
                <a:ext cx="1165225" cy="742950"/>
              </a:xfrm>
              <a:custGeom>
                <a:avLst/>
                <a:gdLst>
                  <a:gd name="T0" fmla="*/ 720 w 734"/>
                  <a:gd name="T1" fmla="*/ 468 h 468"/>
                  <a:gd name="T2" fmla="*/ 14 w 734"/>
                  <a:gd name="T3" fmla="*/ 468 h 468"/>
                  <a:gd name="T4" fmla="*/ 14 w 734"/>
                  <a:gd name="T5" fmla="*/ 468 h 468"/>
                  <a:gd name="T6" fmla="*/ 8 w 734"/>
                  <a:gd name="T7" fmla="*/ 468 h 468"/>
                  <a:gd name="T8" fmla="*/ 4 w 734"/>
                  <a:gd name="T9" fmla="*/ 464 h 468"/>
                  <a:gd name="T10" fmla="*/ 2 w 734"/>
                  <a:gd name="T11" fmla="*/ 460 h 468"/>
                  <a:gd name="T12" fmla="*/ 0 w 734"/>
                  <a:gd name="T13" fmla="*/ 454 h 468"/>
                  <a:gd name="T14" fmla="*/ 0 w 734"/>
                  <a:gd name="T15" fmla="*/ 14 h 468"/>
                  <a:gd name="T16" fmla="*/ 0 w 734"/>
                  <a:gd name="T17" fmla="*/ 14 h 468"/>
                  <a:gd name="T18" fmla="*/ 2 w 734"/>
                  <a:gd name="T19" fmla="*/ 8 h 468"/>
                  <a:gd name="T20" fmla="*/ 4 w 734"/>
                  <a:gd name="T21" fmla="*/ 4 h 468"/>
                  <a:gd name="T22" fmla="*/ 8 w 734"/>
                  <a:gd name="T23" fmla="*/ 0 h 468"/>
                  <a:gd name="T24" fmla="*/ 14 w 734"/>
                  <a:gd name="T25" fmla="*/ 0 h 468"/>
                  <a:gd name="T26" fmla="*/ 720 w 734"/>
                  <a:gd name="T27" fmla="*/ 0 h 468"/>
                  <a:gd name="T28" fmla="*/ 720 w 734"/>
                  <a:gd name="T29" fmla="*/ 0 h 468"/>
                  <a:gd name="T30" fmla="*/ 726 w 734"/>
                  <a:gd name="T31" fmla="*/ 0 h 468"/>
                  <a:gd name="T32" fmla="*/ 730 w 734"/>
                  <a:gd name="T33" fmla="*/ 4 h 468"/>
                  <a:gd name="T34" fmla="*/ 734 w 734"/>
                  <a:gd name="T35" fmla="*/ 8 h 468"/>
                  <a:gd name="T36" fmla="*/ 734 w 734"/>
                  <a:gd name="T37" fmla="*/ 14 h 468"/>
                  <a:gd name="T38" fmla="*/ 734 w 734"/>
                  <a:gd name="T39" fmla="*/ 454 h 468"/>
                  <a:gd name="T40" fmla="*/ 734 w 734"/>
                  <a:gd name="T41" fmla="*/ 454 h 468"/>
                  <a:gd name="T42" fmla="*/ 734 w 734"/>
                  <a:gd name="T43" fmla="*/ 460 h 468"/>
                  <a:gd name="T44" fmla="*/ 730 w 734"/>
                  <a:gd name="T45" fmla="*/ 464 h 468"/>
                  <a:gd name="T46" fmla="*/ 726 w 734"/>
                  <a:gd name="T47" fmla="*/ 468 h 468"/>
                  <a:gd name="T48" fmla="*/ 720 w 734"/>
                  <a:gd name="T49" fmla="*/ 468 h 468"/>
                  <a:gd name="T50" fmla="*/ 720 w 734"/>
                  <a:gd name="T51" fmla="*/ 468 h 468"/>
                  <a:gd name="T52" fmla="*/ 28 w 734"/>
                  <a:gd name="T53" fmla="*/ 440 h 468"/>
                  <a:gd name="T54" fmla="*/ 706 w 734"/>
                  <a:gd name="T55" fmla="*/ 440 h 468"/>
                  <a:gd name="T56" fmla="*/ 706 w 734"/>
                  <a:gd name="T57" fmla="*/ 28 h 468"/>
                  <a:gd name="T58" fmla="*/ 28 w 734"/>
                  <a:gd name="T59" fmla="*/ 28 h 468"/>
                  <a:gd name="T60" fmla="*/ 28 w 734"/>
                  <a:gd name="T61" fmla="*/ 44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34" h="468">
                    <a:moveTo>
                      <a:pt x="720" y="468"/>
                    </a:moveTo>
                    <a:lnTo>
                      <a:pt x="14" y="468"/>
                    </a:lnTo>
                    <a:lnTo>
                      <a:pt x="14" y="468"/>
                    </a:lnTo>
                    <a:lnTo>
                      <a:pt x="8" y="468"/>
                    </a:lnTo>
                    <a:lnTo>
                      <a:pt x="4" y="464"/>
                    </a:lnTo>
                    <a:lnTo>
                      <a:pt x="2" y="460"/>
                    </a:lnTo>
                    <a:lnTo>
                      <a:pt x="0" y="454"/>
                    </a:lnTo>
                    <a:lnTo>
                      <a:pt x="0" y="14"/>
                    </a:lnTo>
                    <a:lnTo>
                      <a:pt x="0" y="14"/>
                    </a:lnTo>
                    <a:lnTo>
                      <a:pt x="2" y="8"/>
                    </a:lnTo>
                    <a:lnTo>
                      <a:pt x="4" y="4"/>
                    </a:lnTo>
                    <a:lnTo>
                      <a:pt x="8" y="0"/>
                    </a:lnTo>
                    <a:lnTo>
                      <a:pt x="14" y="0"/>
                    </a:lnTo>
                    <a:lnTo>
                      <a:pt x="720" y="0"/>
                    </a:lnTo>
                    <a:lnTo>
                      <a:pt x="720" y="0"/>
                    </a:lnTo>
                    <a:lnTo>
                      <a:pt x="726" y="0"/>
                    </a:lnTo>
                    <a:lnTo>
                      <a:pt x="730" y="4"/>
                    </a:lnTo>
                    <a:lnTo>
                      <a:pt x="734" y="8"/>
                    </a:lnTo>
                    <a:lnTo>
                      <a:pt x="734" y="14"/>
                    </a:lnTo>
                    <a:lnTo>
                      <a:pt x="734" y="454"/>
                    </a:lnTo>
                    <a:lnTo>
                      <a:pt x="734" y="454"/>
                    </a:lnTo>
                    <a:lnTo>
                      <a:pt x="734" y="460"/>
                    </a:lnTo>
                    <a:lnTo>
                      <a:pt x="730" y="464"/>
                    </a:lnTo>
                    <a:lnTo>
                      <a:pt x="726" y="468"/>
                    </a:lnTo>
                    <a:lnTo>
                      <a:pt x="720" y="468"/>
                    </a:lnTo>
                    <a:lnTo>
                      <a:pt x="720" y="468"/>
                    </a:lnTo>
                    <a:close/>
                    <a:moveTo>
                      <a:pt x="28" y="440"/>
                    </a:moveTo>
                    <a:lnTo>
                      <a:pt x="706" y="440"/>
                    </a:lnTo>
                    <a:lnTo>
                      <a:pt x="706" y="28"/>
                    </a:lnTo>
                    <a:lnTo>
                      <a:pt x="28" y="28"/>
                    </a:lnTo>
                    <a:lnTo>
                      <a:pt x="28" y="440"/>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68" name="Freeform 62"/>
              <p:cNvSpPr>
                <a:spLocks/>
              </p:cNvSpPr>
              <p:nvPr/>
            </p:nvSpPr>
            <p:spPr bwMode="auto">
              <a:xfrm>
                <a:off x="2982913" y="8388350"/>
                <a:ext cx="885825" cy="431800"/>
              </a:xfrm>
              <a:custGeom>
                <a:avLst/>
                <a:gdLst>
                  <a:gd name="T0" fmla="*/ 496 w 558"/>
                  <a:gd name="T1" fmla="*/ 272 h 272"/>
                  <a:gd name="T2" fmla="*/ 492 w 558"/>
                  <a:gd name="T3" fmla="*/ 270 h 272"/>
                  <a:gd name="T4" fmla="*/ 484 w 558"/>
                  <a:gd name="T5" fmla="*/ 264 h 272"/>
                  <a:gd name="T6" fmla="*/ 482 w 558"/>
                  <a:gd name="T7" fmla="*/ 28 h 272"/>
                  <a:gd name="T8" fmla="*/ 438 w 558"/>
                  <a:gd name="T9" fmla="*/ 258 h 272"/>
                  <a:gd name="T10" fmla="*/ 436 w 558"/>
                  <a:gd name="T11" fmla="*/ 264 h 272"/>
                  <a:gd name="T12" fmla="*/ 430 w 558"/>
                  <a:gd name="T13" fmla="*/ 270 h 272"/>
                  <a:gd name="T14" fmla="*/ 314 w 558"/>
                  <a:gd name="T15" fmla="*/ 272 h 272"/>
                  <a:gd name="T16" fmla="*/ 310 w 558"/>
                  <a:gd name="T17" fmla="*/ 270 h 272"/>
                  <a:gd name="T18" fmla="*/ 302 w 558"/>
                  <a:gd name="T19" fmla="*/ 264 h 272"/>
                  <a:gd name="T20" fmla="*/ 300 w 558"/>
                  <a:gd name="T21" fmla="*/ 62 h 272"/>
                  <a:gd name="T22" fmla="*/ 256 w 558"/>
                  <a:gd name="T23" fmla="*/ 258 h 272"/>
                  <a:gd name="T24" fmla="*/ 254 w 558"/>
                  <a:gd name="T25" fmla="*/ 264 h 272"/>
                  <a:gd name="T26" fmla="*/ 248 w 558"/>
                  <a:gd name="T27" fmla="*/ 270 h 272"/>
                  <a:gd name="T28" fmla="*/ 132 w 558"/>
                  <a:gd name="T29" fmla="*/ 272 h 272"/>
                  <a:gd name="T30" fmla="*/ 128 w 558"/>
                  <a:gd name="T31" fmla="*/ 270 h 272"/>
                  <a:gd name="T32" fmla="*/ 120 w 558"/>
                  <a:gd name="T33" fmla="*/ 264 h 272"/>
                  <a:gd name="T34" fmla="*/ 118 w 558"/>
                  <a:gd name="T35" fmla="*/ 126 h 272"/>
                  <a:gd name="T36" fmla="*/ 74 w 558"/>
                  <a:gd name="T37" fmla="*/ 258 h 272"/>
                  <a:gd name="T38" fmla="*/ 72 w 558"/>
                  <a:gd name="T39" fmla="*/ 264 h 272"/>
                  <a:gd name="T40" fmla="*/ 64 w 558"/>
                  <a:gd name="T41" fmla="*/ 270 h 272"/>
                  <a:gd name="T42" fmla="*/ 14 w 558"/>
                  <a:gd name="T43" fmla="*/ 272 h 272"/>
                  <a:gd name="T44" fmla="*/ 10 w 558"/>
                  <a:gd name="T45" fmla="*/ 270 h 272"/>
                  <a:gd name="T46" fmla="*/ 2 w 558"/>
                  <a:gd name="T47" fmla="*/ 264 h 272"/>
                  <a:gd name="T48" fmla="*/ 0 w 558"/>
                  <a:gd name="T49" fmla="*/ 258 h 272"/>
                  <a:gd name="T50" fmla="*/ 4 w 558"/>
                  <a:gd name="T51" fmla="*/ 248 h 272"/>
                  <a:gd name="T52" fmla="*/ 14 w 558"/>
                  <a:gd name="T53" fmla="*/ 244 h 272"/>
                  <a:gd name="T54" fmla="*/ 46 w 558"/>
                  <a:gd name="T55" fmla="*/ 122 h 272"/>
                  <a:gd name="T56" fmla="*/ 48 w 558"/>
                  <a:gd name="T57" fmla="*/ 112 h 272"/>
                  <a:gd name="T58" fmla="*/ 60 w 558"/>
                  <a:gd name="T59" fmla="*/ 100 h 272"/>
                  <a:gd name="T60" fmla="*/ 122 w 558"/>
                  <a:gd name="T61" fmla="*/ 98 h 272"/>
                  <a:gd name="T62" fmla="*/ 132 w 558"/>
                  <a:gd name="T63" fmla="*/ 100 h 272"/>
                  <a:gd name="T64" fmla="*/ 144 w 558"/>
                  <a:gd name="T65" fmla="*/ 112 h 272"/>
                  <a:gd name="T66" fmla="*/ 146 w 558"/>
                  <a:gd name="T67" fmla="*/ 244 h 272"/>
                  <a:gd name="T68" fmla="*/ 228 w 558"/>
                  <a:gd name="T69" fmla="*/ 60 h 272"/>
                  <a:gd name="T70" fmla="*/ 230 w 558"/>
                  <a:gd name="T71" fmla="*/ 50 h 272"/>
                  <a:gd name="T72" fmla="*/ 242 w 558"/>
                  <a:gd name="T73" fmla="*/ 36 h 272"/>
                  <a:gd name="T74" fmla="*/ 304 w 558"/>
                  <a:gd name="T75" fmla="*/ 34 h 272"/>
                  <a:gd name="T76" fmla="*/ 314 w 558"/>
                  <a:gd name="T77" fmla="*/ 36 h 272"/>
                  <a:gd name="T78" fmla="*/ 326 w 558"/>
                  <a:gd name="T79" fmla="*/ 50 h 272"/>
                  <a:gd name="T80" fmla="*/ 328 w 558"/>
                  <a:gd name="T81" fmla="*/ 244 h 272"/>
                  <a:gd name="T82" fmla="*/ 410 w 558"/>
                  <a:gd name="T83" fmla="*/ 24 h 272"/>
                  <a:gd name="T84" fmla="*/ 412 w 558"/>
                  <a:gd name="T85" fmla="*/ 14 h 272"/>
                  <a:gd name="T86" fmla="*/ 424 w 558"/>
                  <a:gd name="T87" fmla="*/ 2 h 272"/>
                  <a:gd name="T88" fmla="*/ 486 w 558"/>
                  <a:gd name="T89" fmla="*/ 0 h 272"/>
                  <a:gd name="T90" fmla="*/ 496 w 558"/>
                  <a:gd name="T91" fmla="*/ 2 h 272"/>
                  <a:gd name="T92" fmla="*/ 508 w 558"/>
                  <a:gd name="T93" fmla="*/ 14 h 272"/>
                  <a:gd name="T94" fmla="*/ 510 w 558"/>
                  <a:gd name="T95" fmla="*/ 244 h 272"/>
                  <a:gd name="T96" fmla="*/ 544 w 558"/>
                  <a:gd name="T97" fmla="*/ 244 h 272"/>
                  <a:gd name="T98" fmla="*/ 554 w 558"/>
                  <a:gd name="T99" fmla="*/ 248 h 272"/>
                  <a:gd name="T100" fmla="*/ 558 w 558"/>
                  <a:gd name="T101" fmla="*/ 258 h 272"/>
                  <a:gd name="T102" fmla="*/ 558 w 558"/>
                  <a:gd name="T103" fmla="*/ 264 h 272"/>
                  <a:gd name="T104" fmla="*/ 550 w 558"/>
                  <a:gd name="T105" fmla="*/ 270 h 272"/>
                  <a:gd name="T106" fmla="*/ 544 w 558"/>
                  <a:gd name="T107"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8" h="272">
                    <a:moveTo>
                      <a:pt x="544" y="272"/>
                    </a:moveTo>
                    <a:lnTo>
                      <a:pt x="496" y="272"/>
                    </a:lnTo>
                    <a:lnTo>
                      <a:pt x="496" y="272"/>
                    </a:lnTo>
                    <a:lnTo>
                      <a:pt x="492" y="270"/>
                    </a:lnTo>
                    <a:lnTo>
                      <a:pt x="486" y="268"/>
                    </a:lnTo>
                    <a:lnTo>
                      <a:pt x="484" y="264"/>
                    </a:lnTo>
                    <a:lnTo>
                      <a:pt x="482" y="258"/>
                    </a:lnTo>
                    <a:lnTo>
                      <a:pt x="482" y="28"/>
                    </a:lnTo>
                    <a:lnTo>
                      <a:pt x="438" y="28"/>
                    </a:lnTo>
                    <a:lnTo>
                      <a:pt x="438" y="258"/>
                    </a:lnTo>
                    <a:lnTo>
                      <a:pt x="438" y="258"/>
                    </a:lnTo>
                    <a:lnTo>
                      <a:pt x="436" y="264"/>
                    </a:lnTo>
                    <a:lnTo>
                      <a:pt x="434" y="268"/>
                    </a:lnTo>
                    <a:lnTo>
                      <a:pt x="430" y="270"/>
                    </a:lnTo>
                    <a:lnTo>
                      <a:pt x="424" y="272"/>
                    </a:lnTo>
                    <a:lnTo>
                      <a:pt x="314" y="272"/>
                    </a:lnTo>
                    <a:lnTo>
                      <a:pt x="314" y="272"/>
                    </a:lnTo>
                    <a:lnTo>
                      <a:pt x="310" y="270"/>
                    </a:lnTo>
                    <a:lnTo>
                      <a:pt x="304" y="268"/>
                    </a:lnTo>
                    <a:lnTo>
                      <a:pt x="302" y="264"/>
                    </a:lnTo>
                    <a:lnTo>
                      <a:pt x="300" y="258"/>
                    </a:lnTo>
                    <a:lnTo>
                      <a:pt x="300" y="62"/>
                    </a:lnTo>
                    <a:lnTo>
                      <a:pt x="256" y="62"/>
                    </a:lnTo>
                    <a:lnTo>
                      <a:pt x="256" y="258"/>
                    </a:lnTo>
                    <a:lnTo>
                      <a:pt x="256" y="258"/>
                    </a:lnTo>
                    <a:lnTo>
                      <a:pt x="254" y="264"/>
                    </a:lnTo>
                    <a:lnTo>
                      <a:pt x="252" y="268"/>
                    </a:lnTo>
                    <a:lnTo>
                      <a:pt x="248" y="270"/>
                    </a:lnTo>
                    <a:lnTo>
                      <a:pt x="242" y="272"/>
                    </a:lnTo>
                    <a:lnTo>
                      <a:pt x="132" y="272"/>
                    </a:lnTo>
                    <a:lnTo>
                      <a:pt x="132" y="272"/>
                    </a:lnTo>
                    <a:lnTo>
                      <a:pt x="128" y="270"/>
                    </a:lnTo>
                    <a:lnTo>
                      <a:pt x="122" y="268"/>
                    </a:lnTo>
                    <a:lnTo>
                      <a:pt x="120" y="264"/>
                    </a:lnTo>
                    <a:lnTo>
                      <a:pt x="118" y="258"/>
                    </a:lnTo>
                    <a:lnTo>
                      <a:pt x="118" y="126"/>
                    </a:lnTo>
                    <a:lnTo>
                      <a:pt x="74" y="126"/>
                    </a:lnTo>
                    <a:lnTo>
                      <a:pt x="74" y="258"/>
                    </a:lnTo>
                    <a:lnTo>
                      <a:pt x="74" y="258"/>
                    </a:lnTo>
                    <a:lnTo>
                      <a:pt x="72" y="264"/>
                    </a:lnTo>
                    <a:lnTo>
                      <a:pt x="70" y="268"/>
                    </a:lnTo>
                    <a:lnTo>
                      <a:pt x="64" y="270"/>
                    </a:lnTo>
                    <a:lnTo>
                      <a:pt x="60" y="272"/>
                    </a:lnTo>
                    <a:lnTo>
                      <a:pt x="14" y="272"/>
                    </a:lnTo>
                    <a:lnTo>
                      <a:pt x="14" y="272"/>
                    </a:lnTo>
                    <a:lnTo>
                      <a:pt x="10" y="270"/>
                    </a:lnTo>
                    <a:lnTo>
                      <a:pt x="4" y="268"/>
                    </a:lnTo>
                    <a:lnTo>
                      <a:pt x="2" y="264"/>
                    </a:lnTo>
                    <a:lnTo>
                      <a:pt x="0" y="258"/>
                    </a:lnTo>
                    <a:lnTo>
                      <a:pt x="0" y="258"/>
                    </a:lnTo>
                    <a:lnTo>
                      <a:pt x="2" y="252"/>
                    </a:lnTo>
                    <a:lnTo>
                      <a:pt x="4" y="248"/>
                    </a:lnTo>
                    <a:lnTo>
                      <a:pt x="10" y="246"/>
                    </a:lnTo>
                    <a:lnTo>
                      <a:pt x="14" y="244"/>
                    </a:lnTo>
                    <a:lnTo>
                      <a:pt x="46" y="244"/>
                    </a:lnTo>
                    <a:lnTo>
                      <a:pt x="46" y="122"/>
                    </a:lnTo>
                    <a:lnTo>
                      <a:pt x="46" y="122"/>
                    </a:lnTo>
                    <a:lnTo>
                      <a:pt x="48" y="112"/>
                    </a:lnTo>
                    <a:lnTo>
                      <a:pt x="52" y="106"/>
                    </a:lnTo>
                    <a:lnTo>
                      <a:pt x="60" y="100"/>
                    </a:lnTo>
                    <a:lnTo>
                      <a:pt x="70" y="98"/>
                    </a:lnTo>
                    <a:lnTo>
                      <a:pt x="122" y="98"/>
                    </a:lnTo>
                    <a:lnTo>
                      <a:pt x="122" y="98"/>
                    </a:lnTo>
                    <a:lnTo>
                      <a:pt x="132" y="100"/>
                    </a:lnTo>
                    <a:lnTo>
                      <a:pt x="140" y="106"/>
                    </a:lnTo>
                    <a:lnTo>
                      <a:pt x="144" y="112"/>
                    </a:lnTo>
                    <a:lnTo>
                      <a:pt x="146" y="122"/>
                    </a:lnTo>
                    <a:lnTo>
                      <a:pt x="146" y="244"/>
                    </a:lnTo>
                    <a:lnTo>
                      <a:pt x="228" y="244"/>
                    </a:lnTo>
                    <a:lnTo>
                      <a:pt x="228" y="60"/>
                    </a:lnTo>
                    <a:lnTo>
                      <a:pt x="228" y="60"/>
                    </a:lnTo>
                    <a:lnTo>
                      <a:pt x="230" y="50"/>
                    </a:lnTo>
                    <a:lnTo>
                      <a:pt x="234" y="42"/>
                    </a:lnTo>
                    <a:lnTo>
                      <a:pt x="242" y="36"/>
                    </a:lnTo>
                    <a:lnTo>
                      <a:pt x="252" y="34"/>
                    </a:lnTo>
                    <a:lnTo>
                      <a:pt x="304" y="34"/>
                    </a:lnTo>
                    <a:lnTo>
                      <a:pt x="304" y="34"/>
                    </a:lnTo>
                    <a:lnTo>
                      <a:pt x="314" y="36"/>
                    </a:lnTo>
                    <a:lnTo>
                      <a:pt x="322" y="42"/>
                    </a:lnTo>
                    <a:lnTo>
                      <a:pt x="326" y="50"/>
                    </a:lnTo>
                    <a:lnTo>
                      <a:pt x="328" y="60"/>
                    </a:lnTo>
                    <a:lnTo>
                      <a:pt x="328" y="244"/>
                    </a:lnTo>
                    <a:lnTo>
                      <a:pt x="410" y="244"/>
                    </a:lnTo>
                    <a:lnTo>
                      <a:pt x="410" y="24"/>
                    </a:lnTo>
                    <a:lnTo>
                      <a:pt x="410" y="24"/>
                    </a:lnTo>
                    <a:lnTo>
                      <a:pt x="412" y="14"/>
                    </a:lnTo>
                    <a:lnTo>
                      <a:pt x="416" y="8"/>
                    </a:lnTo>
                    <a:lnTo>
                      <a:pt x="424" y="2"/>
                    </a:lnTo>
                    <a:lnTo>
                      <a:pt x="434" y="0"/>
                    </a:lnTo>
                    <a:lnTo>
                      <a:pt x="486" y="0"/>
                    </a:lnTo>
                    <a:lnTo>
                      <a:pt x="486" y="0"/>
                    </a:lnTo>
                    <a:lnTo>
                      <a:pt x="496" y="2"/>
                    </a:lnTo>
                    <a:lnTo>
                      <a:pt x="504" y="8"/>
                    </a:lnTo>
                    <a:lnTo>
                      <a:pt x="508" y="14"/>
                    </a:lnTo>
                    <a:lnTo>
                      <a:pt x="510" y="24"/>
                    </a:lnTo>
                    <a:lnTo>
                      <a:pt x="510" y="244"/>
                    </a:lnTo>
                    <a:lnTo>
                      <a:pt x="544" y="244"/>
                    </a:lnTo>
                    <a:lnTo>
                      <a:pt x="544" y="244"/>
                    </a:lnTo>
                    <a:lnTo>
                      <a:pt x="550" y="246"/>
                    </a:lnTo>
                    <a:lnTo>
                      <a:pt x="554" y="248"/>
                    </a:lnTo>
                    <a:lnTo>
                      <a:pt x="558" y="252"/>
                    </a:lnTo>
                    <a:lnTo>
                      <a:pt x="558" y="258"/>
                    </a:lnTo>
                    <a:lnTo>
                      <a:pt x="558" y="258"/>
                    </a:lnTo>
                    <a:lnTo>
                      <a:pt x="558" y="264"/>
                    </a:lnTo>
                    <a:lnTo>
                      <a:pt x="554" y="268"/>
                    </a:lnTo>
                    <a:lnTo>
                      <a:pt x="550" y="270"/>
                    </a:lnTo>
                    <a:lnTo>
                      <a:pt x="544" y="272"/>
                    </a:lnTo>
                    <a:lnTo>
                      <a:pt x="544" y="272"/>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grpSp>
      </p:grpSp>
      <p:sp>
        <p:nvSpPr>
          <p:cNvPr id="69" name="Rectangle 68"/>
          <p:cNvSpPr/>
          <p:nvPr/>
        </p:nvSpPr>
        <p:spPr>
          <a:xfrm>
            <a:off x="1243640" y="1727370"/>
            <a:ext cx="1570495" cy="584775"/>
          </a:xfrm>
          <a:prstGeom prst="rect">
            <a:avLst/>
          </a:prstGeom>
        </p:spPr>
        <p:txBody>
          <a:bodyPr wrap="none" lIns="0" tIns="0" rIns="0" bIns="0">
            <a:noAutofit/>
          </a:bodyPr>
          <a:lstStyle/>
          <a:p>
            <a:pPr lvl="0" algn="ctr"/>
            <a:r>
              <a:rPr lang="en-US" sz="2400" dirty="0">
                <a:latin typeface="Segoe UI Light"/>
              </a:rPr>
              <a:t>Analytics on any data, </a:t>
            </a:r>
            <a:br>
              <a:rPr lang="en-US" sz="2400" dirty="0">
                <a:latin typeface="Segoe UI Light"/>
              </a:rPr>
            </a:br>
            <a:r>
              <a:rPr lang="en-US" sz="2400" dirty="0">
                <a:latin typeface="Segoe UI Light"/>
              </a:rPr>
              <a:t>any size</a:t>
            </a:r>
          </a:p>
        </p:txBody>
      </p:sp>
      <p:sp>
        <p:nvSpPr>
          <p:cNvPr id="70" name="Rectangle 69"/>
          <p:cNvSpPr/>
          <p:nvPr/>
        </p:nvSpPr>
        <p:spPr>
          <a:xfrm>
            <a:off x="5313292" y="1727370"/>
            <a:ext cx="1570495" cy="584775"/>
          </a:xfrm>
          <a:prstGeom prst="rect">
            <a:avLst/>
          </a:prstGeom>
        </p:spPr>
        <p:txBody>
          <a:bodyPr wrap="none" lIns="0" tIns="0" rIns="0" bIns="0">
            <a:noAutofit/>
          </a:bodyPr>
          <a:lstStyle/>
          <a:p>
            <a:pPr lvl="0" algn="ctr"/>
            <a:r>
              <a:rPr lang="en-US" sz="2400" dirty="0">
                <a:latin typeface="Segoe UI Light"/>
              </a:rPr>
              <a:t>Easier and more </a:t>
            </a:r>
            <a:br>
              <a:rPr lang="en-US" sz="2400" dirty="0">
                <a:latin typeface="Segoe UI Light"/>
              </a:rPr>
            </a:br>
            <a:r>
              <a:rPr lang="en-US" sz="2400" dirty="0">
                <a:latin typeface="Segoe UI Light"/>
              </a:rPr>
              <a:t>productive for all users</a:t>
            </a:r>
          </a:p>
        </p:txBody>
      </p:sp>
      <p:sp>
        <p:nvSpPr>
          <p:cNvPr id="71" name="Rectangle 70"/>
          <p:cNvSpPr/>
          <p:nvPr/>
        </p:nvSpPr>
        <p:spPr>
          <a:xfrm>
            <a:off x="9377867" y="1833563"/>
            <a:ext cx="1570495" cy="584775"/>
          </a:xfrm>
          <a:prstGeom prst="rect">
            <a:avLst/>
          </a:prstGeom>
        </p:spPr>
        <p:txBody>
          <a:bodyPr wrap="none" lIns="0" tIns="0" rIns="0" bIns="0" anchor="ctr">
            <a:noAutofit/>
          </a:bodyPr>
          <a:lstStyle/>
          <a:p>
            <a:pPr lvl="0" algn="ctr"/>
            <a:r>
              <a:rPr lang="en-US" sz="2400" dirty="0">
                <a:latin typeface="Segoe UI Light"/>
              </a:rPr>
              <a:t>Enterprise-ready</a:t>
            </a:r>
          </a:p>
        </p:txBody>
      </p:sp>
      <p:cxnSp>
        <p:nvCxnSpPr>
          <p:cNvPr id="4" name="Straight Connector 3"/>
          <p:cNvCxnSpPr/>
          <p:nvPr/>
        </p:nvCxnSpPr>
        <p:spPr>
          <a:xfrm>
            <a:off x="4069653" y="1669771"/>
            <a:ext cx="0" cy="466344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4837676" y="4296028"/>
            <a:ext cx="2521727" cy="1268582"/>
            <a:chOff x="5752770" y="882436"/>
            <a:chExt cx="1506663" cy="757943"/>
          </a:xfrm>
        </p:grpSpPr>
        <p:sp>
          <p:nvSpPr>
            <p:cNvPr id="96" name="Freeform 95"/>
            <p:cNvSpPr>
              <a:spLocks/>
            </p:cNvSpPr>
            <p:nvPr/>
          </p:nvSpPr>
          <p:spPr bwMode="auto">
            <a:xfrm flipH="1">
              <a:off x="5752770" y="882436"/>
              <a:ext cx="828550" cy="757943"/>
            </a:xfrm>
            <a:custGeom>
              <a:avLst/>
              <a:gdLst/>
              <a:ahLst/>
              <a:cxnLst/>
              <a:rect l="l" t="t" r="r" b="b"/>
              <a:pathLst>
                <a:path w="310149" h="299015">
                  <a:moveTo>
                    <a:pt x="231101" y="150303"/>
                  </a:moveTo>
                  <a:cubicBezTo>
                    <a:pt x="283800" y="150303"/>
                    <a:pt x="308267" y="186102"/>
                    <a:pt x="310149" y="272772"/>
                  </a:cubicBezTo>
                  <a:cubicBezTo>
                    <a:pt x="296975" y="272772"/>
                    <a:pt x="234865" y="272772"/>
                    <a:pt x="223573" y="272772"/>
                  </a:cubicBezTo>
                  <a:cubicBezTo>
                    <a:pt x="223573" y="236973"/>
                    <a:pt x="217926" y="191754"/>
                    <a:pt x="197223" y="157840"/>
                  </a:cubicBezTo>
                  <a:close/>
                  <a:moveTo>
                    <a:pt x="101540" y="129626"/>
                  </a:moveTo>
                  <a:cubicBezTo>
                    <a:pt x="186156" y="129626"/>
                    <a:pt x="201199" y="204910"/>
                    <a:pt x="201199" y="299015"/>
                  </a:cubicBezTo>
                  <a:lnTo>
                    <a:pt x="0" y="299015"/>
                  </a:lnTo>
                  <a:cubicBezTo>
                    <a:pt x="0" y="204910"/>
                    <a:pt x="15043" y="129626"/>
                    <a:pt x="101540" y="129626"/>
                  </a:cubicBezTo>
                  <a:close/>
                  <a:moveTo>
                    <a:pt x="230226" y="45329"/>
                  </a:moveTo>
                  <a:cubicBezTo>
                    <a:pt x="255480" y="45329"/>
                    <a:pt x="275953" y="65446"/>
                    <a:pt x="275953" y="90261"/>
                  </a:cubicBezTo>
                  <a:cubicBezTo>
                    <a:pt x="275953" y="115076"/>
                    <a:pt x="255480" y="135193"/>
                    <a:pt x="230226" y="135193"/>
                  </a:cubicBezTo>
                  <a:cubicBezTo>
                    <a:pt x="204972" y="135193"/>
                    <a:pt x="184499" y="115076"/>
                    <a:pt x="184499" y="90261"/>
                  </a:cubicBezTo>
                  <a:cubicBezTo>
                    <a:pt x="184499" y="65446"/>
                    <a:pt x="204972" y="45329"/>
                    <a:pt x="230226" y="45329"/>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9050">
              <a:solidFill>
                <a:srgbClr val="00BCF2"/>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z="2200" spc="-135" dirty="0">
                <a:solidFill>
                  <a:schemeClr val="accent3"/>
                </a:solidFill>
                <a:latin typeface="Segoe Light" pitchFamily="34" charset="0"/>
              </a:endParaRPr>
            </a:p>
          </p:txBody>
        </p:sp>
        <p:sp>
          <p:nvSpPr>
            <p:cNvPr id="95" name="Freeform 94"/>
            <p:cNvSpPr>
              <a:spLocks/>
            </p:cNvSpPr>
            <p:nvPr/>
          </p:nvSpPr>
          <p:spPr bwMode="auto">
            <a:xfrm>
              <a:off x="6430883" y="882436"/>
              <a:ext cx="828550" cy="757943"/>
            </a:xfrm>
            <a:custGeom>
              <a:avLst/>
              <a:gdLst/>
              <a:ahLst/>
              <a:cxnLst/>
              <a:rect l="l" t="t" r="r" b="b"/>
              <a:pathLst>
                <a:path w="310149" h="299015">
                  <a:moveTo>
                    <a:pt x="231101" y="150303"/>
                  </a:moveTo>
                  <a:cubicBezTo>
                    <a:pt x="283800" y="150303"/>
                    <a:pt x="308267" y="186102"/>
                    <a:pt x="310149" y="272772"/>
                  </a:cubicBezTo>
                  <a:cubicBezTo>
                    <a:pt x="296975" y="272772"/>
                    <a:pt x="234865" y="272772"/>
                    <a:pt x="223573" y="272772"/>
                  </a:cubicBezTo>
                  <a:cubicBezTo>
                    <a:pt x="223573" y="236973"/>
                    <a:pt x="217926" y="191754"/>
                    <a:pt x="197223" y="157840"/>
                  </a:cubicBezTo>
                  <a:close/>
                  <a:moveTo>
                    <a:pt x="101540" y="129626"/>
                  </a:moveTo>
                  <a:cubicBezTo>
                    <a:pt x="186156" y="129626"/>
                    <a:pt x="201199" y="204910"/>
                    <a:pt x="201199" y="299015"/>
                  </a:cubicBezTo>
                  <a:lnTo>
                    <a:pt x="0" y="299015"/>
                  </a:lnTo>
                  <a:cubicBezTo>
                    <a:pt x="0" y="204910"/>
                    <a:pt x="15043" y="129626"/>
                    <a:pt x="101540" y="129626"/>
                  </a:cubicBezTo>
                  <a:close/>
                  <a:moveTo>
                    <a:pt x="230226" y="45329"/>
                  </a:moveTo>
                  <a:cubicBezTo>
                    <a:pt x="255480" y="45329"/>
                    <a:pt x="275953" y="65446"/>
                    <a:pt x="275953" y="90261"/>
                  </a:cubicBezTo>
                  <a:cubicBezTo>
                    <a:pt x="275953" y="115076"/>
                    <a:pt x="255480" y="135193"/>
                    <a:pt x="230226" y="135193"/>
                  </a:cubicBezTo>
                  <a:cubicBezTo>
                    <a:pt x="204972" y="135193"/>
                    <a:pt x="184499" y="115076"/>
                    <a:pt x="184499" y="90261"/>
                  </a:cubicBezTo>
                  <a:cubicBezTo>
                    <a:pt x="184499" y="65446"/>
                    <a:pt x="204972" y="45329"/>
                    <a:pt x="230226" y="45329"/>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9050">
              <a:solidFill>
                <a:schemeClr val="accent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z="2200" spc="-135" dirty="0">
                <a:solidFill>
                  <a:schemeClr val="accent3"/>
                </a:solidFill>
                <a:latin typeface="Segoe Light" pitchFamily="34" charset="0"/>
              </a:endParaRPr>
            </a:p>
          </p:txBody>
        </p:sp>
      </p:grpSp>
      <p:cxnSp>
        <p:nvCxnSpPr>
          <p:cNvPr id="99" name="Straight Connector 98"/>
          <p:cNvCxnSpPr/>
          <p:nvPr/>
        </p:nvCxnSpPr>
        <p:spPr>
          <a:xfrm flipV="1">
            <a:off x="4069653" y="1632940"/>
            <a:ext cx="0" cy="9860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8134228" y="1669771"/>
            <a:ext cx="0" cy="466344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8134228" y="1580322"/>
            <a:ext cx="0" cy="10386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4409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6812280" y="1"/>
            <a:ext cx="5379719" cy="633256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grpSp>
        <p:nvGrpSpPr>
          <p:cNvPr id="35" name="Group 34"/>
          <p:cNvGrpSpPr/>
          <p:nvPr/>
        </p:nvGrpSpPr>
        <p:grpSpPr>
          <a:xfrm>
            <a:off x="7814358" y="1400784"/>
            <a:ext cx="487361" cy="420729"/>
            <a:chOff x="1821729" y="2389959"/>
            <a:chExt cx="713951" cy="616339"/>
          </a:xfrm>
          <a:solidFill>
            <a:schemeClr val="accent1"/>
          </a:solidFill>
        </p:grpSpPr>
        <p:sp>
          <p:nvSpPr>
            <p:cNvPr id="36" name="Freeform 49"/>
            <p:cNvSpPr>
              <a:spLocks/>
            </p:cNvSpPr>
            <p:nvPr/>
          </p:nvSpPr>
          <p:spPr bwMode="auto">
            <a:xfrm>
              <a:off x="1845076" y="2389959"/>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7" name="Freeform 50"/>
            <p:cNvSpPr>
              <a:spLocks noEditPoints="1"/>
            </p:cNvSpPr>
            <p:nvPr/>
          </p:nvSpPr>
          <p:spPr bwMode="auto">
            <a:xfrm>
              <a:off x="2019118" y="2389959"/>
              <a:ext cx="75879" cy="119655"/>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 name="Freeform 51"/>
            <p:cNvSpPr>
              <a:spLocks/>
            </p:cNvSpPr>
            <p:nvPr/>
          </p:nvSpPr>
          <p:spPr bwMode="auto">
            <a:xfrm>
              <a:off x="2246753" y="2389959"/>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9" name="Freeform 52"/>
            <p:cNvSpPr>
              <a:spLocks noEditPoints="1"/>
            </p:cNvSpPr>
            <p:nvPr/>
          </p:nvSpPr>
          <p:spPr bwMode="auto">
            <a:xfrm>
              <a:off x="2459801" y="2389959"/>
              <a:ext cx="75879" cy="119655"/>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0" name="Freeform 21"/>
            <p:cNvSpPr>
              <a:spLocks noEditPoints="1"/>
            </p:cNvSpPr>
            <p:nvPr/>
          </p:nvSpPr>
          <p:spPr bwMode="auto">
            <a:xfrm>
              <a:off x="1821729" y="2631327"/>
              <a:ext cx="75879" cy="119655"/>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Freeform 23"/>
            <p:cNvSpPr>
              <a:spLocks noEditPoints="1"/>
            </p:cNvSpPr>
            <p:nvPr/>
          </p:nvSpPr>
          <p:spPr bwMode="auto">
            <a:xfrm>
              <a:off x="2249804" y="2631326"/>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3"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4" name="Freeform 49"/>
            <p:cNvSpPr>
              <a:spLocks/>
            </p:cNvSpPr>
            <p:nvPr/>
          </p:nvSpPr>
          <p:spPr bwMode="auto">
            <a:xfrm>
              <a:off x="1845076" y="288664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5" name="Freeform 50"/>
            <p:cNvSpPr>
              <a:spLocks noEditPoints="1"/>
            </p:cNvSpPr>
            <p:nvPr/>
          </p:nvSpPr>
          <p:spPr bwMode="auto">
            <a:xfrm>
              <a:off x="2019117"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6"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7" name="Freeform 52"/>
            <p:cNvSpPr>
              <a:spLocks noEditPoints="1"/>
            </p:cNvSpPr>
            <p:nvPr/>
          </p:nvSpPr>
          <p:spPr bwMode="auto">
            <a:xfrm>
              <a:off x="2459800"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269240" y="289511"/>
            <a:ext cx="11655840" cy="899665"/>
          </a:xfrm>
        </p:spPr>
        <p:txBody>
          <a:bodyPr lIns="182880"/>
          <a:lstStyle/>
          <a:p>
            <a:r>
              <a:rPr lang="en-US" dirty="0"/>
              <a:t>Big Data definition</a:t>
            </a:r>
          </a:p>
        </p:txBody>
      </p:sp>
      <p:sp>
        <p:nvSpPr>
          <p:cNvPr id="4" name="Rectangle 3"/>
          <p:cNvSpPr/>
          <p:nvPr/>
        </p:nvSpPr>
        <p:spPr bwMode="auto">
          <a:xfrm>
            <a:off x="547314" y="2411773"/>
            <a:ext cx="6095166" cy="2455928"/>
          </a:xfrm>
          <a:prstGeom prst="rect">
            <a:avLst/>
          </a:prstGeom>
          <a:noFill/>
          <a:ln w="38100" cap="flat" cmpd="sng" algn="ctr">
            <a:noFill/>
            <a:prstDash val="solid"/>
            <a:headEnd type="none" w="med" len="med"/>
            <a:tailEnd type="none" w="med" len="med"/>
          </a:ln>
          <a:effectLst/>
        </p:spPr>
        <p:txBody>
          <a:bodyPr vert="horz" wrap="square" lIns="182880" tIns="91440" rIns="179285" bIns="91440" numCol="1" rtlCol="0" anchor="t" anchorCtr="0" compatLnSpc="1">
            <a:prstTxWarp prst="textNoShape">
              <a:avLst/>
            </a:prstTxWarp>
          </a:bodyPr>
          <a:lstStyle/>
          <a:p>
            <a:pPr defTabSz="896091" fontAlgn="base">
              <a:spcAft>
                <a:spcPct val="0"/>
              </a:spcAft>
              <a:defRPr/>
            </a:pPr>
            <a:r>
              <a:rPr lang="en-US" sz="2400" b="1" kern="0" dirty="0">
                <a:solidFill>
                  <a:srgbClr val="0078D7"/>
                </a:solidFill>
                <a:latin typeface="Segoe UI" pitchFamily="34" charset="0"/>
                <a:ea typeface="Segoe UI" pitchFamily="34" charset="0"/>
                <a:cs typeface="Segoe UI" pitchFamily="34" charset="0"/>
              </a:rPr>
              <a:t>Big data </a:t>
            </a:r>
            <a:r>
              <a:rPr lang="en-US" sz="2400" kern="0" dirty="0">
                <a:solidFill>
                  <a:srgbClr val="0078D7"/>
                </a:solidFill>
                <a:latin typeface="Segoe UI" pitchFamily="34" charset="0"/>
                <a:ea typeface="Segoe UI" pitchFamily="34" charset="0"/>
                <a:cs typeface="Segoe UI" pitchFamily="34" charset="0"/>
              </a:rPr>
              <a:t>is </a:t>
            </a:r>
            <a:r>
              <a:rPr lang="en-US" sz="2400" b="1" kern="0" dirty="0">
                <a:solidFill>
                  <a:srgbClr val="0078D7"/>
                </a:solidFill>
                <a:latin typeface="Segoe UI" pitchFamily="34" charset="0"/>
                <a:ea typeface="Segoe UI" pitchFamily="34" charset="0"/>
                <a:cs typeface="Segoe UI" pitchFamily="34" charset="0"/>
              </a:rPr>
              <a:t>high-volume</a:t>
            </a:r>
            <a:r>
              <a:rPr lang="en-US" sz="2400" kern="0" dirty="0">
                <a:solidFill>
                  <a:srgbClr val="0078D7"/>
                </a:solidFill>
                <a:latin typeface="Segoe UI" pitchFamily="34" charset="0"/>
                <a:ea typeface="Segoe UI" pitchFamily="34" charset="0"/>
                <a:cs typeface="Segoe UI" pitchFamily="34" charset="0"/>
              </a:rPr>
              <a:t>, </a:t>
            </a:r>
            <a:r>
              <a:rPr lang="en-US" sz="2400" b="1" kern="0" dirty="0">
                <a:solidFill>
                  <a:srgbClr val="0078D7"/>
                </a:solidFill>
                <a:latin typeface="Segoe UI" pitchFamily="34" charset="0"/>
                <a:ea typeface="Segoe UI" pitchFamily="34" charset="0"/>
                <a:cs typeface="Segoe UI" pitchFamily="34" charset="0"/>
              </a:rPr>
              <a:t>high-velocity</a:t>
            </a:r>
            <a:r>
              <a:rPr lang="en-US" sz="2400" kern="0" dirty="0">
                <a:solidFill>
                  <a:srgbClr val="0078D7"/>
                </a:solidFill>
                <a:latin typeface="Segoe UI" pitchFamily="34" charset="0"/>
                <a:ea typeface="Segoe UI" pitchFamily="34" charset="0"/>
                <a:cs typeface="Segoe UI" pitchFamily="34" charset="0"/>
              </a:rPr>
              <a:t> and/or </a:t>
            </a:r>
            <a:r>
              <a:rPr lang="en-US" sz="2400" b="1" kern="0" dirty="0">
                <a:solidFill>
                  <a:srgbClr val="0078D7"/>
                </a:solidFill>
                <a:latin typeface="Segoe UI" pitchFamily="34" charset="0"/>
                <a:ea typeface="Segoe UI" pitchFamily="34" charset="0"/>
                <a:cs typeface="Segoe UI" pitchFamily="34" charset="0"/>
              </a:rPr>
              <a:t>high-variety</a:t>
            </a:r>
            <a:r>
              <a:rPr lang="en-US" sz="2400" kern="0" dirty="0">
                <a:solidFill>
                  <a:srgbClr val="0078D7"/>
                </a:solidFill>
                <a:latin typeface="Segoe UI" pitchFamily="34" charset="0"/>
                <a:ea typeface="Segoe UI" pitchFamily="34" charset="0"/>
                <a:cs typeface="Segoe UI" pitchFamily="34" charset="0"/>
              </a:rPr>
              <a:t> information assets that demand </a:t>
            </a:r>
            <a:r>
              <a:rPr lang="en-US" sz="2400" b="1" kern="0" dirty="0">
                <a:solidFill>
                  <a:srgbClr val="0078D7"/>
                </a:solidFill>
                <a:latin typeface="Segoe UI" pitchFamily="34" charset="0"/>
                <a:ea typeface="Segoe UI" pitchFamily="34" charset="0"/>
                <a:cs typeface="Segoe UI" pitchFamily="34" charset="0"/>
              </a:rPr>
              <a:t>cost-effective</a:t>
            </a:r>
            <a:r>
              <a:rPr lang="en-US" sz="2400" kern="0" dirty="0">
                <a:solidFill>
                  <a:srgbClr val="0078D7"/>
                </a:solidFill>
                <a:latin typeface="Segoe UI" pitchFamily="34" charset="0"/>
                <a:ea typeface="Segoe UI" pitchFamily="34" charset="0"/>
                <a:cs typeface="Segoe UI" pitchFamily="34" charset="0"/>
              </a:rPr>
              <a:t>, innovative forms of information processing that enable </a:t>
            </a:r>
            <a:r>
              <a:rPr lang="en-US" sz="2400" b="1" kern="0" dirty="0">
                <a:solidFill>
                  <a:srgbClr val="0078D7"/>
                </a:solidFill>
                <a:latin typeface="Segoe UI" pitchFamily="34" charset="0"/>
                <a:ea typeface="Segoe UI" pitchFamily="34" charset="0"/>
                <a:cs typeface="Segoe UI" pitchFamily="34" charset="0"/>
              </a:rPr>
              <a:t>enhanced insight</a:t>
            </a:r>
            <a:r>
              <a:rPr lang="en-US" sz="2400" kern="0" dirty="0">
                <a:solidFill>
                  <a:srgbClr val="0078D7"/>
                </a:solidFill>
                <a:latin typeface="Segoe UI" pitchFamily="34" charset="0"/>
                <a:ea typeface="Segoe UI" pitchFamily="34" charset="0"/>
                <a:cs typeface="Segoe UI" pitchFamily="34" charset="0"/>
              </a:rPr>
              <a:t>, </a:t>
            </a:r>
            <a:r>
              <a:rPr lang="en-US" sz="2400" b="1" kern="0" dirty="0">
                <a:solidFill>
                  <a:srgbClr val="0078D7"/>
                </a:solidFill>
                <a:latin typeface="Segoe UI" pitchFamily="34" charset="0"/>
                <a:ea typeface="Segoe UI" pitchFamily="34" charset="0"/>
                <a:cs typeface="Segoe UI" pitchFamily="34" charset="0"/>
              </a:rPr>
              <a:t>decision making</a:t>
            </a:r>
            <a:r>
              <a:rPr lang="en-US" sz="2400" kern="0" dirty="0">
                <a:solidFill>
                  <a:srgbClr val="0078D7"/>
                </a:solidFill>
                <a:latin typeface="Segoe UI" pitchFamily="34" charset="0"/>
                <a:ea typeface="Segoe UI" pitchFamily="34" charset="0"/>
                <a:cs typeface="Segoe UI" pitchFamily="34" charset="0"/>
              </a:rPr>
              <a:t>, and </a:t>
            </a:r>
            <a:r>
              <a:rPr lang="en-US" sz="2400" b="1" kern="0" dirty="0">
                <a:solidFill>
                  <a:srgbClr val="0078D7"/>
                </a:solidFill>
                <a:latin typeface="Segoe UI" pitchFamily="34" charset="0"/>
                <a:ea typeface="Segoe UI" pitchFamily="34" charset="0"/>
                <a:cs typeface="Segoe UI" pitchFamily="34" charset="0"/>
              </a:rPr>
              <a:t>process automation</a:t>
            </a:r>
            <a:r>
              <a:rPr lang="en-US" sz="2400" kern="0" dirty="0">
                <a:solidFill>
                  <a:srgbClr val="0078D7"/>
                </a:solidFill>
                <a:latin typeface="Segoe UI" pitchFamily="34" charset="0"/>
                <a:ea typeface="Segoe UI" pitchFamily="34" charset="0"/>
                <a:cs typeface="Segoe UI" pitchFamily="34" charset="0"/>
              </a:rPr>
              <a:t>.  </a:t>
            </a:r>
          </a:p>
          <a:p>
            <a:pPr defTabSz="896091" fontAlgn="base">
              <a:spcAft>
                <a:spcPct val="0"/>
              </a:spcAft>
              <a:defRPr/>
            </a:pPr>
            <a:r>
              <a:rPr lang="en-US" sz="1600" kern="0" dirty="0">
                <a:solidFill>
                  <a:srgbClr val="0078D7"/>
                </a:solidFill>
                <a:latin typeface="Segoe UI" pitchFamily="34" charset="0"/>
                <a:ea typeface="Segoe UI" pitchFamily="34" charset="0"/>
                <a:cs typeface="Segoe UI" pitchFamily="34" charset="0"/>
              </a:rPr>
              <a:t>					</a:t>
            </a:r>
            <a:br>
              <a:rPr lang="en-US" sz="1600" kern="0" dirty="0">
                <a:solidFill>
                  <a:srgbClr val="0078D7"/>
                </a:solidFill>
                <a:latin typeface="Segoe UI" pitchFamily="34" charset="0"/>
                <a:ea typeface="Segoe UI" pitchFamily="34" charset="0"/>
                <a:cs typeface="Segoe UI" pitchFamily="34" charset="0"/>
              </a:rPr>
            </a:br>
            <a:r>
              <a:rPr lang="en-US" sz="1600" kern="0" dirty="0">
                <a:solidFill>
                  <a:srgbClr val="0078D7"/>
                </a:solidFill>
                <a:latin typeface="Segoe UI" pitchFamily="34" charset="0"/>
                <a:ea typeface="Segoe UI" pitchFamily="34" charset="0"/>
                <a:cs typeface="Segoe UI" pitchFamily="34" charset="0"/>
              </a:rPr>
              <a:t>– Gartner, Big Data Definition*</a:t>
            </a:r>
          </a:p>
        </p:txBody>
      </p:sp>
      <p:sp>
        <p:nvSpPr>
          <p:cNvPr id="7" name="TextBox 6"/>
          <p:cNvSpPr txBox="1"/>
          <p:nvPr/>
        </p:nvSpPr>
        <p:spPr>
          <a:xfrm>
            <a:off x="0" y="5911939"/>
            <a:ext cx="8147713" cy="420115"/>
          </a:xfrm>
          <a:prstGeom prst="rect">
            <a:avLst/>
          </a:prstGeom>
          <a:noFill/>
        </p:spPr>
        <p:txBody>
          <a:bodyPr wrap="square" lIns="182880" tIns="146304" rIns="182880" bIns="146304" rtlCol="0">
            <a:spAutoFit/>
          </a:bodyPr>
          <a:lstStyle/>
          <a:p>
            <a:pPr>
              <a:lnSpc>
                <a:spcPct val="90000"/>
              </a:lnSpc>
              <a:spcAft>
                <a:spcPts val="600"/>
              </a:spcAft>
            </a:pPr>
            <a:r>
              <a:rPr lang="en-US" sz="800" dirty="0">
                <a:solidFill>
                  <a:schemeClr val="bg1"/>
                </a:solidFill>
              </a:rPr>
              <a:t>* Gartner, Big Data (Stamford, CT.: Gartner, 2016), URL: http://www.gartner.com/it-glossary/big-data/</a:t>
            </a:r>
          </a:p>
        </p:txBody>
      </p:sp>
      <p:sp>
        <p:nvSpPr>
          <p:cNvPr id="33" name="Freeform 32"/>
          <p:cNvSpPr/>
          <p:nvPr/>
        </p:nvSpPr>
        <p:spPr bwMode="auto">
          <a:xfrm flipV="1">
            <a:off x="301085" y="2348818"/>
            <a:ext cx="304835" cy="200631"/>
          </a:xfrm>
          <a:custGeom>
            <a:avLst/>
            <a:gdLst/>
            <a:ahLst/>
            <a:cxnLst/>
            <a:rect l="l" t="t" r="r" b="b"/>
            <a:pathLst>
              <a:path w="670917" h="441573">
                <a:moveTo>
                  <a:pt x="629841" y="2567"/>
                </a:moveTo>
                <a:lnTo>
                  <a:pt x="629841" y="35086"/>
                </a:lnTo>
                <a:cubicBezTo>
                  <a:pt x="572220" y="68175"/>
                  <a:pt x="534281" y="97842"/>
                  <a:pt x="516024" y="124085"/>
                </a:cubicBezTo>
                <a:cubicBezTo>
                  <a:pt x="497768" y="150328"/>
                  <a:pt x="488640" y="181136"/>
                  <a:pt x="488640" y="216507"/>
                </a:cubicBezTo>
                <a:cubicBezTo>
                  <a:pt x="488640" y="232482"/>
                  <a:pt x="491778" y="244462"/>
                  <a:pt x="498053" y="252449"/>
                </a:cubicBezTo>
                <a:cubicBezTo>
                  <a:pt x="504329" y="260437"/>
                  <a:pt x="510890" y="264430"/>
                  <a:pt x="517736" y="264430"/>
                </a:cubicBezTo>
                <a:cubicBezTo>
                  <a:pt x="524012" y="264430"/>
                  <a:pt x="533425" y="262148"/>
                  <a:pt x="545976" y="257584"/>
                </a:cubicBezTo>
                <a:cubicBezTo>
                  <a:pt x="558527" y="253020"/>
                  <a:pt x="571078" y="250738"/>
                  <a:pt x="583630" y="250738"/>
                </a:cubicBezTo>
                <a:cubicBezTo>
                  <a:pt x="607020" y="250738"/>
                  <a:pt x="627416" y="259153"/>
                  <a:pt x="644817" y="275983"/>
                </a:cubicBezTo>
                <a:cubicBezTo>
                  <a:pt x="662217" y="292813"/>
                  <a:pt x="670917" y="313494"/>
                  <a:pt x="670917" y="338026"/>
                </a:cubicBezTo>
                <a:cubicBezTo>
                  <a:pt x="670917" y="365980"/>
                  <a:pt x="659935" y="390227"/>
                  <a:pt x="637971" y="410765"/>
                </a:cubicBezTo>
                <a:cubicBezTo>
                  <a:pt x="616006" y="431304"/>
                  <a:pt x="589049" y="441573"/>
                  <a:pt x="557101" y="441573"/>
                </a:cubicBezTo>
                <a:cubicBezTo>
                  <a:pt x="519448" y="441573"/>
                  <a:pt x="485502" y="425313"/>
                  <a:pt x="455265" y="392794"/>
                </a:cubicBezTo>
                <a:cubicBezTo>
                  <a:pt x="425029" y="360275"/>
                  <a:pt x="409910" y="319769"/>
                  <a:pt x="409910" y="271276"/>
                </a:cubicBezTo>
                <a:cubicBezTo>
                  <a:pt x="409910" y="211373"/>
                  <a:pt x="429022" y="156747"/>
                  <a:pt x="467246" y="107398"/>
                </a:cubicBezTo>
                <a:cubicBezTo>
                  <a:pt x="505470" y="58049"/>
                  <a:pt x="559668" y="23105"/>
                  <a:pt x="629841" y="2567"/>
                </a:cubicBezTo>
                <a:close/>
                <a:moveTo>
                  <a:pt x="221642" y="0"/>
                </a:moveTo>
                <a:lnTo>
                  <a:pt x="221642" y="35086"/>
                </a:lnTo>
                <a:cubicBezTo>
                  <a:pt x="171438" y="61329"/>
                  <a:pt x="135496" y="88714"/>
                  <a:pt x="113816" y="117239"/>
                </a:cubicBezTo>
                <a:cubicBezTo>
                  <a:pt x="92137" y="145764"/>
                  <a:pt x="81298" y="176857"/>
                  <a:pt x="81298" y="210517"/>
                </a:cubicBezTo>
                <a:cubicBezTo>
                  <a:pt x="81298" y="230485"/>
                  <a:pt x="84150" y="244177"/>
                  <a:pt x="89855" y="251594"/>
                </a:cubicBezTo>
                <a:cubicBezTo>
                  <a:pt x="94990" y="259581"/>
                  <a:pt x="101265" y="263574"/>
                  <a:pt x="108682" y="263574"/>
                </a:cubicBezTo>
                <a:cubicBezTo>
                  <a:pt x="116099" y="263574"/>
                  <a:pt x="126082" y="261435"/>
                  <a:pt x="138634" y="257156"/>
                </a:cubicBezTo>
                <a:cubicBezTo>
                  <a:pt x="151185" y="252877"/>
                  <a:pt x="162595" y="250738"/>
                  <a:pt x="172864" y="250738"/>
                </a:cubicBezTo>
                <a:cubicBezTo>
                  <a:pt x="196255" y="250738"/>
                  <a:pt x="216651" y="259438"/>
                  <a:pt x="234051" y="276839"/>
                </a:cubicBezTo>
                <a:cubicBezTo>
                  <a:pt x="251452" y="294239"/>
                  <a:pt x="260152" y="315491"/>
                  <a:pt x="260152" y="340593"/>
                </a:cubicBezTo>
                <a:cubicBezTo>
                  <a:pt x="260152" y="367977"/>
                  <a:pt x="249597" y="391511"/>
                  <a:pt x="228489" y="411193"/>
                </a:cubicBezTo>
                <a:cubicBezTo>
                  <a:pt x="207380" y="430876"/>
                  <a:pt x="181136" y="440717"/>
                  <a:pt x="149758" y="440717"/>
                </a:cubicBezTo>
                <a:cubicBezTo>
                  <a:pt x="111534" y="440717"/>
                  <a:pt x="77019" y="424172"/>
                  <a:pt x="46211" y="391083"/>
                </a:cubicBezTo>
                <a:cubicBezTo>
                  <a:pt x="15404" y="357993"/>
                  <a:pt x="0" y="317202"/>
                  <a:pt x="0" y="268709"/>
                </a:cubicBezTo>
                <a:cubicBezTo>
                  <a:pt x="0" y="211658"/>
                  <a:pt x="18970" y="158458"/>
                  <a:pt x="56908" y="109109"/>
                </a:cubicBezTo>
                <a:cubicBezTo>
                  <a:pt x="94847" y="59760"/>
                  <a:pt x="149758" y="23391"/>
                  <a:pt x="221642" y="0"/>
                </a:cubicBezTo>
                <a:close/>
              </a:path>
            </a:pathLst>
          </a:cu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5713081" y="4282179"/>
            <a:ext cx="304835" cy="200631"/>
          </a:xfrm>
          <a:custGeom>
            <a:avLst/>
            <a:gdLst>
              <a:gd name="connsiteX0" fmla="*/ 521159 w 670917"/>
              <a:gd name="connsiteY0" fmla="*/ 856 h 441573"/>
              <a:gd name="connsiteX1" fmla="*/ 624706 w 670917"/>
              <a:gd name="connsiteY1" fmla="*/ 50490 h 441573"/>
              <a:gd name="connsiteX2" fmla="*/ 670917 w 670917"/>
              <a:gd name="connsiteY2" fmla="*/ 172864 h 441573"/>
              <a:gd name="connsiteX3" fmla="*/ 614009 w 670917"/>
              <a:gd name="connsiteY3" fmla="*/ 332464 h 441573"/>
              <a:gd name="connsiteX4" fmla="*/ 449275 w 670917"/>
              <a:gd name="connsiteY4" fmla="*/ 441573 h 441573"/>
              <a:gd name="connsiteX5" fmla="*/ 449275 w 670917"/>
              <a:gd name="connsiteY5" fmla="*/ 406487 h 441573"/>
              <a:gd name="connsiteX6" fmla="*/ 557101 w 670917"/>
              <a:gd name="connsiteY6" fmla="*/ 324334 h 441573"/>
              <a:gd name="connsiteX7" fmla="*/ 589619 w 670917"/>
              <a:gd name="connsiteY7" fmla="*/ 231056 h 441573"/>
              <a:gd name="connsiteX8" fmla="*/ 581062 w 670917"/>
              <a:gd name="connsiteY8" fmla="*/ 189979 h 441573"/>
              <a:gd name="connsiteX9" fmla="*/ 562235 w 670917"/>
              <a:gd name="connsiteY9" fmla="*/ 177999 h 441573"/>
              <a:gd name="connsiteX10" fmla="*/ 532283 w 670917"/>
              <a:gd name="connsiteY10" fmla="*/ 184417 h 441573"/>
              <a:gd name="connsiteX11" fmla="*/ 498053 w 670917"/>
              <a:gd name="connsiteY11" fmla="*/ 190835 h 441573"/>
              <a:gd name="connsiteX12" fmla="*/ 436866 w 670917"/>
              <a:gd name="connsiteY12" fmla="*/ 164734 h 441573"/>
              <a:gd name="connsiteX13" fmla="*/ 410765 w 670917"/>
              <a:gd name="connsiteY13" fmla="*/ 100980 h 441573"/>
              <a:gd name="connsiteX14" fmla="*/ 442428 w 670917"/>
              <a:gd name="connsiteY14" fmla="*/ 30380 h 441573"/>
              <a:gd name="connsiteX15" fmla="*/ 521159 w 670917"/>
              <a:gd name="connsiteY15" fmla="*/ 856 h 441573"/>
              <a:gd name="connsiteX16" fmla="*/ 113816 w 670917"/>
              <a:gd name="connsiteY16" fmla="*/ 0 h 441573"/>
              <a:gd name="connsiteX17" fmla="*/ 215652 w 670917"/>
              <a:gd name="connsiteY17" fmla="*/ 48779 h 441573"/>
              <a:gd name="connsiteX18" fmla="*/ 261007 w 670917"/>
              <a:gd name="connsiteY18" fmla="*/ 170297 h 441573"/>
              <a:gd name="connsiteX19" fmla="*/ 203671 w 670917"/>
              <a:gd name="connsiteY19" fmla="*/ 334175 h 441573"/>
              <a:gd name="connsiteX20" fmla="*/ 41076 w 670917"/>
              <a:gd name="connsiteY20" fmla="*/ 439006 h 441573"/>
              <a:gd name="connsiteX21" fmla="*/ 41076 w 670917"/>
              <a:gd name="connsiteY21" fmla="*/ 406487 h 441573"/>
              <a:gd name="connsiteX22" fmla="*/ 154893 w 670917"/>
              <a:gd name="connsiteY22" fmla="*/ 317488 h 441573"/>
              <a:gd name="connsiteX23" fmla="*/ 182277 w 670917"/>
              <a:gd name="connsiteY23" fmla="*/ 225066 h 441573"/>
              <a:gd name="connsiteX24" fmla="*/ 172864 w 670917"/>
              <a:gd name="connsiteY24" fmla="*/ 189124 h 441573"/>
              <a:gd name="connsiteX25" fmla="*/ 153181 w 670917"/>
              <a:gd name="connsiteY25" fmla="*/ 177143 h 441573"/>
              <a:gd name="connsiteX26" fmla="*/ 124941 w 670917"/>
              <a:gd name="connsiteY26" fmla="*/ 183989 h 441573"/>
              <a:gd name="connsiteX27" fmla="*/ 87287 w 670917"/>
              <a:gd name="connsiteY27" fmla="*/ 190835 h 441573"/>
              <a:gd name="connsiteX28" fmla="*/ 26100 w 670917"/>
              <a:gd name="connsiteY28" fmla="*/ 165590 h 441573"/>
              <a:gd name="connsiteX29" fmla="*/ 0 w 670917"/>
              <a:gd name="connsiteY29" fmla="*/ 103547 h 441573"/>
              <a:gd name="connsiteX30" fmla="*/ 32946 w 670917"/>
              <a:gd name="connsiteY30" fmla="*/ 30808 h 441573"/>
              <a:gd name="connsiteX31" fmla="*/ 113816 w 670917"/>
              <a:gd name="connsiteY31" fmla="*/ 0 h 44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0917" h="441573">
                <a:moveTo>
                  <a:pt x="521159" y="856"/>
                </a:moveTo>
                <a:cubicBezTo>
                  <a:pt x="559383" y="856"/>
                  <a:pt x="593898" y="17401"/>
                  <a:pt x="624706" y="50490"/>
                </a:cubicBezTo>
                <a:cubicBezTo>
                  <a:pt x="655513" y="83580"/>
                  <a:pt x="670917" y="124371"/>
                  <a:pt x="670917" y="172864"/>
                </a:cubicBezTo>
                <a:cubicBezTo>
                  <a:pt x="670917" y="229915"/>
                  <a:pt x="651947" y="283115"/>
                  <a:pt x="614009" y="332464"/>
                </a:cubicBezTo>
                <a:cubicBezTo>
                  <a:pt x="576070" y="381813"/>
                  <a:pt x="521159" y="418182"/>
                  <a:pt x="449275" y="441573"/>
                </a:cubicBezTo>
                <a:lnTo>
                  <a:pt x="449275" y="406487"/>
                </a:lnTo>
                <a:cubicBezTo>
                  <a:pt x="499479" y="380244"/>
                  <a:pt x="535421" y="352859"/>
                  <a:pt x="557101" y="324334"/>
                </a:cubicBezTo>
                <a:cubicBezTo>
                  <a:pt x="578780" y="295809"/>
                  <a:pt x="589619" y="264716"/>
                  <a:pt x="589619" y="231056"/>
                </a:cubicBezTo>
                <a:cubicBezTo>
                  <a:pt x="589619" y="211088"/>
                  <a:pt x="586767" y="197396"/>
                  <a:pt x="581062" y="189979"/>
                </a:cubicBezTo>
                <a:cubicBezTo>
                  <a:pt x="575927" y="181992"/>
                  <a:pt x="569652" y="177999"/>
                  <a:pt x="562235" y="177999"/>
                </a:cubicBezTo>
                <a:cubicBezTo>
                  <a:pt x="554818" y="177999"/>
                  <a:pt x="544835" y="180138"/>
                  <a:pt x="532283" y="184417"/>
                </a:cubicBezTo>
                <a:cubicBezTo>
                  <a:pt x="519732" y="188696"/>
                  <a:pt x="508322" y="190835"/>
                  <a:pt x="498053" y="190835"/>
                </a:cubicBezTo>
                <a:cubicBezTo>
                  <a:pt x="474662" y="190835"/>
                  <a:pt x="454266" y="182135"/>
                  <a:pt x="436866" y="164734"/>
                </a:cubicBezTo>
                <a:cubicBezTo>
                  <a:pt x="419465" y="147334"/>
                  <a:pt x="410765" y="126082"/>
                  <a:pt x="410765" y="100980"/>
                </a:cubicBezTo>
                <a:cubicBezTo>
                  <a:pt x="410765" y="73596"/>
                  <a:pt x="421320" y="50062"/>
                  <a:pt x="442428" y="30380"/>
                </a:cubicBezTo>
                <a:cubicBezTo>
                  <a:pt x="463537" y="10697"/>
                  <a:pt x="489781" y="856"/>
                  <a:pt x="521159" y="856"/>
                </a:cubicBezTo>
                <a:close/>
                <a:moveTo>
                  <a:pt x="113816" y="0"/>
                </a:moveTo>
                <a:cubicBezTo>
                  <a:pt x="151469" y="0"/>
                  <a:pt x="185415" y="16260"/>
                  <a:pt x="215652" y="48779"/>
                </a:cubicBezTo>
                <a:cubicBezTo>
                  <a:pt x="245888" y="81298"/>
                  <a:pt x="261007" y="121804"/>
                  <a:pt x="261007" y="170297"/>
                </a:cubicBezTo>
                <a:cubicBezTo>
                  <a:pt x="261007" y="230200"/>
                  <a:pt x="241895" y="284826"/>
                  <a:pt x="203671" y="334175"/>
                </a:cubicBezTo>
                <a:cubicBezTo>
                  <a:pt x="165447" y="383524"/>
                  <a:pt x="111249" y="418468"/>
                  <a:pt x="41076" y="439006"/>
                </a:cubicBezTo>
                <a:lnTo>
                  <a:pt x="41076" y="406487"/>
                </a:lnTo>
                <a:cubicBezTo>
                  <a:pt x="98697" y="373398"/>
                  <a:pt x="136636" y="343731"/>
                  <a:pt x="154893" y="317488"/>
                </a:cubicBezTo>
                <a:cubicBezTo>
                  <a:pt x="173149" y="291245"/>
                  <a:pt x="182277" y="260437"/>
                  <a:pt x="182277" y="225066"/>
                </a:cubicBezTo>
                <a:cubicBezTo>
                  <a:pt x="182277" y="209091"/>
                  <a:pt x="179139" y="197111"/>
                  <a:pt x="172864" y="189124"/>
                </a:cubicBezTo>
                <a:cubicBezTo>
                  <a:pt x="166588" y="181136"/>
                  <a:pt x="160027" y="177143"/>
                  <a:pt x="153181" y="177143"/>
                </a:cubicBezTo>
                <a:cubicBezTo>
                  <a:pt x="146905" y="177143"/>
                  <a:pt x="137492" y="179425"/>
                  <a:pt x="124941" y="183989"/>
                </a:cubicBezTo>
                <a:cubicBezTo>
                  <a:pt x="112390" y="188553"/>
                  <a:pt x="99839" y="190835"/>
                  <a:pt x="87287" y="190835"/>
                </a:cubicBezTo>
                <a:cubicBezTo>
                  <a:pt x="63897" y="190835"/>
                  <a:pt x="43501" y="182420"/>
                  <a:pt x="26100" y="165590"/>
                </a:cubicBezTo>
                <a:cubicBezTo>
                  <a:pt x="8700" y="148760"/>
                  <a:pt x="0" y="128079"/>
                  <a:pt x="0" y="103547"/>
                </a:cubicBezTo>
                <a:cubicBezTo>
                  <a:pt x="0" y="75593"/>
                  <a:pt x="10982" y="51346"/>
                  <a:pt x="32946" y="30808"/>
                </a:cubicBezTo>
                <a:cubicBezTo>
                  <a:pt x="54911" y="10269"/>
                  <a:pt x="81868" y="0"/>
                  <a:pt x="113816" y="0"/>
                </a:cubicBezTo>
                <a:close/>
              </a:path>
            </a:pathLst>
          </a:cu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p:cNvCxnSpPr/>
          <p:nvPr/>
        </p:nvCxnSpPr>
        <p:spPr>
          <a:xfrm flipH="1">
            <a:off x="6812280" y="6332054"/>
            <a:ext cx="5379720"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2" name="Group 16"/>
          <p:cNvGrpSpPr>
            <a:grpSpLocks noChangeAspect="1"/>
          </p:cNvGrpSpPr>
          <p:nvPr/>
        </p:nvGrpSpPr>
        <p:grpSpPr bwMode="auto">
          <a:xfrm flipH="1">
            <a:off x="7761021" y="1293591"/>
            <a:ext cx="1605212" cy="1605815"/>
            <a:chOff x="403" y="817"/>
            <a:chExt cx="2663" cy="2664"/>
          </a:xfrm>
        </p:grpSpPr>
        <p:sp>
          <p:nvSpPr>
            <p:cNvPr id="48" name="Line 21"/>
            <p:cNvSpPr>
              <a:spLocks noChangeShapeType="1"/>
            </p:cNvSpPr>
            <p:nvPr/>
          </p:nvSpPr>
          <p:spPr bwMode="auto">
            <a:xfrm flipV="1">
              <a:off x="1146" y="1659"/>
              <a:ext cx="1004" cy="640"/>
            </a:xfrm>
            <a:prstGeom prst="line">
              <a:avLst/>
            </a:prstGeom>
            <a:noFill/>
            <a:ln w="28575" cap="flat">
              <a:solidFill>
                <a:srgbClr val="00BCF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49" name="Oval 18"/>
            <p:cNvSpPr>
              <a:spLocks noChangeArrowheads="1"/>
            </p:cNvSpPr>
            <p:nvPr/>
          </p:nvSpPr>
          <p:spPr bwMode="auto">
            <a:xfrm>
              <a:off x="403" y="2153"/>
              <a:ext cx="860" cy="859"/>
            </a:xfrm>
            <a:prstGeom prst="ellipse">
              <a:avLst/>
            </a:pr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78D7"/>
                </a:solidFill>
              </a:endParaRPr>
            </a:p>
          </p:txBody>
        </p:sp>
        <p:sp>
          <p:nvSpPr>
            <p:cNvPr id="50" name="Oval 19"/>
            <p:cNvSpPr>
              <a:spLocks noChangeArrowheads="1"/>
            </p:cNvSpPr>
            <p:nvPr/>
          </p:nvSpPr>
          <p:spPr bwMode="auto">
            <a:xfrm>
              <a:off x="2078" y="2792"/>
              <a:ext cx="689" cy="689"/>
            </a:xfrm>
            <a:prstGeom prst="ellipse">
              <a:avLst/>
            </a:pr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51" name="Line 20"/>
            <p:cNvSpPr>
              <a:spLocks noChangeShapeType="1"/>
            </p:cNvSpPr>
            <p:nvPr/>
          </p:nvSpPr>
          <p:spPr bwMode="auto">
            <a:xfrm flipH="1" flipV="1">
              <a:off x="1219" y="2749"/>
              <a:ext cx="859" cy="348"/>
            </a:xfrm>
            <a:prstGeom prst="line">
              <a:avLst/>
            </a:prstGeom>
            <a:noFill/>
            <a:ln w="28575" cap="flat">
              <a:solidFill>
                <a:srgbClr val="00BCF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52" name="Oval 17"/>
            <p:cNvSpPr>
              <a:spLocks noChangeArrowheads="1"/>
            </p:cNvSpPr>
            <p:nvPr/>
          </p:nvSpPr>
          <p:spPr bwMode="auto">
            <a:xfrm>
              <a:off x="2036" y="817"/>
              <a:ext cx="1030" cy="1030"/>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sp>
        <p:nvSpPr>
          <p:cNvPr id="3" name="Rectangle 2"/>
          <p:cNvSpPr/>
          <p:nvPr/>
        </p:nvSpPr>
        <p:spPr bwMode="auto">
          <a:xfrm>
            <a:off x="6831734" y="15564"/>
            <a:ext cx="5360265" cy="6315983"/>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nvGrpSpPr>
          <p:cNvPr id="9" name="Group 8"/>
          <p:cNvGrpSpPr/>
          <p:nvPr/>
        </p:nvGrpSpPr>
        <p:grpSpPr>
          <a:xfrm>
            <a:off x="7712813" y="1609291"/>
            <a:ext cx="3717582" cy="3718979"/>
            <a:chOff x="1084711" y="2432911"/>
            <a:chExt cx="1967761" cy="1968500"/>
          </a:xfrm>
        </p:grpSpPr>
        <p:grpSp>
          <p:nvGrpSpPr>
            <p:cNvPr id="11" name="Group 16"/>
            <p:cNvGrpSpPr>
              <a:grpSpLocks noChangeAspect="1"/>
            </p:cNvGrpSpPr>
            <p:nvPr/>
          </p:nvGrpSpPr>
          <p:grpSpPr bwMode="auto">
            <a:xfrm>
              <a:off x="1084711" y="2432911"/>
              <a:ext cx="1967761" cy="1968500"/>
              <a:chOff x="403" y="817"/>
              <a:chExt cx="2663" cy="2664"/>
            </a:xfrm>
          </p:grpSpPr>
          <p:sp>
            <p:nvSpPr>
              <p:cNvPr id="29" name="Line 21"/>
              <p:cNvSpPr>
                <a:spLocks noChangeShapeType="1"/>
              </p:cNvSpPr>
              <p:nvPr/>
            </p:nvSpPr>
            <p:spPr bwMode="auto">
              <a:xfrm flipV="1">
                <a:off x="1146" y="1659"/>
                <a:ext cx="1004" cy="64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26" name="Oval 18"/>
              <p:cNvSpPr>
                <a:spLocks noChangeArrowheads="1"/>
              </p:cNvSpPr>
              <p:nvPr/>
            </p:nvSpPr>
            <p:spPr bwMode="auto">
              <a:xfrm>
                <a:off x="403" y="2153"/>
                <a:ext cx="860" cy="859"/>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78D7"/>
                  </a:solidFill>
                </a:endParaRPr>
              </a:p>
            </p:txBody>
          </p:sp>
          <p:sp>
            <p:nvSpPr>
              <p:cNvPr id="27" name="Oval 19"/>
              <p:cNvSpPr>
                <a:spLocks noChangeArrowheads="1"/>
              </p:cNvSpPr>
              <p:nvPr/>
            </p:nvSpPr>
            <p:spPr bwMode="auto">
              <a:xfrm>
                <a:off x="2078" y="2792"/>
                <a:ext cx="689" cy="689"/>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28" name="Line 20"/>
              <p:cNvSpPr>
                <a:spLocks noChangeShapeType="1"/>
              </p:cNvSpPr>
              <p:nvPr/>
            </p:nvSpPr>
            <p:spPr bwMode="auto">
              <a:xfrm flipH="1" flipV="1">
                <a:off x="1219" y="2749"/>
                <a:ext cx="859" cy="348"/>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25" name="Oval 17"/>
              <p:cNvSpPr>
                <a:spLocks noChangeArrowheads="1"/>
              </p:cNvSpPr>
              <p:nvPr/>
            </p:nvSpPr>
            <p:spPr bwMode="auto">
              <a:xfrm>
                <a:off x="2036" y="817"/>
                <a:ext cx="1030" cy="1030"/>
              </a:xfrm>
              <a:prstGeom prst="ellipse">
                <a:avLst/>
              </a:pr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grpSp>
          <p:nvGrpSpPr>
            <p:cNvPr id="12" name="Group 11"/>
            <p:cNvGrpSpPr/>
            <p:nvPr/>
          </p:nvGrpSpPr>
          <p:grpSpPr>
            <a:xfrm>
              <a:off x="2372133" y="2552634"/>
              <a:ext cx="597435" cy="515754"/>
              <a:chOff x="1821729" y="2389959"/>
              <a:chExt cx="713951" cy="616339"/>
            </a:xfrm>
            <a:solidFill>
              <a:schemeClr val="accent1"/>
            </a:solidFill>
          </p:grpSpPr>
          <p:sp>
            <p:nvSpPr>
              <p:cNvPr id="13" name="Freeform 49"/>
              <p:cNvSpPr>
                <a:spLocks/>
              </p:cNvSpPr>
              <p:nvPr/>
            </p:nvSpPr>
            <p:spPr bwMode="auto">
              <a:xfrm>
                <a:off x="1845076" y="2389959"/>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50"/>
              <p:cNvSpPr>
                <a:spLocks noEditPoints="1"/>
              </p:cNvSpPr>
              <p:nvPr/>
            </p:nvSpPr>
            <p:spPr bwMode="auto">
              <a:xfrm>
                <a:off x="2019118" y="2389959"/>
                <a:ext cx="75879" cy="119655"/>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 name="Freeform 51"/>
              <p:cNvSpPr>
                <a:spLocks/>
              </p:cNvSpPr>
              <p:nvPr/>
            </p:nvSpPr>
            <p:spPr bwMode="auto">
              <a:xfrm>
                <a:off x="2246753" y="2389959"/>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6" name="Freeform 52"/>
              <p:cNvSpPr>
                <a:spLocks noEditPoints="1"/>
              </p:cNvSpPr>
              <p:nvPr/>
            </p:nvSpPr>
            <p:spPr bwMode="auto">
              <a:xfrm>
                <a:off x="2459801" y="2389959"/>
                <a:ext cx="75879" cy="119655"/>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 name="Freeform 21"/>
              <p:cNvSpPr>
                <a:spLocks noEditPoints="1"/>
              </p:cNvSpPr>
              <p:nvPr/>
            </p:nvSpPr>
            <p:spPr bwMode="auto">
              <a:xfrm>
                <a:off x="1821729" y="2631327"/>
                <a:ext cx="75879" cy="119655"/>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p:nvSpPr>
            <p:spPr bwMode="auto">
              <a:xfrm>
                <a:off x="2249804" y="2631326"/>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0"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1" name="Freeform 49"/>
              <p:cNvSpPr>
                <a:spLocks/>
              </p:cNvSpPr>
              <p:nvPr/>
            </p:nvSpPr>
            <p:spPr bwMode="auto">
              <a:xfrm>
                <a:off x="1845076" y="288664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2" name="Freeform 50"/>
              <p:cNvSpPr>
                <a:spLocks noEditPoints="1"/>
              </p:cNvSpPr>
              <p:nvPr/>
            </p:nvSpPr>
            <p:spPr bwMode="auto">
              <a:xfrm>
                <a:off x="2019117"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4" name="Freeform 52"/>
              <p:cNvSpPr>
                <a:spLocks noEditPoints="1"/>
              </p:cNvSpPr>
              <p:nvPr/>
            </p:nvSpPr>
            <p:spPr bwMode="auto">
              <a:xfrm>
                <a:off x="2459800"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4054042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oup 116"/>
          <p:cNvGrpSpPr/>
          <p:nvPr/>
        </p:nvGrpSpPr>
        <p:grpSpPr>
          <a:xfrm>
            <a:off x="9076358" y="3362902"/>
            <a:ext cx="2173512" cy="2201708"/>
            <a:chOff x="8983693" y="3362902"/>
            <a:chExt cx="2173512" cy="2201708"/>
          </a:xfrm>
        </p:grpSpPr>
        <p:sp>
          <p:nvSpPr>
            <p:cNvPr id="91" name="Freeform 90"/>
            <p:cNvSpPr>
              <a:spLocks/>
            </p:cNvSpPr>
            <p:nvPr/>
          </p:nvSpPr>
          <p:spPr bwMode="auto">
            <a:xfrm>
              <a:off x="8983693" y="3892492"/>
              <a:ext cx="1727568" cy="1672118"/>
            </a:xfrm>
            <a:custGeom>
              <a:avLst/>
              <a:gdLst>
                <a:gd name="connsiteX0" fmla="*/ 1374746 w 4797425"/>
                <a:gd name="connsiteY0" fmla="*/ 3544713 h 4643438"/>
                <a:gd name="connsiteX1" fmla="*/ 1374746 w 4797425"/>
                <a:gd name="connsiteY1" fmla="*/ 4431859 h 4643438"/>
                <a:gd name="connsiteX2" fmla="*/ 1374746 w 4797425"/>
                <a:gd name="connsiteY2" fmla="*/ 4473575 h 4643438"/>
                <a:gd name="connsiteX3" fmla="*/ 1612356 w 4797425"/>
                <a:gd name="connsiteY3" fmla="*/ 4473575 h 4643438"/>
                <a:gd name="connsiteX4" fmla="*/ 1932802 w 4797425"/>
                <a:gd name="connsiteY4" fmla="*/ 4473575 h 4643438"/>
                <a:gd name="connsiteX5" fmla="*/ 1935194 w 4797425"/>
                <a:gd name="connsiteY5" fmla="*/ 4473575 h 4643438"/>
                <a:gd name="connsiteX6" fmla="*/ 1935194 w 4797425"/>
                <a:gd name="connsiteY6" fmla="*/ 4380126 h 4643438"/>
                <a:gd name="connsiteX7" fmla="*/ 1935194 w 4797425"/>
                <a:gd name="connsiteY7" fmla="*/ 3544713 h 4643438"/>
                <a:gd name="connsiteX8" fmla="*/ 1374746 w 4797425"/>
                <a:gd name="connsiteY8" fmla="*/ 3544713 h 4643438"/>
                <a:gd name="connsiteX9" fmla="*/ 2762250 w 4797425"/>
                <a:gd name="connsiteY9" fmla="*/ 2568575 h 4643438"/>
                <a:gd name="connsiteX10" fmla="*/ 2762250 w 4797425"/>
                <a:gd name="connsiteY10" fmla="*/ 3013075 h 4643438"/>
                <a:gd name="connsiteX11" fmla="*/ 3321050 w 4797425"/>
                <a:gd name="connsiteY11" fmla="*/ 3013075 h 4643438"/>
                <a:gd name="connsiteX12" fmla="*/ 3321050 w 4797425"/>
                <a:gd name="connsiteY12" fmla="*/ 2568575 h 4643438"/>
                <a:gd name="connsiteX13" fmla="*/ 1374775 w 4797425"/>
                <a:gd name="connsiteY13" fmla="*/ 2568575 h 4643438"/>
                <a:gd name="connsiteX14" fmla="*/ 1374775 w 4797425"/>
                <a:gd name="connsiteY14" fmla="*/ 3013075 h 4643438"/>
                <a:gd name="connsiteX15" fmla="*/ 1935163 w 4797425"/>
                <a:gd name="connsiteY15" fmla="*/ 3013075 h 4643438"/>
                <a:gd name="connsiteX16" fmla="*/ 1935163 w 4797425"/>
                <a:gd name="connsiteY16" fmla="*/ 2568575 h 4643438"/>
                <a:gd name="connsiteX17" fmla="*/ 2677155 w 4797425"/>
                <a:gd name="connsiteY17" fmla="*/ 2398713 h 4643438"/>
                <a:gd name="connsiteX18" fmla="*/ 3406147 w 4797425"/>
                <a:gd name="connsiteY18" fmla="*/ 2398713 h 4643438"/>
                <a:gd name="connsiteX19" fmla="*/ 3490913 w 4797425"/>
                <a:gd name="connsiteY19" fmla="*/ 2483494 h 4643438"/>
                <a:gd name="connsiteX20" fmla="*/ 3490913 w 4797425"/>
                <a:gd name="connsiteY20" fmla="*/ 3098157 h 4643438"/>
                <a:gd name="connsiteX21" fmla="*/ 3406147 w 4797425"/>
                <a:gd name="connsiteY21" fmla="*/ 3182938 h 4643438"/>
                <a:gd name="connsiteX22" fmla="*/ 2677155 w 4797425"/>
                <a:gd name="connsiteY22" fmla="*/ 3182938 h 4643438"/>
                <a:gd name="connsiteX23" fmla="*/ 2592388 w 4797425"/>
                <a:gd name="connsiteY23" fmla="*/ 3098157 h 4643438"/>
                <a:gd name="connsiteX24" fmla="*/ 2592388 w 4797425"/>
                <a:gd name="connsiteY24" fmla="*/ 2483494 h 4643438"/>
                <a:gd name="connsiteX25" fmla="*/ 2677155 w 4797425"/>
                <a:gd name="connsiteY25" fmla="*/ 2398713 h 4643438"/>
                <a:gd name="connsiteX26" fmla="*/ 1289830 w 4797425"/>
                <a:gd name="connsiteY26" fmla="*/ 2398713 h 4643438"/>
                <a:gd name="connsiteX27" fmla="*/ 2020110 w 4797425"/>
                <a:gd name="connsiteY27" fmla="*/ 2398713 h 4643438"/>
                <a:gd name="connsiteX28" fmla="*/ 2105026 w 4797425"/>
                <a:gd name="connsiteY28" fmla="*/ 2483494 h 4643438"/>
                <a:gd name="connsiteX29" fmla="*/ 2105026 w 4797425"/>
                <a:gd name="connsiteY29" fmla="*/ 3098157 h 4643438"/>
                <a:gd name="connsiteX30" fmla="*/ 2020110 w 4797425"/>
                <a:gd name="connsiteY30" fmla="*/ 3182938 h 4643438"/>
                <a:gd name="connsiteX31" fmla="*/ 1289830 w 4797425"/>
                <a:gd name="connsiteY31" fmla="*/ 3182938 h 4643438"/>
                <a:gd name="connsiteX32" fmla="*/ 1204913 w 4797425"/>
                <a:gd name="connsiteY32" fmla="*/ 3098157 h 4643438"/>
                <a:gd name="connsiteX33" fmla="*/ 1204913 w 4797425"/>
                <a:gd name="connsiteY33" fmla="*/ 2483494 h 4643438"/>
                <a:gd name="connsiteX34" fmla="*/ 1289830 w 4797425"/>
                <a:gd name="connsiteY34" fmla="*/ 2398713 h 4643438"/>
                <a:gd name="connsiteX35" fmla="*/ 2762250 w 4797425"/>
                <a:gd name="connsiteY35" fmla="*/ 1587500 h 4643438"/>
                <a:gd name="connsiteX36" fmla="*/ 2762250 w 4797425"/>
                <a:gd name="connsiteY36" fmla="*/ 2036763 h 4643438"/>
                <a:gd name="connsiteX37" fmla="*/ 3321050 w 4797425"/>
                <a:gd name="connsiteY37" fmla="*/ 2036763 h 4643438"/>
                <a:gd name="connsiteX38" fmla="*/ 3321050 w 4797425"/>
                <a:gd name="connsiteY38" fmla="*/ 1587500 h 4643438"/>
                <a:gd name="connsiteX39" fmla="*/ 1374775 w 4797425"/>
                <a:gd name="connsiteY39" fmla="*/ 1587500 h 4643438"/>
                <a:gd name="connsiteX40" fmla="*/ 1374775 w 4797425"/>
                <a:gd name="connsiteY40" fmla="*/ 2036763 h 4643438"/>
                <a:gd name="connsiteX41" fmla="*/ 1935163 w 4797425"/>
                <a:gd name="connsiteY41" fmla="*/ 2036763 h 4643438"/>
                <a:gd name="connsiteX42" fmla="*/ 1935163 w 4797425"/>
                <a:gd name="connsiteY42" fmla="*/ 1587500 h 4643438"/>
                <a:gd name="connsiteX43" fmla="*/ 2677155 w 4797425"/>
                <a:gd name="connsiteY43" fmla="*/ 1417638 h 4643438"/>
                <a:gd name="connsiteX44" fmla="*/ 3406147 w 4797425"/>
                <a:gd name="connsiteY44" fmla="*/ 1417638 h 4643438"/>
                <a:gd name="connsiteX45" fmla="*/ 3490913 w 4797425"/>
                <a:gd name="connsiteY45" fmla="*/ 1502476 h 4643438"/>
                <a:gd name="connsiteX46" fmla="*/ 3490913 w 4797425"/>
                <a:gd name="connsiteY46" fmla="*/ 2121789 h 4643438"/>
                <a:gd name="connsiteX47" fmla="*/ 3406147 w 4797425"/>
                <a:gd name="connsiteY47" fmla="*/ 2206626 h 4643438"/>
                <a:gd name="connsiteX48" fmla="*/ 2677155 w 4797425"/>
                <a:gd name="connsiteY48" fmla="*/ 2206626 h 4643438"/>
                <a:gd name="connsiteX49" fmla="*/ 2592388 w 4797425"/>
                <a:gd name="connsiteY49" fmla="*/ 2121789 h 4643438"/>
                <a:gd name="connsiteX50" fmla="*/ 2592388 w 4797425"/>
                <a:gd name="connsiteY50" fmla="*/ 1502476 h 4643438"/>
                <a:gd name="connsiteX51" fmla="*/ 2677155 w 4797425"/>
                <a:gd name="connsiteY51" fmla="*/ 1417638 h 4643438"/>
                <a:gd name="connsiteX52" fmla="*/ 1289830 w 4797425"/>
                <a:gd name="connsiteY52" fmla="*/ 1417638 h 4643438"/>
                <a:gd name="connsiteX53" fmla="*/ 2020110 w 4797425"/>
                <a:gd name="connsiteY53" fmla="*/ 1417638 h 4643438"/>
                <a:gd name="connsiteX54" fmla="*/ 2105026 w 4797425"/>
                <a:gd name="connsiteY54" fmla="*/ 1502476 h 4643438"/>
                <a:gd name="connsiteX55" fmla="*/ 2105026 w 4797425"/>
                <a:gd name="connsiteY55" fmla="*/ 2121789 h 4643438"/>
                <a:gd name="connsiteX56" fmla="*/ 2020110 w 4797425"/>
                <a:gd name="connsiteY56" fmla="*/ 2206626 h 4643438"/>
                <a:gd name="connsiteX57" fmla="*/ 1289830 w 4797425"/>
                <a:gd name="connsiteY57" fmla="*/ 2206626 h 4643438"/>
                <a:gd name="connsiteX58" fmla="*/ 1204913 w 4797425"/>
                <a:gd name="connsiteY58" fmla="*/ 2121789 h 4643438"/>
                <a:gd name="connsiteX59" fmla="*/ 1204913 w 4797425"/>
                <a:gd name="connsiteY59" fmla="*/ 1502476 h 4643438"/>
                <a:gd name="connsiteX60" fmla="*/ 1289830 w 4797425"/>
                <a:gd name="connsiteY60" fmla="*/ 1417638 h 4643438"/>
                <a:gd name="connsiteX61" fmla="*/ 2762250 w 4797425"/>
                <a:gd name="connsiteY61" fmla="*/ 649288 h 4643438"/>
                <a:gd name="connsiteX62" fmla="*/ 2762250 w 4797425"/>
                <a:gd name="connsiteY62" fmla="*/ 1095376 h 4643438"/>
                <a:gd name="connsiteX63" fmla="*/ 3321050 w 4797425"/>
                <a:gd name="connsiteY63" fmla="*/ 1095376 h 4643438"/>
                <a:gd name="connsiteX64" fmla="*/ 3321050 w 4797425"/>
                <a:gd name="connsiteY64" fmla="*/ 649288 h 4643438"/>
                <a:gd name="connsiteX65" fmla="*/ 1374775 w 4797425"/>
                <a:gd name="connsiteY65" fmla="*/ 649288 h 4643438"/>
                <a:gd name="connsiteX66" fmla="*/ 1374775 w 4797425"/>
                <a:gd name="connsiteY66" fmla="*/ 1095376 h 4643438"/>
                <a:gd name="connsiteX67" fmla="*/ 1935163 w 4797425"/>
                <a:gd name="connsiteY67" fmla="*/ 1095376 h 4643438"/>
                <a:gd name="connsiteX68" fmla="*/ 1935163 w 4797425"/>
                <a:gd name="connsiteY68" fmla="*/ 649288 h 4643438"/>
                <a:gd name="connsiteX69" fmla="*/ 2677155 w 4797425"/>
                <a:gd name="connsiteY69" fmla="*/ 479425 h 4643438"/>
                <a:gd name="connsiteX70" fmla="*/ 3406147 w 4797425"/>
                <a:gd name="connsiteY70" fmla="*/ 479425 h 4643438"/>
                <a:gd name="connsiteX71" fmla="*/ 3490913 w 4797425"/>
                <a:gd name="connsiteY71" fmla="*/ 564378 h 4643438"/>
                <a:gd name="connsiteX72" fmla="*/ 3490913 w 4797425"/>
                <a:gd name="connsiteY72" fmla="*/ 1180285 h 4643438"/>
                <a:gd name="connsiteX73" fmla="*/ 3406147 w 4797425"/>
                <a:gd name="connsiteY73" fmla="*/ 1265238 h 4643438"/>
                <a:gd name="connsiteX74" fmla="*/ 2677155 w 4797425"/>
                <a:gd name="connsiteY74" fmla="*/ 1265238 h 4643438"/>
                <a:gd name="connsiteX75" fmla="*/ 2592388 w 4797425"/>
                <a:gd name="connsiteY75" fmla="*/ 1180285 h 4643438"/>
                <a:gd name="connsiteX76" fmla="*/ 2592388 w 4797425"/>
                <a:gd name="connsiteY76" fmla="*/ 564378 h 4643438"/>
                <a:gd name="connsiteX77" fmla="*/ 2677155 w 4797425"/>
                <a:gd name="connsiteY77" fmla="*/ 479425 h 4643438"/>
                <a:gd name="connsiteX78" fmla="*/ 1289830 w 4797425"/>
                <a:gd name="connsiteY78" fmla="*/ 479425 h 4643438"/>
                <a:gd name="connsiteX79" fmla="*/ 2020110 w 4797425"/>
                <a:gd name="connsiteY79" fmla="*/ 479425 h 4643438"/>
                <a:gd name="connsiteX80" fmla="*/ 2105026 w 4797425"/>
                <a:gd name="connsiteY80" fmla="*/ 564378 h 4643438"/>
                <a:gd name="connsiteX81" fmla="*/ 2105026 w 4797425"/>
                <a:gd name="connsiteY81" fmla="*/ 1180285 h 4643438"/>
                <a:gd name="connsiteX82" fmla="*/ 2020110 w 4797425"/>
                <a:gd name="connsiteY82" fmla="*/ 1265238 h 4643438"/>
                <a:gd name="connsiteX83" fmla="*/ 1289830 w 4797425"/>
                <a:gd name="connsiteY83" fmla="*/ 1265238 h 4643438"/>
                <a:gd name="connsiteX84" fmla="*/ 1204913 w 4797425"/>
                <a:gd name="connsiteY84" fmla="*/ 1180285 h 4643438"/>
                <a:gd name="connsiteX85" fmla="*/ 1204913 w 4797425"/>
                <a:gd name="connsiteY85" fmla="*/ 564378 h 4643438"/>
                <a:gd name="connsiteX86" fmla="*/ 1289830 w 4797425"/>
                <a:gd name="connsiteY86" fmla="*/ 479425 h 4643438"/>
                <a:gd name="connsiteX87" fmla="*/ 900113 w 4797425"/>
                <a:gd name="connsiteY87" fmla="*/ 169863 h 4643438"/>
                <a:gd name="connsiteX88" fmla="*/ 900113 w 4797425"/>
                <a:gd name="connsiteY88" fmla="*/ 4473575 h 4643438"/>
                <a:gd name="connsiteX89" fmla="*/ 1204913 w 4797425"/>
                <a:gd name="connsiteY89" fmla="*/ 4473575 h 4643438"/>
                <a:gd name="connsiteX90" fmla="*/ 1204913 w 4797425"/>
                <a:gd name="connsiteY90" fmla="*/ 4365191 h 4643438"/>
                <a:gd name="connsiteX91" fmla="*/ 1204913 w 4797425"/>
                <a:gd name="connsiteY91" fmla="*/ 3459869 h 4643438"/>
                <a:gd name="connsiteX92" fmla="*/ 1289830 w 4797425"/>
                <a:gd name="connsiteY92" fmla="*/ 3375025 h 4643438"/>
                <a:gd name="connsiteX93" fmla="*/ 2020110 w 4797425"/>
                <a:gd name="connsiteY93" fmla="*/ 3375025 h 4643438"/>
                <a:gd name="connsiteX94" fmla="*/ 2105026 w 4797425"/>
                <a:gd name="connsiteY94" fmla="*/ 3459869 h 4643438"/>
                <a:gd name="connsiteX95" fmla="*/ 2105026 w 4797425"/>
                <a:gd name="connsiteY95" fmla="*/ 4466587 h 4643438"/>
                <a:gd name="connsiteX96" fmla="*/ 2105026 w 4797425"/>
                <a:gd name="connsiteY96" fmla="*/ 4473575 h 4643438"/>
                <a:gd name="connsiteX97" fmla="*/ 2230369 w 4797425"/>
                <a:gd name="connsiteY97" fmla="*/ 4473575 h 4643438"/>
                <a:gd name="connsiteX98" fmla="*/ 3888949 w 4797425"/>
                <a:gd name="connsiteY98" fmla="*/ 4473575 h 4643438"/>
                <a:gd name="connsiteX99" fmla="*/ 3932238 w 4797425"/>
                <a:gd name="connsiteY99" fmla="*/ 4473575 h 4643438"/>
                <a:gd name="connsiteX100" fmla="*/ 3932238 w 4797425"/>
                <a:gd name="connsiteY100" fmla="*/ 169863 h 4643438"/>
                <a:gd name="connsiteX101" fmla="*/ 815077 w 4797425"/>
                <a:gd name="connsiteY101" fmla="*/ 0 h 4643438"/>
                <a:gd name="connsiteX102" fmla="*/ 4017274 w 4797425"/>
                <a:gd name="connsiteY102" fmla="*/ 0 h 4643438"/>
                <a:gd name="connsiteX103" fmla="*/ 4102100 w 4797425"/>
                <a:gd name="connsiteY103" fmla="*/ 84889 h 4643438"/>
                <a:gd name="connsiteX104" fmla="*/ 4102100 w 4797425"/>
                <a:gd name="connsiteY104" fmla="*/ 4459022 h 4643438"/>
                <a:gd name="connsiteX105" fmla="*/ 4102100 w 4797425"/>
                <a:gd name="connsiteY105" fmla="*/ 4473575 h 4643438"/>
                <a:gd name="connsiteX106" fmla="*/ 4134121 w 4797425"/>
                <a:gd name="connsiteY106" fmla="*/ 4473575 h 4643438"/>
                <a:gd name="connsiteX107" fmla="*/ 4712590 w 4797425"/>
                <a:gd name="connsiteY107" fmla="*/ 4473575 h 4643438"/>
                <a:gd name="connsiteX108" fmla="*/ 4797425 w 4797425"/>
                <a:gd name="connsiteY108" fmla="*/ 4558507 h 4643438"/>
                <a:gd name="connsiteX109" fmla="*/ 4712590 w 4797425"/>
                <a:gd name="connsiteY109" fmla="*/ 4643438 h 4643438"/>
                <a:gd name="connsiteX110" fmla="*/ 4292155 w 4797425"/>
                <a:gd name="connsiteY110" fmla="*/ 4643438 h 4643438"/>
                <a:gd name="connsiteX111" fmla="*/ 4017274 w 4797425"/>
                <a:gd name="connsiteY111" fmla="*/ 4643438 h 4643438"/>
                <a:gd name="connsiteX112" fmla="*/ 3897988 w 4797425"/>
                <a:gd name="connsiteY112" fmla="*/ 4643438 h 4643438"/>
                <a:gd name="connsiteX113" fmla="*/ 3726352 w 4797425"/>
                <a:gd name="connsiteY113" fmla="*/ 4643438 h 4643438"/>
                <a:gd name="connsiteX114" fmla="*/ 3529242 w 4797425"/>
                <a:gd name="connsiteY114" fmla="*/ 4643438 h 4643438"/>
                <a:gd name="connsiteX115" fmla="*/ 3453606 w 4797425"/>
                <a:gd name="connsiteY115" fmla="*/ 4643438 h 4643438"/>
                <a:gd name="connsiteX116" fmla="*/ 3198451 w 4797425"/>
                <a:gd name="connsiteY116" fmla="*/ 4643438 h 4643438"/>
                <a:gd name="connsiteX117" fmla="*/ 3185070 w 4797425"/>
                <a:gd name="connsiteY117" fmla="*/ 4643438 h 4643438"/>
                <a:gd name="connsiteX118" fmla="*/ 2960299 w 4797425"/>
                <a:gd name="connsiteY118" fmla="*/ 4643438 h 4643438"/>
                <a:gd name="connsiteX119" fmla="*/ 2864624 w 4797425"/>
                <a:gd name="connsiteY119" fmla="*/ 4643438 h 4643438"/>
                <a:gd name="connsiteX120" fmla="*/ 2738565 w 4797425"/>
                <a:gd name="connsiteY120" fmla="*/ 4643438 h 4643438"/>
                <a:gd name="connsiteX121" fmla="*/ 2567056 w 4797425"/>
                <a:gd name="connsiteY121" fmla="*/ 4643438 h 4643438"/>
                <a:gd name="connsiteX122" fmla="*/ 2532662 w 4797425"/>
                <a:gd name="connsiteY122" fmla="*/ 4643438 h 4643438"/>
                <a:gd name="connsiteX123" fmla="*/ 2342004 w 4797425"/>
                <a:gd name="connsiteY123" fmla="*/ 4643438 h 4643438"/>
                <a:gd name="connsiteX124" fmla="*/ 2291521 w 4797425"/>
                <a:gd name="connsiteY124" fmla="*/ 4643438 h 4643438"/>
                <a:gd name="connsiteX125" fmla="*/ 2166004 w 4797425"/>
                <a:gd name="connsiteY125" fmla="*/ 4643438 h 4643438"/>
                <a:gd name="connsiteX126" fmla="*/ 2037169 w 4797425"/>
                <a:gd name="connsiteY126" fmla="*/ 4643438 h 4643438"/>
                <a:gd name="connsiteX127" fmla="*/ 2020110 w 4797425"/>
                <a:gd name="connsiteY127" fmla="*/ 4643438 h 4643438"/>
                <a:gd name="connsiteX128" fmla="*/ 2004077 w 4797425"/>
                <a:gd name="connsiteY128" fmla="*/ 4643438 h 4643438"/>
                <a:gd name="connsiteX129" fmla="*/ 1803155 w 4797425"/>
                <a:gd name="connsiteY129" fmla="*/ 4643438 h 4643438"/>
                <a:gd name="connsiteX130" fmla="*/ 1786288 w 4797425"/>
                <a:gd name="connsiteY130" fmla="*/ 4643438 h 4643438"/>
                <a:gd name="connsiteX131" fmla="*/ 1596864 w 4797425"/>
                <a:gd name="connsiteY131" fmla="*/ 4643438 h 4643438"/>
                <a:gd name="connsiteX132" fmla="*/ 1588630 w 4797425"/>
                <a:gd name="connsiteY132" fmla="*/ 4643438 h 4643438"/>
                <a:gd name="connsiteX133" fmla="*/ 1433825 w 4797425"/>
                <a:gd name="connsiteY133" fmla="*/ 4643438 h 4643438"/>
                <a:gd name="connsiteX134" fmla="*/ 1392747 w 4797425"/>
                <a:gd name="connsiteY134" fmla="*/ 4643438 h 4643438"/>
                <a:gd name="connsiteX135" fmla="*/ 1295192 w 4797425"/>
                <a:gd name="connsiteY135" fmla="*/ 4643438 h 4643438"/>
                <a:gd name="connsiteX136" fmla="*/ 1289830 w 4797425"/>
                <a:gd name="connsiteY136" fmla="*/ 4643438 h 4643438"/>
                <a:gd name="connsiteX137" fmla="*/ 1215352 w 4797425"/>
                <a:gd name="connsiteY137" fmla="*/ 4643438 h 4643438"/>
                <a:gd name="connsiteX138" fmla="*/ 1214658 w 4797425"/>
                <a:gd name="connsiteY138" fmla="*/ 4643438 h 4643438"/>
                <a:gd name="connsiteX139" fmla="*/ 1144893 w 4797425"/>
                <a:gd name="connsiteY139" fmla="*/ 4643438 h 4643438"/>
                <a:gd name="connsiteX140" fmla="*/ 1083229 w 4797425"/>
                <a:gd name="connsiteY140" fmla="*/ 4643438 h 4643438"/>
                <a:gd name="connsiteX141" fmla="*/ 1053517 w 4797425"/>
                <a:gd name="connsiteY141" fmla="*/ 4643438 h 4643438"/>
                <a:gd name="connsiteX142" fmla="*/ 1029775 w 4797425"/>
                <a:gd name="connsiteY142" fmla="*/ 4643438 h 4643438"/>
                <a:gd name="connsiteX143" fmla="*/ 912800 w 4797425"/>
                <a:gd name="connsiteY143" fmla="*/ 4643438 h 4643438"/>
                <a:gd name="connsiteX144" fmla="*/ 908476 w 4797425"/>
                <a:gd name="connsiteY144" fmla="*/ 4643438 h 4643438"/>
                <a:gd name="connsiteX145" fmla="*/ 865111 w 4797425"/>
                <a:gd name="connsiteY145" fmla="*/ 4643438 h 4643438"/>
                <a:gd name="connsiteX146" fmla="*/ 815077 w 4797425"/>
                <a:gd name="connsiteY146" fmla="*/ 4643438 h 4643438"/>
                <a:gd name="connsiteX147" fmla="*/ 778687 w 4797425"/>
                <a:gd name="connsiteY147" fmla="*/ 4643438 h 4643438"/>
                <a:gd name="connsiteX148" fmla="*/ 84835 w 4797425"/>
                <a:gd name="connsiteY148" fmla="*/ 4643438 h 4643438"/>
                <a:gd name="connsiteX149" fmla="*/ 0 w 4797425"/>
                <a:gd name="connsiteY149" fmla="*/ 4558507 h 4643438"/>
                <a:gd name="connsiteX150" fmla="*/ 84835 w 4797425"/>
                <a:gd name="connsiteY150" fmla="*/ 4473575 h 4643438"/>
                <a:gd name="connsiteX151" fmla="*/ 505270 w 4797425"/>
                <a:gd name="connsiteY151" fmla="*/ 4473575 h 4643438"/>
                <a:gd name="connsiteX152" fmla="*/ 730250 w 4797425"/>
                <a:gd name="connsiteY152" fmla="*/ 4473575 h 4643438"/>
                <a:gd name="connsiteX153" fmla="*/ 730250 w 4797425"/>
                <a:gd name="connsiteY153" fmla="*/ 4152114 h 4643438"/>
                <a:gd name="connsiteX154" fmla="*/ 730250 w 4797425"/>
                <a:gd name="connsiteY154" fmla="*/ 84889 h 4643438"/>
                <a:gd name="connsiteX155" fmla="*/ 815077 w 4797425"/>
                <a:gd name="connsiteY155" fmla="*/ 0 h 464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797425" h="4643438">
                  <a:moveTo>
                    <a:pt x="1374746" y="3544713"/>
                  </a:moveTo>
                  <a:cubicBezTo>
                    <a:pt x="1374746" y="4051654"/>
                    <a:pt x="1374746" y="4305124"/>
                    <a:pt x="1374746" y="4431859"/>
                  </a:cubicBezTo>
                  <a:lnTo>
                    <a:pt x="1374746" y="4473575"/>
                  </a:lnTo>
                  <a:lnTo>
                    <a:pt x="1612356" y="4473575"/>
                  </a:lnTo>
                  <a:cubicBezTo>
                    <a:pt x="1723079" y="4473575"/>
                    <a:pt x="1829847" y="4473575"/>
                    <a:pt x="1932802" y="4473575"/>
                  </a:cubicBezTo>
                  <a:lnTo>
                    <a:pt x="1935194" y="4473575"/>
                  </a:lnTo>
                  <a:lnTo>
                    <a:pt x="1935194" y="4380126"/>
                  </a:lnTo>
                  <a:cubicBezTo>
                    <a:pt x="1935194" y="3544713"/>
                    <a:pt x="1935194" y="3544713"/>
                    <a:pt x="1935194" y="3544713"/>
                  </a:cubicBezTo>
                  <a:cubicBezTo>
                    <a:pt x="1374746" y="3544713"/>
                    <a:pt x="1374746" y="3544713"/>
                    <a:pt x="1374746" y="3544713"/>
                  </a:cubicBezTo>
                  <a:close/>
                  <a:moveTo>
                    <a:pt x="2762250" y="2568575"/>
                  </a:moveTo>
                  <a:lnTo>
                    <a:pt x="2762250" y="3013075"/>
                  </a:lnTo>
                  <a:lnTo>
                    <a:pt x="3321050" y="3013075"/>
                  </a:lnTo>
                  <a:lnTo>
                    <a:pt x="3321050" y="2568575"/>
                  </a:lnTo>
                  <a:close/>
                  <a:moveTo>
                    <a:pt x="1374775" y="2568575"/>
                  </a:moveTo>
                  <a:lnTo>
                    <a:pt x="1374775" y="3013075"/>
                  </a:lnTo>
                  <a:lnTo>
                    <a:pt x="1935163" y="3013075"/>
                  </a:lnTo>
                  <a:lnTo>
                    <a:pt x="1935163" y="2568575"/>
                  </a:lnTo>
                  <a:close/>
                  <a:moveTo>
                    <a:pt x="2677155" y="2398713"/>
                  </a:moveTo>
                  <a:cubicBezTo>
                    <a:pt x="3406147" y="2398713"/>
                    <a:pt x="3406147" y="2398713"/>
                    <a:pt x="3406147" y="2398713"/>
                  </a:cubicBezTo>
                  <a:cubicBezTo>
                    <a:pt x="3452768" y="2398713"/>
                    <a:pt x="3490913" y="2436865"/>
                    <a:pt x="3490913" y="2483494"/>
                  </a:cubicBezTo>
                  <a:cubicBezTo>
                    <a:pt x="3490913" y="3098157"/>
                    <a:pt x="3490913" y="3098157"/>
                    <a:pt x="3490913" y="3098157"/>
                  </a:cubicBezTo>
                  <a:cubicBezTo>
                    <a:pt x="3490913" y="3144787"/>
                    <a:pt x="3452768" y="3182938"/>
                    <a:pt x="3406147" y="3182938"/>
                  </a:cubicBezTo>
                  <a:cubicBezTo>
                    <a:pt x="2677155" y="3182938"/>
                    <a:pt x="2677155" y="3182938"/>
                    <a:pt x="2677155" y="3182938"/>
                  </a:cubicBezTo>
                  <a:cubicBezTo>
                    <a:pt x="2630533" y="3182938"/>
                    <a:pt x="2592388" y="3144787"/>
                    <a:pt x="2592388" y="3098157"/>
                  </a:cubicBezTo>
                  <a:cubicBezTo>
                    <a:pt x="2592388" y="2483494"/>
                    <a:pt x="2592388" y="2483494"/>
                    <a:pt x="2592388" y="2483494"/>
                  </a:cubicBezTo>
                  <a:cubicBezTo>
                    <a:pt x="2592388" y="2436865"/>
                    <a:pt x="2630533" y="2398713"/>
                    <a:pt x="2677155" y="2398713"/>
                  </a:cubicBezTo>
                  <a:close/>
                  <a:moveTo>
                    <a:pt x="1289830" y="2398713"/>
                  </a:moveTo>
                  <a:cubicBezTo>
                    <a:pt x="2020110" y="2398713"/>
                    <a:pt x="2020110" y="2398713"/>
                    <a:pt x="2020110" y="2398713"/>
                  </a:cubicBezTo>
                  <a:cubicBezTo>
                    <a:pt x="2066814" y="2398713"/>
                    <a:pt x="2105026" y="2436865"/>
                    <a:pt x="2105026" y="2483494"/>
                  </a:cubicBezTo>
                  <a:cubicBezTo>
                    <a:pt x="2105026" y="3098157"/>
                    <a:pt x="2105026" y="3098157"/>
                    <a:pt x="2105026" y="3098157"/>
                  </a:cubicBezTo>
                  <a:cubicBezTo>
                    <a:pt x="2105026" y="3144787"/>
                    <a:pt x="2066814" y="3182938"/>
                    <a:pt x="2020110" y="3182938"/>
                  </a:cubicBezTo>
                  <a:cubicBezTo>
                    <a:pt x="1289830" y="3182938"/>
                    <a:pt x="1289830" y="3182938"/>
                    <a:pt x="1289830" y="3182938"/>
                  </a:cubicBezTo>
                  <a:cubicBezTo>
                    <a:pt x="1243126" y="3182938"/>
                    <a:pt x="1204913" y="3144787"/>
                    <a:pt x="1204913" y="3098157"/>
                  </a:cubicBezTo>
                  <a:cubicBezTo>
                    <a:pt x="1204913" y="2483494"/>
                    <a:pt x="1204913" y="2483494"/>
                    <a:pt x="1204913" y="2483494"/>
                  </a:cubicBezTo>
                  <a:cubicBezTo>
                    <a:pt x="1204913" y="2436865"/>
                    <a:pt x="1243126" y="2398713"/>
                    <a:pt x="1289830" y="2398713"/>
                  </a:cubicBezTo>
                  <a:close/>
                  <a:moveTo>
                    <a:pt x="2762250" y="1587500"/>
                  </a:moveTo>
                  <a:lnTo>
                    <a:pt x="2762250" y="2036763"/>
                  </a:lnTo>
                  <a:lnTo>
                    <a:pt x="3321050" y="2036763"/>
                  </a:lnTo>
                  <a:lnTo>
                    <a:pt x="3321050" y="1587500"/>
                  </a:lnTo>
                  <a:close/>
                  <a:moveTo>
                    <a:pt x="1374775" y="1587500"/>
                  </a:moveTo>
                  <a:lnTo>
                    <a:pt x="1374775" y="2036763"/>
                  </a:lnTo>
                  <a:lnTo>
                    <a:pt x="1935163" y="2036763"/>
                  </a:lnTo>
                  <a:lnTo>
                    <a:pt x="1935163" y="1587500"/>
                  </a:lnTo>
                  <a:close/>
                  <a:moveTo>
                    <a:pt x="2677155" y="1417638"/>
                  </a:moveTo>
                  <a:cubicBezTo>
                    <a:pt x="3406147" y="1417638"/>
                    <a:pt x="3406147" y="1417638"/>
                    <a:pt x="3406147" y="1417638"/>
                  </a:cubicBezTo>
                  <a:cubicBezTo>
                    <a:pt x="3452768" y="1417638"/>
                    <a:pt x="3490913" y="1455815"/>
                    <a:pt x="3490913" y="1502476"/>
                  </a:cubicBezTo>
                  <a:cubicBezTo>
                    <a:pt x="3490913" y="2121789"/>
                    <a:pt x="3490913" y="2121789"/>
                    <a:pt x="3490913" y="2121789"/>
                  </a:cubicBezTo>
                  <a:cubicBezTo>
                    <a:pt x="3490913" y="2168449"/>
                    <a:pt x="3452768" y="2206626"/>
                    <a:pt x="3406147" y="2206626"/>
                  </a:cubicBezTo>
                  <a:cubicBezTo>
                    <a:pt x="2677155" y="2206626"/>
                    <a:pt x="2677155" y="2206626"/>
                    <a:pt x="2677155" y="2206626"/>
                  </a:cubicBezTo>
                  <a:cubicBezTo>
                    <a:pt x="2630533" y="2206626"/>
                    <a:pt x="2592388" y="2168449"/>
                    <a:pt x="2592388" y="2121789"/>
                  </a:cubicBezTo>
                  <a:cubicBezTo>
                    <a:pt x="2592388" y="1502476"/>
                    <a:pt x="2592388" y="1502476"/>
                    <a:pt x="2592388" y="1502476"/>
                  </a:cubicBezTo>
                  <a:cubicBezTo>
                    <a:pt x="2592388" y="1455815"/>
                    <a:pt x="2630533" y="1417638"/>
                    <a:pt x="2677155" y="1417638"/>
                  </a:cubicBezTo>
                  <a:close/>
                  <a:moveTo>
                    <a:pt x="1289830" y="1417638"/>
                  </a:moveTo>
                  <a:cubicBezTo>
                    <a:pt x="2020110" y="1417638"/>
                    <a:pt x="2020110" y="1417638"/>
                    <a:pt x="2020110" y="1417638"/>
                  </a:cubicBezTo>
                  <a:cubicBezTo>
                    <a:pt x="2066814" y="1417638"/>
                    <a:pt x="2105026" y="1455815"/>
                    <a:pt x="2105026" y="1502476"/>
                  </a:cubicBezTo>
                  <a:cubicBezTo>
                    <a:pt x="2105026" y="2121789"/>
                    <a:pt x="2105026" y="2121789"/>
                    <a:pt x="2105026" y="2121789"/>
                  </a:cubicBezTo>
                  <a:cubicBezTo>
                    <a:pt x="2105026" y="2168449"/>
                    <a:pt x="2066814" y="2206626"/>
                    <a:pt x="2020110" y="2206626"/>
                  </a:cubicBezTo>
                  <a:cubicBezTo>
                    <a:pt x="1289830" y="2206626"/>
                    <a:pt x="1289830" y="2206626"/>
                    <a:pt x="1289830" y="2206626"/>
                  </a:cubicBezTo>
                  <a:cubicBezTo>
                    <a:pt x="1243126" y="2206626"/>
                    <a:pt x="1204913" y="2168449"/>
                    <a:pt x="1204913" y="2121789"/>
                  </a:cubicBezTo>
                  <a:cubicBezTo>
                    <a:pt x="1204913" y="1502476"/>
                    <a:pt x="1204913" y="1502476"/>
                    <a:pt x="1204913" y="1502476"/>
                  </a:cubicBezTo>
                  <a:cubicBezTo>
                    <a:pt x="1204913" y="1455815"/>
                    <a:pt x="1243126" y="1417638"/>
                    <a:pt x="1289830" y="1417638"/>
                  </a:cubicBezTo>
                  <a:close/>
                  <a:moveTo>
                    <a:pt x="2762250" y="649288"/>
                  </a:moveTo>
                  <a:lnTo>
                    <a:pt x="2762250" y="1095376"/>
                  </a:lnTo>
                  <a:lnTo>
                    <a:pt x="3321050" y="1095376"/>
                  </a:lnTo>
                  <a:lnTo>
                    <a:pt x="3321050" y="649288"/>
                  </a:lnTo>
                  <a:close/>
                  <a:moveTo>
                    <a:pt x="1374775" y="649288"/>
                  </a:moveTo>
                  <a:lnTo>
                    <a:pt x="1374775" y="1095376"/>
                  </a:lnTo>
                  <a:lnTo>
                    <a:pt x="1935163" y="1095376"/>
                  </a:lnTo>
                  <a:lnTo>
                    <a:pt x="1935163" y="649288"/>
                  </a:lnTo>
                  <a:close/>
                  <a:moveTo>
                    <a:pt x="2677155" y="479425"/>
                  </a:moveTo>
                  <a:cubicBezTo>
                    <a:pt x="3406147" y="479425"/>
                    <a:pt x="3406147" y="479425"/>
                    <a:pt x="3406147" y="479425"/>
                  </a:cubicBezTo>
                  <a:cubicBezTo>
                    <a:pt x="3452768" y="479425"/>
                    <a:pt x="3490913" y="517654"/>
                    <a:pt x="3490913" y="564378"/>
                  </a:cubicBezTo>
                  <a:cubicBezTo>
                    <a:pt x="3490913" y="1180285"/>
                    <a:pt x="3490913" y="1180285"/>
                    <a:pt x="3490913" y="1180285"/>
                  </a:cubicBezTo>
                  <a:cubicBezTo>
                    <a:pt x="3490913" y="1231257"/>
                    <a:pt x="3452768" y="1265238"/>
                    <a:pt x="3406147" y="1265238"/>
                  </a:cubicBezTo>
                  <a:cubicBezTo>
                    <a:pt x="2677155" y="1265238"/>
                    <a:pt x="2677155" y="1265238"/>
                    <a:pt x="2677155" y="1265238"/>
                  </a:cubicBezTo>
                  <a:cubicBezTo>
                    <a:pt x="2630533" y="1265238"/>
                    <a:pt x="2592388" y="1231257"/>
                    <a:pt x="2592388" y="1180285"/>
                  </a:cubicBezTo>
                  <a:cubicBezTo>
                    <a:pt x="2592388" y="564378"/>
                    <a:pt x="2592388" y="564378"/>
                    <a:pt x="2592388" y="564378"/>
                  </a:cubicBezTo>
                  <a:cubicBezTo>
                    <a:pt x="2592388" y="517654"/>
                    <a:pt x="2630533" y="479425"/>
                    <a:pt x="2677155" y="479425"/>
                  </a:cubicBezTo>
                  <a:close/>
                  <a:moveTo>
                    <a:pt x="1289830" y="479425"/>
                  </a:moveTo>
                  <a:cubicBezTo>
                    <a:pt x="2020110" y="479425"/>
                    <a:pt x="2020110" y="479425"/>
                    <a:pt x="2020110" y="479425"/>
                  </a:cubicBezTo>
                  <a:cubicBezTo>
                    <a:pt x="2066814" y="479425"/>
                    <a:pt x="2105026" y="517654"/>
                    <a:pt x="2105026" y="564378"/>
                  </a:cubicBezTo>
                  <a:cubicBezTo>
                    <a:pt x="2105026" y="1180285"/>
                    <a:pt x="2105026" y="1180285"/>
                    <a:pt x="2105026" y="1180285"/>
                  </a:cubicBezTo>
                  <a:cubicBezTo>
                    <a:pt x="2105026" y="1231257"/>
                    <a:pt x="2066814" y="1265238"/>
                    <a:pt x="2020110" y="1265238"/>
                  </a:cubicBezTo>
                  <a:cubicBezTo>
                    <a:pt x="1289830" y="1265238"/>
                    <a:pt x="1289830" y="1265238"/>
                    <a:pt x="1289830" y="1265238"/>
                  </a:cubicBezTo>
                  <a:cubicBezTo>
                    <a:pt x="1243126" y="1265238"/>
                    <a:pt x="1204913" y="1231257"/>
                    <a:pt x="1204913" y="1180285"/>
                  </a:cubicBezTo>
                  <a:cubicBezTo>
                    <a:pt x="1204913" y="564378"/>
                    <a:pt x="1204913" y="564378"/>
                    <a:pt x="1204913" y="564378"/>
                  </a:cubicBezTo>
                  <a:cubicBezTo>
                    <a:pt x="1204913" y="517654"/>
                    <a:pt x="1243126" y="479425"/>
                    <a:pt x="1289830" y="479425"/>
                  </a:cubicBezTo>
                  <a:close/>
                  <a:moveTo>
                    <a:pt x="900113" y="169863"/>
                  </a:moveTo>
                  <a:lnTo>
                    <a:pt x="900113" y="4473575"/>
                  </a:lnTo>
                  <a:lnTo>
                    <a:pt x="1204913" y="4473575"/>
                  </a:lnTo>
                  <a:lnTo>
                    <a:pt x="1204913" y="4365191"/>
                  </a:lnTo>
                  <a:cubicBezTo>
                    <a:pt x="1204913" y="3459869"/>
                    <a:pt x="1204913" y="3459869"/>
                    <a:pt x="1204913" y="3459869"/>
                  </a:cubicBezTo>
                  <a:cubicBezTo>
                    <a:pt x="1204913" y="3413205"/>
                    <a:pt x="1243126" y="3375025"/>
                    <a:pt x="1289830" y="3375025"/>
                  </a:cubicBezTo>
                  <a:cubicBezTo>
                    <a:pt x="2020110" y="3375025"/>
                    <a:pt x="2020110" y="3375025"/>
                    <a:pt x="2020110" y="3375025"/>
                  </a:cubicBezTo>
                  <a:cubicBezTo>
                    <a:pt x="2066814" y="3375025"/>
                    <a:pt x="2105026" y="3413205"/>
                    <a:pt x="2105026" y="3459869"/>
                  </a:cubicBezTo>
                  <a:cubicBezTo>
                    <a:pt x="2105026" y="4077902"/>
                    <a:pt x="2105026" y="4348292"/>
                    <a:pt x="2105026" y="4466587"/>
                  </a:cubicBezTo>
                  <a:lnTo>
                    <a:pt x="2105026" y="4473575"/>
                  </a:lnTo>
                  <a:lnTo>
                    <a:pt x="2230369" y="4473575"/>
                  </a:lnTo>
                  <a:cubicBezTo>
                    <a:pt x="2994129" y="4473575"/>
                    <a:pt x="3522887" y="4473575"/>
                    <a:pt x="3888949" y="4473575"/>
                  </a:cubicBezTo>
                  <a:lnTo>
                    <a:pt x="3932238" y="4473575"/>
                  </a:lnTo>
                  <a:lnTo>
                    <a:pt x="3932238" y="169863"/>
                  </a:lnTo>
                  <a:close/>
                  <a:moveTo>
                    <a:pt x="815077" y="0"/>
                  </a:moveTo>
                  <a:cubicBezTo>
                    <a:pt x="4017274" y="0"/>
                    <a:pt x="4017274" y="0"/>
                    <a:pt x="4017274" y="0"/>
                  </a:cubicBezTo>
                  <a:cubicBezTo>
                    <a:pt x="4063928" y="0"/>
                    <a:pt x="4102100" y="38200"/>
                    <a:pt x="4102100" y="84889"/>
                  </a:cubicBezTo>
                  <a:cubicBezTo>
                    <a:pt x="4102100" y="3300332"/>
                    <a:pt x="4102100" y="4204676"/>
                    <a:pt x="4102100" y="4459022"/>
                  </a:cubicBezTo>
                  <a:lnTo>
                    <a:pt x="4102100" y="4473575"/>
                  </a:lnTo>
                  <a:lnTo>
                    <a:pt x="4134121" y="4473575"/>
                  </a:lnTo>
                  <a:cubicBezTo>
                    <a:pt x="4712590" y="4473575"/>
                    <a:pt x="4712590" y="4473575"/>
                    <a:pt x="4712590" y="4473575"/>
                  </a:cubicBezTo>
                  <a:cubicBezTo>
                    <a:pt x="4759249" y="4473575"/>
                    <a:pt x="4797425" y="4511794"/>
                    <a:pt x="4797425" y="4558507"/>
                  </a:cubicBezTo>
                  <a:cubicBezTo>
                    <a:pt x="4797425" y="4605219"/>
                    <a:pt x="4759249" y="4643438"/>
                    <a:pt x="4712590" y="4643438"/>
                  </a:cubicBezTo>
                  <a:cubicBezTo>
                    <a:pt x="4567973" y="4643438"/>
                    <a:pt x="4427875" y="4643438"/>
                    <a:pt x="4292155" y="4643438"/>
                  </a:cubicBezTo>
                  <a:lnTo>
                    <a:pt x="4017274" y="4643438"/>
                  </a:lnTo>
                  <a:lnTo>
                    <a:pt x="3897988" y="4643438"/>
                  </a:lnTo>
                  <a:lnTo>
                    <a:pt x="3726352" y="4643438"/>
                  </a:lnTo>
                  <a:lnTo>
                    <a:pt x="3529242" y="4643438"/>
                  </a:lnTo>
                  <a:lnTo>
                    <a:pt x="3453606" y="4643438"/>
                  </a:lnTo>
                  <a:cubicBezTo>
                    <a:pt x="3365655" y="4643438"/>
                    <a:pt x="3280636" y="4643438"/>
                    <a:pt x="3198451" y="4643438"/>
                  </a:cubicBezTo>
                  <a:lnTo>
                    <a:pt x="3185070" y="4643438"/>
                  </a:lnTo>
                  <a:lnTo>
                    <a:pt x="2960299" y="4643438"/>
                  </a:lnTo>
                  <a:lnTo>
                    <a:pt x="2864624" y="4643438"/>
                  </a:lnTo>
                  <a:lnTo>
                    <a:pt x="2738565" y="4643438"/>
                  </a:lnTo>
                  <a:lnTo>
                    <a:pt x="2567056" y="4643438"/>
                  </a:lnTo>
                  <a:lnTo>
                    <a:pt x="2532662" y="4643438"/>
                  </a:lnTo>
                  <a:cubicBezTo>
                    <a:pt x="2466601" y="4643438"/>
                    <a:pt x="2403081" y="4643438"/>
                    <a:pt x="2342004" y="4643438"/>
                  </a:cubicBezTo>
                  <a:lnTo>
                    <a:pt x="2291521" y="4643438"/>
                  </a:lnTo>
                  <a:lnTo>
                    <a:pt x="2166004" y="4643438"/>
                  </a:lnTo>
                  <a:lnTo>
                    <a:pt x="2037169" y="4643438"/>
                  </a:lnTo>
                  <a:lnTo>
                    <a:pt x="2020110" y="4643438"/>
                  </a:lnTo>
                  <a:lnTo>
                    <a:pt x="2004077" y="4643438"/>
                  </a:lnTo>
                  <a:lnTo>
                    <a:pt x="1803155" y="4643438"/>
                  </a:lnTo>
                  <a:lnTo>
                    <a:pt x="1786288" y="4643438"/>
                  </a:lnTo>
                  <a:cubicBezTo>
                    <a:pt x="1718529" y="4643438"/>
                    <a:pt x="1655498" y="4643438"/>
                    <a:pt x="1596864" y="4643438"/>
                  </a:cubicBezTo>
                  <a:lnTo>
                    <a:pt x="1588630" y="4643438"/>
                  </a:lnTo>
                  <a:lnTo>
                    <a:pt x="1433825" y="4643438"/>
                  </a:lnTo>
                  <a:lnTo>
                    <a:pt x="1392747" y="4643438"/>
                  </a:lnTo>
                  <a:lnTo>
                    <a:pt x="1295192" y="4643438"/>
                  </a:lnTo>
                  <a:lnTo>
                    <a:pt x="1289830" y="4643438"/>
                  </a:lnTo>
                  <a:lnTo>
                    <a:pt x="1215352" y="4643438"/>
                  </a:lnTo>
                  <a:lnTo>
                    <a:pt x="1214658" y="4643438"/>
                  </a:lnTo>
                  <a:lnTo>
                    <a:pt x="1144893" y="4643438"/>
                  </a:lnTo>
                  <a:cubicBezTo>
                    <a:pt x="1122905" y="4643438"/>
                    <a:pt x="1102383" y="4643438"/>
                    <a:pt x="1083229" y="4643438"/>
                  </a:cubicBezTo>
                  <a:lnTo>
                    <a:pt x="1053517" y="4643438"/>
                  </a:lnTo>
                  <a:lnTo>
                    <a:pt x="1029775" y="4643438"/>
                  </a:lnTo>
                  <a:cubicBezTo>
                    <a:pt x="980229" y="4643438"/>
                    <a:pt x="942117" y="4643438"/>
                    <a:pt x="912800" y="4643438"/>
                  </a:cubicBezTo>
                  <a:lnTo>
                    <a:pt x="908476" y="4643438"/>
                  </a:lnTo>
                  <a:lnTo>
                    <a:pt x="865111" y="4643438"/>
                  </a:lnTo>
                  <a:cubicBezTo>
                    <a:pt x="815077" y="4643438"/>
                    <a:pt x="815077" y="4643438"/>
                    <a:pt x="815077" y="4643438"/>
                  </a:cubicBezTo>
                  <a:lnTo>
                    <a:pt x="778687" y="4643438"/>
                  </a:lnTo>
                  <a:cubicBezTo>
                    <a:pt x="84835" y="4643438"/>
                    <a:pt x="84835" y="4643438"/>
                    <a:pt x="84835" y="4643438"/>
                  </a:cubicBezTo>
                  <a:cubicBezTo>
                    <a:pt x="38176" y="4643438"/>
                    <a:pt x="0" y="4605219"/>
                    <a:pt x="0" y="4558507"/>
                  </a:cubicBezTo>
                  <a:cubicBezTo>
                    <a:pt x="0" y="4511794"/>
                    <a:pt x="38176" y="4473575"/>
                    <a:pt x="84835" y="4473575"/>
                  </a:cubicBezTo>
                  <a:cubicBezTo>
                    <a:pt x="229452" y="4473575"/>
                    <a:pt x="369550" y="4473575"/>
                    <a:pt x="505270" y="4473575"/>
                  </a:cubicBezTo>
                  <a:lnTo>
                    <a:pt x="730250" y="4473575"/>
                  </a:lnTo>
                  <a:lnTo>
                    <a:pt x="730250" y="4152114"/>
                  </a:lnTo>
                  <a:cubicBezTo>
                    <a:pt x="730250" y="84889"/>
                    <a:pt x="730250" y="84889"/>
                    <a:pt x="730250" y="84889"/>
                  </a:cubicBezTo>
                  <a:cubicBezTo>
                    <a:pt x="730250" y="38200"/>
                    <a:pt x="768422" y="0"/>
                    <a:pt x="815077" y="0"/>
                  </a:cubicBezTo>
                  <a:close/>
                </a:path>
              </a:pathLst>
            </a:custGeom>
            <a:solidFill>
              <a:srgbClr val="0078D7"/>
            </a:solidFill>
            <a:ln w="41275">
              <a:solidFill>
                <a:schemeClr val="tx1"/>
              </a:solidFill>
            </a:ln>
          </p:spPr>
          <p:txBody>
            <a:bodyPr vert="horz" wrap="square" lIns="91440" tIns="45720" rIns="91440" bIns="45720" numCol="1" anchor="t" anchorCtr="0" compatLnSpc="1">
              <a:prstTxWarp prst="textNoShape">
                <a:avLst/>
              </a:prstTxWarp>
              <a:noAutofit/>
            </a:bodyPr>
            <a:lstStyle/>
            <a:p>
              <a:endParaRPr lang="en-US"/>
            </a:p>
          </p:txBody>
        </p:sp>
        <p:grpSp>
          <p:nvGrpSpPr>
            <p:cNvPr id="116" name="Group 115"/>
            <p:cNvGrpSpPr/>
            <p:nvPr/>
          </p:nvGrpSpPr>
          <p:grpSpPr>
            <a:xfrm>
              <a:off x="10044022" y="3362902"/>
              <a:ext cx="1113183" cy="1113183"/>
              <a:chOff x="10098565" y="310348"/>
              <a:chExt cx="1113183" cy="1113183"/>
            </a:xfrm>
          </p:grpSpPr>
          <p:sp>
            <p:nvSpPr>
              <p:cNvPr id="115" name="Oval 114"/>
              <p:cNvSpPr/>
              <p:nvPr/>
            </p:nvSpPr>
            <p:spPr bwMode="auto">
              <a:xfrm>
                <a:off x="10098565" y="310348"/>
                <a:ext cx="1113183" cy="1113183"/>
              </a:xfrm>
              <a:prstGeom prst="ellipse">
                <a:avLst/>
              </a:prstGeom>
              <a:solidFill>
                <a:schemeClr val="tx1"/>
              </a:solidFill>
              <a:ln w="1905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grpSp>
            <p:nvGrpSpPr>
              <p:cNvPr id="22" name="Group 21"/>
              <p:cNvGrpSpPr/>
              <p:nvPr/>
            </p:nvGrpSpPr>
            <p:grpSpPr>
              <a:xfrm>
                <a:off x="10269870" y="433763"/>
                <a:ext cx="790453" cy="737132"/>
                <a:chOff x="10486141" y="3021512"/>
                <a:chExt cx="1256052" cy="1171324"/>
              </a:xfrm>
            </p:grpSpPr>
            <p:sp>
              <p:nvSpPr>
                <p:cNvPr id="97" name="Freeform 11"/>
                <p:cNvSpPr>
                  <a:spLocks/>
                </p:cNvSpPr>
                <p:nvPr/>
              </p:nvSpPr>
              <p:spPr bwMode="auto">
                <a:xfrm>
                  <a:off x="10833971" y="3021512"/>
                  <a:ext cx="908222" cy="116091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
                <p:cNvSpPr>
                  <a:spLocks/>
                </p:cNvSpPr>
                <p:nvPr/>
              </p:nvSpPr>
              <p:spPr bwMode="auto">
                <a:xfrm>
                  <a:off x="10486141" y="3570013"/>
                  <a:ext cx="337425" cy="62282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19050"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25" name="Rectangle 24"/>
          <p:cNvSpPr/>
          <p:nvPr/>
        </p:nvSpPr>
        <p:spPr bwMode="auto">
          <a:xfrm>
            <a:off x="0" y="1632940"/>
            <a:ext cx="12192000" cy="98602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4" name="Title 1"/>
          <p:cNvSpPr>
            <a:spLocks noGrp="1"/>
          </p:cNvSpPr>
          <p:nvPr>
            <p:ph type="title"/>
          </p:nvPr>
        </p:nvSpPr>
        <p:spPr>
          <a:prstGeom prst="rect">
            <a:avLst/>
          </a:prstGeom>
        </p:spPr>
        <p:txBody>
          <a:bodyPr/>
          <a:lstStyle/>
          <a:p>
            <a:r>
              <a:rPr lang="en-US" dirty="0"/>
              <a:t>Azure Data Lake</a:t>
            </a:r>
            <a:br>
              <a:rPr lang="en-US" dirty="0"/>
            </a:br>
            <a:r>
              <a:rPr lang="en-US" sz="2800" dirty="0">
                <a:solidFill>
                  <a:srgbClr val="0078D7"/>
                </a:solidFill>
              </a:rPr>
              <a:t>Big Data made easy</a:t>
            </a:r>
            <a:endParaRPr lang="en-US" sz="3200" dirty="0">
              <a:solidFill>
                <a:srgbClr val="0078D7"/>
              </a:solidFill>
            </a:endParaRPr>
          </a:p>
        </p:txBody>
      </p:sp>
      <p:grpSp>
        <p:nvGrpSpPr>
          <p:cNvPr id="24" name="Group 23"/>
          <p:cNvGrpSpPr/>
          <p:nvPr/>
        </p:nvGrpSpPr>
        <p:grpSpPr>
          <a:xfrm>
            <a:off x="1135943" y="3297661"/>
            <a:ext cx="1785889" cy="2266949"/>
            <a:chOff x="1369783" y="3088939"/>
            <a:chExt cx="1785889" cy="2266949"/>
          </a:xfrm>
        </p:grpSpPr>
        <p:grpSp>
          <p:nvGrpSpPr>
            <p:cNvPr id="2" name="Group 1"/>
            <p:cNvGrpSpPr/>
            <p:nvPr/>
          </p:nvGrpSpPr>
          <p:grpSpPr>
            <a:xfrm>
              <a:off x="1625047" y="3088939"/>
              <a:ext cx="1318396" cy="1057911"/>
              <a:chOff x="1534290" y="3079525"/>
              <a:chExt cx="1642059" cy="1317626"/>
            </a:xfrm>
          </p:grpSpPr>
          <p:grpSp>
            <p:nvGrpSpPr>
              <p:cNvPr id="35" name="Group 34"/>
              <p:cNvGrpSpPr/>
              <p:nvPr/>
            </p:nvGrpSpPr>
            <p:grpSpPr>
              <a:xfrm>
                <a:off x="2813815" y="4082826"/>
                <a:ext cx="241300" cy="314325"/>
                <a:chOff x="9717088" y="2738438"/>
                <a:chExt cx="241300" cy="314325"/>
              </a:xfrm>
            </p:grpSpPr>
            <p:sp>
              <p:nvSpPr>
                <p:cNvPr id="36" name="Freeform 35"/>
                <p:cNvSpPr>
                  <a:spLocks/>
                </p:cNvSpPr>
                <p:nvPr/>
              </p:nvSpPr>
              <p:spPr bwMode="auto">
                <a:xfrm>
                  <a:off x="9717088" y="2738438"/>
                  <a:ext cx="241300" cy="314325"/>
                </a:xfrm>
                <a:custGeom>
                  <a:avLst/>
                  <a:gdLst>
                    <a:gd name="connsiteX0" fmla="*/ 120357 w 241300"/>
                    <a:gd name="connsiteY0" fmla="*/ 25400 h 314325"/>
                    <a:gd name="connsiteX1" fmla="*/ 26987 w 241300"/>
                    <a:gd name="connsiteY1" fmla="*/ 119116 h 314325"/>
                    <a:gd name="connsiteX2" fmla="*/ 120357 w 241300"/>
                    <a:gd name="connsiteY2" fmla="*/ 282575 h 314325"/>
                    <a:gd name="connsiteX3" fmla="*/ 215899 w 241300"/>
                    <a:gd name="connsiteY3" fmla="*/ 119116 h 314325"/>
                    <a:gd name="connsiteX4" fmla="*/ 120357 w 241300"/>
                    <a:gd name="connsiteY4" fmla="*/ 25400 h 314325"/>
                    <a:gd name="connsiteX5" fmla="*/ 119563 w 241300"/>
                    <a:gd name="connsiteY5" fmla="*/ 0 h 314325"/>
                    <a:gd name="connsiteX6" fmla="*/ 241300 w 241300"/>
                    <a:gd name="connsiteY6" fmla="*/ 119227 h 314325"/>
                    <a:gd name="connsiteX7" fmla="*/ 130432 w 241300"/>
                    <a:gd name="connsiteY7" fmla="*/ 309990 h 314325"/>
                    <a:gd name="connsiteX8" fmla="*/ 119563 w 241300"/>
                    <a:gd name="connsiteY8" fmla="*/ 314325 h 314325"/>
                    <a:gd name="connsiteX9" fmla="*/ 110868 w 241300"/>
                    <a:gd name="connsiteY9" fmla="*/ 309990 h 314325"/>
                    <a:gd name="connsiteX10" fmla="*/ 0 w 241300"/>
                    <a:gd name="connsiteY10" fmla="*/ 119227 h 314325"/>
                    <a:gd name="connsiteX11" fmla="*/ 119563 w 241300"/>
                    <a:gd name="connsiteY11"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314325">
                      <a:moveTo>
                        <a:pt x="120357" y="25400"/>
                      </a:moveTo>
                      <a:cubicBezTo>
                        <a:pt x="68244" y="25400"/>
                        <a:pt x="26987" y="66810"/>
                        <a:pt x="26987" y="119116"/>
                      </a:cubicBezTo>
                      <a:cubicBezTo>
                        <a:pt x="26987" y="160526"/>
                        <a:pt x="87786" y="243345"/>
                        <a:pt x="120357" y="282575"/>
                      </a:cubicBezTo>
                      <a:cubicBezTo>
                        <a:pt x="155100" y="243345"/>
                        <a:pt x="215899" y="160526"/>
                        <a:pt x="215899" y="119116"/>
                      </a:cubicBezTo>
                      <a:cubicBezTo>
                        <a:pt x="215899" y="66810"/>
                        <a:pt x="172471" y="25400"/>
                        <a:pt x="120357" y="25400"/>
                      </a:cubicBezTo>
                      <a:close/>
                      <a:moveTo>
                        <a:pt x="119563" y="0"/>
                      </a:moveTo>
                      <a:cubicBezTo>
                        <a:pt x="186953" y="0"/>
                        <a:pt x="241300" y="54194"/>
                        <a:pt x="241300" y="119227"/>
                      </a:cubicBezTo>
                      <a:cubicBezTo>
                        <a:pt x="241300" y="182092"/>
                        <a:pt x="141302" y="296983"/>
                        <a:pt x="130432" y="309990"/>
                      </a:cubicBezTo>
                      <a:cubicBezTo>
                        <a:pt x="128259" y="312157"/>
                        <a:pt x="123911" y="314325"/>
                        <a:pt x="119563" y="314325"/>
                      </a:cubicBezTo>
                      <a:cubicBezTo>
                        <a:pt x="117389" y="314325"/>
                        <a:pt x="113041" y="312157"/>
                        <a:pt x="110868" y="309990"/>
                      </a:cubicBezTo>
                      <a:cubicBezTo>
                        <a:pt x="99998" y="296983"/>
                        <a:pt x="0" y="182092"/>
                        <a:pt x="0" y="119227"/>
                      </a:cubicBezTo>
                      <a:cubicBezTo>
                        <a:pt x="0" y="54194"/>
                        <a:pt x="54347" y="0"/>
                        <a:pt x="119563"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37" name="Freeform 36"/>
                <p:cNvSpPr>
                  <a:spLocks noChangeArrowheads="1"/>
                </p:cNvSpPr>
                <p:nvPr/>
              </p:nvSpPr>
              <p:spPr bwMode="auto">
                <a:xfrm>
                  <a:off x="9771062" y="2794000"/>
                  <a:ext cx="128588" cy="128588"/>
                </a:xfrm>
                <a:custGeom>
                  <a:avLst/>
                  <a:gdLst>
                    <a:gd name="connsiteX0" fmla="*/ 65087 w 128588"/>
                    <a:gd name="connsiteY0" fmla="*/ 26988 h 128588"/>
                    <a:gd name="connsiteX1" fmla="*/ 26987 w 128588"/>
                    <a:gd name="connsiteY1" fmla="*/ 65088 h 128588"/>
                    <a:gd name="connsiteX2" fmla="*/ 65087 w 128588"/>
                    <a:gd name="connsiteY2" fmla="*/ 103188 h 128588"/>
                    <a:gd name="connsiteX3" fmla="*/ 103187 w 128588"/>
                    <a:gd name="connsiteY3" fmla="*/ 65088 h 128588"/>
                    <a:gd name="connsiteX4" fmla="*/ 65087 w 128588"/>
                    <a:gd name="connsiteY4" fmla="*/ 26988 h 128588"/>
                    <a:gd name="connsiteX5" fmla="*/ 64294 w 128588"/>
                    <a:gd name="connsiteY5" fmla="*/ 0 h 128588"/>
                    <a:gd name="connsiteX6" fmla="*/ 128588 w 128588"/>
                    <a:gd name="connsiteY6" fmla="*/ 64294 h 128588"/>
                    <a:gd name="connsiteX7" fmla="*/ 64294 w 128588"/>
                    <a:gd name="connsiteY7" fmla="*/ 128588 h 128588"/>
                    <a:gd name="connsiteX8" fmla="*/ 0 w 128588"/>
                    <a:gd name="connsiteY8" fmla="*/ 64294 h 128588"/>
                    <a:gd name="connsiteX9" fmla="*/ 64294 w 128588"/>
                    <a:gd name="connsiteY9" fmla="*/ 0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8" h="128588">
                      <a:moveTo>
                        <a:pt x="65087" y="26988"/>
                      </a:moveTo>
                      <a:cubicBezTo>
                        <a:pt x="44045" y="26988"/>
                        <a:pt x="26987" y="44046"/>
                        <a:pt x="26987" y="65088"/>
                      </a:cubicBezTo>
                      <a:cubicBezTo>
                        <a:pt x="26987" y="86130"/>
                        <a:pt x="44045" y="103188"/>
                        <a:pt x="65087" y="103188"/>
                      </a:cubicBezTo>
                      <a:cubicBezTo>
                        <a:pt x="86129" y="103188"/>
                        <a:pt x="103187" y="86130"/>
                        <a:pt x="103187" y="65088"/>
                      </a:cubicBezTo>
                      <a:cubicBezTo>
                        <a:pt x="103187" y="44046"/>
                        <a:pt x="86129" y="26988"/>
                        <a:pt x="65087" y="26988"/>
                      </a:cubicBezTo>
                      <a:close/>
                      <a:moveTo>
                        <a:pt x="64294" y="0"/>
                      </a:moveTo>
                      <a:cubicBezTo>
                        <a:pt x="99803" y="0"/>
                        <a:pt x="128588" y="28785"/>
                        <a:pt x="128588" y="64294"/>
                      </a:cubicBezTo>
                      <a:cubicBezTo>
                        <a:pt x="128588" y="99803"/>
                        <a:pt x="99803" y="128588"/>
                        <a:pt x="64294" y="128588"/>
                      </a:cubicBezTo>
                      <a:cubicBezTo>
                        <a:pt x="28785" y="128588"/>
                        <a:pt x="0" y="99803"/>
                        <a:pt x="0" y="64294"/>
                      </a:cubicBezTo>
                      <a:cubicBezTo>
                        <a:pt x="0" y="28785"/>
                        <a:pt x="28785" y="0"/>
                        <a:pt x="64294"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38" name="Freeform 37"/>
              <p:cNvSpPr>
                <a:spLocks/>
              </p:cNvSpPr>
              <p:nvPr/>
            </p:nvSpPr>
            <p:spPr bwMode="auto">
              <a:xfrm>
                <a:off x="2299465" y="3339876"/>
                <a:ext cx="79375"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p:nvSpPr>
            <p:spPr bwMode="auto">
              <a:xfrm>
                <a:off x="2178815" y="3525613"/>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p:nvSpPr>
            <p:spPr bwMode="auto">
              <a:xfrm>
                <a:off x="2831277" y="3652613"/>
                <a:ext cx="77787"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3" name="Freeform 34"/>
              <p:cNvSpPr>
                <a:spLocks/>
              </p:cNvSpPr>
              <p:nvPr/>
            </p:nvSpPr>
            <p:spPr bwMode="auto">
              <a:xfrm>
                <a:off x="2709040" y="3838351"/>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7" name="Freeform 35"/>
              <p:cNvSpPr>
                <a:spLocks/>
              </p:cNvSpPr>
              <p:nvPr/>
            </p:nvSpPr>
            <p:spPr bwMode="auto">
              <a:xfrm>
                <a:off x="1656527" y="3739926"/>
                <a:ext cx="77787"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8" name="Freeform 36"/>
              <p:cNvSpPr>
                <a:spLocks/>
              </p:cNvSpPr>
              <p:nvPr/>
            </p:nvSpPr>
            <p:spPr bwMode="auto">
              <a:xfrm>
                <a:off x="1534290" y="3925663"/>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p:cNvSpPr>
              <p:nvPr/>
            </p:nvSpPr>
            <p:spPr bwMode="auto">
              <a:xfrm>
                <a:off x="1610490" y="3079525"/>
                <a:ext cx="541337" cy="534988"/>
              </a:xfrm>
              <a:custGeom>
                <a:avLst/>
                <a:gdLst>
                  <a:gd name="connsiteX0" fmla="*/ 270668 w 541337"/>
                  <a:gd name="connsiteY0" fmla="*/ 223836 h 534988"/>
                  <a:gd name="connsiteX1" fmla="*/ 225424 w 541337"/>
                  <a:gd name="connsiteY1" fmla="*/ 267493 h 534988"/>
                  <a:gd name="connsiteX2" fmla="*/ 270668 w 541337"/>
                  <a:gd name="connsiteY2" fmla="*/ 311150 h 534988"/>
                  <a:gd name="connsiteX3" fmla="*/ 315912 w 541337"/>
                  <a:gd name="connsiteY3" fmla="*/ 267493 h 534988"/>
                  <a:gd name="connsiteX4" fmla="*/ 270668 w 541337"/>
                  <a:gd name="connsiteY4" fmla="*/ 223836 h 534988"/>
                  <a:gd name="connsiteX5" fmla="*/ 42862 w 541337"/>
                  <a:gd name="connsiteY5" fmla="*/ 195263 h 534988"/>
                  <a:gd name="connsiteX6" fmla="*/ 42862 w 541337"/>
                  <a:gd name="connsiteY6" fmla="*/ 202446 h 534988"/>
                  <a:gd name="connsiteX7" fmla="*/ 42862 w 541337"/>
                  <a:gd name="connsiteY7" fmla="*/ 455766 h 534988"/>
                  <a:gd name="connsiteX8" fmla="*/ 77696 w 541337"/>
                  <a:gd name="connsiteY8" fmla="*/ 490537 h 534988"/>
                  <a:gd name="connsiteX9" fmla="*/ 463051 w 541337"/>
                  <a:gd name="connsiteY9" fmla="*/ 490537 h 534988"/>
                  <a:gd name="connsiteX10" fmla="*/ 500062 w 541337"/>
                  <a:gd name="connsiteY10" fmla="*/ 455766 h 534988"/>
                  <a:gd name="connsiteX11" fmla="*/ 500062 w 541337"/>
                  <a:gd name="connsiteY11" fmla="*/ 237158 h 534988"/>
                  <a:gd name="connsiteX12" fmla="*/ 500062 w 541337"/>
                  <a:gd name="connsiteY12" fmla="*/ 195263 h 534988"/>
                  <a:gd name="connsiteX13" fmla="*/ 470386 w 541337"/>
                  <a:gd name="connsiteY13" fmla="*/ 195263 h 534988"/>
                  <a:gd name="connsiteX14" fmla="*/ 433335 w 541337"/>
                  <a:gd name="connsiteY14" fmla="*/ 195263 h 534988"/>
                  <a:gd name="connsiteX15" fmla="*/ 408673 w 541337"/>
                  <a:gd name="connsiteY15" fmla="*/ 195263 h 534988"/>
                  <a:gd name="connsiteX16" fmla="*/ 416336 w 541337"/>
                  <a:gd name="connsiteY16" fmla="*/ 206628 h 534988"/>
                  <a:gd name="connsiteX17" fmla="*/ 428624 w 541337"/>
                  <a:gd name="connsiteY17" fmla="*/ 267494 h 534988"/>
                  <a:gd name="connsiteX18" fmla="*/ 272255 w 541337"/>
                  <a:gd name="connsiteY18" fmla="*/ 423863 h 534988"/>
                  <a:gd name="connsiteX19" fmla="*/ 115886 w 541337"/>
                  <a:gd name="connsiteY19" fmla="*/ 267494 h 534988"/>
                  <a:gd name="connsiteX20" fmla="*/ 128174 w 541337"/>
                  <a:gd name="connsiteY20" fmla="*/ 206628 h 534988"/>
                  <a:gd name="connsiteX21" fmla="*/ 135837 w 541337"/>
                  <a:gd name="connsiteY21" fmla="*/ 195263 h 534988"/>
                  <a:gd name="connsiteX22" fmla="*/ 122134 w 541337"/>
                  <a:gd name="connsiteY22" fmla="*/ 195263 h 534988"/>
                  <a:gd name="connsiteX23" fmla="*/ 59996 w 541337"/>
                  <a:gd name="connsiteY23" fmla="*/ 195263 h 534988"/>
                  <a:gd name="connsiteX24" fmla="*/ 270668 w 541337"/>
                  <a:gd name="connsiteY24" fmla="*/ 179386 h 534988"/>
                  <a:gd name="connsiteX25" fmla="*/ 357187 w 541337"/>
                  <a:gd name="connsiteY25" fmla="*/ 266699 h 534988"/>
                  <a:gd name="connsiteX26" fmla="*/ 270668 w 541337"/>
                  <a:gd name="connsiteY26" fmla="*/ 354012 h 534988"/>
                  <a:gd name="connsiteX27" fmla="*/ 184149 w 541337"/>
                  <a:gd name="connsiteY27" fmla="*/ 266699 h 534988"/>
                  <a:gd name="connsiteX28" fmla="*/ 270668 w 541337"/>
                  <a:gd name="connsiteY28" fmla="*/ 179386 h 534988"/>
                  <a:gd name="connsiteX29" fmla="*/ 271461 w 541337"/>
                  <a:gd name="connsiteY29" fmla="*/ 152400 h 534988"/>
                  <a:gd name="connsiteX30" fmla="*/ 157161 w 541337"/>
                  <a:gd name="connsiteY30" fmla="*/ 267494 h 534988"/>
                  <a:gd name="connsiteX31" fmla="*/ 271461 w 541337"/>
                  <a:gd name="connsiteY31" fmla="*/ 382588 h 534988"/>
                  <a:gd name="connsiteX32" fmla="*/ 385761 w 541337"/>
                  <a:gd name="connsiteY32" fmla="*/ 267494 h 534988"/>
                  <a:gd name="connsiteX33" fmla="*/ 271461 w 541337"/>
                  <a:gd name="connsiteY33" fmla="*/ 152400 h 534988"/>
                  <a:gd name="connsiteX34" fmla="*/ 434975 w 541337"/>
                  <a:gd name="connsiteY34" fmla="*/ 85725 h 534988"/>
                  <a:gd name="connsiteX35" fmla="*/ 422275 w 541337"/>
                  <a:gd name="connsiteY35" fmla="*/ 98425 h 534988"/>
                  <a:gd name="connsiteX36" fmla="*/ 434975 w 541337"/>
                  <a:gd name="connsiteY36" fmla="*/ 111125 h 534988"/>
                  <a:gd name="connsiteX37" fmla="*/ 447675 w 541337"/>
                  <a:gd name="connsiteY37" fmla="*/ 98425 h 534988"/>
                  <a:gd name="connsiteX38" fmla="*/ 434975 w 541337"/>
                  <a:gd name="connsiteY38" fmla="*/ 85725 h 534988"/>
                  <a:gd name="connsiteX39" fmla="*/ 434975 w 541337"/>
                  <a:gd name="connsiteY39" fmla="*/ 42862 h 534988"/>
                  <a:gd name="connsiteX40" fmla="*/ 488950 w 541337"/>
                  <a:gd name="connsiteY40" fmla="*/ 97631 h 534988"/>
                  <a:gd name="connsiteX41" fmla="*/ 434975 w 541337"/>
                  <a:gd name="connsiteY41" fmla="*/ 152400 h 534988"/>
                  <a:gd name="connsiteX42" fmla="*/ 381000 w 541337"/>
                  <a:gd name="connsiteY42" fmla="*/ 97631 h 534988"/>
                  <a:gd name="connsiteX43" fmla="*/ 434975 w 541337"/>
                  <a:gd name="connsiteY43" fmla="*/ 42862 h 534988"/>
                  <a:gd name="connsiteX44" fmla="*/ 176212 w 541337"/>
                  <a:gd name="connsiteY44" fmla="*/ 42862 h 534988"/>
                  <a:gd name="connsiteX45" fmla="*/ 176212 w 541337"/>
                  <a:gd name="connsiteY45" fmla="*/ 70038 h 534988"/>
                  <a:gd name="connsiteX46" fmla="*/ 176212 w 541337"/>
                  <a:gd name="connsiteY46" fmla="*/ 141605 h 534988"/>
                  <a:gd name="connsiteX47" fmla="*/ 176212 w 541337"/>
                  <a:gd name="connsiteY47" fmla="*/ 147131 h 534988"/>
                  <a:gd name="connsiteX48" fmla="*/ 211389 w 541337"/>
                  <a:gd name="connsiteY48" fmla="*/ 123413 h 534988"/>
                  <a:gd name="connsiteX49" fmla="*/ 272255 w 541337"/>
                  <a:gd name="connsiteY49" fmla="*/ 111125 h 534988"/>
                  <a:gd name="connsiteX50" fmla="*/ 333121 w 541337"/>
                  <a:gd name="connsiteY50" fmla="*/ 123413 h 534988"/>
                  <a:gd name="connsiteX51" fmla="*/ 376114 w 541337"/>
                  <a:gd name="connsiteY51" fmla="*/ 152400 h 534988"/>
                  <a:gd name="connsiteX52" fmla="*/ 419623 w 541337"/>
                  <a:gd name="connsiteY52" fmla="*/ 152400 h 534988"/>
                  <a:gd name="connsiteX53" fmla="*/ 434975 w 541337"/>
                  <a:gd name="connsiteY53" fmla="*/ 152400 h 534988"/>
                  <a:gd name="connsiteX54" fmla="*/ 456674 w 541337"/>
                  <a:gd name="connsiteY54" fmla="*/ 152400 h 534988"/>
                  <a:gd name="connsiteX55" fmla="*/ 483222 w 541337"/>
                  <a:gd name="connsiteY55" fmla="*/ 152400 h 534988"/>
                  <a:gd name="connsiteX56" fmla="*/ 500062 w 541337"/>
                  <a:gd name="connsiteY56" fmla="*/ 152400 h 534988"/>
                  <a:gd name="connsiteX57" fmla="*/ 500062 w 541337"/>
                  <a:gd name="connsiteY57" fmla="*/ 124900 h 534988"/>
                  <a:gd name="connsiteX58" fmla="*/ 500062 w 541337"/>
                  <a:gd name="connsiteY58" fmla="*/ 77633 h 534988"/>
                  <a:gd name="connsiteX59" fmla="*/ 463051 w 541337"/>
                  <a:gd name="connsiteY59" fmla="*/ 42862 h 534988"/>
                  <a:gd name="connsiteX60" fmla="*/ 434975 w 541337"/>
                  <a:gd name="connsiteY60" fmla="*/ 42862 h 534988"/>
                  <a:gd name="connsiteX61" fmla="*/ 77696 w 541337"/>
                  <a:gd name="connsiteY61" fmla="*/ 42862 h 534988"/>
                  <a:gd name="connsiteX62" fmla="*/ 42862 w 541337"/>
                  <a:gd name="connsiteY62" fmla="*/ 77633 h 534988"/>
                  <a:gd name="connsiteX63" fmla="*/ 42862 w 541337"/>
                  <a:gd name="connsiteY63" fmla="*/ 144194 h 534988"/>
                  <a:gd name="connsiteX64" fmla="*/ 42862 w 541337"/>
                  <a:gd name="connsiteY64" fmla="*/ 152400 h 534988"/>
                  <a:gd name="connsiteX65" fmla="*/ 72537 w 541337"/>
                  <a:gd name="connsiteY65" fmla="*/ 152400 h 534988"/>
                  <a:gd name="connsiteX66" fmla="*/ 108737 w 541337"/>
                  <a:gd name="connsiteY66" fmla="*/ 152400 h 534988"/>
                  <a:gd name="connsiteX67" fmla="*/ 133625 w 541337"/>
                  <a:gd name="connsiteY67" fmla="*/ 152400 h 534988"/>
                  <a:gd name="connsiteX68" fmla="*/ 133350 w 541337"/>
                  <a:gd name="connsiteY68" fmla="*/ 151829 h 534988"/>
                  <a:gd name="connsiteX69" fmla="*/ 133350 w 541337"/>
                  <a:gd name="connsiteY69" fmla="*/ 45000 h 534988"/>
                  <a:gd name="connsiteX70" fmla="*/ 133350 w 541337"/>
                  <a:gd name="connsiteY70" fmla="*/ 42862 h 534988"/>
                  <a:gd name="connsiteX71" fmla="*/ 78266 w 541337"/>
                  <a:gd name="connsiteY71" fmla="*/ 0 h 534988"/>
                  <a:gd name="connsiteX72" fmla="*/ 463071 w 541337"/>
                  <a:gd name="connsiteY72" fmla="*/ 0 h 534988"/>
                  <a:gd name="connsiteX73" fmla="*/ 541337 w 541337"/>
                  <a:gd name="connsiteY73" fmla="*/ 78291 h 534988"/>
                  <a:gd name="connsiteX74" fmla="*/ 541337 w 541337"/>
                  <a:gd name="connsiteY74" fmla="*/ 144900 h 534988"/>
                  <a:gd name="connsiteX75" fmla="*/ 541337 w 541337"/>
                  <a:gd name="connsiteY75" fmla="*/ 173832 h 534988"/>
                  <a:gd name="connsiteX76" fmla="*/ 541337 w 541337"/>
                  <a:gd name="connsiteY76" fmla="*/ 203195 h 534988"/>
                  <a:gd name="connsiteX77" fmla="*/ 541337 w 541337"/>
                  <a:gd name="connsiteY77" fmla="*/ 456697 h 534988"/>
                  <a:gd name="connsiteX78" fmla="*/ 463071 w 541337"/>
                  <a:gd name="connsiteY78" fmla="*/ 534988 h 534988"/>
                  <a:gd name="connsiteX79" fmla="*/ 78266 w 541337"/>
                  <a:gd name="connsiteY79" fmla="*/ 534988 h 534988"/>
                  <a:gd name="connsiteX80" fmla="*/ 0 w 541337"/>
                  <a:gd name="connsiteY80" fmla="*/ 456697 h 534988"/>
                  <a:gd name="connsiteX81" fmla="*/ 0 w 541337"/>
                  <a:gd name="connsiteY81" fmla="*/ 78291 h 534988"/>
                  <a:gd name="connsiteX82" fmla="*/ 78266 w 541337"/>
                  <a:gd name="connsiteY82" fmla="*/ 0 h 5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1337" h="534988">
                    <a:moveTo>
                      <a:pt x="270668" y="223836"/>
                    </a:moveTo>
                    <a:cubicBezTo>
                      <a:pt x="245680" y="223836"/>
                      <a:pt x="225424" y="243382"/>
                      <a:pt x="225424" y="267493"/>
                    </a:cubicBezTo>
                    <a:cubicBezTo>
                      <a:pt x="225424" y="291604"/>
                      <a:pt x="245680" y="311150"/>
                      <a:pt x="270668" y="311150"/>
                    </a:cubicBezTo>
                    <a:cubicBezTo>
                      <a:pt x="295656" y="311150"/>
                      <a:pt x="315912" y="291604"/>
                      <a:pt x="315912" y="267493"/>
                    </a:cubicBezTo>
                    <a:cubicBezTo>
                      <a:pt x="315912" y="243382"/>
                      <a:pt x="295656" y="223836"/>
                      <a:pt x="270668" y="223836"/>
                    </a:cubicBezTo>
                    <a:close/>
                    <a:moveTo>
                      <a:pt x="42862" y="195263"/>
                    </a:moveTo>
                    <a:lnTo>
                      <a:pt x="42862" y="202446"/>
                    </a:lnTo>
                    <a:cubicBezTo>
                      <a:pt x="42862" y="455766"/>
                      <a:pt x="42862" y="455766"/>
                      <a:pt x="42862" y="455766"/>
                    </a:cubicBezTo>
                    <a:cubicBezTo>
                      <a:pt x="42862" y="475325"/>
                      <a:pt x="58102" y="490537"/>
                      <a:pt x="77696" y="490537"/>
                    </a:cubicBezTo>
                    <a:cubicBezTo>
                      <a:pt x="463051" y="490537"/>
                      <a:pt x="463051" y="490537"/>
                      <a:pt x="463051" y="490537"/>
                    </a:cubicBezTo>
                    <a:cubicBezTo>
                      <a:pt x="482645" y="490537"/>
                      <a:pt x="500062" y="475325"/>
                      <a:pt x="500062" y="455766"/>
                    </a:cubicBezTo>
                    <a:cubicBezTo>
                      <a:pt x="500062" y="361233"/>
                      <a:pt x="500062" y="290333"/>
                      <a:pt x="500062" y="237158"/>
                    </a:cubicBezTo>
                    <a:lnTo>
                      <a:pt x="500062" y="195263"/>
                    </a:lnTo>
                    <a:lnTo>
                      <a:pt x="470386" y="195263"/>
                    </a:lnTo>
                    <a:cubicBezTo>
                      <a:pt x="456090" y="195263"/>
                      <a:pt x="443838" y="195263"/>
                      <a:pt x="433335" y="195263"/>
                    </a:cubicBezTo>
                    <a:lnTo>
                      <a:pt x="408673" y="195263"/>
                    </a:lnTo>
                    <a:lnTo>
                      <a:pt x="416336" y="206628"/>
                    </a:lnTo>
                    <a:cubicBezTo>
                      <a:pt x="424248" y="225336"/>
                      <a:pt x="428624" y="245904"/>
                      <a:pt x="428624" y="267494"/>
                    </a:cubicBezTo>
                    <a:cubicBezTo>
                      <a:pt x="428624" y="353854"/>
                      <a:pt x="358615" y="423863"/>
                      <a:pt x="272255" y="423863"/>
                    </a:cubicBezTo>
                    <a:cubicBezTo>
                      <a:pt x="185895" y="423863"/>
                      <a:pt x="115886" y="353854"/>
                      <a:pt x="115886" y="267494"/>
                    </a:cubicBezTo>
                    <a:cubicBezTo>
                      <a:pt x="115886" y="245904"/>
                      <a:pt x="120262" y="225336"/>
                      <a:pt x="128174" y="206628"/>
                    </a:cubicBezTo>
                    <a:lnTo>
                      <a:pt x="135837" y="195263"/>
                    </a:lnTo>
                    <a:lnTo>
                      <a:pt x="122134" y="195263"/>
                    </a:lnTo>
                    <a:cubicBezTo>
                      <a:pt x="94200" y="195263"/>
                      <a:pt x="74248" y="195263"/>
                      <a:pt x="59996" y="195263"/>
                    </a:cubicBezTo>
                    <a:close/>
                    <a:moveTo>
                      <a:pt x="270668" y="179386"/>
                    </a:moveTo>
                    <a:cubicBezTo>
                      <a:pt x="318451" y="179386"/>
                      <a:pt x="357187" y="218477"/>
                      <a:pt x="357187" y="266699"/>
                    </a:cubicBezTo>
                    <a:cubicBezTo>
                      <a:pt x="357187" y="314921"/>
                      <a:pt x="318451" y="354012"/>
                      <a:pt x="270668" y="354012"/>
                    </a:cubicBezTo>
                    <a:cubicBezTo>
                      <a:pt x="222885" y="354012"/>
                      <a:pt x="184149" y="314921"/>
                      <a:pt x="184149" y="266699"/>
                    </a:cubicBezTo>
                    <a:cubicBezTo>
                      <a:pt x="184149" y="218477"/>
                      <a:pt x="222885" y="179386"/>
                      <a:pt x="270668" y="179386"/>
                    </a:cubicBezTo>
                    <a:close/>
                    <a:moveTo>
                      <a:pt x="271461" y="152400"/>
                    </a:moveTo>
                    <a:cubicBezTo>
                      <a:pt x="208335" y="152400"/>
                      <a:pt x="157161" y="203929"/>
                      <a:pt x="157161" y="267494"/>
                    </a:cubicBezTo>
                    <a:cubicBezTo>
                      <a:pt x="157161" y="331059"/>
                      <a:pt x="208335" y="382588"/>
                      <a:pt x="271461" y="382588"/>
                    </a:cubicBezTo>
                    <a:cubicBezTo>
                      <a:pt x="334587" y="382588"/>
                      <a:pt x="385761" y="331059"/>
                      <a:pt x="385761" y="267494"/>
                    </a:cubicBezTo>
                    <a:cubicBezTo>
                      <a:pt x="385761" y="203929"/>
                      <a:pt x="334587" y="152400"/>
                      <a:pt x="271461" y="152400"/>
                    </a:cubicBezTo>
                    <a:close/>
                    <a:moveTo>
                      <a:pt x="434975" y="85725"/>
                    </a:moveTo>
                    <a:cubicBezTo>
                      <a:pt x="427961" y="85725"/>
                      <a:pt x="422275" y="91411"/>
                      <a:pt x="422275" y="98425"/>
                    </a:cubicBezTo>
                    <a:cubicBezTo>
                      <a:pt x="422275" y="105439"/>
                      <a:pt x="427961" y="111125"/>
                      <a:pt x="434975" y="111125"/>
                    </a:cubicBezTo>
                    <a:cubicBezTo>
                      <a:pt x="441989" y="111125"/>
                      <a:pt x="447675" y="105439"/>
                      <a:pt x="447675" y="98425"/>
                    </a:cubicBezTo>
                    <a:cubicBezTo>
                      <a:pt x="447675" y="91411"/>
                      <a:pt x="441989" y="85725"/>
                      <a:pt x="434975" y="85725"/>
                    </a:cubicBezTo>
                    <a:close/>
                    <a:moveTo>
                      <a:pt x="434975" y="42862"/>
                    </a:moveTo>
                    <a:cubicBezTo>
                      <a:pt x="464785" y="42862"/>
                      <a:pt x="488950" y="67383"/>
                      <a:pt x="488950" y="97631"/>
                    </a:cubicBezTo>
                    <a:cubicBezTo>
                      <a:pt x="488950" y="127879"/>
                      <a:pt x="464785" y="152400"/>
                      <a:pt x="434975" y="152400"/>
                    </a:cubicBezTo>
                    <a:cubicBezTo>
                      <a:pt x="405165" y="152400"/>
                      <a:pt x="381000" y="127879"/>
                      <a:pt x="381000" y="97631"/>
                    </a:cubicBezTo>
                    <a:cubicBezTo>
                      <a:pt x="381000" y="67383"/>
                      <a:pt x="405165" y="42862"/>
                      <a:pt x="434975" y="42862"/>
                    </a:cubicBezTo>
                    <a:close/>
                    <a:moveTo>
                      <a:pt x="176212" y="42862"/>
                    </a:moveTo>
                    <a:lnTo>
                      <a:pt x="176212" y="70038"/>
                    </a:lnTo>
                    <a:cubicBezTo>
                      <a:pt x="176212" y="110933"/>
                      <a:pt x="176212" y="131381"/>
                      <a:pt x="176212" y="141605"/>
                    </a:cubicBezTo>
                    <a:lnTo>
                      <a:pt x="176212" y="147131"/>
                    </a:lnTo>
                    <a:lnTo>
                      <a:pt x="211389" y="123413"/>
                    </a:lnTo>
                    <a:cubicBezTo>
                      <a:pt x="230097" y="115501"/>
                      <a:pt x="250665" y="111125"/>
                      <a:pt x="272255" y="111125"/>
                    </a:cubicBezTo>
                    <a:cubicBezTo>
                      <a:pt x="293845" y="111125"/>
                      <a:pt x="314413" y="115501"/>
                      <a:pt x="333121" y="123413"/>
                    </a:cubicBezTo>
                    <a:lnTo>
                      <a:pt x="376114" y="152400"/>
                    </a:lnTo>
                    <a:lnTo>
                      <a:pt x="419623" y="152400"/>
                    </a:lnTo>
                    <a:lnTo>
                      <a:pt x="434975" y="152400"/>
                    </a:lnTo>
                    <a:lnTo>
                      <a:pt x="456674" y="152400"/>
                    </a:lnTo>
                    <a:cubicBezTo>
                      <a:pt x="467176" y="152400"/>
                      <a:pt x="475929" y="152400"/>
                      <a:pt x="483222" y="152400"/>
                    </a:cubicBezTo>
                    <a:lnTo>
                      <a:pt x="500062" y="152400"/>
                    </a:lnTo>
                    <a:lnTo>
                      <a:pt x="500062" y="124900"/>
                    </a:lnTo>
                    <a:cubicBezTo>
                      <a:pt x="500062" y="77633"/>
                      <a:pt x="500062" y="77633"/>
                      <a:pt x="500062" y="77633"/>
                    </a:cubicBezTo>
                    <a:cubicBezTo>
                      <a:pt x="500062" y="58074"/>
                      <a:pt x="482645" y="42862"/>
                      <a:pt x="463051" y="42862"/>
                    </a:cubicBezTo>
                    <a:lnTo>
                      <a:pt x="434975" y="42862"/>
                    </a:lnTo>
                    <a:close/>
                    <a:moveTo>
                      <a:pt x="77696" y="42862"/>
                    </a:moveTo>
                    <a:cubicBezTo>
                      <a:pt x="58102" y="42862"/>
                      <a:pt x="42862" y="58074"/>
                      <a:pt x="42862" y="77633"/>
                    </a:cubicBezTo>
                    <a:cubicBezTo>
                      <a:pt x="42862" y="101266"/>
                      <a:pt x="42862" y="123423"/>
                      <a:pt x="42862" y="144194"/>
                    </a:cubicBezTo>
                    <a:lnTo>
                      <a:pt x="42862" y="152400"/>
                    </a:lnTo>
                    <a:lnTo>
                      <a:pt x="72537" y="152400"/>
                    </a:lnTo>
                    <a:cubicBezTo>
                      <a:pt x="86504" y="152400"/>
                      <a:pt x="98476" y="152400"/>
                      <a:pt x="108737" y="152400"/>
                    </a:cubicBezTo>
                    <a:lnTo>
                      <a:pt x="133625" y="152400"/>
                    </a:lnTo>
                    <a:lnTo>
                      <a:pt x="133350" y="151829"/>
                    </a:lnTo>
                    <a:cubicBezTo>
                      <a:pt x="133350" y="90784"/>
                      <a:pt x="133350" y="60261"/>
                      <a:pt x="133350" y="45000"/>
                    </a:cubicBezTo>
                    <a:lnTo>
                      <a:pt x="133350" y="42862"/>
                    </a:lnTo>
                    <a:close/>
                    <a:moveTo>
                      <a:pt x="78266" y="0"/>
                    </a:moveTo>
                    <a:cubicBezTo>
                      <a:pt x="463071" y="0"/>
                      <a:pt x="463071" y="0"/>
                      <a:pt x="463071" y="0"/>
                    </a:cubicBezTo>
                    <a:cubicBezTo>
                      <a:pt x="506552" y="0"/>
                      <a:pt x="541337" y="34796"/>
                      <a:pt x="541337" y="78291"/>
                    </a:cubicBezTo>
                    <a:cubicBezTo>
                      <a:pt x="541337" y="101941"/>
                      <a:pt x="541337" y="124114"/>
                      <a:pt x="541337" y="144900"/>
                    </a:cubicBezTo>
                    <a:lnTo>
                      <a:pt x="541337" y="173832"/>
                    </a:lnTo>
                    <a:lnTo>
                      <a:pt x="541337" y="203195"/>
                    </a:lnTo>
                    <a:cubicBezTo>
                      <a:pt x="541337" y="456697"/>
                      <a:pt x="541337" y="456697"/>
                      <a:pt x="541337" y="456697"/>
                    </a:cubicBezTo>
                    <a:cubicBezTo>
                      <a:pt x="541337" y="500192"/>
                      <a:pt x="506552" y="534988"/>
                      <a:pt x="463071" y="534988"/>
                    </a:cubicBezTo>
                    <a:cubicBezTo>
                      <a:pt x="78266" y="534988"/>
                      <a:pt x="78266" y="534988"/>
                      <a:pt x="78266" y="534988"/>
                    </a:cubicBezTo>
                    <a:cubicBezTo>
                      <a:pt x="34785" y="534988"/>
                      <a:pt x="0" y="500192"/>
                      <a:pt x="0" y="456697"/>
                    </a:cubicBezTo>
                    <a:cubicBezTo>
                      <a:pt x="0" y="78291"/>
                      <a:pt x="0" y="78291"/>
                      <a:pt x="0" y="78291"/>
                    </a:cubicBezTo>
                    <a:cubicBezTo>
                      <a:pt x="0" y="34796"/>
                      <a:pt x="34785" y="0"/>
                      <a:pt x="78266" y="0"/>
                    </a:cubicBezTo>
                    <a:close/>
                  </a:path>
                </a:pathLst>
              </a:custGeom>
              <a:solidFill>
                <a:srgbClr val="0072C6"/>
              </a:solidFill>
              <a:ln w="190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50" name="Freeform 49"/>
              <p:cNvSpPr>
                <a:spLocks/>
              </p:cNvSpPr>
              <p:nvPr/>
            </p:nvSpPr>
            <p:spPr bwMode="auto">
              <a:xfrm>
                <a:off x="2415352" y="3204967"/>
                <a:ext cx="314160" cy="300009"/>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51" name="Freeform 50"/>
              <p:cNvSpPr>
                <a:spLocks/>
              </p:cNvSpPr>
              <p:nvPr/>
            </p:nvSpPr>
            <p:spPr bwMode="auto">
              <a:xfrm>
                <a:off x="2196277" y="3728316"/>
                <a:ext cx="468812" cy="471985"/>
              </a:xfrm>
              <a:custGeom>
                <a:avLst/>
                <a:gdLst>
                  <a:gd name="connsiteX0" fmla="*/ 290954 w 468812"/>
                  <a:gd name="connsiteY0" fmla="*/ 32247 h 471985"/>
                  <a:gd name="connsiteX1" fmla="*/ 30163 w 468812"/>
                  <a:gd name="connsiteY1" fmla="*/ 293039 h 471985"/>
                  <a:gd name="connsiteX2" fmla="*/ 56242 w 468812"/>
                  <a:gd name="connsiteY2" fmla="*/ 319118 h 471985"/>
                  <a:gd name="connsiteX3" fmla="*/ 143173 w 468812"/>
                  <a:gd name="connsiteY3" fmla="*/ 332157 h 471985"/>
                  <a:gd name="connsiteX4" fmla="*/ 149692 w 468812"/>
                  <a:gd name="connsiteY4" fmla="*/ 414741 h 471985"/>
                  <a:gd name="connsiteX5" fmla="*/ 175772 w 468812"/>
                  <a:gd name="connsiteY5" fmla="*/ 438647 h 471985"/>
                  <a:gd name="connsiteX6" fmla="*/ 436563 w 468812"/>
                  <a:gd name="connsiteY6" fmla="*/ 180029 h 471985"/>
                  <a:gd name="connsiteX7" fmla="*/ 414830 w 468812"/>
                  <a:gd name="connsiteY7" fmla="*/ 156123 h 471985"/>
                  <a:gd name="connsiteX8" fmla="*/ 327900 w 468812"/>
                  <a:gd name="connsiteY8" fmla="*/ 140910 h 471985"/>
                  <a:gd name="connsiteX9" fmla="*/ 317034 w 468812"/>
                  <a:gd name="connsiteY9" fmla="*/ 58326 h 471985"/>
                  <a:gd name="connsiteX10" fmla="*/ 290954 w 468812"/>
                  <a:gd name="connsiteY10" fmla="*/ 32247 h 471985"/>
                  <a:gd name="connsiteX11" fmla="*/ 282810 w 468812"/>
                  <a:gd name="connsiteY11" fmla="*/ 3270 h 471985"/>
                  <a:gd name="connsiteX12" fmla="*/ 302389 w 468812"/>
                  <a:gd name="connsiteY12" fmla="*/ 3270 h 471985"/>
                  <a:gd name="connsiteX13" fmla="*/ 343723 w 468812"/>
                  <a:gd name="connsiteY13" fmla="*/ 44692 h 471985"/>
                  <a:gd name="connsiteX14" fmla="*/ 345899 w 468812"/>
                  <a:gd name="connsiteY14" fmla="*/ 62132 h 471985"/>
                  <a:gd name="connsiteX15" fmla="*/ 345899 w 468812"/>
                  <a:gd name="connsiteY15" fmla="*/ 120994 h 471985"/>
                  <a:gd name="connsiteX16" fmla="*/ 406812 w 468812"/>
                  <a:gd name="connsiteY16" fmla="*/ 129714 h 471985"/>
                  <a:gd name="connsiteX17" fmla="*/ 426391 w 468812"/>
                  <a:gd name="connsiteY17" fmla="*/ 129714 h 471985"/>
                  <a:gd name="connsiteX18" fmla="*/ 465549 w 468812"/>
                  <a:gd name="connsiteY18" fmla="*/ 171136 h 471985"/>
                  <a:gd name="connsiteX19" fmla="*/ 465549 w 468812"/>
                  <a:gd name="connsiteY19" fmla="*/ 188576 h 471985"/>
                  <a:gd name="connsiteX20" fmla="*/ 184914 w 468812"/>
                  <a:gd name="connsiteY20" fmla="*/ 467625 h 471985"/>
                  <a:gd name="connsiteX21" fmla="*/ 176212 w 468812"/>
                  <a:gd name="connsiteY21" fmla="*/ 471985 h 471985"/>
                  <a:gd name="connsiteX22" fmla="*/ 165335 w 468812"/>
                  <a:gd name="connsiteY22" fmla="*/ 467625 h 471985"/>
                  <a:gd name="connsiteX23" fmla="*/ 124001 w 468812"/>
                  <a:gd name="connsiteY23" fmla="*/ 424024 h 471985"/>
                  <a:gd name="connsiteX24" fmla="*/ 124001 w 468812"/>
                  <a:gd name="connsiteY24" fmla="*/ 406583 h 471985"/>
                  <a:gd name="connsiteX25" fmla="*/ 121826 w 468812"/>
                  <a:gd name="connsiteY25" fmla="*/ 349901 h 471985"/>
                  <a:gd name="connsiteX26" fmla="*/ 60913 w 468812"/>
                  <a:gd name="connsiteY26" fmla="*/ 345541 h 471985"/>
                  <a:gd name="connsiteX27" fmla="*/ 43509 w 468812"/>
                  <a:gd name="connsiteY27" fmla="*/ 345541 h 471985"/>
                  <a:gd name="connsiteX28" fmla="*/ 2175 w 468812"/>
                  <a:gd name="connsiteY28" fmla="*/ 301940 h 471985"/>
                  <a:gd name="connsiteX29" fmla="*/ 0 w 468812"/>
                  <a:gd name="connsiteY29" fmla="*/ 293219 h 471985"/>
                  <a:gd name="connsiteX30" fmla="*/ 2175 w 468812"/>
                  <a:gd name="connsiteY30" fmla="*/ 284499 h 471985"/>
                  <a:gd name="connsiteX31" fmla="*/ 282810 w 468812"/>
                  <a:gd name="connsiteY31" fmla="*/ 3270 h 47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812" h="471985">
                    <a:moveTo>
                      <a:pt x="290954" y="32247"/>
                    </a:moveTo>
                    <a:cubicBezTo>
                      <a:pt x="30163" y="293039"/>
                      <a:pt x="30163" y="293039"/>
                      <a:pt x="30163" y="293039"/>
                    </a:cubicBezTo>
                    <a:cubicBezTo>
                      <a:pt x="56242" y="319118"/>
                      <a:pt x="56242" y="319118"/>
                      <a:pt x="56242" y="319118"/>
                    </a:cubicBezTo>
                    <a:cubicBezTo>
                      <a:pt x="77975" y="306078"/>
                      <a:pt x="114920" y="299558"/>
                      <a:pt x="143173" y="332157"/>
                    </a:cubicBezTo>
                    <a:cubicBezTo>
                      <a:pt x="169252" y="364756"/>
                      <a:pt x="160559" y="395182"/>
                      <a:pt x="149692" y="414741"/>
                    </a:cubicBezTo>
                    <a:cubicBezTo>
                      <a:pt x="175772" y="438647"/>
                      <a:pt x="175772" y="438647"/>
                      <a:pt x="175772" y="438647"/>
                    </a:cubicBezTo>
                    <a:cubicBezTo>
                      <a:pt x="436563" y="180029"/>
                      <a:pt x="436563" y="180029"/>
                      <a:pt x="436563" y="180029"/>
                    </a:cubicBezTo>
                    <a:cubicBezTo>
                      <a:pt x="414830" y="156123"/>
                      <a:pt x="414830" y="156123"/>
                      <a:pt x="414830" y="156123"/>
                    </a:cubicBezTo>
                    <a:cubicBezTo>
                      <a:pt x="395271" y="166989"/>
                      <a:pt x="362672" y="173509"/>
                      <a:pt x="327900" y="140910"/>
                    </a:cubicBezTo>
                    <a:cubicBezTo>
                      <a:pt x="301821" y="112658"/>
                      <a:pt x="308341" y="77886"/>
                      <a:pt x="317034" y="58326"/>
                    </a:cubicBezTo>
                    <a:cubicBezTo>
                      <a:pt x="290954" y="32247"/>
                      <a:pt x="290954" y="32247"/>
                      <a:pt x="290954" y="32247"/>
                    </a:cubicBezTo>
                    <a:close/>
                    <a:moveTo>
                      <a:pt x="282810" y="3270"/>
                    </a:moveTo>
                    <a:cubicBezTo>
                      <a:pt x="287161" y="-1090"/>
                      <a:pt x="295863" y="-1090"/>
                      <a:pt x="302389" y="3270"/>
                    </a:cubicBezTo>
                    <a:cubicBezTo>
                      <a:pt x="343723" y="44692"/>
                      <a:pt x="343723" y="44692"/>
                      <a:pt x="343723" y="44692"/>
                    </a:cubicBezTo>
                    <a:cubicBezTo>
                      <a:pt x="348074" y="49052"/>
                      <a:pt x="348074" y="57772"/>
                      <a:pt x="345899" y="62132"/>
                    </a:cubicBezTo>
                    <a:cubicBezTo>
                      <a:pt x="343723" y="64312"/>
                      <a:pt x="321969" y="97013"/>
                      <a:pt x="345899" y="120994"/>
                    </a:cubicBezTo>
                    <a:cubicBezTo>
                      <a:pt x="380706" y="151515"/>
                      <a:pt x="404636" y="131894"/>
                      <a:pt x="406812" y="129714"/>
                    </a:cubicBezTo>
                    <a:cubicBezTo>
                      <a:pt x="413338" y="123174"/>
                      <a:pt x="422040" y="125354"/>
                      <a:pt x="426391" y="129714"/>
                    </a:cubicBezTo>
                    <a:cubicBezTo>
                      <a:pt x="465549" y="171136"/>
                      <a:pt x="465549" y="171136"/>
                      <a:pt x="465549" y="171136"/>
                    </a:cubicBezTo>
                    <a:cubicBezTo>
                      <a:pt x="469900" y="175496"/>
                      <a:pt x="469900" y="184216"/>
                      <a:pt x="465549" y="188576"/>
                    </a:cubicBezTo>
                    <a:cubicBezTo>
                      <a:pt x="184914" y="467625"/>
                      <a:pt x="184914" y="467625"/>
                      <a:pt x="184914" y="467625"/>
                    </a:cubicBezTo>
                    <a:cubicBezTo>
                      <a:pt x="182739" y="469805"/>
                      <a:pt x="178388" y="471985"/>
                      <a:pt x="176212" y="471985"/>
                    </a:cubicBezTo>
                    <a:cubicBezTo>
                      <a:pt x="171862" y="471985"/>
                      <a:pt x="167511" y="469805"/>
                      <a:pt x="165335" y="467625"/>
                    </a:cubicBezTo>
                    <a:cubicBezTo>
                      <a:pt x="124001" y="424024"/>
                      <a:pt x="124001" y="424024"/>
                      <a:pt x="124001" y="424024"/>
                    </a:cubicBezTo>
                    <a:cubicBezTo>
                      <a:pt x="119650" y="419663"/>
                      <a:pt x="119650" y="410943"/>
                      <a:pt x="124001" y="406583"/>
                    </a:cubicBezTo>
                    <a:cubicBezTo>
                      <a:pt x="126177" y="404403"/>
                      <a:pt x="147931" y="380422"/>
                      <a:pt x="121826" y="349901"/>
                    </a:cubicBezTo>
                    <a:cubicBezTo>
                      <a:pt x="97896" y="319380"/>
                      <a:pt x="63088" y="345541"/>
                      <a:pt x="60913" y="345541"/>
                    </a:cubicBezTo>
                    <a:cubicBezTo>
                      <a:pt x="56562" y="349901"/>
                      <a:pt x="50036" y="349901"/>
                      <a:pt x="43509" y="345541"/>
                    </a:cubicBezTo>
                    <a:cubicBezTo>
                      <a:pt x="2175" y="301940"/>
                      <a:pt x="2175" y="301940"/>
                      <a:pt x="2175" y="301940"/>
                    </a:cubicBezTo>
                    <a:cubicBezTo>
                      <a:pt x="0" y="299760"/>
                      <a:pt x="0" y="297580"/>
                      <a:pt x="0" y="293219"/>
                    </a:cubicBezTo>
                    <a:cubicBezTo>
                      <a:pt x="0" y="291039"/>
                      <a:pt x="0" y="286679"/>
                      <a:pt x="2175" y="284499"/>
                    </a:cubicBezTo>
                    <a:cubicBezTo>
                      <a:pt x="282810" y="3270"/>
                      <a:pt x="282810" y="3270"/>
                      <a:pt x="282810" y="327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52" name="Freeform 77"/>
              <p:cNvSpPr>
                <a:spLocks/>
              </p:cNvSpPr>
              <p:nvPr/>
            </p:nvSpPr>
            <p:spPr bwMode="auto">
              <a:xfrm>
                <a:off x="2502665" y="3955826"/>
                <a:ext cx="58737" cy="57150"/>
              </a:xfrm>
              <a:custGeom>
                <a:avLst/>
                <a:gdLst>
                  <a:gd name="T0" fmla="*/ 20 w 27"/>
                  <a:gd name="T1" fmla="*/ 26 h 26"/>
                  <a:gd name="T2" fmla="*/ 16 w 27"/>
                  <a:gd name="T3" fmla="*/ 24 h 26"/>
                  <a:gd name="T4" fmla="*/ 3 w 27"/>
                  <a:gd name="T5" fmla="*/ 11 h 26"/>
                  <a:gd name="T6" fmla="*/ 3 w 27"/>
                  <a:gd name="T7" fmla="*/ 3 h 26"/>
                  <a:gd name="T8" fmla="*/ 11 w 27"/>
                  <a:gd name="T9" fmla="*/ 3 h 26"/>
                  <a:gd name="T10" fmla="*/ 24 w 27"/>
                  <a:gd name="T11" fmla="*/ 16 h 26"/>
                  <a:gd name="T12" fmla="*/ 24 w 27"/>
                  <a:gd name="T13" fmla="*/ 24 h 26"/>
                  <a:gd name="T14" fmla="*/ 20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0" y="26"/>
                    </a:moveTo>
                    <a:cubicBezTo>
                      <a:pt x="19" y="26"/>
                      <a:pt x="17" y="25"/>
                      <a:pt x="16" y="24"/>
                    </a:cubicBezTo>
                    <a:cubicBezTo>
                      <a:pt x="3" y="11"/>
                      <a:pt x="3" y="11"/>
                      <a:pt x="3" y="11"/>
                    </a:cubicBezTo>
                    <a:cubicBezTo>
                      <a:pt x="0" y="9"/>
                      <a:pt x="0" y="5"/>
                      <a:pt x="3" y="3"/>
                    </a:cubicBezTo>
                    <a:cubicBezTo>
                      <a:pt x="5" y="0"/>
                      <a:pt x="9" y="0"/>
                      <a:pt x="11" y="3"/>
                    </a:cubicBezTo>
                    <a:cubicBezTo>
                      <a:pt x="24" y="16"/>
                      <a:pt x="24" y="16"/>
                      <a:pt x="24" y="16"/>
                    </a:cubicBezTo>
                    <a:cubicBezTo>
                      <a:pt x="27" y="18"/>
                      <a:pt x="27" y="22"/>
                      <a:pt x="24" y="24"/>
                    </a:cubicBezTo>
                    <a:cubicBezTo>
                      <a:pt x="23" y="25"/>
                      <a:pt x="22" y="26"/>
                      <a:pt x="20"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78"/>
              <p:cNvSpPr>
                <a:spLocks/>
              </p:cNvSpPr>
              <p:nvPr/>
            </p:nvSpPr>
            <p:spPr bwMode="auto">
              <a:xfrm>
                <a:off x="2462977" y="3914551"/>
                <a:ext cx="57150" cy="57150"/>
              </a:xfrm>
              <a:custGeom>
                <a:avLst/>
                <a:gdLst>
                  <a:gd name="T0" fmla="*/ 19 w 26"/>
                  <a:gd name="T1" fmla="*/ 26 h 26"/>
                  <a:gd name="T2" fmla="*/ 15 w 26"/>
                  <a:gd name="T3" fmla="*/ 24 h 26"/>
                  <a:gd name="T4" fmla="*/ 2 w 26"/>
                  <a:gd name="T5" fmla="*/ 11 h 26"/>
                  <a:gd name="T6" fmla="*/ 2 w 26"/>
                  <a:gd name="T7" fmla="*/ 3 h 26"/>
                  <a:gd name="T8" fmla="*/ 11 w 26"/>
                  <a:gd name="T9" fmla="*/ 3 h 26"/>
                  <a:gd name="T10" fmla="*/ 24 w 26"/>
                  <a:gd name="T11" fmla="*/ 16 h 26"/>
                  <a:gd name="T12" fmla="*/ 24 w 26"/>
                  <a:gd name="T13" fmla="*/ 24 h 26"/>
                  <a:gd name="T14" fmla="*/ 19 w 2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6">
                    <a:moveTo>
                      <a:pt x="19" y="26"/>
                    </a:moveTo>
                    <a:cubicBezTo>
                      <a:pt x="18" y="26"/>
                      <a:pt x="16" y="26"/>
                      <a:pt x="15" y="24"/>
                    </a:cubicBezTo>
                    <a:cubicBezTo>
                      <a:pt x="2" y="11"/>
                      <a:pt x="2" y="11"/>
                      <a:pt x="2" y="11"/>
                    </a:cubicBezTo>
                    <a:cubicBezTo>
                      <a:pt x="0" y="9"/>
                      <a:pt x="0" y="5"/>
                      <a:pt x="2" y="3"/>
                    </a:cubicBezTo>
                    <a:cubicBezTo>
                      <a:pt x="4" y="0"/>
                      <a:pt x="8" y="0"/>
                      <a:pt x="11" y="3"/>
                    </a:cubicBezTo>
                    <a:cubicBezTo>
                      <a:pt x="24" y="16"/>
                      <a:pt x="24" y="16"/>
                      <a:pt x="24" y="16"/>
                    </a:cubicBezTo>
                    <a:cubicBezTo>
                      <a:pt x="26" y="18"/>
                      <a:pt x="26" y="22"/>
                      <a:pt x="24" y="24"/>
                    </a:cubicBezTo>
                    <a:cubicBezTo>
                      <a:pt x="22" y="26"/>
                      <a:pt x="21" y="26"/>
                      <a:pt x="19"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79"/>
              <p:cNvSpPr>
                <a:spLocks/>
              </p:cNvSpPr>
              <p:nvPr/>
            </p:nvSpPr>
            <p:spPr bwMode="auto">
              <a:xfrm>
                <a:off x="2420115" y="3874863"/>
                <a:ext cx="57150" cy="55563"/>
              </a:xfrm>
              <a:custGeom>
                <a:avLst/>
                <a:gdLst>
                  <a:gd name="T0" fmla="*/ 19 w 26"/>
                  <a:gd name="T1" fmla="*/ 25 h 25"/>
                  <a:gd name="T2" fmla="*/ 15 w 26"/>
                  <a:gd name="T3" fmla="*/ 24 h 25"/>
                  <a:gd name="T4" fmla="*/ 2 w 26"/>
                  <a:gd name="T5" fmla="*/ 11 h 25"/>
                  <a:gd name="T6" fmla="*/ 2 w 26"/>
                  <a:gd name="T7" fmla="*/ 2 h 25"/>
                  <a:gd name="T8" fmla="*/ 11 w 26"/>
                  <a:gd name="T9" fmla="*/ 2 h 25"/>
                  <a:gd name="T10" fmla="*/ 24 w 26"/>
                  <a:gd name="T11" fmla="*/ 15 h 25"/>
                  <a:gd name="T12" fmla="*/ 24 w 26"/>
                  <a:gd name="T13" fmla="*/ 24 h 25"/>
                  <a:gd name="T14" fmla="*/ 19 w 26"/>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5">
                    <a:moveTo>
                      <a:pt x="19" y="25"/>
                    </a:moveTo>
                    <a:cubicBezTo>
                      <a:pt x="18" y="25"/>
                      <a:pt x="16" y="25"/>
                      <a:pt x="15" y="24"/>
                    </a:cubicBezTo>
                    <a:cubicBezTo>
                      <a:pt x="2" y="11"/>
                      <a:pt x="2" y="11"/>
                      <a:pt x="2" y="11"/>
                    </a:cubicBezTo>
                    <a:cubicBezTo>
                      <a:pt x="0" y="8"/>
                      <a:pt x="0" y="4"/>
                      <a:pt x="2" y="2"/>
                    </a:cubicBezTo>
                    <a:cubicBezTo>
                      <a:pt x="5" y="0"/>
                      <a:pt x="8" y="0"/>
                      <a:pt x="11" y="2"/>
                    </a:cubicBezTo>
                    <a:cubicBezTo>
                      <a:pt x="24" y="15"/>
                      <a:pt x="24" y="15"/>
                      <a:pt x="24" y="15"/>
                    </a:cubicBezTo>
                    <a:cubicBezTo>
                      <a:pt x="26" y="17"/>
                      <a:pt x="26" y="21"/>
                      <a:pt x="24" y="24"/>
                    </a:cubicBezTo>
                    <a:cubicBezTo>
                      <a:pt x="23" y="25"/>
                      <a:pt x="21" y="25"/>
                      <a:pt x="19" y="2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80"/>
              <p:cNvSpPr>
                <a:spLocks/>
              </p:cNvSpPr>
              <p:nvPr/>
            </p:nvSpPr>
            <p:spPr bwMode="auto">
              <a:xfrm>
                <a:off x="2378840" y="3833588"/>
                <a:ext cx="55562" cy="57150"/>
              </a:xfrm>
              <a:custGeom>
                <a:avLst/>
                <a:gdLst>
                  <a:gd name="T0" fmla="*/ 19 w 26"/>
                  <a:gd name="T1" fmla="*/ 26 h 26"/>
                  <a:gd name="T2" fmla="*/ 15 w 26"/>
                  <a:gd name="T3" fmla="*/ 24 h 26"/>
                  <a:gd name="T4" fmla="*/ 2 w 26"/>
                  <a:gd name="T5" fmla="*/ 11 h 26"/>
                  <a:gd name="T6" fmla="*/ 2 w 26"/>
                  <a:gd name="T7" fmla="*/ 2 h 26"/>
                  <a:gd name="T8" fmla="*/ 10 w 26"/>
                  <a:gd name="T9" fmla="*/ 2 h 26"/>
                  <a:gd name="T10" fmla="*/ 23 w 26"/>
                  <a:gd name="T11" fmla="*/ 15 h 26"/>
                  <a:gd name="T12" fmla="*/ 23 w 26"/>
                  <a:gd name="T13" fmla="*/ 24 h 26"/>
                  <a:gd name="T14" fmla="*/ 19 w 2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6">
                    <a:moveTo>
                      <a:pt x="19" y="26"/>
                    </a:moveTo>
                    <a:cubicBezTo>
                      <a:pt x="18" y="26"/>
                      <a:pt x="16" y="25"/>
                      <a:pt x="15" y="24"/>
                    </a:cubicBezTo>
                    <a:cubicBezTo>
                      <a:pt x="2" y="11"/>
                      <a:pt x="2" y="11"/>
                      <a:pt x="2" y="11"/>
                    </a:cubicBezTo>
                    <a:cubicBezTo>
                      <a:pt x="0" y="8"/>
                      <a:pt x="0" y="5"/>
                      <a:pt x="2" y="2"/>
                    </a:cubicBezTo>
                    <a:cubicBezTo>
                      <a:pt x="4" y="0"/>
                      <a:pt x="8" y="0"/>
                      <a:pt x="10" y="2"/>
                    </a:cubicBezTo>
                    <a:cubicBezTo>
                      <a:pt x="23" y="15"/>
                      <a:pt x="23" y="15"/>
                      <a:pt x="23" y="15"/>
                    </a:cubicBezTo>
                    <a:cubicBezTo>
                      <a:pt x="26" y="18"/>
                      <a:pt x="26" y="21"/>
                      <a:pt x="23" y="24"/>
                    </a:cubicBezTo>
                    <a:cubicBezTo>
                      <a:pt x="22" y="25"/>
                      <a:pt x="21" y="26"/>
                      <a:pt x="19"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p:cNvGrpSpPr/>
              <p:nvPr/>
            </p:nvGrpSpPr>
            <p:grpSpPr>
              <a:xfrm>
                <a:off x="1837748" y="4093497"/>
                <a:ext cx="284166" cy="220428"/>
                <a:chOff x="8964790" y="2459832"/>
                <a:chExt cx="339725" cy="263525"/>
              </a:xfrm>
            </p:grpSpPr>
            <p:sp>
              <p:nvSpPr>
                <p:cNvPr id="57" name="Freeform 85"/>
                <p:cNvSpPr>
                  <a:spLocks/>
                </p:cNvSpPr>
                <p:nvPr/>
              </p:nvSpPr>
              <p:spPr bwMode="auto">
                <a:xfrm>
                  <a:off x="8964790" y="2459832"/>
                  <a:ext cx="287337" cy="182563"/>
                </a:xfrm>
                <a:custGeom>
                  <a:avLst/>
                  <a:gdLst>
                    <a:gd name="T0" fmla="*/ 84 w 132"/>
                    <a:gd name="T1" fmla="*/ 84 h 84"/>
                    <a:gd name="T2" fmla="*/ 47 w 132"/>
                    <a:gd name="T3" fmla="*/ 84 h 84"/>
                    <a:gd name="T4" fmla="*/ 27 w 132"/>
                    <a:gd name="T5" fmla="*/ 12 h 84"/>
                    <a:gd name="T6" fmla="*/ 6 w 132"/>
                    <a:gd name="T7" fmla="*/ 12 h 84"/>
                    <a:gd name="T8" fmla="*/ 0 w 132"/>
                    <a:gd name="T9" fmla="*/ 6 h 84"/>
                    <a:gd name="T10" fmla="*/ 6 w 132"/>
                    <a:gd name="T11" fmla="*/ 0 h 84"/>
                    <a:gd name="T12" fmla="*/ 32 w 132"/>
                    <a:gd name="T13" fmla="*/ 0 h 84"/>
                    <a:gd name="T14" fmla="*/ 38 w 132"/>
                    <a:gd name="T15" fmla="*/ 5 h 84"/>
                    <a:gd name="T16" fmla="*/ 52 w 132"/>
                    <a:gd name="T17" fmla="*/ 72 h 84"/>
                    <a:gd name="T18" fmla="*/ 126 w 132"/>
                    <a:gd name="T19" fmla="*/ 72 h 84"/>
                    <a:gd name="T20" fmla="*/ 126 w 132"/>
                    <a:gd name="T21" fmla="*/ 72 h 84"/>
                    <a:gd name="T22" fmla="*/ 132 w 132"/>
                    <a:gd name="T23" fmla="*/ 78 h 84"/>
                    <a:gd name="T24" fmla="*/ 126 w 132"/>
                    <a:gd name="T25" fmla="*/ 84 h 84"/>
                    <a:gd name="T26" fmla="*/ 84 w 132"/>
                    <a:gd name="T2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84">
                      <a:moveTo>
                        <a:pt x="84" y="84"/>
                      </a:moveTo>
                      <a:cubicBezTo>
                        <a:pt x="48" y="84"/>
                        <a:pt x="47" y="84"/>
                        <a:pt x="47" y="84"/>
                      </a:cubicBezTo>
                      <a:cubicBezTo>
                        <a:pt x="42" y="83"/>
                        <a:pt x="41" y="83"/>
                        <a:pt x="27" y="12"/>
                      </a:cubicBezTo>
                      <a:cubicBezTo>
                        <a:pt x="6" y="12"/>
                        <a:pt x="6" y="12"/>
                        <a:pt x="6" y="12"/>
                      </a:cubicBezTo>
                      <a:cubicBezTo>
                        <a:pt x="3" y="12"/>
                        <a:pt x="0" y="9"/>
                        <a:pt x="0" y="6"/>
                      </a:cubicBezTo>
                      <a:cubicBezTo>
                        <a:pt x="0" y="3"/>
                        <a:pt x="3" y="0"/>
                        <a:pt x="6" y="0"/>
                      </a:cubicBezTo>
                      <a:cubicBezTo>
                        <a:pt x="32" y="0"/>
                        <a:pt x="32" y="0"/>
                        <a:pt x="32" y="0"/>
                      </a:cubicBezTo>
                      <a:cubicBezTo>
                        <a:pt x="35" y="0"/>
                        <a:pt x="37" y="2"/>
                        <a:pt x="38" y="5"/>
                      </a:cubicBezTo>
                      <a:cubicBezTo>
                        <a:pt x="43" y="32"/>
                        <a:pt x="50" y="62"/>
                        <a:pt x="52" y="72"/>
                      </a:cubicBezTo>
                      <a:cubicBezTo>
                        <a:pt x="64" y="72"/>
                        <a:pt x="101" y="72"/>
                        <a:pt x="126" y="72"/>
                      </a:cubicBezTo>
                      <a:cubicBezTo>
                        <a:pt x="126" y="72"/>
                        <a:pt x="126" y="72"/>
                        <a:pt x="126" y="72"/>
                      </a:cubicBezTo>
                      <a:cubicBezTo>
                        <a:pt x="129" y="72"/>
                        <a:pt x="132" y="75"/>
                        <a:pt x="132" y="78"/>
                      </a:cubicBezTo>
                      <a:cubicBezTo>
                        <a:pt x="132" y="81"/>
                        <a:pt x="129" y="84"/>
                        <a:pt x="126" y="84"/>
                      </a:cubicBezTo>
                      <a:cubicBezTo>
                        <a:pt x="108" y="84"/>
                        <a:pt x="95" y="84"/>
                        <a:pt x="84" y="84"/>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8" name="Freeform 86"/>
                <p:cNvSpPr>
                  <a:spLocks/>
                </p:cNvSpPr>
                <p:nvPr/>
              </p:nvSpPr>
              <p:spPr bwMode="auto">
                <a:xfrm>
                  <a:off x="9061628" y="2494757"/>
                  <a:ext cx="242887" cy="25400"/>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3" y="12"/>
                        <a:pt x="0" y="9"/>
                        <a:pt x="0" y="6"/>
                      </a:cubicBezTo>
                      <a:cubicBezTo>
                        <a:pt x="0" y="3"/>
                        <a:pt x="3" y="0"/>
                        <a:pt x="6" y="0"/>
                      </a:cubicBezTo>
                      <a:cubicBezTo>
                        <a:pt x="106" y="0"/>
                        <a:pt x="106" y="0"/>
                        <a:pt x="106" y="0"/>
                      </a:cubicBezTo>
                      <a:cubicBezTo>
                        <a:pt x="109" y="0"/>
                        <a:pt x="112" y="3"/>
                        <a:pt x="112" y="6"/>
                      </a:cubicBezTo>
                      <a:cubicBezTo>
                        <a:pt x="112" y="9"/>
                        <a:pt x="109" y="12"/>
                        <a:pt x="106"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9" name="Freeform 87"/>
                <p:cNvSpPr>
                  <a:spLocks/>
                </p:cNvSpPr>
                <p:nvPr/>
              </p:nvSpPr>
              <p:spPr bwMode="auto">
                <a:xfrm>
                  <a:off x="9079090" y="2537619"/>
                  <a:ext cx="217487" cy="2698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3" y="12"/>
                        <a:pt x="0" y="9"/>
                        <a:pt x="0" y="6"/>
                      </a:cubicBezTo>
                      <a:cubicBezTo>
                        <a:pt x="0" y="3"/>
                        <a:pt x="3" y="0"/>
                        <a:pt x="6" y="0"/>
                      </a:cubicBezTo>
                      <a:cubicBezTo>
                        <a:pt x="94" y="0"/>
                        <a:pt x="94" y="0"/>
                        <a:pt x="94" y="0"/>
                      </a:cubicBezTo>
                      <a:cubicBezTo>
                        <a:pt x="97" y="0"/>
                        <a:pt x="100" y="3"/>
                        <a:pt x="100" y="6"/>
                      </a:cubicBezTo>
                      <a:cubicBezTo>
                        <a:pt x="100" y="9"/>
                        <a:pt x="97" y="12"/>
                        <a:pt x="94"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0" name="Freeform 88"/>
                <p:cNvSpPr>
                  <a:spLocks/>
                </p:cNvSpPr>
                <p:nvPr/>
              </p:nvSpPr>
              <p:spPr bwMode="auto">
                <a:xfrm>
                  <a:off x="9087028" y="2572544"/>
                  <a:ext cx="192087" cy="26988"/>
                </a:xfrm>
                <a:custGeom>
                  <a:avLst/>
                  <a:gdLst>
                    <a:gd name="T0" fmla="*/ 82 w 88"/>
                    <a:gd name="T1" fmla="*/ 12 h 12"/>
                    <a:gd name="T2" fmla="*/ 6 w 88"/>
                    <a:gd name="T3" fmla="*/ 12 h 12"/>
                    <a:gd name="T4" fmla="*/ 0 w 88"/>
                    <a:gd name="T5" fmla="*/ 6 h 12"/>
                    <a:gd name="T6" fmla="*/ 6 w 88"/>
                    <a:gd name="T7" fmla="*/ 0 h 12"/>
                    <a:gd name="T8" fmla="*/ 82 w 88"/>
                    <a:gd name="T9" fmla="*/ 0 h 12"/>
                    <a:gd name="T10" fmla="*/ 88 w 88"/>
                    <a:gd name="T11" fmla="*/ 6 h 12"/>
                    <a:gd name="T12" fmla="*/ 82 w 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8" h="12">
                      <a:moveTo>
                        <a:pt x="82" y="12"/>
                      </a:moveTo>
                      <a:cubicBezTo>
                        <a:pt x="6" y="12"/>
                        <a:pt x="6" y="12"/>
                        <a:pt x="6" y="12"/>
                      </a:cubicBezTo>
                      <a:cubicBezTo>
                        <a:pt x="3" y="12"/>
                        <a:pt x="0" y="9"/>
                        <a:pt x="0" y="6"/>
                      </a:cubicBezTo>
                      <a:cubicBezTo>
                        <a:pt x="0" y="3"/>
                        <a:pt x="3" y="0"/>
                        <a:pt x="6" y="0"/>
                      </a:cubicBezTo>
                      <a:cubicBezTo>
                        <a:pt x="82" y="0"/>
                        <a:pt x="82" y="0"/>
                        <a:pt x="82" y="0"/>
                      </a:cubicBezTo>
                      <a:cubicBezTo>
                        <a:pt x="85" y="0"/>
                        <a:pt x="88" y="3"/>
                        <a:pt x="88" y="6"/>
                      </a:cubicBezTo>
                      <a:cubicBezTo>
                        <a:pt x="88" y="9"/>
                        <a:pt x="85" y="12"/>
                        <a:pt x="82"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noChangeArrowheads="1"/>
                </p:cNvSpPr>
                <p:nvPr/>
              </p:nvSpPr>
              <p:spPr bwMode="auto">
                <a:xfrm>
                  <a:off x="9045753" y="2647157"/>
                  <a:ext cx="76200" cy="76200"/>
                </a:xfrm>
                <a:custGeom>
                  <a:avLst/>
                  <a:gdLst>
                    <a:gd name="connsiteX0" fmla="*/ 37306 w 76200"/>
                    <a:gd name="connsiteY0" fmla="*/ 25400 h 76200"/>
                    <a:gd name="connsiteX1" fmla="*/ 25400 w 76200"/>
                    <a:gd name="connsiteY1" fmla="*/ 37307 h 76200"/>
                    <a:gd name="connsiteX2" fmla="*/ 37306 w 76200"/>
                    <a:gd name="connsiteY2" fmla="*/ 49214 h 76200"/>
                    <a:gd name="connsiteX3" fmla="*/ 49212 w 76200"/>
                    <a:gd name="connsiteY3" fmla="*/ 37307 h 76200"/>
                    <a:gd name="connsiteX4" fmla="*/ 37306 w 76200"/>
                    <a:gd name="connsiteY4" fmla="*/ 25400 h 76200"/>
                    <a:gd name="connsiteX5" fmla="*/ 38100 w 76200"/>
                    <a:gd name="connsiteY5" fmla="*/ 0 h 76200"/>
                    <a:gd name="connsiteX6" fmla="*/ 76200 w 76200"/>
                    <a:gd name="connsiteY6" fmla="*/ 38100 h 76200"/>
                    <a:gd name="connsiteX7" fmla="*/ 38100 w 76200"/>
                    <a:gd name="connsiteY7" fmla="*/ 76200 h 76200"/>
                    <a:gd name="connsiteX8" fmla="*/ 0 w 76200"/>
                    <a:gd name="connsiteY8" fmla="*/ 38100 h 76200"/>
                    <a:gd name="connsiteX9" fmla="*/ 38100 w 76200"/>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7306" y="25400"/>
                      </a:moveTo>
                      <a:cubicBezTo>
                        <a:pt x="30730" y="25400"/>
                        <a:pt x="25400" y="30731"/>
                        <a:pt x="25400" y="37307"/>
                      </a:cubicBezTo>
                      <a:cubicBezTo>
                        <a:pt x="25400" y="43883"/>
                        <a:pt x="30730" y="49214"/>
                        <a:pt x="37306" y="49214"/>
                      </a:cubicBezTo>
                      <a:cubicBezTo>
                        <a:pt x="43882" y="49214"/>
                        <a:pt x="49212" y="43883"/>
                        <a:pt x="49212" y="37307"/>
                      </a:cubicBezTo>
                      <a:cubicBezTo>
                        <a:pt x="49212" y="30731"/>
                        <a:pt x="43882" y="25400"/>
                        <a:pt x="37306" y="25400"/>
                      </a:cubicBezTo>
                      <a:close/>
                      <a:moveTo>
                        <a:pt x="38100" y="0"/>
                      </a:moveTo>
                      <a:cubicBezTo>
                        <a:pt x="59142" y="0"/>
                        <a:pt x="76200" y="17058"/>
                        <a:pt x="76200" y="38100"/>
                      </a:cubicBezTo>
                      <a:cubicBezTo>
                        <a:pt x="76200" y="59142"/>
                        <a:pt x="59142" y="76200"/>
                        <a:pt x="38100" y="76200"/>
                      </a:cubicBezTo>
                      <a:cubicBezTo>
                        <a:pt x="17058" y="76200"/>
                        <a:pt x="0" y="59142"/>
                        <a:pt x="0" y="38100"/>
                      </a:cubicBezTo>
                      <a:cubicBezTo>
                        <a:pt x="0" y="17058"/>
                        <a:pt x="17058" y="0"/>
                        <a:pt x="38100"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62" name="Freeform 61"/>
                <p:cNvSpPr>
                  <a:spLocks noChangeArrowheads="1"/>
                </p:cNvSpPr>
                <p:nvPr/>
              </p:nvSpPr>
              <p:spPr bwMode="auto">
                <a:xfrm>
                  <a:off x="9174339" y="2647157"/>
                  <a:ext cx="77788" cy="76200"/>
                </a:xfrm>
                <a:custGeom>
                  <a:avLst/>
                  <a:gdLst>
                    <a:gd name="connsiteX0" fmla="*/ 38894 w 77788"/>
                    <a:gd name="connsiteY0" fmla="*/ 25400 h 76200"/>
                    <a:gd name="connsiteX1" fmla="*/ 25400 w 77788"/>
                    <a:gd name="connsiteY1" fmla="*/ 37307 h 76200"/>
                    <a:gd name="connsiteX2" fmla="*/ 38894 w 77788"/>
                    <a:gd name="connsiteY2" fmla="*/ 49214 h 76200"/>
                    <a:gd name="connsiteX3" fmla="*/ 52388 w 77788"/>
                    <a:gd name="connsiteY3" fmla="*/ 37307 h 76200"/>
                    <a:gd name="connsiteX4" fmla="*/ 38894 w 77788"/>
                    <a:gd name="connsiteY4" fmla="*/ 25400 h 76200"/>
                    <a:gd name="connsiteX5" fmla="*/ 38894 w 77788"/>
                    <a:gd name="connsiteY5" fmla="*/ 0 h 76200"/>
                    <a:gd name="connsiteX6" fmla="*/ 77788 w 77788"/>
                    <a:gd name="connsiteY6" fmla="*/ 38100 h 76200"/>
                    <a:gd name="connsiteX7" fmla="*/ 38894 w 77788"/>
                    <a:gd name="connsiteY7" fmla="*/ 76200 h 76200"/>
                    <a:gd name="connsiteX8" fmla="*/ 0 w 77788"/>
                    <a:gd name="connsiteY8" fmla="*/ 38100 h 76200"/>
                    <a:gd name="connsiteX9" fmla="*/ 38894 w 77788"/>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88" h="76200">
                      <a:moveTo>
                        <a:pt x="38894" y="25400"/>
                      </a:moveTo>
                      <a:cubicBezTo>
                        <a:pt x="31441" y="25400"/>
                        <a:pt x="25400" y="30731"/>
                        <a:pt x="25400" y="37307"/>
                      </a:cubicBezTo>
                      <a:cubicBezTo>
                        <a:pt x="25400" y="43883"/>
                        <a:pt x="31441" y="49214"/>
                        <a:pt x="38894" y="49214"/>
                      </a:cubicBezTo>
                      <a:cubicBezTo>
                        <a:pt x="46347" y="49214"/>
                        <a:pt x="52388" y="43883"/>
                        <a:pt x="52388" y="37307"/>
                      </a:cubicBezTo>
                      <a:cubicBezTo>
                        <a:pt x="52388" y="30731"/>
                        <a:pt x="46347" y="25400"/>
                        <a:pt x="38894" y="25400"/>
                      </a:cubicBezTo>
                      <a:close/>
                      <a:moveTo>
                        <a:pt x="38894" y="0"/>
                      </a:moveTo>
                      <a:cubicBezTo>
                        <a:pt x="60375" y="0"/>
                        <a:pt x="77788" y="17058"/>
                        <a:pt x="77788" y="38100"/>
                      </a:cubicBezTo>
                      <a:cubicBezTo>
                        <a:pt x="77788" y="59142"/>
                        <a:pt x="60375" y="76200"/>
                        <a:pt x="38894" y="76200"/>
                      </a:cubicBezTo>
                      <a:cubicBezTo>
                        <a:pt x="17413" y="76200"/>
                        <a:pt x="0" y="59142"/>
                        <a:pt x="0" y="38100"/>
                      </a:cubicBezTo>
                      <a:cubicBezTo>
                        <a:pt x="0" y="17058"/>
                        <a:pt x="17413" y="0"/>
                        <a:pt x="38894"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63" name="Freeform 62"/>
              <p:cNvSpPr>
                <a:spLocks/>
              </p:cNvSpPr>
              <p:nvPr/>
            </p:nvSpPr>
            <p:spPr bwMode="auto">
              <a:xfrm>
                <a:off x="2781037" y="3093241"/>
                <a:ext cx="265748" cy="253778"/>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3175">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64" name="Freeform 63"/>
              <p:cNvSpPr>
                <a:spLocks/>
              </p:cNvSpPr>
              <p:nvPr/>
            </p:nvSpPr>
            <p:spPr bwMode="auto">
              <a:xfrm>
                <a:off x="2975141" y="3459732"/>
                <a:ext cx="201208" cy="192146"/>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3175">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65" name="Group 64"/>
            <p:cNvGrpSpPr/>
            <p:nvPr/>
          </p:nvGrpSpPr>
          <p:grpSpPr>
            <a:xfrm>
              <a:off x="1369783" y="4198990"/>
              <a:ext cx="1785889" cy="1156898"/>
              <a:chOff x="2668588" y="8150225"/>
              <a:chExt cx="1514475" cy="981075"/>
            </a:xfrm>
            <a:solidFill>
              <a:srgbClr val="0078D7"/>
            </a:solidFill>
          </p:grpSpPr>
          <p:sp>
            <p:nvSpPr>
              <p:cNvPr id="66" name="Freeform 60"/>
              <p:cNvSpPr>
                <a:spLocks noEditPoints="1"/>
              </p:cNvSpPr>
              <p:nvPr/>
            </p:nvSpPr>
            <p:spPr bwMode="auto">
              <a:xfrm>
                <a:off x="2668588" y="8150225"/>
                <a:ext cx="1514475" cy="981075"/>
              </a:xfrm>
              <a:custGeom>
                <a:avLst/>
                <a:gdLst>
                  <a:gd name="T0" fmla="*/ 46 w 954"/>
                  <a:gd name="T1" fmla="*/ 618 h 618"/>
                  <a:gd name="T2" fmla="*/ 34 w 954"/>
                  <a:gd name="T3" fmla="*/ 618 h 618"/>
                  <a:gd name="T4" fmla="*/ 18 w 954"/>
                  <a:gd name="T5" fmla="*/ 610 h 618"/>
                  <a:gd name="T6" fmla="*/ 6 w 954"/>
                  <a:gd name="T7" fmla="*/ 592 h 618"/>
                  <a:gd name="T8" fmla="*/ 0 w 954"/>
                  <a:gd name="T9" fmla="*/ 562 h 618"/>
                  <a:gd name="T10" fmla="*/ 0 w 954"/>
                  <a:gd name="T11" fmla="*/ 550 h 618"/>
                  <a:gd name="T12" fmla="*/ 6 w 954"/>
                  <a:gd name="T13" fmla="*/ 520 h 618"/>
                  <a:gd name="T14" fmla="*/ 18 w 954"/>
                  <a:gd name="T15" fmla="*/ 502 h 618"/>
                  <a:gd name="T16" fmla="*/ 34 w 954"/>
                  <a:gd name="T17" fmla="*/ 494 h 618"/>
                  <a:gd name="T18" fmla="*/ 60 w 954"/>
                  <a:gd name="T19" fmla="*/ 494 h 618"/>
                  <a:gd name="T20" fmla="*/ 60 w 954"/>
                  <a:gd name="T21" fmla="*/ 58 h 618"/>
                  <a:gd name="T22" fmla="*/ 64 w 954"/>
                  <a:gd name="T23" fmla="*/ 36 h 618"/>
                  <a:gd name="T24" fmla="*/ 76 w 954"/>
                  <a:gd name="T25" fmla="*/ 18 h 618"/>
                  <a:gd name="T26" fmla="*/ 94 w 954"/>
                  <a:gd name="T27" fmla="*/ 6 h 618"/>
                  <a:gd name="T28" fmla="*/ 116 w 954"/>
                  <a:gd name="T29" fmla="*/ 0 h 618"/>
                  <a:gd name="T30" fmla="*/ 838 w 954"/>
                  <a:gd name="T31" fmla="*/ 0 h 618"/>
                  <a:gd name="T32" fmla="*/ 860 w 954"/>
                  <a:gd name="T33" fmla="*/ 6 h 618"/>
                  <a:gd name="T34" fmla="*/ 878 w 954"/>
                  <a:gd name="T35" fmla="*/ 18 h 618"/>
                  <a:gd name="T36" fmla="*/ 890 w 954"/>
                  <a:gd name="T37" fmla="*/ 36 h 618"/>
                  <a:gd name="T38" fmla="*/ 896 w 954"/>
                  <a:gd name="T39" fmla="*/ 58 h 618"/>
                  <a:gd name="T40" fmla="*/ 910 w 954"/>
                  <a:gd name="T41" fmla="*/ 494 h 618"/>
                  <a:gd name="T42" fmla="*/ 922 w 954"/>
                  <a:gd name="T43" fmla="*/ 494 h 618"/>
                  <a:gd name="T44" fmla="*/ 936 w 954"/>
                  <a:gd name="T45" fmla="*/ 502 h 618"/>
                  <a:gd name="T46" fmla="*/ 950 w 954"/>
                  <a:gd name="T47" fmla="*/ 520 h 618"/>
                  <a:gd name="T48" fmla="*/ 954 w 954"/>
                  <a:gd name="T49" fmla="*/ 550 h 618"/>
                  <a:gd name="T50" fmla="*/ 954 w 954"/>
                  <a:gd name="T51" fmla="*/ 562 h 618"/>
                  <a:gd name="T52" fmla="*/ 950 w 954"/>
                  <a:gd name="T53" fmla="*/ 592 h 618"/>
                  <a:gd name="T54" fmla="*/ 936 w 954"/>
                  <a:gd name="T55" fmla="*/ 610 h 618"/>
                  <a:gd name="T56" fmla="*/ 922 w 954"/>
                  <a:gd name="T57" fmla="*/ 618 h 618"/>
                  <a:gd name="T58" fmla="*/ 910 w 954"/>
                  <a:gd name="T59" fmla="*/ 618 h 618"/>
                  <a:gd name="T60" fmla="*/ 46 w 954"/>
                  <a:gd name="T61" fmla="*/ 522 h 618"/>
                  <a:gd name="T62" fmla="*/ 36 w 954"/>
                  <a:gd name="T63" fmla="*/ 524 h 618"/>
                  <a:gd name="T64" fmla="*/ 30 w 954"/>
                  <a:gd name="T65" fmla="*/ 534 h 618"/>
                  <a:gd name="T66" fmla="*/ 28 w 954"/>
                  <a:gd name="T67" fmla="*/ 550 h 618"/>
                  <a:gd name="T68" fmla="*/ 28 w 954"/>
                  <a:gd name="T69" fmla="*/ 562 h 618"/>
                  <a:gd name="T70" fmla="*/ 30 w 954"/>
                  <a:gd name="T71" fmla="*/ 578 h 618"/>
                  <a:gd name="T72" fmla="*/ 36 w 954"/>
                  <a:gd name="T73" fmla="*/ 588 h 618"/>
                  <a:gd name="T74" fmla="*/ 46 w 954"/>
                  <a:gd name="T75" fmla="*/ 590 h 618"/>
                  <a:gd name="T76" fmla="*/ 910 w 954"/>
                  <a:gd name="T77" fmla="*/ 590 h 618"/>
                  <a:gd name="T78" fmla="*/ 920 w 954"/>
                  <a:gd name="T79" fmla="*/ 588 h 618"/>
                  <a:gd name="T80" fmla="*/ 924 w 954"/>
                  <a:gd name="T81" fmla="*/ 578 h 618"/>
                  <a:gd name="T82" fmla="*/ 926 w 954"/>
                  <a:gd name="T83" fmla="*/ 562 h 618"/>
                  <a:gd name="T84" fmla="*/ 926 w 954"/>
                  <a:gd name="T85" fmla="*/ 550 h 618"/>
                  <a:gd name="T86" fmla="*/ 924 w 954"/>
                  <a:gd name="T87" fmla="*/ 534 h 618"/>
                  <a:gd name="T88" fmla="*/ 920 w 954"/>
                  <a:gd name="T89" fmla="*/ 524 h 618"/>
                  <a:gd name="T90" fmla="*/ 910 w 954"/>
                  <a:gd name="T91" fmla="*/ 522 h 618"/>
                  <a:gd name="T92" fmla="*/ 882 w 954"/>
                  <a:gd name="T93" fmla="*/ 522 h 618"/>
                  <a:gd name="T94" fmla="*/ 872 w 954"/>
                  <a:gd name="T95" fmla="*/ 518 h 618"/>
                  <a:gd name="T96" fmla="*/ 868 w 954"/>
                  <a:gd name="T97" fmla="*/ 508 h 618"/>
                  <a:gd name="T98" fmla="*/ 868 w 954"/>
                  <a:gd name="T99" fmla="*/ 58 h 618"/>
                  <a:gd name="T100" fmla="*/ 858 w 954"/>
                  <a:gd name="T101" fmla="*/ 38 h 618"/>
                  <a:gd name="T102" fmla="*/ 838 w 954"/>
                  <a:gd name="T103" fmla="*/ 28 h 618"/>
                  <a:gd name="T104" fmla="*/ 116 w 954"/>
                  <a:gd name="T105" fmla="*/ 28 h 618"/>
                  <a:gd name="T106" fmla="*/ 96 w 954"/>
                  <a:gd name="T107" fmla="*/ 38 h 618"/>
                  <a:gd name="T108" fmla="*/ 88 w 954"/>
                  <a:gd name="T109" fmla="*/ 58 h 618"/>
                  <a:gd name="T110" fmla="*/ 88 w 954"/>
                  <a:gd name="T111" fmla="*/ 508 h 618"/>
                  <a:gd name="T112" fmla="*/ 84 w 954"/>
                  <a:gd name="T113" fmla="*/ 518 h 618"/>
                  <a:gd name="T114" fmla="*/ 74 w 954"/>
                  <a:gd name="T115" fmla="*/ 52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4" h="618">
                    <a:moveTo>
                      <a:pt x="910" y="618"/>
                    </a:moveTo>
                    <a:lnTo>
                      <a:pt x="46" y="618"/>
                    </a:lnTo>
                    <a:lnTo>
                      <a:pt x="46" y="618"/>
                    </a:lnTo>
                    <a:lnTo>
                      <a:pt x="34" y="618"/>
                    </a:lnTo>
                    <a:lnTo>
                      <a:pt x="26" y="614"/>
                    </a:lnTo>
                    <a:lnTo>
                      <a:pt x="18" y="610"/>
                    </a:lnTo>
                    <a:lnTo>
                      <a:pt x="12" y="602"/>
                    </a:lnTo>
                    <a:lnTo>
                      <a:pt x="6" y="592"/>
                    </a:lnTo>
                    <a:lnTo>
                      <a:pt x="2" y="580"/>
                    </a:lnTo>
                    <a:lnTo>
                      <a:pt x="0" y="562"/>
                    </a:lnTo>
                    <a:lnTo>
                      <a:pt x="0" y="550"/>
                    </a:lnTo>
                    <a:lnTo>
                      <a:pt x="0" y="550"/>
                    </a:lnTo>
                    <a:lnTo>
                      <a:pt x="2" y="534"/>
                    </a:lnTo>
                    <a:lnTo>
                      <a:pt x="6" y="520"/>
                    </a:lnTo>
                    <a:lnTo>
                      <a:pt x="12" y="510"/>
                    </a:lnTo>
                    <a:lnTo>
                      <a:pt x="18" y="502"/>
                    </a:lnTo>
                    <a:lnTo>
                      <a:pt x="26" y="498"/>
                    </a:lnTo>
                    <a:lnTo>
                      <a:pt x="34" y="494"/>
                    </a:lnTo>
                    <a:lnTo>
                      <a:pt x="46" y="494"/>
                    </a:lnTo>
                    <a:lnTo>
                      <a:pt x="60" y="494"/>
                    </a:lnTo>
                    <a:lnTo>
                      <a:pt x="60" y="58"/>
                    </a:lnTo>
                    <a:lnTo>
                      <a:pt x="60" y="58"/>
                    </a:lnTo>
                    <a:lnTo>
                      <a:pt x="60" y="46"/>
                    </a:lnTo>
                    <a:lnTo>
                      <a:pt x="64" y="36"/>
                    </a:lnTo>
                    <a:lnTo>
                      <a:pt x="70" y="26"/>
                    </a:lnTo>
                    <a:lnTo>
                      <a:pt x="76" y="18"/>
                    </a:lnTo>
                    <a:lnTo>
                      <a:pt x="84" y="10"/>
                    </a:lnTo>
                    <a:lnTo>
                      <a:pt x="94" y="6"/>
                    </a:lnTo>
                    <a:lnTo>
                      <a:pt x="106" y="2"/>
                    </a:lnTo>
                    <a:lnTo>
                      <a:pt x="116" y="0"/>
                    </a:lnTo>
                    <a:lnTo>
                      <a:pt x="838" y="0"/>
                    </a:lnTo>
                    <a:lnTo>
                      <a:pt x="838" y="0"/>
                    </a:lnTo>
                    <a:lnTo>
                      <a:pt x="850" y="2"/>
                    </a:lnTo>
                    <a:lnTo>
                      <a:pt x="860" y="6"/>
                    </a:lnTo>
                    <a:lnTo>
                      <a:pt x="870" y="10"/>
                    </a:lnTo>
                    <a:lnTo>
                      <a:pt x="878" y="18"/>
                    </a:lnTo>
                    <a:lnTo>
                      <a:pt x="886" y="26"/>
                    </a:lnTo>
                    <a:lnTo>
                      <a:pt x="890" y="36"/>
                    </a:lnTo>
                    <a:lnTo>
                      <a:pt x="894" y="46"/>
                    </a:lnTo>
                    <a:lnTo>
                      <a:pt x="896" y="58"/>
                    </a:lnTo>
                    <a:lnTo>
                      <a:pt x="896" y="494"/>
                    </a:lnTo>
                    <a:lnTo>
                      <a:pt x="910" y="494"/>
                    </a:lnTo>
                    <a:lnTo>
                      <a:pt x="910" y="494"/>
                    </a:lnTo>
                    <a:lnTo>
                      <a:pt x="922" y="494"/>
                    </a:lnTo>
                    <a:lnTo>
                      <a:pt x="930" y="498"/>
                    </a:lnTo>
                    <a:lnTo>
                      <a:pt x="936" y="502"/>
                    </a:lnTo>
                    <a:lnTo>
                      <a:pt x="944" y="510"/>
                    </a:lnTo>
                    <a:lnTo>
                      <a:pt x="950" y="520"/>
                    </a:lnTo>
                    <a:lnTo>
                      <a:pt x="954" y="534"/>
                    </a:lnTo>
                    <a:lnTo>
                      <a:pt x="954" y="550"/>
                    </a:lnTo>
                    <a:lnTo>
                      <a:pt x="954" y="562"/>
                    </a:lnTo>
                    <a:lnTo>
                      <a:pt x="954" y="562"/>
                    </a:lnTo>
                    <a:lnTo>
                      <a:pt x="954" y="580"/>
                    </a:lnTo>
                    <a:lnTo>
                      <a:pt x="950" y="592"/>
                    </a:lnTo>
                    <a:lnTo>
                      <a:pt x="944" y="602"/>
                    </a:lnTo>
                    <a:lnTo>
                      <a:pt x="936" y="610"/>
                    </a:lnTo>
                    <a:lnTo>
                      <a:pt x="930" y="614"/>
                    </a:lnTo>
                    <a:lnTo>
                      <a:pt x="922" y="618"/>
                    </a:lnTo>
                    <a:lnTo>
                      <a:pt x="910" y="618"/>
                    </a:lnTo>
                    <a:lnTo>
                      <a:pt x="910" y="618"/>
                    </a:lnTo>
                    <a:close/>
                    <a:moveTo>
                      <a:pt x="46" y="522"/>
                    </a:moveTo>
                    <a:lnTo>
                      <a:pt x="46" y="522"/>
                    </a:lnTo>
                    <a:lnTo>
                      <a:pt x="40" y="522"/>
                    </a:lnTo>
                    <a:lnTo>
                      <a:pt x="36" y="524"/>
                    </a:lnTo>
                    <a:lnTo>
                      <a:pt x="32" y="528"/>
                    </a:lnTo>
                    <a:lnTo>
                      <a:pt x="30" y="534"/>
                    </a:lnTo>
                    <a:lnTo>
                      <a:pt x="30" y="540"/>
                    </a:lnTo>
                    <a:lnTo>
                      <a:pt x="28" y="550"/>
                    </a:lnTo>
                    <a:lnTo>
                      <a:pt x="28" y="562"/>
                    </a:lnTo>
                    <a:lnTo>
                      <a:pt x="28" y="562"/>
                    </a:lnTo>
                    <a:lnTo>
                      <a:pt x="30" y="572"/>
                    </a:lnTo>
                    <a:lnTo>
                      <a:pt x="30" y="578"/>
                    </a:lnTo>
                    <a:lnTo>
                      <a:pt x="32" y="584"/>
                    </a:lnTo>
                    <a:lnTo>
                      <a:pt x="36" y="588"/>
                    </a:lnTo>
                    <a:lnTo>
                      <a:pt x="40" y="590"/>
                    </a:lnTo>
                    <a:lnTo>
                      <a:pt x="46" y="590"/>
                    </a:lnTo>
                    <a:lnTo>
                      <a:pt x="910" y="590"/>
                    </a:lnTo>
                    <a:lnTo>
                      <a:pt x="910" y="590"/>
                    </a:lnTo>
                    <a:lnTo>
                      <a:pt x="914" y="590"/>
                    </a:lnTo>
                    <a:lnTo>
                      <a:pt x="920" y="588"/>
                    </a:lnTo>
                    <a:lnTo>
                      <a:pt x="922" y="584"/>
                    </a:lnTo>
                    <a:lnTo>
                      <a:pt x="924" y="578"/>
                    </a:lnTo>
                    <a:lnTo>
                      <a:pt x="926" y="572"/>
                    </a:lnTo>
                    <a:lnTo>
                      <a:pt x="926" y="562"/>
                    </a:lnTo>
                    <a:lnTo>
                      <a:pt x="926" y="550"/>
                    </a:lnTo>
                    <a:lnTo>
                      <a:pt x="926" y="550"/>
                    </a:lnTo>
                    <a:lnTo>
                      <a:pt x="926" y="540"/>
                    </a:lnTo>
                    <a:lnTo>
                      <a:pt x="924" y="534"/>
                    </a:lnTo>
                    <a:lnTo>
                      <a:pt x="922" y="528"/>
                    </a:lnTo>
                    <a:lnTo>
                      <a:pt x="920" y="524"/>
                    </a:lnTo>
                    <a:lnTo>
                      <a:pt x="914" y="522"/>
                    </a:lnTo>
                    <a:lnTo>
                      <a:pt x="910" y="522"/>
                    </a:lnTo>
                    <a:lnTo>
                      <a:pt x="882" y="522"/>
                    </a:lnTo>
                    <a:lnTo>
                      <a:pt x="882" y="522"/>
                    </a:lnTo>
                    <a:lnTo>
                      <a:pt x="876" y="520"/>
                    </a:lnTo>
                    <a:lnTo>
                      <a:pt x="872" y="518"/>
                    </a:lnTo>
                    <a:lnTo>
                      <a:pt x="868" y="512"/>
                    </a:lnTo>
                    <a:lnTo>
                      <a:pt x="868" y="508"/>
                    </a:lnTo>
                    <a:lnTo>
                      <a:pt x="868" y="58"/>
                    </a:lnTo>
                    <a:lnTo>
                      <a:pt x="868" y="58"/>
                    </a:lnTo>
                    <a:lnTo>
                      <a:pt x="866" y="46"/>
                    </a:lnTo>
                    <a:lnTo>
                      <a:pt x="858" y="38"/>
                    </a:lnTo>
                    <a:lnTo>
                      <a:pt x="850" y="30"/>
                    </a:lnTo>
                    <a:lnTo>
                      <a:pt x="838" y="28"/>
                    </a:lnTo>
                    <a:lnTo>
                      <a:pt x="116" y="28"/>
                    </a:lnTo>
                    <a:lnTo>
                      <a:pt x="116" y="28"/>
                    </a:lnTo>
                    <a:lnTo>
                      <a:pt x="106" y="30"/>
                    </a:lnTo>
                    <a:lnTo>
                      <a:pt x="96" y="38"/>
                    </a:lnTo>
                    <a:lnTo>
                      <a:pt x="90" y="46"/>
                    </a:lnTo>
                    <a:lnTo>
                      <a:pt x="88" y="58"/>
                    </a:lnTo>
                    <a:lnTo>
                      <a:pt x="88" y="508"/>
                    </a:lnTo>
                    <a:lnTo>
                      <a:pt x="88" y="508"/>
                    </a:lnTo>
                    <a:lnTo>
                      <a:pt x="86" y="512"/>
                    </a:lnTo>
                    <a:lnTo>
                      <a:pt x="84" y="518"/>
                    </a:lnTo>
                    <a:lnTo>
                      <a:pt x="80" y="520"/>
                    </a:lnTo>
                    <a:lnTo>
                      <a:pt x="74" y="522"/>
                    </a:lnTo>
                    <a:lnTo>
                      <a:pt x="46" y="522"/>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67" name="Freeform 61"/>
              <p:cNvSpPr>
                <a:spLocks noEditPoints="1"/>
              </p:cNvSpPr>
              <p:nvPr/>
            </p:nvSpPr>
            <p:spPr bwMode="auto">
              <a:xfrm>
                <a:off x="2843213" y="8232775"/>
                <a:ext cx="1165225" cy="742950"/>
              </a:xfrm>
              <a:custGeom>
                <a:avLst/>
                <a:gdLst>
                  <a:gd name="T0" fmla="*/ 720 w 734"/>
                  <a:gd name="T1" fmla="*/ 468 h 468"/>
                  <a:gd name="T2" fmla="*/ 14 w 734"/>
                  <a:gd name="T3" fmla="*/ 468 h 468"/>
                  <a:gd name="T4" fmla="*/ 14 w 734"/>
                  <a:gd name="T5" fmla="*/ 468 h 468"/>
                  <a:gd name="T6" fmla="*/ 8 w 734"/>
                  <a:gd name="T7" fmla="*/ 468 h 468"/>
                  <a:gd name="T8" fmla="*/ 4 w 734"/>
                  <a:gd name="T9" fmla="*/ 464 h 468"/>
                  <a:gd name="T10" fmla="*/ 2 w 734"/>
                  <a:gd name="T11" fmla="*/ 460 h 468"/>
                  <a:gd name="T12" fmla="*/ 0 w 734"/>
                  <a:gd name="T13" fmla="*/ 454 h 468"/>
                  <a:gd name="T14" fmla="*/ 0 w 734"/>
                  <a:gd name="T15" fmla="*/ 14 h 468"/>
                  <a:gd name="T16" fmla="*/ 0 w 734"/>
                  <a:gd name="T17" fmla="*/ 14 h 468"/>
                  <a:gd name="T18" fmla="*/ 2 w 734"/>
                  <a:gd name="T19" fmla="*/ 8 h 468"/>
                  <a:gd name="T20" fmla="*/ 4 w 734"/>
                  <a:gd name="T21" fmla="*/ 4 h 468"/>
                  <a:gd name="T22" fmla="*/ 8 w 734"/>
                  <a:gd name="T23" fmla="*/ 0 h 468"/>
                  <a:gd name="T24" fmla="*/ 14 w 734"/>
                  <a:gd name="T25" fmla="*/ 0 h 468"/>
                  <a:gd name="T26" fmla="*/ 720 w 734"/>
                  <a:gd name="T27" fmla="*/ 0 h 468"/>
                  <a:gd name="T28" fmla="*/ 720 w 734"/>
                  <a:gd name="T29" fmla="*/ 0 h 468"/>
                  <a:gd name="T30" fmla="*/ 726 w 734"/>
                  <a:gd name="T31" fmla="*/ 0 h 468"/>
                  <a:gd name="T32" fmla="*/ 730 w 734"/>
                  <a:gd name="T33" fmla="*/ 4 h 468"/>
                  <a:gd name="T34" fmla="*/ 734 w 734"/>
                  <a:gd name="T35" fmla="*/ 8 h 468"/>
                  <a:gd name="T36" fmla="*/ 734 w 734"/>
                  <a:gd name="T37" fmla="*/ 14 h 468"/>
                  <a:gd name="T38" fmla="*/ 734 w 734"/>
                  <a:gd name="T39" fmla="*/ 454 h 468"/>
                  <a:gd name="T40" fmla="*/ 734 w 734"/>
                  <a:gd name="T41" fmla="*/ 454 h 468"/>
                  <a:gd name="T42" fmla="*/ 734 w 734"/>
                  <a:gd name="T43" fmla="*/ 460 h 468"/>
                  <a:gd name="T44" fmla="*/ 730 w 734"/>
                  <a:gd name="T45" fmla="*/ 464 h 468"/>
                  <a:gd name="T46" fmla="*/ 726 w 734"/>
                  <a:gd name="T47" fmla="*/ 468 h 468"/>
                  <a:gd name="T48" fmla="*/ 720 w 734"/>
                  <a:gd name="T49" fmla="*/ 468 h 468"/>
                  <a:gd name="T50" fmla="*/ 720 w 734"/>
                  <a:gd name="T51" fmla="*/ 468 h 468"/>
                  <a:gd name="T52" fmla="*/ 28 w 734"/>
                  <a:gd name="T53" fmla="*/ 440 h 468"/>
                  <a:gd name="T54" fmla="*/ 706 w 734"/>
                  <a:gd name="T55" fmla="*/ 440 h 468"/>
                  <a:gd name="T56" fmla="*/ 706 w 734"/>
                  <a:gd name="T57" fmla="*/ 28 h 468"/>
                  <a:gd name="T58" fmla="*/ 28 w 734"/>
                  <a:gd name="T59" fmla="*/ 28 h 468"/>
                  <a:gd name="T60" fmla="*/ 28 w 734"/>
                  <a:gd name="T61" fmla="*/ 44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34" h="468">
                    <a:moveTo>
                      <a:pt x="720" y="468"/>
                    </a:moveTo>
                    <a:lnTo>
                      <a:pt x="14" y="468"/>
                    </a:lnTo>
                    <a:lnTo>
                      <a:pt x="14" y="468"/>
                    </a:lnTo>
                    <a:lnTo>
                      <a:pt x="8" y="468"/>
                    </a:lnTo>
                    <a:lnTo>
                      <a:pt x="4" y="464"/>
                    </a:lnTo>
                    <a:lnTo>
                      <a:pt x="2" y="460"/>
                    </a:lnTo>
                    <a:lnTo>
                      <a:pt x="0" y="454"/>
                    </a:lnTo>
                    <a:lnTo>
                      <a:pt x="0" y="14"/>
                    </a:lnTo>
                    <a:lnTo>
                      <a:pt x="0" y="14"/>
                    </a:lnTo>
                    <a:lnTo>
                      <a:pt x="2" y="8"/>
                    </a:lnTo>
                    <a:lnTo>
                      <a:pt x="4" y="4"/>
                    </a:lnTo>
                    <a:lnTo>
                      <a:pt x="8" y="0"/>
                    </a:lnTo>
                    <a:lnTo>
                      <a:pt x="14" y="0"/>
                    </a:lnTo>
                    <a:lnTo>
                      <a:pt x="720" y="0"/>
                    </a:lnTo>
                    <a:lnTo>
                      <a:pt x="720" y="0"/>
                    </a:lnTo>
                    <a:lnTo>
                      <a:pt x="726" y="0"/>
                    </a:lnTo>
                    <a:lnTo>
                      <a:pt x="730" y="4"/>
                    </a:lnTo>
                    <a:lnTo>
                      <a:pt x="734" y="8"/>
                    </a:lnTo>
                    <a:lnTo>
                      <a:pt x="734" y="14"/>
                    </a:lnTo>
                    <a:lnTo>
                      <a:pt x="734" y="454"/>
                    </a:lnTo>
                    <a:lnTo>
                      <a:pt x="734" y="454"/>
                    </a:lnTo>
                    <a:lnTo>
                      <a:pt x="734" y="460"/>
                    </a:lnTo>
                    <a:lnTo>
                      <a:pt x="730" y="464"/>
                    </a:lnTo>
                    <a:lnTo>
                      <a:pt x="726" y="468"/>
                    </a:lnTo>
                    <a:lnTo>
                      <a:pt x="720" y="468"/>
                    </a:lnTo>
                    <a:lnTo>
                      <a:pt x="720" y="468"/>
                    </a:lnTo>
                    <a:close/>
                    <a:moveTo>
                      <a:pt x="28" y="440"/>
                    </a:moveTo>
                    <a:lnTo>
                      <a:pt x="706" y="440"/>
                    </a:lnTo>
                    <a:lnTo>
                      <a:pt x="706" y="28"/>
                    </a:lnTo>
                    <a:lnTo>
                      <a:pt x="28" y="28"/>
                    </a:lnTo>
                    <a:lnTo>
                      <a:pt x="28" y="440"/>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68" name="Freeform 62"/>
              <p:cNvSpPr>
                <a:spLocks/>
              </p:cNvSpPr>
              <p:nvPr/>
            </p:nvSpPr>
            <p:spPr bwMode="auto">
              <a:xfrm>
                <a:off x="2982913" y="8388350"/>
                <a:ext cx="885825" cy="431800"/>
              </a:xfrm>
              <a:custGeom>
                <a:avLst/>
                <a:gdLst>
                  <a:gd name="T0" fmla="*/ 496 w 558"/>
                  <a:gd name="T1" fmla="*/ 272 h 272"/>
                  <a:gd name="T2" fmla="*/ 492 w 558"/>
                  <a:gd name="T3" fmla="*/ 270 h 272"/>
                  <a:gd name="T4" fmla="*/ 484 w 558"/>
                  <a:gd name="T5" fmla="*/ 264 h 272"/>
                  <a:gd name="T6" fmla="*/ 482 w 558"/>
                  <a:gd name="T7" fmla="*/ 28 h 272"/>
                  <a:gd name="T8" fmla="*/ 438 w 558"/>
                  <a:gd name="T9" fmla="*/ 258 h 272"/>
                  <a:gd name="T10" fmla="*/ 436 w 558"/>
                  <a:gd name="T11" fmla="*/ 264 h 272"/>
                  <a:gd name="T12" fmla="*/ 430 w 558"/>
                  <a:gd name="T13" fmla="*/ 270 h 272"/>
                  <a:gd name="T14" fmla="*/ 314 w 558"/>
                  <a:gd name="T15" fmla="*/ 272 h 272"/>
                  <a:gd name="T16" fmla="*/ 310 w 558"/>
                  <a:gd name="T17" fmla="*/ 270 h 272"/>
                  <a:gd name="T18" fmla="*/ 302 w 558"/>
                  <a:gd name="T19" fmla="*/ 264 h 272"/>
                  <a:gd name="T20" fmla="*/ 300 w 558"/>
                  <a:gd name="T21" fmla="*/ 62 h 272"/>
                  <a:gd name="T22" fmla="*/ 256 w 558"/>
                  <a:gd name="T23" fmla="*/ 258 h 272"/>
                  <a:gd name="T24" fmla="*/ 254 w 558"/>
                  <a:gd name="T25" fmla="*/ 264 h 272"/>
                  <a:gd name="T26" fmla="*/ 248 w 558"/>
                  <a:gd name="T27" fmla="*/ 270 h 272"/>
                  <a:gd name="T28" fmla="*/ 132 w 558"/>
                  <a:gd name="T29" fmla="*/ 272 h 272"/>
                  <a:gd name="T30" fmla="*/ 128 w 558"/>
                  <a:gd name="T31" fmla="*/ 270 h 272"/>
                  <a:gd name="T32" fmla="*/ 120 w 558"/>
                  <a:gd name="T33" fmla="*/ 264 h 272"/>
                  <a:gd name="T34" fmla="*/ 118 w 558"/>
                  <a:gd name="T35" fmla="*/ 126 h 272"/>
                  <a:gd name="T36" fmla="*/ 74 w 558"/>
                  <a:gd name="T37" fmla="*/ 258 h 272"/>
                  <a:gd name="T38" fmla="*/ 72 w 558"/>
                  <a:gd name="T39" fmla="*/ 264 h 272"/>
                  <a:gd name="T40" fmla="*/ 64 w 558"/>
                  <a:gd name="T41" fmla="*/ 270 h 272"/>
                  <a:gd name="T42" fmla="*/ 14 w 558"/>
                  <a:gd name="T43" fmla="*/ 272 h 272"/>
                  <a:gd name="T44" fmla="*/ 10 w 558"/>
                  <a:gd name="T45" fmla="*/ 270 h 272"/>
                  <a:gd name="T46" fmla="*/ 2 w 558"/>
                  <a:gd name="T47" fmla="*/ 264 h 272"/>
                  <a:gd name="T48" fmla="*/ 0 w 558"/>
                  <a:gd name="T49" fmla="*/ 258 h 272"/>
                  <a:gd name="T50" fmla="*/ 4 w 558"/>
                  <a:gd name="T51" fmla="*/ 248 h 272"/>
                  <a:gd name="T52" fmla="*/ 14 w 558"/>
                  <a:gd name="T53" fmla="*/ 244 h 272"/>
                  <a:gd name="T54" fmla="*/ 46 w 558"/>
                  <a:gd name="T55" fmla="*/ 122 h 272"/>
                  <a:gd name="T56" fmla="*/ 48 w 558"/>
                  <a:gd name="T57" fmla="*/ 112 h 272"/>
                  <a:gd name="T58" fmla="*/ 60 w 558"/>
                  <a:gd name="T59" fmla="*/ 100 h 272"/>
                  <a:gd name="T60" fmla="*/ 122 w 558"/>
                  <a:gd name="T61" fmla="*/ 98 h 272"/>
                  <a:gd name="T62" fmla="*/ 132 w 558"/>
                  <a:gd name="T63" fmla="*/ 100 h 272"/>
                  <a:gd name="T64" fmla="*/ 144 w 558"/>
                  <a:gd name="T65" fmla="*/ 112 h 272"/>
                  <a:gd name="T66" fmla="*/ 146 w 558"/>
                  <a:gd name="T67" fmla="*/ 244 h 272"/>
                  <a:gd name="T68" fmla="*/ 228 w 558"/>
                  <a:gd name="T69" fmla="*/ 60 h 272"/>
                  <a:gd name="T70" fmla="*/ 230 w 558"/>
                  <a:gd name="T71" fmla="*/ 50 h 272"/>
                  <a:gd name="T72" fmla="*/ 242 w 558"/>
                  <a:gd name="T73" fmla="*/ 36 h 272"/>
                  <a:gd name="T74" fmla="*/ 304 w 558"/>
                  <a:gd name="T75" fmla="*/ 34 h 272"/>
                  <a:gd name="T76" fmla="*/ 314 w 558"/>
                  <a:gd name="T77" fmla="*/ 36 h 272"/>
                  <a:gd name="T78" fmla="*/ 326 w 558"/>
                  <a:gd name="T79" fmla="*/ 50 h 272"/>
                  <a:gd name="T80" fmla="*/ 328 w 558"/>
                  <a:gd name="T81" fmla="*/ 244 h 272"/>
                  <a:gd name="T82" fmla="*/ 410 w 558"/>
                  <a:gd name="T83" fmla="*/ 24 h 272"/>
                  <a:gd name="T84" fmla="*/ 412 w 558"/>
                  <a:gd name="T85" fmla="*/ 14 h 272"/>
                  <a:gd name="T86" fmla="*/ 424 w 558"/>
                  <a:gd name="T87" fmla="*/ 2 h 272"/>
                  <a:gd name="T88" fmla="*/ 486 w 558"/>
                  <a:gd name="T89" fmla="*/ 0 h 272"/>
                  <a:gd name="T90" fmla="*/ 496 w 558"/>
                  <a:gd name="T91" fmla="*/ 2 h 272"/>
                  <a:gd name="T92" fmla="*/ 508 w 558"/>
                  <a:gd name="T93" fmla="*/ 14 h 272"/>
                  <a:gd name="T94" fmla="*/ 510 w 558"/>
                  <a:gd name="T95" fmla="*/ 244 h 272"/>
                  <a:gd name="T96" fmla="*/ 544 w 558"/>
                  <a:gd name="T97" fmla="*/ 244 h 272"/>
                  <a:gd name="T98" fmla="*/ 554 w 558"/>
                  <a:gd name="T99" fmla="*/ 248 h 272"/>
                  <a:gd name="T100" fmla="*/ 558 w 558"/>
                  <a:gd name="T101" fmla="*/ 258 h 272"/>
                  <a:gd name="T102" fmla="*/ 558 w 558"/>
                  <a:gd name="T103" fmla="*/ 264 h 272"/>
                  <a:gd name="T104" fmla="*/ 550 w 558"/>
                  <a:gd name="T105" fmla="*/ 270 h 272"/>
                  <a:gd name="T106" fmla="*/ 544 w 558"/>
                  <a:gd name="T107"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8" h="272">
                    <a:moveTo>
                      <a:pt x="544" y="272"/>
                    </a:moveTo>
                    <a:lnTo>
                      <a:pt x="496" y="272"/>
                    </a:lnTo>
                    <a:lnTo>
                      <a:pt x="496" y="272"/>
                    </a:lnTo>
                    <a:lnTo>
                      <a:pt x="492" y="270"/>
                    </a:lnTo>
                    <a:lnTo>
                      <a:pt x="486" y="268"/>
                    </a:lnTo>
                    <a:lnTo>
                      <a:pt x="484" y="264"/>
                    </a:lnTo>
                    <a:lnTo>
                      <a:pt x="482" y="258"/>
                    </a:lnTo>
                    <a:lnTo>
                      <a:pt x="482" y="28"/>
                    </a:lnTo>
                    <a:lnTo>
                      <a:pt x="438" y="28"/>
                    </a:lnTo>
                    <a:lnTo>
                      <a:pt x="438" y="258"/>
                    </a:lnTo>
                    <a:lnTo>
                      <a:pt x="438" y="258"/>
                    </a:lnTo>
                    <a:lnTo>
                      <a:pt x="436" y="264"/>
                    </a:lnTo>
                    <a:lnTo>
                      <a:pt x="434" y="268"/>
                    </a:lnTo>
                    <a:lnTo>
                      <a:pt x="430" y="270"/>
                    </a:lnTo>
                    <a:lnTo>
                      <a:pt x="424" y="272"/>
                    </a:lnTo>
                    <a:lnTo>
                      <a:pt x="314" y="272"/>
                    </a:lnTo>
                    <a:lnTo>
                      <a:pt x="314" y="272"/>
                    </a:lnTo>
                    <a:lnTo>
                      <a:pt x="310" y="270"/>
                    </a:lnTo>
                    <a:lnTo>
                      <a:pt x="304" y="268"/>
                    </a:lnTo>
                    <a:lnTo>
                      <a:pt x="302" y="264"/>
                    </a:lnTo>
                    <a:lnTo>
                      <a:pt x="300" y="258"/>
                    </a:lnTo>
                    <a:lnTo>
                      <a:pt x="300" y="62"/>
                    </a:lnTo>
                    <a:lnTo>
                      <a:pt x="256" y="62"/>
                    </a:lnTo>
                    <a:lnTo>
                      <a:pt x="256" y="258"/>
                    </a:lnTo>
                    <a:lnTo>
                      <a:pt x="256" y="258"/>
                    </a:lnTo>
                    <a:lnTo>
                      <a:pt x="254" y="264"/>
                    </a:lnTo>
                    <a:lnTo>
                      <a:pt x="252" y="268"/>
                    </a:lnTo>
                    <a:lnTo>
                      <a:pt x="248" y="270"/>
                    </a:lnTo>
                    <a:lnTo>
                      <a:pt x="242" y="272"/>
                    </a:lnTo>
                    <a:lnTo>
                      <a:pt x="132" y="272"/>
                    </a:lnTo>
                    <a:lnTo>
                      <a:pt x="132" y="272"/>
                    </a:lnTo>
                    <a:lnTo>
                      <a:pt x="128" y="270"/>
                    </a:lnTo>
                    <a:lnTo>
                      <a:pt x="122" y="268"/>
                    </a:lnTo>
                    <a:lnTo>
                      <a:pt x="120" y="264"/>
                    </a:lnTo>
                    <a:lnTo>
                      <a:pt x="118" y="258"/>
                    </a:lnTo>
                    <a:lnTo>
                      <a:pt x="118" y="126"/>
                    </a:lnTo>
                    <a:lnTo>
                      <a:pt x="74" y="126"/>
                    </a:lnTo>
                    <a:lnTo>
                      <a:pt x="74" y="258"/>
                    </a:lnTo>
                    <a:lnTo>
                      <a:pt x="74" y="258"/>
                    </a:lnTo>
                    <a:lnTo>
                      <a:pt x="72" y="264"/>
                    </a:lnTo>
                    <a:lnTo>
                      <a:pt x="70" y="268"/>
                    </a:lnTo>
                    <a:lnTo>
                      <a:pt x="64" y="270"/>
                    </a:lnTo>
                    <a:lnTo>
                      <a:pt x="60" y="272"/>
                    </a:lnTo>
                    <a:lnTo>
                      <a:pt x="14" y="272"/>
                    </a:lnTo>
                    <a:lnTo>
                      <a:pt x="14" y="272"/>
                    </a:lnTo>
                    <a:lnTo>
                      <a:pt x="10" y="270"/>
                    </a:lnTo>
                    <a:lnTo>
                      <a:pt x="4" y="268"/>
                    </a:lnTo>
                    <a:lnTo>
                      <a:pt x="2" y="264"/>
                    </a:lnTo>
                    <a:lnTo>
                      <a:pt x="0" y="258"/>
                    </a:lnTo>
                    <a:lnTo>
                      <a:pt x="0" y="258"/>
                    </a:lnTo>
                    <a:lnTo>
                      <a:pt x="2" y="252"/>
                    </a:lnTo>
                    <a:lnTo>
                      <a:pt x="4" y="248"/>
                    </a:lnTo>
                    <a:lnTo>
                      <a:pt x="10" y="246"/>
                    </a:lnTo>
                    <a:lnTo>
                      <a:pt x="14" y="244"/>
                    </a:lnTo>
                    <a:lnTo>
                      <a:pt x="46" y="244"/>
                    </a:lnTo>
                    <a:lnTo>
                      <a:pt x="46" y="122"/>
                    </a:lnTo>
                    <a:lnTo>
                      <a:pt x="46" y="122"/>
                    </a:lnTo>
                    <a:lnTo>
                      <a:pt x="48" y="112"/>
                    </a:lnTo>
                    <a:lnTo>
                      <a:pt x="52" y="106"/>
                    </a:lnTo>
                    <a:lnTo>
                      <a:pt x="60" y="100"/>
                    </a:lnTo>
                    <a:lnTo>
                      <a:pt x="70" y="98"/>
                    </a:lnTo>
                    <a:lnTo>
                      <a:pt x="122" y="98"/>
                    </a:lnTo>
                    <a:lnTo>
                      <a:pt x="122" y="98"/>
                    </a:lnTo>
                    <a:lnTo>
                      <a:pt x="132" y="100"/>
                    </a:lnTo>
                    <a:lnTo>
                      <a:pt x="140" y="106"/>
                    </a:lnTo>
                    <a:lnTo>
                      <a:pt x="144" y="112"/>
                    </a:lnTo>
                    <a:lnTo>
                      <a:pt x="146" y="122"/>
                    </a:lnTo>
                    <a:lnTo>
                      <a:pt x="146" y="244"/>
                    </a:lnTo>
                    <a:lnTo>
                      <a:pt x="228" y="244"/>
                    </a:lnTo>
                    <a:lnTo>
                      <a:pt x="228" y="60"/>
                    </a:lnTo>
                    <a:lnTo>
                      <a:pt x="228" y="60"/>
                    </a:lnTo>
                    <a:lnTo>
                      <a:pt x="230" y="50"/>
                    </a:lnTo>
                    <a:lnTo>
                      <a:pt x="234" y="42"/>
                    </a:lnTo>
                    <a:lnTo>
                      <a:pt x="242" y="36"/>
                    </a:lnTo>
                    <a:lnTo>
                      <a:pt x="252" y="34"/>
                    </a:lnTo>
                    <a:lnTo>
                      <a:pt x="304" y="34"/>
                    </a:lnTo>
                    <a:lnTo>
                      <a:pt x="304" y="34"/>
                    </a:lnTo>
                    <a:lnTo>
                      <a:pt x="314" y="36"/>
                    </a:lnTo>
                    <a:lnTo>
                      <a:pt x="322" y="42"/>
                    </a:lnTo>
                    <a:lnTo>
                      <a:pt x="326" y="50"/>
                    </a:lnTo>
                    <a:lnTo>
                      <a:pt x="328" y="60"/>
                    </a:lnTo>
                    <a:lnTo>
                      <a:pt x="328" y="244"/>
                    </a:lnTo>
                    <a:lnTo>
                      <a:pt x="410" y="244"/>
                    </a:lnTo>
                    <a:lnTo>
                      <a:pt x="410" y="24"/>
                    </a:lnTo>
                    <a:lnTo>
                      <a:pt x="410" y="24"/>
                    </a:lnTo>
                    <a:lnTo>
                      <a:pt x="412" y="14"/>
                    </a:lnTo>
                    <a:lnTo>
                      <a:pt x="416" y="8"/>
                    </a:lnTo>
                    <a:lnTo>
                      <a:pt x="424" y="2"/>
                    </a:lnTo>
                    <a:lnTo>
                      <a:pt x="434" y="0"/>
                    </a:lnTo>
                    <a:lnTo>
                      <a:pt x="486" y="0"/>
                    </a:lnTo>
                    <a:lnTo>
                      <a:pt x="486" y="0"/>
                    </a:lnTo>
                    <a:lnTo>
                      <a:pt x="496" y="2"/>
                    </a:lnTo>
                    <a:lnTo>
                      <a:pt x="504" y="8"/>
                    </a:lnTo>
                    <a:lnTo>
                      <a:pt x="508" y="14"/>
                    </a:lnTo>
                    <a:lnTo>
                      <a:pt x="510" y="24"/>
                    </a:lnTo>
                    <a:lnTo>
                      <a:pt x="510" y="244"/>
                    </a:lnTo>
                    <a:lnTo>
                      <a:pt x="544" y="244"/>
                    </a:lnTo>
                    <a:lnTo>
                      <a:pt x="544" y="244"/>
                    </a:lnTo>
                    <a:lnTo>
                      <a:pt x="550" y="246"/>
                    </a:lnTo>
                    <a:lnTo>
                      <a:pt x="554" y="248"/>
                    </a:lnTo>
                    <a:lnTo>
                      <a:pt x="558" y="252"/>
                    </a:lnTo>
                    <a:lnTo>
                      <a:pt x="558" y="258"/>
                    </a:lnTo>
                    <a:lnTo>
                      <a:pt x="558" y="258"/>
                    </a:lnTo>
                    <a:lnTo>
                      <a:pt x="558" y="264"/>
                    </a:lnTo>
                    <a:lnTo>
                      <a:pt x="554" y="268"/>
                    </a:lnTo>
                    <a:lnTo>
                      <a:pt x="550" y="270"/>
                    </a:lnTo>
                    <a:lnTo>
                      <a:pt x="544" y="272"/>
                    </a:lnTo>
                    <a:lnTo>
                      <a:pt x="544" y="272"/>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grpSp>
      </p:grpSp>
      <p:sp>
        <p:nvSpPr>
          <p:cNvPr id="69" name="Rectangle 68"/>
          <p:cNvSpPr/>
          <p:nvPr/>
        </p:nvSpPr>
        <p:spPr>
          <a:xfrm>
            <a:off x="1243640" y="1727370"/>
            <a:ext cx="1570495" cy="584775"/>
          </a:xfrm>
          <a:prstGeom prst="rect">
            <a:avLst/>
          </a:prstGeom>
        </p:spPr>
        <p:txBody>
          <a:bodyPr wrap="none" lIns="0" tIns="0" rIns="0" bIns="0">
            <a:noAutofit/>
          </a:bodyPr>
          <a:lstStyle/>
          <a:p>
            <a:pPr lvl="0" algn="ctr"/>
            <a:r>
              <a:rPr lang="en-US" sz="2400" dirty="0">
                <a:latin typeface="Segoe UI Light"/>
              </a:rPr>
              <a:t>Analytics on any data, </a:t>
            </a:r>
            <a:br>
              <a:rPr lang="en-US" sz="2400" dirty="0">
                <a:latin typeface="Segoe UI Light"/>
              </a:rPr>
            </a:br>
            <a:r>
              <a:rPr lang="en-US" sz="2400" dirty="0">
                <a:latin typeface="Segoe UI Light"/>
              </a:rPr>
              <a:t>any size</a:t>
            </a:r>
          </a:p>
        </p:txBody>
      </p:sp>
      <p:sp>
        <p:nvSpPr>
          <p:cNvPr id="70" name="Rectangle 69"/>
          <p:cNvSpPr/>
          <p:nvPr/>
        </p:nvSpPr>
        <p:spPr>
          <a:xfrm>
            <a:off x="5313292" y="1727370"/>
            <a:ext cx="1570495" cy="584775"/>
          </a:xfrm>
          <a:prstGeom prst="rect">
            <a:avLst/>
          </a:prstGeom>
        </p:spPr>
        <p:txBody>
          <a:bodyPr wrap="none" lIns="0" tIns="0" rIns="0" bIns="0">
            <a:noAutofit/>
          </a:bodyPr>
          <a:lstStyle/>
          <a:p>
            <a:pPr lvl="0" algn="ctr"/>
            <a:r>
              <a:rPr lang="en-US" sz="2400" dirty="0">
                <a:latin typeface="Segoe UI Light"/>
              </a:rPr>
              <a:t>Easier and more </a:t>
            </a:r>
            <a:br>
              <a:rPr lang="en-US" sz="2400" dirty="0">
                <a:latin typeface="Segoe UI Light"/>
              </a:rPr>
            </a:br>
            <a:r>
              <a:rPr lang="en-US" sz="2400" dirty="0">
                <a:latin typeface="Segoe UI Light"/>
              </a:rPr>
              <a:t>productive for all users</a:t>
            </a:r>
          </a:p>
        </p:txBody>
      </p:sp>
      <p:sp>
        <p:nvSpPr>
          <p:cNvPr id="71" name="Rectangle 70"/>
          <p:cNvSpPr/>
          <p:nvPr/>
        </p:nvSpPr>
        <p:spPr>
          <a:xfrm>
            <a:off x="9377867" y="1833563"/>
            <a:ext cx="1570495" cy="584775"/>
          </a:xfrm>
          <a:prstGeom prst="rect">
            <a:avLst/>
          </a:prstGeom>
        </p:spPr>
        <p:txBody>
          <a:bodyPr wrap="none" lIns="0" tIns="0" rIns="0" bIns="0" anchor="ctr">
            <a:noAutofit/>
          </a:bodyPr>
          <a:lstStyle/>
          <a:p>
            <a:pPr lvl="0" algn="ctr"/>
            <a:r>
              <a:rPr lang="en-US" sz="2400" dirty="0">
                <a:latin typeface="Segoe UI Light"/>
              </a:rPr>
              <a:t>Enterprise-ready</a:t>
            </a:r>
          </a:p>
        </p:txBody>
      </p:sp>
      <p:cxnSp>
        <p:nvCxnSpPr>
          <p:cNvPr id="4" name="Straight Connector 3"/>
          <p:cNvCxnSpPr/>
          <p:nvPr/>
        </p:nvCxnSpPr>
        <p:spPr>
          <a:xfrm>
            <a:off x="4069653" y="1669771"/>
            <a:ext cx="0" cy="466344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4837676" y="4296028"/>
            <a:ext cx="2521727" cy="1268582"/>
            <a:chOff x="5752770" y="882436"/>
            <a:chExt cx="1506663" cy="757943"/>
          </a:xfrm>
        </p:grpSpPr>
        <p:sp>
          <p:nvSpPr>
            <p:cNvPr id="96" name="Freeform 95"/>
            <p:cNvSpPr>
              <a:spLocks/>
            </p:cNvSpPr>
            <p:nvPr/>
          </p:nvSpPr>
          <p:spPr bwMode="auto">
            <a:xfrm flipH="1">
              <a:off x="5752770" y="882436"/>
              <a:ext cx="828550" cy="757943"/>
            </a:xfrm>
            <a:custGeom>
              <a:avLst/>
              <a:gdLst/>
              <a:ahLst/>
              <a:cxnLst/>
              <a:rect l="l" t="t" r="r" b="b"/>
              <a:pathLst>
                <a:path w="310149" h="299015">
                  <a:moveTo>
                    <a:pt x="231101" y="150303"/>
                  </a:moveTo>
                  <a:cubicBezTo>
                    <a:pt x="283800" y="150303"/>
                    <a:pt x="308267" y="186102"/>
                    <a:pt x="310149" y="272772"/>
                  </a:cubicBezTo>
                  <a:cubicBezTo>
                    <a:pt x="296975" y="272772"/>
                    <a:pt x="234865" y="272772"/>
                    <a:pt x="223573" y="272772"/>
                  </a:cubicBezTo>
                  <a:cubicBezTo>
                    <a:pt x="223573" y="236973"/>
                    <a:pt x="217926" y="191754"/>
                    <a:pt x="197223" y="157840"/>
                  </a:cubicBezTo>
                  <a:close/>
                  <a:moveTo>
                    <a:pt x="101540" y="129626"/>
                  </a:moveTo>
                  <a:cubicBezTo>
                    <a:pt x="186156" y="129626"/>
                    <a:pt x="201199" y="204910"/>
                    <a:pt x="201199" y="299015"/>
                  </a:cubicBezTo>
                  <a:lnTo>
                    <a:pt x="0" y="299015"/>
                  </a:lnTo>
                  <a:cubicBezTo>
                    <a:pt x="0" y="204910"/>
                    <a:pt x="15043" y="129626"/>
                    <a:pt x="101540" y="129626"/>
                  </a:cubicBezTo>
                  <a:close/>
                  <a:moveTo>
                    <a:pt x="230226" y="45329"/>
                  </a:moveTo>
                  <a:cubicBezTo>
                    <a:pt x="255480" y="45329"/>
                    <a:pt x="275953" y="65446"/>
                    <a:pt x="275953" y="90261"/>
                  </a:cubicBezTo>
                  <a:cubicBezTo>
                    <a:pt x="275953" y="115076"/>
                    <a:pt x="255480" y="135193"/>
                    <a:pt x="230226" y="135193"/>
                  </a:cubicBezTo>
                  <a:cubicBezTo>
                    <a:pt x="204972" y="135193"/>
                    <a:pt x="184499" y="115076"/>
                    <a:pt x="184499" y="90261"/>
                  </a:cubicBezTo>
                  <a:cubicBezTo>
                    <a:pt x="184499" y="65446"/>
                    <a:pt x="204972" y="45329"/>
                    <a:pt x="230226" y="45329"/>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9050">
              <a:solidFill>
                <a:srgbClr val="00BCF2"/>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z="2200" spc="-135" dirty="0">
                <a:solidFill>
                  <a:schemeClr val="accent3"/>
                </a:solidFill>
                <a:latin typeface="Segoe Light" pitchFamily="34" charset="0"/>
              </a:endParaRPr>
            </a:p>
          </p:txBody>
        </p:sp>
        <p:sp>
          <p:nvSpPr>
            <p:cNvPr id="95" name="Freeform 94"/>
            <p:cNvSpPr>
              <a:spLocks/>
            </p:cNvSpPr>
            <p:nvPr/>
          </p:nvSpPr>
          <p:spPr bwMode="auto">
            <a:xfrm>
              <a:off x="6430883" y="882436"/>
              <a:ext cx="828550" cy="757943"/>
            </a:xfrm>
            <a:custGeom>
              <a:avLst/>
              <a:gdLst/>
              <a:ahLst/>
              <a:cxnLst/>
              <a:rect l="l" t="t" r="r" b="b"/>
              <a:pathLst>
                <a:path w="310149" h="299015">
                  <a:moveTo>
                    <a:pt x="231101" y="150303"/>
                  </a:moveTo>
                  <a:cubicBezTo>
                    <a:pt x="283800" y="150303"/>
                    <a:pt x="308267" y="186102"/>
                    <a:pt x="310149" y="272772"/>
                  </a:cubicBezTo>
                  <a:cubicBezTo>
                    <a:pt x="296975" y="272772"/>
                    <a:pt x="234865" y="272772"/>
                    <a:pt x="223573" y="272772"/>
                  </a:cubicBezTo>
                  <a:cubicBezTo>
                    <a:pt x="223573" y="236973"/>
                    <a:pt x="217926" y="191754"/>
                    <a:pt x="197223" y="157840"/>
                  </a:cubicBezTo>
                  <a:close/>
                  <a:moveTo>
                    <a:pt x="101540" y="129626"/>
                  </a:moveTo>
                  <a:cubicBezTo>
                    <a:pt x="186156" y="129626"/>
                    <a:pt x="201199" y="204910"/>
                    <a:pt x="201199" y="299015"/>
                  </a:cubicBezTo>
                  <a:lnTo>
                    <a:pt x="0" y="299015"/>
                  </a:lnTo>
                  <a:cubicBezTo>
                    <a:pt x="0" y="204910"/>
                    <a:pt x="15043" y="129626"/>
                    <a:pt x="101540" y="129626"/>
                  </a:cubicBezTo>
                  <a:close/>
                  <a:moveTo>
                    <a:pt x="230226" y="45329"/>
                  </a:moveTo>
                  <a:cubicBezTo>
                    <a:pt x="255480" y="45329"/>
                    <a:pt x="275953" y="65446"/>
                    <a:pt x="275953" y="90261"/>
                  </a:cubicBezTo>
                  <a:cubicBezTo>
                    <a:pt x="275953" y="115076"/>
                    <a:pt x="255480" y="135193"/>
                    <a:pt x="230226" y="135193"/>
                  </a:cubicBezTo>
                  <a:cubicBezTo>
                    <a:pt x="204972" y="135193"/>
                    <a:pt x="184499" y="115076"/>
                    <a:pt x="184499" y="90261"/>
                  </a:cubicBezTo>
                  <a:cubicBezTo>
                    <a:pt x="184499" y="65446"/>
                    <a:pt x="204972" y="45329"/>
                    <a:pt x="230226" y="45329"/>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9050">
              <a:solidFill>
                <a:schemeClr val="accent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z="2200" spc="-135" dirty="0">
                <a:solidFill>
                  <a:schemeClr val="accent3"/>
                </a:solidFill>
                <a:latin typeface="Segoe Light" pitchFamily="34" charset="0"/>
              </a:endParaRPr>
            </a:p>
          </p:txBody>
        </p:sp>
      </p:grpSp>
      <p:cxnSp>
        <p:nvCxnSpPr>
          <p:cNvPr id="99" name="Straight Connector 98"/>
          <p:cNvCxnSpPr/>
          <p:nvPr/>
        </p:nvCxnSpPr>
        <p:spPr>
          <a:xfrm flipV="1">
            <a:off x="4069653" y="1632940"/>
            <a:ext cx="0" cy="9860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bwMode="auto">
          <a:xfrm>
            <a:off x="4069653" y="1632940"/>
            <a:ext cx="4064575" cy="4700271"/>
          </a:xfrm>
          <a:prstGeom prst="rect">
            <a:avLst/>
          </a:prstGeom>
          <a:solidFill>
            <a:schemeClr val="tx1">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14" name="Rectangle 113"/>
          <p:cNvSpPr/>
          <p:nvPr/>
        </p:nvSpPr>
        <p:spPr bwMode="auto">
          <a:xfrm>
            <a:off x="8134228" y="1632940"/>
            <a:ext cx="4057772" cy="4700271"/>
          </a:xfrm>
          <a:prstGeom prst="rect">
            <a:avLst/>
          </a:prstGeom>
          <a:solidFill>
            <a:schemeClr val="tx1">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cxnSp>
        <p:nvCxnSpPr>
          <p:cNvPr id="72" name="Straight Connector 71"/>
          <p:cNvCxnSpPr/>
          <p:nvPr/>
        </p:nvCxnSpPr>
        <p:spPr>
          <a:xfrm>
            <a:off x="8134228" y="1669771"/>
            <a:ext cx="0" cy="466344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8134228" y="1580322"/>
            <a:ext cx="0" cy="10386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4021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0460" y="511827"/>
            <a:ext cx="5251504" cy="2200893"/>
          </a:xfrm>
        </p:spPr>
        <p:txBody>
          <a:bodyPr/>
          <a:lstStyle/>
          <a:p>
            <a:r>
              <a:rPr lang="en-US" dirty="0"/>
              <a:t>Store any size of data and optimize for high-performance</a:t>
            </a:r>
          </a:p>
        </p:txBody>
      </p:sp>
      <p:sp>
        <p:nvSpPr>
          <p:cNvPr id="3" name="Text Placeholder 2"/>
          <p:cNvSpPr>
            <a:spLocks noGrp="1"/>
          </p:cNvSpPr>
          <p:nvPr>
            <p:ph type="body" sz="quarter" idx="10"/>
          </p:nvPr>
        </p:nvSpPr>
        <p:spPr>
          <a:xfrm>
            <a:off x="6587682" y="511827"/>
            <a:ext cx="5243532" cy="4598182"/>
          </a:xfrm>
        </p:spPr>
        <p:txBody>
          <a:bodyPr/>
          <a:lstStyle/>
          <a:p>
            <a:pPr>
              <a:spcBef>
                <a:spcPts val="1800"/>
              </a:spcBef>
              <a:buClr>
                <a:srgbClr val="0078D7"/>
              </a:buClr>
            </a:pPr>
            <a:r>
              <a:rPr lang="en-US" sz="2800" dirty="0">
                <a:solidFill>
                  <a:srgbClr val="003C6C"/>
                </a:solidFill>
              </a:rPr>
              <a:t>Store data in it’s native format</a:t>
            </a:r>
          </a:p>
          <a:p>
            <a:pPr>
              <a:spcBef>
                <a:spcPts val="1800"/>
              </a:spcBef>
              <a:buClr>
                <a:srgbClr val="0078D7"/>
              </a:buClr>
            </a:pPr>
            <a:r>
              <a:rPr lang="en-US" sz="2800" dirty="0">
                <a:solidFill>
                  <a:srgbClr val="003C6C"/>
                </a:solidFill>
              </a:rPr>
              <a:t>No fixed limits on file sizes—PB sized files</a:t>
            </a:r>
          </a:p>
          <a:p>
            <a:pPr>
              <a:spcBef>
                <a:spcPts val="1800"/>
              </a:spcBef>
              <a:buClr>
                <a:srgbClr val="0078D7"/>
              </a:buClr>
            </a:pPr>
            <a:r>
              <a:rPr lang="en-US" sz="2800" dirty="0">
                <a:solidFill>
                  <a:srgbClr val="003C6C"/>
                </a:solidFill>
              </a:rPr>
              <a:t>Ultra-fast read/write access</a:t>
            </a:r>
          </a:p>
          <a:p>
            <a:pPr>
              <a:spcBef>
                <a:spcPts val="1800"/>
              </a:spcBef>
              <a:buClr>
                <a:srgbClr val="0078D7"/>
              </a:buClr>
            </a:pPr>
            <a:r>
              <a:rPr lang="en-US" sz="2800" dirty="0">
                <a:solidFill>
                  <a:srgbClr val="003C6C"/>
                </a:solidFill>
              </a:rPr>
              <a:t>Optimized for large analytic systems with massive throughput</a:t>
            </a:r>
          </a:p>
          <a:p>
            <a:pPr>
              <a:spcBef>
                <a:spcPts val="1800"/>
              </a:spcBef>
              <a:buClr>
                <a:srgbClr val="0078D7"/>
              </a:buClr>
            </a:pPr>
            <a:r>
              <a:rPr lang="en-US" sz="2800" dirty="0">
                <a:solidFill>
                  <a:srgbClr val="003C6C"/>
                </a:solidFill>
              </a:rPr>
              <a:t>Optimized for IOT with high availability</a:t>
            </a:r>
            <a:endParaRPr lang="en-US" sz="4000" dirty="0"/>
          </a:p>
        </p:txBody>
      </p:sp>
      <p:sp>
        <p:nvSpPr>
          <p:cNvPr id="101" name="Text Placeholder 9"/>
          <p:cNvSpPr txBox="1">
            <a:spLocks/>
          </p:cNvSpPr>
          <p:nvPr/>
        </p:nvSpPr>
        <p:spPr>
          <a:xfrm>
            <a:off x="4740008" y="1497425"/>
            <a:ext cx="7471793" cy="223880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solidFill>
                  <a:schemeClr val="accent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594" fontAlgn="base">
              <a:spcBef>
                <a:spcPts val="2353"/>
              </a:spcBef>
              <a:buSzPct val="75000"/>
            </a:pPr>
            <a:endParaRPr lang="en-US" sz="2353" kern="0" dirty="0">
              <a:solidFill>
                <a:schemeClr val="tx1"/>
              </a:solidFill>
              <a:ea typeface="Segoe UI" pitchFamily="34" charset="0"/>
              <a:cs typeface="Segoe UI" pitchFamily="34" charset="0"/>
            </a:endParaRPr>
          </a:p>
        </p:txBody>
      </p:sp>
      <p:sp>
        <p:nvSpPr>
          <p:cNvPr id="92" name="Rectangle 91"/>
          <p:cNvSpPr/>
          <p:nvPr/>
        </p:nvSpPr>
        <p:spPr>
          <a:xfrm>
            <a:off x="269240" y="1907280"/>
            <a:ext cx="4550516" cy="41367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89642" bIns="89642" rtlCol="0" anchor="t"/>
          <a:lstStyle/>
          <a:p>
            <a:pPr marL="0" lvl="1">
              <a:lnSpc>
                <a:spcPct val="90000"/>
              </a:lnSpc>
            </a:pPr>
            <a:endParaRPr lang="en-US" sz="2353" dirty="0">
              <a:solidFill>
                <a:schemeClr val="accent4"/>
              </a:solidFill>
            </a:endParaRPr>
          </a:p>
        </p:txBody>
      </p:sp>
      <p:sp>
        <p:nvSpPr>
          <p:cNvPr id="81" name="Rectangle 80"/>
          <p:cNvSpPr>
            <a:spLocks/>
          </p:cNvSpPr>
          <p:nvPr/>
        </p:nvSpPr>
        <p:spPr>
          <a:xfrm>
            <a:off x="390763" y="2712720"/>
            <a:ext cx="5483263" cy="2892950"/>
          </a:xfrm>
          <a:prstGeom prst="rect">
            <a:avLst/>
          </a:prstGeom>
          <a:solidFill>
            <a:schemeClr val="tx1"/>
          </a:solidFill>
          <a:ln w="19050" cap="flat" cmpd="sng" algn="ctr">
            <a:solidFill>
              <a:srgbClr val="0078D7"/>
            </a:solidFill>
            <a:prstDash val="solid"/>
          </a:ln>
          <a:effectLst/>
        </p:spPr>
        <p:txBody>
          <a:bodyPr lIns="97146" tIns="0" rIns="97146" bIns="4572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8574">
              <a:defRPr/>
            </a:pPr>
            <a:endParaRPr lang="en-US" sz="2380" dirty="0">
              <a:solidFill>
                <a:schemeClr val="accent1"/>
              </a:solidFill>
              <a:latin typeface="Segoe UI" panose="020B0502040204020203" pitchFamily="34" charset="0"/>
              <a:cs typeface="Segoe UI" panose="020B0502040204020203" pitchFamily="34" charset="0"/>
            </a:endParaRPr>
          </a:p>
        </p:txBody>
      </p:sp>
      <p:sp>
        <p:nvSpPr>
          <p:cNvPr id="82" name="Rounded Rectangle 81"/>
          <p:cNvSpPr/>
          <p:nvPr/>
        </p:nvSpPr>
        <p:spPr>
          <a:xfrm>
            <a:off x="450870" y="3200401"/>
            <a:ext cx="5323765" cy="2286000"/>
          </a:xfrm>
          <a:prstGeom prst="roundRect">
            <a:avLst>
              <a:gd name="adj" fmla="val 14066"/>
            </a:avLst>
          </a:prstGeom>
          <a:solidFill>
            <a:schemeClr val="tx1"/>
          </a:solidFill>
          <a:ln w="19050">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32578"/>
            <a:endParaRPr lang="en-US" kern="0" dirty="0">
              <a:solidFill>
                <a:srgbClr val="0078D7"/>
              </a:solidFill>
              <a:latin typeface="Segoe UI Semibold" panose="020B0702040204020203" pitchFamily="34" charset="0"/>
              <a:cs typeface="Segoe UI Semibold" panose="020B0702040204020203" pitchFamily="34" charset="0"/>
            </a:endParaRPr>
          </a:p>
        </p:txBody>
      </p:sp>
      <p:sp>
        <p:nvSpPr>
          <p:cNvPr id="94" name="Freeform 5"/>
          <p:cNvSpPr>
            <a:spLocks noEditPoints="1"/>
          </p:cNvSpPr>
          <p:nvPr/>
        </p:nvSpPr>
        <p:spPr bwMode="auto">
          <a:xfrm>
            <a:off x="1272032" y="4629160"/>
            <a:ext cx="337156" cy="31940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078D7"/>
          </a:solidFill>
          <a:ln>
            <a:noFill/>
          </a:ln>
        </p:spPr>
        <p:txBody>
          <a:bodyPr vert="horz" wrap="square" lIns="23809" tIns="23809" rIns="0" bIns="23809" numCol="1" anchor="t" anchorCtr="0" compatLnSpc="1">
            <a:prstTxWarp prst="textNoShape">
              <a:avLst/>
            </a:prstTxWarp>
          </a:bodyPr>
          <a:lstStyle/>
          <a:p>
            <a:pPr defTabSz="485718">
              <a:defRPr/>
            </a:pPr>
            <a:endParaRPr lang="en-US" sz="680" kern="0">
              <a:solidFill>
                <a:prstClr val="black"/>
              </a:solidFill>
              <a:latin typeface="Segoe UI Light"/>
            </a:endParaRPr>
          </a:p>
        </p:txBody>
      </p:sp>
      <p:sp>
        <p:nvSpPr>
          <p:cNvPr id="97" name="Freeform 7"/>
          <p:cNvSpPr>
            <a:spLocks noEditPoints="1"/>
          </p:cNvSpPr>
          <p:nvPr/>
        </p:nvSpPr>
        <p:spPr bwMode="auto">
          <a:xfrm>
            <a:off x="1254584" y="5015298"/>
            <a:ext cx="292171" cy="353825"/>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078D7"/>
          </a:solidFill>
          <a:ln w="10795" cap="flat" cmpd="sng" algn="ctr">
            <a:noFill/>
            <a:prstDash val="solid"/>
            <a:headEnd type="none" w="med" len="med"/>
            <a:tailEnd type="none" w="med" len="med"/>
          </a:ln>
          <a:effectLst/>
        </p:spPr>
        <p:txBody>
          <a:bodyPr vert="horz" wrap="square" lIns="23809" tIns="23808" rIns="0" bIns="23808" numCol="1" rtlCol="0" anchor="ctr" anchorCtr="0" compatLnSpc="1">
            <a:prstTxWarp prst="textNoShape">
              <a:avLst/>
            </a:prstTxWarp>
          </a:bodyPr>
          <a:lstStyle/>
          <a:p>
            <a:pPr defTabSz="428531">
              <a:defRPr/>
            </a:pPr>
            <a:endParaRPr lang="en-US" sz="680" kern="0" spc="-71" dirty="0">
              <a:solidFill>
                <a:srgbClr val="008272"/>
              </a:solidFill>
              <a:latin typeface="Segoe UI Light"/>
            </a:endParaRPr>
          </a:p>
        </p:txBody>
      </p:sp>
      <p:sp>
        <p:nvSpPr>
          <p:cNvPr id="98" name="Rounded Rectangle 18"/>
          <p:cNvSpPr/>
          <p:nvPr/>
        </p:nvSpPr>
        <p:spPr bwMode="auto">
          <a:xfrm>
            <a:off x="1756315" y="4471742"/>
            <a:ext cx="294430" cy="319131"/>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23809" tIns="23809" rIns="0" bIns="47618" numCol="1" spcCol="0" rtlCol="0" fromWordArt="0" anchor="b" anchorCtr="0" forceAA="0" compatLnSpc="1">
            <a:prstTxWarp prst="textNoShape">
              <a:avLst/>
            </a:prstTxWarp>
            <a:noAutofit/>
          </a:bodyPr>
          <a:lstStyle/>
          <a:p>
            <a:pPr defTabSz="475992" fontAlgn="base">
              <a:spcBef>
                <a:spcPct val="0"/>
              </a:spcBef>
              <a:spcAft>
                <a:spcPct val="0"/>
              </a:spcAft>
              <a:defRPr/>
            </a:pPr>
            <a:endParaRPr lang="en-US" sz="680" kern="0" spc="-26"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9" name="Freeform 98"/>
          <p:cNvSpPr>
            <a:spLocks noChangeAspect="1"/>
          </p:cNvSpPr>
          <p:nvPr/>
        </p:nvSpPr>
        <p:spPr bwMode="auto">
          <a:xfrm>
            <a:off x="4107866" y="3588912"/>
            <a:ext cx="387895" cy="382065"/>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23809" tIns="76190" rIns="0" bIns="76190" numCol="1" spcCol="0" rtlCol="0" fromWordArt="0" anchor="t" anchorCtr="0" forceAA="0" compatLnSpc="1">
            <a:prstTxWarp prst="textNoShape">
              <a:avLst/>
            </a:prstTxWarp>
            <a:noAutofit/>
          </a:bodyPr>
          <a:lstStyle/>
          <a:p>
            <a:pPr defTabSz="485560" fontAlgn="base">
              <a:lnSpc>
                <a:spcPct val="90000"/>
              </a:lnSpc>
              <a:spcBef>
                <a:spcPct val="0"/>
              </a:spcBef>
              <a:spcAft>
                <a:spcPct val="0"/>
              </a:spcAft>
              <a:defRPr/>
            </a:pPr>
            <a:endParaRPr lang="en-US" sz="680"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0" name="Frame 5"/>
          <p:cNvSpPr>
            <a:spLocks noChangeAspect="1"/>
          </p:cNvSpPr>
          <p:nvPr/>
        </p:nvSpPr>
        <p:spPr bwMode="auto">
          <a:xfrm>
            <a:off x="2302870" y="5017197"/>
            <a:ext cx="284889" cy="321026"/>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23809" tIns="28006" rIns="0" bIns="56011" numCol="1" spcCol="0" rtlCol="0" fromWordArt="0" anchor="b" anchorCtr="0" forceAA="0" compatLnSpc="1">
            <a:prstTxWarp prst="textNoShape">
              <a:avLst/>
            </a:prstTxWarp>
            <a:noAutofit/>
          </a:bodyPr>
          <a:lstStyle/>
          <a:p>
            <a:pPr defTabSz="559831" fontAlgn="base">
              <a:spcBef>
                <a:spcPct val="0"/>
              </a:spcBef>
              <a:spcAft>
                <a:spcPct val="0"/>
              </a:spcAft>
              <a:defRPr/>
            </a:pPr>
            <a:endParaRPr lang="en-US" sz="680" kern="0" spc="-31"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2" name="Freeform 53"/>
          <p:cNvSpPr>
            <a:spLocks noEditPoints="1"/>
          </p:cNvSpPr>
          <p:nvPr/>
        </p:nvSpPr>
        <p:spPr bwMode="auto">
          <a:xfrm>
            <a:off x="1759135" y="4949146"/>
            <a:ext cx="377072" cy="531989"/>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078D7"/>
          </a:solidFill>
          <a:ln>
            <a:noFill/>
          </a:ln>
        </p:spPr>
        <p:txBody>
          <a:bodyPr vert="horz" wrap="square" lIns="48559" tIns="24279" rIns="48559" bIns="24279" numCol="1" anchor="t" anchorCtr="0" compatLnSpc="1">
            <a:prstTxWarp prst="textNoShape">
              <a:avLst/>
            </a:prstTxWarp>
          </a:bodyPr>
          <a:lstStyle/>
          <a:p>
            <a:pPr defTabSz="495271">
              <a:defRPr/>
            </a:pPr>
            <a:endParaRPr lang="en-US" sz="1700" kern="0">
              <a:solidFill>
                <a:srgbClr val="333333"/>
              </a:solidFill>
              <a:latin typeface="Segoe UI Light"/>
              <a:ea typeface="MS PGothic" panose="020B0600070205080204" pitchFamily="34" charset="-128"/>
            </a:endParaRPr>
          </a:p>
        </p:txBody>
      </p:sp>
      <p:sp>
        <p:nvSpPr>
          <p:cNvPr id="116" name="Freeform 16"/>
          <p:cNvSpPr>
            <a:spLocks noChangeAspect="1" noEditPoints="1"/>
          </p:cNvSpPr>
          <p:nvPr/>
        </p:nvSpPr>
        <p:spPr bwMode="auto">
          <a:xfrm>
            <a:off x="2766648" y="4969616"/>
            <a:ext cx="452354" cy="437895"/>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078D7"/>
          </a:solidFill>
          <a:ln>
            <a:noFill/>
          </a:ln>
          <a:extLst/>
        </p:spPr>
        <p:txBody>
          <a:bodyPr vert="horz" wrap="square" lIns="48559" tIns="24279" rIns="48559" bIns="24279" numCol="1" anchor="t" anchorCtr="0" compatLnSpc="1">
            <a:prstTxWarp prst="textNoShape">
              <a:avLst/>
            </a:prstTxWarp>
          </a:bodyPr>
          <a:lstStyle/>
          <a:p>
            <a:pPr defTabSz="495271">
              <a:defRPr/>
            </a:pPr>
            <a:endParaRPr lang="en-US" sz="1700" kern="0">
              <a:solidFill>
                <a:srgbClr val="333333"/>
              </a:solidFill>
              <a:latin typeface="Segoe UI Light"/>
              <a:ea typeface="MS PGothic" panose="020B0600070205080204" pitchFamily="34" charset="-128"/>
            </a:endParaRPr>
          </a:p>
        </p:txBody>
      </p:sp>
      <p:grpSp>
        <p:nvGrpSpPr>
          <p:cNvPr id="117" name="Group 116"/>
          <p:cNvGrpSpPr>
            <a:grpSpLocks noChangeAspect="1"/>
          </p:cNvGrpSpPr>
          <p:nvPr/>
        </p:nvGrpSpPr>
        <p:grpSpPr>
          <a:xfrm>
            <a:off x="2709033" y="4472792"/>
            <a:ext cx="567584" cy="362771"/>
            <a:chOff x="4481847" y="2708926"/>
            <a:chExt cx="673103" cy="430214"/>
          </a:xfrm>
          <a:solidFill>
            <a:srgbClr val="0078D7"/>
          </a:solidFill>
        </p:grpSpPr>
        <p:sp>
          <p:nvSpPr>
            <p:cNvPr id="12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41"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53"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65"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77"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grpSp>
      <p:grpSp>
        <p:nvGrpSpPr>
          <p:cNvPr id="178" name="Group 177"/>
          <p:cNvGrpSpPr>
            <a:grpSpLocks noChangeAspect="1"/>
          </p:cNvGrpSpPr>
          <p:nvPr/>
        </p:nvGrpSpPr>
        <p:grpSpPr>
          <a:xfrm>
            <a:off x="3384791" y="4995603"/>
            <a:ext cx="542589" cy="441768"/>
            <a:chOff x="-2530475" y="305948"/>
            <a:chExt cx="1119187" cy="911226"/>
          </a:xfrm>
          <a:solidFill>
            <a:srgbClr val="0078D7"/>
          </a:solidFill>
        </p:grpSpPr>
        <p:sp>
          <p:nvSpPr>
            <p:cNvPr id="179"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80"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81"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82"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83"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84"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grpSp>
      <p:sp>
        <p:nvSpPr>
          <p:cNvPr id="185" name="Donut 59"/>
          <p:cNvSpPr>
            <a:spLocks noChangeAspect="1"/>
          </p:cNvSpPr>
          <p:nvPr/>
        </p:nvSpPr>
        <p:spPr bwMode="auto">
          <a:xfrm>
            <a:off x="5300416" y="3603236"/>
            <a:ext cx="434663" cy="472178"/>
          </a:xfrm>
          <a:custGeom>
            <a:avLst/>
            <a:gdLst/>
            <a:ahLst/>
            <a:cxnLst/>
            <a:rect l="l" t="t" r="r" b="b"/>
            <a:pathLst>
              <a:path w="3409950" h="3705225">
                <a:moveTo>
                  <a:pt x="1678275" y="1464104"/>
                </a:moveTo>
                <a:cubicBezTo>
                  <a:pt x="1863395" y="1464104"/>
                  <a:pt x="2013464" y="1614173"/>
                  <a:pt x="2013464" y="1799293"/>
                </a:cubicBezTo>
                <a:cubicBezTo>
                  <a:pt x="2013464" y="1984413"/>
                  <a:pt x="1863395" y="2134482"/>
                  <a:pt x="1678275" y="2134482"/>
                </a:cubicBezTo>
                <a:cubicBezTo>
                  <a:pt x="1493155" y="2134482"/>
                  <a:pt x="1343086" y="1984413"/>
                  <a:pt x="1343086" y="1799293"/>
                </a:cubicBezTo>
                <a:cubicBezTo>
                  <a:pt x="1343086" y="1614173"/>
                  <a:pt x="1493155" y="1464104"/>
                  <a:pt x="1678275" y="1464104"/>
                </a:cubicBezTo>
                <a:close/>
                <a:moveTo>
                  <a:pt x="1678275" y="1128915"/>
                </a:moveTo>
                <a:cubicBezTo>
                  <a:pt x="1308035" y="1128915"/>
                  <a:pt x="1007897" y="1429053"/>
                  <a:pt x="1007897" y="1799293"/>
                </a:cubicBezTo>
                <a:cubicBezTo>
                  <a:pt x="1007897" y="2169533"/>
                  <a:pt x="1308035" y="2469671"/>
                  <a:pt x="1678275" y="2469671"/>
                </a:cubicBezTo>
                <a:cubicBezTo>
                  <a:pt x="2048515" y="2469671"/>
                  <a:pt x="2348653" y="2169533"/>
                  <a:pt x="2348653" y="1799293"/>
                </a:cubicBezTo>
                <a:cubicBezTo>
                  <a:pt x="2348653" y="1429053"/>
                  <a:pt x="2048515" y="1128915"/>
                  <a:pt x="1678275" y="1128915"/>
                </a:cubicBezTo>
                <a:close/>
                <a:moveTo>
                  <a:pt x="1876425" y="0"/>
                </a:moveTo>
                <a:lnTo>
                  <a:pt x="1952625" y="352425"/>
                </a:lnTo>
                <a:lnTo>
                  <a:pt x="2314575" y="476250"/>
                </a:lnTo>
                <a:lnTo>
                  <a:pt x="2533650" y="238125"/>
                </a:lnTo>
                <a:lnTo>
                  <a:pt x="2867025" y="466725"/>
                </a:lnTo>
                <a:lnTo>
                  <a:pt x="2743200" y="800100"/>
                </a:lnTo>
                <a:lnTo>
                  <a:pt x="2924175" y="1066800"/>
                </a:lnTo>
                <a:lnTo>
                  <a:pt x="3295650" y="1066800"/>
                </a:lnTo>
                <a:lnTo>
                  <a:pt x="3409950" y="1485900"/>
                </a:lnTo>
                <a:lnTo>
                  <a:pt x="3152775" y="1685925"/>
                </a:lnTo>
                <a:lnTo>
                  <a:pt x="3152775" y="2000250"/>
                </a:lnTo>
                <a:lnTo>
                  <a:pt x="3390900" y="2219325"/>
                </a:lnTo>
                <a:lnTo>
                  <a:pt x="3305175" y="2600325"/>
                </a:lnTo>
                <a:lnTo>
                  <a:pt x="2895600" y="2609850"/>
                </a:lnTo>
                <a:lnTo>
                  <a:pt x="2752725" y="2838450"/>
                </a:lnTo>
                <a:lnTo>
                  <a:pt x="2838450" y="3190875"/>
                </a:lnTo>
                <a:lnTo>
                  <a:pt x="2533650" y="3419475"/>
                </a:lnTo>
                <a:lnTo>
                  <a:pt x="2257425" y="3200400"/>
                </a:lnTo>
                <a:lnTo>
                  <a:pt x="1952625" y="3333750"/>
                </a:lnTo>
                <a:lnTo>
                  <a:pt x="1885950" y="3667125"/>
                </a:lnTo>
                <a:lnTo>
                  <a:pt x="1495425" y="3705225"/>
                </a:lnTo>
                <a:lnTo>
                  <a:pt x="1400175" y="3295650"/>
                </a:lnTo>
                <a:lnTo>
                  <a:pt x="1085850" y="3200400"/>
                </a:lnTo>
                <a:lnTo>
                  <a:pt x="819150" y="3419475"/>
                </a:lnTo>
                <a:lnTo>
                  <a:pt x="552450" y="3181350"/>
                </a:lnTo>
                <a:lnTo>
                  <a:pt x="647700" y="2867025"/>
                </a:lnTo>
                <a:lnTo>
                  <a:pt x="447675" y="2600325"/>
                </a:lnTo>
                <a:lnTo>
                  <a:pt x="76200" y="2590800"/>
                </a:lnTo>
                <a:lnTo>
                  <a:pt x="0" y="2219325"/>
                </a:lnTo>
                <a:lnTo>
                  <a:pt x="295275" y="2066925"/>
                </a:lnTo>
                <a:lnTo>
                  <a:pt x="285750" y="1695450"/>
                </a:lnTo>
                <a:lnTo>
                  <a:pt x="0" y="1457325"/>
                </a:lnTo>
                <a:lnTo>
                  <a:pt x="104775" y="1104900"/>
                </a:lnTo>
                <a:lnTo>
                  <a:pt x="457200" y="1114425"/>
                </a:lnTo>
                <a:lnTo>
                  <a:pt x="657225" y="895350"/>
                </a:lnTo>
                <a:lnTo>
                  <a:pt x="533400" y="466725"/>
                </a:lnTo>
                <a:lnTo>
                  <a:pt x="809625" y="247650"/>
                </a:lnTo>
                <a:lnTo>
                  <a:pt x="1133475" y="466725"/>
                </a:lnTo>
                <a:lnTo>
                  <a:pt x="1400175" y="371475"/>
                </a:lnTo>
                <a:lnTo>
                  <a:pt x="1504950" y="9525"/>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eaLnBrk="1" fontAlgn="base" latinLnBrk="0" hangingPunct="1">
              <a:lnSpc>
                <a:spcPct val="100000"/>
              </a:lnSpc>
              <a:spcBef>
                <a:spcPct val="0"/>
              </a:spcBef>
              <a:spcAft>
                <a:spcPct val="0"/>
              </a:spcAft>
              <a:buClrTx/>
              <a:buSzTx/>
              <a:buFontTx/>
              <a:buNone/>
              <a:tabLst/>
              <a:defRPr/>
            </a:pPr>
            <a:endParaRPr kumimoji="0" lang="en-US" sz="1599"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86" name="Donut 59"/>
          <p:cNvSpPr>
            <a:spLocks noChangeAspect="1"/>
          </p:cNvSpPr>
          <p:nvPr/>
        </p:nvSpPr>
        <p:spPr bwMode="auto">
          <a:xfrm>
            <a:off x="3332249" y="3970977"/>
            <a:ext cx="340142" cy="36704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000" spc="-5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7" name="Freeform 7"/>
          <p:cNvSpPr>
            <a:spLocks noEditPoints="1"/>
          </p:cNvSpPr>
          <p:nvPr/>
        </p:nvSpPr>
        <p:spPr bwMode="auto">
          <a:xfrm>
            <a:off x="4080571" y="4482767"/>
            <a:ext cx="292171" cy="353825"/>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078D7"/>
          </a:solidFill>
          <a:ln w="10795" cap="flat" cmpd="sng" algn="ctr">
            <a:noFill/>
            <a:prstDash val="solid"/>
            <a:headEnd type="none" w="med" len="med"/>
            <a:tailEnd type="none" w="med" len="med"/>
          </a:ln>
          <a:effectLst/>
        </p:spPr>
        <p:txBody>
          <a:bodyPr vert="horz" wrap="square" lIns="23809" tIns="23808" rIns="0" bIns="23808" numCol="1" rtlCol="0" anchor="ctr" anchorCtr="0" compatLnSpc="1">
            <a:prstTxWarp prst="textNoShape">
              <a:avLst/>
            </a:prstTxWarp>
          </a:bodyPr>
          <a:lstStyle/>
          <a:p>
            <a:pPr defTabSz="428531">
              <a:defRPr/>
            </a:pPr>
            <a:endParaRPr lang="en-US" sz="680" kern="0" spc="-71" dirty="0">
              <a:solidFill>
                <a:srgbClr val="008272"/>
              </a:solidFill>
              <a:latin typeface="Segoe UI Light"/>
            </a:endParaRPr>
          </a:p>
        </p:txBody>
      </p:sp>
      <p:sp>
        <p:nvSpPr>
          <p:cNvPr id="188" name="Rounded Rectangle 18"/>
          <p:cNvSpPr/>
          <p:nvPr/>
        </p:nvSpPr>
        <p:spPr bwMode="auto">
          <a:xfrm>
            <a:off x="4445578" y="3978213"/>
            <a:ext cx="294430" cy="319131"/>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23809" tIns="23809" rIns="0" bIns="47618" numCol="1" spcCol="0" rtlCol="0" fromWordArt="0" anchor="b" anchorCtr="0" forceAA="0" compatLnSpc="1">
            <a:prstTxWarp prst="textNoShape">
              <a:avLst/>
            </a:prstTxWarp>
            <a:noAutofit/>
          </a:bodyPr>
          <a:lstStyle/>
          <a:p>
            <a:pPr defTabSz="475992" fontAlgn="base">
              <a:spcBef>
                <a:spcPct val="0"/>
              </a:spcBef>
              <a:spcAft>
                <a:spcPct val="0"/>
              </a:spcAft>
              <a:defRPr/>
            </a:pPr>
            <a:endParaRPr lang="en-US" sz="680" kern="0" spc="-26"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9" name="Freeform 53"/>
          <p:cNvSpPr>
            <a:spLocks noEditPoints="1"/>
          </p:cNvSpPr>
          <p:nvPr/>
        </p:nvSpPr>
        <p:spPr bwMode="auto">
          <a:xfrm>
            <a:off x="4432976" y="4932847"/>
            <a:ext cx="377072" cy="531989"/>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078D7"/>
          </a:solidFill>
          <a:ln>
            <a:noFill/>
          </a:ln>
        </p:spPr>
        <p:txBody>
          <a:bodyPr vert="horz" wrap="square" lIns="48559" tIns="24279" rIns="48559" bIns="24279" numCol="1" anchor="t" anchorCtr="0" compatLnSpc="1">
            <a:prstTxWarp prst="textNoShape">
              <a:avLst/>
            </a:prstTxWarp>
          </a:bodyPr>
          <a:lstStyle/>
          <a:p>
            <a:pPr defTabSz="495271">
              <a:defRPr/>
            </a:pPr>
            <a:endParaRPr lang="en-US" sz="1700" kern="0">
              <a:solidFill>
                <a:srgbClr val="333333"/>
              </a:solidFill>
              <a:latin typeface="Segoe UI Light"/>
              <a:ea typeface="MS PGothic" panose="020B0600070205080204" pitchFamily="34" charset="-128"/>
            </a:endParaRPr>
          </a:p>
        </p:txBody>
      </p:sp>
      <p:sp>
        <p:nvSpPr>
          <p:cNvPr id="190" name="Frame 5"/>
          <p:cNvSpPr>
            <a:spLocks noChangeAspect="1"/>
          </p:cNvSpPr>
          <p:nvPr/>
        </p:nvSpPr>
        <p:spPr bwMode="auto">
          <a:xfrm>
            <a:off x="3897563" y="4115997"/>
            <a:ext cx="284889" cy="321026"/>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23809" tIns="28006" rIns="0" bIns="56011" numCol="1" spcCol="0" rtlCol="0" fromWordArt="0" anchor="b" anchorCtr="0" forceAA="0" compatLnSpc="1">
            <a:prstTxWarp prst="textNoShape">
              <a:avLst/>
            </a:prstTxWarp>
            <a:noAutofit/>
          </a:bodyPr>
          <a:lstStyle/>
          <a:p>
            <a:pPr defTabSz="559831" fontAlgn="base">
              <a:spcBef>
                <a:spcPct val="0"/>
              </a:spcBef>
              <a:spcAft>
                <a:spcPct val="0"/>
              </a:spcAft>
              <a:defRPr/>
            </a:pPr>
            <a:endParaRPr lang="en-US" sz="680" kern="0" spc="-31"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1" name="Freeform 5"/>
          <p:cNvSpPr>
            <a:spLocks noEditPoints="1"/>
          </p:cNvSpPr>
          <p:nvPr/>
        </p:nvSpPr>
        <p:spPr bwMode="auto">
          <a:xfrm>
            <a:off x="4032049" y="5019724"/>
            <a:ext cx="337156" cy="31940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078D7"/>
          </a:solidFill>
          <a:ln>
            <a:noFill/>
          </a:ln>
        </p:spPr>
        <p:txBody>
          <a:bodyPr vert="horz" wrap="square" lIns="23809" tIns="23809" rIns="0" bIns="23809" numCol="1" anchor="t" anchorCtr="0" compatLnSpc="1">
            <a:prstTxWarp prst="textNoShape">
              <a:avLst/>
            </a:prstTxWarp>
          </a:bodyPr>
          <a:lstStyle/>
          <a:p>
            <a:pPr defTabSz="485718">
              <a:defRPr/>
            </a:pPr>
            <a:endParaRPr lang="en-US" sz="680" kern="0">
              <a:solidFill>
                <a:prstClr val="black"/>
              </a:solidFill>
              <a:latin typeface="Segoe UI Light"/>
            </a:endParaRPr>
          </a:p>
        </p:txBody>
      </p:sp>
      <p:grpSp>
        <p:nvGrpSpPr>
          <p:cNvPr id="192" name="Group 191"/>
          <p:cNvGrpSpPr>
            <a:grpSpLocks noChangeAspect="1"/>
          </p:cNvGrpSpPr>
          <p:nvPr/>
        </p:nvGrpSpPr>
        <p:grpSpPr>
          <a:xfrm>
            <a:off x="4907494" y="4949146"/>
            <a:ext cx="567584" cy="362771"/>
            <a:chOff x="4481847" y="2708926"/>
            <a:chExt cx="673103" cy="430214"/>
          </a:xfrm>
          <a:solidFill>
            <a:srgbClr val="0078D7"/>
          </a:solidFill>
        </p:grpSpPr>
        <p:sp>
          <p:nvSpPr>
            <p:cNvPr id="193"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94"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95"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96"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97"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grpSp>
      <p:sp>
        <p:nvSpPr>
          <p:cNvPr id="198" name="Freeform 197"/>
          <p:cNvSpPr>
            <a:spLocks noChangeAspect="1"/>
          </p:cNvSpPr>
          <p:nvPr/>
        </p:nvSpPr>
        <p:spPr bwMode="auto">
          <a:xfrm>
            <a:off x="4557432" y="4451391"/>
            <a:ext cx="387895" cy="382065"/>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23809" tIns="76190" rIns="0" bIns="76190" numCol="1" spcCol="0" rtlCol="0" fromWordArt="0" anchor="t" anchorCtr="0" forceAA="0" compatLnSpc="1">
            <a:prstTxWarp prst="textNoShape">
              <a:avLst/>
            </a:prstTxWarp>
            <a:noAutofit/>
          </a:bodyPr>
          <a:lstStyle/>
          <a:p>
            <a:pPr defTabSz="485560" fontAlgn="base">
              <a:lnSpc>
                <a:spcPct val="90000"/>
              </a:lnSpc>
              <a:spcBef>
                <a:spcPct val="0"/>
              </a:spcBef>
              <a:spcAft>
                <a:spcPct val="0"/>
              </a:spcAft>
              <a:defRPr/>
            </a:pPr>
            <a:endParaRPr lang="en-US" sz="680"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5" name="Donut 59"/>
          <p:cNvSpPr>
            <a:spLocks noChangeAspect="1"/>
          </p:cNvSpPr>
          <p:nvPr/>
        </p:nvSpPr>
        <p:spPr bwMode="auto">
          <a:xfrm>
            <a:off x="5254926" y="4496018"/>
            <a:ext cx="340142" cy="36704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000" spc="-5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6" name="Freeform 129"/>
          <p:cNvSpPr>
            <a:spLocks noChangeAspect="1" noEditPoints="1"/>
          </p:cNvSpPr>
          <p:nvPr/>
        </p:nvSpPr>
        <p:spPr bwMode="auto">
          <a:xfrm>
            <a:off x="4952952" y="4015088"/>
            <a:ext cx="385637" cy="448212"/>
          </a:xfrm>
          <a:custGeom>
            <a:avLst/>
            <a:gdLst>
              <a:gd name="T0" fmla="*/ 60 w 112"/>
              <a:gd name="T1" fmla="*/ 16 h 128"/>
              <a:gd name="T2" fmla="*/ 60 w 112"/>
              <a:gd name="T3" fmla="*/ 8 h 128"/>
              <a:gd name="T4" fmla="*/ 68 w 112"/>
              <a:gd name="T5" fmla="*/ 8 h 128"/>
              <a:gd name="T6" fmla="*/ 68 w 112"/>
              <a:gd name="T7" fmla="*/ 0 h 128"/>
              <a:gd name="T8" fmla="*/ 44 w 112"/>
              <a:gd name="T9" fmla="*/ 0 h 128"/>
              <a:gd name="T10" fmla="*/ 44 w 112"/>
              <a:gd name="T11" fmla="*/ 8 h 128"/>
              <a:gd name="T12" fmla="*/ 52 w 112"/>
              <a:gd name="T13" fmla="*/ 8 h 128"/>
              <a:gd name="T14" fmla="*/ 52 w 112"/>
              <a:gd name="T15" fmla="*/ 16 h 128"/>
              <a:gd name="T16" fmla="*/ 0 w 112"/>
              <a:gd name="T17" fmla="*/ 72 h 128"/>
              <a:gd name="T18" fmla="*/ 56 w 112"/>
              <a:gd name="T19" fmla="*/ 128 h 128"/>
              <a:gd name="T20" fmla="*/ 112 w 112"/>
              <a:gd name="T21" fmla="*/ 72 h 128"/>
              <a:gd name="T22" fmla="*/ 60 w 112"/>
              <a:gd name="T23" fmla="*/ 16 h 128"/>
              <a:gd name="T24" fmla="*/ 56 w 112"/>
              <a:gd name="T25" fmla="*/ 120 h 128"/>
              <a:gd name="T26" fmla="*/ 8 w 112"/>
              <a:gd name="T27" fmla="*/ 72 h 128"/>
              <a:gd name="T28" fmla="*/ 56 w 112"/>
              <a:gd name="T29" fmla="*/ 24 h 128"/>
              <a:gd name="T30" fmla="*/ 104 w 112"/>
              <a:gd name="T31" fmla="*/ 72 h 128"/>
              <a:gd name="T32" fmla="*/ 56 w 112"/>
              <a:gd name="T33" fmla="*/ 120 h 128"/>
              <a:gd name="T34" fmla="*/ 60 w 112"/>
              <a:gd name="T35" fmla="*/ 70 h 128"/>
              <a:gd name="T36" fmla="*/ 79 w 112"/>
              <a:gd name="T37" fmla="*/ 89 h 128"/>
              <a:gd name="T38" fmla="*/ 73 w 112"/>
              <a:gd name="T39" fmla="*/ 95 h 128"/>
              <a:gd name="T40" fmla="*/ 52 w 112"/>
              <a:gd name="T41" fmla="*/ 74 h 128"/>
              <a:gd name="T42" fmla="*/ 52 w 112"/>
              <a:gd name="T43" fmla="*/ 40 h 128"/>
              <a:gd name="T44" fmla="*/ 60 w 112"/>
              <a:gd name="T45" fmla="*/ 40 h 128"/>
              <a:gd name="T46" fmla="*/ 60 w 112"/>
              <a:gd name="T47" fmla="*/ 7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28">
                <a:moveTo>
                  <a:pt x="60" y="16"/>
                </a:moveTo>
                <a:cubicBezTo>
                  <a:pt x="60" y="8"/>
                  <a:pt x="60" y="8"/>
                  <a:pt x="60" y="8"/>
                </a:cubicBezTo>
                <a:cubicBezTo>
                  <a:pt x="68" y="8"/>
                  <a:pt x="68" y="8"/>
                  <a:pt x="68" y="8"/>
                </a:cubicBezTo>
                <a:cubicBezTo>
                  <a:pt x="68" y="0"/>
                  <a:pt x="68" y="0"/>
                  <a:pt x="68" y="0"/>
                </a:cubicBezTo>
                <a:cubicBezTo>
                  <a:pt x="44" y="0"/>
                  <a:pt x="44" y="0"/>
                  <a:pt x="44" y="0"/>
                </a:cubicBezTo>
                <a:cubicBezTo>
                  <a:pt x="44" y="8"/>
                  <a:pt x="44" y="8"/>
                  <a:pt x="44" y="8"/>
                </a:cubicBezTo>
                <a:cubicBezTo>
                  <a:pt x="52" y="8"/>
                  <a:pt x="52" y="8"/>
                  <a:pt x="52" y="8"/>
                </a:cubicBezTo>
                <a:cubicBezTo>
                  <a:pt x="52" y="16"/>
                  <a:pt x="52" y="16"/>
                  <a:pt x="52" y="16"/>
                </a:cubicBezTo>
                <a:cubicBezTo>
                  <a:pt x="23" y="18"/>
                  <a:pt x="0" y="42"/>
                  <a:pt x="0" y="72"/>
                </a:cubicBezTo>
                <a:cubicBezTo>
                  <a:pt x="0" y="103"/>
                  <a:pt x="25" y="128"/>
                  <a:pt x="56" y="128"/>
                </a:cubicBezTo>
                <a:cubicBezTo>
                  <a:pt x="87" y="128"/>
                  <a:pt x="112" y="103"/>
                  <a:pt x="112" y="72"/>
                </a:cubicBezTo>
                <a:cubicBezTo>
                  <a:pt x="112" y="42"/>
                  <a:pt x="89" y="18"/>
                  <a:pt x="60" y="16"/>
                </a:cubicBezTo>
                <a:close/>
                <a:moveTo>
                  <a:pt x="56" y="120"/>
                </a:moveTo>
                <a:cubicBezTo>
                  <a:pt x="29" y="120"/>
                  <a:pt x="8" y="98"/>
                  <a:pt x="8" y="72"/>
                </a:cubicBezTo>
                <a:cubicBezTo>
                  <a:pt x="8" y="45"/>
                  <a:pt x="29" y="24"/>
                  <a:pt x="56" y="24"/>
                </a:cubicBezTo>
                <a:cubicBezTo>
                  <a:pt x="82" y="24"/>
                  <a:pt x="104" y="45"/>
                  <a:pt x="104" y="72"/>
                </a:cubicBezTo>
                <a:cubicBezTo>
                  <a:pt x="104" y="98"/>
                  <a:pt x="82" y="120"/>
                  <a:pt x="56" y="120"/>
                </a:cubicBezTo>
                <a:close/>
                <a:moveTo>
                  <a:pt x="60" y="70"/>
                </a:moveTo>
                <a:cubicBezTo>
                  <a:pt x="79" y="89"/>
                  <a:pt x="79" y="89"/>
                  <a:pt x="79" y="89"/>
                </a:cubicBezTo>
                <a:cubicBezTo>
                  <a:pt x="73" y="95"/>
                  <a:pt x="73" y="95"/>
                  <a:pt x="73" y="95"/>
                </a:cubicBezTo>
                <a:cubicBezTo>
                  <a:pt x="52" y="74"/>
                  <a:pt x="52" y="74"/>
                  <a:pt x="52" y="74"/>
                </a:cubicBezTo>
                <a:cubicBezTo>
                  <a:pt x="52" y="40"/>
                  <a:pt x="52" y="40"/>
                  <a:pt x="52" y="40"/>
                </a:cubicBezTo>
                <a:cubicBezTo>
                  <a:pt x="60" y="40"/>
                  <a:pt x="60" y="40"/>
                  <a:pt x="60" y="40"/>
                </a:cubicBezTo>
                <a:lnTo>
                  <a:pt x="60" y="70"/>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07" name="Freeform 206"/>
          <p:cNvSpPr>
            <a:spLocks noEditPoints="1"/>
          </p:cNvSpPr>
          <p:nvPr/>
        </p:nvSpPr>
        <p:spPr bwMode="auto">
          <a:xfrm>
            <a:off x="4652529" y="3607575"/>
            <a:ext cx="375067" cy="412418"/>
          </a:xfrm>
          <a:custGeom>
            <a:avLst/>
            <a:gdLst>
              <a:gd name="T0" fmla="*/ 96 w 102"/>
              <a:gd name="T1" fmla="*/ 26 h 112"/>
              <a:gd name="T2" fmla="*/ 51 w 102"/>
              <a:gd name="T3" fmla="*/ 8 h 112"/>
              <a:gd name="T4" fmla="*/ 6 w 102"/>
              <a:gd name="T5" fmla="*/ 26 h 112"/>
              <a:gd name="T6" fmla="*/ 0 w 102"/>
              <a:gd name="T7" fmla="*/ 21 h 112"/>
              <a:gd name="T8" fmla="*/ 51 w 102"/>
              <a:gd name="T9" fmla="*/ 0 h 112"/>
              <a:gd name="T10" fmla="*/ 102 w 102"/>
              <a:gd name="T11" fmla="*/ 21 h 112"/>
              <a:gd name="T12" fmla="*/ 96 w 102"/>
              <a:gd name="T13" fmla="*/ 26 h 112"/>
              <a:gd name="T14" fmla="*/ 88 w 102"/>
              <a:gd name="T15" fmla="*/ 35 h 112"/>
              <a:gd name="T16" fmla="*/ 51 w 102"/>
              <a:gd name="T17" fmla="*/ 20 h 112"/>
              <a:gd name="T18" fmla="*/ 14 w 102"/>
              <a:gd name="T19" fmla="*/ 35 h 112"/>
              <a:gd name="T20" fmla="*/ 20 w 102"/>
              <a:gd name="T21" fmla="*/ 41 h 112"/>
              <a:gd name="T22" fmla="*/ 51 w 102"/>
              <a:gd name="T23" fmla="*/ 28 h 112"/>
              <a:gd name="T24" fmla="*/ 82 w 102"/>
              <a:gd name="T25" fmla="*/ 41 h 112"/>
              <a:gd name="T26" fmla="*/ 88 w 102"/>
              <a:gd name="T27" fmla="*/ 35 h 112"/>
              <a:gd name="T28" fmla="*/ 73 w 102"/>
              <a:gd name="T29" fmla="*/ 49 h 112"/>
              <a:gd name="T30" fmla="*/ 51 w 102"/>
              <a:gd name="T31" fmla="*/ 40 h 112"/>
              <a:gd name="T32" fmla="*/ 29 w 102"/>
              <a:gd name="T33" fmla="*/ 49 h 112"/>
              <a:gd name="T34" fmla="*/ 34 w 102"/>
              <a:gd name="T35" fmla="*/ 55 h 112"/>
              <a:gd name="T36" fmla="*/ 51 w 102"/>
              <a:gd name="T37" fmla="*/ 48 h 112"/>
              <a:gd name="T38" fmla="*/ 68 w 102"/>
              <a:gd name="T39" fmla="*/ 55 h 112"/>
              <a:gd name="T40" fmla="*/ 73 w 102"/>
              <a:gd name="T41" fmla="*/ 49 h 112"/>
              <a:gd name="T42" fmla="*/ 47 w 102"/>
              <a:gd name="T43" fmla="*/ 112 h 112"/>
              <a:gd name="T44" fmla="*/ 47 w 102"/>
              <a:gd name="T45" fmla="*/ 91 h 112"/>
              <a:gd name="T46" fmla="*/ 35 w 102"/>
              <a:gd name="T47" fmla="*/ 76 h 112"/>
              <a:gd name="T48" fmla="*/ 51 w 102"/>
              <a:gd name="T49" fmla="*/ 60 h 112"/>
              <a:gd name="T50" fmla="*/ 67 w 102"/>
              <a:gd name="T51" fmla="*/ 76 h 112"/>
              <a:gd name="T52" fmla="*/ 55 w 102"/>
              <a:gd name="T53" fmla="*/ 91 h 112"/>
              <a:gd name="T54" fmla="*/ 55 w 102"/>
              <a:gd name="T55" fmla="*/ 112 h 112"/>
              <a:gd name="T56" fmla="*/ 47 w 102"/>
              <a:gd name="T57" fmla="*/ 112 h 112"/>
              <a:gd name="T58" fmla="*/ 51 w 102"/>
              <a:gd name="T59" fmla="*/ 84 h 112"/>
              <a:gd name="T60" fmla="*/ 59 w 102"/>
              <a:gd name="T61" fmla="*/ 76 h 112"/>
              <a:gd name="T62" fmla="*/ 51 w 102"/>
              <a:gd name="T63" fmla="*/ 68 h 112"/>
              <a:gd name="T64" fmla="*/ 43 w 102"/>
              <a:gd name="T65" fmla="*/ 76 h 112"/>
              <a:gd name="T66" fmla="*/ 51 w 102"/>
              <a:gd name="T67" fmla="*/ 8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112">
                <a:moveTo>
                  <a:pt x="96" y="26"/>
                </a:moveTo>
                <a:cubicBezTo>
                  <a:pt x="84" y="14"/>
                  <a:pt x="68" y="8"/>
                  <a:pt x="51" y="8"/>
                </a:cubicBezTo>
                <a:cubicBezTo>
                  <a:pt x="34" y="8"/>
                  <a:pt x="18" y="14"/>
                  <a:pt x="6" y="26"/>
                </a:cubicBezTo>
                <a:cubicBezTo>
                  <a:pt x="0" y="21"/>
                  <a:pt x="0" y="21"/>
                  <a:pt x="0" y="21"/>
                </a:cubicBezTo>
                <a:cubicBezTo>
                  <a:pt x="14" y="7"/>
                  <a:pt x="32" y="0"/>
                  <a:pt x="51" y="0"/>
                </a:cubicBezTo>
                <a:cubicBezTo>
                  <a:pt x="70" y="0"/>
                  <a:pt x="88" y="7"/>
                  <a:pt x="102" y="21"/>
                </a:cubicBezTo>
                <a:lnTo>
                  <a:pt x="96" y="26"/>
                </a:lnTo>
                <a:close/>
                <a:moveTo>
                  <a:pt x="88" y="35"/>
                </a:moveTo>
                <a:cubicBezTo>
                  <a:pt x="78" y="25"/>
                  <a:pt x="65" y="20"/>
                  <a:pt x="51" y="20"/>
                </a:cubicBezTo>
                <a:cubicBezTo>
                  <a:pt x="37" y="20"/>
                  <a:pt x="24" y="25"/>
                  <a:pt x="14" y="35"/>
                </a:cubicBezTo>
                <a:cubicBezTo>
                  <a:pt x="20" y="41"/>
                  <a:pt x="20" y="41"/>
                  <a:pt x="20" y="41"/>
                </a:cubicBezTo>
                <a:cubicBezTo>
                  <a:pt x="28" y="32"/>
                  <a:pt x="39" y="28"/>
                  <a:pt x="51" y="28"/>
                </a:cubicBezTo>
                <a:cubicBezTo>
                  <a:pt x="63" y="28"/>
                  <a:pt x="74" y="32"/>
                  <a:pt x="82" y="41"/>
                </a:cubicBezTo>
                <a:lnTo>
                  <a:pt x="88" y="35"/>
                </a:lnTo>
                <a:close/>
                <a:moveTo>
                  <a:pt x="73" y="49"/>
                </a:moveTo>
                <a:cubicBezTo>
                  <a:pt x="67" y="43"/>
                  <a:pt x="60" y="40"/>
                  <a:pt x="51" y="40"/>
                </a:cubicBezTo>
                <a:cubicBezTo>
                  <a:pt x="43" y="40"/>
                  <a:pt x="35" y="43"/>
                  <a:pt x="29" y="49"/>
                </a:cubicBezTo>
                <a:cubicBezTo>
                  <a:pt x="34" y="55"/>
                  <a:pt x="34" y="55"/>
                  <a:pt x="34" y="55"/>
                </a:cubicBezTo>
                <a:cubicBezTo>
                  <a:pt x="39" y="50"/>
                  <a:pt x="45" y="48"/>
                  <a:pt x="51" y="48"/>
                </a:cubicBezTo>
                <a:cubicBezTo>
                  <a:pt x="57" y="48"/>
                  <a:pt x="63" y="50"/>
                  <a:pt x="68" y="55"/>
                </a:cubicBezTo>
                <a:lnTo>
                  <a:pt x="73" y="49"/>
                </a:lnTo>
                <a:close/>
                <a:moveTo>
                  <a:pt x="47" y="112"/>
                </a:moveTo>
                <a:cubicBezTo>
                  <a:pt x="47" y="91"/>
                  <a:pt x="47" y="91"/>
                  <a:pt x="47" y="91"/>
                </a:cubicBezTo>
                <a:cubicBezTo>
                  <a:pt x="40" y="89"/>
                  <a:pt x="35" y="83"/>
                  <a:pt x="35" y="76"/>
                </a:cubicBezTo>
                <a:cubicBezTo>
                  <a:pt x="35" y="67"/>
                  <a:pt x="42" y="60"/>
                  <a:pt x="51" y="60"/>
                </a:cubicBezTo>
                <a:cubicBezTo>
                  <a:pt x="60" y="60"/>
                  <a:pt x="67" y="67"/>
                  <a:pt x="67" y="76"/>
                </a:cubicBezTo>
                <a:cubicBezTo>
                  <a:pt x="67" y="83"/>
                  <a:pt x="62" y="89"/>
                  <a:pt x="55" y="91"/>
                </a:cubicBezTo>
                <a:cubicBezTo>
                  <a:pt x="55" y="112"/>
                  <a:pt x="55" y="112"/>
                  <a:pt x="55" y="112"/>
                </a:cubicBezTo>
                <a:lnTo>
                  <a:pt x="47" y="112"/>
                </a:lnTo>
                <a:close/>
                <a:moveTo>
                  <a:pt x="51" y="84"/>
                </a:moveTo>
                <a:cubicBezTo>
                  <a:pt x="55" y="84"/>
                  <a:pt x="59" y="80"/>
                  <a:pt x="59" y="76"/>
                </a:cubicBezTo>
                <a:cubicBezTo>
                  <a:pt x="59" y="71"/>
                  <a:pt x="55" y="68"/>
                  <a:pt x="51" y="68"/>
                </a:cubicBezTo>
                <a:cubicBezTo>
                  <a:pt x="47" y="68"/>
                  <a:pt x="43" y="71"/>
                  <a:pt x="43" y="76"/>
                </a:cubicBezTo>
                <a:cubicBezTo>
                  <a:pt x="43" y="80"/>
                  <a:pt x="47" y="84"/>
                  <a:pt x="51" y="8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09" name="Freeform 208"/>
          <p:cNvSpPr>
            <a:spLocks noEditPoints="1"/>
          </p:cNvSpPr>
          <p:nvPr/>
        </p:nvSpPr>
        <p:spPr bwMode="auto">
          <a:xfrm>
            <a:off x="2199743" y="4482767"/>
            <a:ext cx="346110" cy="346110"/>
          </a:xfrm>
          <a:custGeom>
            <a:avLst/>
            <a:gdLst>
              <a:gd name="T0" fmla="*/ 96 w 120"/>
              <a:gd name="T1" fmla="*/ 120 h 120"/>
              <a:gd name="T2" fmla="*/ 120 w 120"/>
              <a:gd name="T3" fmla="*/ 96 h 120"/>
              <a:gd name="T4" fmla="*/ 120 w 120"/>
              <a:gd name="T5" fmla="*/ 104 h 120"/>
              <a:gd name="T6" fmla="*/ 104 w 120"/>
              <a:gd name="T7" fmla="*/ 120 h 120"/>
              <a:gd name="T8" fmla="*/ 96 w 120"/>
              <a:gd name="T9" fmla="*/ 120 h 120"/>
              <a:gd name="T10" fmla="*/ 120 w 120"/>
              <a:gd name="T11" fmla="*/ 72 h 120"/>
              <a:gd name="T12" fmla="*/ 72 w 120"/>
              <a:gd name="T13" fmla="*/ 120 h 120"/>
              <a:gd name="T14" fmla="*/ 80 w 120"/>
              <a:gd name="T15" fmla="*/ 120 h 120"/>
              <a:gd name="T16" fmla="*/ 120 w 120"/>
              <a:gd name="T17" fmla="*/ 80 h 120"/>
              <a:gd name="T18" fmla="*/ 120 w 120"/>
              <a:gd name="T19" fmla="*/ 72 h 120"/>
              <a:gd name="T20" fmla="*/ 120 w 120"/>
              <a:gd name="T21" fmla="*/ 48 h 120"/>
              <a:gd name="T22" fmla="*/ 48 w 120"/>
              <a:gd name="T23" fmla="*/ 120 h 120"/>
              <a:gd name="T24" fmla="*/ 56 w 120"/>
              <a:gd name="T25" fmla="*/ 120 h 120"/>
              <a:gd name="T26" fmla="*/ 120 w 120"/>
              <a:gd name="T27" fmla="*/ 56 h 120"/>
              <a:gd name="T28" fmla="*/ 120 w 120"/>
              <a:gd name="T29" fmla="*/ 48 h 120"/>
              <a:gd name="T30" fmla="*/ 120 w 120"/>
              <a:gd name="T31" fmla="*/ 24 h 120"/>
              <a:gd name="T32" fmla="*/ 24 w 120"/>
              <a:gd name="T33" fmla="*/ 120 h 120"/>
              <a:gd name="T34" fmla="*/ 32 w 120"/>
              <a:gd name="T35" fmla="*/ 120 h 120"/>
              <a:gd name="T36" fmla="*/ 120 w 120"/>
              <a:gd name="T37" fmla="*/ 32 h 120"/>
              <a:gd name="T38" fmla="*/ 120 w 120"/>
              <a:gd name="T39" fmla="*/ 24 h 120"/>
              <a:gd name="T40" fmla="*/ 120 w 120"/>
              <a:gd name="T41" fmla="*/ 0 h 120"/>
              <a:gd name="T42" fmla="*/ 0 w 120"/>
              <a:gd name="T43" fmla="*/ 120 h 120"/>
              <a:gd name="T44" fmla="*/ 8 w 120"/>
              <a:gd name="T45" fmla="*/ 120 h 120"/>
              <a:gd name="T46" fmla="*/ 120 w 120"/>
              <a:gd name="T47" fmla="*/ 8 h 120"/>
              <a:gd name="T48" fmla="*/ 120 w 120"/>
              <a:gd name="T4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120">
                <a:moveTo>
                  <a:pt x="96" y="120"/>
                </a:moveTo>
                <a:cubicBezTo>
                  <a:pt x="96" y="106"/>
                  <a:pt x="107" y="96"/>
                  <a:pt x="120" y="96"/>
                </a:cubicBezTo>
                <a:cubicBezTo>
                  <a:pt x="120" y="104"/>
                  <a:pt x="120" y="104"/>
                  <a:pt x="120" y="104"/>
                </a:cubicBezTo>
                <a:cubicBezTo>
                  <a:pt x="112" y="104"/>
                  <a:pt x="104" y="111"/>
                  <a:pt x="104" y="120"/>
                </a:cubicBezTo>
                <a:lnTo>
                  <a:pt x="96" y="120"/>
                </a:lnTo>
                <a:close/>
                <a:moveTo>
                  <a:pt x="120" y="72"/>
                </a:moveTo>
                <a:cubicBezTo>
                  <a:pt x="94" y="72"/>
                  <a:pt x="72" y="93"/>
                  <a:pt x="72" y="120"/>
                </a:cubicBezTo>
                <a:cubicBezTo>
                  <a:pt x="80" y="120"/>
                  <a:pt x="80" y="120"/>
                  <a:pt x="80" y="120"/>
                </a:cubicBezTo>
                <a:cubicBezTo>
                  <a:pt x="80" y="98"/>
                  <a:pt x="98" y="80"/>
                  <a:pt x="120" y="80"/>
                </a:cubicBezTo>
                <a:lnTo>
                  <a:pt x="120" y="72"/>
                </a:lnTo>
                <a:close/>
                <a:moveTo>
                  <a:pt x="120" y="48"/>
                </a:moveTo>
                <a:cubicBezTo>
                  <a:pt x="81" y="48"/>
                  <a:pt x="48" y="80"/>
                  <a:pt x="48" y="120"/>
                </a:cubicBezTo>
                <a:cubicBezTo>
                  <a:pt x="56" y="120"/>
                  <a:pt x="56" y="120"/>
                  <a:pt x="56" y="120"/>
                </a:cubicBezTo>
                <a:cubicBezTo>
                  <a:pt x="56" y="84"/>
                  <a:pt x="85" y="56"/>
                  <a:pt x="120" y="56"/>
                </a:cubicBezTo>
                <a:lnTo>
                  <a:pt x="120" y="48"/>
                </a:lnTo>
                <a:close/>
                <a:moveTo>
                  <a:pt x="120" y="24"/>
                </a:moveTo>
                <a:cubicBezTo>
                  <a:pt x="67" y="24"/>
                  <a:pt x="24" y="67"/>
                  <a:pt x="24" y="120"/>
                </a:cubicBezTo>
                <a:cubicBezTo>
                  <a:pt x="32" y="120"/>
                  <a:pt x="32" y="120"/>
                  <a:pt x="32" y="120"/>
                </a:cubicBezTo>
                <a:cubicBezTo>
                  <a:pt x="32" y="71"/>
                  <a:pt x="72" y="32"/>
                  <a:pt x="120" y="32"/>
                </a:cubicBezTo>
                <a:lnTo>
                  <a:pt x="120" y="24"/>
                </a:lnTo>
                <a:close/>
                <a:moveTo>
                  <a:pt x="120" y="0"/>
                </a:moveTo>
                <a:cubicBezTo>
                  <a:pt x="54" y="0"/>
                  <a:pt x="0" y="53"/>
                  <a:pt x="0" y="120"/>
                </a:cubicBezTo>
                <a:cubicBezTo>
                  <a:pt x="8" y="120"/>
                  <a:pt x="8" y="120"/>
                  <a:pt x="8" y="120"/>
                </a:cubicBezTo>
                <a:cubicBezTo>
                  <a:pt x="8" y="58"/>
                  <a:pt x="59" y="8"/>
                  <a:pt x="120" y="8"/>
                </a:cubicBezTo>
                <a:lnTo>
                  <a:pt x="120" y="0"/>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10" name="Donut 59"/>
          <p:cNvSpPr>
            <a:spLocks noChangeAspect="1"/>
          </p:cNvSpPr>
          <p:nvPr/>
        </p:nvSpPr>
        <p:spPr bwMode="auto">
          <a:xfrm>
            <a:off x="3464771" y="4491798"/>
            <a:ext cx="434663" cy="472178"/>
          </a:xfrm>
          <a:custGeom>
            <a:avLst/>
            <a:gdLst/>
            <a:ahLst/>
            <a:cxnLst/>
            <a:rect l="l" t="t" r="r" b="b"/>
            <a:pathLst>
              <a:path w="3409950" h="3705225">
                <a:moveTo>
                  <a:pt x="1678275" y="1464104"/>
                </a:moveTo>
                <a:cubicBezTo>
                  <a:pt x="1863395" y="1464104"/>
                  <a:pt x="2013464" y="1614173"/>
                  <a:pt x="2013464" y="1799293"/>
                </a:cubicBezTo>
                <a:cubicBezTo>
                  <a:pt x="2013464" y="1984413"/>
                  <a:pt x="1863395" y="2134482"/>
                  <a:pt x="1678275" y="2134482"/>
                </a:cubicBezTo>
                <a:cubicBezTo>
                  <a:pt x="1493155" y="2134482"/>
                  <a:pt x="1343086" y="1984413"/>
                  <a:pt x="1343086" y="1799293"/>
                </a:cubicBezTo>
                <a:cubicBezTo>
                  <a:pt x="1343086" y="1614173"/>
                  <a:pt x="1493155" y="1464104"/>
                  <a:pt x="1678275" y="1464104"/>
                </a:cubicBezTo>
                <a:close/>
                <a:moveTo>
                  <a:pt x="1678275" y="1128915"/>
                </a:moveTo>
                <a:cubicBezTo>
                  <a:pt x="1308035" y="1128915"/>
                  <a:pt x="1007897" y="1429053"/>
                  <a:pt x="1007897" y="1799293"/>
                </a:cubicBezTo>
                <a:cubicBezTo>
                  <a:pt x="1007897" y="2169533"/>
                  <a:pt x="1308035" y="2469671"/>
                  <a:pt x="1678275" y="2469671"/>
                </a:cubicBezTo>
                <a:cubicBezTo>
                  <a:pt x="2048515" y="2469671"/>
                  <a:pt x="2348653" y="2169533"/>
                  <a:pt x="2348653" y="1799293"/>
                </a:cubicBezTo>
                <a:cubicBezTo>
                  <a:pt x="2348653" y="1429053"/>
                  <a:pt x="2048515" y="1128915"/>
                  <a:pt x="1678275" y="1128915"/>
                </a:cubicBezTo>
                <a:close/>
                <a:moveTo>
                  <a:pt x="1876425" y="0"/>
                </a:moveTo>
                <a:lnTo>
                  <a:pt x="1952625" y="352425"/>
                </a:lnTo>
                <a:lnTo>
                  <a:pt x="2314575" y="476250"/>
                </a:lnTo>
                <a:lnTo>
                  <a:pt x="2533650" y="238125"/>
                </a:lnTo>
                <a:lnTo>
                  <a:pt x="2867025" y="466725"/>
                </a:lnTo>
                <a:lnTo>
                  <a:pt x="2743200" y="800100"/>
                </a:lnTo>
                <a:lnTo>
                  <a:pt x="2924175" y="1066800"/>
                </a:lnTo>
                <a:lnTo>
                  <a:pt x="3295650" y="1066800"/>
                </a:lnTo>
                <a:lnTo>
                  <a:pt x="3409950" y="1485900"/>
                </a:lnTo>
                <a:lnTo>
                  <a:pt x="3152775" y="1685925"/>
                </a:lnTo>
                <a:lnTo>
                  <a:pt x="3152775" y="2000250"/>
                </a:lnTo>
                <a:lnTo>
                  <a:pt x="3390900" y="2219325"/>
                </a:lnTo>
                <a:lnTo>
                  <a:pt x="3305175" y="2600325"/>
                </a:lnTo>
                <a:lnTo>
                  <a:pt x="2895600" y="2609850"/>
                </a:lnTo>
                <a:lnTo>
                  <a:pt x="2752725" y="2838450"/>
                </a:lnTo>
                <a:lnTo>
                  <a:pt x="2838450" y="3190875"/>
                </a:lnTo>
                <a:lnTo>
                  <a:pt x="2533650" y="3419475"/>
                </a:lnTo>
                <a:lnTo>
                  <a:pt x="2257425" y="3200400"/>
                </a:lnTo>
                <a:lnTo>
                  <a:pt x="1952625" y="3333750"/>
                </a:lnTo>
                <a:lnTo>
                  <a:pt x="1885950" y="3667125"/>
                </a:lnTo>
                <a:lnTo>
                  <a:pt x="1495425" y="3705225"/>
                </a:lnTo>
                <a:lnTo>
                  <a:pt x="1400175" y="3295650"/>
                </a:lnTo>
                <a:lnTo>
                  <a:pt x="1085850" y="3200400"/>
                </a:lnTo>
                <a:lnTo>
                  <a:pt x="819150" y="3419475"/>
                </a:lnTo>
                <a:lnTo>
                  <a:pt x="552450" y="3181350"/>
                </a:lnTo>
                <a:lnTo>
                  <a:pt x="647700" y="2867025"/>
                </a:lnTo>
                <a:lnTo>
                  <a:pt x="447675" y="2600325"/>
                </a:lnTo>
                <a:lnTo>
                  <a:pt x="76200" y="2590800"/>
                </a:lnTo>
                <a:lnTo>
                  <a:pt x="0" y="2219325"/>
                </a:lnTo>
                <a:lnTo>
                  <a:pt x="295275" y="2066925"/>
                </a:lnTo>
                <a:lnTo>
                  <a:pt x="285750" y="1695450"/>
                </a:lnTo>
                <a:lnTo>
                  <a:pt x="0" y="1457325"/>
                </a:lnTo>
                <a:lnTo>
                  <a:pt x="104775" y="1104900"/>
                </a:lnTo>
                <a:lnTo>
                  <a:pt x="457200" y="1114425"/>
                </a:lnTo>
                <a:lnTo>
                  <a:pt x="657225" y="895350"/>
                </a:lnTo>
                <a:lnTo>
                  <a:pt x="533400" y="466725"/>
                </a:lnTo>
                <a:lnTo>
                  <a:pt x="809625" y="247650"/>
                </a:lnTo>
                <a:lnTo>
                  <a:pt x="1133475" y="466725"/>
                </a:lnTo>
                <a:lnTo>
                  <a:pt x="1400175" y="371475"/>
                </a:lnTo>
                <a:lnTo>
                  <a:pt x="1504950" y="9525"/>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eaLnBrk="1" fontAlgn="base" latinLnBrk="0" hangingPunct="1">
              <a:lnSpc>
                <a:spcPct val="100000"/>
              </a:lnSpc>
              <a:spcBef>
                <a:spcPct val="0"/>
              </a:spcBef>
              <a:spcAft>
                <a:spcPct val="0"/>
              </a:spcAft>
              <a:buClrTx/>
              <a:buSzTx/>
              <a:buFontTx/>
              <a:buNone/>
              <a:tabLst/>
              <a:defRPr/>
            </a:pPr>
            <a:endParaRPr kumimoji="0" lang="en-US" sz="1599"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12" name="TextBox 211"/>
          <p:cNvSpPr txBox="1"/>
          <p:nvPr/>
        </p:nvSpPr>
        <p:spPr>
          <a:xfrm>
            <a:off x="269240" y="4967257"/>
            <a:ext cx="99896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78D7"/>
                </a:solidFill>
              </a:rPr>
              <a:t>TBs</a:t>
            </a:r>
          </a:p>
        </p:txBody>
      </p:sp>
      <p:sp>
        <p:nvSpPr>
          <p:cNvPr id="213" name="TextBox 212"/>
          <p:cNvSpPr txBox="1"/>
          <p:nvPr/>
        </p:nvSpPr>
        <p:spPr>
          <a:xfrm>
            <a:off x="4975598" y="3067174"/>
            <a:ext cx="99896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78D7"/>
                </a:solidFill>
              </a:rPr>
              <a:t>EBs</a:t>
            </a:r>
          </a:p>
        </p:txBody>
      </p:sp>
      <p:sp>
        <p:nvSpPr>
          <p:cNvPr id="9" name="TextBox 8"/>
          <p:cNvSpPr txBox="1"/>
          <p:nvPr/>
        </p:nvSpPr>
        <p:spPr>
          <a:xfrm>
            <a:off x="2302870" y="2712720"/>
            <a:ext cx="1594693"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dirty="0">
                <a:solidFill>
                  <a:srgbClr val="0078D7"/>
                </a:solidFill>
                <a:latin typeface="Segoe UI Semibold" panose="020B0702040204020203" pitchFamily="34" charset="0"/>
                <a:cs typeface="Segoe UI Semibold" panose="020B0702040204020203" pitchFamily="34" charset="0"/>
              </a:rPr>
              <a:t>Store</a:t>
            </a:r>
          </a:p>
        </p:txBody>
      </p:sp>
      <p:sp>
        <p:nvSpPr>
          <p:cNvPr id="51" name="Right Arrow 50"/>
          <p:cNvSpPr/>
          <p:nvPr/>
        </p:nvSpPr>
        <p:spPr bwMode="auto">
          <a:xfrm rot="20546362">
            <a:off x="367037" y="3814874"/>
            <a:ext cx="5525603" cy="1397308"/>
          </a:xfrm>
          <a:prstGeom prst="rightArrow">
            <a:avLst/>
          </a:prstGeom>
          <a:solidFill>
            <a:schemeClr val="accent1">
              <a:alpha val="3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13836086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y type </a:t>
            </a:r>
            <a:br>
              <a:rPr lang="en-US" dirty="0"/>
            </a:br>
            <a:r>
              <a:rPr lang="en-US" dirty="0"/>
              <a:t>of analytics</a:t>
            </a:r>
          </a:p>
        </p:txBody>
      </p:sp>
      <p:sp>
        <p:nvSpPr>
          <p:cNvPr id="5" name="Text Placeholder 4"/>
          <p:cNvSpPr>
            <a:spLocks noGrp="1"/>
          </p:cNvSpPr>
          <p:nvPr>
            <p:ph type="body" sz="quarter" idx="10"/>
          </p:nvPr>
        </p:nvSpPr>
        <p:spPr>
          <a:xfrm>
            <a:off x="6613913" y="933098"/>
            <a:ext cx="5243532" cy="2973122"/>
          </a:xfrm>
        </p:spPr>
        <p:txBody>
          <a:bodyPr/>
          <a:lstStyle/>
          <a:p>
            <a:pPr>
              <a:spcBef>
                <a:spcPts val="0"/>
              </a:spcBef>
              <a:spcAft>
                <a:spcPts val="1800"/>
              </a:spcAft>
            </a:pPr>
            <a:r>
              <a:rPr lang="en-US" dirty="0"/>
              <a:t>Batch, interactive, streaming, machine learning</a:t>
            </a:r>
          </a:p>
          <a:p>
            <a:pPr>
              <a:spcBef>
                <a:spcPts val="0"/>
              </a:spcBef>
              <a:spcAft>
                <a:spcPts val="1800"/>
              </a:spcAft>
            </a:pPr>
            <a:r>
              <a:rPr lang="en-US" dirty="0"/>
              <a:t>Allows for exploratory analytics over data</a:t>
            </a:r>
          </a:p>
          <a:p>
            <a:pPr>
              <a:spcBef>
                <a:spcPts val="0"/>
              </a:spcBef>
              <a:spcAft>
                <a:spcPts val="1800"/>
              </a:spcAft>
            </a:pPr>
            <a:r>
              <a:rPr lang="en-US" dirty="0"/>
              <a:t>Analyze with Hadoop and Microsoft solutions</a:t>
            </a:r>
          </a:p>
        </p:txBody>
      </p:sp>
      <p:grpSp>
        <p:nvGrpSpPr>
          <p:cNvPr id="10" name="Group 9"/>
          <p:cNvGrpSpPr/>
          <p:nvPr/>
        </p:nvGrpSpPr>
        <p:grpSpPr>
          <a:xfrm>
            <a:off x="2708362" y="5925213"/>
            <a:ext cx="3288708" cy="276999"/>
            <a:chOff x="1295232" y="5255421"/>
            <a:chExt cx="3288708" cy="276999"/>
          </a:xfrm>
        </p:grpSpPr>
        <p:sp>
          <p:nvSpPr>
            <p:cNvPr id="35" name="TextBox 34"/>
            <p:cNvSpPr txBox="1"/>
            <p:nvPr/>
          </p:nvSpPr>
          <p:spPr>
            <a:xfrm>
              <a:off x="1574264" y="5255421"/>
              <a:ext cx="3009676" cy="276999"/>
            </a:xfrm>
            <a:prstGeom prst="rect">
              <a:avLst/>
            </a:prstGeom>
            <a:noFill/>
          </p:spPr>
          <p:txBody>
            <a:bodyPr wrap="square" lIns="91440" tIns="0" rIns="91440" bIns="0" rtlCol="0">
              <a:spAutoFit/>
            </a:bodyPr>
            <a:lstStyle/>
            <a:p>
              <a:pPr defTabSz="710593">
                <a:spcBef>
                  <a:spcPct val="0"/>
                </a:spcBef>
                <a:spcAft>
                  <a:spcPct val="35000"/>
                </a:spcAft>
                <a:defRPr/>
              </a:pPr>
              <a:r>
                <a:rPr lang="en-US" dirty="0">
                  <a:solidFill>
                    <a:srgbClr val="0078D7"/>
                  </a:solidFill>
                </a:rPr>
                <a:t>Cortana Intelligence Suite</a:t>
              </a:r>
            </a:p>
          </p:txBody>
        </p:sp>
        <p:sp>
          <p:nvSpPr>
            <p:cNvPr id="9" name="Cross 8"/>
            <p:cNvSpPr/>
            <p:nvPr/>
          </p:nvSpPr>
          <p:spPr bwMode="auto">
            <a:xfrm>
              <a:off x="1295232" y="5262475"/>
              <a:ext cx="262888" cy="262890"/>
            </a:xfrm>
            <a:prstGeom prst="plus">
              <a:avLst>
                <a:gd name="adj" fmla="val 46083"/>
              </a:avLst>
            </a:prstGeom>
            <a:solidFill>
              <a:schemeClr val="accent1"/>
            </a:solidFill>
            <a:ln>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grpSp>
        <p:nvGrpSpPr>
          <p:cNvPr id="36" name="Group 35"/>
          <p:cNvGrpSpPr/>
          <p:nvPr/>
        </p:nvGrpSpPr>
        <p:grpSpPr>
          <a:xfrm>
            <a:off x="786449" y="3058929"/>
            <a:ext cx="4369601" cy="2778984"/>
            <a:chOff x="390763" y="1650464"/>
            <a:chExt cx="7500906" cy="3742511"/>
          </a:xfrm>
        </p:grpSpPr>
        <p:grpSp>
          <p:nvGrpSpPr>
            <p:cNvPr id="38" name="Group 37"/>
            <p:cNvGrpSpPr/>
            <p:nvPr/>
          </p:nvGrpSpPr>
          <p:grpSpPr>
            <a:xfrm>
              <a:off x="390763" y="1650464"/>
              <a:ext cx="7500906" cy="1993784"/>
              <a:chOff x="440459" y="3280483"/>
              <a:chExt cx="4430776" cy="1993784"/>
            </a:xfrm>
          </p:grpSpPr>
          <p:sp>
            <p:nvSpPr>
              <p:cNvPr id="48" name="Rectangle 47"/>
              <p:cNvSpPr>
                <a:spLocks/>
              </p:cNvSpPr>
              <p:nvPr/>
            </p:nvSpPr>
            <p:spPr>
              <a:xfrm>
                <a:off x="440459" y="3577114"/>
                <a:ext cx="4430776" cy="1697153"/>
              </a:xfrm>
              <a:prstGeom prst="rect">
                <a:avLst/>
              </a:prstGeom>
              <a:solidFill>
                <a:schemeClr val="tx1"/>
              </a:solidFill>
              <a:ln w="19050" cap="flat" cmpd="sng" algn="ctr">
                <a:solidFill>
                  <a:srgbClr val="0078D7"/>
                </a:solidFill>
                <a:prstDash val="solid"/>
              </a:ln>
              <a:effectLst/>
            </p:spPr>
            <p:txBody>
              <a:bodyPr lIns="97146" tIns="0" rIns="97146" bIns="4572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8574">
                  <a:defRPr/>
                </a:pPr>
                <a:r>
                  <a:rPr lang="en-US" sz="1000" dirty="0">
                    <a:solidFill>
                      <a:schemeClr val="accent1"/>
                    </a:solidFill>
                    <a:latin typeface="Segoe UI" panose="020B0502040204020203" pitchFamily="34" charset="0"/>
                    <a:cs typeface="Segoe UI" panose="020B0502040204020203" pitchFamily="34" charset="0"/>
                  </a:rPr>
                  <a:t>YARN</a:t>
                </a:r>
              </a:p>
            </p:txBody>
          </p:sp>
          <p:sp>
            <p:nvSpPr>
              <p:cNvPr id="49" name="Freeform 48"/>
              <p:cNvSpPr/>
              <p:nvPr/>
            </p:nvSpPr>
            <p:spPr bwMode="auto">
              <a:xfrm rot="10800000">
                <a:off x="440459" y="3280483"/>
                <a:ext cx="4430776" cy="1620350"/>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tx1"/>
              </a:solid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48573" tIns="24287" rIns="24287" bIns="48573" numCol="1" spcCol="0" rtlCol="0" fromWordArt="0" anchor="b" anchorCtr="0" forceAA="0" compatLnSpc="1">
                <a:prstTxWarp prst="textNoShape">
                  <a:avLst/>
                </a:prstTxWarp>
                <a:noAutofit/>
              </a:bodyPr>
              <a:lstStyle/>
              <a:p>
                <a:pPr algn="ctr" defTabSz="485558" fontAlgn="base">
                  <a:spcBef>
                    <a:spcPct val="0"/>
                  </a:spcBef>
                  <a:spcAft>
                    <a:spcPct val="0"/>
                  </a:spcAft>
                  <a:defRPr/>
                </a:pPr>
                <a:endParaRPr lang="en-US" sz="1700" kern="0" spc="-26"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 name="Rounded Rectangle 49"/>
              <p:cNvSpPr/>
              <p:nvPr/>
            </p:nvSpPr>
            <p:spPr>
              <a:xfrm>
                <a:off x="559405" y="3399935"/>
                <a:ext cx="1951703" cy="1171913"/>
              </a:xfrm>
              <a:prstGeom prst="roundRect">
                <a:avLst>
                  <a:gd name="adj" fmla="val 14066"/>
                </a:avLst>
              </a:prstGeom>
              <a:solidFill>
                <a:schemeClr val="tx1"/>
              </a:solidFill>
              <a:ln w="19050">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78"/>
                <a:endParaRPr lang="en-US" sz="1836">
                  <a:solidFill>
                    <a:prstClr val="white"/>
                  </a:solidFill>
                  <a:latin typeface="Segoe UI Light"/>
                </a:endParaRPr>
              </a:p>
            </p:txBody>
          </p:sp>
          <p:sp>
            <p:nvSpPr>
              <p:cNvPr id="51" name="Rounded Rectangle 50"/>
              <p:cNvSpPr/>
              <p:nvPr/>
            </p:nvSpPr>
            <p:spPr>
              <a:xfrm>
                <a:off x="2724140" y="3398960"/>
                <a:ext cx="2036224" cy="1171913"/>
              </a:xfrm>
              <a:prstGeom prst="roundRect">
                <a:avLst>
                  <a:gd name="adj" fmla="val 15181"/>
                </a:avLst>
              </a:prstGeom>
              <a:solidFill>
                <a:schemeClr val="tx1"/>
              </a:solidFill>
              <a:ln w="19050">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78"/>
                <a:endParaRPr lang="en-US" sz="1836">
                  <a:solidFill>
                    <a:prstClr val="white"/>
                  </a:solidFill>
                  <a:latin typeface="Segoe UI Light"/>
                </a:endParaRPr>
              </a:p>
            </p:txBody>
          </p:sp>
          <p:sp>
            <p:nvSpPr>
              <p:cNvPr id="52" name="TextBox 51"/>
              <p:cNvSpPr txBox="1"/>
              <p:nvPr/>
            </p:nvSpPr>
            <p:spPr>
              <a:xfrm>
                <a:off x="587266" y="4199032"/>
                <a:ext cx="872994" cy="310866"/>
              </a:xfrm>
              <a:prstGeom prst="rect">
                <a:avLst/>
              </a:prstGeom>
              <a:noFill/>
            </p:spPr>
            <p:txBody>
              <a:bodyPr wrap="square" rtlCol="0">
                <a:spAutoFit/>
              </a:bodyPr>
              <a:lstStyle/>
              <a:p>
                <a:pPr algn="ctr" defTabSz="485718">
                  <a:defRPr/>
                </a:pPr>
                <a:r>
                  <a:rPr lang="en-US" sz="900" kern="0" dirty="0">
                    <a:solidFill>
                      <a:srgbClr val="0078D7"/>
                    </a:solidFill>
                    <a:latin typeface="Segoe UI Semibold" panose="020B0702040204020203" pitchFamily="34" charset="0"/>
                    <a:cs typeface="Segoe UI Semibold" panose="020B0702040204020203" pitchFamily="34" charset="0"/>
                  </a:rPr>
                  <a:t>U-SQL</a:t>
                </a:r>
              </a:p>
            </p:txBody>
          </p:sp>
          <p:sp>
            <p:nvSpPr>
              <p:cNvPr id="53" name="TextBox 52"/>
              <p:cNvSpPr txBox="1"/>
              <p:nvPr/>
            </p:nvSpPr>
            <p:spPr>
              <a:xfrm>
                <a:off x="714305" y="3404692"/>
                <a:ext cx="1641903" cy="369332"/>
              </a:xfrm>
              <a:prstGeom prst="rect">
                <a:avLst/>
              </a:prstGeom>
              <a:noFill/>
            </p:spPr>
            <p:txBody>
              <a:bodyPr wrap="square" rtlCol="0">
                <a:spAutoFit/>
              </a:bodyPr>
              <a:lstStyle/>
              <a:p>
                <a:pPr algn="ctr" defTabSz="485718">
                  <a:defRPr/>
                </a:pPr>
                <a:r>
                  <a:rPr lang="en-US" kern="0" dirty="0">
                    <a:solidFill>
                      <a:srgbClr val="0078D7"/>
                    </a:solidFill>
                    <a:latin typeface="Segoe UI Semibold" panose="020B0702040204020203" pitchFamily="34" charset="0"/>
                    <a:cs typeface="Segoe UI Semibold" panose="020B0702040204020203" pitchFamily="34" charset="0"/>
                  </a:rPr>
                  <a:t>Analytics</a:t>
                </a:r>
              </a:p>
            </p:txBody>
          </p:sp>
          <p:sp>
            <p:nvSpPr>
              <p:cNvPr id="54" name="TextBox 53"/>
              <p:cNvSpPr txBox="1"/>
              <p:nvPr/>
            </p:nvSpPr>
            <p:spPr>
              <a:xfrm>
                <a:off x="2874322" y="3399936"/>
                <a:ext cx="1735860" cy="369332"/>
              </a:xfrm>
              <a:prstGeom prst="rect">
                <a:avLst/>
              </a:prstGeom>
              <a:noFill/>
            </p:spPr>
            <p:txBody>
              <a:bodyPr wrap="square" rtlCol="0">
                <a:spAutoFit/>
              </a:bodyPr>
              <a:lstStyle/>
              <a:p>
                <a:pPr marL="0" lvl="1" algn="ctr" defTabSz="485718">
                  <a:defRPr/>
                </a:pPr>
                <a:r>
                  <a:rPr lang="en-US" kern="0" dirty="0">
                    <a:solidFill>
                      <a:srgbClr val="0078D7"/>
                    </a:solidFill>
                    <a:latin typeface="Segoe UI Semibold" panose="020B0702040204020203" pitchFamily="34" charset="0"/>
                    <a:cs typeface="Segoe UI Semibold" panose="020B0702040204020203" pitchFamily="34" charset="0"/>
                  </a:rPr>
                  <a:t>HDInsight</a:t>
                </a:r>
              </a:p>
            </p:txBody>
          </p:sp>
          <p:sp>
            <p:nvSpPr>
              <p:cNvPr id="55" name="TextBox 54"/>
              <p:cNvSpPr txBox="1"/>
              <p:nvPr/>
            </p:nvSpPr>
            <p:spPr>
              <a:xfrm>
                <a:off x="2693811" y="4199032"/>
                <a:ext cx="627684" cy="310866"/>
              </a:xfrm>
              <a:prstGeom prst="rect">
                <a:avLst/>
              </a:prstGeom>
              <a:noFill/>
            </p:spPr>
            <p:txBody>
              <a:bodyPr wrap="square" rtlCol="0">
                <a:spAutoFit/>
              </a:bodyPr>
              <a:lstStyle/>
              <a:p>
                <a:pPr algn="ctr" defTabSz="485718">
                  <a:defRPr/>
                </a:pPr>
                <a:r>
                  <a:rPr lang="en-US" sz="900" kern="0" dirty="0">
                    <a:solidFill>
                      <a:srgbClr val="0078D7"/>
                    </a:solidFill>
                    <a:latin typeface="Segoe UI Semibold" panose="020B0702040204020203" pitchFamily="34" charset="0"/>
                    <a:cs typeface="Segoe UI Semibold" panose="020B0702040204020203" pitchFamily="34" charset="0"/>
                  </a:rPr>
                  <a:t>Hive</a:t>
                </a:r>
                <a:endParaRPr lang="en-US" sz="1700" kern="0" dirty="0">
                  <a:solidFill>
                    <a:srgbClr val="0078D7"/>
                  </a:solidFill>
                  <a:latin typeface="Segoe UI Semibold" panose="020B0702040204020203" pitchFamily="34" charset="0"/>
                  <a:cs typeface="Segoe UI Semibold" panose="020B0702040204020203" pitchFamily="34" charset="0"/>
                </a:endParaRPr>
              </a:p>
            </p:txBody>
          </p:sp>
          <p:pic>
            <p:nvPicPr>
              <p:cNvPr id="56" name="Picture 2" descr="http://storm.apache.org/images/logocontest/storm_logo_winn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427" y="4244311"/>
                <a:ext cx="478071" cy="26338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http://sparkhadoop.com/wp-content/uploads/2015/01/logo_spark_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7510" y="4217278"/>
                <a:ext cx="359706" cy="26338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TextBox 38"/>
            <p:cNvSpPr txBox="1"/>
            <p:nvPr/>
          </p:nvSpPr>
          <p:spPr>
            <a:xfrm>
              <a:off x="6702483" y="2569013"/>
              <a:ext cx="1062613" cy="310866"/>
            </a:xfrm>
            <a:prstGeom prst="rect">
              <a:avLst/>
            </a:prstGeom>
            <a:noFill/>
          </p:spPr>
          <p:txBody>
            <a:bodyPr wrap="square" rtlCol="0">
              <a:spAutoFit/>
            </a:bodyPr>
            <a:lstStyle/>
            <a:p>
              <a:pPr algn="ctr" defTabSz="485718">
                <a:defRPr/>
              </a:pPr>
              <a:r>
                <a:rPr lang="en-US" sz="900" kern="0" dirty="0">
                  <a:solidFill>
                    <a:srgbClr val="0078D7"/>
                  </a:solidFill>
                  <a:latin typeface="Segoe UI Semibold" panose="020B0702040204020203" pitchFamily="34" charset="0"/>
                  <a:cs typeface="Segoe UI Semibold" panose="020B0702040204020203" pitchFamily="34" charset="0"/>
                </a:rPr>
                <a:t>R Server</a:t>
              </a:r>
            </a:p>
          </p:txBody>
        </p:sp>
        <p:sp>
          <p:nvSpPr>
            <p:cNvPr id="43" name="Rectangle 42"/>
            <p:cNvSpPr>
              <a:spLocks/>
            </p:cNvSpPr>
            <p:nvPr/>
          </p:nvSpPr>
          <p:spPr>
            <a:xfrm>
              <a:off x="390763" y="3695822"/>
              <a:ext cx="7500906" cy="1697153"/>
            </a:xfrm>
            <a:prstGeom prst="rect">
              <a:avLst/>
            </a:prstGeom>
            <a:solidFill>
              <a:schemeClr val="tx1"/>
            </a:solidFill>
            <a:ln w="19050" cap="flat" cmpd="sng" algn="ctr">
              <a:solidFill>
                <a:srgbClr val="0078D7"/>
              </a:solidFill>
              <a:prstDash val="solid"/>
            </a:ln>
            <a:effectLst/>
          </p:spPr>
          <p:txBody>
            <a:bodyPr lIns="97146" tIns="0" rIns="97146" bIns="4572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8574">
                <a:defRPr/>
              </a:pPr>
              <a:r>
                <a:rPr lang="en-US" sz="1000" dirty="0">
                  <a:solidFill>
                    <a:schemeClr val="accent1"/>
                  </a:solidFill>
                  <a:latin typeface="Segoe UI" panose="020B0502040204020203" pitchFamily="34" charset="0"/>
                  <a:cs typeface="Segoe UI" panose="020B0502040204020203" pitchFamily="34" charset="0"/>
                </a:rPr>
                <a:t>HDFS</a:t>
              </a:r>
              <a:endParaRPr lang="en-US" sz="2380" dirty="0">
                <a:solidFill>
                  <a:schemeClr val="accent1"/>
                </a:solidFill>
                <a:latin typeface="Segoe UI" panose="020B0502040204020203" pitchFamily="34" charset="0"/>
                <a:cs typeface="Segoe UI" panose="020B0502040204020203" pitchFamily="34" charset="0"/>
              </a:endParaRPr>
            </a:p>
          </p:txBody>
        </p:sp>
        <p:sp>
          <p:nvSpPr>
            <p:cNvPr id="47" name="Rounded Rectangle 46"/>
            <p:cNvSpPr/>
            <p:nvPr/>
          </p:nvSpPr>
          <p:spPr>
            <a:xfrm>
              <a:off x="465165" y="4148681"/>
              <a:ext cx="7299932" cy="1171913"/>
            </a:xfrm>
            <a:prstGeom prst="roundRect">
              <a:avLst>
                <a:gd name="adj" fmla="val 14066"/>
              </a:avLst>
            </a:prstGeom>
            <a:solidFill>
              <a:schemeClr val="tx1"/>
            </a:solidFill>
            <a:ln w="19050">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78"/>
              <a:r>
                <a:rPr lang="en-US" kern="0" dirty="0">
                  <a:solidFill>
                    <a:srgbClr val="0078D7"/>
                  </a:solidFill>
                  <a:latin typeface="Segoe UI Semibold" panose="020B0702040204020203" pitchFamily="34" charset="0"/>
                  <a:cs typeface="Segoe UI Semibold" panose="020B0702040204020203" pitchFamily="34" charset="0"/>
                </a:rPr>
                <a:t>Store</a:t>
              </a:r>
            </a:p>
          </p:txBody>
        </p:sp>
      </p:grpSp>
      <p:sp>
        <p:nvSpPr>
          <p:cNvPr id="58" name="Rectangle 57"/>
          <p:cNvSpPr/>
          <p:nvPr/>
        </p:nvSpPr>
        <p:spPr bwMode="auto">
          <a:xfrm>
            <a:off x="715617" y="4559282"/>
            <a:ext cx="4440433" cy="1298509"/>
          </a:xfrm>
          <a:prstGeom prst="rect">
            <a:avLst/>
          </a:prstGeom>
          <a:solidFill>
            <a:schemeClr val="tx1">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4170898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tics that dynamically scale </a:t>
            </a:r>
            <a:br>
              <a:rPr lang="en-US" dirty="0"/>
            </a:br>
            <a:r>
              <a:rPr lang="en-US" dirty="0"/>
              <a:t>to match your needs</a:t>
            </a:r>
          </a:p>
        </p:txBody>
      </p:sp>
      <p:sp>
        <p:nvSpPr>
          <p:cNvPr id="4" name="Text Placeholder 3"/>
          <p:cNvSpPr>
            <a:spLocks noGrp="1"/>
          </p:cNvSpPr>
          <p:nvPr>
            <p:ph type="body" sz="quarter" idx="10"/>
          </p:nvPr>
        </p:nvSpPr>
        <p:spPr>
          <a:xfrm>
            <a:off x="6623853" y="1181577"/>
            <a:ext cx="5130164" cy="4598182"/>
          </a:xfrm>
        </p:spPr>
        <p:txBody>
          <a:bodyPr/>
          <a:lstStyle/>
          <a:p>
            <a:pPr>
              <a:spcBef>
                <a:spcPts val="0"/>
              </a:spcBef>
              <a:spcAft>
                <a:spcPts val="1800"/>
              </a:spcAft>
            </a:pPr>
            <a:r>
              <a:rPr lang="en-US" sz="2800" dirty="0"/>
              <a:t>Architected for cloud scale and performance</a:t>
            </a:r>
          </a:p>
          <a:p>
            <a:pPr>
              <a:spcBef>
                <a:spcPts val="0"/>
              </a:spcBef>
              <a:spcAft>
                <a:spcPts val="1800"/>
              </a:spcAft>
            </a:pPr>
            <a:r>
              <a:rPr lang="en-US" sz="2800" dirty="0"/>
              <a:t>Provision any amount of resources with a few clicks</a:t>
            </a:r>
          </a:p>
          <a:p>
            <a:pPr>
              <a:spcBef>
                <a:spcPts val="0"/>
              </a:spcBef>
              <a:spcAft>
                <a:spcPts val="1800"/>
              </a:spcAft>
            </a:pPr>
            <a:r>
              <a:rPr lang="en-US" sz="2800" dirty="0"/>
              <a:t>Dynamically provisions and winds down resources </a:t>
            </a:r>
          </a:p>
          <a:p>
            <a:pPr>
              <a:spcBef>
                <a:spcPts val="0"/>
              </a:spcBef>
              <a:spcAft>
                <a:spcPts val="1800"/>
              </a:spcAft>
            </a:pPr>
            <a:r>
              <a:rPr lang="en-US" sz="2800" dirty="0"/>
              <a:t>Frees you up to focus only on your business logic</a:t>
            </a:r>
          </a:p>
          <a:p>
            <a:pPr marL="0" indent="0">
              <a:spcBef>
                <a:spcPts val="0"/>
              </a:spcBef>
              <a:spcAft>
                <a:spcPts val="1800"/>
              </a:spcAft>
              <a:buNone/>
            </a:pPr>
            <a:endParaRPr lang="en-US" sz="2800" dirty="0"/>
          </a:p>
        </p:txBody>
      </p:sp>
      <p:grpSp>
        <p:nvGrpSpPr>
          <p:cNvPr id="5" name="Group 4"/>
          <p:cNvGrpSpPr/>
          <p:nvPr/>
        </p:nvGrpSpPr>
        <p:grpSpPr>
          <a:xfrm>
            <a:off x="644608" y="3267986"/>
            <a:ext cx="3220160" cy="2424119"/>
            <a:chOff x="962661" y="3166291"/>
            <a:chExt cx="2827131" cy="2128249"/>
          </a:xfrm>
        </p:grpSpPr>
        <p:sp>
          <p:nvSpPr>
            <p:cNvPr id="25" name="Freeform 24"/>
            <p:cNvSpPr>
              <a:spLocks/>
            </p:cNvSpPr>
            <p:nvPr/>
          </p:nvSpPr>
          <p:spPr bwMode="auto">
            <a:xfrm flipH="1">
              <a:off x="962661" y="3166291"/>
              <a:ext cx="2542220" cy="1521546"/>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accent1"/>
            </a:solidFill>
            <a:ln w="69850">
              <a:solidFill>
                <a:schemeClr val="tx1"/>
              </a:solidFill>
            </a:ln>
          </p:spPr>
          <p:txBody>
            <a:bodyPr vert="horz" wrap="square" lIns="91440" tIns="45720" rIns="91440" bIns="45720" numCol="1" anchor="t" anchorCtr="0" compatLnSpc="1">
              <a:prstTxWarp prst="textNoShape">
                <a:avLst/>
              </a:prstTxWarp>
              <a:noAutofit/>
            </a:bodyPr>
            <a:lstStyle/>
            <a:p>
              <a:endParaRPr lang="en-US"/>
            </a:p>
          </p:txBody>
        </p:sp>
        <p:sp>
          <p:nvSpPr>
            <p:cNvPr id="9" name="Right Arrow 8"/>
            <p:cNvSpPr/>
            <p:nvPr/>
          </p:nvSpPr>
          <p:spPr bwMode="auto">
            <a:xfrm rot="20429057">
              <a:off x="1315564" y="3250138"/>
              <a:ext cx="2474228" cy="1196008"/>
            </a:xfrm>
            <a:prstGeom prst="rightArrow">
              <a:avLst/>
            </a:prstGeom>
            <a:solidFill>
              <a:schemeClr val="tx1"/>
            </a:solid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cxnSp>
          <p:nvCxnSpPr>
            <p:cNvPr id="127" name="Straight Connector 126"/>
            <p:cNvCxnSpPr/>
            <p:nvPr/>
          </p:nvCxnSpPr>
          <p:spPr>
            <a:xfrm>
              <a:off x="1035394" y="5073560"/>
              <a:ext cx="2349358" cy="0"/>
            </a:xfrm>
            <a:prstGeom prst="line">
              <a:avLst/>
            </a:prstGeom>
            <a:ln w="222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bwMode="auto">
            <a:xfrm>
              <a:off x="1868382" y="4852580"/>
              <a:ext cx="156797" cy="441960"/>
            </a:xfrm>
            <a:prstGeom prst="rect">
              <a:avLst/>
            </a:prstGeom>
            <a:solidFill>
              <a:schemeClr val="tx1"/>
            </a:solid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203" name="Freeform 202"/>
            <p:cNvSpPr/>
            <p:nvPr/>
          </p:nvSpPr>
          <p:spPr bwMode="auto">
            <a:xfrm>
              <a:off x="3479582" y="4999230"/>
              <a:ext cx="300182" cy="153191"/>
            </a:xfrm>
            <a:custGeom>
              <a:avLst/>
              <a:gdLst/>
              <a:ahLst/>
              <a:cxnLst/>
              <a:rect l="l" t="t" r="r" b="b"/>
              <a:pathLst>
                <a:path w="300182" h="153191">
                  <a:moveTo>
                    <a:pt x="227186" y="20599"/>
                  </a:moveTo>
                  <a:cubicBezTo>
                    <a:pt x="202788" y="20599"/>
                    <a:pt x="180522" y="39264"/>
                    <a:pt x="160390" y="76595"/>
                  </a:cubicBezTo>
                  <a:cubicBezTo>
                    <a:pt x="178389" y="113660"/>
                    <a:pt x="200655" y="132192"/>
                    <a:pt x="227186" y="132192"/>
                  </a:cubicBezTo>
                  <a:cubicBezTo>
                    <a:pt x="235052" y="132192"/>
                    <a:pt x="242119" y="130759"/>
                    <a:pt x="248385" y="127892"/>
                  </a:cubicBezTo>
                  <a:cubicBezTo>
                    <a:pt x="254651" y="125026"/>
                    <a:pt x="259984" y="121093"/>
                    <a:pt x="264384" y="116093"/>
                  </a:cubicBezTo>
                  <a:cubicBezTo>
                    <a:pt x="268784" y="111093"/>
                    <a:pt x="272184" y="105160"/>
                    <a:pt x="274583" y="98294"/>
                  </a:cubicBezTo>
                  <a:cubicBezTo>
                    <a:pt x="276983" y="91428"/>
                    <a:pt x="278183" y="83928"/>
                    <a:pt x="278183" y="75795"/>
                  </a:cubicBezTo>
                  <a:cubicBezTo>
                    <a:pt x="278183" y="67929"/>
                    <a:pt x="276917" y="60630"/>
                    <a:pt x="274383" y="53897"/>
                  </a:cubicBezTo>
                  <a:cubicBezTo>
                    <a:pt x="271850" y="47164"/>
                    <a:pt x="268317" y="41331"/>
                    <a:pt x="263784" y="36398"/>
                  </a:cubicBezTo>
                  <a:cubicBezTo>
                    <a:pt x="259251" y="31465"/>
                    <a:pt x="253851" y="27598"/>
                    <a:pt x="247585" y="24799"/>
                  </a:cubicBezTo>
                  <a:cubicBezTo>
                    <a:pt x="241319" y="21999"/>
                    <a:pt x="234519" y="20599"/>
                    <a:pt x="227186" y="20599"/>
                  </a:cubicBezTo>
                  <a:close/>
                  <a:moveTo>
                    <a:pt x="72796" y="20599"/>
                  </a:moveTo>
                  <a:cubicBezTo>
                    <a:pt x="65063" y="20599"/>
                    <a:pt x="58063" y="21999"/>
                    <a:pt x="51797" y="24799"/>
                  </a:cubicBezTo>
                  <a:cubicBezTo>
                    <a:pt x="45531" y="27598"/>
                    <a:pt x="40131" y="31498"/>
                    <a:pt x="35598" y="36498"/>
                  </a:cubicBezTo>
                  <a:cubicBezTo>
                    <a:pt x="31065" y="41498"/>
                    <a:pt x="27565" y="47497"/>
                    <a:pt x="25099" y="54497"/>
                  </a:cubicBezTo>
                  <a:cubicBezTo>
                    <a:pt x="22632" y="61496"/>
                    <a:pt x="21399" y="69129"/>
                    <a:pt x="21399" y="77395"/>
                  </a:cubicBezTo>
                  <a:cubicBezTo>
                    <a:pt x="21399" y="85128"/>
                    <a:pt x="22665" y="92328"/>
                    <a:pt x="25199" y="98994"/>
                  </a:cubicBezTo>
                  <a:cubicBezTo>
                    <a:pt x="27732" y="105660"/>
                    <a:pt x="31298" y="111460"/>
                    <a:pt x="35898" y="116393"/>
                  </a:cubicBezTo>
                  <a:cubicBezTo>
                    <a:pt x="40498" y="121326"/>
                    <a:pt x="45931" y="125192"/>
                    <a:pt x="52197" y="127992"/>
                  </a:cubicBezTo>
                  <a:cubicBezTo>
                    <a:pt x="58463" y="130792"/>
                    <a:pt x="65330" y="132192"/>
                    <a:pt x="72796" y="132192"/>
                  </a:cubicBezTo>
                  <a:cubicBezTo>
                    <a:pt x="97328" y="132192"/>
                    <a:pt x="119660" y="113593"/>
                    <a:pt x="139792" y="76395"/>
                  </a:cubicBezTo>
                  <a:cubicBezTo>
                    <a:pt x="121393" y="39198"/>
                    <a:pt x="99061" y="20599"/>
                    <a:pt x="72796" y="20599"/>
                  </a:cubicBezTo>
                  <a:close/>
                  <a:moveTo>
                    <a:pt x="72796" y="0"/>
                  </a:moveTo>
                  <a:cubicBezTo>
                    <a:pt x="104260" y="0"/>
                    <a:pt x="130126" y="18866"/>
                    <a:pt x="150391" y="56597"/>
                  </a:cubicBezTo>
                  <a:cubicBezTo>
                    <a:pt x="161057" y="37931"/>
                    <a:pt x="173090" y="23832"/>
                    <a:pt x="186489" y="14299"/>
                  </a:cubicBezTo>
                  <a:cubicBezTo>
                    <a:pt x="199888" y="4766"/>
                    <a:pt x="213454" y="0"/>
                    <a:pt x="227186" y="0"/>
                  </a:cubicBezTo>
                  <a:cubicBezTo>
                    <a:pt x="237986" y="0"/>
                    <a:pt x="247852" y="1867"/>
                    <a:pt x="256784" y="5600"/>
                  </a:cubicBezTo>
                  <a:cubicBezTo>
                    <a:pt x="265717" y="9333"/>
                    <a:pt x="273417" y="14533"/>
                    <a:pt x="279883" y="21199"/>
                  </a:cubicBezTo>
                  <a:cubicBezTo>
                    <a:pt x="286349" y="27865"/>
                    <a:pt x="291349" y="35831"/>
                    <a:pt x="294882" y="45097"/>
                  </a:cubicBezTo>
                  <a:cubicBezTo>
                    <a:pt x="298415" y="54363"/>
                    <a:pt x="300182" y="64596"/>
                    <a:pt x="300182" y="75795"/>
                  </a:cubicBezTo>
                  <a:cubicBezTo>
                    <a:pt x="300182" y="86195"/>
                    <a:pt x="298315" y="96061"/>
                    <a:pt x="294582" y="105394"/>
                  </a:cubicBezTo>
                  <a:cubicBezTo>
                    <a:pt x="290849" y="114726"/>
                    <a:pt x="285716" y="122959"/>
                    <a:pt x="279183" y="130092"/>
                  </a:cubicBezTo>
                  <a:cubicBezTo>
                    <a:pt x="272650" y="137225"/>
                    <a:pt x="264951" y="142858"/>
                    <a:pt x="256085" y="146991"/>
                  </a:cubicBezTo>
                  <a:cubicBezTo>
                    <a:pt x="247218" y="151124"/>
                    <a:pt x="237586" y="153191"/>
                    <a:pt x="227186" y="153191"/>
                  </a:cubicBezTo>
                  <a:cubicBezTo>
                    <a:pt x="196388" y="153191"/>
                    <a:pt x="170590" y="134259"/>
                    <a:pt x="149791" y="96394"/>
                  </a:cubicBezTo>
                  <a:cubicBezTo>
                    <a:pt x="138592" y="115193"/>
                    <a:pt x="126426" y="129359"/>
                    <a:pt x="113293" y="138892"/>
                  </a:cubicBezTo>
                  <a:cubicBezTo>
                    <a:pt x="100161" y="148424"/>
                    <a:pt x="86662" y="153191"/>
                    <a:pt x="72796" y="153191"/>
                  </a:cubicBezTo>
                  <a:cubicBezTo>
                    <a:pt x="61996" y="153191"/>
                    <a:pt x="52130" y="151358"/>
                    <a:pt x="43198" y="147691"/>
                  </a:cubicBezTo>
                  <a:cubicBezTo>
                    <a:pt x="34265" y="144025"/>
                    <a:pt x="26599" y="138858"/>
                    <a:pt x="20199" y="132192"/>
                  </a:cubicBezTo>
                  <a:cubicBezTo>
                    <a:pt x="13799" y="125526"/>
                    <a:pt x="8833" y="117526"/>
                    <a:pt x="5300" y="108193"/>
                  </a:cubicBezTo>
                  <a:cubicBezTo>
                    <a:pt x="1767" y="98861"/>
                    <a:pt x="0" y="88595"/>
                    <a:pt x="0" y="77395"/>
                  </a:cubicBezTo>
                  <a:cubicBezTo>
                    <a:pt x="0" y="66996"/>
                    <a:pt x="1900" y="57097"/>
                    <a:pt x="5700" y="47697"/>
                  </a:cubicBezTo>
                  <a:cubicBezTo>
                    <a:pt x="9500" y="38298"/>
                    <a:pt x="14699" y="30065"/>
                    <a:pt x="21299" y="22999"/>
                  </a:cubicBezTo>
                  <a:cubicBezTo>
                    <a:pt x="27898" y="15932"/>
                    <a:pt x="35598" y="10333"/>
                    <a:pt x="44397" y="6200"/>
                  </a:cubicBezTo>
                  <a:cubicBezTo>
                    <a:pt x="53197" y="2067"/>
                    <a:pt x="62663" y="0"/>
                    <a:pt x="7279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nvGrpSpPr>
            <p:cNvPr id="3" name="Group 2"/>
            <p:cNvGrpSpPr/>
            <p:nvPr/>
          </p:nvGrpSpPr>
          <p:grpSpPr>
            <a:xfrm>
              <a:off x="1493300" y="3918447"/>
              <a:ext cx="375512" cy="465984"/>
              <a:chOff x="9608629" y="1646827"/>
              <a:chExt cx="375512" cy="465984"/>
            </a:xfrm>
            <a:solidFill>
              <a:srgbClr val="00BCF2"/>
            </a:solidFill>
          </p:grpSpPr>
          <p:sp>
            <p:nvSpPr>
              <p:cNvPr id="73" name="Freeform 72"/>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3"/>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76" name="Group 75"/>
            <p:cNvGrpSpPr/>
            <p:nvPr/>
          </p:nvGrpSpPr>
          <p:grpSpPr>
            <a:xfrm>
              <a:off x="1902299" y="3770720"/>
              <a:ext cx="375512" cy="465984"/>
              <a:chOff x="9608629" y="1646827"/>
              <a:chExt cx="375512" cy="465984"/>
            </a:xfrm>
            <a:solidFill>
              <a:srgbClr val="00BCF2"/>
            </a:solidFill>
          </p:grpSpPr>
          <p:sp>
            <p:nvSpPr>
              <p:cNvPr id="77" name="Freeform 76"/>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7"/>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79" name="Group 78"/>
            <p:cNvGrpSpPr/>
            <p:nvPr/>
          </p:nvGrpSpPr>
          <p:grpSpPr>
            <a:xfrm>
              <a:off x="2311298" y="3627841"/>
              <a:ext cx="375512" cy="465984"/>
              <a:chOff x="9608629" y="1646827"/>
              <a:chExt cx="375512" cy="465984"/>
            </a:xfrm>
            <a:solidFill>
              <a:srgbClr val="00BCF2"/>
            </a:solidFill>
          </p:grpSpPr>
          <p:sp>
            <p:nvSpPr>
              <p:cNvPr id="80" name="Freeform 79"/>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0"/>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82" name="Group 81"/>
            <p:cNvGrpSpPr/>
            <p:nvPr/>
          </p:nvGrpSpPr>
          <p:grpSpPr>
            <a:xfrm>
              <a:off x="2720296" y="3485593"/>
              <a:ext cx="375512" cy="465984"/>
              <a:chOff x="9608629" y="1646827"/>
              <a:chExt cx="375512" cy="465984"/>
            </a:xfrm>
            <a:solidFill>
              <a:srgbClr val="00BCF2"/>
            </a:solidFill>
          </p:grpSpPr>
          <p:sp>
            <p:nvSpPr>
              <p:cNvPr id="83" name="Freeform 82"/>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3"/>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spTree>
    <p:extLst>
      <p:ext uri="{BB962C8B-B14F-4D97-AF65-F5344CB8AC3E}">
        <p14:creationId xmlns:p14="http://schemas.microsoft.com/office/powerpoint/2010/main" val="31752267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nvGrpSpPr>
        <p:grpSpPr>
          <a:xfrm>
            <a:off x="1135943" y="3297661"/>
            <a:ext cx="1785889" cy="2266949"/>
            <a:chOff x="1369783" y="3088939"/>
            <a:chExt cx="1785889" cy="2266949"/>
          </a:xfrm>
        </p:grpSpPr>
        <p:grpSp>
          <p:nvGrpSpPr>
            <p:cNvPr id="74" name="Group 73"/>
            <p:cNvGrpSpPr/>
            <p:nvPr/>
          </p:nvGrpSpPr>
          <p:grpSpPr>
            <a:xfrm>
              <a:off x="1625047" y="3088939"/>
              <a:ext cx="1318396" cy="1057911"/>
              <a:chOff x="1534290" y="3079525"/>
              <a:chExt cx="1642059" cy="1317626"/>
            </a:xfrm>
          </p:grpSpPr>
          <p:grpSp>
            <p:nvGrpSpPr>
              <p:cNvPr id="79" name="Group 78"/>
              <p:cNvGrpSpPr/>
              <p:nvPr/>
            </p:nvGrpSpPr>
            <p:grpSpPr>
              <a:xfrm>
                <a:off x="2813815" y="4082826"/>
                <a:ext cx="241300" cy="314325"/>
                <a:chOff x="9717088" y="2738438"/>
                <a:chExt cx="241300" cy="314325"/>
              </a:xfrm>
            </p:grpSpPr>
            <p:sp>
              <p:nvSpPr>
                <p:cNvPr id="109" name="Freeform 108"/>
                <p:cNvSpPr>
                  <a:spLocks/>
                </p:cNvSpPr>
                <p:nvPr/>
              </p:nvSpPr>
              <p:spPr bwMode="auto">
                <a:xfrm>
                  <a:off x="9717088" y="2738438"/>
                  <a:ext cx="241300" cy="314325"/>
                </a:xfrm>
                <a:custGeom>
                  <a:avLst/>
                  <a:gdLst>
                    <a:gd name="connsiteX0" fmla="*/ 120357 w 241300"/>
                    <a:gd name="connsiteY0" fmla="*/ 25400 h 314325"/>
                    <a:gd name="connsiteX1" fmla="*/ 26987 w 241300"/>
                    <a:gd name="connsiteY1" fmla="*/ 119116 h 314325"/>
                    <a:gd name="connsiteX2" fmla="*/ 120357 w 241300"/>
                    <a:gd name="connsiteY2" fmla="*/ 282575 h 314325"/>
                    <a:gd name="connsiteX3" fmla="*/ 215899 w 241300"/>
                    <a:gd name="connsiteY3" fmla="*/ 119116 h 314325"/>
                    <a:gd name="connsiteX4" fmla="*/ 120357 w 241300"/>
                    <a:gd name="connsiteY4" fmla="*/ 25400 h 314325"/>
                    <a:gd name="connsiteX5" fmla="*/ 119563 w 241300"/>
                    <a:gd name="connsiteY5" fmla="*/ 0 h 314325"/>
                    <a:gd name="connsiteX6" fmla="*/ 241300 w 241300"/>
                    <a:gd name="connsiteY6" fmla="*/ 119227 h 314325"/>
                    <a:gd name="connsiteX7" fmla="*/ 130432 w 241300"/>
                    <a:gd name="connsiteY7" fmla="*/ 309990 h 314325"/>
                    <a:gd name="connsiteX8" fmla="*/ 119563 w 241300"/>
                    <a:gd name="connsiteY8" fmla="*/ 314325 h 314325"/>
                    <a:gd name="connsiteX9" fmla="*/ 110868 w 241300"/>
                    <a:gd name="connsiteY9" fmla="*/ 309990 h 314325"/>
                    <a:gd name="connsiteX10" fmla="*/ 0 w 241300"/>
                    <a:gd name="connsiteY10" fmla="*/ 119227 h 314325"/>
                    <a:gd name="connsiteX11" fmla="*/ 119563 w 241300"/>
                    <a:gd name="connsiteY11"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314325">
                      <a:moveTo>
                        <a:pt x="120357" y="25400"/>
                      </a:moveTo>
                      <a:cubicBezTo>
                        <a:pt x="68244" y="25400"/>
                        <a:pt x="26987" y="66810"/>
                        <a:pt x="26987" y="119116"/>
                      </a:cubicBezTo>
                      <a:cubicBezTo>
                        <a:pt x="26987" y="160526"/>
                        <a:pt x="87786" y="243345"/>
                        <a:pt x="120357" y="282575"/>
                      </a:cubicBezTo>
                      <a:cubicBezTo>
                        <a:pt x="155100" y="243345"/>
                        <a:pt x="215899" y="160526"/>
                        <a:pt x="215899" y="119116"/>
                      </a:cubicBezTo>
                      <a:cubicBezTo>
                        <a:pt x="215899" y="66810"/>
                        <a:pt x="172471" y="25400"/>
                        <a:pt x="120357" y="25400"/>
                      </a:cubicBezTo>
                      <a:close/>
                      <a:moveTo>
                        <a:pt x="119563" y="0"/>
                      </a:moveTo>
                      <a:cubicBezTo>
                        <a:pt x="186953" y="0"/>
                        <a:pt x="241300" y="54194"/>
                        <a:pt x="241300" y="119227"/>
                      </a:cubicBezTo>
                      <a:cubicBezTo>
                        <a:pt x="241300" y="182092"/>
                        <a:pt x="141302" y="296983"/>
                        <a:pt x="130432" y="309990"/>
                      </a:cubicBezTo>
                      <a:cubicBezTo>
                        <a:pt x="128259" y="312157"/>
                        <a:pt x="123911" y="314325"/>
                        <a:pt x="119563" y="314325"/>
                      </a:cubicBezTo>
                      <a:cubicBezTo>
                        <a:pt x="117389" y="314325"/>
                        <a:pt x="113041" y="312157"/>
                        <a:pt x="110868" y="309990"/>
                      </a:cubicBezTo>
                      <a:cubicBezTo>
                        <a:pt x="99998" y="296983"/>
                        <a:pt x="0" y="182092"/>
                        <a:pt x="0" y="119227"/>
                      </a:cubicBezTo>
                      <a:cubicBezTo>
                        <a:pt x="0" y="54194"/>
                        <a:pt x="54347" y="0"/>
                        <a:pt x="119563"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110" name="Freeform 109"/>
                <p:cNvSpPr>
                  <a:spLocks noChangeArrowheads="1"/>
                </p:cNvSpPr>
                <p:nvPr/>
              </p:nvSpPr>
              <p:spPr bwMode="auto">
                <a:xfrm>
                  <a:off x="9771062" y="2794000"/>
                  <a:ext cx="128588" cy="128588"/>
                </a:xfrm>
                <a:custGeom>
                  <a:avLst/>
                  <a:gdLst>
                    <a:gd name="connsiteX0" fmla="*/ 65087 w 128588"/>
                    <a:gd name="connsiteY0" fmla="*/ 26988 h 128588"/>
                    <a:gd name="connsiteX1" fmla="*/ 26987 w 128588"/>
                    <a:gd name="connsiteY1" fmla="*/ 65088 h 128588"/>
                    <a:gd name="connsiteX2" fmla="*/ 65087 w 128588"/>
                    <a:gd name="connsiteY2" fmla="*/ 103188 h 128588"/>
                    <a:gd name="connsiteX3" fmla="*/ 103187 w 128588"/>
                    <a:gd name="connsiteY3" fmla="*/ 65088 h 128588"/>
                    <a:gd name="connsiteX4" fmla="*/ 65087 w 128588"/>
                    <a:gd name="connsiteY4" fmla="*/ 26988 h 128588"/>
                    <a:gd name="connsiteX5" fmla="*/ 64294 w 128588"/>
                    <a:gd name="connsiteY5" fmla="*/ 0 h 128588"/>
                    <a:gd name="connsiteX6" fmla="*/ 128588 w 128588"/>
                    <a:gd name="connsiteY6" fmla="*/ 64294 h 128588"/>
                    <a:gd name="connsiteX7" fmla="*/ 64294 w 128588"/>
                    <a:gd name="connsiteY7" fmla="*/ 128588 h 128588"/>
                    <a:gd name="connsiteX8" fmla="*/ 0 w 128588"/>
                    <a:gd name="connsiteY8" fmla="*/ 64294 h 128588"/>
                    <a:gd name="connsiteX9" fmla="*/ 64294 w 128588"/>
                    <a:gd name="connsiteY9" fmla="*/ 0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8" h="128588">
                      <a:moveTo>
                        <a:pt x="65087" y="26988"/>
                      </a:moveTo>
                      <a:cubicBezTo>
                        <a:pt x="44045" y="26988"/>
                        <a:pt x="26987" y="44046"/>
                        <a:pt x="26987" y="65088"/>
                      </a:cubicBezTo>
                      <a:cubicBezTo>
                        <a:pt x="26987" y="86130"/>
                        <a:pt x="44045" y="103188"/>
                        <a:pt x="65087" y="103188"/>
                      </a:cubicBezTo>
                      <a:cubicBezTo>
                        <a:pt x="86129" y="103188"/>
                        <a:pt x="103187" y="86130"/>
                        <a:pt x="103187" y="65088"/>
                      </a:cubicBezTo>
                      <a:cubicBezTo>
                        <a:pt x="103187" y="44046"/>
                        <a:pt x="86129" y="26988"/>
                        <a:pt x="65087" y="26988"/>
                      </a:cubicBezTo>
                      <a:close/>
                      <a:moveTo>
                        <a:pt x="64294" y="0"/>
                      </a:moveTo>
                      <a:cubicBezTo>
                        <a:pt x="99803" y="0"/>
                        <a:pt x="128588" y="28785"/>
                        <a:pt x="128588" y="64294"/>
                      </a:cubicBezTo>
                      <a:cubicBezTo>
                        <a:pt x="128588" y="99803"/>
                        <a:pt x="99803" y="128588"/>
                        <a:pt x="64294" y="128588"/>
                      </a:cubicBezTo>
                      <a:cubicBezTo>
                        <a:pt x="28785" y="128588"/>
                        <a:pt x="0" y="99803"/>
                        <a:pt x="0" y="64294"/>
                      </a:cubicBezTo>
                      <a:cubicBezTo>
                        <a:pt x="0" y="28785"/>
                        <a:pt x="28785" y="0"/>
                        <a:pt x="64294"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80" name="Freeform 79"/>
              <p:cNvSpPr>
                <a:spLocks/>
              </p:cNvSpPr>
              <p:nvPr/>
            </p:nvSpPr>
            <p:spPr bwMode="auto">
              <a:xfrm>
                <a:off x="2299465" y="3339876"/>
                <a:ext cx="79375"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1" name="Freeform 80"/>
              <p:cNvSpPr>
                <a:spLocks/>
              </p:cNvSpPr>
              <p:nvPr/>
            </p:nvSpPr>
            <p:spPr bwMode="auto">
              <a:xfrm>
                <a:off x="2178815" y="3525613"/>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2" name="Freeform 33"/>
              <p:cNvSpPr>
                <a:spLocks/>
              </p:cNvSpPr>
              <p:nvPr/>
            </p:nvSpPr>
            <p:spPr bwMode="auto">
              <a:xfrm>
                <a:off x="2831277" y="3652613"/>
                <a:ext cx="77787"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3" name="Freeform 34"/>
              <p:cNvSpPr>
                <a:spLocks/>
              </p:cNvSpPr>
              <p:nvPr/>
            </p:nvSpPr>
            <p:spPr bwMode="auto">
              <a:xfrm>
                <a:off x="2709040" y="3838351"/>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4" name="Freeform 35"/>
              <p:cNvSpPr>
                <a:spLocks/>
              </p:cNvSpPr>
              <p:nvPr/>
            </p:nvSpPr>
            <p:spPr bwMode="auto">
              <a:xfrm>
                <a:off x="1656527" y="3739926"/>
                <a:ext cx="77787"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5" name="Freeform 36"/>
              <p:cNvSpPr>
                <a:spLocks/>
              </p:cNvSpPr>
              <p:nvPr/>
            </p:nvSpPr>
            <p:spPr bwMode="auto">
              <a:xfrm>
                <a:off x="1534290" y="3925663"/>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6" name="Freeform 85"/>
              <p:cNvSpPr>
                <a:spLocks/>
              </p:cNvSpPr>
              <p:nvPr/>
            </p:nvSpPr>
            <p:spPr bwMode="auto">
              <a:xfrm>
                <a:off x="1610490" y="3079525"/>
                <a:ext cx="541337" cy="534988"/>
              </a:xfrm>
              <a:custGeom>
                <a:avLst/>
                <a:gdLst>
                  <a:gd name="connsiteX0" fmla="*/ 270668 w 541337"/>
                  <a:gd name="connsiteY0" fmla="*/ 223836 h 534988"/>
                  <a:gd name="connsiteX1" fmla="*/ 225424 w 541337"/>
                  <a:gd name="connsiteY1" fmla="*/ 267493 h 534988"/>
                  <a:gd name="connsiteX2" fmla="*/ 270668 w 541337"/>
                  <a:gd name="connsiteY2" fmla="*/ 311150 h 534988"/>
                  <a:gd name="connsiteX3" fmla="*/ 315912 w 541337"/>
                  <a:gd name="connsiteY3" fmla="*/ 267493 h 534988"/>
                  <a:gd name="connsiteX4" fmla="*/ 270668 w 541337"/>
                  <a:gd name="connsiteY4" fmla="*/ 223836 h 534988"/>
                  <a:gd name="connsiteX5" fmla="*/ 42862 w 541337"/>
                  <a:gd name="connsiteY5" fmla="*/ 195263 h 534988"/>
                  <a:gd name="connsiteX6" fmla="*/ 42862 w 541337"/>
                  <a:gd name="connsiteY6" fmla="*/ 202446 h 534988"/>
                  <a:gd name="connsiteX7" fmla="*/ 42862 w 541337"/>
                  <a:gd name="connsiteY7" fmla="*/ 455766 h 534988"/>
                  <a:gd name="connsiteX8" fmla="*/ 77696 w 541337"/>
                  <a:gd name="connsiteY8" fmla="*/ 490537 h 534988"/>
                  <a:gd name="connsiteX9" fmla="*/ 463051 w 541337"/>
                  <a:gd name="connsiteY9" fmla="*/ 490537 h 534988"/>
                  <a:gd name="connsiteX10" fmla="*/ 500062 w 541337"/>
                  <a:gd name="connsiteY10" fmla="*/ 455766 h 534988"/>
                  <a:gd name="connsiteX11" fmla="*/ 500062 w 541337"/>
                  <a:gd name="connsiteY11" fmla="*/ 237158 h 534988"/>
                  <a:gd name="connsiteX12" fmla="*/ 500062 w 541337"/>
                  <a:gd name="connsiteY12" fmla="*/ 195263 h 534988"/>
                  <a:gd name="connsiteX13" fmla="*/ 470386 w 541337"/>
                  <a:gd name="connsiteY13" fmla="*/ 195263 h 534988"/>
                  <a:gd name="connsiteX14" fmla="*/ 433335 w 541337"/>
                  <a:gd name="connsiteY14" fmla="*/ 195263 h 534988"/>
                  <a:gd name="connsiteX15" fmla="*/ 408673 w 541337"/>
                  <a:gd name="connsiteY15" fmla="*/ 195263 h 534988"/>
                  <a:gd name="connsiteX16" fmla="*/ 416336 w 541337"/>
                  <a:gd name="connsiteY16" fmla="*/ 206628 h 534988"/>
                  <a:gd name="connsiteX17" fmla="*/ 428624 w 541337"/>
                  <a:gd name="connsiteY17" fmla="*/ 267494 h 534988"/>
                  <a:gd name="connsiteX18" fmla="*/ 272255 w 541337"/>
                  <a:gd name="connsiteY18" fmla="*/ 423863 h 534988"/>
                  <a:gd name="connsiteX19" fmla="*/ 115886 w 541337"/>
                  <a:gd name="connsiteY19" fmla="*/ 267494 h 534988"/>
                  <a:gd name="connsiteX20" fmla="*/ 128174 w 541337"/>
                  <a:gd name="connsiteY20" fmla="*/ 206628 h 534988"/>
                  <a:gd name="connsiteX21" fmla="*/ 135837 w 541337"/>
                  <a:gd name="connsiteY21" fmla="*/ 195263 h 534988"/>
                  <a:gd name="connsiteX22" fmla="*/ 122134 w 541337"/>
                  <a:gd name="connsiteY22" fmla="*/ 195263 h 534988"/>
                  <a:gd name="connsiteX23" fmla="*/ 59996 w 541337"/>
                  <a:gd name="connsiteY23" fmla="*/ 195263 h 534988"/>
                  <a:gd name="connsiteX24" fmla="*/ 270668 w 541337"/>
                  <a:gd name="connsiteY24" fmla="*/ 179386 h 534988"/>
                  <a:gd name="connsiteX25" fmla="*/ 357187 w 541337"/>
                  <a:gd name="connsiteY25" fmla="*/ 266699 h 534988"/>
                  <a:gd name="connsiteX26" fmla="*/ 270668 w 541337"/>
                  <a:gd name="connsiteY26" fmla="*/ 354012 h 534988"/>
                  <a:gd name="connsiteX27" fmla="*/ 184149 w 541337"/>
                  <a:gd name="connsiteY27" fmla="*/ 266699 h 534988"/>
                  <a:gd name="connsiteX28" fmla="*/ 270668 w 541337"/>
                  <a:gd name="connsiteY28" fmla="*/ 179386 h 534988"/>
                  <a:gd name="connsiteX29" fmla="*/ 271461 w 541337"/>
                  <a:gd name="connsiteY29" fmla="*/ 152400 h 534988"/>
                  <a:gd name="connsiteX30" fmla="*/ 157161 w 541337"/>
                  <a:gd name="connsiteY30" fmla="*/ 267494 h 534988"/>
                  <a:gd name="connsiteX31" fmla="*/ 271461 w 541337"/>
                  <a:gd name="connsiteY31" fmla="*/ 382588 h 534988"/>
                  <a:gd name="connsiteX32" fmla="*/ 385761 w 541337"/>
                  <a:gd name="connsiteY32" fmla="*/ 267494 h 534988"/>
                  <a:gd name="connsiteX33" fmla="*/ 271461 w 541337"/>
                  <a:gd name="connsiteY33" fmla="*/ 152400 h 534988"/>
                  <a:gd name="connsiteX34" fmla="*/ 434975 w 541337"/>
                  <a:gd name="connsiteY34" fmla="*/ 85725 h 534988"/>
                  <a:gd name="connsiteX35" fmla="*/ 422275 w 541337"/>
                  <a:gd name="connsiteY35" fmla="*/ 98425 h 534988"/>
                  <a:gd name="connsiteX36" fmla="*/ 434975 w 541337"/>
                  <a:gd name="connsiteY36" fmla="*/ 111125 h 534988"/>
                  <a:gd name="connsiteX37" fmla="*/ 447675 w 541337"/>
                  <a:gd name="connsiteY37" fmla="*/ 98425 h 534988"/>
                  <a:gd name="connsiteX38" fmla="*/ 434975 w 541337"/>
                  <a:gd name="connsiteY38" fmla="*/ 85725 h 534988"/>
                  <a:gd name="connsiteX39" fmla="*/ 434975 w 541337"/>
                  <a:gd name="connsiteY39" fmla="*/ 42862 h 534988"/>
                  <a:gd name="connsiteX40" fmla="*/ 488950 w 541337"/>
                  <a:gd name="connsiteY40" fmla="*/ 97631 h 534988"/>
                  <a:gd name="connsiteX41" fmla="*/ 434975 w 541337"/>
                  <a:gd name="connsiteY41" fmla="*/ 152400 h 534988"/>
                  <a:gd name="connsiteX42" fmla="*/ 381000 w 541337"/>
                  <a:gd name="connsiteY42" fmla="*/ 97631 h 534988"/>
                  <a:gd name="connsiteX43" fmla="*/ 434975 w 541337"/>
                  <a:gd name="connsiteY43" fmla="*/ 42862 h 534988"/>
                  <a:gd name="connsiteX44" fmla="*/ 176212 w 541337"/>
                  <a:gd name="connsiteY44" fmla="*/ 42862 h 534988"/>
                  <a:gd name="connsiteX45" fmla="*/ 176212 w 541337"/>
                  <a:gd name="connsiteY45" fmla="*/ 70038 h 534988"/>
                  <a:gd name="connsiteX46" fmla="*/ 176212 w 541337"/>
                  <a:gd name="connsiteY46" fmla="*/ 141605 h 534988"/>
                  <a:gd name="connsiteX47" fmla="*/ 176212 w 541337"/>
                  <a:gd name="connsiteY47" fmla="*/ 147131 h 534988"/>
                  <a:gd name="connsiteX48" fmla="*/ 211389 w 541337"/>
                  <a:gd name="connsiteY48" fmla="*/ 123413 h 534988"/>
                  <a:gd name="connsiteX49" fmla="*/ 272255 w 541337"/>
                  <a:gd name="connsiteY49" fmla="*/ 111125 h 534988"/>
                  <a:gd name="connsiteX50" fmla="*/ 333121 w 541337"/>
                  <a:gd name="connsiteY50" fmla="*/ 123413 h 534988"/>
                  <a:gd name="connsiteX51" fmla="*/ 376114 w 541337"/>
                  <a:gd name="connsiteY51" fmla="*/ 152400 h 534988"/>
                  <a:gd name="connsiteX52" fmla="*/ 419623 w 541337"/>
                  <a:gd name="connsiteY52" fmla="*/ 152400 h 534988"/>
                  <a:gd name="connsiteX53" fmla="*/ 434975 w 541337"/>
                  <a:gd name="connsiteY53" fmla="*/ 152400 h 534988"/>
                  <a:gd name="connsiteX54" fmla="*/ 456674 w 541337"/>
                  <a:gd name="connsiteY54" fmla="*/ 152400 h 534988"/>
                  <a:gd name="connsiteX55" fmla="*/ 483222 w 541337"/>
                  <a:gd name="connsiteY55" fmla="*/ 152400 h 534988"/>
                  <a:gd name="connsiteX56" fmla="*/ 500062 w 541337"/>
                  <a:gd name="connsiteY56" fmla="*/ 152400 h 534988"/>
                  <a:gd name="connsiteX57" fmla="*/ 500062 w 541337"/>
                  <a:gd name="connsiteY57" fmla="*/ 124900 h 534988"/>
                  <a:gd name="connsiteX58" fmla="*/ 500062 w 541337"/>
                  <a:gd name="connsiteY58" fmla="*/ 77633 h 534988"/>
                  <a:gd name="connsiteX59" fmla="*/ 463051 w 541337"/>
                  <a:gd name="connsiteY59" fmla="*/ 42862 h 534988"/>
                  <a:gd name="connsiteX60" fmla="*/ 434975 w 541337"/>
                  <a:gd name="connsiteY60" fmla="*/ 42862 h 534988"/>
                  <a:gd name="connsiteX61" fmla="*/ 77696 w 541337"/>
                  <a:gd name="connsiteY61" fmla="*/ 42862 h 534988"/>
                  <a:gd name="connsiteX62" fmla="*/ 42862 w 541337"/>
                  <a:gd name="connsiteY62" fmla="*/ 77633 h 534988"/>
                  <a:gd name="connsiteX63" fmla="*/ 42862 w 541337"/>
                  <a:gd name="connsiteY63" fmla="*/ 144194 h 534988"/>
                  <a:gd name="connsiteX64" fmla="*/ 42862 w 541337"/>
                  <a:gd name="connsiteY64" fmla="*/ 152400 h 534988"/>
                  <a:gd name="connsiteX65" fmla="*/ 72537 w 541337"/>
                  <a:gd name="connsiteY65" fmla="*/ 152400 h 534988"/>
                  <a:gd name="connsiteX66" fmla="*/ 108737 w 541337"/>
                  <a:gd name="connsiteY66" fmla="*/ 152400 h 534988"/>
                  <a:gd name="connsiteX67" fmla="*/ 133625 w 541337"/>
                  <a:gd name="connsiteY67" fmla="*/ 152400 h 534988"/>
                  <a:gd name="connsiteX68" fmla="*/ 133350 w 541337"/>
                  <a:gd name="connsiteY68" fmla="*/ 151829 h 534988"/>
                  <a:gd name="connsiteX69" fmla="*/ 133350 w 541337"/>
                  <a:gd name="connsiteY69" fmla="*/ 45000 h 534988"/>
                  <a:gd name="connsiteX70" fmla="*/ 133350 w 541337"/>
                  <a:gd name="connsiteY70" fmla="*/ 42862 h 534988"/>
                  <a:gd name="connsiteX71" fmla="*/ 78266 w 541337"/>
                  <a:gd name="connsiteY71" fmla="*/ 0 h 534988"/>
                  <a:gd name="connsiteX72" fmla="*/ 463071 w 541337"/>
                  <a:gd name="connsiteY72" fmla="*/ 0 h 534988"/>
                  <a:gd name="connsiteX73" fmla="*/ 541337 w 541337"/>
                  <a:gd name="connsiteY73" fmla="*/ 78291 h 534988"/>
                  <a:gd name="connsiteX74" fmla="*/ 541337 w 541337"/>
                  <a:gd name="connsiteY74" fmla="*/ 144900 h 534988"/>
                  <a:gd name="connsiteX75" fmla="*/ 541337 w 541337"/>
                  <a:gd name="connsiteY75" fmla="*/ 173832 h 534988"/>
                  <a:gd name="connsiteX76" fmla="*/ 541337 w 541337"/>
                  <a:gd name="connsiteY76" fmla="*/ 203195 h 534988"/>
                  <a:gd name="connsiteX77" fmla="*/ 541337 w 541337"/>
                  <a:gd name="connsiteY77" fmla="*/ 456697 h 534988"/>
                  <a:gd name="connsiteX78" fmla="*/ 463071 w 541337"/>
                  <a:gd name="connsiteY78" fmla="*/ 534988 h 534988"/>
                  <a:gd name="connsiteX79" fmla="*/ 78266 w 541337"/>
                  <a:gd name="connsiteY79" fmla="*/ 534988 h 534988"/>
                  <a:gd name="connsiteX80" fmla="*/ 0 w 541337"/>
                  <a:gd name="connsiteY80" fmla="*/ 456697 h 534988"/>
                  <a:gd name="connsiteX81" fmla="*/ 0 w 541337"/>
                  <a:gd name="connsiteY81" fmla="*/ 78291 h 534988"/>
                  <a:gd name="connsiteX82" fmla="*/ 78266 w 541337"/>
                  <a:gd name="connsiteY82" fmla="*/ 0 h 5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1337" h="534988">
                    <a:moveTo>
                      <a:pt x="270668" y="223836"/>
                    </a:moveTo>
                    <a:cubicBezTo>
                      <a:pt x="245680" y="223836"/>
                      <a:pt x="225424" y="243382"/>
                      <a:pt x="225424" y="267493"/>
                    </a:cubicBezTo>
                    <a:cubicBezTo>
                      <a:pt x="225424" y="291604"/>
                      <a:pt x="245680" y="311150"/>
                      <a:pt x="270668" y="311150"/>
                    </a:cubicBezTo>
                    <a:cubicBezTo>
                      <a:pt x="295656" y="311150"/>
                      <a:pt x="315912" y="291604"/>
                      <a:pt x="315912" y="267493"/>
                    </a:cubicBezTo>
                    <a:cubicBezTo>
                      <a:pt x="315912" y="243382"/>
                      <a:pt x="295656" y="223836"/>
                      <a:pt x="270668" y="223836"/>
                    </a:cubicBezTo>
                    <a:close/>
                    <a:moveTo>
                      <a:pt x="42862" y="195263"/>
                    </a:moveTo>
                    <a:lnTo>
                      <a:pt x="42862" y="202446"/>
                    </a:lnTo>
                    <a:cubicBezTo>
                      <a:pt x="42862" y="455766"/>
                      <a:pt x="42862" y="455766"/>
                      <a:pt x="42862" y="455766"/>
                    </a:cubicBezTo>
                    <a:cubicBezTo>
                      <a:pt x="42862" y="475325"/>
                      <a:pt x="58102" y="490537"/>
                      <a:pt x="77696" y="490537"/>
                    </a:cubicBezTo>
                    <a:cubicBezTo>
                      <a:pt x="463051" y="490537"/>
                      <a:pt x="463051" y="490537"/>
                      <a:pt x="463051" y="490537"/>
                    </a:cubicBezTo>
                    <a:cubicBezTo>
                      <a:pt x="482645" y="490537"/>
                      <a:pt x="500062" y="475325"/>
                      <a:pt x="500062" y="455766"/>
                    </a:cubicBezTo>
                    <a:cubicBezTo>
                      <a:pt x="500062" y="361233"/>
                      <a:pt x="500062" y="290333"/>
                      <a:pt x="500062" y="237158"/>
                    </a:cubicBezTo>
                    <a:lnTo>
                      <a:pt x="500062" y="195263"/>
                    </a:lnTo>
                    <a:lnTo>
                      <a:pt x="470386" y="195263"/>
                    </a:lnTo>
                    <a:cubicBezTo>
                      <a:pt x="456090" y="195263"/>
                      <a:pt x="443838" y="195263"/>
                      <a:pt x="433335" y="195263"/>
                    </a:cubicBezTo>
                    <a:lnTo>
                      <a:pt x="408673" y="195263"/>
                    </a:lnTo>
                    <a:lnTo>
                      <a:pt x="416336" y="206628"/>
                    </a:lnTo>
                    <a:cubicBezTo>
                      <a:pt x="424248" y="225336"/>
                      <a:pt x="428624" y="245904"/>
                      <a:pt x="428624" y="267494"/>
                    </a:cubicBezTo>
                    <a:cubicBezTo>
                      <a:pt x="428624" y="353854"/>
                      <a:pt x="358615" y="423863"/>
                      <a:pt x="272255" y="423863"/>
                    </a:cubicBezTo>
                    <a:cubicBezTo>
                      <a:pt x="185895" y="423863"/>
                      <a:pt x="115886" y="353854"/>
                      <a:pt x="115886" y="267494"/>
                    </a:cubicBezTo>
                    <a:cubicBezTo>
                      <a:pt x="115886" y="245904"/>
                      <a:pt x="120262" y="225336"/>
                      <a:pt x="128174" y="206628"/>
                    </a:cubicBezTo>
                    <a:lnTo>
                      <a:pt x="135837" y="195263"/>
                    </a:lnTo>
                    <a:lnTo>
                      <a:pt x="122134" y="195263"/>
                    </a:lnTo>
                    <a:cubicBezTo>
                      <a:pt x="94200" y="195263"/>
                      <a:pt x="74248" y="195263"/>
                      <a:pt x="59996" y="195263"/>
                    </a:cubicBezTo>
                    <a:close/>
                    <a:moveTo>
                      <a:pt x="270668" y="179386"/>
                    </a:moveTo>
                    <a:cubicBezTo>
                      <a:pt x="318451" y="179386"/>
                      <a:pt x="357187" y="218477"/>
                      <a:pt x="357187" y="266699"/>
                    </a:cubicBezTo>
                    <a:cubicBezTo>
                      <a:pt x="357187" y="314921"/>
                      <a:pt x="318451" y="354012"/>
                      <a:pt x="270668" y="354012"/>
                    </a:cubicBezTo>
                    <a:cubicBezTo>
                      <a:pt x="222885" y="354012"/>
                      <a:pt x="184149" y="314921"/>
                      <a:pt x="184149" y="266699"/>
                    </a:cubicBezTo>
                    <a:cubicBezTo>
                      <a:pt x="184149" y="218477"/>
                      <a:pt x="222885" y="179386"/>
                      <a:pt x="270668" y="179386"/>
                    </a:cubicBezTo>
                    <a:close/>
                    <a:moveTo>
                      <a:pt x="271461" y="152400"/>
                    </a:moveTo>
                    <a:cubicBezTo>
                      <a:pt x="208335" y="152400"/>
                      <a:pt x="157161" y="203929"/>
                      <a:pt x="157161" y="267494"/>
                    </a:cubicBezTo>
                    <a:cubicBezTo>
                      <a:pt x="157161" y="331059"/>
                      <a:pt x="208335" y="382588"/>
                      <a:pt x="271461" y="382588"/>
                    </a:cubicBezTo>
                    <a:cubicBezTo>
                      <a:pt x="334587" y="382588"/>
                      <a:pt x="385761" y="331059"/>
                      <a:pt x="385761" y="267494"/>
                    </a:cubicBezTo>
                    <a:cubicBezTo>
                      <a:pt x="385761" y="203929"/>
                      <a:pt x="334587" y="152400"/>
                      <a:pt x="271461" y="152400"/>
                    </a:cubicBezTo>
                    <a:close/>
                    <a:moveTo>
                      <a:pt x="434975" y="85725"/>
                    </a:moveTo>
                    <a:cubicBezTo>
                      <a:pt x="427961" y="85725"/>
                      <a:pt x="422275" y="91411"/>
                      <a:pt x="422275" y="98425"/>
                    </a:cubicBezTo>
                    <a:cubicBezTo>
                      <a:pt x="422275" y="105439"/>
                      <a:pt x="427961" y="111125"/>
                      <a:pt x="434975" y="111125"/>
                    </a:cubicBezTo>
                    <a:cubicBezTo>
                      <a:pt x="441989" y="111125"/>
                      <a:pt x="447675" y="105439"/>
                      <a:pt x="447675" y="98425"/>
                    </a:cubicBezTo>
                    <a:cubicBezTo>
                      <a:pt x="447675" y="91411"/>
                      <a:pt x="441989" y="85725"/>
                      <a:pt x="434975" y="85725"/>
                    </a:cubicBezTo>
                    <a:close/>
                    <a:moveTo>
                      <a:pt x="434975" y="42862"/>
                    </a:moveTo>
                    <a:cubicBezTo>
                      <a:pt x="464785" y="42862"/>
                      <a:pt x="488950" y="67383"/>
                      <a:pt x="488950" y="97631"/>
                    </a:cubicBezTo>
                    <a:cubicBezTo>
                      <a:pt x="488950" y="127879"/>
                      <a:pt x="464785" y="152400"/>
                      <a:pt x="434975" y="152400"/>
                    </a:cubicBezTo>
                    <a:cubicBezTo>
                      <a:pt x="405165" y="152400"/>
                      <a:pt x="381000" y="127879"/>
                      <a:pt x="381000" y="97631"/>
                    </a:cubicBezTo>
                    <a:cubicBezTo>
                      <a:pt x="381000" y="67383"/>
                      <a:pt x="405165" y="42862"/>
                      <a:pt x="434975" y="42862"/>
                    </a:cubicBezTo>
                    <a:close/>
                    <a:moveTo>
                      <a:pt x="176212" y="42862"/>
                    </a:moveTo>
                    <a:lnTo>
                      <a:pt x="176212" y="70038"/>
                    </a:lnTo>
                    <a:cubicBezTo>
                      <a:pt x="176212" y="110933"/>
                      <a:pt x="176212" y="131381"/>
                      <a:pt x="176212" y="141605"/>
                    </a:cubicBezTo>
                    <a:lnTo>
                      <a:pt x="176212" y="147131"/>
                    </a:lnTo>
                    <a:lnTo>
                      <a:pt x="211389" y="123413"/>
                    </a:lnTo>
                    <a:cubicBezTo>
                      <a:pt x="230097" y="115501"/>
                      <a:pt x="250665" y="111125"/>
                      <a:pt x="272255" y="111125"/>
                    </a:cubicBezTo>
                    <a:cubicBezTo>
                      <a:pt x="293845" y="111125"/>
                      <a:pt x="314413" y="115501"/>
                      <a:pt x="333121" y="123413"/>
                    </a:cubicBezTo>
                    <a:lnTo>
                      <a:pt x="376114" y="152400"/>
                    </a:lnTo>
                    <a:lnTo>
                      <a:pt x="419623" y="152400"/>
                    </a:lnTo>
                    <a:lnTo>
                      <a:pt x="434975" y="152400"/>
                    </a:lnTo>
                    <a:lnTo>
                      <a:pt x="456674" y="152400"/>
                    </a:lnTo>
                    <a:cubicBezTo>
                      <a:pt x="467176" y="152400"/>
                      <a:pt x="475929" y="152400"/>
                      <a:pt x="483222" y="152400"/>
                    </a:cubicBezTo>
                    <a:lnTo>
                      <a:pt x="500062" y="152400"/>
                    </a:lnTo>
                    <a:lnTo>
                      <a:pt x="500062" y="124900"/>
                    </a:lnTo>
                    <a:cubicBezTo>
                      <a:pt x="500062" y="77633"/>
                      <a:pt x="500062" y="77633"/>
                      <a:pt x="500062" y="77633"/>
                    </a:cubicBezTo>
                    <a:cubicBezTo>
                      <a:pt x="500062" y="58074"/>
                      <a:pt x="482645" y="42862"/>
                      <a:pt x="463051" y="42862"/>
                    </a:cubicBezTo>
                    <a:lnTo>
                      <a:pt x="434975" y="42862"/>
                    </a:lnTo>
                    <a:close/>
                    <a:moveTo>
                      <a:pt x="77696" y="42862"/>
                    </a:moveTo>
                    <a:cubicBezTo>
                      <a:pt x="58102" y="42862"/>
                      <a:pt x="42862" y="58074"/>
                      <a:pt x="42862" y="77633"/>
                    </a:cubicBezTo>
                    <a:cubicBezTo>
                      <a:pt x="42862" y="101266"/>
                      <a:pt x="42862" y="123423"/>
                      <a:pt x="42862" y="144194"/>
                    </a:cubicBezTo>
                    <a:lnTo>
                      <a:pt x="42862" y="152400"/>
                    </a:lnTo>
                    <a:lnTo>
                      <a:pt x="72537" y="152400"/>
                    </a:lnTo>
                    <a:cubicBezTo>
                      <a:pt x="86504" y="152400"/>
                      <a:pt x="98476" y="152400"/>
                      <a:pt x="108737" y="152400"/>
                    </a:cubicBezTo>
                    <a:lnTo>
                      <a:pt x="133625" y="152400"/>
                    </a:lnTo>
                    <a:lnTo>
                      <a:pt x="133350" y="151829"/>
                    </a:lnTo>
                    <a:cubicBezTo>
                      <a:pt x="133350" y="90784"/>
                      <a:pt x="133350" y="60261"/>
                      <a:pt x="133350" y="45000"/>
                    </a:cubicBezTo>
                    <a:lnTo>
                      <a:pt x="133350" y="42862"/>
                    </a:lnTo>
                    <a:close/>
                    <a:moveTo>
                      <a:pt x="78266" y="0"/>
                    </a:moveTo>
                    <a:cubicBezTo>
                      <a:pt x="463071" y="0"/>
                      <a:pt x="463071" y="0"/>
                      <a:pt x="463071" y="0"/>
                    </a:cubicBezTo>
                    <a:cubicBezTo>
                      <a:pt x="506552" y="0"/>
                      <a:pt x="541337" y="34796"/>
                      <a:pt x="541337" y="78291"/>
                    </a:cubicBezTo>
                    <a:cubicBezTo>
                      <a:pt x="541337" y="101941"/>
                      <a:pt x="541337" y="124114"/>
                      <a:pt x="541337" y="144900"/>
                    </a:cubicBezTo>
                    <a:lnTo>
                      <a:pt x="541337" y="173832"/>
                    </a:lnTo>
                    <a:lnTo>
                      <a:pt x="541337" y="203195"/>
                    </a:lnTo>
                    <a:cubicBezTo>
                      <a:pt x="541337" y="456697"/>
                      <a:pt x="541337" y="456697"/>
                      <a:pt x="541337" y="456697"/>
                    </a:cubicBezTo>
                    <a:cubicBezTo>
                      <a:pt x="541337" y="500192"/>
                      <a:pt x="506552" y="534988"/>
                      <a:pt x="463071" y="534988"/>
                    </a:cubicBezTo>
                    <a:cubicBezTo>
                      <a:pt x="78266" y="534988"/>
                      <a:pt x="78266" y="534988"/>
                      <a:pt x="78266" y="534988"/>
                    </a:cubicBezTo>
                    <a:cubicBezTo>
                      <a:pt x="34785" y="534988"/>
                      <a:pt x="0" y="500192"/>
                      <a:pt x="0" y="456697"/>
                    </a:cubicBezTo>
                    <a:cubicBezTo>
                      <a:pt x="0" y="78291"/>
                      <a:pt x="0" y="78291"/>
                      <a:pt x="0" y="78291"/>
                    </a:cubicBezTo>
                    <a:cubicBezTo>
                      <a:pt x="0" y="34796"/>
                      <a:pt x="34785" y="0"/>
                      <a:pt x="78266" y="0"/>
                    </a:cubicBezTo>
                    <a:close/>
                  </a:path>
                </a:pathLst>
              </a:custGeom>
              <a:solidFill>
                <a:srgbClr val="0072C6"/>
              </a:solidFill>
              <a:ln w="190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87" name="Freeform 86"/>
              <p:cNvSpPr>
                <a:spLocks/>
              </p:cNvSpPr>
              <p:nvPr/>
            </p:nvSpPr>
            <p:spPr bwMode="auto">
              <a:xfrm>
                <a:off x="2415352" y="3204967"/>
                <a:ext cx="314160" cy="300009"/>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88" name="Freeform 87"/>
              <p:cNvSpPr>
                <a:spLocks/>
              </p:cNvSpPr>
              <p:nvPr/>
            </p:nvSpPr>
            <p:spPr bwMode="auto">
              <a:xfrm>
                <a:off x="2196277" y="3728316"/>
                <a:ext cx="468812" cy="471985"/>
              </a:xfrm>
              <a:custGeom>
                <a:avLst/>
                <a:gdLst>
                  <a:gd name="connsiteX0" fmla="*/ 290954 w 468812"/>
                  <a:gd name="connsiteY0" fmla="*/ 32247 h 471985"/>
                  <a:gd name="connsiteX1" fmla="*/ 30163 w 468812"/>
                  <a:gd name="connsiteY1" fmla="*/ 293039 h 471985"/>
                  <a:gd name="connsiteX2" fmla="*/ 56242 w 468812"/>
                  <a:gd name="connsiteY2" fmla="*/ 319118 h 471985"/>
                  <a:gd name="connsiteX3" fmla="*/ 143173 w 468812"/>
                  <a:gd name="connsiteY3" fmla="*/ 332157 h 471985"/>
                  <a:gd name="connsiteX4" fmla="*/ 149692 w 468812"/>
                  <a:gd name="connsiteY4" fmla="*/ 414741 h 471985"/>
                  <a:gd name="connsiteX5" fmla="*/ 175772 w 468812"/>
                  <a:gd name="connsiteY5" fmla="*/ 438647 h 471985"/>
                  <a:gd name="connsiteX6" fmla="*/ 436563 w 468812"/>
                  <a:gd name="connsiteY6" fmla="*/ 180029 h 471985"/>
                  <a:gd name="connsiteX7" fmla="*/ 414830 w 468812"/>
                  <a:gd name="connsiteY7" fmla="*/ 156123 h 471985"/>
                  <a:gd name="connsiteX8" fmla="*/ 327900 w 468812"/>
                  <a:gd name="connsiteY8" fmla="*/ 140910 h 471985"/>
                  <a:gd name="connsiteX9" fmla="*/ 317034 w 468812"/>
                  <a:gd name="connsiteY9" fmla="*/ 58326 h 471985"/>
                  <a:gd name="connsiteX10" fmla="*/ 290954 w 468812"/>
                  <a:gd name="connsiteY10" fmla="*/ 32247 h 471985"/>
                  <a:gd name="connsiteX11" fmla="*/ 282810 w 468812"/>
                  <a:gd name="connsiteY11" fmla="*/ 3270 h 471985"/>
                  <a:gd name="connsiteX12" fmla="*/ 302389 w 468812"/>
                  <a:gd name="connsiteY12" fmla="*/ 3270 h 471985"/>
                  <a:gd name="connsiteX13" fmla="*/ 343723 w 468812"/>
                  <a:gd name="connsiteY13" fmla="*/ 44692 h 471985"/>
                  <a:gd name="connsiteX14" fmla="*/ 345899 w 468812"/>
                  <a:gd name="connsiteY14" fmla="*/ 62132 h 471985"/>
                  <a:gd name="connsiteX15" fmla="*/ 345899 w 468812"/>
                  <a:gd name="connsiteY15" fmla="*/ 120994 h 471985"/>
                  <a:gd name="connsiteX16" fmla="*/ 406812 w 468812"/>
                  <a:gd name="connsiteY16" fmla="*/ 129714 h 471985"/>
                  <a:gd name="connsiteX17" fmla="*/ 426391 w 468812"/>
                  <a:gd name="connsiteY17" fmla="*/ 129714 h 471985"/>
                  <a:gd name="connsiteX18" fmla="*/ 465549 w 468812"/>
                  <a:gd name="connsiteY18" fmla="*/ 171136 h 471985"/>
                  <a:gd name="connsiteX19" fmla="*/ 465549 w 468812"/>
                  <a:gd name="connsiteY19" fmla="*/ 188576 h 471985"/>
                  <a:gd name="connsiteX20" fmla="*/ 184914 w 468812"/>
                  <a:gd name="connsiteY20" fmla="*/ 467625 h 471985"/>
                  <a:gd name="connsiteX21" fmla="*/ 176212 w 468812"/>
                  <a:gd name="connsiteY21" fmla="*/ 471985 h 471985"/>
                  <a:gd name="connsiteX22" fmla="*/ 165335 w 468812"/>
                  <a:gd name="connsiteY22" fmla="*/ 467625 h 471985"/>
                  <a:gd name="connsiteX23" fmla="*/ 124001 w 468812"/>
                  <a:gd name="connsiteY23" fmla="*/ 424024 h 471985"/>
                  <a:gd name="connsiteX24" fmla="*/ 124001 w 468812"/>
                  <a:gd name="connsiteY24" fmla="*/ 406583 h 471985"/>
                  <a:gd name="connsiteX25" fmla="*/ 121826 w 468812"/>
                  <a:gd name="connsiteY25" fmla="*/ 349901 h 471985"/>
                  <a:gd name="connsiteX26" fmla="*/ 60913 w 468812"/>
                  <a:gd name="connsiteY26" fmla="*/ 345541 h 471985"/>
                  <a:gd name="connsiteX27" fmla="*/ 43509 w 468812"/>
                  <a:gd name="connsiteY27" fmla="*/ 345541 h 471985"/>
                  <a:gd name="connsiteX28" fmla="*/ 2175 w 468812"/>
                  <a:gd name="connsiteY28" fmla="*/ 301940 h 471985"/>
                  <a:gd name="connsiteX29" fmla="*/ 0 w 468812"/>
                  <a:gd name="connsiteY29" fmla="*/ 293219 h 471985"/>
                  <a:gd name="connsiteX30" fmla="*/ 2175 w 468812"/>
                  <a:gd name="connsiteY30" fmla="*/ 284499 h 471985"/>
                  <a:gd name="connsiteX31" fmla="*/ 282810 w 468812"/>
                  <a:gd name="connsiteY31" fmla="*/ 3270 h 47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812" h="471985">
                    <a:moveTo>
                      <a:pt x="290954" y="32247"/>
                    </a:moveTo>
                    <a:cubicBezTo>
                      <a:pt x="30163" y="293039"/>
                      <a:pt x="30163" y="293039"/>
                      <a:pt x="30163" y="293039"/>
                    </a:cubicBezTo>
                    <a:cubicBezTo>
                      <a:pt x="56242" y="319118"/>
                      <a:pt x="56242" y="319118"/>
                      <a:pt x="56242" y="319118"/>
                    </a:cubicBezTo>
                    <a:cubicBezTo>
                      <a:pt x="77975" y="306078"/>
                      <a:pt x="114920" y="299558"/>
                      <a:pt x="143173" y="332157"/>
                    </a:cubicBezTo>
                    <a:cubicBezTo>
                      <a:pt x="169252" y="364756"/>
                      <a:pt x="160559" y="395182"/>
                      <a:pt x="149692" y="414741"/>
                    </a:cubicBezTo>
                    <a:cubicBezTo>
                      <a:pt x="175772" y="438647"/>
                      <a:pt x="175772" y="438647"/>
                      <a:pt x="175772" y="438647"/>
                    </a:cubicBezTo>
                    <a:cubicBezTo>
                      <a:pt x="436563" y="180029"/>
                      <a:pt x="436563" y="180029"/>
                      <a:pt x="436563" y="180029"/>
                    </a:cubicBezTo>
                    <a:cubicBezTo>
                      <a:pt x="414830" y="156123"/>
                      <a:pt x="414830" y="156123"/>
                      <a:pt x="414830" y="156123"/>
                    </a:cubicBezTo>
                    <a:cubicBezTo>
                      <a:pt x="395271" y="166989"/>
                      <a:pt x="362672" y="173509"/>
                      <a:pt x="327900" y="140910"/>
                    </a:cubicBezTo>
                    <a:cubicBezTo>
                      <a:pt x="301821" y="112658"/>
                      <a:pt x="308341" y="77886"/>
                      <a:pt x="317034" y="58326"/>
                    </a:cubicBezTo>
                    <a:cubicBezTo>
                      <a:pt x="290954" y="32247"/>
                      <a:pt x="290954" y="32247"/>
                      <a:pt x="290954" y="32247"/>
                    </a:cubicBezTo>
                    <a:close/>
                    <a:moveTo>
                      <a:pt x="282810" y="3270"/>
                    </a:moveTo>
                    <a:cubicBezTo>
                      <a:pt x="287161" y="-1090"/>
                      <a:pt x="295863" y="-1090"/>
                      <a:pt x="302389" y="3270"/>
                    </a:cubicBezTo>
                    <a:cubicBezTo>
                      <a:pt x="343723" y="44692"/>
                      <a:pt x="343723" y="44692"/>
                      <a:pt x="343723" y="44692"/>
                    </a:cubicBezTo>
                    <a:cubicBezTo>
                      <a:pt x="348074" y="49052"/>
                      <a:pt x="348074" y="57772"/>
                      <a:pt x="345899" y="62132"/>
                    </a:cubicBezTo>
                    <a:cubicBezTo>
                      <a:pt x="343723" y="64312"/>
                      <a:pt x="321969" y="97013"/>
                      <a:pt x="345899" y="120994"/>
                    </a:cubicBezTo>
                    <a:cubicBezTo>
                      <a:pt x="380706" y="151515"/>
                      <a:pt x="404636" y="131894"/>
                      <a:pt x="406812" y="129714"/>
                    </a:cubicBezTo>
                    <a:cubicBezTo>
                      <a:pt x="413338" y="123174"/>
                      <a:pt x="422040" y="125354"/>
                      <a:pt x="426391" y="129714"/>
                    </a:cubicBezTo>
                    <a:cubicBezTo>
                      <a:pt x="465549" y="171136"/>
                      <a:pt x="465549" y="171136"/>
                      <a:pt x="465549" y="171136"/>
                    </a:cubicBezTo>
                    <a:cubicBezTo>
                      <a:pt x="469900" y="175496"/>
                      <a:pt x="469900" y="184216"/>
                      <a:pt x="465549" y="188576"/>
                    </a:cubicBezTo>
                    <a:cubicBezTo>
                      <a:pt x="184914" y="467625"/>
                      <a:pt x="184914" y="467625"/>
                      <a:pt x="184914" y="467625"/>
                    </a:cubicBezTo>
                    <a:cubicBezTo>
                      <a:pt x="182739" y="469805"/>
                      <a:pt x="178388" y="471985"/>
                      <a:pt x="176212" y="471985"/>
                    </a:cubicBezTo>
                    <a:cubicBezTo>
                      <a:pt x="171862" y="471985"/>
                      <a:pt x="167511" y="469805"/>
                      <a:pt x="165335" y="467625"/>
                    </a:cubicBezTo>
                    <a:cubicBezTo>
                      <a:pt x="124001" y="424024"/>
                      <a:pt x="124001" y="424024"/>
                      <a:pt x="124001" y="424024"/>
                    </a:cubicBezTo>
                    <a:cubicBezTo>
                      <a:pt x="119650" y="419663"/>
                      <a:pt x="119650" y="410943"/>
                      <a:pt x="124001" y="406583"/>
                    </a:cubicBezTo>
                    <a:cubicBezTo>
                      <a:pt x="126177" y="404403"/>
                      <a:pt x="147931" y="380422"/>
                      <a:pt x="121826" y="349901"/>
                    </a:cubicBezTo>
                    <a:cubicBezTo>
                      <a:pt x="97896" y="319380"/>
                      <a:pt x="63088" y="345541"/>
                      <a:pt x="60913" y="345541"/>
                    </a:cubicBezTo>
                    <a:cubicBezTo>
                      <a:pt x="56562" y="349901"/>
                      <a:pt x="50036" y="349901"/>
                      <a:pt x="43509" y="345541"/>
                    </a:cubicBezTo>
                    <a:cubicBezTo>
                      <a:pt x="2175" y="301940"/>
                      <a:pt x="2175" y="301940"/>
                      <a:pt x="2175" y="301940"/>
                    </a:cubicBezTo>
                    <a:cubicBezTo>
                      <a:pt x="0" y="299760"/>
                      <a:pt x="0" y="297580"/>
                      <a:pt x="0" y="293219"/>
                    </a:cubicBezTo>
                    <a:cubicBezTo>
                      <a:pt x="0" y="291039"/>
                      <a:pt x="0" y="286679"/>
                      <a:pt x="2175" y="284499"/>
                    </a:cubicBezTo>
                    <a:cubicBezTo>
                      <a:pt x="282810" y="3270"/>
                      <a:pt x="282810" y="3270"/>
                      <a:pt x="282810" y="327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89" name="Freeform 77"/>
              <p:cNvSpPr>
                <a:spLocks/>
              </p:cNvSpPr>
              <p:nvPr/>
            </p:nvSpPr>
            <p:spPr bwMode="auto">
              <a:xfrm>
                <a:off x="2502665" y="3955826"/>
                <a:ext cx="58737" cy="57150"/>
              </a:xfrm>
              <a:custGeom>
                <a:avLst/>
                <a:gdLst>
                  <a:gd name="T0" fmla="*/ 20 w 27"/>
                  <a:gd name="T1" fmla="*/ 26 h 26"/>
                  <a:gd name="T2" fmla="*/ 16 w 27"/>
                  <a:gd name="T3" fmla="*/ 24 h 26"/>
                  <a:gd name="T4" fmla="*/ 3 w 27"/>
                  <a:gd name="T5" fmla="*/ 11 h 26"/>
                  <a:gd name="T6" fmla="*/ 3 w 27"/>
                  <a:gd name="T7" fmla="*/ 3 h 26"/>
                  <a:gd name="T8" fmla="*/ 11 w 27"/>
                  <a:gd name="T9" fmla="*/ 3 h 26"/>
                  <a:gd name="T10" fmla="*/ 24 w 27"/>
                  <a:gd name="T11" fmla="*/ 16 h 26"/>
                  <a:gd name="T12" fmla="*/ 24 w 27"/>
                  <a:gd name="T13" fmla="*/ 24 h 26"/>
                  <a:gd name="T14" fmla="*/ 20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0" y="26"/>
                    </a:moveTo>
                    <a:cubicBezTo>
                      <a:pt x="19" y="26"/>
                      <a:pt x="17" y="25"/>
                      <a:pt x="16" y="24"/>
                    </a:cubicBezTo>
                    <a:cubicBezTo>
                      <a:pt x="3" y="11"/>
                      <a:pt x="3" y="11"/>
                      <a:pt x="3" y="11"/>
                    </a:cubicBezTo>
                    <a:cubicBezTo>
                      <a:pt x="0" y="9"/>
                      <a:pt x="0" y="5"/>
                      <a:pt x="3" y="3"/>
                    </a:cubicBezTo>
                    <a:cubicBezTo>
                      <a:pt x="5" y="0"/>
                      <a:pt x="9" y="0"/>
                      <a:pt x="11" y="3"/>
                    </a:cubicBezTo>
                    <a:cubicBezTo>
                      <a:pt x="24" y="16"/>
                      <a:pt x="24" y="16"/>
                      <a:pt x="24" y="16"/>
                    </a:cubicBezTo>
                    <a:cubicBezTo>
                      <a:pt x="27" y="18"/>
                      <a:pt x="27" y="22"/>
                      <a:pt x="24" y="24"/>
                    </a:cubicBezTo>
                    <a:cubicBezTo>
                      <a:pt x="23" y="25"/>
                      <a:pt x="22" y="26"/>
                      <a:pt x="20"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8"/>
              <p:cNvSpPr>
                <a:spLocks/>
              </p:cNvSpPr>
              <p:nvPr/>
            </p:nvSpPr>
            <p:spPr bwMode="auto">
              <a:xfrm>
                <a:off x="2462977" y="3914551"/>
                <a:ext cx="57150" cy="57150"/>
              </a:xfrm>
              <a:custGeom>
                <a:avLst/>
                <a:gdLst>
                  <a:gd name="T0" fmla="*/ 19 w 26"/>
                  <a:gd name="T1" fmla="*/ 26 h 26"/>
                  <a:gd name="T2" fmla="*/ 15 w 26"/>
                  <a:gd name="T3" fmla="*/ 24 h 26"/>
                  <a:gd name="T4" fmla="*/ 2 w 26"/>
                  <a:gd name="T5" fmla="*/ 11 h 26"/>
                  <a:gd name="T6" fmla="*/ 2 w 26"/>
                  <a:gd name="T7" fmla="*/ 3 h 26"/>
                  <a:gd name="T8" fmla="*/ 11 w 26"/>
                  <a:gd name="T9" fmla="*/ 3 h 26"/>
                  <a:gd name="T10" fmla="*/ 24 w 26"/>
                  <a:gd name="T11" fmla="*/ 16 h 26"/>
                  <a:gd name="T12" fmla="*/ 24 w 26"/>
                  <a:gd name="T13" fmla="*/ 24 h 26"/>
                  <a:gd name="T14" fmla="*/ 19 w 2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6">
                    <a:moveTo>
                      <a:pt x="19" y="26"/>
                    </a:moveTo>
                    <a:cubicBezTo>
                      <a:pt x="18" y="26"/>
                      <a:pt x="16" y="26"/>
                      <a:pt x="15" y="24"/>
                    </a:cubicBezTo>
                    <a:cubicBezTo>
                      <a:pt x="2" y="11"/>
                      <a:pt x="2" y="11"/>
                      <a:pt x="2" y="11"/>
                    </a:cubicBezTo>
                    <a:cubicBezTo>
                      <a:pt x="0" y="9"/>
                      <a:pt x="0" y="5"/>
                      <a:pt x="2" y="3"/>
                    </a:cubicBezTo>
                    <a:cubicBezTo>
                      <a:pt x="4" y="0"/>
                      <a:pt x="8" y="0"/>
                      <a:pt x="11" y="3"/>
                    </a:cubicBezTo>
                    <a:cubicBezTo>
                      <a:pt x="24" y="16"/>
                      <a:pt x="24" y="16"/>
                      <a:pt x="24" y="16"/>
                    </a:cubicBezTo>
                    <a:cubicBezTo>
                      <a:pt x="26" y="18"/>
                      <a:pt x="26" y="22"/>
                      <a:pt x="24" y="24"/>
                    </a:cubicBezTo>
                    <a:cubicBezTo>
                      <a:pt x="22" y="26"/>
                      <a:pt x="21" y="26"/>
                      <a:pt x="19"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9"/>
              <p:cNvSpPr>
                <a:spLocks/>
              </p:cNvSpPr>
              <p:nvPr/>
            </p:nvSpPr>
            <p:spPr bwMode="auto">
              <a:xfrm>
                <a:off x="2420115" y="3874863"/>
                <a:ext cx="57150" cy="55563"/>
              </a:xfrm>
              <a:custGeom>
                <a:avLst/>
                <a:gdLst>
                  <a:gd name="T0" fmla="*/ 19 w 26"/>
                  <a:gd name="T1" fmla="*/ 25 h 25"/>
                  <a:gd name="T2" fmla="*/ 15 w 26"/>
                  <a:gd name="T3" fmla="*/ 24 h 25"/>
                  <a:gd name="T4" fmla="*/ 2 w 26"/>
                  <a:gd name="T5" fmla="*/ 11 h 25"/>
                  <a:gd name="T6" fmla="*/ 2 w 26"/>
                  <a:gd name="T7" fmla="*/ 2 h 25"/>
                  <a:gd name="T8" fmla="*/ 11 w 26"/>
                  <a:gd name="T9" fmla="*/ 2 h 25"/>
                  <a:gd name="T10" fmla="*/ 24 w 26"/>
                  <a:gd name="T11" fmla="*/ 15 h 25"/>
                  <a:gd name="T12" fmla="*/ 24 w 26"/>
                  <a:gd name="T13" fmla="*/ 24 h 25"/>
                  <a:gd name="T14" fmla="*/ 19 w 26"/>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5">
                    <a:moveTo>
                      <a:pt x="19" y="25"/>
                    </a:moveTo>
                    <a:cubicBezTo>
                      <a:pt x="18" y="25"/>
                      <a:pt x="16" y="25"/>
                      <a:pt x="15" y="24"/>
                    </a:cubicBezTo>
                    <a:cubicBezTo>
                      <a:pt x="2" y="11"/>
                      <a:pt x="2" y="11"/>
                      <a:pt x="2" y="11"/>
                    </a:cubicBezTo>
                    <a:cubicBezTo>
                      <a:pt x="0" y="8"/>
                      <a:pt x="0" y="4"/>
                      <a:pt x="2" y="2"/>
                    </a:cubicBezTo>
                    <a:cubicBezTo>
                      <a:pt x="5" y="0"/>
                      <a:pt x="8" y="0"/>
                      <a:pt x="11" y="2"/>
                    </a:cubicBezTo>
                    <a:cubicBezTo>
                      <a:pt x="24" y="15"/>
                      <a:pt x="24" y="15"/>
                      <a:pt x="24" y="15"/>
                    </a:cubicBezTo>
                    <a:cubicBezTo>
                      <a:pt x="26" y="17"/>
                      <a:pt x="26" y="21"/>
                      <a:pt x="24" y="24"/>
                    </a:cubicBezTo>
                    <a:cubicBezTo>
                      <a:pt x="23" y="25"/>
                      <a:pt x="21" y="25"/>
                      <a:pt x="19" y="2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0"/>
              <p:cNvSpPr>
                <a:spLocks/>
              </p:cNvSpPr>
              <p:nvPr/>
            </p:nvSpPr>
            <p:spPr bwMode="auto">
              <a:xfrm>
                <a:off x="2378840" y="3833588"/>
                <a:ext cx="55562" cy="57150"/>
              </a:xfrm>
              <a:custGeom>
                <a:avLst/>
                <a:gdLst>
                  <a:gd name="T0" fmla="*/ 19 w 26"/>
                  <a:gd name="T1" fmla="*/ 26 h 26"/>
                  <a:gd name="T2" fmla="*/ 15 w 26"/>
                  <a:gd name="T3" fmla="*/ 24 h 26"/>
                  <a:gd name="T4" fmla="*/ 2 w 26"/>
                  <a:gd name="T5" fmla="*/ 11 h 26"/>
                  <a:gd name="T6" fmla="*/ 2 w 26"/>
                  <a:gd name="T7" fmla="*/ 2 h 26"/>
                  <a:gd name="T8" fmla="*/ 10 w 26"/>
                  <a:gd name="T9" fmla="*/ 2 h 26"/>
                  <a:gd name="T10" fmla="*/ 23 w 26"/>
                  <a:gd name="T11" fmla="*/ 15 h 26"/>
                  <a:gd name="T12" fmla="*/ 23 w 26"/>
                  <a:gd name="T13" fmla="*/ 24 h 26"/>
                  <a:gd name="T14" fmla="*/ 19 w 2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6">
                    <a:moveTo>
                      <a:pt x="19" y="26"/>
                    </a:moveTo>
                    <a:cubicBezTo>
                      <a:pt x="18" y="26"/>
                      <a:pt x="16" y="25"/>
                      <a:pt x="15" y="24"/>
                    </a:cubicBezTo>
                    <a:cubicBezTo>
                      <a:pt x="2" y="11"/>
                      <a:pt x="2" y="11"/>
                      <a:pt x="2" y="11"/>
                    </a:cubicBezTo>
                    <a:cubicBezTo>
                      <a:pt x="0" y="8"/>
                      <a:pt x="0" y="5"/>
                      <a:pt x="2" y="2"/>
                    </a:cubicBezTo>
                    <a:cubicBezTo>
                      <a:pt x="4" y="0"/>
                      <a:pt x="8" y="0"/>
                      <a:pt x="10" y="2"/>
                    </a:cubicBezTo>
                    <a:cubicBezTo>
                      <a:pt x="23" y="15"/>
                      <a:pt x="23" y="15"/>
                      <a:pt x="23" y="15"/>
                    </a:cubicBezTo>
                    <a:cubicBezTo>
                      <a:pt x="26" y="18"/>
                      <a:pt x="26" y="21"/>
                      <a:pt x="23" y="24"/>
                    </a:cubicBezTo>
                    <a:cubicBezTo>
                      <a:pt x="22" y="25"/>
                      <a:pt x="21" y="26"/>
                      <a:pt x="19"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4" name="Group 93"/>
              <p:cNvGrpSpPr/>
              <p:nvPr/>
            </p:nvGrpSpPr>
            <p:grpSpPr>
              <a:xfrm>
                <a:off x="1837748" y="4093497"/>
                <a:ext cx="284166" cy="220428"/>
                <a:chOff x="8964790" y="2459832"/>
                <a:chExt cx="339725" cy="263525"/>
              </a:xfrm>
            </p:grpSpPr>
            <p:sp>
              <p:nvSpPr>
                <p:cNvPr id="103" name="Freeform 85"/>
                <p:cNvSpPr>
                  <a:spLocks/>
                </p:cNvSpPr>
                <p:nvPr/>
              </p:nvSpPr>
              <p:spPr bwMode="auto">
                <a:xfrm>
                  <a:off x="8964790" y="2459832"/>
                  <a:ext cx="287337" cy="182563"/>
                </a:xfrm>
                <a:custGeom>
                  <a:avLst/>
                  <a:gdLst>
                    <a:gd name="T0" fmla="*/ 84 w 132"/>
                    <a:gd name="T1" fmla="*/ 84 h 84"/>
                    <a:gd name="T2" fmla="*/ 47 w 132"/>
                    <a:gd name="T3" fmla="*/ 84 h 84"/>
                    <a:gd name="T4" fmla="*/ 27 w 132"/>
                    <a:gd name="T5" fmla="*/ 12 h 84"/>
                    <a:gd name="T6" fmla="*/ 6 w 132"/>
                    <a:gd name="T7" fmla="*/ 12 h 84"/>
                    <a:gd name="T8" fmla="*/ 0 w 132"/>
                    <a:gd name="T9" fmla="*/ 6 h 84"/>
                    <a:gd name="T10" fmla="*/ 6 w 132"/>
                    <a:gd name="T11" fmla="*/ 0 h 84"/>
                    <a:gd name="T12" fmla="*/ 32 w 132"/>
                    <a:gd name="T13" fmla="*/ 0 h 84"/>
                    <a:gd name="T14" fmla="*/ 38 w 132"/>
                    <a:gd name="T15" fmla="*/ 5 h 84"/>
                    <a:gd name="T16" fmla="*/ 52 w 132"/>
                    <a:gd name="T17" fmla="*/ 72 h 84"/>
                    <a:gd name="T18" fmla="*/ 126 w 132"/>
                    <a:gd name="T19" fmla="*/ 72 h 84"/>
                    <a:gd name="T20" fmla="*/ 126 w 132"/>
                    <a:gd name="T21" fmla="*/ 72 h 84"/>
                    <a:gd name="T22" fmla="*/ 132 w 132"/>
                    <a:gd name="T23" fmla="*/ 78 h 84"/>
                    <a:gd name="T24" fmla="*/ 126 w 132"/>
                    <a:gd name="T25" fmla="*/ 84 h 84"/>
                    <a:gd name="T26" fmla="*/ 84 w 132"/>
                    <a:gd name="T2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84">
                      <a:moveTo>
                        <a:pt x="84" y="84"/>
                      </a:moveTo>
                      <a:cubicBezTo>
                        <a:pt x="48" y="84"/>
                        <a:pt x="47" y="84"/>
                        <a:pt x="47" y="84"/>
                      </a:cubicBezTo>
                      <a:cubicBezTo>
                        <a:pt x="42" y="83"/>
                        <a:pt x="41" y="83"/>
                        <a:pt x="27" y="12"/>
                      </a:cubicBezTo>
                      <a:cubicBezTo>
                        <a:pt x="6" y="12"/>
                        <a:pt x="6" y="12"/>
                        <a:pt x="6" y="12"/>
                      </a:cubicBezTo>
                      <a:cubicBezTo>
                        <a:pt x="3" y="12"/>
                        <a:pt x="0" y="9"/>
                        <a:pt x="0" y="6"/>
                      </a:cubicBezTo>
                      <a:cubicBezTo>
                        <a:pt x="0" y="3"/>
                        <a:pt x="3" y="0"/>
                        <a:pt x="6" y="0"/>
                      </a:cubicBezTo>
                      <a:cubicBezTo>
                        <a:pt x="32" y="0"/>
                        <a:pt x="32" y="0"/>
                        <a:pt x="32" y="0"/>
                      </a:cubicBezTo>
                      <a:cubicBezTo>
                        <a:pt x="35" y="0"/>
                        <a:pt x="37" y="2"/>
                        <a:pt x="38" y="5"/>
                      </a:cubicBezTo>
                      <a:cubicBezTo>
                        <a:pt x="43" y="32"/>
                        <a:pt x="50" y="62"/>
                        <a:pt x="52" y="72"/>
                      </a:cubicBezTo>
                      <a:cubicBezTo>
                        <a:pt x="64" y="72"/>
                        <a:pt x="101" y="72"/>
                        <a:pt x="126" y="72"/>
                      </a:cubicBezTo>
                      <a:cubicBezTo>
                        <a:pt x="126" y="72"/>
                        <a:pt x="126" y="72"/>
                        <a:pt x="126" y="72"/>
                      </a:cubicBezTo>
                      <a:cubicBezTo>
                        <a:pt x="129" y="72"/>
                        <a:pt x="132" y="75"/>
                        <a:pt x="132" y="78"/>
                      </a:cubicBezTo>
                      <a:cubicBezTo>
                        <a:pt x="132" y="81"/>
                        <a:pt x="129" y="84"/>
                        <a:pt x="126" y="84"/>
                      </a:cubicBezTo>
                      <a:cubicBezTo>
                        <a:pt x="108" y="84"/>
                        <a:pt x="95" y="84"/>
                        <a:pt x="84" y="84"/>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4" name="Freeform 86"/>
                <p:cNvSpPr>
                  <a:spLocks/>
                </p:cNvSpPr>
                <p:nvPr/>
              </p:nvSpPr>
              <p:spPr bwMode="auto">
                <a:xfrm>
                  <a:off x="9061628" y="2494757"/>
                  <a:ext cx="242887" cy="25400"/>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3" y="12"/>
                        <a:pt x="0" y="9"/>
                        <a:pt x="0" y="6"/>
                      </a:cubicBezTo>
                      <a:cubicBezTo>
                        <a:pt x="0" y="3"/>
                        <a:pt x="3" y="0"/>
                        <a:pt x="6" y="0"/>
                      </a:cubicBezTo>
                      <a:cubicBezTo>
                        <a:pt x="106" y="0"/>
                        <a:pt x="106" y="0"/>
                        <a:pt x="106" y="0"/>
                      </a:cubicBezTo>
                      <a:cubicBezTo>
                        <a:pt x="109" y="0"/>
                        <a:pt x="112" y="3"/>
                        <a:pt x="112" y="6"/>
                      </a:cubicBezTo>
                      <a:cubicBezTo>
                        <a:pt x="112" y="9"/>
                        <a:pt x="109" y="12"/>
                        <a:pt x="106"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5" name="Freeform 87"/>
                <p:cNvSpPr>
                  <a:spLocks/>
                </p:cNvSpPr>
                <p:nvPr/>
              </p:nvSpPr>
              <p:spPr bwMode="auto">
                <a:xfrm>
                  <a:off x="9079090" y="2537619"/>
                  <a:ext cx="217487" cy="2698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3" y="12"/>
                        <a:pt x="0" y="9"/>
                        <a:pt x="0" y="6"/>
                      </a:cubicBezTo>
                      <a:cubicBezTo>
                        <a:pt x="0" y="3"/>
                        <a:pt x="3" y="0"/>
                        <a:pt x="6" y="0"/>
                      </a:cubicBezTo>
                      <a:cubicBezTo>
                        <a:pt x="94" y="0"/>
                        <a:pt x="94" y="0"/>
                        <a:pt x="94" y="0"/>
                      </a:cubicBezTo>
                      <a:cubicBezTo>
                        <a:pt x="97" y="0"/>
                        <a:pt x="100" y="3"/>
                        <a:pt x="100" y="6"/>
                      </a:cubicBezTo>
                      <a:cubicBezTo>
                        <a:pt x="100" y="9"/>
                        <a:pt x="97" y="12"/>
                        <a:pt x="94"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6" name="Freeform 88"/>
                <p:cNvSpPr>
                  <a:spLocks/>
                </p:cNvSpPr>
                <p:nvPr/>
              </p:nvSpPr>
              <p:spPr bwMode="auto">
                <a:xfrm>
                  <a:off x="9087028" y="2572544"/>
                  <a:ext cx="192087" cy="26988"/>
                </a:xfrm>
                <a:custGeom>
                  <a:avLst/>
                  <a:gdLst>
                    <a:gd name="T0" fmla="*/ 82 w 88"/>
                    <a:gd name="T1" fmla="*/ 12 h 12"/>
                    <a:gd name="T2" fmla="*/ 6 w 88"/>
                    <a:gd name="T3" fmla="*/ 12 h 12"/>
                    <a:gd name="T4" fmla="*/ 0 w 88"/>
                    <a:gd name="T5" fmla="*/ 6 h 12"/>
                    <a:gd name="T6" fmla="*/ 6 w 88"/>
                    <a:gd name="T7" fmla="*/ 0 h 12"/>
                    <a:gd name="T8" fmla="*/ 82 w 88"/>
                    <a:gd name="T9" fmla="*/ 0 h 12"/>
                    <a:gd name="T10" fmla="*/ 88 w 88"/>
                    <a:gd name="T11" fmla="*/ 6 h 12"/>
                    <a:gd name="T12" fmla="*/ 82 w 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8" h="12">
                      <a:moveTo>
                        <a:pt x="82" y="12"/>
                      </a:moveTo>
                      <a:cubicBezTo>
                        <a:pt x="6" y="12"/>
                        <a:pt x="6" y="12"/>
                        <a:pt x="6" y="12"/>
                      </a:cubicBezTo>
                      <a:cubicBezTo>
                        <a:pt x="3" y="12"/>
                        <a:pt x="0" y="9"/>
                        <a:pt x="0" y="6"/>
                      </a:cubicBezTo>
                      <a:cubicBezTo>
                        <a:pt x="0" y="3"/>
                        <a:pt x="3" y="0"/>
                        <a:pt x="6" y="0"/>
                      </a:cubicBezTo>
                      <a:cubicBezTo>
                        <a:pt x="82" y="0"/>
                        <a:pt x="82" y="0"/>
                        <a:pt x="82" y="0"/>
                      </a:cubicBezTo>
                      <a:cubicBezTo>
                        <a:pt x="85" y="0"/>
                        <a:pt x="88" y="3"/>
                        <a:pt x="88" y="6"/>
                      </a:cubicBezTo>
                      <a:cubicBezTo>
                        <a:pt x="88" y="9"/>
                        <a:pt x="85" y="12"/>
                        <a:pt x="82"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7" name="Freeform 106"/>
                <p:cNvSpPr>
                  <a:spLocks noChangeArrowheads="1"/>
                </p:cNvSpPr>
                <p:nvPr/>
              </p:nvSpPr>
              <p:spPr bwMode="auto">
                <a:xfrm>
                  <a:off x="9045753" y="2647157"/>
                  <a:ext cx="76200" cy="76200"/>
                </a:xfrm>
                <a:custGeom>
                  <a:avLst/>
                  <a:gdLst>
                    <a:gd name="connsiteX0" fmla="*/ 37306 w 76200"/>
                    <a:gd name="connsiteY0" fmla="*/ 25400 h 76200"/>
                    <a:gd name="connsiteX1" fmla="*/ 25400 w 76200"/>
                    <a:gd name="connsiteY1" fmla="*/ 37307 h 76200"/>
                    <a:gd name="connsiteX2" fmla="*/ 37306 w 76200"/>
                    <a:gd name="connsiteY2" fmla="*/ 49214 h 76200"/>
                    <a:gd name="connsiteX3" fmla="*/ 49212 w 76200"/>
                    <a:gd name="connsiteY3" fmla="*/ 37307 h 76200"/>
                    <a:gd name="connsiteX4" fmla="*/ 37306 w 76200"/>
                    <a:gd name="connsiteY4" fmla="*/ 25400 h 76200"/>
                    <a:gd name="connsiteX5" fmla="*/ 38100 w 76200"/>
                    <a:gd name="connsiteY5" fmla="*/ 0 h 76200"/>
                    <a:gd name="connsiteX6" fmla="*/ 76200 w 76200"/>
                    <a:gd name="connsiteY6" fmla="*/ 38100 h 76200"/>
                    <a:gd name="connsiteX7" fmla="*/ 38100 w 76200"/>
                    <a:gd name="connsiteY7" fmla="*/ 76200 h 76200"/>
                    <a:gd name="connsiteX8" fmla="*/ 0 w 76200"/>
                    <a:gd name="connsiteY8" fmla="*/ 38100 h 76200"/>
                    <a:gd name="connsiteX9" fmla="*/ 38100 w 76200"/>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7306" y="25400"/>
                      </a:moveTo>
                      <a:cubicBezTo>
                        <a:pt x="30730" y="25400"/>
                        <a:pt x="25400" y="30731"/>
                        <a:pt x="25400" y="37307"/>
                      </a:cubicBezTo>
                      <a:cubicBezTo>
                        <a:pt x="25400" y="43883"/>
                        <a:pt x="30730" y="49214"/>
                        <a:pt x="37306" y="49214"/>
                      </a:cubicBezTo>
                      <a:cubicBezTo>
                        <a:pt x="43882" y="49214"/>
                        <a:pt x="49212" y="43883"/>
                        <a:pt x="49212" y="37307"/>
                      </a:cubicBezTo>
                      <a:cubicBezTo>
                        <a:pt x="49212" y="30731"/>
                        <a:pt x="43882" y="25400"/>
                        <a:pt x="37306" y="25400"/>
                      </a:cubicBezTo>
                      <a:close/>
                      <a:moveTo>
                        <a:pt x="38100" y="0"/>
                      </a:moveTo>
                      <a:cubicBezTo>
                        <a:pt x="59142" y="0"/>
                        <a:pt x="76200" y="17058"/>
                        <a:pt x="76200" y="38100"/>
                      </a:cubicBezTo>
                      <a:cubicBezTo>
                        <a:pt x="76200" y="59142"/>
                        <a:pt x="59142" y="76200"/>
                        <a:pt x="38100" y="76200"/>
                      </a:cubicBezTo>
                      <a:cubicBezTo>
                        <a:pt x="17058" y="76200"/>
                        <a:pt x="0" y="59142"/>
                        <a:pt x="0" y="38100"/>
                      </a:cubicBezTo>
                      <a:cubicBezTo>
                        <a:pt x="0" y="17058"/>
                        <a:pt x="17058" y="0"/>
                        <a:pt x="38100"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108" name="Freeform 107"/>
                <p:cNvSpPr>
                  <a:spLocks noChangeArrowheads="1"/>
                </p:cNvSpPr>
                <p:nvPr/>
              </p:nvSpPr>
              <p:spPr bwMode="auto">
                <a:xfrm>
                  <a:off x="9174339" y="2647157"/>
                  <a:ext cx="77788" cy="76200"/>
                </a:xfrm>
                <a:custGeom>
                  <a:avLst/>
                  <a:gdLst>
                    <a:gd name="connsiteX0" fmla="*/ 38894 w 77788"/>
                    <a:gd name="connsiteY0" fmla="*/ 25400 h 76200"/>
                    <a:gd name="connsiteX1" fmla="*/ 25400 w 77788"/>
                    <a:gd name="connsiteY1" fmla="*/ 37307 h 76200"/>
                    <a:gd name="connsiteX2" fmla="*/ 38894 w 77788"/>
                    <a:gd name="connsiteY2" fmla="*/ 49214 h 76200"/>
                    <a:gd name="connsiteX3" fmla="*/ 52388 w 77788"/>
                    <a:gd name="connsiteY3" fmla="*/ 37307 h 76200"/>
                    <a:gd name="connsiteX4" fmla="*/ 38894 w 77788"/>
                    <a:gd name="connsiteY4" fmla="*/ 25400 h 76200"/>
                    <a:gd name="connsiteX5" fmla="*/ 38894 w 77788"/>
                    <a:gd name="connsiteY5" fmla="*/ 0 h 76200"/>
                    <a:gd name="connsiteX6" fmla="*/ 77788 w 77788"/>
                    <a:gd name="connsiteY6" fmla="*/ 38100 h 76200"/>
                    <a:gd name="connsiteX7" fmla="*/ 38894 w 77788"/>
                    <a:gd name="connsiteY7" fmla="*/ 76200 h 76200"/>
                    <a:gd name="connsiteX8" fmla="*/ 0 w 77788"/>
                    <a:gd name="connsiteY8" fmla="*/ 38100 h 76200"/>
                    <a:gd name="connsiteX9" fmla="*/ 38894 w 77788"/>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88" h="76200">
                      <a:moveTo>
                        <a:pt x="38894" y="25400"/>
                      </a:moveTo>
                      <a:cubicBezTo>
                        <a:pt x="31441" y="25400"/>
                        <a:pt x="25400" y="30731"/>
                        <a:pt x="25400" y="37307"/>
                      </a:cubicBezTo>
                      <a:cubicBezTo>
                        <a:pt x="25400" y="43883"/>
                        <a:pt x="31441" y="49214"/>
                        <a:pt x="38894" y="49214"/>
                      </a:cubicBezTo>
                      <a:cubicBezTo>
                        <a:pt x="46347" y="49214"/>
                        <a:pt x="52388" y="43883"/>
                        <a:pt x="52388" y="37307"/>
                      </a:cubicBezTo>
                      <a:cubicBezTo>
                        <a:pt x="52388" y="30731"/>
                        <a:pt x="46347" y="25400"/>
                        <a:pt x="38894" y="25400"/>
                      </a:cubicBezTo>
                      <a:close/>
                      <a:moveTo>
                        <a:pt x="38894" y="0"/>
                      </a:moveTo>
                      <a:cubicBezTo>
                        <a:pt x="60375" y="0"/>
                        <a:pt x="77788" y="17058"/>
                        <a:pt x="77788" y="38100"/>
                      </a:cubicBezTo>
                      <a:cubicBezTo>
                        <a:pt x="77788" y="59142"/>
                        <a:pt x="60375" y="76200"/>
                        <a:pt x="38894" y="76200"/>
                      </a:cubicBezTo>
                      <a:cubicBezTo>
                        <a:pt x="17413" y="76200"/>
                        <a:pt x="0" y="59142"/>
                        <a:pt x="0" y="38100"/>
                      </a:cubicBezTo>
                      <a:cubicBezTo>
                        <a:pt x="0" y="17058"/>
                        <a:pt x="17413" y="0"/>
                        <a:pt x="38894"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100" name="Freeform 99"/>
              <p:cNvSpPr>
                <a:spLocks/>
              </p:cNvSpPr>
              <p:nvPr/>
            </p:nvSpPr>
            <p:spPr bwMode="auto">
              <a:xfrm>
                <a:off x="2781037" y="3093241"/>
                <a:ext cx="265748" cy="253778"/>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3175">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102" name="Freeform 101"/>
              <p:cNvSpPr>
                <a:spLocks/>
              </p:cNvSpPr>
              <p:nvPr/>
            </p:nvSpPr>
            <p:spPr bwMode="auto">
              <a:xfrm>
                <a:off x="2975141" y="3459732"/>
                <a:ext cx="201208" cy="192146"/>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3175">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75" name="Group 74"/>
            <p:cNvGrpSpPr/>
            <p:nvPr/>
          </p:nvGrpSpPr>
          <p:grpSpPr>
            <a:xfrm>
              <a:off x="1369783" y="4198990"/>
              <a:ext cx="1785889" cy="1156898"/>
              <a:chOff x="2668588" y="8150225"/>
              <a:chExt cx="1514475" cy="981075"/>
            </a:xfrm>
            <a:solidFill>
              <a:srgbClr val="0078D7"/>
            </a:solidFill>
          </p:grpSpPr>
          <p:sp>
            <p:nvSpPr>
              <p:cNvPr id="76" name="Freeform 60"/>
              <p:cNvSpPr>
                <a:spLocks noEditPoints="1"/>
              </p:cNvSpPr>
              <p:nvPr/>
            </p:nvSpPr>
            <p:spPr bwMode="auto">
              <a:xfrm>
                <a:off x="2668588" y="8150225"/>
                <a:ext cx="1514475" cy="981075"/>
              </a:xfrm>
              <a:custGeom>
                <a:avLst/>
                <a:gdLst>
                  <a:gd name="T0" fmla="*/ 46 w 954"/>
                  <a:gd name="T1" fmla="*/ 618 h 618"/>
                  <a:gd name="T2" fmla="*/ 34 w 954"/>
                  <a:gd name="T3" fmla="*/ 618 h 618"/>
                  <a:gd name="T4" fmla="*/ 18 w 954"/>
                  <a:gd name="T5" fmla="*/ 610 h 618"/>
                  <a:gd name="T6" fmla="*/ 6 w 954"/>
                  <a:gd name="T7" fmla="*/ 592 h 618"/>
                  <a:gd name="T8" fmla="*/ 0 w 954"/>
                  <a:gd name="T9" fmla="*/ 562 h 618"/>
                  <a:gd name="T10" fmla="*/ 0 w 954"/>
                  <a:gd name="T11" fmla="*/ 550 h 618"/>
                  <a:gd name="T12" fmla="*/ 6 w 954"/>
                  <a:gd name="T13" fmla="*/ 520 h 618"/>
                  <a:gd name="T14" fmla="*/ 18 w 954"/>
                  <a:gd name="T15" fmla="*/ 502 h 618"/>
                  <a:gd name="T16" fmla="*/ 34 w 954"/>
                  <a:gd name="T17" fmla="*/ 494 h 618"/>
                  <a:gd name="T18" fmla="*/ 60 w 954"/>
                  <a:gd name="T19" fmla="*/ 494 h 618"/>
                  <a:gd name="T20" fmla="*/ 60 w 954"/>
                  <a:gd name="T21" fmla="*/ 58 h 618"/>
                  <a:gd name="T22" fmla="*/ 64 w 954"/>
                  <a:gd name="T23" fmla="*/ 36 h 618"/>
                  <a:gd name="T24" fmla="*/ 76 w 954"/>
                  <a:gd name="T25" fmla="*/ 18 h 618"/>
                  <a:gd name="T26" fmla="*/ 94 w 954"/>
                  <a:gd name="T27" fmla="*/ 6 h 618"/>
                  <a:gd name="T28" fmla="*/ 116 w 954"/>
                  <a:gd name="T29" fmla="*/ 0 h 618"/>
                  <a:gd name="T30" fmla="*/ 838 w 954"/>
                  <a:gd name="T31" fmla="*/ 0 h 618"/>
                  <a:gd name="T32" fmla="*/ 860 w 954"/>
                  <a:gd name="T33" fmla="*/ 6 h 618"/>
                  <a:gd name="T34" fmla="*/ 878 w 954"/>
                  <a:gd name="T35" fmla="*/ 18 h 618"/>
                  <a:gd name="T36" fmla="*/ 890 w 954"/>
                  <a:gd name="T37" fmla="*/ 36 h 618"/>
                  <a:gd name="T38" fmla="*/ 896 w 954"/>
                  <a:gd name="T39" fmla="*/ 58 h 618"/>
                  <a:gd name="T40" fmla="*/ 910 w 954"/>
                  <a:gd name="T41" fmla="*/ 494 h 618"/>
                  <a:gd name="T42" fmla="*/ 922 w 954"/>
                  <a:gd name="T43" fmla="*/ 494 h 618"/>
                  <a:gd name="T44" fmla="*/ 936 w 954"/>
                  <a:gd name="T45" fmla="*/ 502 h 618"/>
                  <a:gd name="T46" fmla="*/ 950 w 954"/>
                  <a:gd name="T47" fmla="*/ 520 h 618"/>
                  <a:gd name="T48" fmla="*/ 954 w 954"/>
                  <a:gd name="T49" fmla="*/ 550 h 618"/>
                  <a:gd name="T50" fmla="*/ 954 w 954"/>
                  <a:gd name="T51" fmla="*/ 562 h 618"/>
                  <a:gd name="T52" fmla="*/ 950 w 954"/>
                  <a:gd name="T53" fmla="*/ 592 h 618"/>
                  <a:gd name="T54" fmla="*/ 936 w 954"/>
                  <a:gd name="T55" fmla="*/ 610 h 618"/>
                  <a:gd name="T56" fmla="*/ 922 w 954"/>
                  <a:gd name="T57" fmla="*/ 618 h 618"/>
                  <a:gd name="T58" fmla="*/ 910 w 954"/>
                  <a:gd name="T59" fmla="*/ 618 h 618"/>
                  <a:gd name="T60" fmla="*/ 46 w 954"/>
                  <a:gd name="T61" fmla="*/ 522 h 618"/>
                  <a:gd name="T62" fmla="*/ 36 w 954"/>
                  <a:gd name="T63" fmla="*/ 524 h 618"/>
                  <a:gd name="T64" fmla="*/ 30 w 954"/>
                  <a:gd name="T65" fmla="*/ 534 h 618"/>
                  <a:gd name="T66" fmla="*/ 28 w 954"/>
                  <a:gd name="T67" fmla="*/ 550 h 618"/>
                  <a:gd name="T68" fmla="*/ 28 w 954"/>
                  <a:gd name="T69" fmla="*/ 562 h 618"/>
                  <a:gd name="T70" fmla="*/ 30 w 954"/>
                  <a:gd name="T71" fmla="*/ 578 h 618"/>
                  <a:gd name="T72" fmla="*/ 36 w 954"/>
                  <a:gd name="T73" fmla="*/ 588 h 618"/>
                  <a:gd name="T74" fmla="*/ 46 w 954"/>
                  <a:gd name="T75" fmla="*/ 590 h 618"/>
                  <a:gd name="T76" fmla="*/ 910 w 954"/>
                  <a:gd name="T77" fmla="*/ 590 h 618"/>
                  <a:gd name="T78" fmla="*/ 920 w 954"/>
                  <a:gd name="T79" fmla="*/ 588 h 618"/>
                  <a:gd name="T80" fmla="*/ 924 w 954"/>
                  <a:gd name="T81" fmla="*/ 578 h 618"/>
                  <a:gd name="T82" fmla="*/ 926 w 954"/>
                  <a:gd name="T83" fmla="*/ 562 h 618"/>
                  <a:gd name="T84" fmla="*/ 926 w 954"/>
                  <a:gd name="T85" fmla="*/ 550 h 618"/>
                  <a:gd name="T86" fmla="*/ 924 w 954"/>
                  <a:gd name="T87" fmla="*/ 534 h 618"/>
                  <a:gd name="T88" fmla="*/ 920 w 954"/>
                  <a:gd name="T89" fmla="*/ 524 h 618"/>
                  <a:gd name="T90" fmla="*/ 910 w 954"/>
                  <a:gd name="T91" fmla="*/ 522 h 618"/>
                  <a:gd name="T92" fmla="*/ 882 w 954"/>
                  <a:gd name="T93" fmla="*/ 522 h 618"/>
                  <a:gd name="T94" fmla="*/ 872 w 954"/>
                  <a:gd name="T95" fmla="*/ 518 h 618"/>
                  <a:gd name="T96" fmla="*/ 868 w 954"/>
                  <a:gd name="T97" fmla="*/ 508 h 618"/>
                  <a:gd name="T98" fmla="*/ 868 w 954"/>
                  <a:gd name="T99" fmla="*/ 58 h 618"/>
                  <a:gd name="T100" fmla="*/ 858 w 954"/>
                  <a:gd name="T101" fmla="*/ 38 h 618"/>
                  <a:gd name="T102" fmla="*/ 838 w 954"/>
                  <a:gd name="T103" fmla="*/ 28 h 618"/>
                  <a:gd name="T104" fmla="*/ 116 w 954"/>
                  <a:gd name="T105" fmla="*/ 28 h 618"/>
                  <a:gd name="T106" fmla="*/ 96 w 954"/>
                  <a:gd name="T107" fmla="*/ 38 h 618"/>
                  <a:gd name="T108" fmla="*/ 88 w 954"/>
                  <a:gd name="T109" fmla="*/ 58 h 618"/>
                  <a:gd name="T110" fmla="*/ 88 w 954"/>
                  <a:gd name="T111" fmla="*/ 508 h 618"/>
                  <a:gd name="T112" fmla="*/ 84 w 954"/>
                  <a:gd name="T113" fmla="*/ 518 h 618"/>
                  <a:gd name="T114" fmla="*/ 74 w 954"/>
                  <a:gd name="T115" fmla="*/ 52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4" h="618">
                    <a:moveTo>
                      <a:pt x="910" y="618"/>
                    </a:moveTo>
                    <a:lnTo>
                      <a:pt x="46" y="618"/>
                    </a:lnTo>
                    <a:lnTo>
                      <a:pt x="46" y="618"/>
                    </a:lnTo>
                    <a:lnTo>
                      <a:pt x="34" y="618"/>
                    </a:lnTo>
                    <a:lnTo>
                      <a:pt x="26" y="614"/>
                    </a:lnTo>
                    <a:lnTo>
                      <a:pt x="18" y="610"/>
                    </a:lnTo>
                    <a:lnTo>
                      <a:pt x="12" y="602"/>
                    </a:lnTo>
                    <a:lnTo>
                      <a:pt x="6" y="592"/>
                    </a:lnTo>
                    <a:lnTo>
                      <a:pt x="2" y="580"/>
                    </a:lnTo>
                    <a:lnTo>
                      <a:pt x="0" y="562"/>
                    </a:lnTo>
                    <a:lnTo>
                      <a:pt x="0" y="550"/>
                    </a:lnTo>
                    <a:lnTo>
                      <a:pt x="0" y="550"/>
                    </a:lnTo>
                    <a:lnTo>
                      <a:pt x="2" y="534"/>
                    </a:lnTo>
                    <a:lnTo>
                      <a:pt x="6" y="520"/>
                    </a:lnTo>
                    <a:lnTo>
                      <a:pt x="12" y="510"/>
                    </a:lnTo>
                    <a:lnTo>
                      <a:pt x="18" y="502"/>
                    </a:lnTo>
                    <a:lnTo>
                      <a:pt x="26" y="498"/>
                    </a:lnTo>
                    <a:lnTo>
                      <a:pt x="34" y="494"/>
                    </a:lnTo>
                    <a:lnTo>
                      <a:pt x="46" y="494"/>
                    </a:lnTo>
                    <a:lnTo>
                      <a:pt x="60" y="494"/>
                    </a:lnTo>
                    <a:lnTo>
                      <a:pt x="60" y="58"/>
                    </a:lnTo>
                    <a:lnTo>
                      <a:pt x="60" y="58"/>
                    </a:lnTo>
                    <a:lnTo>
                      <a:pt x="60" y="46"/>
                    </a:lnTo>
                    <a:lnTo>
                      <a:pt x="64" y="36"/>
                    </a:lnTo>
                    <a:lnTo>
                      <a:pt x="70" y="26"/>
                    </a:lnTo>
                    <a:lnTo>
                      <a:pt x="76" y="18"/>
                    </a:lnTo>
                    <a:lnTo>
                      <a:pt x="84" y="10"/>
                    </a:lnTo>
                    <a:lnTo>
                      <a:pt x="94" y="6"/>
                    </a:lnTo>
                    <a:lnTo>
                      <a:pt x="106" y="2"/>
                    </a:lnTo>
                    <a:lnTo>
                      <a:pt x="116" y="0"/>
                    </a:lnTo>
                    <a:lnTo>
                      <a:pt x="838" y="0"/>
                    </a:lnTo>
                    <a:lnTo>
                      <a:pt x="838" y="0"/>
                    </a:lnTo>
                    <a:lnTo>
                      <a:pt x="850" y="2"/>
                    </a:lnTo>
                    <a:lnTo>
                      <a:pt x="860" y="6"/>
                    </a:lnTo>
                    <a:lnTo>
                      <a:pt x="870" y="10"/>
                    </a:lnTo>
                    <a:lnTo>
                      <a:pt x="878" y="18"/>
                    </a:lnTo>
                    <a:lnTo>
                      <a:pt x="886" y="26"/>
                    </a:lnTo>
                    <a:lnTo>
                      <a:pt x="890" y="36"/>
                    </a:lnTo>
                    <a:lnTo>
                      <a:pt x="894" y="46"/>
                    </a:lnTo>
                    <a:lnTo>
                      <a:pt x="896" y="58"/>
                    </a:lnTo>
                    <a:lnTo>
                      <a:pt x="896" y="494"/>
                    </a:lnTo>
                    <a:lnTo>
                      <a:pt x="910" y="494"/>
                    </a:lnTo>
                    <a:lnTo>
                      <a:pt x="910" y="494"/>
                    </a:lnTo>
                    <a:lnTo>
                      <a:pt x="922" y="494"/>
                    </a:lnTo>
                    <a:lnTo>
                      <a:pt x="930" y="498"/>
                    </a:lnTo>
                    <a:lnTo>
                      <a:pt x="936" y="502"/>
                    </a:lnTo>
                    <a:lnTo>
                      <a:pt x="944" y="510"/>
                    </a:lnTo>
                    <a:lnTo>
                      <a:pt x="950" y="520"/>
                    </a:lnTo>
                    <a:lnTo>
                      <a:pt x="954" y="534"/>
                    </a:lnTo>
                    <a:lnTo>
                      <a:pt x="954" y="550"/>
                    </a:lnTo>
                    <a:lnTo>
                      <a:pt x="954" y="562"/>
                    </a:lnTo>
                    <a:lnTo>
                      <a:pt x="954" y="562"/>
                    </a:lnTo>
                    <a:lnTo>
                      <a:pt x="954" y="580"/>
                    </a:lnTo>
                    <a:lnTo>
                      <a:pt x="950" y="592"/>
                    </a:lnTo>
                    <a:lnTo>
                      <a:pt x="944" y="602"/>
                    </a:lnTo>
                    <a:lnTo>
                      <a:pt x="936" y="610"/>
                    </a:lnTo>
                    <a:lnTo>
                      <a:pt x="930" y="614"/>
                    </a:lnTo>
                    <a:lnTo>
                      <a:pt x="922" y="618"/>
                    </a:lnTo>
                    <a:lnTo>
                      <a:pt x="910" y="618"/>
                    </a:lnTo>
                    <a:lnTo>
                      <a:pt x="910" y="618"/>
                    </a:lnTo>
                    <a:close/>
                    <a:moveTo>
                      <a:pt x="46" y="522"/>
                    </a:moveTo>
                    <a:lnTo>
                      <a:pt x="46" y="522"/>
                    </a:lnTo>
                    <a:lnTo>
                      <a:pt x="40" y="522"/>
                    </a:lnTo>
                    <a:lnTo>
                      <a:pt x="36" y="524"/>
                    </a:lnTo>
                    <a:lnTo>
                      <a:pt x="32" y="528"/>
                    </a:lnTo>
                    <a:lnTo>
                      <a:pt x="30" y="534"/>
                    </a:lnTo>
                    <a:lnTo>
                      <a:pt x="30" y="540"/>
                    </a:lnTo>
                    <a:lnTo>
                      <a:pt x="28" y="550"/>
                    </a:lnTo>
                    <a:lnTo>
                      <a:pt x="28" y="562"/>
                    </a:lnTo>
                    <a:lnTo>
                      <a:pt x="28" y="562"/>
                    </a:lnTo>
                    <a:lnTo>
                      <a:pt x="30" y="572"/>
                    </a:lnTo>
                    <a:lnTo>
                      <a:pt x="30" y="578"/>
                    </a:lnTo>
                    <a:lnTo>
                      <a:pt x="32" y="584"/>
                    </a:lnTo>
                    <a:lnTo>
                      <a:pt x="36" y="588"/>
                    </a:lnTo>
                    <a:lnTo>
                      <a:pt x="40" y="590"/>
                    </a:lnTo>
                    <a:lnTo>
                      <a:pt x="46" y="590"/>
                    </a:lnTo>
                    <a:lnTo>
                      <a:pt x="910" y="590"/>
                    </a:lnTo>
                    <a:lnTo>
                      <a:pt x="910" y="590"/>
                    </a:lnTo>
                    <a:lnTo>
                      <a:pt x="914" y="590"/>
                    </a:lnTo>
                    <a:lnTo>
                      <a:pt x="920" y="588"/>
                    </a:lnTo>
                    <a:lnTo>
                      <a:pt x="922" y="584"/>
                    </a:lnTo>
                    <a:lnTo>
                      <a:pt x="924" y="578"/>
                    </a:lnTo>
                    <a:lnTo>
                      <a:pt x="926" y="572"/>
                    </a:lnTo>
                    <a:lnTo>
                      <a:pt x="926" y="562"/>
                    </a:lnTo>
                    <a:lnTo>
                      <a:pt x="926" y="550"/>
                    </a:lnTo>
                    <a:lnTo>
                      <a:pt x="926" y="550"/>
                    </a:lnTo>
                    <a:lnTo>
                      <a:pt x="926" y="540"/>
                    </a:lnTo>
                    <a:lnTo>
                      <a:pt x="924" y="534"/>
                    </a:lnTo>
                    <a:lnTo>
                      <a:pt x="922" y="528"/>
                    </a:lnTo>
                    <a:lnTo>
                      <a:pt x="920" y="524"/>
                    </a:lnTo>
                    <a:lnTo>
                      <a:pt x="914" y="522"/>
                    </a:lnTo>
                    <a:lnTo>
                      <a:pt x="910" y="522"/>
                    </a:lnTo>
                    <a:lnTo>
                      <a:pt x="882" y="522"/>
                    </a:lnTo>
                    <a:lnTo>
                      <a:pt x="882" y="522"/>
                    </a:lnTo>
                    <a:lnTo>
                      <a:pt x="876" y="520"/>
                    </a:lnTo>
                    <a:lnTo>
                      <a:pt x="872" y="518"/>
                    </a:lnTo>
                    <a:lnTo>
                      <a:pt x="868" y="512"/>
                    </a:lnTo>
                    <a:lnTo>
                      <a:pt x="868" y="508"/>
                    </a:lnTo>
                    <a:lnTo>
                      <a:pt x="868" y="58"/>
                    </a:lnTo>
                    <a:lnTo>
                      <a:pt x="868" y="58"/>
                    </a:lnTo>
                    <a:lnTo>
                      <a:pt x="866" y="46"/>
                    </a:lnTo>
                    <a:lnTo>
                      <a:pt x="858" y="38"/>
                    </a:lnTo>
                    <a:lnTo>
                      <a:pt x="850" y="30"/>
                    </a:lnTo>
                    <a:lnTo>
                      <a:pt x="838" y="28"/>
                    </a:lnTo>
                    <a:lnTo>
                      <a:pt x="116" y="28"/>
                    </a:lnTo>
                    <a:lnTo>
                      <a:pt x="116" y="28"/>
                    </a:lnTo>
                    <a:lnTo>
                      <a:pt x="106" y="30"/>
                    </a:lnTo>
                    <a:lnTo>
                      <a:pt x="96" y="38"/>
                    </a:lnTo>
                    <a:lnTo>
                      <a:pt x="90" y="46"/>
                    </a:lnTo>
                    <a:lnTo>
                      <a:pt x="88" y="58"/>
                    </a:lnTo>
                    <a:lnTo>
                      <a:pt x="88" y="508"/>
                    </a:lnTo>
                    <a:lnTo>
                      <a:pt x="88" y="508"/>
                    </a:lnTo>
                    <a:lnTo>
                      <a:pt x="86" y="512"/>
                    </a:lnTo>
                    <a:lnTo>
                      <a:pt x="84" y="518"/>
                    </a:lnTo>
                    <a:lnTo>
                      <a:pt x="80" y="520"/>
                    </a:lnTo>
                    <a:lnTo>
                      <a:pt x="74" y="522"/>
                    </a:lnTo>
                    <a:lnTo>
                      <a:pt x="46" y="522"/>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77" name="Freeform 61"/>
              <p:cNvSpPr>
                <a:spLocks noEditPoints="1"/>
              </p:cNvSpPr>
              <p:nvPr/>
            </p:nvSpPr>
            <p:spPr bwMode="auto">
              <a:xfrm>
                <a:off x="2843213" y="8232775"/>
                <a:ext cx="1165225" cy="742950"/>
              </a:xfrm>
              <a:custGeom>
                <a:avLst/>
                <a:gdLst>
                  <a:gd name="T0" fmla="*/ 720 w 734"/>
                  <a:gd name="T1" fmla="*/ 468 h 468"/>
                  <a:gd name="T2" fmla="*/ 14 w 734"/>
                  <a:gd name="T3" fmla="*/ 468 h 468"/>
                  <a:gd name="T4" fmla="*/ 14 w 734"/>
                  <a:gd name="T5" fmla="*/ 468 h 468"/>
                  <a:gd name="T6" fmla="*/ 8 w 734"/>
                  <a:gd name="T7" fmla="*/ 468 h 468"/>
                  <a:gd name="T8" fmla="*/ 4 w 734"/>
                  <a:gd name="T9" fmla="*/ 464 h 468"/>
                  <a:gd name="T10" fmla="*/ 2 w 734"/>
                  <a:gd name="T11" fmla="*/ 460 h 468"/>
                  <a:gd name="T12" fmla="*/ 0 w 734"/>
                  <a:gd name="T13" fmla="*/ 454 h 468"/>
                  <a:gd name="T14" fmla="*/ 0 w 734"/>
                  <a:gd name="T15" fmla="*/ 14 h 468"/>
                  <a:gd name="T16" fmla="*/ 0 w 734"/>
                  <a:gd name="T17" fmla="*/ 14 h 468"/>
                  <a:gd name="T18" fmla="*/ 2 w 734"/>
                  <a:gd name="T19" fmla="*/ 8 h 468"/>
                  <a:gd name="T20" fmla="*/ 4 w 734"/>
                  <a:gd name="T21" fmla="*/ 4 h 468"/>
                  <a:gd name="T22" fmla="*/ 8 w 734"/>
                  <a:gd name="T23" fmla="*/ 0 h 468"/>
                  <a:gd name="T24" fmla="*/ 14 w 734"/>
                  <a:gd name="T25" fmla="*/ 0 h 468"/>
                  <a:gd name="T26" fmla="*/ 720 w 734"/>
                  <a:gd name="T27" fmla="*/ 0 h 468"/>
                  <a:gd name="T28" fmla="*/ 720 w 734"/>
                  <a:gd name="T29" fmla="*/ 0 h 468"/>
                  <a:gd name="T30" fmla="*/ 726 w 734"/>
                  <a:gd name="T31" fmla="*/ 0 h 468"/>
                  <a:gd name="T32" fmla="*/ 730 w 734"/>
                  <a:gd name="T33" fmla="*/ 4 h 468"/>
                  <a:gd name="T34" fmla="*/ 734 w 734"/>
                  <a:gd name="T35" fmla="*/ 8 h 468"/>
                  <a:gd name="T36" fmla="*/ 734 w 734"/>
                  <a:gd name="T37" fmla="*/ 14 h 468"/>
                  <a:gd name="T38" fmla="*/ 734 w 734"/>
                  <a:gd name="T39" fmla="*/ 454 h 468"/>
                  <a:gd name="T40" fmla="*/ 734 w 734"/>
                  <a:gd name="T41" fmla="*/ 454 h 468"/>
                  <a:gd name="T42" fmla="*/ 734 w 734"/>
                  <a:gd name="T43" fmla="*/ 460 h 468"/>
                  <a:gd name="T44" fmla="*/ 730 w 734"/>
                  <a:gd name="T45" fmla="*/ 464 h 468"/>
                  <a:gd name="T46" fmla="*/ 726 w 734"/>
                  <a:gd name="T47" fmla="*/ 468 h 468"/>
                  <a:gd name="T48" fmla="*/ 720 w 734"/>
                  <a:gd name="T49" fmla="*/ 468 h 468"/>
                  <a:gd name="T50" fmla="*/ 720 w 734"/>
                  <a:gd name="T51" fmla="*/ 468 h 468"/>
                  <a:gd name="T52" fmla="*/ 28 w 734"/>
                  <a:gd name="T53" fmla="*/ 440 h 468"/>
                  <a:gd name="T54" fmla="*/ 706 w 734"/>
                  <a:gd name="T55" fmla="*/ 440 h 468"/>
                  <a:gd name="T56" fmla="*/ 706 w 734"/>
                  <a:gd name="T57" fmla="*/ 28 h 468"/>
                  <a:gd name="T58" fmla="*/ 28 w 734"/>
                  <a:gd name="T59" fmla="*/ 28 h 468"/>
                  <a:gd name="T60" fmla="*/ 28 w 734"/>
                  <a:gd name="T61" fmla="*/ 44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34" h="468">
                    <a:moveTo>
                      <a:pt x="720" y="468"/>
                    </a:moveTo>
                    <a:lnTo>
                      <a:pt x="14" y="468"/>
                    </a:lnTo>
                    <a:lnTo>
                      <a:pt x="14" y="468"/>
                    </a:lnTo>
                    <a:lnTo>
                      <a:pt x="8" y="468"/>
                    </a:lnTo>
                    <a:lnTo>
                      <a:pt x="4" y="464"/>
                    </a:lnTo>
                    <a:lnTo>
                      <a:pt x="2" y="460"/>
                    </a:lnTo>
                    <a:lnTo>
                      <a:pt x="0" y="454"/>
                    </a:lnTo>
                    <a:lnTo>
                      <a:pt x="0" y="14"/>
                    </a:lnTo>
                    <a:lnTo>
                      <a:pt x="0" y="14"/>
                    </a:lnTo>
                    <a:lnTo>
                      <a:pt x="2" y="8"/>
                    </a:lnTo>
                    <a:lnTo>
                      <a:pt x="4" y="4"/>
                    </a:lnTo>
                    <a:lnTo>
                      <a:pt x="8" y="0"/>
                    </a:lnTo>
                    <a:lnTo>
                      <a:pt x="14" y="0"/>
                    </a:lnTo>
                    <a:lnTo>
                      <a:pt x="720" y="0"/>
                    </a:lnTo>
                    <a:lnTo>
                      <a:pt x="720" y="0"/>
                    </a:lnTo>
                    <a:lnTo>
                      <a:pt x="726" y="0"/>
                    </a:lnTo>
                    <a:lnTo>
                      <a:pt x="730" y="4"/>
                    </a:lnTo>
                    <a:lnTo>
                      <a:pt x="734" y="8"/>
                    </a:lnTo>
                    <a:lnTo>
                      <a:pt x="734" y="14"/>
                    </a:lnTo>
                    <a:lnTo>
                      <a:pt x="734" y="454"/>
                    </a:lnTo>
                    <a:lnTo>
                      <a:pt x="734" y="454"/>
                    </a:lnTo>
                    <a:lnTo>
                      <a:pt x="734" y="460"/>
                    </a:lnTo>
                    <a:lnTo>
                      <a:pt x="730" y="464"/>
                    </a:lnTo>
                    <a:lnTo>
                      <a:pt x="726" y="468"/>
                    </a:lnTo>
                    <a:lnTo>
                      <a:pt x="720" y="468"/>
                    </a:lnTo>
                    <a:lnTo>
                      <a:pt x="720" y="468"/>
                    </a:lnTo>
                    <a:close/>
                    <a:moveTo>
                      <a:pt x="28" y="440"/>
                    </a:moveTo>
                    <a:lnTo>
                      <a:pt x="706" y="440"/>
                    </a:lnTo>
                    <a:lnTo>
                      <a:pt x="706" y="28"/>
                    </a:lnTo>
                    <a:lnTo>
                      <a:pt x="28" y="28"/>
                    </a:lnTo>
                    <a:lnTo>
                      <a:pt x="28" y="440"/>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78" name="Freeform 62"/>
              <p:cNvSpPr>
                <a:spLocks/>
              </p:cNvSpPr>
              <p:nvPr/>
            </p:nvSpPr>
            <p:spPr bwMode="auto">
              <a:xfrm>
                <a:off x="2982913" y="8388350"/>
                <a:ext cx="885825" cy="431800"/>
              </a:xfrm>
              <a:custGeom>
                <a:avLst/>
                <a:gdLst>
                  <a:gd name="T0" fmla="*/ 496 w 558"/>
                  <a:gd name="T1" fmla="*/ 272 h 272"/>
                  <a:gd name="T2" fmla="*/ 492 w 558"/>
                  <a:gd name="T3" fmla="*/ 270 h 272"/>
                  <a:gd name="T4" fmla="*/ 484 w 558"/>
                  <a:gd name="T5" fmla="*/ 264 h 272"/>
                  <a:gd name="T6" fmla="*/ 482 w 558"/>
                  <a:gd name="T7" fmla="*/ 28 h 272"/>
                  <a:gd name="T8" fmla="*/ 438 w 558"/>
                  <a:gd name="T9" fmla="*/ 258 h 272"/>
                  <a:gd name="T10" fmla="*/ 436 w 558"/>
                  <a:gd name="T11" fmla="*/ 264 h 272"/>
                  <a:gd name="T12" fmla="*/ 430 w 558"/>
                  <a:gd name="T13" fmla="*/ 270 h 272"/>
                  <a:gd name="T14" fmla="*/ 314 w 558"/>
                  <a:gd name="T15" fmla="*/ 272 h 272"/>
                  <a:gd name="T16" fmla="*/ 310 w 558"/>
                  <a:gd name="T17" fmla="*/ 270 h 272"/>
                  <a:gd name="T18" fmla="*/ 302 w 558"/>
                  <a:gd name="T19" fmla="*/ 264 h 272"/>
                  <a:gd name="T20" fmla="*/ 300 w 558"/>
                  <a:gd name="T21" fmla="*/ 62 h 272"/>
                  <a:gd name="T22" fmla="*/ 256 w 558"/>
                  <a:gd name="T23" fmla="*/ 258 h 272"/>
                  <a:gd name="T24" fmla="*/ 254 w 558"/>
                  <a:gd name="T25" fmla="*/ 264 h 272"/>
                  <a:gd name="T26" fmla="*/ 248 w 558"/>
                  <a:gd name="T27" fmla="*/ 270 h 272"/>
                  <a:gd name="T28" fmla="*/ 132 w 558"/>
                  <a:gd name="T29" fmla="*/ 272 h 272"/>
                  <a:gd name="T30" fmla="*/ 128 w 558"/>
                  <a:gd name="T31" fmla="*/ 270 h 272"/>
                  <a:gd name="T32" fmla="*/ 120 w 558"/>
                  <a:gd name="T33" fmla="*/ 264 h 272"/>
                  <a:gd name="T34" fmla="*/ 118 w 558"/>
                  <a:gd name="T35" fmla="*/ 126 h 272"/>
                  <a:gd name="T36" fmla="*/ 74 w 558"/>
                  <a:gd name="T37" fmla="*/ 258 h 272"/>
                  <a:gd name="T38" fmla="*/ 72 w 558"/>
                  <a:gd name="T39" fmla="*/ 264 h 272"/>
                  <a:gd name="T40" fmla="*/ 64 w 558"/>
                  <a:gd name="T41" fmla="*/ 270 h 272"/>
                  <a:gd name="T42" fmla="*/ 14 w 558"/>
                  <a:gd name="T43" fmla="*/ 272 h 272"/>
                  <a:gd name="T44" fmla="*/ 10 w 558"/>
                  <a:gd name="T45" fmla="*/ 270 h 272"/>
                  <a:gd name="T46" fmla="*/ 2 w 558"/>
                  <a:gd name="T47" fmla="*/ 264 h 272"/>
                  <a:gd name="T48" fmla="*/ 0 w 558"/>
                  <a:gd name="T49" fmla="*/ 258 h 272"/>
                  <a:gd name="T50" fmla="*/ 4 w 558"/>
                  <a:gd name="T51" fmla="*/ 248 h 272"/>
                  <a:gd name="T52" fmla="*/ 14 w 558"/>
                  <a:gd name="T53" fmla="*/ 244 h 272"/>
                  <a:gd name="T54" fmla="*/ 46 w 558"/>
                  <a:gd name="T55" fmla="*/ 122 h 272"/>
                  <a:gd name="T56" fmla="*/ 48 w 558"/>
                  <a:gd name="T57" fmla="*/ 112 h 272"/>
                  <a:gd name="T58" fmla="*/ 60 w 558"/>
                  <a:gd name="T59" fmla="*/ 100 h 272"/>
                  <a:gd name="T60" fmla="*/ 122 w 558"/>
                  <a:gd name="T61" fmla="*/ 98 h 272"/>
                  <a:gd name="T62" fmla="*/ 132 w 558"/>
                  <a:gd name="T63" fmla="*/ 100 h 272"/>
                  <a:gd name="T64" fmla="*/ 144 w 558"/>
                  <a:gd name="T65" fmla="*/ 112 h 272"/>
                  <a:gd name="T66" fmla="*/ 146 w 558"/>
                  <a:gd name="T67" fmla="*/ 244 h 272"/>
                  <a:gd name="T68" fmla="*/ 228 w 558"/>
                  <a:gd name="T69" fmla="*/ 60 h 272"/>
                  <a:gd name="T70" fmla="*/ 230 w 558"/>
                  <a:gd name="T71" fmla="*/ 50 h 272"/>
                  <a:gd name="T72" fmla="*/ 242 w 558"/>
                  <a:gd name="T73" fmla="*/ 36 h 272"/>
                  <a:gd name="T74" fmla="*/ 304 w 558"/>
                  <a:gd name="T75" fmla="*/ 34 h 272"/>
                  <a:gd name="T76" fmla="*/ 314 w 558"/>
                  <a:gd name="T77" fmla="*/ 36 h 272"/>
                  <a:gd name="T78" fmla="*/ 326 w 558"/>
                  <a:gd name="T79" fmla="*/ 50 h 272"/>
                  <a:gd name="T80" fmla="*/ 328 w 558"/>
                  <a:gd name="T81" fmla="*/ 244 h 272"/>
                  <a:gd name="T82" fmla="*/ 410 w 558"/>
                  <a:gd name="T83" fmla="*/ 24 h 272"/>
                  <a:gd name="T84" fmla="*/ 412 w 558"/>
                  <a:gd name="T85" fmla="*/ 14 h 272"/>
                  <a:gd name="T86" fmla="*/ 424 w 558"/>
                  <a:gd name="T87" fmla="*/ 2 h 272"/>
                  <a:gd name="T88" fmla="*/ 486 w 558"/>
                  <a:gd name="T89" fmla="*/ 0 h 272"/>
                  <a:gd name="T90" fmla="*/ 496 w 558"/>
                  <a:gd name="T91" fmla="*/ 2 h 272"/>
                  <a:gd name="T92" fmla="*/ 508 w 558"/>
                  <a:gd name="T93" fmla="*/ 14 h 272"/>
                  <a:gd name="T94" fmla="*/ 510 w 558"/>
                  <a:gd name="T95" fmla="*/ 244 h 272"/>
                  <a:gd name="T96" fmla="*/ 544 w 558"/>
                  <a:gd name="T97" fmla="*/ 244 h 272"/>
                  <a:gd name="T98" fmla="*/ 554 w 558"/>
                  <a:gd name="T99" fmla="*/ 248 h 272"/>
                  <a:gd name="T100" fmla="*/ 558 w 558"/>
                  <a:gd name="T101" fmla="*/ 258 h 272"/>
                  <a:gd name="T102" fmla="*/ 558 w 558"/>
                  <a:gd name="T103" fmla="*/ 264 h 272"/>
                  <a:gd name="T104" fmla="*/ 550 w 558"/>
                  <a:gd name="T105" fmla="*/ 270 h 272"/>
                  <a:gd name="T106" fmla="*/ 544 w 558"/>
                  <a:gd name="T107"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8" h="272">
                    <a:moveTo>
                      <a:pt x="544" y="272"/>
                    </a:moveTo>
                    <a:lnTo>
                      <a:pt x="496" y="272"/>
                    </a:lnTo>
                    <a:lnTo>
                      <a:pt x="496" y="272"/>
                    </a:lnTo>
                    <a:lnTo>
                      <a:pt x="492" y="270"/>
                    </a:lnTo>
                    <a:lnTo>
                      <a:pt x="486" y="268"/>
                    </a:lnTo>
                    <a:lnTo>
                      <a:pt x="484" y="264"/>
                    </a:lnTo>
                    <a:lnTo>
                      <a:pt x="482" y="258"/>
                    </a:lnTo>
                    <a:lnTo>
                      <a:pt x="482" y="28"/>
                    </a:lnTo>
                    <a:lnTo>
                      <a:pt x="438" y="28"/>
                    </a:lnTo>
                    <a:lnTo>
                      <a:pt x="438" y="258"/>
                    </a:lnTo>
                    <a:lnTo>
                      <a:pt x="438" y="258"/>
                    </a:lnTo>
                    <a:lnTo>
                      <a:pt x="436" y="264"/>
                    </a:lnTo>
                    <a:lnTo>
                      <a:pt x="434" y="268"/>
                    </a:lnTo>
                    <a:lnTo>
                      <a:pt x="430" y="270"/>
                    </a:lnTo>
                    <a:lnTo>
                      <a:pt x="424" y="272"/>
                    </a:lnTo>
                    <a:lnTo>
                      <a:pt x="314" y="272"/>
                    </a:lnTo>
                    <a:lnTo>
                      <a:pt x="314" y="272"/>
                    </a:lnTo>
                    <a:lnTo>
                      <a:pt x="310" y="270"/>
                    </a:lnTo>
                    <a:lnTo>
                      <a:pt x="304" y="268"/>
                    </a:lnTo>
                    <a:lnTo>
                      <a:pt x="302" y="264"/>
                    </a:lnTo>
                    <a:lnTo>
                      <a:pt x="300" y="258"/>
                    </a:lnTo>
                    <a:lnTo>
                      <a:pt x="300" y="62"/>
                    </a:lnTo>
                    <a:lnTo>
                      <a:pt x="256" y="62"/>
                    </a:lnTo>
                    <a:lnTo>
                      <a:pt x="256" y="258"/>
                    </a:lnTo>
                    <a:lnTo>
                      <a:pt x="256" y="258"/>
                    </a:lnTo>
                    <a:lnTo>
                      <a:pt x="254" y="264"/>
                    </a:lnTo>
                    <a:lnTo>
                      <a:pt x="252" y="268"/>
                    </a:lnTo>
                    <a:lnTo>
                      <a:pt x="248" y="270"/>
                    </a:lnTo>
                    <a:lnTo>
                      <a:pt x="242" y="272"/>
                    </a:lnTo>
                    <a:lnTo>
                      <a:pt x="132" y="272"/>
                    </a:lnTo>
                    <a:lnTo>
                      <a:pt x="132" y="272"/>
                    </a:lnTo>
                    <a:lnTo>
                      <a:pt x="128" y="270"/>
                    </a:lnTo>
                    <a:lnTo>
                      <a:pt x="122" y="268"/>
                    </a:lnTo>
                    <a:lnTo>
                      <a:pt x="120" y="264"/>
                    </a:lnTo>
                    <a:lnTo>
                      <a:pt x="118" y="258"/>
                    </a:lnTo>
                    <a:lnTo>
                      <a:pt x="118" y="126"/>
                    </a:lnTo>
                    <a:lnTo>
                      <a:pt x="74" y="126"/>
                    </a:lnTo>
                    <a:lnTo>
                      <a:pt x="74" y="258"/>
                    </a:lnTo>
                    <a:lnTo>
                      <a:pt x="74" y="258"/>
                    </a:lnTo>
                    <a:lnTo>
                      <a:pt x="72" y="264"/>
                    </a:lnTo>
                    <a:lnTo>
                      <a:pt x="70" y="268"/>
                    </a:lnTo>
                    <a:lnTo>
                      <a:pt x="64" y="270"/>
                    </a:lnTo>
                    <a:lnTo>
                      <a:pt x="60" y="272"/>
                    </a:lnTo>
                    <a:lnTo>
                      <a:pt x="14" y="272"/>
                    </a:lnTo>
                    <a:lnTo>
                      <a:pt x="14" y="272"/>
                    </a:lnTo>
                    <a:lnTo>
                      <a:pt x="10" y="270"/>
                    </a:lnTo>
                    <a:lnTo>
                      <a:pt x="4" y="268"/>
                    </a:lnTo>
                    <a:lnTo>
                      <a:pt x="2" y="264"/>
                    </a:lnTo>
                    <a:lnTo>
                      <a:pt x="0" y="258"/>
                    </a:lnTo>
                    <a:lnTo>
                      <a:pt x="0" y="258"/>
                    </a:lnTo>
                    <a:lnTo>
                      <a:pt x="2" y="252"/>
                    </a:lnTo>
                    <a:lnTo>
                      <a:pt x="4" y="248"/>
                    </a:lnTo>
                    <a:lnTo>
                      <a:pt x="10" y="246"/>
                    </a:lnTo>
                    <a:lnTo>
                      <a:pt x="14" y="244"/>
                    </a:lnTo>
                    <a:lnTo>
                      <a:pt x="46" y="244"/>
                    </a:lnTo>
                    <a:lnTo>
                      <a:pt x="46" y="122"/>
                    </a:lnTo>
                    <a:lnTo>
                      <a:pt x="46" y="122"/>
                    </a:lnTo>
                    <a:lnTo>
                      <a:pt x="48" y="112"/>
                    </a:lnTo>
                    <a:lnTo>
                      <a:pt x="52" y="106"/>
                    </a:lnTo>
                    <a:lnTo>
                      <a:pt x="60" y="100"/>
                    </a:lnTo>
                    <a:lnTo>
                      <a:pt x="70" y="98"/>
                    </a:lnTo>
                    <a:lnTo>
                      <a:pt x="122" y="98"/>
                    </a:lnTo>
                    <a:lnTo>
                      <a:pt x="122" y="98"/>
                    </a:lnTo>
                    <a:lnTo>
                      <a:pt x="132" y="100"/>
                    </a:lnTo>
                    <a:lnTo>
                      <a:pt x="140" y="106"/>
                    </a:lnTo>
                    <a:lnTo>
                      <a:pt x="144" y="112"/>
                    </a:lnTo>
                    <a:lnTo>
                      <a:pt x="146" y="122"/>
                    </a:lnTo>
                    <a:lnTo>
                      <a:pt x="146" y="244"/>
                    </a:lnTo>
                    <a:lnTo>
                      <a:pt x="228" y="244"/>
                    </a:lnTo>
                    <a:lnTo>
                      <a:pt x="228" y="60"/>
                    </a:lnTo>
                    <a:lnTo>
                      <a:pt x="228" y="60"/>
                    </a:lnTo>
                    <a:lnTo>
                      <a:pt x="230" y="50"/>
                    </a:lnTo>
                    <a:lnTo>
                      <a:pt x="234" y="42"/>
                    </a:lnTo>
                    <a:lnTo>
                      <a:pt x="242" y="36"/>
                    </a:lnTo>
                    <a:lnTo>
                      <a:pt x="252" y="34"/>
                    </a:lnTo>
                    <a:lnTo>
                      <a:pt x="304" y="34"/>
                    </a:lnTo>
                    <a:lnTo>
                      <a:pt x="304" y="34"/>
                    </a:lnTo>
                    <a:lnTo>
                      <a:pt x="314" y="36"/>
                    </a:lnTo>
                    <a:lnTo>
                      <a:pt x="322" y="42"/>
                    </a:lnTo>
                    <a:lnTo>
                      <a:pt x="326" y="50"/>
                    </a:lnTo>
                    <a:lnTo>
                      <a:pt x="328" y="60"/>
                    </a:lnTo>
                    <a:lnTo>
                      <a:pt x="328" y="244"/>
                    </a:lnTo>
                    <a:lnTo>
                      <a:pt x="410" y="244"/>
                    </a:lnTo>
                    <a:lnTo>
                      <a:pt x="410" y="24"/>
                    </a:lnTo>
                    <a:lnTo>
                      <a:pt x="410" y="24"/>
                    </a:lnTo>
                    <a:lnTo>
                      <a:pt x="412" y="14"/>
                    </a:lnTo>
                    <a:lnTo>
                      <a:pt x="416" y="8"/>
                    </a:lnTo>
                    <a:lnTo>
                      <a:pt x="424" y="2"/>
                    </a:lnTo>
                    <a:lnTo>
                      <a:pt x="434" y="0"/>
                    </a:lnTo>
                    <a:lnTo>
                      <a:pt x="486" y="0"/>
                    </a:lnTo>
                    <a:lnTo>
                      <a:pt x="486" y="0"/>
                    </a:lnTo>
                    <a:lnTo>
                      <a:pt x="496" y="2"/>
                    </a:lnTo>
                    <a:lnTo>
                      <a:pt x="504" y="8"/>
                    </a:lnTo>
                    <a:lnTo>
                      <a:pt x="508" y="14"/>
                    </a:lnTo>
                    <a:lnTo>
                      <a:pt x="510" y="24"/>
                    </a:lnTo>
                    <a:lnTo>
                      <a:pt x="510" y="244"/>
                    </a:lnTo>
                    <a:lnTo>
                      <a:pt x="544" y="244"/>
                    </a:lnTo>
                    <a:lnTo>
                      <a:pt x="544" y="244"/>
                    </a:lnTo>
                    <a:lnTo>
                      <a:pt x="550" y="246"/>
                    </a:lnTo>
                    <a:lnTo>
                      <a:pt x="554" y="248"/>
                    </a:lnTo>
                    <a:lnTo>
                      <a:pt x="558" y="252"/>
                    </a:lnTo>
                    <a:lnTo>
                      <a:pt x="558" y="258"/>
                    </a:lnTo>
                    <a:lnTo>
                      <a:pt x="558" y="258"/>
                    </a:lnTo>
                    <a:lnTo>
                      <a:pt x="558" y="264"/>
                    </a:lnTo>
                    <a:lnTo>
                      <a:pt x="554" y="268"/>
                    </a:lnTo>
                    <a:lnTo>
                      <a:pt x="550" y="270"/>
                    </a:lnTo>
                    <a:lnTo>
                      <a:pt x="544" y="272"/>
                    </a:lnTo>
                    <a:lnTo>
                      <a:pt x="544" y="272"/>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grpSp>
      </p:grpSp>
      <p:grpSp>
        <p:nvGrpSpPr>
          <p:cNvPr id="117" name="Group 116"/>
          <p:cNvGrpSpPr/>
          <p:nvPr/>
        </p:nvGrpSpPr>
        <p:grpSpPr>
          <a:xfrm>
            <a:off x="9076358" y="3362902"/>
            <a:ext cx="2173512" cy="2201708"/>
            <a:chOff x="8983693" y="3362902"/>
            <a:chExt cx="2173512" cy="2201708"/>
          </a:xfrm>
        </p:grpSpPr>
        <p:sp>
          <p:nvSpPr>
            <p:cNvPr id="91" name="Freeform 90"/>
            <p:cNvSpPr>
              <a:spLocks/>
            </p:cNvSpPr>
            <p:nvPr/>
          </p:nvSpPr>
          <p:spPr bwMode="auto">
            <a:xfrm>
              <a:off x="8983693" y="3892492"/>
              <a:ext cx="1727568" cy="1672118"/>
            </a:xfrm>
            <a:custGeom>
              <a:avLst/>
              <a:gdLst>
                <a:gd name="connsiteX0" fmla="*/ 1374746 w 4797425"/>
                <a:gd name="connsiteY0" fmla="*/ 3544713 h 4643438"/>
                <a:gd name="connsiteX1" fmla="*/ 1374746 w 4797425"/>
                <a:gd name="connsiteY1" fmla="*/ 4431859 h 4643438"/>
                <a:gd name="connsiteX2" fmla="*/ 1374746 w 4797425"/>
                <a:gd name="connsiteY2" fmla="*/ 4473575 h 4643438"/>
                <a:gd name="connsiteX3" fmla="*/ 1612356 w 4797425"/>
                <a:gd name="connsiteY3" fmla="*/ 4473575 h 4643438"/>
                <a:gd name="connsiteX4" fmla="*/ 1932802 w 4797425"/>
                <a:gd name="connsiteY4" fmla="*/ 4473575 h 4643438"/>
                <a:gd name="connsiteX5" fmla="*/ 1935194 w 4797425"/>
                <a:gd name="connsiteY5" fmla="*/ 4473575 h 4643438"/>
                <a:gd name="connsiteX6" fmla="*/ 1935194 w 4797425"/>
                <a:gd name="connsiteY6" fmla="*/ 4380126 h 4643438"/>
                <a:gd name="connsiteX7" fmla="*/ 1935194 w 4797425"/>
                <a:gd name="connsiteY7" fmla="*/ 3544713 h 4643438"/>
                <a:gd name="connsiteX8" fmla="*/ 1374746 w 4797425"/>
                <a:gd name="connsiteY8" fmla="*/ 3544713 h 4643438"/>
                <a:gd name="connsiteX9" fmla="*/ 2762250 w 4797425"/>
                <a:gd name="connsiteY9" fmla="*/ 2568575 h 4643438"/>
                <a:gd name="connsiteX10" fmla="*/ 2762250 w 4797425"/>
                <a:gd name="connsiteY10" fmla="*/ 3013075 h 4643438"/>
                <a:gd name="connsiteX11" fmla="*/ 3321050 w 4797425"/>
                <a:gd name="connsiteY11" fmla="*/ 3013075 h 4643438"/>
                <a:gd name="connsiteX12" fmla="*/ 3321050 w 4797425"/>
                <a:gd name="connsiteY12" fmla="*/ 2568575 h 4643438"/>
                <a:gd name="connsiteX13" fmla="*/ 1374775 w 4797425"/>
                <a:gd name="connsiteY13" fmla="*/ 2568575 h 4643438"/>
                <a:gd name="connsiteX14" fmla="*/ 1374775 w 4797425"/>
                <a:gd name="connsiteY14" fmla="*/ 3013075 h 4643438"/>
                <a:gd name="connsiteX15" fmla="*/ 1935163 w 4797425"/>
                <a:gd name="connsiteY15" fmla="*/ 3013075 h 4643438"/>
                <a:gd name="connsiteX16" fmla="*/ 1935163 w 4797425"/>
                <a:gd name="connsiteY16" fmla="*/ 2568575 h 4643438"/>
                <a:gd name="connsiteX17" fmla="*/ 2677155 w 4797425"/>
                <a:gd name="connsiteY17" fmla="*/ 2398713 h 4643438"/>
                <a:gd name="connsiteX18" fmla="*/ 3406147 w 4797425"/>
                <a:gd name="connsiteY18" fmla="*/ 2398713 h 4643438"/>
                <a:gd name="connsiteX19" fmla="*/ 3490913 w 4797425"/>
                <a:gd name="connsiteY19" fmla="*/ 2483494 h 4643438"/>
                <a:gd name="connsiteX20" fmla="*/ 3490913 w 4797425"/>
                <a:gd name="connsiteY20" fmla="*/ 3098157 h 4643438"/>
                <a:gd name="connsiteX21" fmla="*/ 3406147 w 4797425"/>
                <a:gd name="connsiteY21" fmla="*/ 3182938 h 4643438"/>
                <a:gd name="connsiteX22" fmla="*/ 2677155 w 4797425"/>
                <a:gd name="connsiteY22" fmla="*/ 3182938 h 4643438"/>
                <a:gd name="connsiteX23" fmla="*/ 2592388 w 4797425"/>
                <a:gd name="connsiteY23" fmla="*/ 3098157 h 4643438"/>
                <a:gd name="connsiteX24" fmla="*/ 2592388 w 4797425"/>
                <a:gd name="connsiteY24" fmla="*/ 2483494 h 4643438"/>
                <a:gd name="connsiteX25" fmla="*/ 2677155 w 4797425"/>
                <a:gd name="connsiteY25" fmla="*/ 2398713 h 4643438"/>
                <a:gd name="connsiteX26" fmla="*/ 1289830 w 4797425"/>
                <a:gd name="connsiteY26" fmla="*/ 2398713 h 4643438"/>
                <a:gd name="connsiteX27" fmla="*/ 2020110 w 4797425"/>
                <a:gd name="connsiteY27" fmla="*/ 2398713 h 4643438"/>
                <a:gd name="connsiteX28" fmla="*/ 2105026 w 4797425"/>
                <a:gd name="connsiteY28" fmla="*/ 2483494 h 4643438"/>
                <a:gd name="connsiteX29" fmla="*/ 2105026 w 4797425"/>
                <a:gd name="connsiteY29" fmla="*/ 3098157 h 4643438"/>
                <a:gd name="connsiteX30" fmla="*/ 2020110 w 4797425"/>
                <a:gd name="connsiteY30" fmla="*/ 3182938 h 4643438"/>
                <a:gd name="connsiteX31" fmla="*/ 1289830 w 4797425"/>
                <a:gd name="connsiteY31" fmla="*/ 3182938 h 4643438"/>
                <a:gd name="connsiteX32" fmla="*/ 1204913 w 4797425"/>
                <a:gd name="connsiteY32" fmla="*/ 3098157 h 4643438"/>
                <a:gd name="connsiteX33" fmla="*/ 1204913 w 4797425"/>
                <a:gd name="connsiteY33" fmla="*/ 2483494 h 4643438"/>
                <a:gd name="connsiteX34" fmla="*/ 1289830 w 4797425"/>
                <a:gd name="connsiteY34" fmla="*/ 2398713 h 4643438"/>
                <a:gd name="connsiteX35" fmla="*/ 2762250 w 4797425"/>
                <a:gd name="connsiteY35" fmla="*/ 1587500 h 4643438"/>
                <a:gd name="connsiteX36" fmla="*/ 2762250 w 4797425"/>
                <a:gd name="connsiteY36" fmla="*/ 2036763 h 4643438"/>
                <a:gd name="connsiteX37" fmla="*/ 3321050 w 4797425"/>
                <a:gd name="connsiteY37" fmla="*/ 2036763 h 4643438"/>
                <a:gd name="connsiteX38" fmla="*/ 3321050 w 4797425"/>
                <a:gd name="connsiteY38" fmla="*/ 1587500 h 4643438"/>
                <a:gd name="connsiteX39" fmla="*/ 1374775 w 4797425"/>
                <a:gd name="connsiteY39" fmla="*/ 1587500 h 4643438"/>
                <a:gd name="connsiteX40" fmla="*/ 1374775 w 4797425"/>
                <a:gd name="connsiteY40" fmla="*/ 2036763 h 4643438"/>
                <a:gd name="connsiteX41" fmla="*/ 1935163 w 4797425"/>
                <a:gd name="connsiteY41" fmla="*/ 2036763 h 4643438"/>
                <a:gd name="connsiteX42" fmla="*/ 1935163 w 4797425"/>
                <a:gd name="connsiteY42" fmla="*/ 1587500 h 4643438"/>
                <a:gd name="connsiteX43" fmla="*/ 2677155 w 4797425"/>
                <a:gd name="connsiteY43" fmla="*/ 1417638 h 4643438"/>
                <a:gd name="connsiteX44" fmla="*/ 3406147 w 4797425"/>
                <a:gd name="connsiteY44" fmla="*/ 1417638 h 4643438"/>
                <a:gd name="connsiteX45" fmla="*/ 3490913 w 4797425"/>
                <a:gd name="connsiteY45" fmla="*/ 1502476 h 4643438"/>
                <a:gd name="connsiteX46" fmla="*/ 3490913 w 4797425"/>
                <a:gd name="connsiteY46" fmla="*/ 2121789 h 4643438"/>
                <a:gd name="connsiteX47" fmla="*/ 3406147 w 4797425"/>
                <a:gd name="connsiteY47" fmla="*/ 2206626 h 4643438"/>
                <a:gd name="connsiteX48" fmla="*/ 2677155 w 4797425"/>
                <a:gd name="connsiteY48" fmla="*/ 2206626 h 4643438"/>
                <a:gd name="connsiteX49" fmla="*/ 2592388 w 4797425"/>
                <a:gd name="connsiteY49" fmla="*/ 2121789 h 4643438"/>
                <a:gd name="connsiteX50" fmla="*/ 2592388 w 4797425"/>
                <a:gd name="connsiteY50" fmla="*/ 1502476 h 4643438"/>
                <a:gd name="connsiteX51" fmla="*/ 2677155 w 4797425"/>
                <a:gd name="connsiteY51" fmla="*/ 1417638 h 4643438"/>
                <a:gd name="connsiteX52" fmla="*/ 1289830 w 4797425"/>
                <a:gd name="connsiteY52" fmla="*/ 1417638 h 4643438"/>
                <a:gd name="connsiteX53" fmla="*/ 2020110 w 4797425"/>
                <a:gd name="connsiteY53" fmla="*/ 1417638 h 4643438"/>
                <a:gd name="connsiteX54" fmla="*/ 2105026 w 4797425"/>
                <a:gd name="connsiteY54" fmla="*/ 1502476 h 4643438"/>
                <a:gd name="connsiteX55" fmla="*/ 2105026 w 4797425"/>
                <a:gd name="connsiteY55" fmla="*/ 2121789 h 4643438"/>
                <a:gd name="connsiteX56" fmla="*/ 2020110 w 4797425"/>
                <a:gd name="connsiteY56" fmla="*/ 2206626 h 4643438"/>
                <a:gd name="connsiteX57" fmla="*/ 1289830 w 4797425"/>
                <a:gd name="connsiteY57" fmla="*/ 2206626 h 4643438"/>
                <a:gd name="connsiteX58" fmla="*/ 1204913 w 4797425"/>
                <a:gd name="connsiteY58" fmla="*/ 2121789 h 4643438"/>
                <a:gd name="connsiteX59" fmla="*/ 1204913 w 4797425"/>
                <a:gd name="connsiteY59" fmla="*/ 1502476 h 4643438"/>
                <a:gd name="connsiteX60" fmla="*/ 1289830 w 4797425"/>
                <a:gd name="connsiteY60" fmla="*/ 1417638 h 4643438"/>
                <a:gd name="connsiteX61" fmla="*/ 2762250 w 4797425"/>
                <a:gd name="connsiteY61" fmla="*/ 649288 h 4643438"/>
                <a:gd name="connsiteX62" fmla="*/ 2762250 w 4797425"/>
                <a:gd name="connsiteY62" fmla="*/ 1095376 h 4643438"/>
                <a:gd name="connsiteX63" fmla="*/ 3321050 w 4797425"/>
                <a:gd name="connsiteY63" fmla="*/ 1095376 h 4643438"/>
                <a:gd name="connsiteX64" fmla="*/ 3321050 w 4797425"/>
                <a:gd name="connsiteY64" fmla="*/ 649288 h 4643438"/>
                <a:gd name="connsiteX65" fmla="*/ 1374775 w 4797425"/>
                <a:gd name="connsiteY65" fmla="*/ 649288 h 4643438"/>
                <a:gd name="connsiteX66" fmla="*/ 1374775 w 4797425"/>
                <a:gd name="connsiteY66" fmla="*/ 1095376 h 4643438"/>
                <a:gd name="connsiteX67" fmla="*/ 1935163 w 4797425"/>
                <a:gd name="connsiteY67" fmla="*/ 1095376 h 4643438"/>
                <a:gd name="connsiteX68" fmla="*/ 1935163 w 4797425"/>
                <a:gd name="connsiteY68" fmla="*/ 649288 h 4643438"/>
                <a:gd name="connsiteX69" fmla="*/ 2677155 w 4797425"/>
                <a:gd name="connsiteY69" fmla="*/ 479425 h 4643438"/>
                <a:gd name="connsiteX70" fmla="*/ 3406147 w 4797425"/>
                <a:gd name="connsiteY70" fmla="*/ 479425 h 4643438"/>
                <a:gd name="connsiteX71" fmla="*/ 3490913 w 4797425"/>
                <a:gd name="connsiteY71" fmla="*/ 564378 h 4643438"/>
                <a:gd name="connsiteX72" fmla="*/ 3490913 w 4797425"/>
                <a:gd name="connsiteY72" fmla="*/ 1180285 h 4643438"/>
                <a:gd name="connsiteX73" fmla="*/ 3406147 w 4797425"/>
                <a:gd name="connsiteY73" fmla="*/ 1265238 h 4643438"/>
                <a:gd name="connsiteX74" fmla="*/ 2677155 w 4797425"/>
                <a:gd name="connsiteY74" fmla="*/ 1265238 h 4643438"/>
                <a:gd name="connsiteX75" fmla="*/ 2592388 w 4797425"/>
                <a:gd name="connsiteY75" fmla="*/ 1180285 h 4643438"/>
                <a:gd name="connsiteX76" fmla="*/ 2592388 w 4797425"/>
                <a:gd name="connsiteY76" fmla="*/ 564378 h 4643438"/>
                <a:gd name="connsiteX77" fmla="*/ 2677155 w 4797425"/>
                <a:gd name="connsiteY77" fmla="*/ 479425 h 4643438"/>
                <a:gd name="connsiteX78" fmla="*/ 1289830 w 4797425"/>
                <a:gd name="connsiteY78" fmla="*/ 479425 h 4643438"/>
                <a:gd name="connsiteX79" fmla="*/ 2020110 w 4797425"/>
                <a:gd name="connsiteY79" fmla="*/ 479425 h 4643438"/>
                <a:gd name="connsiteX80" fmla="*/ 2105026 w 4797425"/>
                <a:gd name="connsiteY80" fmla="*/ 564378 h 4643438"/>
                <a:gd name="connsiteX81" fmla="*/ 2105026 w 4797425"/>
                <a:gd name="connsiteY81" fmla="*/ 1180285 h 4643438"/>
                <a:gd name="connsiteX82" fmla="*/ 2020110 w 4797425"/>
                <a:gd name="connsiteY82" fmla="*/ 1265238 h 4643438"/>
                <a:gd name="connsiteX83" fmla="*/ 1289830 w 4797425"/>
                <a:gd name="connsiteY83" fmla="*/ 1265238 h 4643438"/>
                <a:gd name="connsiteX84" fmla="*/ 1204913 w 4797425"/>
                <a:gd name="connsiteY84" fmla="*/ 1180285 h 4643438"/>
                <a:gd name="connsiteX85" fmla="*/ 1204913 w 4797425"/>
                <a:gd name="connsiteY85" fmla="*/ 564378 h 4643438"/>
                <a:gd name="connsiteX86" fmla="*/ 1289830 w 4797425"/>
                <a:gd name="connsiteY86" fmla="*/ 479425 h 4643438"/>
                <a:gd name="connsiteX87" fmla="*/ 900113 w 4797425"/>
                <a:gd name="connsiteY87" fmla="*/ 169863 h 4643438"/>
                <a:gd name="connsiteX88" fmla="*/ 900113 w 4797425"/>
                <a:gd name="connsiteY88" fmla="*/ 4473575 h 4643438"/>
                <a:gd name="connsiteX89" fmla="*/ 1204913 w 4797425"/>
                <a:gd name="connsiteY89" fmla="*/ 4473575 h 4643438"/>
                <a:gd name="connsiteX90" fmla="*/ 1204913 w 4797425"/>
                <a:gd name="connsiteY90" fmla="*/ 4365191 h 4643438"/>
                <a:gd name="connsiteX91" fmla="*/ 1204913 w 4797425"/>
                <a:gd name="connsiteY91" fmla="*/ 3459869 h 4643438"/>
                <a:gd name="connsiteX92" fmla="*/ 1289830 w 4797425"/>
                <a:gd name="connsiteY92" fmla="*/ 3375025 h 4643438"/>
                <a:gd name="connsiteX93" fmla="*/ 2020110 w 4797425"/>
                <a:gd name="connsiteY93" fmla="*/ 3375025 h 4643438"/>
                <a:gd name="connsiteX94" fmla="*/ 2105026 w 4797425"/>
                <a:gd name="connsiteY94" fmla="*/ 3459869 h 4643438"/>
                <a:gd name="connsiteX95" fmla="*/ 2105026 w 4797425"/>
                <a:gd name="connsiteY95" fmla="*/ 4466587 h 4643438"/>
                <a:gd name="connsiteX96" fmla="*/ 2105026 w 4797425"/>
                <a:gd name="connsiteY96" fmla="*/ 4473575 h 4643438"/>
                <a:gd name="connsiteX97" fmla="*/ 2230369 w 4797425"/>
                <a:gd name="connsiteY97" fmla="*/ 4473575 h 4643438"/>
                <a:gd name="connsiteX98" fmla="*/ 3888949 w 4797425"/>
                <a:gd name="connsiteY98" fmla="*/ 4473575 h 4643438"/>
                <a:gd name="connsiteX99" fmla="*/ 3932238 w 4797425"/>
                <a:gd name="connsiteY99" fmla="*/ 4473575 h 4643438"/>
                <a:gd name="connsiteX100" fmla="*/ 3932238 w 4797425"/>
                <a:gd name="connsiteY100" fmla="*/ 169863 h 4643438"/>
                <a:gd name="connsiteX101" fmla="*/ 815077 w 4797425"/>
                <a:gd name="connsiteY101" fmla="*/ 0 h 4643438"/>
                <a:gd name="connsiteX102" fmla="*/ 4017274 w 4797425"/>
                <a:gd name="connsiteY102" fmla="*/ 0 h 4643438"/>
                <a:gd name="connsiteX103" fmla="*/ 4102100 w 4797425"/>
                <a:gd name="connsiteY103" fmla="*/ 84889 h 4643438"/>
                <a:gd name="connsiteX104" fmla="*/ 4102100 w 4797425"/>
                <a:gd name="connsiteY104" fmla="*/ 4459022 h 4643438"/>
                <a:gd name="connsiteX105" fmla="*/ 4102100 w 4797425"/>
                <a:gd name="connsiteY105" fmla="*/ 4473575 h 4643438"/>
                <a:gd name="connsiteX106" fmla="*/ 4134121 w 4797425"/>
                <a:gd name="connsiteY106" fmla="*/ 4473575 h 4643438"/>
                <a:gd name="connsiteX107" fmla="*/ 4712590 w 4797425"/>
                <a:gd name="connsiteY107" fmla="*/ 4473575 h 4643438"/>
                <a:gd name="connsiteX108" fmla="*/ 4797425 w 4797425"/>
                <a:gd name="connsiteY108" fmla="*/ 4558507 h 4643438"/>
                <a:gd name="connsiteX109" fmla="*/ 4712590 w 4797425"/>
                <a:gd name="connsiteY109" fmla="*/ 4643438 h 4643438"/>
                <a:gd name="connsiteX110" fmla="*/ 4292155 w 4797425"/>
                <a:gd name="connsiteY110" fmla="*/ 4643438 h 4643438"/>
                <a:gd name="connsiteX111" fmla="*/ 4017274 w 4797425"/>
                <a:gd name="connsiteY111" fmla="*/ 4643438 h 4643438"/>
                <a:gd name="connsiteX112" fmla="*/ 3897988 w 4797425"/>
                <a:gd name="connsiteY112" fmla="*/ 4643438 h 4643438"/>
                <a:gd name="connsiteX113" fmla="*/ 3726352 w 4797425"/>
                <a:gd name="connsiteY113" fmla="*/ 4643438 h 4643438"/>
                <a:gd name="connsiteX114" fmla="*/ 3529242 w 4797425"/>
                <a:gd name="connsiteY114" fmla="*/ 4643438 h 4643438"/>
                <a:gd name="connsiteX115" fmla="*/ 3453606 w 4797425"/>
                <a:gd name="connsiteY115" fmla="*/ 4643438 h 4643438"/>
                <a:gd name="connsiteX116" fmla="*/ 3198451 w 4797425"/>
                <a:gd name="connsiteY116" fmla="*/ 4643438 h 4643438"/>
                <a:gd name="connsiteX117" fmla="*/ 3185070 w 4797425"/>
                <a:gd name="connsiteY117" fmla="*/ 4643438 h 4643438"/>
                <a:gd name="connsiteX118" fmla="*/ 2960299 w 4797425"/>
                <a:gd name="connsiteY118" fmla="*/ 4643438 h 4643438"/>
                <a:gd name="connsiteX119" fmla="*/ 2864624 w 4797425"/>
                <a:gd name="connsiteY119" fmla="*/ 4643438 h 4643438"/>
                <a:gd name="connsiteX120" fmla="*/ 2738565 w 4797425"/>
                <a:gd name="connsiteY120" fmla="*/ 4643438 h 4643438"/>
                <a:gd name="connsiteX121" fmla="*/ 2567056 w 4797425"/>
                <a:gd name="connsiteY121" fmla="*/ 4643438 h 4643438"/>
                <a:gd name="connsiteX122" fmla="*/ 2532662 w 4797425"/>
                <a:gd name="connsiteY122" fmla="*/ 4643438 h 4643438"/>
                <a:gd name="connsiteX123" fmla="*/ 2342004 w 4797425"/>
                <a:gd name="connsiteY123" fmla="*/ 4643438 h 4643438"/>
                <a:gd name="connsiteX124" fmla="*/ 2291521 w 4797425"/>
                <a:gd name="connsiteY124" fmla="*/ 4643438 h 4643438"/>
                <a:gd name="connsiteX125" fmla="*/ 2166004 w 4797425"/>
                <a:gd name="connsiteY125" fmla="*/ 4643438 h 4643438"/>
                <a:gd name="connsiteX126" fmla="*/ 2037169 w 4797425"/>
                <a:gd name="connsiteY126" fmla="*/ 4643438 h 4643438"/>
                <a:gd name="connsiteX127" fmla="*/ 2020110 w 4797425"/>
                <a:gd name="connsiteY127" fmla="*/ 4643438 h 4643438"/>
                <a:gd name="connsiteX128" fmla="*/ 2004077 w 4797425"/>
                <a:gd name="connsiteY128" fmla="*/ 4643438 h 4643438"/>
                <a:gd name="connsiteX129" fmla="*/ 1803155 w 4797425"/>
                <a:gd name="connsiteY129" fmla="*/ 4643438 h 4643438"/>
                <a:gd name="connsiteX130" fmla="*/ 1786288 w 4797425"/>
                <a:gd name="connsiteY130" fmla="*/ 4643438 h 4643438"/>
                <a:gd name="connsiteX131" fmla="*/ 1596864 w 4797425"/>
                <a:gd name="connsiteY131" fmla="*/ 4643438 h 4643438"/>
                <a:gd name="connsiteX132" fmla="*/ 1588630 w 4797425"/>
                <a:gd name="connsiteY132" fmla="*/ 4643438 h 4643438"/>
                <a:gd name="connsiteX133" fmla="*/ 1433825 w 4797425"/>
                <a:gd name="connsiteY133" fmla="*/ 4643438 h 4643438"/>
                <a:gd name="connsiteX134" fmla="*/ 1392747 w 4797425"/>
                <a:gd name="connsiteY134" fmla="*/ 4643438 h 4643438"/>
                <a:gd name="connsiteX135" fmla="*/ 1295192 w 4797425"/>
                <a:gd name="connsiteY135" fmla="*/ 4643438 h 4643438"/>
                <a:gd name="connsiteX136" fmla="*/ 1289830 w 4797425"/>
                <a:gd name="connsiteY136" fmla="*/ 4643438 h 4643438"/>
                <a:gd name="connsiteX137" fmla="*/ 1215352 w 4797425"/>
                <a:gd name="connsiteY137" fmla="*/ 4643438 h 4643438"/>
                <a:gd name="connsiteX138" fmla="*/ 1214658 w 4797425"/>
                <a:gd name="connsiteY138" fmla="*/ 4643438 h 4643438"/>
                <a:gd name="connsiteX139" fmla="*/ 1144893 w 4797425"/>
                <a:gd name="connsiteY139" fmla="*/ 4643438 h 4643438"/>
                <a:gd name="connsiteX140" fmla="*/ 1083229 w 4797425"/>
                <a:gd name="connsiteY140" fmla="*/ 4643438 h 4643438"/>
                <a:gd name="connsiteX141" fmla="*/ 1053517 w 4797425"/>
                <a:gd name="connsiteY141" fmla="*/ 4643438 h 4643438"/>
                <a:gd name="connsiteX142" fmla="*/ 1029775 w 4797425"/>
                <a:gd name="connsiteY142" fmla="*/ 4643438 h 4643438"/>
                <a:gd name="connsiteX143" fmla="*/ 912800 w 4797425"/>
                <a:gd name="connsiteY143" fmla="*/ 4643438 h 4643438"/>
                <a:gd name="connsiteX144" fmla="*/ 908476 w 4797425"/>
                <a:gd name="connsiteY144" fmla="*/ 4643438 h 4643438"/>
                <a:gd name="connsiteX145" fmla="*/ 865111 w 4797425"/>
                <a:gd name="connsiteY145" fmla="*/ 4643438 h 4643438"/>
                <a:gd name="connsiteX146" fmla="*/ 815077 w 4797425"/>
                <a:gd name="connsiteY146" fmla="*/ 4643438 h 4643438"/>
                <a:gd name="connsiteX147" fmla="*/ 778687 w 4797425"/>
                <a:gd name="connsiteY147" fmla="*/ 4643438 h 4643438"/>
                <a:gd name="connsiteX148" fmla="*/ 84835 w 4797425"/>
                <a:gd name="connsiteY148" fmla="*/ 4643438 h 4643438"/>
                <a:gd name="connsiteX149" fmla="*/ 0 w 4797425"/>
                <a:gd name="connsiteY149" fmla="*/ 4558507 h 4643438"/>
                <a:gd name="connsiteX150" fmla="*/ 84835 w 4797425"/>
                <a:gd name="connsiteY150" fmla="*/ 4473575 h 4643438"/>
                <a:gd name="connsiteX151" fmla="*/ 505270 w 4797425"/>
                <a:gd name="connsiteY151" fmla="*/ 4473575 h 4643438"/>
                <a:gd name="connsiteX152" fmla="*/ 730250 w 4797425"/>
                <a:gd name="connsiteY152" fmla="*/ 4473575 h 4643438"/>
                <a:gd name="connsiteX153" fmla="*/ 730250 w 4797425"/>
                <a:gd name="connsiteY153" fmla="*/ 4152114 h 4643438"/>
                <a:gd name="connsiteX154" fmla="*/ 730250 w 4797425"/>
                <a:gd name="connsiteY154" fmla="*/ 84889 h 4643438"/>
                <a:gd name="connsiteX155" fmla="*/ 815077 w 4797425"/>
                <a:gd name="connsiteY155" fmla="*/ 0 h 464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797425" h="4643438">
                  <a:moveTo>
                    <a:pt x="1374746" y="3544713"/>
                  </a:moveTo>
                  <a:cubicBezTo>
                    <a:pt x="1374746" y="4051654"/>
                    <a:pt x="1374746" y="4305124"/>
                    <a:pt x="1374746" y="4431859"/>
                  </a:cubicBezTo>
                  <a:lnTo>
                    <a:pt x="1374746" y="4473575"/>
                  </a:lnTo>
                  <a:lnTo>
                    <a:pt x="1612356" y="4473575"/>
                  </a:lnTo>
                  <a:cubicBezTo>
                    <a:pt x="1723079" y="4473575"/>
                    <a:pt x="1829847" y="4473575"/>
                    <a:pt x="1932802" y="4473575"/>
                  </a:cubicBezTo>
                  <a:lnTo>
                    <a:pt x="1935194" y="4473575"/>
                  </a:lnTo>
                  <a:lnTo>
                    <a:pt x="1935194" y="4380126"/>
                  </a:lnTo>
                  <a:cubicBezTo>
                    <a:pt x="1935194" y="3544713"/>
                    <a:pt x="1935194" y="3544713"/>
                    <a:pt x="1935194" y="3544713"/>
                  </a:cubicBezTo>
                  <a:cubicBezTo>
                    <a:pt x="1374746" y="3544713"/>
                    <a:pt x="1374746" y="3544713"/>
                    <a:pt x="1374746" y="3544713"/>
                  </a:cubicBezTo>
                  <a:close/>
                  <a:moveTo>
                    <a:pt x="2762250" y="2568575"/>
                  </a:moveTo>
                  <a:lnTo>
                    <a:pt x="2762250" y="3013075"/>
                  </a:lnTo>
                  <a:lnTo>
                    <a:pt x="3321050" y="3013075"/>
                  </a:lnTo>
                  <a:lnTo>
                    <a:pt x="3321050" y="2568575"/>
                  </a:lnTo>
                  <a:close/>
                  <a:moveTo>
                    <a:pt x="1374775" y="2568575"/>
                  </a:moveTo>
                  <a:lnTo>
                    <a:pt x="1374775" y="3013075"/>
                  </a:lnTo>
                  <a:lnTo>
                    <a:pt x="1935163" y="3013075"/>
                  </a:lnTo>
                  <a:lnTo>
                    <a:pt x="1935163" y="2568575"/>
                  </a:lnTo>
                  <a:close/>
                  <a:moveTo>
                    <a:pt x="2677155" y="2398713"/>
                  </a:moveTo>
                  <a:cubicBezTo>
                    <a:pt x="3406147" y="2398713"/>
                    <a:pt x="3406147" y="2398713"/>
                    <a:pt x="3406147" y="2398713"/>
                  </a:cubicBezTo>
                  <a:cubicBezTo>
                    <a:pt x="3452768" y="2398713"/>
                    <a:pt x="3490913" y="2436865"/>
                    <a:pt x="3490913" y="2483494"/>
                  </a:cubicBezTo>
                  <a:cubicBezTo>
                    <a:pt x="3490913" y="3098157"/>
                    <a:pt x="3490913" y="3098157"/>
                    <a:pt x="3490913" y="3098157"/>
                  </a:cubicBezTo>
                  <a:cubicBezTo>
                    <a:pt x="3490913" y="3144787"/>
                    <a:pt x="3452768" y="3182938"/>
                    <a:pt x="3406147" y="3182938"/>
                  </a:cubicBezTo>
                  <a:cubicBezTo>
                    <a:pt x="2677155" y="3182938"/>
                    <a:pt x="2677155" y="3182938"/>
                    <a:pt x="2677155" y="3182938"/>
                  </a:cubicBezTo>
                  <a:cubicBezTo>
                    <a:pt x="2630533" y="3182938"/>
                    <a:pt x="2592388" y="3144787"/>
                    <a:pt x="2592388" y="3098157"/>
                  </a:cubicBezTo>
                  <a:cubicBezTo>
                    <a:pt x="2592388" y="2483494"/>
                    <a:pt x="2592388" y="2483494"/>
                    <a:pt x="2592388" y="2483494"/>
                  </a:cubicBezTo>
                  <a:cubicBezTo>
                    <a:pt x="2592388" y="2436865"/>
                    <a:pt x="2630533" y="2398713"/>
                    <a:pt x="2677155" y="2398713"/>
                  </a:cubicBezTo>
                  <a:close/>
                  <a:moveTo>
                    <a:pt x="1289830" y="2398713"/>
                  </a:moveTo>
                  <a:cubicBezTo>
                    <a:pt x="2020110" y="2398713"/>
                    <a:pt x="2020110" y="2398713"/>
                    <a:pt x="2020110" y="2398713"/>
                  </a:cubicBezTo>
                  <a:cubicBezTo>
                    <a:pt x="2066814" y="2398713"/>
                    <a:pt x="2105026" y="2436865"/>
                    <a:pt x="2105026" y="2483494"/>
                  </a:cubicBezTo>
                  <a:cubicBezTo>
                    <a:pt x="2105026" y="3098157"/>
                    <a:pt x="2105026" y="3098157"/>
                    <a:pt x="2105026" y="3098157"/>
                  </a:cubicBezTo>
                  <a:cubicBezTo>
                    <a:pt x="2105026" y="3144787"/>
                    <a:pt x="2066814" y="3182938"/>
                    <a:pt x="2020110" y="3182938"/>
                  </a:cubicBezTo>
                  <a:cubicBezTo>
                    <a:pt x="1289830" y="3182938"/>
                    <a:pt x="1289830" y="3182938"/>
                    <a:pt x="1289830" y="3182938"/>
                  </a:cubicBezTo>
                  <a:cubicBezTo>
                    <a:pt x="1243126" y="3182938"/>
                    <a:pt x="1204913" y="3144787"/>
                    <a:pt x="1204913" y="3098157"/>
                  </a:cubicBezTo>
                  <a:cubicBezTo>
                    <a:pt x="1204913" y="2483494"/>
                    <a:pt x="1204913" y="2483494"/>
                    <a:pt x="1204913" y="2483494"/>
                  </a:cubicBezTo>
                  <a:cubicBezTo>
                    <a:pt x="1204913" y="2436865"/>
                    <a:pt x="1243126" y="2398713"/>
                    <a:pt x="1289830" y="2398713"/>
                  </a:cubicBezTo>
                  <a:close/>
                  <a:moveTo>
                    <a:pt x="2762250" y="1587500"/>
                  </a:moveTo>
                  <a:lnTo>
                    <a:pt x="2762250" y="2036763"/>
                  </a:lnTo>
                  <a:lnTo>
                    <a:pt x="3321050" y="2036763"/>
                  </a:lnTo>
                  <a:lnTo>
                    <a:pt x="3321050" y="1587500"/>
                  </a:lnTo>
                  <a:close/>
                  <a:moveTo>
                    <a:pt x="1374775" y="1587500"/>
                  </a:moveTo>
                  <a:lnTo>
                    <a:pt x="1374775" y="2036763"/>
                  </a:lnTo>
                  <a:lnTo>
                    <a:pt x="1935163" y="2036763"/>
                  </a:lnTo>
                  <a:lnTo>
                    <a:pt x="1935163" y="1587500"/>
                  </a:lnTo>
                  <a:close/>
                  <a:moveTo>
                    <a:pt x="2677155" y="1417638"/>
                  </a:moveTo>
                  <a:cubicBezTo>
                    <a:pt x="3406147" y="1417638"/>
                    <a:pt x="3406147" y="1417638"/>
                    <a:pt x="3406147" y="1417638"/>
                  </a:cubicBezTo>
                  <a:cubicBezTo>
                    <a:pt x="3452768" y="1417638"/>
                    <a:pt x="3490913" y="1455815"/>
                    <a:pt x="3490913" y="1502476"/>
                  </a:cubicBezTo>
                  <a:cubicBezTo>
                    <a:pt x="3490913" y="2121789"/>
                    <a:pt x="3490913" y="2121789"/>
                    <a:pt x="3490913" y="2121789"/>
                  </a:cubicBezTo>
                  <a:cubicBezTo>
                    <a:pt x="3490913" y="2168449"/>
                    <a:pt x="3452768" y="2206626"/>
                    <a:pt x="3406147" y="2206626"/>
                  </a:cubicBezTo>
                  <a:cubicBezTo>
                    <a:pt x="2677155" y="2206626"/>
                    <a:pt x="2677155" y="2206626"/>
                    <a:pt x="2677155" y="2206626"/>
                  </a:cubicBezTo>
                  <a:cubicBezTo>
                    <a:pt x="2630533" y="2206626"/>
                    <a:pt x="2592388" y="2168449"/>
                    <a:pt x="2592388" y="2121789"/>
                  </a:cubicBezTo>
                  <a:cubicBezTo>
                    <a:pt x="2592388" y="1502476"/>
                    <a:pt x="2592388" y="1502476"/>
                    <a:pt x="2592388" y="1502476"/>
                  </a:cubicBezTo>
                  <a:cubicBezTo>
                    <a:pt x="2592388" y="1455815"/>
                    <a:pt x="2630533" y="1417638"/>
                    <a:pt x="2677155" y="1417638"/>
                  </a:cubicBezTo>
                  <a:close/>
                  <a:moveTo>
                    <a:pt x="1289830" y="1417638"/>
                  </a:moveTo>
                  <a:cubicBezTo>
                    <a:pt x="2020110" y="1417638"/>
                    <a:pt x="2020110" y="1417638"/>
                    <a:pt x="2020110" y="1417638"/>
                  </a:cubicBezTo>
                  <a:cubicBezTo>
                    <a:pt x="2066814" y="1417638"/>
                    <a:pt x="2105026" y="1455815"/>
                    <a:pt x="2105026" y="1502476"/>
                  </a:cubicBezTo>
                  <a:cubicBezTo>
                    <a:pt x="2105026" y="2121789"/>
                    <a:pt x="2105026" y="2121789"/>
                    <a:pt x="2105026" y="2121789"/>
                  </a:cubicBezTo>
                  <a:cubicBezTo>
                    <a:pt x="2105026" y="2168449"/>
                    <a:pt x="2066814" y="2206626"/>
                    <a:pt x="2020110" y="2206626"/>
                  </a:cubicBezTo>
                  <a:cubicBezTo>
                    <a:pt x="1289830" y="2206626"/>
                    <a:pt x="1289830" y="2206626"/>
                    <a:pt x="1289830" y="2206626"/>
                  </a:cubicBezTo>
                  <a:cubicBezTo>
                    <a:pt x="1243126" y="2206626"/>
                    <a:pt x="1204913" y="2168449"/>
                    <a:pt x="1204913" y="2121789"/>
                  </a:cubicBezTo>
                  <a:cubicBezTo>
                    <a:pt x="1204913" y="1502476"/>
                    <a:pt x="1204913" y="1502476"/>
                    <a:pt x="1204913" y="1502476"/>
                  </a:cubicBezTo>
                  <a:cubicBezTo>
                    <a:pt x="1204913" y="1455815"/>
                    <a:pt x="1243126" y="1417638"/>
                    <a:pt x="1289830" y="1417638"/>
                  </a:cubicBezTo>
                  <a:close/>
                  <a:moveTo>
                    <a:pt x="2762250" y="649288"/>
                  </a:moveTo>
                  <a:lnTo>
                    <a:pt x="2762250" y="1095376"/>
                  </a:lnTo>
                  <a:lnTo>
                    <a:pt x="3321050" y="1095376"/>
                  </a:lnTo>
                  <a:lnTo>
                    <a:pt x="3321050" y="649288"/>
                  </a:lnTo>
                  <a:close/>
                  <a:moveTo>
                    <a:pt x="1374775" y="649288"/>
                  </a:moveTo>
                  <a:lnTo>
                    <a:pt x="1374775" y="1095376"/>
                  </a:lnTo>
                  <a:lnTo>
                    <a:pt x="1935163" y="1095376"/>
                  </a:lnTo>
                  <a:lnTo>
                    <a:pt x="1935163" y="649288"/>
                  </a:lnTo>
                  <a:close/>
                  <a:moveTo>
                    <a:pt x="2677155" y="479425"/>
                  </a:moveTo>
                  <a:cubicBezTo>
                    <a:pt x="3406147" y="479425"/>
                    <a:pt x="3406147" y="479425"/>
                    <a:pt x="3406147" y="479425"/>
                  </a:cubicBezTo>
                  <a:cubicBezTo>
                    <a:pt x="3452768" y="479425"/>
                    <a:pt x="3490913" y="517654"/>
                    <a:pt x="3490913" y="564378"/>
                  </a:cubicBezTo>
                  <a:cubicBezTo>
                    <a:pt x="3490913" y="1180285"/>
                    <a:pt x="3490913" y="1180285"/>
                    <a:pt x="3490913" y="1180285"/>
                  </a:cubicBezTo>
                  <a:cubicBezTo>
                    <a:pt x="3490913" y="1231257"/>
                    <a:pt x="3452768" y="1265238"/>
                    <a:pt x="3406147" y="1265238"/>
                  </a:cubicBezTo>
                  <a:cubicBezTo>
                    <a:pt x="2677155" y="1265238"/>
                    <a:pt x="2677155" y="1265238"/>
                    <a:pt x="2677155" y="1265238"/>
                  </a:cubicBezTo>
                  <a:cubicBezTo>
                    <a:pt x="2630533" y="1265238"/>
                    <a:pt x="2592388" y="1231257"/>
                    <a:pt x="2592388" y="1180285"/>
                  </a:cubicBezTo>
                  <a:cubicBezTo>
                    <a:pt x="2592388" y="564378"/>
                    <a:pt x="2592388" y="564378"/>
                    <a:pt x="2592388" y="564378"/>
                  </a:cubicBezTo>
                  <a:cubicBezTo>
                    <a:pt x="2592388" y="517654"/>
                    <a:pt x="2630533" y="479425"/>
                    <a:pt x="2677155" y="479425"/>
                  </a:cubicBezTo>
                  <a:close/>
                  <a:moveTo>
                    <a:pt x="1289830" y="479425"/>
                  </a:moveTo>
                  <a:cubicBezTo>
                    <a:pt x="2020110" y="479425"/>
                    <a:pt x="2020110" y="479425"/>
                    <a:pt x="2020110" y="479425"/>
                  </a:cubicBezTo>
                  <a:cubicBezTo>
                    <a:pt x="2066814" y="479425"/>
                    <a:pt x="2105026" y="517654"/>
                    <a:pt x="2105026" y="564378"/>
                  </a:cubicBezTo>
                  <a:cubicBezTo>
                    <a:pt x="2105026" y="1180285"/>
                    <a:pt x="2105026" y="1180285"/>
                    <a:pt x="2105026" y="1180285"/>
                  </a:cubicBezTo>
                  <a:cubicBezTo>
                    <a:pt x="2105026" y="1231257"/>
                    <a:pt x="2066814" y="1265238"/>
                    <a:pt x="2020110" y="1265238"/>
                  </a:cubicBezTo>
                  <a:cubicBezTo>
                    <a:pt x="1289830" y="1265238"/>
                    <a:pt x="1289830" y="1265238"/>
                    <a:pt x="1289830" y="1265238"/>
                  </a:cubicBezTo>
                  <a:cubicBezTo>
                    <a:pt x="1243126" y="1265238"/>
                    <a:pt x="1204913" y="1231257"/>
                    <a:pt x="1204913" y="1180285"/>
                  </a:cubicBezTo>
                  <a:cubicBezTo>
                    <a:pt x="1204913" y="564378"/>
                    <a:pt x="1204913" y="564378"/>
                    <a:pt x="1204913" y="564378"/>
                  </a:cubicBezTo>
                  <a:cubicBezTo>
                    <a:pt x="1204913" y="517654"/>
                    <a:pt x="1243126" y="479425"/>
                    <a:pt x="1289830" y="479425"/>
                  </a:cubicBezTo>
                  <a:close/>
                  <a:moveTo>
                    <a:pt x="900113" y="169863"/>
                  </a:moveTo>
                  <a:lnTo>
                    <a:pt x="900113" y="4473575"/>
                  </a:lnTo>
                  <a:lnTo>
                    <a:pt x="1204913" y="4473575"/>
                  </a:lnTo>
                  <a:lnTo>
                    <a:pt x="1204913" y="4365191"/>
                  </a:lnTo>
                  <a:cubicBezTo>
                    <a:pt x="1204913" y="3459869"/>
                    <a:pt x="1204913" y="3459869"/>
                    <a:pt x="1204913" y="3459869"/>
                  </a:cubicBezTo>
                  <a:cubicBezTo>
                    <a:pt x="1204913" y="3413205"/>
                    <a:pt x="1243126" y="3375025"/>
                    <a:pt x="1289830" y="3375025"/>
                  </a:cubicBezTo>
                  <a:cubicBezTo>
                    <a:pt x="2020110" y="3375025"/>
                    <a:pt x="2020110" y="3375025"/>
                    <a:pt x="2020110" y="3375025"/>
                  </a:cubicBezTo>
                  <a:cubicBezTo>
                    <a:pt x="2066814" y="3375025"/>
                    <a:pt x="2105026" y="3413205"/>
                    <a:pt x="2105026" y="3459869"/>
                  </a:cubicBezTo>
                  <a:cubicBezTo>
                    <a:pt x="2105026" y="4077902"/>
                    <a:pt x="2105026" y="4348292"/>
                    <a:pt x="2105026" y="4466587"/>
                  </a:cubicBezTo>
                  <a:lnTo>
                    <a:pt x="2105026" y="4473575"/>
                  </a:lnTo>
                  <a:lnTo>
                    <a:pt x="2230369" y="4473575"/>
                  </a:lnTo>
                  <a:cubicBezTo>
                    <a:pt x="2994129" y="4473575"/>
                    <a:pt x="3522887" y="4473575"/>
                    <a:pt x="3888949" y="4473575"/>
                  </a:cubicBezTo>
                  <a:lnTo>
                    <a:pt x="3932238" y="4473575"/>
                  </a:lnTo>
                  <a:lnTo>
                    <a:pt x="3932238" y="169863"/>
                  </a:lnTo>
                  <a:close/>
                  <a:moveTo>
                    <a:pt x="815077" y="0"/>
                  </a:moveTo>
                  <a:cubicBezTo>
                    <a:pt x="4017274" y="0"/>
                    <a:pt x="4017274" y="0"/>
                    <a:pt x="4017274" y="0"/>
                  </a:cubicBezTo>
                  <a:cubicBezTo>
                    <a:pt x="4063928" y="0"/>
                    <a:pt x="4102100" y="38200"/>
                    <a:pt x="4102100" y="84889"/>
                  </a:cubicBezTo>
                  <a:cubicBezTo>
                    <a:pt x="4102100" y="3300332"/>
                    <a:pt x="4102100" y="4204676"/>
                    <a:pt x="4102100" y="4459022"/>
                  </a:cubicBezTo>
                  <a:lnTo>
                    <a:pt x="4102100" y="4473575"/>
                  </a:lnTo>
                  <a:lnTo>
                    <a:pt x="4134121" y="4473575"/>
                  </a:lnTo>
                  <a:cubicBezTo>
                    <a:pt x="4712590" y="4473575"/>
                    <a:pt x="4712590" y="4473575"/>
                    <a:pt x="4712590" y="4473575"/>
                  </a:cubicBezTo>
                  <a:cubicBezTo>
                    <a:pt x="4759249" y="4473575"/>
                    <a:pt x="4797425" y="4511794"/>
                    <a:pt x="4797425" y="4558507"/>
                  </a:cubicBezTo>
                  <a:cubicBezTo>
                    <a:pt x="4797425" y="4605219"/>
                    <a:pt x="4759249" y="4643438"/>
                    <a:pt x="4712590" y="4643438"/>
                  </a:cubicBezTo>
                  <a:cubicBezTo>
                    <a:pt x="4567973" y="4643438"/>
                    <a:pt x="4427875" y="4643438"/>
                    <a:pt x="4292155" y="4643438"/>
                  </a:cubicBezTo>
                  <a:lnTo>
                    <a:pt x="4017274" y="4643438"/>
                  </a:lnTo>
                  <a:lnTo>
                    <a:pt x="3897988" y="4643438"/>
                  </a:lnTo>
                  <a:lnTo>
                    <a:pt x="3726352" y="4643438"/>
                  </a:lnTo>
                  <a:lnTo>
                    <a:pt x="3529242" y="4643438"/>
                  </a:lnTo>
                  <a:lnTo>
                    <a:pt x="3453606" y="4643438"/>
                  </a:lnTo>
                  <a:cubicBezTo>
                    <a:pt x="3365655" y="4643438"/>
                    <a:pt x="3280636" y="4643438"/>
                    <a:pt x="3198451" y="4643438"/>
                  </a:cubicBezTo>
                  <a:lnTo>
                    <a:pt x="3185070" y="4643438"/>
                  </a:lnTo>
                  <a:lnTo>
                    <a:pt x="2960299" y="4643438"/>
                  </a:lnTo>
                  <a:lnTo>
                    <a:pt x="2864624" y="4643438"/>
                  </a:lnTo>
                  <a:lnTo>
                    <a:pt x="2738565" y="4643438"/>
                  </a:lnTo>
                  <a:lnTo>
                    <a:pt x="2567056" y="4643438"/>
                  </a:lnTo>
                  <a:lnTo>
                    <a:pt x="2532662" y="4643438"/>
                  </a:lnTo>
                  <a:cubicBezTo>
                    <a:pt x="2466601" y="4643438"/>
                    <a:pt x="2403081" y="4643438"/>
                    <a:pt x="2342004" y="4643438"/>
                  </a:cubicBezTo>
                  <a:lnTo>
                    <a:pt x="2291521" y="4643438"/>
                  </a:lnTo>
                  <a:lnTo>
                    <a:pt x="2166004" y="4643438"/>
                  </a:lnTo>
                  <a:lnTo>
                    <a:pt x="2037169" y="4643438"/>
                  </a:lnTo>
                  <a:lnTo>
                    <a:pt x="2020110" y="4643438"/>
                  </a:lnTo>
                  <a:lnTo>
                    <a:pt x="2004077" y="4643438"/>
                  </a:lnTo>
                  <a:lnTo>
                    <a:pt x="1803155" y="4643438"/>
                  </a:lnTo>
                  <a:lnTo>
                    <a:pt x="1786288" y="4643438"/>
                  </a:lnTo>
                  <a:cubicBezTo>
                    <a:pt x="1718529" y="4643438"/>
                    <a:pt x="1655498" y="4643438"/>
                    <a:pt x="1596864" y="4643438"/>
                  </a:cubicBezTo>
                  <a:lnTo>
                    <a:pt x="1588630" y="4643438"/>
                  </a:lnTo>
                  <a:lnTo>
                    <a:pt x="1433825" y="4643438"/>
                  </a:lnTo>
                  <a:lnTo>
                    <a:pt x="1392747" y="4643438"/>
                  </a:lnTo>
                  <a:lnTo>
                    <a:pt x="1295192" y="4643438"/>
                  </a:lnTo>
                  <a:lnTo>
                    <a:pt x="1289830" y="4643438"/>
                  </a:lnTo>
                  <a:lnTo>
                    <a:pt x="1215352" y="4643438"/>
                  </a:lnTo>
                  <a:lnTo>
                    <a:pt x="1214658" y="4643438"/>
                  </a:lnTo>
                  <a:lnTo>
                    <a:pt x="1144893" y="4643438"/>
                  </a:lnTo>
                  <a:cubicBezTo>
                    <a:pt x="1122905" y="4643438"/>
                    <a:pt x="1102383" y="4643438"/>
                    <a:pt x="1083229" y="4643438"/>
                  </a:cubicBezTo>
                  <a:lnTo>
                    <a:pt x="1053517" y="4643438"/>
                  </a:lnTo>
                  <a:lnTo>
                    <a:pt x="1029775" y="4643438"/>
                  </a:lnTo>
                  <a:cubicBezTo>
                    <a:pt x="980229" y="4643438"/>
                    <a:pt x="942117" y="4643438"/>
                    <a:pt x="912800" y="4643438"/>
                  </a:cubicBezTo>
                  <a:lnTo>
                    <a:pt x="908476" y="4643438"/>
                  </a:lnTo>
                  <a:lnTo>
                    <a:pt x="865111" y="4643438"/>
                  </a:lnTo>
                  <a:cubicBezTo>
                    <a:pt x="815077" y="4643438"/>
                    <a:pt x="815077" y="4643438"/>
                    <a:pt x="815077" y="4643438"/>
                  </a:cubicBezTo>
                  <a:lnTo>
                    <a:pt x="778687" y="4643438"/>
                  </a:lnTo>
                  <a:cubicBezTo>
                    <a:pt x="84835" y="4643438"/>
                    <a:pt x="84835" y="4643438"/>
                    <a:pt x="84835" y="4643438"/>
                  </a:cubicBezTo>
                  <a:cubicBezTo>
                    <a:pt x="38176" y="4643438"/>
                    <a:pt x="0" y="4605219"/>
                    <a:pt x="0" y="4558507"/>
                  </a:cubicBezTo>
                  <a:cubicBezTo>
                    <a:pt x="0" y="4511794"/>
                    <a:pt x="38176" y="4473575"/>
                    <a:pt x="84835" y="4473575"/>
                  </a:cubicBezTo>
                  <a:cubicBezTo>
                    <a:pt x="229452" y="4473575"/>
                    <a:pt x="369550" y="4473575"/>
                    <a:pt x="505270" y="4473575"/>
                  </a:cubicBezTo>
                  <a:lnTo>
                    <a:pt x="730250" y="4473575"/>
                  </a:lnTo>
                  <a:lnTo>
                    <a:pt x="730250" y="4152114"/>
                  </a:lnTo>
                  <a:cubicBezTo>
                    <a:pt x="730250" y="84889"/>
                    <a:pt x="730250" y="84889"/>
                    <a:pt x="730250" y="84889"/>
                  </a:cubicBezTo>
                  <a:cubicBezTo>
                    <a:pt x="730250" y="38200"/>
                    <a:pt x="768422" y="0"/>
                    <a:pt x="815077" y="0"/>
                  </a:cubicBezTo>
                  <a:close/>
                </a:path>
              </a:pathLst>
            </a:custGeom>
            <a:solidFill>
              <a:srgbClr val="0078D7"/>
            </a:solidFill>
            <a:ln w="41275">
              <a:solidFill>
                <a:schemeClr val="tx1"/>
              </a:solidFill>
            </a:ln>
          </p:spPr>
          <p:txBody>
            <a:bodyPr vert="horz" wrap="square" lIns="91440" tIns="45720" rIns="91440" bIns="45720" numCol="1" anchor="t" anchorCtr="0" compatLnSpc="1">
              <a:prstTxWarp prst="textNoShape">
                <a:avLst/>
              </a:prstTxWarp>
              <a:noAutofit/>
            </a:bodyPr>
            <a:lstStyle/>
            <a:p>
              <a:endParaRPr lang="en-US"/>
            </a:p>
          </p:txBody>
        </p:sp>
        <p:grpSp>
          <p:nvGrpSpPr>
            <p:cNvPr id="116" name="Group 115"/>
            <p:cNvGrpSpPr/>
            <p:nvPr/>
          </p:nvGrpSpPr>
          <p:grpSpPr>
            <a:xfrm>
              <a:off x="10044022" y="3362902"/>
              <a:ext cx="1113183" cy="1113183"/>
              <a:chOff x="10098565" y="310348"/>
              <a:chExt cx="1113183" cy="1113183"/>
            </a:xfrm>
          </p:grpSpPr>
          <p:sp>
            <p:nvSpPr>
              <p:cNvPr id="115" name="Oval 114"/>
              <p:cNvSpPr/>
              <p:nvPr/>
            </p:nvSpPr>
            <p:spPr bwMode="auto">
              <a:xfrm>
                <a:off x="10098565" y="310348"/>
                <a:ext cx="1113183" cy="1113183"/>
              </a:xfrm>
              <a:prstGeom prst="ellipse">
                <a:avLst/>
              </a:prstGeom>
              <a:solidFill>
                <a:schemeClr val="tx1"/>
              </a:solidFill>
              <a:ln w="1905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grpSp>
            <p:nvGrpSpPr>
              <p:cNvPr id="22" name="Group 21"/>
              <p:cNvGrpSpPr/>
              <p:nvPr/>
            </p:nvGrpSpPr>
            <p:grpSpPr>
              <a:xfrm>
                <a:off x="10269870" y="433763"/>
                <a:ext cx="790453" cy="737132"/>
                <a:chOff x="10486141" y="3021512"/>
                <a:chExt cx="1256052" cy="1171324"/>
              </a:xfrm>
            </p:grpSpPr>
            <p:sp>
              <p:nvSpPr>
                <p:cNvPr id="97" name="Freeform 11"/>
                <p:cNvSpPr>
                  <a:spLocks/>
                </p:cNvSpPr>
                <p:nvPr/>
              </p:nvSpPr>
              <p:spPr bwMode="auto">
                <a:xfrm>
                  <a:off x="10833971" y="3021512"/>
                  <a:ext cx="908222" cy="116091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
                <p:cNvSpPr>
                  <a:spLocks/>
                </p:cNvSpPr>
                <p:nvPr/>
              </p:nvSpPr>
              <p:spPr bwMode="auto">
                <a:xfrm>
                  <a:off x="10486141" y="3570013"/>
                  <a:ext cx="337425" cy="62282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19050"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25" name="Rectangle 24"/>
          <p:cNvSpPr/>
          <p:nvPr/>
        </p:nvSpPr>
        <p:spPr bwMode="auto">
          <a:xfrm>
            <a:off x="0" y="1632940"/>
            <a:ext cx="12192000" cy="98602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4" name="Title 1"/>
          <p:cNvSpPr>
            <a:spLocks noGrp="1"/>
          </p:cNvSpPr>
          <p:nvPr>
            <p:ph type="title"/>
          </p:nvPr>
        </p:nvSpPr>
        <p:spPr>
          <a:prstGeom prst="rect">
            <a:avLst/>
          </a:prstGeom>
        </p:spPr>
        <p:txBody>
          <a:bodyPr/>
          <a:lstStyle/>
          <a:p>
            <a:r>
              <a:rPr lang="en-US" dirty="0"/>
              <a:t>Azure Data Lake</a:t>
            </a:r>
            <a:br>
              <a:rPr lang="en-US" dirty="0"/>
            </a:br>
            <a:r>
              <a:rPr lang="en-US" sz="2800" dirty="0">
                <a:solidFill>
                  <a:srgbClr val="0078D7"/>
                </a:solidFill>
              </a:rPr>
              <a:t>Big Data made easy</a:t>
            </a:r>
            <a:endParaRPr lang="en-US" sz="3200" dirty="0">
              <a:solidFill>
                <a:srgbClr val="0078D7"/>
              </a:solidFill>
            </a:endParaRPr>
          </a:p>
        </p:txBody>
      </p:sp>
      <p:sp>
        <p:nvSpPr>
          <p:cNvPr id="69" name="Rectangle 68"/>
          <p:cNvSpPr/>
          <p:nvPr/>
        </p:nvSpPr>
        <p:spPr>
          <a:xfrm>
            <a:off x="1243640" y="1727370"/>
            <a:ext cx="1570495" cy="584775"/>
          </a:xfrm>
          <a:prstGeom prst="rect">
            <a:avLst/>
          </a:prstGeom>
        </p:spPr>
        <p:txBody>
          <a:bodyPr wrap="none" lIns="0" tIns="0" rIns="0" bIns="0">
            <a:noAutofit/>
          </a:bodyPr>
          <a:lstStyle/>
          <a:p>
            <a:pPr lvl="0" algn="ctr"/>
            <a:r>
              <a:rPr lang="en-US" sz="2400" dirty="0">
                <a:latin typeface="Segoe UI Light"/>
              </a:rPr>
              <a:t>Analytics on any data, </a:t>
            </a:r>
            <a:br>
              <a:rPr lang="en-US" sz="2400" dirty="0">
                <a:latin typeface="Segoe UI Light"/>
              </a:rPr>
            </a:br>
            <a:r>
              <a:rPr lang="en-US" sz="2400" dirty="0">
                <a:latin typeface="Segoe UI Light"/>
              </a:rPr>
              <a:t>any size</a:t>
            </a:r>
          </a:p>
        </p:txBody>
      </p:sp>
      <p:sp>
        <p:nvSpPr>
          <p:cNvPr id="70" name="Rectangle 69"/>
          <p:cNvSpPr/>
          <p:nvPr/>
        </p:nvSpPr>
        <p:spPr>
          <a:xfrm>
            <a:off x="5313292" y="1727370"/>
            <a:ext cx="1570495" cy="584775"/>
          </a:xfrm>
          <a:prstGeom prst="rect">
            <a:avLst/>
          </a:prstGeom>
        </p:spPr>
        <p:txBody>
          <a:bodyPr wrap="none" lIns="0" tIns="0" rIns="0" bIns="0">
            <a:noAutofit/>
          </a:bodyPr>
          <a:lstStyle/>
          <a:p>
            <a:pPr lvl="0" algn="ctr"/>
            <a:r>
              <a:rPr lang="en-US" sz="2400" dirty="0">
                <a:latin typeface="Segoe UI Light"/>
              </a:rPr>
              <a:t>Easier and more </a:t>
            </a:r>
            <a:br>
              <a:rPr lang="en-US" sz="2400" dirty="0">
                <a:latin typeface="Segoe UI Light"/>
              </a:rPr>
            </a:br>
            <a:r>
              <a:rPr lang="en-US" sz="2400" dirty="0">
                <a:latin typeface="Segoe UI Light"/>
              </a:rPr>
              <a:t>productive for all users</a:t>
            </a:r>
          </a:p>
        </p:txBody>
      </p:sp>
      <p:sp>
        <p:nvSpPr>
          <p:cNvPr id="71" name="Rectangle 70"/>
          <p:cNvSpPr/>
          <p:nvPr/>
        </p:nvSpPr>
        <p:spPr>
          <a:xfrm>
            <a:off x="9377867" y="1833563"/>
            <a:ext cx="1570495" cy="584775"/>
          </a:xfrm>
          <a:prstGeom prst="rect">
            <a:avLst/>
          </a:prstGeom>
        </p:spPr>
        <p:txBody>
          <a:bodyPr wrap="none" lIns="0" tIns="0" rIns="0" bIns="0" anchor="ctr">
            <a:noAutofit/>
          </a:bodyPr>
          <a:lstStyle/>
          <a:p>
            <a:pPr lvl="0" algn="ctr"/>
            <a:r>
              <a:rPr lang="en-US" sz="2400" dirty="0">
                <a:latin typeface="Segoe UI Light"/>
              </a:rPr>
              <a:t>Enterprise-ready</a:t>
            </a:r>
          </a:p>
        </p:txBody>
      </p:sp>
      <p:grpSp>
        <p:nvGrpSpPr>
          <p:cNvPr id="15" name="Group 14"/>
          <p:cNvGrpSpPr/>
          <p:nvPr/>
        </p:nvGrpSpPr>
        <p:grpSpPr>
          <a:xfrm>
            <a:off x="4837676" y="4296028"/>
            <a:ext cx="2521727" cy="1268582"/>
            <a:chOff x="5752770" y="882436"/>
            <a:chExt cx="1506663" cy="757943"/>
          </a:xfrm>
        </p:grpSpPr>
        <p:sp>
          <p:nvSpPr>
            <p:cNvPr id="96" name="Freeform 95"/>
            <p:cNvSpPr>
              <a:spLocks/>
            </p:cNvSpPr>
            <p:nvPr/>
          </p:nvSpPr>
          <p:spPr bwMode="auto">
            <a:xfrm flipH="1">
              <a:off x="5752770" y="882436"/>
              <a:ext cx="828550" cy="757943"/>
            </a:xfrm>
            <a:custGeom>
              <a:avLst/>
              <a:gdLst/>
              <a:ahLst/>
              <a:cxnLst/>
              <a:rect l="l" t="t" r="r" b="b"/>
              <a:pathLst>
                <a:path w="310149" h="299015">
                  <a:moveTo>
                    <a:pt x="231101" y="150303"/>
                  </a:moveTo>
                  <a:cubicBezTo>
                    <a:pt x="283800" y="150303"/>
                    <a:pt x="308267" y="186102"/>
                    <a:pt x="310149" y="272772"/>
                  </a:cubicBezTo>
                  <a:cubicBezTo>
                    <a:pt x="296975" y="272772"/>
                    <a:pt x="234865" y="272772"/>
                    <a:pt x="223573" y="272772"/>
                  </a:cubicBezTo>
                  <a:cubicBezTo>
                    <a:pt x="223573" y="236973"/>
                    <a:pt x="217926" y="191754"/>
                    <a:pt x="197223" y="157840"/>
                  </a:cubicBezTo>
                  <a:close/>
                  <a:moveTo>
                    <a:pt x="101540" y="129626"/>
                  </a:moveTo>
                  <a:cubicBezTo>
                    <a:pt x="186156" y="129626"/>
                    <a:pt x="201199" y="204910"/>
                    <a:pt x="201199" y="299015"/>
                  </a:cubicBezTo>
                  <a:lnTo>
                    <a:pt x="0" y="299015"/>
                  </a:lnTo>
                  <a:cubicBezTo>
                    <a:pt x="0" y="204910"/>
                    <a:pt x="15043" y="129626"/>
                    <a:pt x="101540" y="129626"/>
                  </a:cubicBezTo>
                  <a:close/>
                  <a:moveTo>
                    <a:pt x="230226" y="45329"/>
                  </a:moveTo>
                  <a:cubicBezTo>
                    <a:pt x="255480" y="45329"/>
                    <a:pt x="275953" y="65446"/>
                    <a:pt x="275953" y="90261"/>
                  </a:cubicBezTo>
                  <a:cubicBezTo>
                    <a:pt x="275953" y="115076"/>
                    <a:pt x="255480" y="135193"/>
                    <a:pt x="230226" y="135193"/>
                  </a:cubicBezTo>
                  <a:cubicBezTo>
                    <a:pt x="204972" y="135193"/>
                    <a:pt x="184499" y="115076"/>
                    <a:pt x="184499" y="90261"/>
                  </a:cubicBezTo>
                  <a:cubicBezTo>
                    <a:pt x="184499" y="65446"/>
                    <a:pt x="204972" y="45329"/>
                    <a:pt x="230226" y="45329"/>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9050">
              <a:solidFill>
                <a:srgbClr val="00BCF2"/>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z="2200" spc="-135" dirty="0">
                <a:solidFill>
                  <a:schemeClr val="accent3"/>
                </a:solidFill>
                <a:latin typeface="Segoe Light" pitchFamily="34" charset="0"/>
              </a:endParaRPr>
            </a:p>
          </p:txBody>
        </p:sp>
        <p:sp>
          <p:nvSpPr>
            <p:cNvPr id="95" name="Freeform 94"/>
            <p:cNvSpPr>
              <a:spLocks/>
            </p:cNvSpPr>
            <p:nvPr/>
          </p:nvSpPr>
          <p:spPr bwMode="auto">
            <a:xfrm>
              <a:off x="6430883" y="882436"/>
              <a:ext cx="828550" cy="757943"/>
            </a:xfrm>
            <a:custGeom>
              <a:avLst/>
              <a:gdLst/>
              <a:ahLst/>
              <a:cxnLst/>
              <a:rect l="l" t="t" r="r" b="b"/>
              <a:pathLst>
                <a:path w="310149" h="299015">
                  <a:moveTo>
                    <a:pt x="231101" y="150303"/>
                  </a:moveTo>
                  <a:cubicBezTo>
                    <a:pt x="283800" y="150303"/>
                    <a:pt x="308267" y="186102"/>
                    <a:pt x="310149" y="272772"/>
                  </a:cubicBezTo>
                  <a:cubicBezTo>
                    <a:pt x="296975" y="272772"/>
                    <a:pt x="234865" y="272772"/>
                    <a:pt x="223573" y="272772"/>
                  </a:cubicBezTo>
                  <a:cubicBezTo>
                    <a:pt x="223573" y="236973"/>
                    <a:pt x="217926" y="191754"/>
                    <a:pt x="197223" y="157840"/>
                  </a:cubicBezTo>
                  <a:close/>
                  <a:moveTo>
                    <a:pt x="101540" y="129626"/>
                  </a:moveTo>
                  <a:cubicBezTo>
                    <a:pt x="186156" y="129626"/>
                    <a:pt x="201199" y="204910"/>
                    <a:pt x="201199" y="299015"/>
                  </a:cubicBezTo>
                  <a:lnTo>
                    <a:pt x="0" y="299015"/>
                  </a:lnTo>
                  <a:cubicBezTo>
                    <a:pt x="0" y="204910"/>
                    <a:pt x="15043" y="129626"/>
                    <a:pt x="101540" y="129626"/>
                  </a:cubicBezTo>
                  <a:close/>
                  <a:moveTo>
                    <a:pt x="230226" y="45329"/>
                  </a:moveTo>
                  <a:cubicBezTo>
                    <a:pt x="255480" y="45329"/>
                    <a:pt x="275953" y="65446"/>
                    <a:pt x="275953" y="90261"/>
                  </a:cubicBezTo>
                  <a:cubicBezTo>
                    <a:pt x="275953" y="115076"/>
                    <a:pt x="255480" y="135193"/>
                    <a:pt x="230226" y="135193"/>
                  </a:cubicBezTo>
                  <a:cubicBezTo>
                    <a:pt x="204972" y="135193"/>
                    <a:pt x="184499" y="115076"/>
                    <a:pt x="184499" y="90261"/>
                  </a:cubicBezTo>
                  <a:cubicBezTo>
                    <a:pt x="184499" y="65446"/>
                    <a:pt x="204972" y="45329"/>
                    <a:pt x="230226" y="45329"/>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9050">
              <a:solidFill>
                <a:schemeClr val="accent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z="2200" spc="-135" dirty="0">
                <a:solidFill>
                  <a:schemeClr val="accent3"/>
                </a:solidFill>
                <a:latin typeface="Segoe Light" pitchFamily="34" charset="0"/>
              </a:endParaRPr>
            </a:p>
          </p:txBody>
        </p:sp>
      </p:grpSp>
      <p:sp>
        <p:nvSpPr>
          <p:cNvPr id="113" name="Rectangle 112"/>
          <p:cNvSpPr/>
          <p:nvPr/>
        </p:nvSpPr>
        <p:spPr bwMode="auto">
          <a:xfrm>
            <a:off x="0" y="1632940"/>
            <a:ext cx="4064575" cy="4700271"/>
          </a:xfrm>
          <a:prstGeom prst="rect">
            <a:avLst/>
          </a:prstGeom>
          <a:solidFill>
            <a:schemeClr val="tx1">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14" name="Rectangle 113"/>
          <p:cNvSpPr/>
          <p:nvPr/>
        </p:nvSpPr>
        <p:spPr bwMode="auto">
          <a:xfrm>
            <a:off x="8134228" y="1632940"/>
            <a:ext cx="4057772" cy="4700271"/>
          </a:xfrm>
          <a:prstGeom prst="rect">
            <a:avLst/>
          </a:prstGeom>
          <a:solidFill>
            <a:schemeClr val="tx1">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cxnSp>
        <p:nvCxnSpPr>
          <p:cNvPr id="72" name="Straight Connector 71"/>
          <p:cNvCxnSpPr/>
          <p:nvPr/>
        </p:nvCxnSpPr>
        <p:spPr>
          <a:xfrm>
            <a:off x="8134228" y="1669771"/>
            <a:ext cx="0" cy="466344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8134228" y="1580322"/>
            <a:ext cx="0" cy="10386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4069653" y="1669771"/>
            <a:ext cx="0" cy="466344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4069653" y="1632940"/>
            <a:ext cx="0" cy="9860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1290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y for administrators to spin up quickly</a:t>
            </a:r>
          </a:p>
        </p:txBody>
      </p:sp>
      <p:sp>
        <p:nvSpPr>
          <p:cNvPr id="4" name="Text Placeholder 3"/>
          <p:cNvSpPr>
            <a:spLocks noGrp="1"/>
          </p:cNvSpPr>
          <p:nvPr>
            <p:ph type="body" sz="quarter" idx="10"/>
          </p:nvPr>
        </p:nvSpPr>
        <p:spPr>
          <a:xfrm>
            <a:off x="6613913" y="933098"/>
            <a:ext cx="4756452" cy="3979551"/>
          </a:xfrm>
        </p:spPr>
        <p:txBody>
          <a:bodyPr/>
          <a:lstStyle/>
          <a:p>
            <a:pPr>
              <a:spcBef>
                <a:spcPts val="0"/>
              </a:spcBef>
              <a:spcAft>
                <a:spcPts val="1800"/>
              </a:spcAft>
            </a:pPr>
            <a:r>
              <a:rPr lang="en-US" dirty="0"/>
              <a:t>Deploy big data projects </a:t>
            </a:r>
            <a:br>
              <a:rPr lang="en-US" dirty="0"/>
            </a:br>
            <a:r>
              <a:rPr lang="en-US" dirty="0"/>
              <a:t>in minutes</a:t>
            </a:r>
          </a:p>
          <a:p>
            <a:pPr>
              <a:spcBef>
                <a:spcPts val="0"/>
              </a:spcBef>
              <a:spcAft>
                <a:spcPts val="1800"/>
              </a:spcAft>
            </a:pPr>
            <a:r>
              <a:rPr lang="en-US" dirty="0"/>
              <a:t>No hardware to install, tune, configure or deploy</a:t>
            </a:r>
          </a:p>
          <a:p>
            <a:pPr>
              <a:spcBef>
                <a:spcPts val="0"/>
              </a:spcBef>
              <a:spcAft>
                <a:spcPts val="1800"/>
              </a:spcAft>
            </a:pPr>
            <a:r>
              <a:rPr lang="en-US" dirty="0"/>
              <a:t>No infrastructure or software to manage</a:t>
            </a:r>
          </a:p>
          <a:p>
            <a:pPr>
              <a:spcBef>
                <a:spcPts val="0"/>
              </a:spcBef>
              <a:spcAft>
                <a:spcPts val="1800"/>
              </a:spcAft>
            </a:pPr>
            <a:r>
              <a:rPr lang="en-US" dirty="0"/>
              <a:t>Scale to tens to thousands of machines instantly</a:t>
            </a:r>
          </a:p>
        </p:txBody>
      </p:sp>
      <p:grpSp>
        <p:nvGrpSpPr>
          <p:cNvPr id="3" name="Group 2"/>
          <p:cNvGrpSpPr/>
          <p:nvPr/>
        </p:nvGrpSpPr>
        <p:grpSpPr>
          <a:xfrm>
            <a:off x="632321" y="3204376"/>
            <a:ext cx="4018784" cy="2490103"/>
            <a:chOff x="1260474" y="3373322"/>
            <a:chExt cx="3065992" cy="1899738"/>
          </a:xfrm>
        </p:grpSpPr>
        <p:sp>
          <p:nvSpPr>
            <p:cNvPr id="6" name="Freeform 30"/>
            <p:cNvSpPr>
              <a:spLocks/>
            </p:cNvSpPr>
            <p:nvPr/>
          </p:nvSpPr>
          <p:spPr bwMode="auto">
            <a:xfrm>
              <a:off x="1260474" y="3373322"/>
              <a:ext cx="3065992" cy="1899738"/>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Freeform 4"/>
            <p:cNvSpPr/>
            <p:nvPr/>
          </p:nvSpPr>
          <p:spPr bwMode="auto">
            <a:xfrm>
              <a:off x="2305050" y="3736521"/>
              <a:ext cx="378279" cy="283029"/>
            </a:xfrm>
            <a:custGeom>
              <a:avLst/>
              <a:gdLst>
                <a:gd name="connsiteX0" fmla="*/ 0 w 669471"/>
                <a:gd name="connsiteY0" fmla="*/ 283029 h 283029"/>
                <a:gd name="connsiteX1" fmla="*/ 378279 w 669471"/>
                <a:gd name="connsiteY1" fmla="*/ 0 h 283029"/>
                <a:gd name="connsiteX2" fmla="*/ 669471 w 669471"/>
                <a:gd name="connsiteY2" fmla="*/ 43543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Lst>
              <a:ahLst/>
              <a:cxnLst>
                <a:cxn ang="0">
                  <a:pos x="connsiteX0" y="connsiteY0"/>
                </a:cxn>
                <a:cxn ang="0">
                  <a:pos x="connsiteX1" y="connsiteY1"/>
                </a:cxn>
              </a:cxnLst>
              <a:rect l="l" t="t" r="r" b="b"/>
              <a:pathLst>
                <a:path w="378279" h="283029">
                  <a:moveTo>
                    <a:pt x="0" y="283029"/>
                  </a:moveTo>
                  <a:cubicBezTo>
                    <a:pt x="906" y="112486"/>
                    <a:pt x="132442" y="9979"/>
                    <a:pt x="378279" y="0"/>
                  </a:cubicBezTo>
                </a:path>
              </a:pathLst>
            </a:custGeom>
            <a:noFill/>
            <a:ln w="19050">
              <a:solidFill>
                <a:schemeClr val="accent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87" name="Freeform 86"/>
            <p:cNvSpPr/>
            <p:nvPr/>
          </p:nvSpPr>
          <p:spPr bwMode="auto">
            <a:xfrm rot="10800000">
              <a:off x="3126105" y="4687505"/>
              <a:ext cx="378279" cy="283029"/>
            </a:xfrm>
            <a:custGeom>
              <a:avLst/>
              <a:gdLst>
                <a:gd name="connsiteX0" fmla="*/ 0 w 669471"/>
                <a:gd name="connsiteY0" fmla="*/ 283029 h 283029"/>
                <a:gd name="connsiteX1" fmla="*/ 378279 w 669471"/>
                <a:gd name="connsiteY1" fmla="*/ 0 h 283029"/>
                <a:gd name="connsiteX2" fmla="*/ 669471 w 669471"/>
                <a:gd name="connsiteY2" fmla="*/ 43543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Lst>
              <a:ahLst/>
              <a:cxnLst>
                <a:cxn ang="0">
                  <a:pos x="connsiteX0" y="connsiteY0"/>
                </a:cxn>
                <a:cxn ang="0">
                  <a:pos x="connsiteX1" y="connsiteY1"/>
                </a:cxn>
              </a:cxnLst>
              <a:rect l="l" t="t" r="r" b="b"/>
              <a:pathLst>
                <a:path w="378279" h="283029">
                  <a:moveTo>
                    <a:pt x="0" y="283029"/>
                  </a:moveTo>
                  <a:cubicBezTo>
                    <a:pt x="906" y="112486"/>
                    <a:pt x="132442" y="9979"/>
                    <a:pt x="378279" y="0"/>
                  </a:cubicBezTo>
                </a:path>
              </a:pathLst>
            </a:custGeom>
            <a:noFill/>
            <a:ln w="19050">
              <a:solidFill>
                <a:schemeClr val="accent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88" name="Freeform 87"/>
            <p:cNvSpPr/>
            <p:nvPr/>
          </p:nvSpPr>
          <p:spPr bwMode="auto">
            <a:xfrm rot="16200000">
              <a:off x="2337933" y="4630657"/>
              <a:ext cx="297369" cy="382383"/>
            </a:xfrm>
            <a:custGeom>
              <a:avLst/>
              <a:gdLst>
                <a:gd name="connsiteX0" fmla="*/ 0 w 669471"/>
                <a:gd name="connsiteY0" fmla="*/ 283029 h 283029"/>
                <a:gd name="connsiteX1" fmla="*/ 378279 w 669471"/>
                <a:gd name="connsiteY1" fmla="*/ 0 h 283029"/>
                <a:gd name="connsiteX2" fmla="*/ 669471 w 669471"/>
                <a:gd name="connsiteY2" fmla="*/ 43543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Lst>
              <a:ahLst/>
              <a:cxnLst>
                <a:cxn ang="0">
                  <a:pos x="connsiteX0" y="connsiteY0"/>
                </a:cxn>
                <a:cxn ang="0">
                  <a:pos x="connsiteX1" y="connsiteY1"/>
                </a:cxn>
              </a:cxnLst>
              <a:rect l="l" t="t" r="r" b="b"/>
              <a:pathLst>
                <a:path w="378279" h="283029">
                  <a:moveTo>
                    <a:pt x="0" y="283029"/>
                  </a:moveTo>
                  <a:cubicBezTo>
                    <a:pt x="906" y="112486"/>
                    <a:pt x="132442" y="9979"/>
                    <a:pt x="378279" y="0"/>
                  </a:cubicBezTo>
                </a:path>
              </a:pathLst>
            </a:custGeom>
            <a:noFill/>
            <a:ln w="19050">
              <a:solidFill>
                <a:schemeClr val="accent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89" name="Freeform 88"/>
            <p:cNvSpPr/>
            <p:nvPr/>
          </p:nvSpPr>
          <p:spPr bwMode="auto">
            <a:xfrm rot="5400000">
              <a:off x="3190987" y="3681003"/>
              <a:ext cx="286799" cy="382383"/>
            </a:xfrm>
            <a:custGeom>
              <a:avLst/>
              <a:gdLst>
                <a:gd name="connsiteX0" fmla="*/ 0 w 669471"/>
                <a:gd name="connsiteY0" fmla="*/ 283029 h 283029"/>
                <a:gd name="connsiteX1" fmla="*/ 378279 w 669471"/>
                <a:gd name="connsiteY1" fmla="*/ 0 h 283029"/>
                <a:gd name="connsiteX2" fmla="*/ 669471 w 669471"/>
                <a:gd name="connsiteY2" fmla="*/ 43543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 name="connsiteX0" fmla="*/ 0 w 378279"/>
                <a:gd name="connsiteY0" fmla="*/ 283029 h 283029"/>
                <a:gd name="connsiteX1" fmla="*/ 378279 w 378279"/>
                <a:gd name="connsiteY1" fmla="*/ 0 h 283029"/>
              </a:gdLst>
              <a:ahLst/>
              <a:cxnLst>
                <a:cxn ang="0">
                  <a:pos x="connsiteX0" y="connsiteY0"/>
                </a:cxn>
                <a:cxn ang="0">
                  <a:pos x="connsiteX1" y="connsiteY1"/>
                </a:cxn>
              </a:cxnLst>
              <a:rect l="l" t="t" r="r" b="b"/>
              <a:pathLst>
                <a:path w="378279" h="283029">
                  <a:moveTo>
                    <a:pt x="0" y="283029"/>
                  </a:moveTo>
                  <a:cubicBezTo>
                    <a:pt x="906" y="112486"/>
                    <a:pt x="132442" y="9979"/>
                    <a:pt x="378279" y="0"/>
                  </a:cubicBezTo>
                </a:path>
              </a:pathLst>
            </a:custGeom>
            <a:noFill/>
            <a:ln w="19050">
              <a:solidFill>
                <a:schemeClr val="accent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90" name="Group 89"/>
            <p:cNvGrpSpPr/>
            <p:nvPr/>
          </p:nvGrpSpPr>
          <p:grpSpPr>
            <a:xfrm>
              <a:off x="2084814" y="4114785"/>
              <a:ext cx="375512" cy="465984"/>
              <a:chOff x="9608629" y="1646827"/>
              <a:chExt cx="375512" cy="465984"/>
            </a:xfrm>
            <a:solidFill>
              <a:srgbClr val="00BCF2"/>
            </a:solidFill>
          </p:grpSpPr>
          <p:sp>
            <p:nvSpPr>
              <p:cNvPr id="91" name="Freeform 90"/>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1"/>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93" name="Group 92"/>
            <p:cNvGrpSpPr/>
            <p:nvPr/>
          </p:nvGrpSpPr>
          <p:grpSpPr>
            <a:xfrm>
              <a:off x="3337822" y="4114785"/>
              <a:ext cx="375512" cy="465984"/>
              <a:chOff x="9608629" y="1646827"/>
              <a:chExt cx="375512" cy="465984"/>
            </a:xfrm>
            <a:solidFill>
              <a:srgbClr val="00BCF2"/>
            </a:solidFill>
          </p:grpSpPr>
          <p:sp>
            <p:nvSpPr>
              <p:cNvPr id="94" name="Freeform 93"/>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4"/>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96" name="Group 95"/>
            <p:cNvGrpSpPr/>
            <p:nvPr/>
          </p:nvGrpSpPr>
          <p:grpSpPr>
            <a:xfrm>
              <a:off x="2719852" y="3493369"/>
              <a:ext cx="375512" cy="465984"/>
              <a:chOff x="9608629" y="1646827"/>
              <a:chExt cx="375512" cy="465984"/>
            </a:xfrm>
            <a:solidFill>
              <a:srgbClr val="00BCF2"/>
            </a:solidFill>
          </p:grpSpPr>
          <p:sp>
            <p:nvSpPr>
              <p:cNvPr id="97" name="Freeform 96"/>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97"/>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99" name="Group 98"/>
            <p:cNvGrpSpPr/>
            <p:nvPr/>
          </p:nvGrpSpPr>
          <p:grpSpPr>
            <a:xfrm>
              <a:off x="2719852" y="4723835"/>
              <a:ext cx="375512" cy="465984"/>
              <a:chOff x="9608629" y="1646827"/>
              <a:chExt cx="375512" cy="465984"/>
            </a:xfrm>
            <a:solidFill>
              <a:srgbClr val="00BCF2"/>
            </a:solidFill>
          </p:grpSpPr>
          <p:sp>
            <p:nvSpPr>
              <p:cNvPr id="100" name="Freeform 99"/>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00"/>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spTree>
    <p:extLst>
      <p:ext uri="{BB962C8B-B14F-4D97-AF65-F5344CB8AC3E}">
        <p14:creationId xmlns:p14="http://schemas.microsoft.com/office/powerpoint/2010/main" val="68583004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y for developers—from novice to expert</a:t>
            </a:r>
          </a:p>
        </p:txBody>
      </p:sp>
      <p:sp>
        <p:nvSpPr>
          <p:cNvPr id="4" name="Text Placeholder 3"/>
          <p:cNvSpPr>
            <a:spLocks noGrp="1"/>
          </p:cNvSpPr>
          <p:nvPr>
            <p:ph type="body" sz="quarter" idx="10"/>
          </p:nvPr>
        </p:nvSpPr>
        <p:spPr>
          <a:xfrm>
            <a:off x="6613912" y="694559"/>
            <a:ext cx="5578087" cy="5453801"/>
          </a:xfrm>
        </p:spPr>
        <p:txBody>
          <a:bodyPr/>
          <a:lstStyle/>
          <a:p>
            <a:pPr>
              <a:spcBef>
                <a:spcPts val="0"/>
              </a:spcBef>
              <a:spcAft>
                <a:spcPts val="1200"/>
              </a:spcAft>
            </a:pPr>
            <a:r>
              <a:rPr lang="en-US" dirty="0"/>
              <a:t>Deep integration with </a:t>
            </a:r>
            <a:br>
              <a:rPr lang="en-US" dirty="0"/>
            </a:br>
            <a:r>
              <a:rPr lang="en-US" dirty="0"/>
              <a:t>Visual Studio and IntelliJ</a:t>
            </a:r>
          </a:p>
          <a:p>
            <a:pPr>
              <a:spcBef>
                <a:spcPts val="0"/>
              </a:spcBef>
              <a:spcAft>
                <a:spcPts val="1200"/>
              </a:spcAft>
            </a:pPr>
            <a:r>
              <a:rPr lang="en-US" dirty="0"/>
              <a:t>Easy for novices to write </a:t>
            </a:r>
            <a:br>
              <a:rPr lang="en-US" dirty="0"/>
            </a:br>
            <a:r>
              <a:rPr lang="en-US" dirty="0"/>
              <a:t>simple queries</a:t>
            </a:r>
          </a:p>
          <a:p>
            <a:pPr>
              <a:spcBef>
                <a:spcPts val="0"/>
              </a:spcBef>
              <a:spcAft>
                <a:spcPts val="1200"/>
              </a:spcAft>
            </a:pPr>
            <a:r>
              <a:rPr lang="en-US" dirty="0"/>
              <a:t>Robust environment </a:t>
            </a:r>
            <a:br>
              <a:rPr lang="en-US" dirty="0"/>
            </a:br>
            <a:r>
              <a:rPr lang="en-US" dirty="0"/>
              <a:t>for experts </a:t>
            </a:r>
          </a:p>
          <a:p>
            <a:pPr>
              <a:spcBef>
                <a:spcPts val="0"/>
              </a:spcBef>
              <a:spcAft>
                <a:spcPts val="1200"/>
              </a:spcAft>
            </a:pPr>
            <a:r>
              <a:rPr lang="en-US" dirty="0"/>
              <a:t>Integrated with U-SQL, </a:t>
            </a:r>
            <a:br>
              <a:rPr lang="en-US" dirty="0"/>
            </a:br>
            <a:r>
              <a:rPr lang="en-US" dirty="0"/>
              <a:t>Hive, and Storm</a:t>
            </a:r>
          </a:p>
          <a:p>
            <a:pPr>
              <a:spcBef>
                <a:spcPts val="0"/>
              </a:spcBef>
              <a:spcAft>
                <a:spcPts val="1200"/>
              </a:spcAft>
            </a:pPr>
            <a:r>
              <a:rPr lang="en-US" dirty="0"/>
              <a:t>Playback visually displays performance to identify bottlenecks and areas </a:t>
            </a:r>
            <a:br>
              <a:rPr lang="en-US" dirty="0"/>
            </a:br>
            <a:r>
              <a:rPr lang="en-US" dirty="0"/>
              <a:t>for optimization</a:t>
            </a:r>
          </a:p>
        </p:txBody>
      </p:sp>
      <p:pic>
        <p:nvPicPr>
          <p:cNvPr id="6" name="Picture 5"/>
          <p:cNvPicPr/>
          <p:nvPr/>
        </p:nvPicPr>
        <p:blipFill rotWithShape="1">
          <a:blip r:embed="rId2"/>
          <a:srcRect l="1788" t="14447" r="76288" b="29543"/>
          <a:stretch/>
        </p:blipFill>
        <p:spPr>
          <a:xfrm>
            <a:off x="597554" y="2744524"/>
            <a:ext cx="1982961" cy="3065053"/>
          </a:xfrm>
          <a:prstGeom prst="rect">
            <a:avLst/>
          </a:prstGeom>
          <a:ln w="6350">
            <a:solidFill>
              <a:schemeClr val="bg1">
                <a:lumMod val="60000"/>
                <a:lumOff val="40000"/>
              </a:schemeClr>
            </a:solidFill>
          </a:ln>
          <a:effectLst/>
        </p:spPr>
      </p:pic>
      <p:pic>
        <p:nvPicPr>
          <p:cNvPr id="7" name="Picture 6"/>
          <p:cNvPicPr/>
          <p:nvPr/>
        </p:nvPicPr>
        <p:blipFill rotWithShape="1">
          <a:blip r:embed="rId2"/>
          <a:srcRect l="45103" t="20926" r="25352" b="8523"/>
          <a:stretch/>
        </p:blipFill>
        <p:spPr>
          <a:xfrm>
            <a:off x="2758674" y="2744524"/>
            <a:ext cx="2190796" cy="3065053"/>
          </a:xfrm>
          <a:prstGeom prst="rect">
            <a:avLst/>
          </a:prstGeom>
          <a:ln w="6350">
            <a:solidFill>
              <a:schemeClr val="bg1">
                <a:lumMod val="60000"/>
                <a:lumOff val="40000"/>
              </a:schemeClr>
            </a:solidFill>
          </a:ln>
          <a:effectLst/>
        </p:spPr>
      </p:pic>
    </p:spTree>
    <p:extLst>
      <p:ext uri="{BB962C8B-B14F-4D97-AF65-F5344CB8AC3E}">
        <p14:creationId xmlns:p14="http://schemas.microsoft.com/office/powerpoint/2010/main" val="369333240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asy for developers with familiar language</a:t>
            </a:r>
            <a:endParaRPr lang="en-US" dirty="0"/>
          </a:p>
        </p:txBody>
      </p:sp>
      <p:sp>
        <p:nvSpPr>
          <p:cNvPr id="4" name="Text Placeholder 3"/>
          <p:cNvSpPr>
            <a:spLocks noGrp="1"/>
          </p:cNvSpPr>
          <p:nvPr>
            <p:ph type="body" sz="quarter" idx="10"/>
          </p:nvPr>
        </p:nvSpPr>
        <p:spPr>
          <a:xfrm>
            <a:off x="6613913" y="933098"/>
            <a:ext cx="5305092" cy="4524315"/>
          </a:xfrm>
        </p:spPr>
        <p:txBody>
          <a:bodyPr/>
          <a:lstStyle/>
          <a:p>
            <a:pPr>
              <a:spcBef>
                <a:spcPts val="0"/>
              </a:spcBef>
              <a:spcAft>
                <a:spcPts val="1800"/>
              </a:spcAft>
            </a:pPr>
            <a:r>
              <a:rPr lang="en-US" dirty="0"/>
              <a:t>Leverages U-SQL: a simple </a:t>
            </a:r>
            <a:br>
              <a:rPr lang="en-US" dirty="0"/>
            </a:br>
            <a:r>
              <a:rPr lang="en-US" dirty="0"/>
              <a:t>and powerful language that’s familiar to SQL/.NET developers and easily extensible</a:t>
            </a:r>
          </a:p>
          <a:p>
            <a:pPr>
              <a:spcBef>
                <a:spcPts val="0"/>
              </a:spcBef>
              <a:spcAft>
                <a:spcPts val="1800"/>
              </a:spcAft>
            </a:pPr>
            <a:r>
              <a:rPr lang="en-US" dirty="0"/>
              <a:t>Unifies the declarative </a:t>
            </a:r>
            <a:br>
              <a:rPr lang="en-US" dirty="0"/>
            </a:br>
            <a:r>
              <a:rPr lang="en-US" dirty="0"/>
              <a:t>nature of SQL with expressive </a:t>
            </a:r>
            <a:br>
              <a:rPr lang="en-US" dirty="0"/>
            </a:br>
            <a:r>
              <a:rPr lang="en-US" dirty="0"/>
              <a:t>power of C#</a:t>
            </a:r>
          </a:p>
          <a:p>
            <a:pPr>
              <a:spcBef>
                <a:spcPts val="0"/>
              </a:spcBef>
              <a:spcAft>
                <a:spcPts val="1800"/>
              </a:spcAft>
            </a:pPr>
            <a:r>
              <a:rPr lang="en-US" dirty="0"/>
              <a:t>Familiar syntax to millions </a:t>
            </a:r>
            <a:br>
              <a:rPr lang="en-US" dirty="0"/>
            </a:br>
            <a:r>
              <a:rPr lang="en-US" dirty="0"/>
              <a:t>of .NET developers</a:t>
            </a:r>
          </a:p>
        </p:txBody>
      </p:sp>
      <p:grpSp>
        <p:nvGrpSpPr>
          <p:cNvPr id="5" name="Group 4"/>
          <p:cNvGrpSpPr/>
          <p:nvPr/>
        </p:nvGrpSpPr>
        <p:grpSpPr>
          <a:xfrm>
            <a:off x="508884" y="2592125"/>
            <a:ext cx="3967701" cy="3212327"/>
            <a:chOff x="524786" y="2218414"/>
            <a:chExt cx="3967701" cy="3212327"/>
          </a:xfrm>
        </p:grpSpPr>
        <p:pic>
          <p:nvPicPr>
            <p:cNvPr id="9" name="Picture 8"/>
            <p:cNvPicPr>
              <a:picLocks noChangeAspect="1"/>
            </p:cNvPicPr>
            <p:nvPr/>
          </p:nvPicPr>
          <p:blipFill>
            <a:blip r:embed="rId2"/>
            <a:stretch>
              <a:fillRect/>
            </a:stretch>
          </p:blipFill>
          <p:spPr>
            <a:xfrm>
              <a:off x="889635" y="2634516"/>
              <a:ext cx="3124200" cy="2124075"/>
            </a:xfrm>
            <a:prstGeom prst="rect">
              <a:avLst/>
            </a:prstGeom>
            <a:ln>
              <a:noFill/>
            </a:ln>
            <a:effectLst/>
          </p:spPr>
        </p:pic>
        <p:sp>
          <p:nvSpPr>
            <p:cNvPr id="3" name="Rectangle 2"/>
            <p:cNvSpPr/>
            <p:nvPr/>
          </p:nvSpPr>
          <p:spPr bwMode="auto">
            <a:xfrm>
              <a:off x="524786" y="2218414"/>
              <a:ext cx="3967701" cy="3212327"/>
            </a:xfrm>
            <a:prstGeom prst="rect">
              <a:avLst/>
            </a:prstGeom>
            <a:noFill/>
            <a:ln>
              <a:solidFill>
                <a:schemeClr val="bg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86983139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459" y="511827"/>
            <a:ext cx="5650240" cy="2200893"/>
          </a:xfrm>
        </p:spPr>
        <p:txBody>
          <a:bodyPr/>
          <a:lstStyle/>
          <a:p>
            <a:r>
              <a:rPr lang="en-US" dirty="0"/>
              <a:t>Easy notebook experience</a:t>
            </a:r>
            <a:br>
              <a:rPr lang="en-US" dirty="0"/>
            </a:br>
            <a:r>
              <a:rPr lang="en-US" dirty="0"/>
              <a:t>for data scientists</a:t>
            </a:r>
          </a:p>
        </p:txBody>
      </p:sp>
      <p:sp>
        <p:nvSpPr>
          <p:cNvPr id="4" name="Text Placeholder 3"/>
          <p:cNvSpPr>
            <a:spLocks noGrp="1"/>
          </p:cNvSpPr>
          <p:nvPr>
            <p:ph type="body" sz="quarter" idx="10"/>
          </p:nvPr>
        </p:nvSpPr>
        <p:spPr>
          <a:xfrm>
            <a:off x="6623852" y="1390298"/>
            <a:ext cx="5138115" cy="3748719"/>
          </a:xfrm>
        </p:spPr>
        <p:txBody>
          <a:bodyPr/>
          <a:lstStyle/>
          <a:p>
            <a:pPr>
              <a:spcBef>
                <a:spcPts val="0"/>
              </a:spcBef>
              <a:spcAft>
                <a:spcPts val="1800"/>
              </a:spcAft>
            </a:pPr>
            <a:r>
              <a:rPr lang="en-US" dirty="0"/>
              <a:t>Most popular notebook, </a:t>
            </a:r>
            <a:r>
              <a:rPr lang="en-US" dirty="0" err="1"/>
              <a:t>Jupyter</a:t>
            </a:r>
            <a:r>
              <a:rPr lang="en-US" dirty="0"/>
              <a:t> out-of-the-box</a:t>
            </a:r>
          </a:p>
          <a:p>
            <a:pPr>
              <a:spcBef>
                <a:spcPts val="0"/>
              </a:spcBef>
              <a:spcAft>
                <a:spcPts val="1800"/>
              </a:spcAft>
            </a:pPr>
            <a:r>
              <a:rPr lang="en-US" dirty="0"/>
              <a:t>Combine code, statistical equations and visualizations </a:t>
            </a:r>
          </a:p>
          <a:p>
            <a:pPr>
              <a:spcBef>
                <a:spcPts val="0"/>
              </a:spcBef>
              <a:spcAft>
                <a:spcPts val="1800"/>
              </a:spcAft>
            </a:pPr>
            <a:r>
              <a:rPr lang="en-US" dirty="0"/>
              <a:t>Worked w/ </a:t>
            </a:r>
            <a:r>
              <a:rPr lang="en-US" dirty="0" err="1"/>
              <a:t>Jupyter</a:t>
            </a:r>
            <a:r>
              <a:rPr lang="en-US" dirty="0"/>
              <a:t> community to enhance kernel to allow Spark execution through REST endpoint</a:t>
            </a: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val="0"/>
              </a:ext>
            </a:extLst>
          </a:blip>
          <a:srcRect l="23613" r="10377" b="4706"/>
          <a:stretch/>
        </p:blipFill>
        <p:spPr>
          <a:xfrm>
            <a:off x="653143" y="2712720"/>
            <a:ext cx="3445535" cy="3273643"/>
          </a:xfrm>
          <a:prstGeom prst="rect">
            <a:avLst/>
          </a:prstGeom>
          <a:ln>
            <a:solidFill>
              <a:schemeClr val="bg1">
                <a:lumMod val="60000"/>
                <a:lumOff val="40000"/>
              </a:schemeClr>
            </a:solidFill>
          </a:ln>
          <a:effectLst/>
        </p:spPr>
      </p:pic>
    </p:spTree>
    <p:extLst>
      <p:ext uri="{BB962C8B-B14F-4D97-AF65-F5344CB8AC3E}">
        <p14:creationId xmlns:p14="http://schemas.microsoft.com/office/powerpoint/2010/main" val="109256333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459" y="511827"/>
            <a:ext cx="5888779" cy="2200893"/>
          </a:xfrm>
        </p:spPr>
        <p:txBody>
          <a:bodyPr/>
          <a:lstStyle/>
          <a:p>
            <a:r>
              <a:rPr lang="en-US" dirty="0"/>
              <a:t>Easy for data scientists with familiar R language</a:t>
            </a:r>
          </a:p>
        </p:txBody>
      </p:sp>
      <p:sp>
        <p:nvSpPr>
          <p:cNvPr id="4" name="Text Placeholder 3"/>
          <p:cNvSpPr>
            <a:spLocks noGrp="1"/>
          </p:cNvSpPr>
          <p:nvPr>
            <p:ph type="body" sz="quarter" idx="10"/>
          </p:nvPr>
        </p:nvSpPr>
        <p:spPr>
          <a:xfrm>
            <a:off x="6613913" y="686432"/>
            <a:ext cx="5130164" cy="5373779"/>
          </a:xfrm>
        </p:spPr>
        <p:txBody>
          <a:bodyPr/>
          <a:lstStyle/>
          <a:p>
            <a:pPr marL="0" indent="0">
              <a:spcBef>
                <a:spcPts val="0"/>
              </a:spcBef>
              <a:spcAft>
                <a:spcPts val="600"/>
              </a:spcAft>
              <a:buNone/>
            </a:pPr>
            <a:r>
              <a:rPr lang="en-US" dirty="0">
                <a:solidFill>
                  <a:srgbClr val="0078D7"/>
                </a:solidFill>
              </a:rPr>
              <a:t>R Server for HDInsight</a:t>
            </a:r>
          </a:p>
          <a:p>
            <a:pPr>
              <a:spcBef>
                <a:spcPts val="0"/>
              </a:spcBef>
              <a:spcAft>
                <a:spcPts val="1800"/>
              </a:spcAft>
            </a:pPr>
            <a:r>
              <a:rPr lang="en-US" dirty="0"/>
              <a:t>Largest R-compatible parallel analytics library</a:t>
            </a:r>
          </a:p>
          <a:p>
            <a:pPr>
              <a:spcBef>
                <a:spcPts val="0"/>
              </a:spcBef>
              <a:spcAft>
                <a:spcPts val="1800"/>
              </a:spcAft>
            </a:pPr>
            <a:r>
              <a:rPr lang="en-US" dirty="0"/>
              <a:t>Terabyte-scale machine learning—1,000x larger than in open source R </a:t>
            </a:r>
          </a:p>
          <a:p>
            <a:pPr>
              <a:spcBef>
                <a:spcPts val="0"/>
              </a:spcBef>
              <a:spcAft>
                <a:spcPts val="1800"/>
              </a:spcAft>
            </a:pPr>
            <a:r>
              <a:rPr lang="en-US" dirty="0"/>
              <a:t>Up to 100x faster performance using Spark and optimized vector/math libraries</a:t>
            </a:r>
          </a:p>
          <a:p>
            <a:pPr>
              <a:spcBef>
                <a:spcPts val="0"/>
              </a:spcBef>
              <a:spcAft>
                <a:spcPts val="1800"/>
              </a:spcAft>
            </a:pPr>
            <a:r>
              <a:rPr lang="en-US" dirty="0"/>
              <a:t>Enterprise-grade security </a:t>
            </a:r>
            <a:br>
              <a:rPr lang="en-US" dirty="0"/>
            </a:br>
            <a:r>
              <a:rPr lang="en-US" dirty="0"/>
              <a:t>and support</a:t>
            </a:r>
          </a:p>
        </p:txBody>
      </p:sp>
      <p:grpSp>
        <p:nvGrpSpPr>
          <p:cNvPr id="3" name="Group 2"/>
          <p:cNvGrpSpPr/>
          <p:nvPr/>
        </p:nvGrpSpPr>
        <p:grpSpPr>
          <a:xfrm>
            <a:off x="734098" y="3668713"/>
            <a:ext cx="3065992" cy="1899738"/>
            <a:chOff x="624370" y="3842449"/>
            <a:chExt cx="3065992" cy="1899738"/>
          </a:xfrm>
        </p:grpSpPr>
        <p:sp>
          <p:nvSpPr>
            <p:cNvPr id="11" name="Freeform 30"/>
            <p:cNvSpPr>
              <a:spLocks/>
            </p:cNvSpPr>
            <p:nvPr/>
          </p:nvSpPr>
          <p:spPr bwMode="auto">
            <a:xfrm>
              <a:off x="624370" y="3842449"/>
              <a:ext cx="3065992" cy="1899738"/>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19050"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835999" y="4140490"/>
              <a:ext cx="702008" cy="544056"/>
            </a:xfrm>
            <a:prstGeom prst="rect">
              <a:avLst/>
            </a:prstGeom>
          </p:spPr>
        </p:pic>
        <p:sp>
          <p:nvSpPr>
            <p:cNvPr id="13" name="Freeform 12"/>
            <p:cNvSpPr/>
            <p:nvPr/>
          </p:nvSpPr>
          <p:spPr>
            <a:xfrm>
              <a:off x="2554798" y="5109235"/>
              <a:ext cx="565613" cy="415567"/>
            </a:xfrm>
            <a:custGeom>
              <a:avLst/>
              <a:gdLst>
                <a:gd name="connsiteX0" fmla="*/ 2455369 w 4091553"/>
                <a:gd name="connsiteY0" fmla="*/ 2267062 h 2983459"/>
                <a:gd name="connsiteX1" fmla="*/ 2145071 w 4091553"/>
                <a:gd name="connsiteY1" fmla="*/ 2792182 h 2983459"/>
                <a:gd name="connsiteX2" fmla="*/ 2364666 w 4091553"/>
                <a:gd name="connsiteY2" fmla="*/ 2837533 h 2983459"/>
                <a:gd name="connsiteX3" fmla="*/ 2584262 w 4091553"/>
                <a:gd name="connsiteY3" fmla="*/ 2789795 h 2983459"/>
                <a:gd name="connsiteX4" fmla="*/ 2544878 w 4091553"/>
                <a:gd name="connsiteY4" fmla="*/ 2663289 h 2983459"/>
                <a:gd name="connsiteX5" fmla="*/ 2558006 w 4091553"/>
                <a:gd name="connsiteY5" fmla="*/ 2486659 h 2983459"/>
                <a:gd name="connsiteX6" fmla="*/ 2455369 w 4091553"/>
                <a:gd name="connsiteY6" fmla="*/ 2267062 h 2983459"/>
                <a:gd name="connsiteX7" fmla="*/ 314313 w 4091553"/>
                <a:gd name="connsiteY7" fmla="*/ 2047468 h 2983459"/>
                <a:gd name="connsiteX8" fmla="*/ 131716 w 4091553"/>
                <a:gd name="connsiteY8" fmla="*/ 2318382 h 2983459"/>
                <a:gd name="connsiteX9" fmla="*/ 419337 w 4091553"/>
                <a:gd name="connsiteY9" fmla="*/ 2607197 h 2983459"/>
                <a:gd name="connsiteX10" fmla="*/ 538683 w 4091553"/>
                <a:gd name="connsiteY10" fmla="*/ 2510528 h 2983459"/>
                <a:gd name="connsiteX11" fmla="*/ 314313 w 4091553"/>
                <a:gd name="connsiteY11" fmla="*/ 2047468 h 2983459"/>
                <a:gd name="connsiteX12" fmla="*/ 2796697 w 4091553"/>
                <a:gd name="connsiteY12" fmla="*/ 769874 h 2983459"/>
                <a:gd name="connsiteX13" fmla="*/ 2743290 w 4091553"/>
                <a:gd name="connsiteY13" fmla="*/ 808065 h 2983459"/>
                <a:gd name="connsiteX14" fmla="*/ 2835909 w 4091553"/>
                <a:gd name="connsiteY14" fmla="*/ 920071 h 2983459"/>
                <a:gd name="connsiteX15" fmla="*/ 2927977 w 4091553"/>
                <a:gd name="connsiteY15" fmla="*/ 896977 h 2983459"/>
                <a:gd name="connsiteX16" fmla="*/ 2577102 w 4091553"/>
                <a:gd name="connsiteY16" fmla="*/ 1153571 h 2983459"/>
                <a:gd name="connsiteX17" fmla="*/ 2644219 w 4091553"/>
                <a:gd name="connsiteY17" fmla="*/ 1051580 h 2983459"/>
                <a:gd name="connsiteX18" fmla="*/ 2540103 w 4091553"/>
                <a:gd name="connsiteY18" fmla="*/ 958442 h 2983459"/>
                <a:gd name="connsiteX19" fmla="*/ 2475658 w 4091553"/>
                <a:gd name="connsiteY19" fmla="*/ 1012743 h 2983459"/>
                <a:gd name="connsiteX20" fmla="*/ 2796697 w 4091553"/>
                <a:gd name="connsiteY20" fmla="*/ 769874 h 2983459"/>
                <a:gd name="connsiteX21" fmla="*/ 2441210 w 4091553"/>
                <a:gd name="connsiteY21" fmla="*/ 550290 h 2983459"/>
                <a:gd name="connsiteX22" fmla="*/ 2471779 w 4091553"/>
                <a:gd name="connsiteY22" fmla="*/ 550782 h 2983459"/>
                <a:gd name="connsiteX23" fmla="*/ 2580682 w 4091553"/>
                <a:gd name="connsiteY23" fmla="*/ 567584 h 2983459"/>
                <a:gd name="connsiteX24" fmla="*/ 2327669 w 4091553"/>
                <a:gd name="connsiteY24" fmla="*/ 820596 h 2983459"/>
                <a:gd name="connsiteX25" fmla="*/ 2441210 w 4091553"/>
                <a:gd name="connsiteY25" fmla="*/ 550290 h 2983459"/>
                <a:gd name="connsiteX26" fmla="*/ 3814027 w 4091553"/>
                <a:gd name="connsiteY26" fmla="*/ 254893 h 2983459"/>
                <a:gd name="connsiteX27" fmla="*/ 3704344 w 4091553"/>
                <a:gd name="connsiteY27" fmla="*/ 441155 h 2983459"/>
                <a:gd name="connsiteX28" fmla="*/ 3541432 w 4091553"/>
                <a:gd name="connsiteY28" fmla="*/ 467805 h 2983459"/>
                <a:gd name="connsiteX29" fmla="*/ 3690501 w 4091553"/>
                <a:gd name="connsiteY29" fmla="*/ 379108 h 2983459"/>
                <a:gd name="connsiteX30" fmla="*/ 3814027 w 4091553"/>
                <a:gd name="connsiteY30" fmla="*/ 254893 h 2983459"/>
                <a:gd name="connsiteX31" fmla="*/ 2447014 w 4091553"/>
                <a:gd name="connsiteY31" fmla="*/ 87819 h 2983459"/>
                <a:gd name="connsiteX32" fmla="*/ 1776294 w 4091553"/>
                <a:gd name="connsiteY32" fmla="*/ 401696 h 2983459"/>
                <a:gd name="connsiteX33" fmla="*/ 1965438 w 4091553"/>
                <a:gd name="connsiteY33" fmla="*/ 406041 h 2983459"/>
                <a:gd name="connsiteX34" fmla="*/ 1973110 w 4091553"/>
                <a:gd name="connsiteY34" fmla="*/ 407143 h 2983459"/>
                <a:gd name="connsiteX35" fmla="*/ 1941080 w 4091553"/>
                <a:gd name="connsiteY35" fmla="*/ 415856 h 2983459"/>
                <a:gd name="connsiteX36" fmla="*/ 1614169 w 4091553"/>
                <a:gd name="connsiteY36" fmla="*/ 483859 h 2983459"/>
                <a:gd name="connsiteX37" fmla="*/ 996511 w 4091553"/>
                <a:gd name="connsiteY37" fmla="*/ 1285034 h 2983459"/>
                <a:gd name="connsiteX38" fmla="*/ 1182322 w 4091553"/>
                <a:gd name="connsiteY38" fmla="*/ 1578898 h 2983459"/>
                <a:gd name="connsiteX39" fmla="*/ 1375110 w 4091553"/>
                <a:gd name="connsiteY39" fmla="*/ 1359120 h 2983459"/>
                <a:gd name="connsiteX40" fmla="*/ 1149548 w 4091553"/>
                <a:gd name="connsiteY40" fmla="*/ 1825668 h 2983459"/>
                <a:gd name="connsiteX41" fmla="*/ 1361248 w 4091553"/>
                <a:gd name="connsiteY41" fmla="*/ 1950338 h 2983459"/>
                <a:gd name="connsiteX42" fmla="*/ 1722130 w 4091553"/>
                <a:gd name="connsiteY42" fmla="*/ 1771687 h 2983459"/>
                <a:gd name="connsiteX43" fmla="*/ 1953476 w 4091553"/>
                <a:gd name="connsiteY43" fmla="*/ 1748552 h 2983459"/>
                <a:gd name="connsiteX44" fmla="*/ 2036375 w 4091553"/>
                <a:gd name="connsiteY44" fmla="*/ 830879 h 2983459"/>
                <a:gd name="connsiteX45" fmla="*/ 2046015 w 4091553"/>
                <a:gd name="connsiteY45" fmla="*/ 1866154 h 2983459"/>
                <a:gd name="connsiteX46" fmla="*/ 2018003 w 4091553"/>
                <a:gd name="connsiteY46" fmla="*/ 1861564 h 2983459"/>
                <a:gd name="connsiteX47" fmla="*/ 1982534 w 4091553"/>
                <a:gd name="connsiteY47" fmla="*/ 1852495 h 2983459"/>
                <a:gd name="connsiteX48" fmla="*/ 1946204 w 4091553"/>
                <a:gd name="connsiteY48" fmla="*/ 1846824 h 2983459"/>
                <a:gd name="connsiteX49" fmla="*/ 1936022 w 4091553"/>
                <a:gd name="connsiteY49" fmla="*/ 1844465 h 2983459"/>
                <a:gd name="connsiteX50" fmla="*/ 1846038 w 4091553"/>
                <a:gd name="connsiteY50" fmla="*/ 1841415 h 2983459"/>
                <a:gd name="connsiteX51" fmla="*/ 1832934 w 4091553"/>
                <a:gd name="connsiteY51" fmla="*/ 1844470 h 2983459"/>
                <a:gd name="connsiteX52" fmla="*/ 1825021 w 4091553"/>
                <a:gd name="connsiteY52" fmla="*/ 1845158 h 2983459"/>
                <a:gd name="connsiteX53" fmla="*/ 1303686 w 4091553"/>
                <a:gd name="connsiteY53" fmla="*/ 2057015 h 2983459"/>
                <a:gd name="connsiteX54" fmla="*/ 1006787 w 4091553"/>
                <a:gd name="connsiteY54" fmla="*/ 1821531 h 2983459"/>
                <a:gd name="connsiteX55" fmla="*/ 1000703 w 4091553"/>
                <a:gd name="connsiteY55" fmla="*/ 1813649 h 2983459"/>
                <a:gd name="connsiteX56" fmla="*/ 1023589 w 4091553"/>
                <a:gd name="connsiteY56" fmla="*/ 1775406 h 2983459"/>
                <a:gd name="connsiteX57" fmla="*/ 1104380 w 4091553"/>
                <a:gd name="connsiteY57" fmla="*/ 1658401 h 2983459"/>
                <a:gd name="connsiteX58" fmla="*/ 877623 w 4091553"/>
                <a:gd name="connsiteY58" fmla="*/ 1299172 h 2983459"/>
                <a:gd name="connsiteX59" fmla="*/ 1279817 w 4091553"/>
                <a:gd name="connsiteY59" fmla="*/ 685736 h 2983459"/>
                <a:gd name="connsiteX60" fmla="*/ 215901 w 4091553"/>
                <a:gd name="connsiteY60" fmla="*/ 1315433 h 2983459"/>
                <a:gd name="connsiteX61" fmla="*/ 167729 w 4091553"/>
                <a:gd name="connsiteY61" fmla="*/ 1272061 h 2983459"/>
                <a:gd name="connsiteX62" fmla="*/ 181813 w 4091553"/>
                <a:gd name="connsiteY62" fmla="*/ 1264158 h 2983459"/>
                <a:gd name="connsiteX63" fmla="*/ 234352 w 4091553"/>
                <a:gd name="connsiteY63" fmla="*/ 999615 h 2983459"/>
                <a:gd name="connsiteX64" fmla="*/ 98499 w 4091553"/>
                <a:gd name="connsiteY64" fmla="*/ 1270717 h 2983459"/>
                <a:gd name="connsiteX65" fmla="*/ 109513 w 4091553"/>
                <a:gd name="connsiteY65" fmla="*/ 1276004 h 2983459"/>
                <a:gd name="connsiteX66" fmla="*/ 111148 w 4091553"/>
                <a:gd name="connsiteY66" fmla="*/ 1291713 h 2983459"/>
                <a:gd name="connsiteX67" fmla="*/ 372793 w 4091553"/>
                <a:gd name="connsiteY67" fmla="*/ 1476996 h 2983459"/>
                <a:gd name="connsiteX68" fmla="*/ 616614 w 4091553"/>
                <a:gd name="connsiteY68" fmla="*/ 2422013 h 2983459"/>
                <a:gd name="connsiteX69" fmla="*/ 629485 w 4091553"/>
                <a:gd name="connsiteY69" fmla="*/ 2446757 h 2983459"/>
                <a:gd name="connsiteX70" fmla="*/ 629032 w 4091553"/>
                <a:gd name="connsiteY70" fmla="*/ 2458370 h 2983459"/>
                <a:gd name="connsiteX71" fmla="*/ 610291 w 4091553"/>
                <a:gd name="connsiteY71" fmla="*/ 2638226 h 2983459"/>
                <a:gd name="connsiteX72" fmla="*/ 566133 w 4091553"/>
                <a:gd name="connsiteY72" fmla="*/ 2789795 h 2983459"/>
                <a:gd name="connsiteX73" fmla="*/ 1023225 w 4091553"/>
                <a:gd name="connsiteY73" fmla="*/ 2878111 h 2983459"/>
                <a:gd name="connsiteX74" fmla="*/ 1038741 w 4091553"/>
                <a:gd name="connsiteY74" fmla="*/ 2732510 h 2983459"/>
                <a:gd name="connsiteX75" fmla="*/ 1127056 w 4091553"/>
                <a:gd name="connsiteY75" fmla="*/ 2542750 h 2983459"/>
                <a:gd name="connsiteX76" fmla="*/ 1130786 w 4091553"/>
                <a:gd name="connsiteY76" fmla="*/ 2340609 h 2983459"/>
                <a:gd name="connsiteX77" fmla="*/ 1128001 w 4091553"/>
                <a:gd name="connsiteY77" fmla="*/ 2264619 h 2983459"/>
                <a:gd name="connsiteX78" fmla="*/ 1149258 w 4091553"/>
                <a:gd name="connsiteY78" fmla="*/ 2289370 h 2983459"/>
                <a:gd name="connsiteX79" fmla="*/ 1676043 w 4091553"/>
                <a:gd name="connsiteY79" fmla="*/ 2259902 h 2983459"/>
                <a:gd name="connsiteX80" fmla="*/ 1687978 w 4091553"/>
                <a:gd name="connsiteY80" fmla="*/ 2443694 h 2983459"/>
                <a:gd name="connsiteX81" fmla="*/ 1460029 w 4091553"/>
                <a:gd name="connsiteY81" fmla="*/ 2613164 h 2983459"/>
                <a:gd name="connsiteX82" fmla="*/ 1713040 w 4091553"/>
                <a:gd name="connsiteY82" fmla="*/ 2919882 h 2983459"/>
                <a:gd name="connsiteX83" fmla="*/ 2182068 w 4091553"/>
                <a:gd name="connsiteY83" fmla="*/ 2548718 h 2983459"/>
                <a:gd name="connsiteX84" fmla="*/ 2437467 w 4091553"/>
                <a:gd name="connsiteY84" fmla="*/ 1988988 h 2983459"/>
                <a:gd name="connsiteX85" fmla="*/ 2211840 w 4091553"/>
                <a:gd name="connsiteY85" fmla="*/ 1744629 h 2983459"/>
                <a:gd name="connsiteX86" fmla="*/ 2209243 w 4091553"/>
                <a:gd name="connsiteY86" fmla="*/ 1737830 h 2983459"/>
                <a:gd name="connsiteX87" fmla="*/ 2244278 w 4091553"/>
                <a:gd name="connsiteY87" fmla="*/ 1759883 h 2983459"/>
                <a:gd name="connsiteX88" fmla="*/ 2500720 w 4091553"/>
                <a:gd name="connsiteY88" fmla="*/ 1901867 h 2983459"/>
                <a:gd name="connsiteX89" fmla="*/ 2785955 w 4091553"/>
                <a:gd name="connsiteY89" fmla="*/ 2095206 h 2983459"/>
                <a:gd name="connsiteX90" fmla="*/ 3066417 w 4091553"/>
                <a:gd name="connsiteY90" fmla="*/ 1849354 h 2983459"/>
                <a:gd name="connsiteX91" fmla="*/ 3022259 w 4091553"/>
                <a:gd name="connsiteY91" fmla="*/ 1845774 h 2983459"/>
                <a:gd name="connsiteX92" fmla="*/ 2650395 w 4091553"/>
                <a:gd name="connsiteY92" fmla="*/ 1549438 h 2983459"/>
                <a:gd name="connsiteX93" fmla="*/ 2662763 w 4091553"/>
                <a:gd name="connsiteY93" fmla="*/ 1485537 h 2983459"/>
                <a:gd name="connsiteX94" fmla="*/ 2686209 w 4091553"/>
                <a:gd name="connsiteY94" fmla="*/ 1511089 h 2983459"/>
                <a:gd name="connsiteX95" fmla="*/ 3646436 w 4091553"/>
                <a:gd name="connsiteY95" fmla="*/ 1753877 h 2983459"/>
                <a:gd name="connsiteX96" fmla="*/ 3805165 w 4091553"/>
                <a:gd name="connsiteY96" fmla="*/ 186873 h 2983459"/>
                <a:gd name="connsiteX97" fmla="*/ 3681046 w 4091553"/>
                <a:gd name="connsiteY97" fmla="*/ 330088 h 2983459"/>
                <a:gd name="connsiteX98" fmla="*/ 3499642 w 4091553"/>
                <a:gd name="connsiteY98" fmla="*/ 421983 h 2983459"/>
                <a:gd name="connsiteX99" fmla="*/ 3386217 w 4091553"/>
                <a:gd name="connsiteY99" fmla="*/ 1235418 h 2983459"/>
                <a:gd name="connsiteX100" fmla="*/ 3366410 w 4091553"/>
                <a:gd name="connsiteY100" fmla="*/ 1251046 h 2983459"/>
                <a:gd name="connsiteX101" fmla="*/ 3370580 w 4091553"/>
                <a:gd name="connsiteY101" fmla="*/ 1243005 h 2983459"/>
                <a:gd name="connsiteX102" fmla="*/ 3413711 w 4091553"/>
                <a:gd name="connsiteY102" fmla="*/ 987681 h 2983459"/>
                <a:gd name="connsiteX103" fmla="*/ 3245435 w 4091553"/>
                <a:gd name="connsiteY103" fmla="*/ 1019904 h 2983459"/>
                <a:gd name="connsiteX104" fmla="*/ 3263336 w 4091553"/>
                <a:gd name="connsiteY104" fmla="*/ 880270 h 2983459"/>
                <a:gd name="connsiteX105" fmla="*/ 3105801 w 4091553"/>
                <a:gd name="connsiteY105" fmla="*/ 879076 h 2983459"/>
                <a:gd name="connsiteX106" fmla="*/ 3151152 w 4091553"/>
                <a:gd name="connsiteY106" fmla="*/ 775246 h 2983459"/>
                <a:gd name="connsiteX107" fmla="*/ 3060077 w 4091553"/>
                <a:gd name="connsiteY107" fmla="*/ 733176 h 2983459"/>
                <a:gd name="connsiteX108" fmla="*/ 3034836 w 4091553"/>
                <a:gd name="connsiteY108" fmla="*/ 733348 h 2983459"/>
                <a:gd name="connsiteX109" fmla="*/ 3055591 w 4091553"/>
                <a:gd name="connsiteY109" fmla="*/ 725896 h 2983459"/>
                <a:gd name="connsiteX110" fmla="*/ 3086706 w 4091553"/>
                <a:gd name="connsiteY110" fmla="*/ 716766 h 2983459"/>
                <a:gd name="connsiteX111" fmla="*/ 3237081 w 4091553"/>
                <a:gd name="connsiteY111" fmla="*/ 682156 h 2983459"/>
                <a:gd name="connsiteX112" fmla="*/ 3084319 w 4091553"/>
                <a:gd name="connsiteY112" fmla="*/ 487623 h 2983459"/>
                <a:gd name="connsiteX113" fmla="*/ 2925104 w 4091553"/>
                <a:gd name="connsiteY113" fmla="*/ 468100 h 2983459"/>
                <a:gd name="connsiteX114" fmla="*/ 2910402 w 4091553"/>
                <a:gd name="connsiteY114" fmla="*/ 467317 h 2983459"/>
                <a:gd name="connsiteX115" fmla="*/ 2910522 w 4091553"/>
                <a:gd name="connsiteY115" fmla="*/ 467001 h 2983459"/>
                <a:gd name="connsiteX116" fmla="*/ 3013905 w 4091553"/>
                <a:gd name="connsiteY116" fmla="*/ 435113 h 2983459"/>
                <a:gd name="connsiteX117" fmla="*/ 2447014 w 4091553"/>
                <a:gd name="connsiteY117" fmla="*/ 87819 h 2983459"/>
                <a:gd name="connsiteX118" fmla="*/ 2423362 w 4091553"/>
                <a:gd name="connsiteY118" fmla="*/ 615 h 2983459"/>
                <a:gd name="connsiteX119" fmla="*/ 2501814 w 4091553"/>
                <a:gd name="connsiteY119" fmla="*/ 7487 h 2983459"/>
                <a:gd name="connsiteX120" fmla="*/ 3076949 w 4091553"/>
                <a:gd name="connsiteY120" fmla="*/ 398450 h 2983459"/>
                <a:gd name="connsiteX121" fmla="*/ 3316050 w 4091553"/>
                <a:gd name="connsiteY121" fmla="*/ 679556 h 2983459"/>
                <a:gd name="connsiteX122" fmla="*/ 3274046 w 4091553"/>
                <a:gd name="connsiteY122" fmla="*/ 782951 h 2983459"/>
                <a:gd name="connsiteX123" fmla="*/ 3448324 w 4091553"/>
                <a:gd name="connsiteY123" fmla="*/ 917242 h 2983459"/>
                <a:gd name="connsiteX124" fmla="*/ 3425907 w 4091553"/>
                <a:gd name="connsiteY124" fmla="*/ 421070 h 2983459"/>
                <a:gd name="connsiteX125" fmla="*/ 3629465 w 4091553"/>
                <a:gd name="connsiteY125" fmla="*/ 291826 h 2983459"/>
                <a:gd name="connsiteX126" fmla="*/ 3787790 w 4091553"/>
                <a:gd name="connsiteY126" fmla="*/ 143197 h 2983459"/>
                <a:gd name="connsiteX127" fmla="*/ 4091512 w 4091553"/>
                <a:gd name="connsiteY127" fmla="*/ 973587 h 2983459"/>
                <a:gd name="connsiteX128" fmla="*/ 3590693 w 4091553"/>
                <a:gd name="connsiteY128" fmla="*/ 1881525 h 2983459"/>
                <a:gd name="connsiteX129" fmla="*/ 3165059 w 4091553"/>
                <a:gd name="connsiteY129" fmla="*/ 1891067 h 2983459"/>
                <a:gd name="connsiteX130" fmla="*/ 3111817 w 4091553"/>
                <a:gd name="connsiteY130" fmla="*/ 1872530 h 2983459"/>
                <a:gd name="connsiteX131" fmla="*/ 3105427 w 4091553"/>
                <a:gd name="connsiteY131" fmla="*/ 1902782 h 2983459"/>
                <a:gd name="connsiteX132" fmla="*/ 2776454 w 4091553"/>
                <a:gd name="connsiteY132" fmla="*/ 2169092 h 2983459"/>
                <a:gd name="connsiteX133" fmla="*/ 2488887 w 4091553"/>
                <a:gd name="connsiteY133" fmla="*/ 2039848 h 2983459"/>
                <a:gd name="connsiteX134" fmla="*/ 2475962 w 4091553"/>
                <a:gd name="connsiteY134" fmla="*/ 2207865 h 2983459"/>
                <a:gd name="connsiteX135" fmla="*/ 2605206 w 4091553"/>
                <a:gd name="connsiteY135" fmla="*/ 2482507 h 2983459"/>
                <a:gd name="connsiteX136" fmla="*/ 2598744 w 4091553"/>
                <a:gd name="connsiteY136" fmla="*/ 2631138 h 2983459"/>
                <a:gd name="connsiteX137" fmla="*/ 2627824 w 4091553"/>
                <a:gd name="connsiteY137" fmla="*/ 2815310 h 2983459"/>
                <a:gd name="connsiteX138" fmla="*/ 2414572 w 4091553"/>
                <a:gd name="connsiteY138" fmla="*/ 2892857 h 2983459"/>
                <a:gd name="connsiteX139" fmla="*/ 2081768 w 4091553"/>
                <a:gd name="connsiteY139" fmla="*/ 2821772 h 2983459"/>
                <a:gd name="connsiteX140" fmla="*/ 2071611 w 4091553"/>
                <a:gd name="connsiteY140" fmla="*/ 2762177 h 2983459"/>
                <a:gd name="connsiteX141" fmla="*/ 2071078 w 4091553"/>
                <a:gd name="connsiteY141" fmla="*/ 2744183 h 2983459"/>
                <a:gd name="connsiteX142" fmla="*/ 2021047 w 4091553"/>
                <a:gd name="connsiteY142" fmla="*/ 2791607 h 2983459"/>
                <a:gd name="connsiteX143" fmla="*/ 1706963 w 4091553"/>
                <a:gd name="connsiteY143" fmla="*/ 2983326 h 2983459"/>
                <a:gd name="connsiteX144" fmla="*/ 1393546 w 4091553"/>
                <a:gd name="connsiteY144" fmla="*/ 2605289 h 2983459"/>
                <a:gd name="connsiteX145" fmla="*/ 1538945 w 4091553"/>
                <a:gd name="connsiteY145" fmla="*/ 2446965 h 2983459"/>
                <a:gd name="connsiteX146" fmla="*/ 1206143 w 4091553"/>
                <a:gd name="connsiteY146" fmla="*/ 2414653 h 2983459"/>
                <a:gd name="connsiteX147" fmla="*/ 1193218 w 4091553"/>
                <a:gd name="connsiteY147" fmla="*/ 2560053 h 2983459"/>
                <a:gd name="connsiteX148" fmla="*/ 1109209 w 4091553"/>
                <a:gd name="connsiteY148" fmla="*/ 2702221 h 2983459"/>
                <a:gd name="connsiteX149" fmla="*/ 1041356 w 4091553"/>
                <a:gd name="connsiteY149" fmla="*/ 2957478 h 2983459"/>
                <a:gd name="connsiteX150" fmla="*/ 504995 w 4091553"/>
                <a:gd name="connsiteY150" fmla="*/ 2844389 h 2983459"/>
                <a:gd name="connsiteX151" fmla="*/ 517920 w 4091553"/>
                <a:gd name="connsiteY151" fmla="*/ 2656986 h 2983459"/>
                <a:gd name="connsiteX152" fmla="*/ 388676 w 4091553"/>
                <a:gd name="connsiteY152" fmla="*/ 2682835 h 2983459"/>
                <a:gd name="connsiteX153" fmla="*/ 52642 w 4091553"/>
                <a:gd name="connsiteY153" fmla="*/ 2337107 h 2983459"/>
                <a:gd name="connsiteX154" fmla="*/ 256201 w 4091553"/>
                <a:gd name="connsiteY154" fmla="*/ 1981687 h 2983459"/>
                <a:gd name="connsiteX155" fmla="*/ 275587 w 4091553"/>
                <a:gd name="connsiteY155" fmla="*/ 1626266 h 2983459"/>
                <a:gd name="connsiteX156" fmla="*/ 269125 w 4091553"/>
                <a:gd name="connsiteY156" fmla="*/ 928351 h 2983459"/>
                <a:gd name="connsiteX157" fmla="*/ 288512 w 4091553"/>
                <a:gd name="connsiteY157" fmla="*/ 1244997 h 2983459"/>
                <a:gd name="connsiteX158" fmla="*/ 1303076 w 4091553"/>
                <a:gd name="connsiteY158" fmla="*/ 602009 h 2983459"/>
                <a:gd name="connsiteX159" fmla="*/ 1603568 w 4091553"/>
                <a:gd name="connsiteY159" fmla="*/ 382295 h 2983459"/>
                <a:gd name="connsiteX160" fmla="*/ 1683785 w 4091553"/>
                <a:gd name="connsiteY160" fmla="*/ 373882 h 2983459"/>
                <a:gd name="connsiteX161" fmla="*/ 1693081 w 4091553"/>
                <a:gd name="connsiteY161" fmla="*/ 353995 h 2983459"/>
                <a:gd name="connsiteX162" fmla="*/ 1949297 w 4091553"/>
                <a:gd name="connsiteY162" fmla="*/ 107652 h 2983459"/>
                <a:gd name="connsiteX163" fmla="*/ 2423362 w 4091553"/>
                <a:gd name="connsiteY163" fmla="*/ 615 h 2983459"/>
                <a:gd name="connsiteX0" fmla="*/ 2435138 w 4071322"/>
                <a:gd name="connsiteY0" fmla="*/ 2267062 h 2983459"/>
                <a:gd name="connsiteX1" fmla="*/ 2124840 w 4071322"/>
                <a:gd name="connsiteY1" fmla="*/ 2792182 h 2983459"/>
                <a:gd name="connsiteX2" fmla="*/ 2344435 w 4071322"/>
                <a:gd name="connsiteY2" fmla="*/ 2837533 h 2983459"/>
                <a:gd name="connsiteX3" fmla="*/ 2564031 w 4071322"/>
                <a:gd name="connsiteY3" fmla="*/ 2789795 h 2983459"/>
                <a:gd name="connsiteX4" fmla="*/ 2524647 w 4071322"/>
                <a:gd name="connsiteY4" fmla="*/ 2663289 h 2983459"/>
                <a:gd name="connsiteX5" fmla="*/ 2537775 w 4071322"/>
                <a:gd name="connsiteY5" fmla="*/ 2486659 h 2983459"/>
                <a:gd name="connsiteX6" fmla="*/ 2435138 w 4071322"/>
                <a:gd name="connsiteY6" fmla="*/ 2267062 h 2983459"/>
                <a:gd name="connsiteX7" fmla="*/ 294082 w 4071322"/>
                <a:gd name="connsiteY7" fmla="*/ 2047468 h 2983459"/>
                <a:gd name="connsiteX8" fmla="*/ 111485 w 4071322"/>
                <a:gd name="connsiteY8" fmla="*/ 2318382 h 2983459"/>
                <a:gd name="connsiteX9" fmla="*/ 399106 w 4071322"/>
                <a:gd name="connsiteY9" fmla="*/ 2607197 h 2983459"/>
                <a:gd name="connsiteX10" fmla="*/ 518452 w 4071322"/>
                <a:gd name="connsiteY10" fmla="*/ 2510528 h 2983459"/>
                <a:gd name="connsiteX11" fmla="*/ 294082 w 4071322"/>
                <a:gd name="connsiteY11" fmla="*/ 2047468 h 2983459"/>
                <a:gd name="connsiteX12" fmla="*/ 2776466 w 4071322"/>
                <a:gd name="connsiteY12" fmla="*/ 769874 h 2983459"/>
                <a:gd name="connsiteX13" fmla="*/ 2723059 w 4071322"/>
                <a:gd name="connsiteY13" fmla="*/ 808065 h 2983459"/>
                <a:gd name="connsiteX14" fmla="*/ 2815678 w 4071322"/>
                <a:gd name="connsiteY14" fmla="*/ 920071 h 2983459"/>
                <a:gd name="connsiteX15" fmla="*/ 2907746 w 4071322"/>
                <a:gd name="connsiteY15" fmla="*/ 896977 h 2983459"/>
                <a:gd name="connsiteX16" fmla="*/ 2556871 w 4071322"/>
                <a:gd name="connsiteY16" fmla="*/ 1153571 h 2983459"/>
                <a:gd name="connsiteX17" fmla="*/ 2623988 w 4071322"/>
                <a:gd name="connsiteY17" fmla="*/ 1051580 h 2983459"/>
                <a:gd name="connsiteX18" fmla="*/ 2519872 w 4071322"/>
                <a:gd name="connsiteY18" fmla="*/ 958442 h 2983459"/>
                <a:gd name="connsiteX19" fmla="*/ 2455427 w 4071322"/>
                <a:gd name="connsiteY19" fmla="*/ 1012743 h 2983459"/>
                <a:gd name="connsiteX20" fmla="*/ 2776466 w 4071322"/>
                <a:gd name="connsiteY20" fmla="*/ 769874 h 2983459"/>
                <a:gd name="connsiteX21" fmla="*/ 2420979 w 4071322"/>
                <a:gd name="connsiteY21" fmla="*/ 550290 h 2983459"/>
                <a:gd name="connsiteX22" fmla="*/ 2451548 w 4071322"/>
                <a:gd name="connsiteY22" fmla="*/ 550782 h 2983459"/>
                <a:gd name="connsiteX23" fmla="*/ 2560451 w 4071322"/>
                <a:gd name="connsiteY23" fmla="*/ 567584 h 2983459"/>
                <a:gd name="connsiteX24" fmla="*/ 2307438 w 4071322"/>
                <a:gd name="connsiteY24" fmla="*/ 820596 h 2983459"/>
                <a:gd name="connsiteX25" fmla="*/ 2420979 w 4071322"/>
                <a:gd name="connsiteY25" fmla="*/ 550290 h 2983459"/>
                <a:gd name="connsiteX26" fmla="*/ 3793796 w 4071322"/>
                <a:gd name="connsiteY26" fmla="*/ 254893 h 2983459"/>
                <a:gd name="connsiteX27" fmla="*/ 3684113 w 4071322"/>
                <a:gd name="connsiteY27" fmla="*/ 441155 h 2983459"/>
                <a:gd name="connsiteX28" fmla="*/ 3521201 w 4071322"/>
                <a:gd name="connsiteY28" fmla="*/ 467805 h 2983459"/>
                <a:gd name="connsiteX29" fmla="*/ 3670270 w 4071322"/>
                <a:gd name="connsiteY29" fmla="*/ 379108 h 2983459"/>
                <a:gd name="connsiteX30" fmla="*/ 3793796 w 4071322"/>
                <a:gd name="connsiteY30" fmla="*/ 254893 h 2983459"/>
                <a:gd name="connsiteX31" fmla="*/ 2426783 w 4071322"/>
                <a:gd name="connsiteY31" fmla="*/ 87819 h 2983459"/>
                <a:gd name="connsiteX32" fmla="*/ 1756063 w 4071322"/>
                <a:gd name="connsiteY32" fmla="*/ 401696 h 2983459"/>
                <a:gd name="connsiteX33" fmla="*/ 1945207 w 4071322"/>
                <a:gd name="connsiteY33" fmla="*/ 406041 h 2983459"/>
                <a:gd name="connsiteX34" fmla="*/ 1952879 w 4071322"/>
                <a:gd name="connsiteY34" fmla="*/ 407143 h 2983459"/>
                <a:gd name="connsiteX35" fmla="*/ 1920849 w 4071322"/>
                <a:gd name="connsiteY35" fmla="*/ 415856 h 2983459"/>
                <a:gd name="connsiteX36" fmla="*/ 1593938 w 4071322"/>
                <a:gd name="connsiteY36" fmla="*/ 483859 h 2983459"/>
                <a:gd name="connsiteX37" fmla="*/ 976280 w 4071322"/>
                <a:gd name="connsiteY37" fmla="*/ 1285034 h 2983459"/>
                <a:gd name="connsiteX38" fmla="*/ 1162091 w 4071322"/>
                <a:gd name="connsiteY38" fmla="*/ 1578898 h 2983459"/>
                <a:gd name="connsiteX39" fmla="*/ 1354879 w 4071322"/>
                <a:gd name="connsiteY39" fmla="*/ 1359120 h 2983459"/>
                <a:gd name="connsiteX40" fmla="*/ 1129317 w 4071322"/>
                <a:gd name="connsiteY40" fmla="*/ 1825668 h 2983459"/>
                <a:gd name="connsiteX41" fmla="*/ 1341017 w 4071322"/>
                <a:gd name="connsiteY41" fmla="*/ 1950338 h 2983459"/>
                <a:gd name="connsiteX42" fmla="*/ 1701899 w 4071322"/>
                <a:gd name="connsiteY42" fmla="*/ 1771687 h 2983459"/>
                <a:gd name="connsiteX43" fmla="*/ 1933245 w 4071322"/>
                <a:gd name="connsiteY43" fmla="*/ 1748552 h 2983459"/>
                <a:gd name="connsiteX44" fmla="*/ 2016144 w 4071322"/>
                <a:gd name="connsiteY44" fmla="*/ 830879 h 2983459"/>
                <a:gd name="connsiteX45" fmla="*/ 2025784 w 4071322"/>
                <a:gd name="connsiteY45" fmla="*/ 1866154 h 2983459"/>
                <a:gd name="connsiteX46" fmla="*/ 1997772 w 4071322"/>
                <a:gd name="connsiteY46" fmla="*/ 1861564 h 2983459"/>
                <a:gd name="connsiteX47" fmla="*/ 1962303 w 4071322"/>
                <a:gd name="connsiteY47" fmla="*/ 1852495 h 2983459"/>
                <a:gd name="connsiteX48" fmla="*/ 1925973 w 4071322"/>
                <a:gd name="connsiteY48" fmla="*/ 1846824 h 2983459"/>
                <a:gd name="connsiteX49" fmla="*/ 1915791 w 4071322"/>
                <a:gd name="connsiteY49" fmla="*/ 1844465 h 2983459"/>
                <a:gd name="connsiteX50" fmla="*/ 1825807 w 4071322"/>
                <a:gd name="connsiteY50" fmla="*/ 1841415 h 2983459"/>
                <a:gd name="connsiteX51" fmla="*/ 1812703 w 4071322"/>
                <a:gd name="connsiteY51" fmla="*/ 1844470 h 2983459"/>
                <a:gd name="connsiteX52" fmla="*/ 1804790 w 4071322"/>
                <a:gd name="connsiteY52" fmla="*/ 1845158 h 2983459"/>
                <a:gd name="connsiteX53" fmla="*/ 1283455 w 4071322"/>
                <a:gd name="connsiteY53" fmla="*/ 2057015 h 2983459"/>
                <a:gd name="connsiteX54" fmla="*/ 986556 w 4071322"/>
                <a:gd name="connsiteY54" fmla="*/ 1821531 h 2983459"/>
                <a:gd name="connsiteX55" fmla="*/ 980472 w 4071322"/>
                <a:gd name="connsiteY55" fmla="*/ 1813649 h 2983459"/>
                <a:gd name="connsiteX56" fmla="*/ 1003358 w 4071322"/>
                <a:gd name="connsiteY56" fmla="*/ 1775406 h 2983459"/>
                <a:gd name="connsiteX57" fmla="*/ 1084149 w 4071322"/>
                <a:gd name="connsiteY57" fmla="*/ 1658401 h 2983459"/>
                <a:gd name="connsiteX58" fmla="*/ 857392 w 4071322"/>
                <a:gd name="connsiteY58" fmla="*/ 1299172 h 2983459"/>
                <a:gd name="connsiteX59" fmla="*/ 1259586 w 4071322"/>
                <a:gd name="connsiteY59" fmla="*/ 685736 h 2983459"/>
                <a:gd name="connsiteX60" fmla="*/ 195670 w 4071322"/>
                <a:gd name="connsiteY60" fmla="*/ 1315433 h 2983459"/>
                <a:gd name="connsiteX61" fmla="*/ 147498 w 4071322"/>
                <a:gd name="connsiteY61" fmla="*/ 1272061 h 2983459"/>
                <a:gd name="connsiteX62" fmla="*/ 161582 w 4071322"/>
                <a:gd name="connsiteY62" fmla="*/ 1264158 h 2983459"/>
                <a:gd name="connsiteX63" fmla="*/ 214121 w 4071322"/>
                <a:gd name="connsiteY63" fmla="*/ 999615 h 2983459"/>
                <a:gd name="connsiteX64" fmla="*/ 78268 w 4071322"/>
                <a:gd name="connsiteY64" fmla="*/ 1270717 h 2983459"/>
                <a:gd name="connsiteX65" fmla="*/ 89282 w 4071322"/>
                <a:gd name="connsiteY65" fmla="*/ 1276004 h 2983459"/>
                <a:gd name="connsiteX66" fmla="*/ 90917 w 4071322"/>
                <a:gd name="connsiteY66" fmla="*/ 1291713 h 2983459"/>
                <a:gd name="connsiteX67" fmla="*/ 352562 w 4071322"/>
                <a:gd name="connsiteY67" fmla="*/ 1476996 h 2983459"/>
                <a:gd name="connsiteX68" fmla="*/ 596383 w 4071322"/>
                <a:gd name="connsiteY68" fmla="*/ 2422013 h 2983459"/>
                <a:gd name="connsiteX69" fmla="*/ 609254 w 4071322"/>
                <a:gd name="connsiteY69" fmla="*/ 2446757 h 2983459"/>
                <a:gd name="connsiteX70" fmla="*/ 608801 w 4071322"/>
                <a:gd name="connsiteY70" fmla="*/ 2458370 h 2983459"/>
                <a:gd name="connsiteX71" fmla="*/ 590060 w 4071322"/>
                <a:gd name="connsiteY71" fmla="*/ 2638226 h 2983459"/>
                <a:gd name="connsiteX72" fmla="*/ 545902 w 4071322"/>
                <a:gd name="connsiteY72" fmla="*/ 2789795 h 2983459"/>
                <a:gd name="connsiteX73" fmla="*/ 1002994 w 4071322"/>
                <a:gd name="connsiteY73" fmla="*/ 2878111 h 2983459"/>
                <a:gd name="connsiteX74" fmla="*/ 1018510 w 4071322"/>
                <a:gd name="connsiteY74" fmla="*/ 2732510 h 2983459"/>
                <a:gd name="connsiteX75" fmla="*/ 1106825 w 4071322"/>
                <a:gd name="connsiteY75" fmla="*/ 2542750 h 2983459"/>
                <a:gd name="connsiteX76" fmla="*/ 1110555 w 4071322"/>
                <a:gd name="connsiteY76" fmla="*/ 2340609 h 2983459"/>
                <a:gd name="connsiteX77" fmla="*/ 1107770 w 4071322"/>
                <a:gd name="connsiteY77" fmla="*/ 2264619 h 2983459"/>
                <a:gd name="connsiteX78" fmla="*/ 1129027 w 4071322"/>
                <a:gd name="connsiteY78" fmla="*/ 2289370 h 2983459"/>
                <a:gd name="connsiteX79" fmla="*/ 1655812 w 4071322"/>
                <a:gd name="connsiteY79" fmla="*/ 2259902 h 2983459"/>
                <a:gd name="connsiteX80" fmla="*/ 1667747 w 4071322"/>
                <a:gd name="connsiteY80" fmla="*/ 2443694 h 2983459"/>
                <a:gd name="connsiteX81" fmla="*/ 1439798 w 4071322"/>
                <a:gd name="connsiteY81" fmla="*/ 2613164 h 2983459"/>
                <a:gd name="connsiteX82" fmla="*/ 1692809 w 4071322"/>
                <a:gd name="connsiteY82" fmla="*/ 2919882 h 2983459"/>
                <a:gd name="connsiteX83" fmla="*/ 2161837 w 4071322"/>
                <a:gd name="connsiteY83" fmla="*/ 2548718 h 2983459"/>
                <a:gd name="connsiteX84" fmla="*/ 2417236 w 4071322"/>
                <a:gd name="connsiteY84" fmla="*/ 1988988 h 2983459"/>
                <a:gd name="connsiteX85" fmla="*/ 2191609 w 4071322"/>
                <a:gd name="connsiteY85" fmla="*/ 1744629 h 2983459"/>
                <a:gd name="connsiteX86" fmla="*/ 2189012 w 4071322"/>
                <a:gd name="connsiteY86" fmla="*/ 1737830 h 2983459"/>
                <a:gd name="connsiteX87" fmla="*/ 2224047 w 4071322"/>
                <a:gd name="connsiteY87" fmla="*/ 1759883 h 2983459"/>
                <a:gd name="connsiteX88" fmla="*/ 2480489 w 4071322"/>
                <a:gd name="connsiteY88" fmla="*/ 1901867 h 2983459"/>
                <a:gd name="connsiteX89" fmla="*/ 2765724 w 4071322"/>
                <a:gd name="connsiteY89" fmla="*/ 2095206 h 2983459"/>
                <a:gd name="connsiteX90" fmla="*/ 3046186 w 4071322"/>
                <a:gd name="connsiteY90" fmla="*/ 1849354 h 2983459"/>
                <a:gd name="connsiteX91" fmla="*/ 3002028 w 4071322"/>
                <a:gd name="connsiteY91" fmla="*/ 1845774 h 2983459"/>
                <a:gd name="connsiteX92" fmla="*/ 2630164 w 4071322"/>
                <a:gd name="connsiteY92" fmla="*/ 1549438 h 2983459"/>
                <a:gd name="connsiteX93" fmla="*/ 2642532 w 4071322"/>
                <a:gd name="connsiteY93" fmla="*/ 1485537 h 2983459"/>
                <a:gd name="connsiteX94" fmla="*/ 2665978 w 4071322"/>
                <a:gd name="connsiteY94" fmla="*/ 1511089 h 2983459"/>
                <a:gd name="connsiteX95" fmla="*/ 3626205 w 4071322"/>
                <a:gd name="connsiteY95" fmla="*/ 1753877 h 2983459"/>
                <a:gd name="connsiteX96" fmla="*/ 3784934 w 4071322"/>
                <a:gd name="connsiteY96" fmla="*/ 186873 h 2983459"/>
                <a:gd name="connsiteX97" fmla="*/ 3660815 w 4071322"/>
                <a:gd name="connsiteY97" fmla="*/ 330088 h 2983459"/>
                <a:gd name="connsiteX98" fmla="*/ 3479411 w 4071322"/>
                <a:gd name="connsiteY98" fmla="*/ 421983 h 2983459"/>
                <a:gd name="connsiteX99" fmla="*/ 3365986 w 4071322"/>
                <a:gd name="connsiteY99" fmla="*/ 1235418 h 2983459"/>
                <a:gd name="connsiteX100" fmla="*/ 3346179 w 4071322"/>
                <a:gd name="connsiteY100" fmla="*/ 1251046 h 2983459"/>
                <a:gd name="connsiteX101" fmla="*/ 3350349 w 4071322"/>
                <a:gd name="connsiteY101" fmla="*/ 1243005 h 2983459"/>
                <a:gd name="connsiteX102" fmla="*/ 3393480 w 4071322"/>
                <a:gd name="connsiteY102" fmla="*/ 987681 h 2983459"/>
                <a:gd name="connsiteX103" fmla="*/ 3225204 w 4071322"/>
                <a:gd name="connsiteY103" fmla="*/ 1019904 h 2983459"/>
                <a:gd name="connsiteX104" fmla="*/ 3243105 w 4071322"/>
                <a:gd name="connsiteY104" fmla="*/ 880270 h 2983459"/>
                <a:gd name="connsiteX105" fmla="*/ 3085570 w 4071322"/>
                <a:gd name="connsiteY105" fmla="*/ 879076 h 2983459"/>
                <a:gd name="connsiteX106" fmla="*/ 3130921 w 4071322"/>
                <a:gd name="connsiteY106" fmla="*/ 775246 h 2983459"/>
                <a:gd name="connsiteX107" fmla="*/ 3039846 w 4071322"/>
                <a:gd name="connsiteY107" fmla="*/ 733176 h 2983459"/>
                <a:gd name="connsiteX108" fmla="*/ 3014605 w 4071322"/>
                <a:gd name="connsiteY108" fmla="*/ 733348 h 2983459"/>
                <a:gd name="connsiteX109" fmla="*/ 3035360 w 4071322"/>
                <a:gd name="connsiteY109" fmla="*/ 725896 h 2983459"/>
                <a:gd name="connsiteX110" fmla="*/ 3066475 w 4071322"/>
                <a:gd name="connsiteY110" fmla="*/ 716766 h 2983459"/>
                <a:gd name="connsiteX111" fmla="*/ 3216850 w 4071322"/>
                <a:gd name="connsiteY111" fmla="*/ 682156 h 2983459"/>
                <a:gd name="connsiteX112" fmla="*/ 3064088 w 4071322"/>
                <a:gd name="connsiteY112" fmla="*/ 487623 h 2983459"/>
                <a:gd name="connsiteX113" fmla="*/ 2904873 w 4071322"/>
                <a:gd name="connsiteY113" fmla="*/ 468100 h 2983459"/>
                <a:gd name="connsiteX114" fmla="*/ 2890171 w 4071322"/>
                <a:gd name="connsiteY114" fmla="*/ 467317 h 2983459"/>
                <a:gd name="connsiteX115" fmla="*/ 2890291 w 4071322"/>
                <a:gd name="connsiteY115" fmla="*/ 467001 h 2983459"/>
                <a:gd name="connsiteX116" fmla="*/ 2993674 w 4071322"/>
                <a:gd name="connsiteY116" fmla="*/ 435113 h 2983459"/>
                <a:gd name="connsiteX117" fmla="*/ 2426783 w 4071322"/>
                <a:gd name="connsiteY117" fmla="*/ 87819 h 2983459"/>
                <a:gd name="connsiteX118" fmla="*/ 2403131 w 4071322"/>
                <a:gd name="connsiteY118" fmla="*/ 615 h 2983459"/>
                <a:gd name="connsiteX119" fmla="*/ 2481583 w 4071322"/>
                <a:gd name="connsiteY119" fmla="*/ 7487 h 2983459"/>
                <a:gd name="connsiteX120" fmla="*/ 3056718 w 4071322"/>
                <a:gd name="connsiteY120" fmla="*/ 398450 h 2983459"/>
                <a:gd name="connsiteX121" fmla="*/ 3295819 w 4071322"/>
                <a:gd name="connsiteY121" fmla="*/ 679556 h 2983459"/>
                <a:gd name="connsiteX122" fmla="*/ 3253815 w 4071322"/>
                <a:gd name="connsiteY122" fmla="*/ 782951 h 2983459"/>
                <a:gd name="connsiteX123" fmla="*/ 3428093 w 4071322"/>
                <a:gd name="connsiteY123" fmla="*/ 917242 h 2983459"/>
                <a:gd name="connsiteX124" fmla="*/ 3405676 w 4071322"/>
                <a:gd name="connsiteY124" fmla="*/ 421070 h 2983459"/>
                <a:gd name="connsiteX125" fmla="*/ 3609234 w 4071322"/>
                <a:gd name="connsiteY125" fmla="*/ 291826 h 2983459"/>
                <a:gd name="connsiteX126" fmla="*/ 3767559 w 4071322"/>
                <a:gd name="connsiteY126" fmla="*/ 143197 h 2983459"/>
                <a:gd name="connsiteX127" fmla="*/ 4071281 w 4071322"/>
                <a:gd name="connsiteY127" fmla="*/ 973587 h 2983459"/>
                <a:gd name="connsiteX128" fmla="*/ 3570462 w 4071322"/>
                <a:gd name="connsiteY128" fmla="*/ 1881525 h 2983459"/>
                <a:gd name="connsiteX129" fmla="*/ 3144828 w 4071322"/>
                <a:gd name="connsiteY129" fmla="*/ 1891067 h 2983459"/>
                <a:gd name="connsiteX130" fmla="*/ 3091586 w 4071322"/>
                <a:gd name="connsiteY130" fmla="*/ 1872530 h 2983459"/>
                <a:gd name="connsiteX131" fmla="*/ 3085196 w 4071322"/>
                <a:gd name="connsiteY131" fmla="*/ 1902782 h 2983459"/>
                <a:gd name="connsiteX132" fmla="*/ 2756223 w 4071322"/>
                <a:gd name="connsiteY132" fmla="*/ 2169092 h 2983459"/>
                <a:gd name="connsiteX133" fmla="*/ 2468656 w 4071322"/>
                <a:gd name="connsiteY133" fmla="*/ 2039848 h 2983459"/>
                <a:gd name="connsiteX134" fmla="*/ 2455731 w 4071322"/>
                <a:gd name="connsiteY134" fmla="*/ 2207865 h 2983459"/>
                <a:gd name="connsiteX135" fmla="*/ 2584975 w 4071322"/>
                <a:gd name="connsiteY135" fmla="*/ 2482507 h 2983459"/>
                <a:gd name="connsiteX136" fmla="*/ 2578513 w 4071322"/>
                <a:gd name="connsiteY136" fmla="*/ 2631138 h 2983459"/>
                <a:gd name="connsiteX137" fmla="*/ 2607593 w 4071322"/>
                <a:gd name="connsiteY137" fmla="*/ 2815310 h 2983459"/>
                <a:gd name="connsiteX138" fmla="*/ 2394341 w 4071322"/>
                <a:gd name="connsiteY138" fmla="*/ 2892857 h 2983459"/>
                <a:gd name="connsiteX139" fmla="*/ 2061537 w 4071322"/>
                <a:gd name="connsiteY139" fmla="*/ 2821772 h 2983459"/>
                <a:gd name="connsiteX140" fmla="*/ 2051380 w 4071322"/>
                <a:gd name="connsiteY140" fmla="*/ 2762177 h 2983459"/>
                <a:gd name="connsiteX141" fmla="*/ 2050847 w 4071322"/>
                <a:gd name="connsiteY141" fmla="*/ 2744183 h 2983459"/>
                <a:gd name="connsiteX142" fmla="*/ 2000816 w 4071322"/>
                <a:gd name="connsiteY142" fmla="*/ 2791607 h 2983459"/>
                <a:gd name="connsiteX143" fmla="*/ 1686732 w 4071322"/>
                <a:gd name="connsiteY143" fmla="*/ 2983326 h 2983459"/>
                <a:gd name="connsiteX144" fmla="*/ 1373315 w 4071322"/>
                <a:gd name="connsiteY144" fmla="*/ 2605289 h 2983459"/>
                <a:gd name="connsiteX145" fmla="*/ 1518714 w 4071322"/>
                <a:gd name="connsiteY145" fmla="*/ 2446965 h 2983459"/>
                <a:gd name="connsiteX146" fmla="*/ 1185912 w 4071322"/>
                <a:gd name="connsiteY146" fmla="*/ 2414653 h 2983459"/>
                <a:gd name="connsiteX147" fmla="*/ 1172987 w 4071322"/>
                <a:gd name="connsiteY147" fmla="*/ 2560053 h 2983459"/>
                <a:gd name="connsiteX148" fmla="*/ 1088978 w 4071322"/>
                <a:gd name="connsiteY148" fmla="*/ 2702221 h 2983459"/>
                <a:gd name="connsiteX149" fmla="*/ 1021125 w 4071322"/>
                <a:gd name="connsiteY149" fmla="*/ 2957478 h 2983459"/>
                <a:gd name="connsiteX150" fmla="*/ 484764 w 4071322"/>
                <a:gd name="connsiteY150" fmla="*/ 2844389 h 2983459"/>
                <a:gd name="connsiteX151" fmla="*/ 497689 w 4071322"/>
                <a:gd name="connsiteY151" fmla="*/ 2656986 h 2983459"/>
                <a:gd name="connsiteX152" fmla="*/ 368445 w 4071322"/>
                <a:gd name="connsiteY152" fmla="*/ 2682835 h 2983459"/>
                <a:gd name="connsiteX153" fmla="*/ 32411 w 4071322"/>
                <a:gd name="connsiteY153" fmla="*/ 2337107 h 2983459"/>
                <a:gd name="connsiteX154" fmla="*/ 235970 w 4071322"/>
                <a:gd name="connsiteY154" fmla="*/ 1981687 h 2983459"/>
                <a:gd name="connsiteX155" fmla="*/ 255356 w 4071322"/>
                <a:gd name="connsiteY155" fmla="*/ 1626266 h 2983459"/>
                <a:gd name="connsiteX156" fmla="*/ 277973 w 4071322"/>
                <a:gd name="connsiteY156" fmla="*/ 931582 h 2983459"/>
                <a:gd name="connsiteX157" fmla="*/ 268281 w 4071322"/>
                <a:gd name="connsiteY157" fmla="*/ 1244997 h 2983459"/>
                <a:gd name="connsiteX158" fmla="*/ 1282845 w 4071322"/>
                <a:gd name="connsiteY158" fmla="*/ 602009 h 2983459"/>
                <a:gd name="connsiteX159" fmla="*/ 1583337 w 4071322"/>
                <a:gd name="connsiteY159" fmla="*/ 382295 h 2983459"/>
                <a:gd name="connsiteX160" fmla="*/ 1663554 w 4071322"/>
                <a:gd name="connsiteY160" fmla="*/ 373882 h 2983459"/>
                <a:gd name="connsiteX161" fmla="*/ 1672850 w 4071322"/>
                <a:gd name="connsiteY161" fmla="*/ 353995 h 2983459"/>
                <a:gd name="connsiteX162" fmla="*/ 1929066 w 4071322"/>
                <a:gd name="connsiteY162" fmla="*/ 107652 h 2983459"/>
                <a:gd name="connsiteX163" fmla="*/ 2403131 w 4071322"/>
                <a:gd name="connsiteY163" fmla="*/ 615 h 2983459"/>
                <a:gd name="connsiteX0" fmla="*/ 2441822 w 4078006"/>
                <a:gd name="connsiteY0" fmla="*/ 2267062 h 2983459"/>
                <a:gd name="connsiteX1" fmla="*/ 2131524 w 4078006"/>
                <a:gd name="connsiteY1" fmla="*/ 2792182 h 2983459"/>
                <a:gd name="connsiteX2" fmla="*/ 2351119 w 4078006"/>
                <a:gd name="connsiteY2" fmla="*/ 2837533 h 2983459"/>
                <a:gd name="connsiteX3" fmla="*/ 2570715 w 4078006"/>
                <a:gd name="connsiteY3" fmla="*/ 2789795 h 2983459"/>
                <a:gd name="connsiteX4" fmla="*/ 2531331 w 4078006"/>
                <a:gd name="connsiteY4" fmla="*/ 2663289 h 2983459"/>
                <a:gd name="connsiteX5" fmla="*/ 2544459 w 4078006"/>
                <a:gd name="connsiteY5" fmla="*/ 2486659 h 2983459"/>
                <a:gd name="connsiteX6" fmla="*/ 2441822 w 4078006"/>
                <a:gd name="connsiteY6" fmla="*/ 2267062 h 2983459"/>
                <a:gd name="connsiteX7" fmla="*/ 300766 w 4078006"/>
                <a:gd name="connsiteY7" fmla="*/ 2047468 h 2983459"/>
                <a:gd name="connsiteX8" fmla="*/ 118169 w 4078006"/>
                <a:gd name="connsiteY8" fmla="*/ 2318382 h 2983459"/>
                <a:gd name="connsiteX9" fmla="*/ 405790 w 4078006"/>
                <a:gd name="connsiteY9" fmla="*/ 2607197 h 2983459"/>
                <a:gd name="connsiteX10" fmla="*/ 525136 w 4078006"/>
                <a:gd name="connsiteY10" fmla="*/ 2510528 h 2983459"/>
                <a:gd name="connsiteX11" fmla="*/ 300766 w 4078006"/>
                <a:gd name="connsiteY11" fmla="*/ 2047468 h 2983459"/>
                <a:gd name="connsiteX12" fmla="*/ 2783150 w 4078006"/>
                <a:gd name="connsiteY12" fmla="*/ 769874 h 2983459"/>
                <a:gd name="connsiteX13" fmla="*/ 2729743 w 4078006"/>
                <a:gd name="connsiteY13" fmla="*/ 808065 h 2983459"/>
                <a:gd name="connsiteX14" fmla="*/ 2822362 w 4078006"/>
                <a:gd name="connsiteY14" fmla="*/ 920071 h 2983459"/>
                <a:gd name="connsiteX15" fmla="*/ 2914430 w 4078006"/>
                <a:gd name="connsiteY15" fmla="*/ 896977 h 2983459"/>
                <a:gd name="connsiteX16" fmla="*/ 2563555 w 4078006"/>
                <a:gd name="connsiteY16" fmla="*/ 1153571 h 2983459"/>
                <a:gd name="connsiteX17" fmla="*/ 2630672 w 4078006"/>
                <a:gd name="connsiteY17" fmla="*/ 1051580 h 2983459"/>
                <a:gd name="connsiteX18" fmla="*/ 2526556 w 4078006"/>
                <a:gd name="connsiteY18" fmla="*/ 958442 h 2983459"/>
                <a:gd name="connsiteX19" fmla="*/ 2462111 w 4078006"/>
                <a:gd name="connsiteY19" fmla="*/ 1012743 h 2983459"/>
                <a:gd name="connsiteX20" fmla="*/ 2783150 w 4078006"/>
                <a:gd name="connsiteY20" fmla="*/ 769874 h 2983459"/>
                <a:gd name="connsiteX21" fmla="*/ 2427663 w 4078006"/>
                <a:gd name="connsiteY21" fmla="*/ 550290 h 2983459"/>
                <a:gd name="connsiteX22" fmla="*/ 2458232 w 4078006"/>
                <a:gd name="connsiteY22" fmla="*/ 550782 h 2983459"/>
                <a:gd name="connsiteX23" fmla="*/ 2567135 w 4078006"/>
                <a:gd name="connsiteY23" fmla="*/ 567584 h 2983459"/>
                <a:gd name="connsiteX24" fmla="*/ 2314122 w 4078006"/>
                <a:gd name="connsiteY24" fmla="*/ 820596 h 2983459"/>
                <a:gd name="connsiteX25" fmla="*/ 2427663 w 4078006"/>
                <a:gd name="connsiteY25" fmla="*/ 550290 h 2983459"/>
                <a:gd name="connsiteX26" fmla="*/ 3800480 w 4078006"/>
                <a:gd name="connsiteY26" fmla="*/ 254893 h 2983459"/>
                <a:gd name="connsiteX27" fmla="*/ 3690797 w 4078006"/>
                <a:gd name="connsiteY27" fmla="*/ 441155 h 2983459"/>
                <a:gd name="connsiteX28" fmla="*/ 3527885 w 4078006"/>
                <a:gd name="connsiteY28" fmla="*/ 467805 h 2983459"/>
                <a:gd name="connsiteX29" fmla="*/ 3676954 w 4078006"/>
                <a:gd name="connsiteY29" fmla="*/ 379108 h 2983459"/>
                <a:gd name="connsiteX30" fmla="*/ 3800480 w 4078006"/>
                <a:gd name="connsiteY30" fmla="*/ 254893 h 2983459"/>
                <a:gd name="connsiteX31" fmla="*/ 2433467 w 4078006"/>
                <a:gd name="connsiteY31" fmla="*/ 87819 h 2983459"/>
                <a:gd name="connsiteX32" fmla="*/ 1762747 w 4078006"/>
                <a:gd name="connsiteY32" fmla="*/ 401696 h 2983459"/>
                <a:gd name="connsiteX33" fmla="*/ 1951891 w 4078006"/>
                <a:gd name="connsiteY33" fmla="*/ 406041 h 2983459"/>
                <a:gd name="connsiteX34" fmla="*/ 1959563 w 4078006"/>
                <a:gd name="connsiteY34" fmla="*/ 407143 h 2983459"/>
                <a:gd name="connsiteX35" fmla="*/ 1927533 w 4078006"/>
                <a:gd name="connsiteY35" fmla="*/ 415856 h 2983459"/>
                <a:gd name="connsiteX36" fmla="*/ 1600622 w 4078006"/>
                <a:gd name="connsiteY36" fmla="*/ 483859 h 2983459"/>
                <a:gd name="connsiteX37" fmla="*/ 982964 w 4078006"/>
                <a:gd name="connsiteY37" fmla="*/ 1285034 h 2983459"/>
                <a:gd name="connsiteX38" fmla="*/ 1168775 w 4078006"/>
                <a:gd name="connsiteY38" fmla="*/ 1578898 h 2983459"/>
                <a:gd name="connsiteX39" fmla="*/ 1361563 w 4078006"/>
                <a:gd name="connsiteY39" fmla="*/ 1359120 h 2983459"/>
                <a:gd name="connsiteX40" fmla="*/ 1136001 w 4078006"/>
                <a:gd name="connsiteY40" fmla="*/ 1825668 h 2983459"/>
                <a:gd name="connsiteX41" fmla="*/ 1347701 w 4078006"/>
                <a:gd name="connsiteY41" fmla="*/ 1950338 h 2983459"/>
                <a:gd name="connsiteX42" fmla="*/ 1708583 w 4078006"/>
                <a:gd name="connsiteY42" fmla="*/ 1771687 h 2983459"/>
                <a:gd name="connsiteX43" fmla="*/ 1939929 w 4078006"/>
                <a:gd name="connsiteY43" fmla="*/ 1748552 h 2983459"/>
                <a:gd name="connsiteX44" fmla="*/ 2022828 w 4078006"/>
                <a:gd name="connsiteY44" fmla="*/ 830879 h 2983459"/>
                <a:gd name="connsiteX45" fmla="*/ 2032468 w 4078006"/>
                <a:gd name="connsiteY45" fmla="*/ 1866154 h 2983459"/>
                <a:gd name="connsiteX46" fmla="*/ 2004456 w 4078006"/>
                <a:gd name="connsiteY46" fmla="*/ 1861564 h 2983459"/>
                <a:gd name="connsiteX47" fmla="*/ 1968987 w 4078006"/>
                <a:gd name="connsiteY47" fmla="*/ 1852495 h 2983459"/>
                <a:gd name="connsiteX48" fmla="*/ 1932657 w 4078006"/>
                <a:gd name="connsiteY48" fmla="*/ 1846824 h 2983459"/>
                <a:gd name="connsiteX49" fmla="*/ 1922475 w 4078006"/>
                <a:gd name="connsiteY49" fmla="*/ 1844465 h 2983459"/>
                <a:gd name="connsiteX50" fmla="*/ 1832491 w 4078006"/>
                <a:gd name="connsiteY50" fmla="*/ 1841415 h 2983459"/>
                <a:gd name="connsiteX51" fmla="*/ 1819387 w 4078006"/>
                <a:gd name="connsiteY51" fmla="*/ 1844470 h 2983459"/>
                <a:gd name="connsiteX52" fmla="*/ 1811474 w 4078006"/>
                <a:gd name="connsiteY52" fmla="*/ 1845158 h 2983459"/>
                <a:gd name="connsiteX53" fmla="*/ 1290139 w 4078006"/>
                <a:gd name="connsiteY53" fmla="*/ 2057015 h 2983459"/>
                <a:gd name="connsiteX54" fmla="*/ 993240 w 4078006"/>
                <a:gd name="connsiteY54" fmla="*/ 1821531 h 2983459"/>
                <a:gd name="connsiteX55" fmla="*/ 987156 w 4078006"/>
                <a:gd name="connsiteY55" fmla="*/ 1813649 h 2983459"/>
                <a:gd name="connsiteX56" fmla="*/ 1010042 w 4078006"/>
                <a:gd name="connsiteY56" fmla="*/ 1775406 h 2983459"/>
                <a:gd name="connsiteX57" fmla="*/ 1090833 w 4078006"/>
                <a:gd name="connsiteY57" fmla="*/ 1658401 h 2983459"/>
                <a:gd name="connsiteX58" fmla="*/ 864076 w 4078006"/>
                <a:gd name="connsiteY58" fmla="*/ 1299172 h 2983459"/>
                <a:gd name="connsiteX59" fmla="*/ 1266270 w 4078006"/>
                <a:gd name="connsiteY59" fmla="*/ 685736 h 2983459"/>
                <a:gd name="connsiteX60" fmla="*/ 202354 w 4078006"/>
                <a:gd name="connsiteY60" fmla="*/ 1315433 h 2983459"/>
                <a:gd name="connsiteX61" fmla="*/ 154182 w 4078006"/>
                <a:gd name="connsiteY61" fmla="*/ 1272061 h 2983459"/>
                <a:gd name="connsiteX62" fmla="*/ 168266 w 4078006"/>
                <a:gd name="connsiteY62" fmla="*/ 1264158 h 2983459"/>
                <a:gd name="connsiteX63" fmla="*/ 220805 w 4078006"/>
                <a:gd name="connsiteY63" fmla="*/ 999615 h 2983459"/>
                <a:gd name="connsiteX64" fmla="*/ 84952 w 4078006"/>
                <a:gd name="connsiteY64" fmla="*/ 1270717 h 2983459"/>
                <a:gd name="connsiteX65" fmla="*/ 95966 w 4078006"/>
                <a:gd name="connsiteY65" fmla="*/ 1276004 h 2983459"/>
                <a:gd name="connsiteX66" fmla="*/ 97601 w 4078006"/>
                <a:gd name="connsiteY66" fmla="*/ 1291713 h 2983459"/>
                <a:gd name="connsiteX67" fmla="*/ 359246 w 4078006"/>
                <a:gd name="connsiteY67" fmla="*/ 1476996 h 2983459"/>
                <a:gd name="connsiteX68" fmla="*/ 603067 w 4078006"/>
                <a:gd name="connsiteY68" fmla="*/ 2422013 h 2983459"/>
                <a:gd name="connsiteX69" fmla="*/ 615938 w 4078006"/>
                <a:gd name="connsiteY69" fmla="*/ 2446757 h 2983459"/>
                <a:gd name="connsiteX70" fmla="*/ 615485 w 4078006"/>
                <a:gd name="connsiteY70" fmla="*/ 2458370 h 2983459"/>
                <a:gd name="connsiteX71" fmla="*/ 596744 w 4078006"/>
                <a:gd name="connsiteY71" fmla="*/ 2638226 h 2983459"/>
                <a:gd name="connsiteX72" fmla="*/ 552586 w 4078006"/>
                <a:gd name="connsiteY72" fmla="*/ 2789795 h 2983459"/>
                <a:gd name="connsiteX73" fmla="*/ 1009678 w 4078006"/>
                <a:gd name="connsiteY73" fmla="*/ 2878111 h 2983459"/>
                <a:gd name="connsiteX74" fmla="*/ 1025194 w 4078006"/>
                <a:gd name="connsiteY74" fmla="*/ 2732510 h 2983459"/>
                <a:gd name="connsiteX75" fmla="*/ 1113509 w 4078006"/>
                <a:gd name="connsiteY75" fmla="*/ 2542750 h 2983459"/>
                <a:gd name="connsiteX76" fmla="*/ 1117239 w 4078006"/>
                <a:gd name="connsiteY76" fmla="*/ 2340609 h 2983459"/>
                <a:gd name="connsiteX77" fmla="*/ 1114454 w 4078006"/>
                <a:gd name="connsiteY77" fmla="*/ 2264619 h 2983459"/>
                <a:gd name="connsiteX78" fmla="*/ 1135711 w 4078006"/>
                <a:gd name="connsiteY78" fmla="*/ 2289370 h 2983459"/>
                <a:gd name="connsiteX79" fmla="*/ 1662496 w 4078006"/>
                <a:gd name="connsiteY79" fmla="*/ 2259902 h 2983459"/>
                <a:gd name="connsiteX80" fmla="*/ 1674431 w 4078006"/>
                <a:gd name="connsiteY80" fmla="*/ 2443694 h 2983459"/>
                <a:gd name="connsiteX81" fmla="*/ 1446482 w 4078006"/>
                <a:gd name="connsiteY81" fmla="*/ 2613164 h 2983459"/>
                <a:gd name="connsiteX82" fmla="*/ 1699493 w 4078006"/>
                <a:gd name="connsiteY82" fmla="*/ 2919882 h 2983459"/>
                <a:gd name="connsiteX83" fmla="*/ 2168521 w 4078006"/>
                <a:gd name="connsiteY83" fmla="*/ 2548718 h 2983459"/>
                <a:gd name="connsiteX84" fmla="*/ 2423920 w 4078006"/>
                <a:gd name="connsiteY84" fmla="*/ 1988988 h 2983459"/>
                <a:gd name="connsiteX85" fmla="*/ 2198293 w 4078006"/>
                <a:gd name="connsiteY85" fmla="*/ 1744629 h 2983459"/>
                <a:gd name="connsiteX86" fmla="*/ 2195696 w 4078006"/>
                <a:gd name="connsiteY86" fmla="*/ 1737830 h 2983459"/>
                <a:gd name="connsiteX87" fmla="*/ 2230731 w 4078006"/>
                <a:gd name="connsiteY87" fmla="*/ 1759883 h 2983459"/>
                <a:gd name="connsiteX88" fmla="*/ 2487173 w 4078006"/>
                <a:gd name="connsiteY88" fmla="*/ 1901867 h 2983459"/>
                <a:gd name="connsiteX89" fmla="*/ 2772408 w 4078006"/>
                <a:gd name="connsiteY89" fmla="*/ 2095206 h 2983459"/>
                <a:gd name="connsiteX90" fmla="*/ 3052870 w 4078006"/>
                <a:gd name="connsiteY90" fmla="*/ 1849354 h 2983459"/>
                <a:gd name="connsiteX91" fmla="*/ 3008712 w 4078006"/>
                <a:gd name="connsiteY91" fmla="*/ 1845774 h 2983459"/>
                <a:gd name="connsiteX92" fmla="*/ 2636848 w 4078006"/>
                <a:gd name="connsiteY92" fmla="*/ 1549438 h 2983459"/>
                <a:gd name="connsiteX93" fmla="*/ 2649216 w 4078006"/>
                <a:gd name="connsiteY93" fmla="*/ 1485537 h 2983459"/>
                <a:gd name="connsiteX94" fmla="*/ 2672662 w 4078006"/>
                <a:gd name="connsiteY94" fmla="*/ 1511089 h 2983459"/>
                <a:gd name="connsiteX95" fmla="*/ 3632889 w 4078006"/>
                <a:gd name="connsiteY95" fmla="*/ 1753877 h 2983459"/>
                <a:gd name="connsiteX96" fmla="*/ 3791618 w 4078006"/>
                <a:gd name="connsiteY96" fmla="*/ 186873 h 2983459"/>
                <a:gd name="connsiteX97" fmla="*/ 3667499 w 4078006"/>
                <a:gd name="connsiteY97" fmla="*/ 330088 h 2983459"/>
                <a:gd name="connsiteX98" fmla="*/ 3486095 w 4078006"/>
                <a:gd name="connsiteY98" fmla="*/ 421983 h 2983459"/>
                <a:gd name="connsiteX99" fmla="*/ 3372670 w 4078006"/>
                <a:gd name="connsiteY99" fmla="*/ 1235418 h 2983459"/>
                <a:gd name="connsiteX100" fmla="*/ 3352863 w 4078006"/>
                <a:gd name="connsiteY100" fmla="*/ 1251046 h 2983459"/>
                <a:gd name="connsiteX101" fmla="*/ 3357033 w 4078006"/>
                <a:gd name="connsiteY101" fmla="*/ 1243005 h 2983459"/>
                <a:gd name="connsiteX102" fmla="*/ 3400164 w 4078006"/>
                <a:gd name="connsiteY102" fmla="*/ 987681 h 2983459"/>
                <a:gd name="connsiteX103" fmla="*/ 3231888 w 4078006"/>
                <a:gd name="connsiteY103" fmla="*/ 1019904 h 2983459"/>
                <a:gd name="connsiteX104" fmla="*/ 3249789 w 4078006"/>
                <a:gd name="connsiteY104" fmla="*/ 880270 h 2983459"/>
                <a:gd name="connsiteX105" fmla="*/ 3092254 w 4078006"/>
                <a:gd name="connsiteY105" fmla="*/ 879076 h 2983459"/>
                <a:gd name="connsiteX106" fmla="*/ 3137605 w 4078006"/>
                <a:gd name="connsiteY106" fmla="*/ 775246 h 2983459"/>
                <a:gd name="connsiteX107" fmla="*/ 3046530 w 4078006"/>
                <a:gd name="connsiteY107" fmla="*/ 733176 h 2983459"/>
                <a:gd name="connsiteX108" fmla="*/ 3021289 w 4078006"/>
                <a:gd name="connsiteY108" fmla="*/ 733348 h 2983459"/>
                <a:gd name="connsiteX109" fmla="*/ 3042044 w 4078006"/>
                <a:gd name="connsiteY109" fmla="*/ 725896 h 2983459"/>
                <a:gd name="connsiteX110" fmla="*/ 3073159 w 4078006"/>
                <a:gd name="connsiteY110" fmla="*/ 716766 h 2983459"/>
                <a:gd name="connsiteX111" fmla="*/ 3223534 w 4078006"/>
                <a:gd name="connsiteY111" fmla="*/ 682156 h 2983459"/>
                <a:gd name="connsiteX112" fmla="*/ 3070772 w 4078006"/>
                <a:gd name="connsiteY112" fmla="*/ 487623 h 2983459"/>
                <a:gd name="connsiteX113" fmla="*/ 2911557 w 4078006"/>
                <a:gd name="connsiteY113" fmla="*/ 468100 h 2983459"/>
                <a:gd name="connsiteX114" fmla="*/ 2896855 w 4078006"/>
                <a:gd name="connsiteY114" fmla="*/ 467317 h 2983459"/>
                <a:gd name="connsiteX115" fmla="*/ 2896975 w 4078006"/>
                <a:gd name="connsiteY115" fmla="*/ 467001 h 2983459"/>
                <a:gd name="connsiteX116" fmla="*/ 3000358 w 4078006"/>
                <a:gd name="connsiteY116" fmla="*/ 435113 h 2983459"/>
                <a:gd name="connsiteX117" fmla="*/ 2433467 w 4078006"/>
                <a:gd name="connsiteY117" fmla="*/ 87819 h 2983459"/>
                <a:gd name="connsiteX118" fmla="*/ 2409815 w 4078006"/>
                <a:gd name="connsiteY118" fmla="*/ 615 h 2983459"/>
                <a:gd name="connsiteX119" fmla="*/ 2488267 w 4078006"/>
                <a:gd name="connsiteY119" fmla="*/ 7487 h 2983459"/>
                <a:gd name="connsiteX120" fmla="*/ 3063402 w 4078006"/>
                <a:gd name="connsiteY120" fmla="*/ 398450 h 2983459"/>
                <a:gd name="connsiteX121" fmla="*/ 3302503 w 4078006"/>
                <a:gd name="connsiteY121" fmla="*/ 679556 h 2983459"/>
                <a:gd name="connsiteX122" fmla="*/ 3260499 w 4078006"/>
                <a:gd name="connsiteY122" fmla="*/ 782951 h 2983459"/>
                <a:gd name="connsiteX123" fmla="*/ 3434777 w 4078006"/>
                <a:gd name="connsiteY123" fmla="*/ 917242 h 2983459"/>
                <a:gd name="connsiteX124" fmla="*/ 3412360 w 4078006"/>
                <a:gd name="connsiteY124" fmla="*/ 421070 h 2983459"/>
                <a:gd name="connsiteX125" fmla="*/ 3615918 w 4078006"/>
                <a:gd name="connsiteY125" fmla="*/ 291826 h 2983459"/>
                <a:gd name="connsiteX126" fmla="*/ 3774243 w 4078006"/>
                <a:gd name="connsiteY126" fmla="*/ 143197 h 2983459"/>
                <a:gd name="connsiteX127" fmla="*/ 4077965 w 4078006"/>
                <a:gd name="connsiteY127" fmla="*/ 973587 h 2983459"/>
                <a:gd name="connsiteX128" fmla="*/ 3577146 w 4078006"/>
                <a:gd name="connsiteY128" fmla="*/ 1881525 h 2983459"/>
                <a:gd name="connsiteX129" fmla="*/ 3151512 w 4078006"/>
                <a:gd name="connsiteY129" fmla="*/ 1891067 h 2983459"/>
                <a:gd name="connsiteX130" fmla="*/ 3098270 w 4078006"/>
                <a:gd name="connsiteY130" fmla="*/ 1872530 h 2983459"/>
                <a:gd name="connsiteX131" fmla="*/ 3091880 w 4078006"/>
                <a:gd name="connsiteY131" fmla="*/ 1902782 h 2983459"/>
                <a:gd name="connsiteX132" fmla="*/ 2762907 w 4078006"/>
                <a:gd name="connsiteY132" fmla="*/ 2169092 h 2983459"/>
                <a:gd name="connsiteX133" fmla="*/ 2475340 w 4078006"/>
                <a:gd name="connsiteY133" fmla="*/ 2039848 h 2983459"/>
                <a:gd name="connsiteX134" fmla="*/ 2462415 w 4078006"/>
                <a:gd name="connsiteY134" fmla="*/ 2207865 h 2983459"/>
                <a:gd name="connsiteX135" fmla="*/ 2591659 w 4078006"/>
                <a:gd name="connsiteY135" fmla="*/ 2482507 h 2983459"/>
                <a:gd name="connsiteX136" fmla="*/ 2585197 w 4078006"/>
                <a:gd name="connsiteY136" fmla="*/ 2631138 h 2983459"/>
                <a:gd name="connsiteX137" fmla="*/ 2614277 w 4078006"/>
                <a:gd name="connsiteY137" fmla="*/ 2815310 h 2983459"/>
                <a:gd name="connsiteX138" fmla="*/ 2401025 w 4078006"/>
                <a:gd name="connsiteY138" fmla="*/ 2892857 h 2983459"/>
                <a:gd name="connsiteX139" fmla="*/ 2068221 w 4078006"/>
                <a:gd name="connsiteY139" fmla="*/ 2821772 h 2983459"/>
                <a:gd name="connsiteX140" fmla="*/ 2058064 w 4078006"/>
                <a:gd name="connsiteY140" fmla="*/ 2762177 h 2983459"/>
                <a:gd name="connsiteX141" fmla="*/ 2057531 w 4078006"/>
                <a:gd name="connsiteY141" fmla="*/ 2744183 h 2983459"/>
                <a:gd name="connsiteX142" fmla="*/ 2007500 w 4078006"/>
                <a:gd name="connsiteY142" fmla="*/ 2791607 h 2983459"/>
                <a:gd name="connsiteX143" fmla="*/ 1693416 w 4078006"/>
                <a:gd name="connsiteY143" fmla="*/ 2983326 h 2983459"/>
                <a:gd name="connsiteX144" fmla="*/ 1379999 w 4078006"/>
                <a:gd name="connsiteY144" fmla="*/ 2605289 h 2983459"/>
                <a:gd name="connsiteX145" fmla="*/ 1525398 w 4078006"/>
                <a:gd name="connsiteY145" fmla="*/ 2446965 h 2983459"/>
                <a:gd name="connsiteX146" fmla="*/ 1192596 w 4078006"/>
                <a:gd name="connsiteY146" fmla="*/ 2414653 h 2983459"/>
                <a:gd name="connsiteX147" fmla="*/ 1179671 w 4078006"/>
                <a:gd name="connsiteY147" fmla="*/ 2560053 h 2983459"/>
                <a:gd name="connsiteX148" fmla="*/ 1095662 w 4078006"/>
                <a:gd name="connsiteY148" fmla="*/ 2702221 h 2983459"/>
                <a:gd name="connsiteX149" fmla="*/ 1027809 w 4078006"/>
                <a:gd name="connsiteY149" fmla="*/ 2957478 h 2983459"/>
                <a:gd name="connsiteX150" fmla="*/ 491448 w 4078006"/>
                <a:gd name="connsiteY150" fmla="*/ 2844389 h 2983459"/>
                <a:gd name="connsiteX151" fmla="*/ 504373 w 4078006"/>
                <a:gd name="connsiteY151" fmla="*/ 2656986 h 2983459"/>
                <a:gd name="connsiteX152" fmla="*/ 375129 w 4078006"/>
                <a:gd name="connsiteY152" fmla="*/ 2682835 h 2983459"/>
                <a:gd name="connsiteX153" fmla="*/ 39095 w 4078006"/>
                <a:gd name="connsiteY153" fmla="*/ 2337107 h 2983459"/>
                <a:gd name="connsiteX154" fmla="*/ 242654 w 4078006"/>
                <a:gd name="connsiteY154" fmla="*/ 1981687 h 2983459"/>
                <a:gd name="connsiteX155" fmla="*/ 262040 w 4078006"/>
                <a:gd name="connsiteY155" fmla="*/ 1626266 h 2983459"/>
                <a:gd name="connsiteX156" fmla="*/ 274963 w 4078006"/>
                <a:gd name="connsiteY156" fmla="*/ 928351 h 2983459"/>
                <a:gd name="connsiteX157" fmla="*/ 274965 w 4078006"/>
                <a:gd name="connsiteY157" fmla="*/ 1244997 h 2983459"/>
                <a:gd name="connsiteX158" fmla="*/ 1289529 w 4078006"/>
                <a:gd name="connsiteY158" fmla="*/ 602009 h 2983459"/>
                <a:gd name="connsiteX159" fmla="*/ 1590021 w 4078006"/>
                <a:gd name="connsiteY159" fmla="*/ 382295 h 2983459"/>
                <a:gd name="connsiteX160" fmla="*/ 1670238 w 4078006"/>
                <a:gd name="connsiteY160" fmla="*/ 373882 h 2983459"/>
                <a:gd name="connsiteX161" fmla="*/ 1679534 w 4078006"/>
                <a:gd name="connsiteY161" fmla="*/ 353995 h 2983459"/>
                <a:gd name="connsiteX162" fmla="*/ 1935750 w 4078006"/>
                <a:gd name="connsiteY162" fmla="*/ 107652 h 2983459"/>
                <a:gd name="connsiteX163" fmla="*/ 2409815 w 4078006"/>
                <a:gd name="connsiteY163" fmla="*/ 615 h 2983459"/>
                <a:gd name="connsiteX0" fmla="*/ 2441822 w 4078006"/>
                <a:gd name="connsiteY0" fmla="*/ 2267062 h 2983459"/>
                <a:gd name="connsiteX1" fmla="*/ 2131524 w 4078006"/>
                <a:gd name="connsiteY1" fmla="*/ 2792182 h 2983459"/>
                <a:gd name="connsiteX2" fmla="*/ 2351119 w 4078006"/>
                <a:gd name="connsiteY2" fmla="*/ 2837533 h 2983459"/>
                <a:gd name="connsiteX3" fmla="*/ 2570715 w 4078006"/>
                <a:gd name="connsiteY3" fmla="*/ 2789795 h 2983459"/>
                <a:gd name="connsiteX4" fmla="*/ 2531331 w 4078006"/>
                <a:gd name="connsiteY4" fmla="*/ 2663289 h 2983459"/>
                <a:gd name="connsiteX5" fmla="*/ 2544459 w 4078006"/>
                <a:gd name="connsiteY5" fmla="*/ 2486659 h 2983459"/>
                <a:gd name="connsiteX6" fmla="*/ 2441822 w 4078006"/>
                <a:gd name="connsiteY6" fmla="*/ 2267062 h 2983459"/>
                <a:gd name="connsiteX7" fmla="*/ 300766 w 4078006"/>
                <a:gd name="connsiteY7" fmla="*/ 2047468 h 2983459"/>
                <a:gd name="connsiteX8" fmla="*/ 118169 w 4078006"/>
                <a:gd name="connsiteY8" fmla="*/ 2318382 h 2983459"/>
                <a:gd name="connsiteX9" fmla="*/ 405790 w 4078006"/>
                <a:gd name="connsiteY9" fmla="*/ 2607197 h 2983459"/>
                <a:gd name="connsiteX10" fmla="*/ 525136 w 4078006"/>
                <a:gd name="connsiteY10" fmla="*/ 2510528 h 2983459"/>
                <a:gd name="connsiteX11" fmla="*/ 300766 w 4078006"/>
                <a:gd name="connsiteY11" fmla="*/ 2047468 h 2983459"/>
                <a:gd name="connsiteX12" fmla="*/ 2783150 w 4078006"/>
                <a:gd name="connsiteY12" fmla="*/ 769874 h 2983459"/>
                <a:gd name="connsiteX13" fmla="*/ 2729743 w 4078006"/>
                <a:gd name="connsiteY13" fmla="*/ 808065 h 2983459"/>
                <a:gd name="connsiteX14" fmla="*/ 2822362 w 4078006"/>
                <a:gd name="connsiteY14" fmla="*/ 920071 h 2983459"/>
                <a:gd name="connsiteX15" fmla="*/ 2914430 w 4078006"/>
                <a:gd name="connsiteY15" fmla="*/ 896977 h 2983459"/>
                <a:gd name="connsiteX16" fmla="*/ 2563555 w 4078006"/>
                <a:gd name="connsiteY16" fmla="*/ 1153571 h 2983459"/>
                <a:gd name="connsiteX17" fmla="*/ 2630672 w 4078006"/>
                <a:gd name="connsiteY17" fmla="*/ 1051580 h 2983459"/>
                <a:gd name="connsiteX18" fmla="*/ 2526556 w 4078006"/>
                <a:gd name="connsiteY18" fmla="*/ 958442 h 2983459"/>
                <a:gd name="connsiteX19" fmla="*/ 2462111 w 4078006"/>
                <a:gd name="connsiteY19" fmla="*/ 1012743 h 2983459"/>
                <a:gd name="connsiteX20" fmla="*/ 2783150 w 4078006"/>
                <a:gd name="connsiteY20" fmla="*/ 769874 h 2983459"/>
                <a:gd name="connsiteX21" fmla="*/ 2427663 w 4078006"/>
                <a:gd name="connsiteY21" fmla="*/ 550290 h 2983459"/>
                <a:gd name="connsiteX22" fmla="*/ 2458232 w 4078006"/>
                <a:gd name="connsiteY22" fmla="*/ 550782 h 2983459"/>
                <a:gd name="connsiteX23" fmla="*/ 2567135 w 4078006"/>
                <a:gd name="connsiteY23" fmla="*/ 567584 h 2983459"/>
                <a:gd name="connsiteX24" fmla="*/ 2314122 w 4078006"/>
                <a:gd name="connsiteY24" fmla="*/ 820596 h 2983459"/>
                <a:gd name="connsiteX25" fmla="*/ 2427663 w 4078006"/>
                <a:gd name="connsiteY25" fmla="*/ 550290 h 2983459"/>
                <a:gd name="connsiteX26" fmla="*/ 3800480 w 4078006"/>
                <a:gd name="connsiteY26" fmla="*/ 254893 h 2983459"/>
                <a:gd name="connsiteX27" fmla="*/ 3690797 w 4078006"/>
                <a:gd name="connsiteY27" fmla="*/ 441155 h 2983459"/>
                <a:gd name="connsiteX28" fmla="*/ 3527885 w 4078006"/>
                <a:gd name="connsiteY28" fmla="*/ 467805 h 2983459"/>
                <a:gd name="connsiteX29" fmla="*/ 3676954 w 4078006"/>
                <a:gd name="connsiteY29" fmla="*/ 379108 h 2983459"/>
                <a:gd name="connsiteX30" fmla="*/ 3800480 w 4078006"/>
                <a:gd name="connsiteY30" fmla="*/ 254893 h 2983459"/>
                <a:gd name="connsiteX31" fmla="*/ 2433467 w 4078006"/>
                <a:gd name="connsiteY31" fmla="*/ 87819 h 2983459"/>
                <a:gd name="connsiteX32" fmla="*/ 1762747 w 4078006"/>
                <a:gd name="connsiteY32" fmla="*/ 401696 h 2983459"/>
                <a:gd name="connsiteX33" fmla="*/ 1951891 w 4078006"/>
                <a:gd name="connsiteY33" fmla="*/ 406041 h 2983459"/>
                <a:gd name="connsiteX34" fmla="*/ 1959563 w 4078006"/>
                <a:gd name="connsiteY34" fmla="*/ 407143 h 2983459"/>
                <a:gd name="connsiteX35" fmla="*/ 1927533 w 4078006"/>
                <a:gd name="connsiteY35" fmla="*/ 415856 h 2983459"/>
                <a:gd name="connsiteX36" fmla="*/ 1600622 w 4078006"/>
                <a:gd name="connsiteY36" fmla="*/ 483859 h 2983459"/>
                <a:gd name="connsiteX37" fmla="*/ 982964 w 4078006"/>
                <a:gd name="connsiteY37" fmla="*/ 1285034 h 2983459"/>
                <a:gd name="connsiteX38" fmla="*/ 1168775 w 4078006"/>
                <a:gd name="connsiteY38" fmla="*/ 1578898 h 2983459"/>
                <a:gd name="connsiteX39" fmla="*/ 1361563 w 4078006"/>
                <a:gd name="connsiteY39" fmla="*/ 1359120 h 2983459"/>
                <a:gd name="connsiteX40" fmla="*/ 1136001 w 4078006"/>
                <a:gd name="connsiteY40" fmla="*/ 1825668 h 2983459"/>
                <a:gd name="connsiteX41" fmla="*/ 1347701 w 4078006"/>
                <a:gd name="connsiteY41" fmla="*/ 1950338 h 2983459"/>
                <a:gd name="connsiteX42" fmla="*/ 1708583 w 4078006"/>
                <a:gd name="connsiteY42" fmla="*/ 1771687 h 2983459"/>
                <a:gd name="connsiteX43" fmla="*/ 1939929 w 4078006"/>
                <a:gd name="connsiteY43" fmla="*/ 1748552 h 2983459"/>
                <a:gd name="connsiteX44" fmla="*/ 2022828 w 4078006"/>
                <a:gd name="connsiteY44" fmla="*/ 830879 h 2983459"/>
                <a:gd name="connsiteX45" fmla="*/ 2032468 w 4078006"/>
                <a:gd name="connsiteY45" fmla="*/ 1866154 h 2983459"/>
                <a:gd name="connsiteX46" fmla="*/ 2004456 w 4078006"/>
                <a:gd name="connsiteY46" fmla="*/ 1861564 h 2983459"/>
                <a:gd name="connsiteX47" fmla="*/ 1968987 w 4078006"/>
                <a:gd name="connsiteY47" fmla="*/ 1852495 h 2983459"/>
                <a:gd name="connsiteX48" fmla="*/ 1932657 w 4078006"/>
                <a:gd name="connsiteY48" fmla="*/ 1846824 h 2983459"/>
                <a:gd name="connsiteX49" fmla="*/ 1922475 w 4078006"/>
                <a:gd name="connsiteY49" fmla="*/ 1844465 h 2983459"/>
                <a:gd name="connsiteX50" fmla="*/ 1832491 w 4078006"/>
                <a:gd name="connsiteY50" fmla="*/ 1841415 h 2983459"/>
                <a:gd name="connsiteX51" fmla="*/ 1819387 w 4078006"/>
                <a:gd name="connsiteY51" fmla="*/ 1844470 h 2983459"/>
                <a:gd name="connsiteX52" fmla="*/ 1811474 w 4078006"/>
                <a:gd name="connsiteY52" fmla="*/ 1845158 h 2983459"/>
                <a:gd name="connsiteX53" fmla="*/ 1290139 w 4078006"/>
                <a:gd name="connsiteY53" fmla="*/ 2057015 h 2983459"/>
                <a:gd name="connsiteX54" fmla="*/ 993240 w 4078006"/>
                <a:gd name="connsiteY54" fmla="*/ 1821531 h 2983459"/>
                <a:gd name="connsiteX55" fmla="*/ 987156 w 4078006"/>
                <a:gd name="connsiteY55" fmla="*/ 1813649 h 2983459"/>
                <a:gd name="connsiteX56" fmla="*/ 1010042 w 4078006"/>
                <a:gd name="connsiteY56" fmla="*/ 1775406 h 2983459"/>
                <a:gd name="connsiteX57" fmla="*/ 1090833 w 4078006"/>
                <a:gd name="connsiteY57" fmla="*/ 1658401 h 2983459"/>
                <a:gd name="connsiteX58" fmla="*/ 864076 w 4078006"/>
                <a:gd name="connsiteY58" fmla="*/ 1299172 h 2983459"/>
                <a:gd name="connsiteX59" fmla="*/ 1266270 w 4078006"/>
                <a:gd name="connsiteY59" fmla="*/ 685736 h 2983459"/>
                <a:gd name="connsiteX60" fmla="*/ 202354 w 4078006"/>
                <a:gd name="connsiteY60" fmla="*/ 1315433 h 2983459"/>
                <a:gd name="connsiteX61" fmla="*/ 154182 w 4078006"/>
                <a:gd name="connsiteY61" fmla="*/ 1272061 h 2983459"/>
                <a:gd name="connsiteX62" fmla="*/ 168266 w 4078006"/>
                <a:gd name="connsiteY62" fmla="*/ 1264158 h 2983459"/>
                <a:gd name="connsiteX63" fmla="*/ 220805 w 4078006"/>
                <a:gd name="connsiteY63" fmla="*/ 999615 h 2983459"/>
                <a:gd name="connsiteX64" fmla="*/ 84952 w 4078006"/>
                <a:gd name="connsiteY64" fmla="*/ 1270717 h 2983459"/>
                <a:gd name="connsiteX65" fmla="*/ 95966 w 4078006"/>
                <a:gd name="connsiteY65" fmla="*/ 1276004 h 2983459"/>
                <a:gd name="connsiteX66" fmla="*/ 97601 w 4078006"/>
                <a:gd name="connsiteY66" fmla="*/ 1291713 h 2983459"/>
                <a:gd name="connsiteX67" fmla="*/ 359246 w 4078006"/>
                <a:gd name="connsiteY67" fmla="*/ 1476996 h 2983459"/>
                <a:gd name="connsiteX68" fmla="*/ 603067 w 4078006"/>
                <a:gd name="connsiteY68" fmla="*/ 2422013 h 2983459"/>
                <a:gd name="connsiteX69" fmla="*/ 615938 w 4078006"/>
                <a:gd name="connsiteY69" fmla="*/ 2446757 h 2983459"/>
                <a:gd name="connsiteX70" fmla="*/ 615485 w 4078006"/>
                <a:gd name="connsiteY70" fmla="*/ 2458370 h 2983459"/>
                <a:gd name="connsiteX71" fmla="*/ 596744 w 4078006"/>
                <a:gd name="connsiteY71" fmla="*/ 2638226 h 2983459"/>
                <a:gd name="connsiteX72" fmla="*/ 552586 w 4078006"/>
                <a:gd name="connsiteY72" fmla="*/ 2789795 h 2983459"/>
                <a:gd name="connsiteX73" fmla="*/ 1009678 w 4078006"/>
                <a:gd name="connsiteY73" fmla="*/ 2878111 h 2983459"/>
                <a:gd name="connsiteX74" fmla="*/ 1025194 w 4078006"/>
                <a:gd name="connsiteY74" fmla="*/ 2732510 h 2983459"/>
                <a:gd name="connsiteX75" fmla="*/ 1113509 w 4078006"/>
                <a:gd name="connsiteY75" fmla="*/ 2542750 h 2983459"/>
                <a:gd name="connsiteX76" fmla="*/ 1117239 w 4078006"/>
                <a:gd name="connsiteY76" fmla="*/ 2340609 h 2983459"/>
                <a:gd name="connsiteX77" fmla="*/ 1114454 w 4078006"/>
                <a:gd name="connsiteY77" fmla="*/ 2264619 h 2983459"/>
                <a:gd name="connsiteX78" fmla="*/ 1135711 w 4078006"/>
                <a:gd name="connsiteY78" fmla="*/ 2289370 h 2983459"/>
                <a:gd name="connsiteX79" fmla="*/ 1662496 w 4078006"/>
                <a:gd name="connsiteY79" fmla="*/ 2259902 h 2983459"/>
                <a:gd name="connsiteX80" fmla="*/ 1674431 w 4078006"/>
                <a:gd name="connsiteY80" fmla="*/ 2443694 h 2983459"/>
                <a:gd name="connsiteX81" fmla="*/ 1446482 w 4078006"/>
                <a:gd name="connsiteY81" fmla="*/ 2613164 h 2983459"/>
                <a:gd name="connsiteX82" fmla="*/ 1699493 w 4078006"/>
                <a:gd name="connsiteY82" fmla="*/ 2919882 h 2983459"/>
                <a:gd name="connsiteX83" fmla="*/ 2168521 w 4078006"/>
                <a:gd name="connsiteY83" fmla="*/ 2548718 h 2983459"/>
                <a:gd name="connsiteX84" fmla="*/ 2423920 w 4078006"/>
                <a:gd name="connsiteY84" fmla="*/ 1988988 h 2983459"/>
                <a:gd name="connsiteX85" fmla="*/ 2198293 w 4078006"/>
                <a:gd name="connsiteY85" fmla="*/ 1744629 h 2983459"/>
                <a:gd name="connsiteX86" fmla="*/ 2195696 w 4078006"/>
                <a:gd name="connsiteY86" fmla="*/ 1737830 h 2983459"/>
                <a:gd name="connsiteX87" fmla="*/ 2230731 w 4078006"/>
                <a:gd name="connsiteY87" fmla="*/ 1759883 h 2983459"/>
                <a:gd name="connsiteX88" fmla="*/ 2487173 w 4078006"/>
                <a:gd name="connsiteY88" fmla="*/ 1901867 h 2983459"/>
                <a:gd name="connsiteX89" fmla="*/ 2772408 w 4078006"/>
                <a:gd name="connsiteY89" fmla="*/ 2095206 h 2983459"/>
                <a:gd name="connsiteX90" fmla="*/ 3052870 w 4078006"/>
                <a:gd name="connsiteY90" fmla="*/ 1849354 h 2983459"/>
                <a:gd name="connsiteX91" fmla="*/ 3008712 w 4078006"/>
                <a:gd name="connsiteY91" fmla="*/ 1845774 h 2983459"/>
                <a:gd name="connsiteX92" fmla="*/ 2636848 w 4078006"/>
                <a:gd name="connsiteY92" fmla="*/ 1549438 h 2983459"/>
                <a:gd name="connsiteX93" fmla="*/ 2649216 w 4078006"/>
                <a:gd name="connsiteY93" fmla="*/ 1485537 h 2983459"/>
                <a:gd name="connsiteX94" fmla="*/ 2672662 w 4078006"/>
                <a:gd name="connsiteY94" fmla="*/ 1511089 h 2983459"/>
                <a:gd name="connsiteX95" fmla="*/ 3632889 w 4078006"/>
                <a:gd name="connsiteY95" fmla="*/ 1753877 h 2983459"/>
                <a:gd name="connsiteX96" fmla="*/ 3791618 w 4078006"/>
                <a:gd name="connsiteY96" fmla="*/ 186873 h 2983459"/>
                <a:gd name="connsiteX97" fmla="*/ 3667499 w 4078006"/>
                <a:gd name="connsiteY97" fmla="*/ 330088 h 2983459"/>
                <a:gd name="connsiteX98" fmla="*/ 3486095 w 4078006"/>
                <a:gd name="connsiteY98" fmla="*/ 421983 h 2983459"/>
                <a:gd name="connsiteX99" fmla="*/ 3372670 w 4078006"/>
                <a:gd name="connsiteY99" fmla="*/ 1235418 h 2983459"/>
                <a:gd name="connsiteX100" fmla="*/ 3352863 w 4078006"/>
                <a:gd name="connsiteY100" fmla="*/ 1251046 h 2983459"/>
                <a:gd name="connsiteX101" fmla="*/ 3357033 w 4078006"/>
                <a:gd name="connsiteY101" fmla="*/ 1243005 h 2983459"/>
                <a:gd name="connsiteX102" fmla="*/ 3400164 w 4078006"/>
                <a:gd name="connsiteY102" fmla="*/ 987681 h 2983459"/>
                <a:gd name="connsiteX103" fmla="*/ 3231888 w 4078006"/>
                <a:gd name="connsiteY103" fmla="*/ 1019904 h 2983459"/>
                <a:gd name="connsiteX104" fmla="*/ 3249789 w 4078006"/>
                <a:gd name="connsiteY104" fmla="*/ 880270 h 2983459"/>
                <a:gd name="connsiteX105" fmla="*/ 3092254 w 4078006"/>
                <a:gd name="connsiteY105" fmla="*/ 879076 h 2983459"/>
                <a:gd name="connsiteX106" fmla="*/ 3137605 w 4078006"/>
                <a:gd name="connsiteY106" fmla="*/ 775246 h 2983459"/>
                <a:gd name="connsiteX107" fmla="*/ 3046530 w 4078006"/>
                <a:gd name="connsiteY107" fmla="*/ 733176 h 2983459"/>
                <a:gd name="connsiteX108" fmla="*/ 3021289 w 4078006"/>
                <a:gd name="connsiteY108" fmla="*/ 733348 h 2983459"/>
                <a:gd name="connsiteX109" fmla="*/ 3042044 w 4078006"/>
                <a:gd name="connsiteY109" fmla="*/ 725896 h 2983459"/>
                <a:gd name="connsiteX110" fmla="*/ 3073159 w 4078006"/>
                <a:gd name="connsiteY110" fmla="*/ 716766 h 2983459"/>
                <a:gd name="connsiteX111" fmla="*/ 3223534 w 4078006"/>
                <a:gd name="connsiteY111" fmla="*/ 682156 h 2983459"/>
                <a:gd name="connsiteX112" fmla="*/ 3070772 w 4078006"/>
                <a:gd name="connsiteY112" fmla="*/ 487623 h 2983459"/>
                <a:gd name="connsiteX113" fmla="*/ 2911557 w 4078006"/>
                <a:gd name="connsiteY113" fmla="*/ 468100 h 2983459"/>
                <a:gd name="connsiteX114" fmla="*/ 2896855 w 4078006"/>
                <a:gd name="connsiteY114" fmla="*/ 467317 h 2983459"/>
                <a:gd name="connsiteX115" fmla="*/ 2896975 w 4078006"/>
                <a:gd name="connsiteY115" fmla="*/ 467001 h 2983459"/>
                <a:gd name="connsiteX116" fmla="*/ 3000358 w 4078006"/>
                <a:gd name="connsiteY116" fmla="*/ 435113 h 2983459"/>
                <a:gd name="connsiteX117" fmla="*/ 2433467 w 4078006"/>
                <a:gd name="connsiteY117" fmla="*/ 87819 h 2983459"/>
                <a:gd name="connsiteX118" fmla="*/ 2409815 w 4078006"/>
                <a:gd name="connsiteY118" fmla="*/ 615 h 2983459"/>
                <a:gd name="connsiteX119" fmla="*/ 2488267 w 4078006"/>
                <a:gd name="connsiteY119" fmla="*/ 7487 h 2983459"/>
                <a:gd name="connsiteX120" fmla="*/ 3063402 w 4078006"/>
                <a:gd name="connsiteY120" fmla="*/ 398450 h 2983459"/>
                <a:gd name="connsiteX121" fmla="*/ 3302503 w 4078006"/>
                <a:gd name="connsiteY121" fmla="*/ 679556 h 2983459"/>
                <a:gd name="connsiteX122" fmla="*/ 3260499 w 4078006"/>
                <a:gd name="connsiteY122" fmla="*/ 782951 h 2983459"/>
                <a:gd name="connsiteX123" fmla="*/ 3434777 w 4078006"/>
                <a:gd name="connsiteY123" fmla="*/ 917242 h 2983459"/>
                <a:gd name="connsiteX124" fmla="*/ 3412360 w 4078006"/>
                <a:gd name="connsiteY124" fmla="*/ 421070 h 2983459"/>
                <a:gd name="connsiteX125" fmla="*/ 3615918 w 4078006"/>
                <a:gd name="connsiteY125" fmla="*/ 291826 h 2983459"/>
                <a:gd name="connsiteX126" fmla="*/ 3774243 w 4078006"/>
                <a:gd name="connsiteY126" fmla="*/ 143197 h 2983459"/>
                <a:gd name="connsiteX127" fmla="*/ 4077965 w 4078006"/>
                <a:gd name="connsiteY127" fmla="*/ 973587 h 2983459"/>
                <a:gd name="connsiteX128" fmla="*/ 3577146 w 4078006"/>
                <a:gd name="connsiteY128" fmla="*/ 1881525 h 2983459"/>
                <a:gd name="connsiteX129" fmla="*/ 3151512 w 4078006"/>
                <a:gd name="connsiteY129" fmla="*/ 1891067 h 2983459"/>
                <a:gd name="connsiteX130" fmla="*/ 3098270 w 4078006"/>
                <a:gd name="connsiteY130" fmla="*/ 1872530 h 2983459"/>
                <a:gd name="connsiteX131" fmla="*/ 3091880 w 4078006"/>
                <a:gd name="connsiteY131" fmla="*/ 1902782 h 2983459"/>
                <a:gd name="connsiteX132" fmla="*/ 2762907 w 4078006"/>
                <a:gd name="connsiteY132" fmla="*/ 2169092 h 2983459"/>
                <a:gd name="connsiteX133" fmla="*/ 2475340 w 4078006"/>
                <a:gd name="connsiteY133" fmla="*/ 2039848 h 2983459"/>
                <a:gd name="connsiteX134" fmla="*/ 2462415 w 4078006"/>
                <a:gd name="connsiteY134" fmla="*/ 2207865 h 2983459"/>
                <a:gd name="connsiteX135" fmla="*/ 2591659 w 4078006"/>
                <a:gd name="connsiteY135" fmla="*/ 2482507 h 2983459"/>
                <a:gd name="connsiteX136" fmla="*/ 2585197 w 4078006"/>
                <a:gd name="connsiteY136" fmla="*/ 2631138 h 2983459"/>
                <a:gd name="connsiteX137" fmla="*/ 2614277 w 4078006"/>
                <a:gd name="connsiteY137" fmla="*/ 2815310 h 2983459"/>
                <a:gd name="connsiteX138" fmla="*/ 2401025 w 4078006"/>
                <a:gd name="connsiteY138" fmla="*/ 2892857 h 2983459"/>
                <a:gd name="connsiteX139" fmla="*/ 2068221 w 4078006"/>
                <a:gd name="connsiteY139" fmla="*/ 2821772 h 2983459"/>
                <a:gd name="connsiteX140" fmla="*/ 2058064 w 4078006"/>
                <a:gd name="connsiteY140" fmla="*/ 2762177 h 2983459"/>
                <a:gd name="connsiteX141" fmla="*/ 2057531 w 4078006"/>
                <a:gd name="connsiteY141" fmla="*/ 2744183 h 2983459"/>
                <a:gd name="connsiteX142" fmla="*/ 2007500 w 4078006"/>
                <a:gd name="connsiteY142" fmla="*/ 2791607 h 2983459"/>
                <a:gd name="connsiteX143" fmla="*/ 1693416 w 4078006"/>
                <a:gd name="connsiteY143" fmla="*/ 2983326 h 2983459"/>
                <a:gd name="connsiteX144" fmla="*/ 1379999 w 4078006"/>
                <a:gd name="connsiteY144" fmla="*/ 2605289 h 2983459"/>
                <a:gd name="connsiteX145" fmla="*/ 1525398 w 4078006"/>
                <a:gd name="connsiteY145" fmla="*/ 2446965 h 2983459"/>
                <a:gd name="connsiteX146" fmla="*/ 1192596 w 4078006"/>
                <a:gd name="connsiteY146" fmla="*/ 2414653 h 2983459"/>
                <a:gd name="connsiteX147" fmla="*/ 1179671 w 4078006"/>
                <a:gd name="connsiteY147" fmla="*/ 2560053 h 2983459"/>
                <a:gd name="connsiteX148" fmla="*/ 1095662 w 4078006"/>
                <a:gd name="connsiteY148" fmla="*/ 2702221 h 2983459"/>
                <a:gd name="connsiteX149" fmla="*/ 1027809 w 4078006"/>
                <a:gd name="connsiteY149" fmla="*/ 2957478 h 2983459"/>
                <a:gd name="connsiteX150" fmla="*/ 491448 w 4078006"/>
                <a:gd name="connsiteY150" fmla="*/ 2844389 h 2983459"/>
                <a:gd name="connsiteX151" fmla="*/ 504373 w 4078006"/>
                <a:gd name="connsiteY151" fmla="*/ 2656986 h 2983459"/>
                <a:gd name="connsiteX152" fmla="*/ 375129 w 4078006"/>
                <a:gd name="connsiteY152" fmla="*/ 2682835 h 2983459"/>
                <a:gd name="connsiteX153" fmla="*/ 39095 w 4078006"/>
                <a:gd name="connsiteY153" fmla="*/ 2337107 h 2983459"/>
                <a:gd name="connsiteX154" fmla="*/ 242654 w 4078006"/>
                <a:gd name="connsiteY154" fmla="*/ 1981687 h 2983459"/>
                <a:gd name="connsiteX155" fmla="*/ 262040 w 4078006"/>
                <a:gd name="connsiteY155" fmla="*/ 1626266 h 2983459"/>
                <a:gd name="connsiteX156" fmla="*/ 274963 w 4078006"/>
                <a:gd name="connsiteY156" fmla="*/ 928351 h 2983459"/>
                <a:gd name="connsiteX157" fmla="*/ 274965 w 4078006"/>
                <a:gd name="connsiteY157" fmla="*/ 1244997 h 2983459"/>
                <a:gd name="connsiteX158" fmla="*/ 1289529 w 4078006"/>
                <a:gd name="connsiteY158" fmla="*/ 602009 h 2983459"/>
                <a:gd name="connsiteX159" fmla="*/ 1590021 w 4078006"/>
                <a:gd name="connsiteY159" fmla="*/ 382295 h 2983459"/>
                <a:gd name="connsiteX160" fmla="*/ 1670238 w 4078006"/>
                <a:gd name="connsiteY160" fmla="*/ 373882 h 2983459"/>
                <a:gd name="connsiteX161" fmla="*/ 1679534 w 4078006"/>
                <a:gd name="connsiteY161" fmla="*/ 353995 h 2983459"/>
                <a:gd name="connsiteX162" fmla="*/ 1935750 w 4078006"/>
                <a:gd name="connsiteY162" fmla="*/ 107652 h 2983459"/>
                <a:gd name="connsiteX163" fmla="*/ 2409815 w 4078006"/>
                <a:gd name="connsiteY163" fmla="*/ 615 h 2983459"/>
                <a:gd name="connsiteX0" fmla="*/ 2441822 w 4078006"/>
                <a:gd name="connsiteY0" fmla="*/ 2267062 h 2983459"/>
                <a:gd name="connsiteX1" fmla="*/ 2131524 w 4078006"/>
                <a:gd name="connsiteY1" fmla="*/ 2792182 h 2983459"/>
                <a:gd name="connsiteX2" fmla="*/ 2351119 w 4078006"/>
                <a:gd name="connsiteY2" fmla="*/ 2837533 h 2983459"/>
                <a:gd name="connsiteX3" fmla="*/ 2570715 w 4078006"/>
                <a:gd name="connsiteY3" fmla="*/ 2789795 h 2983459"/>
                <a:gd name="connsiteX4" fmla="*/ 2531331 w 4078006"/>
                <a:gd name="connsiteY4" fmla="*/ 2663289 h 2983459"/>
                <a:gd name="connsiteX5" fmla="*/ 2544459 w 4078006"/>
                <a:gd name="connsiteY5" fmla="*/ 2486659 h 2983459"/>
                <a:gd name="connsiteX6" fmla="*/ 2441822 w 4078006"/>
                <a:gd name="connsiteY6" fmla="*/ 2267062 h 2983459"/>
                <a:gd name="connsiteX7" fmla="*/ 300766 w 4078006"/>
                <a:gd name="connsiteY7" fmla="*/ 2047468 h 2983459"/>
                <a:gd name="connsiteX8" fmla="*/ 118169 w 4078006"/>
                <a:gd name="connsiteY8" fmla="*/ 2318382 h 2983459"/>
                <a:gd name="connsiteX9" fmla="*/ 405790 w 4078006"/>
                <a:gd name="connsiteY9" fmla="*/ 2607197 h 2983459"/>
                <a:gd name="connsiteX10" fmla="*/ 525136 w 4078006"/>
                <a:gd name="connsiteY10" fmla="*/ 2510528 h 2983459"/>
                <a:gd name="connsiteX11" fmla="*/ 300766 w 4078006"/>
                <a:gd name="connsiteY11" fmla="*/ 2047468 h 2983459"/>
                <a:gd name="connsiteX12" fmla="*/ 2783150 w 4078006"/>
                <a:gd name="connsiteY12" fmla="*/ 769874 h 2983459"/>
                <a:gd name="connsiteX13" fmla="*/ 2729743 w 4078006"/>
                <a:gd name="connsiteY13" fmla="*/ 808065 h 2983459"/>
                <a:gd name="connsiteX14" fmla="*/ 2822362 w 4078006"/>
                <a:gd name="connsiteY14" fmla="*/ 920071 h 2983459"/>
                <a:gd name="connsiteX15" fmla="*/ 2914430 w 4078006"/>
                <a:gd name="connsiteY15" fmla="*/ 896977 h 2983459"/>
                <a:gd name="connsiteX16" fmla="*/ 2563555 w 4078006"/>
                <a:gd name="connsiteY16" fmla="*/ 1153571 h 2983459"/>
                <a:gd name="connsiteX17" fmla="*/ 2630672 w 4078006"/>
                <a:gd name="connsiteY17" fmla="*/ 1051580 h 2983459"/>
                <a:gd name="connsiteX18" fmla="*/ 2526556 w 4078006"/>
                <a:gd name="connsiteY18" fmla="*/ 958442 h 2983459"/>
                <a:gd name="connsiteX19" fmla="*/ 2462111 w 4078006"/>
                <a:gd name="connsiteY19" fmla="*/ 1012743 h 2983459"/>
                <a:gd name="connsiteX20" fmla="*/ 2783150 w 4078006"/>
                <a:gd name="connsiteY20" fmla="*/ 769874 h 2983459"/>
                <a:gd name="connsiteX21" fmla="*/ 2427663 w 4078006"/>
                <a:gd name="connsiteY21" fmla="*/ 550290 h 2983459"/>
                <a:gd name="connsiteX22" fmla="*/ 2458232 w 4078006"/>
                <a:gd name="connsiteY22" fmla="*/ 550782 h 2983459"/>
                <a:gd name="connsiteX23" fmla="*/ 2567135 w 4078006"/>
                <a:gd name="connsiteY23" fmla="*/ 567584 h 2983459"/>
                <a:gd name="connsiteX24" fmla="*/ 2314122 w 4078006"/>
                <a:gd name="connsiteY24" fmla="*/ 820596 h 2983459"/>
                <a:gd name="connsiteX25" fmla="*/ 2427663 w 4078006"/>
                <a:gd name="connsiteY25" fmla="*/ 550290 h 2983459"/>
                <a:gd name="connsiteX26" fmla="*/ 3800480 w 4078006"/>
                <a:gd name="connsiteY26" fmla="*/ 254893 h 2983459"/>
                <a:gd name="connsiteX27" fmla="*/ 3690797 w 4078006"/>
                <a:gd name="connsiteY27" fmla="*/ 441155 h 2983459"/>
                <a:gd name="connsiteX28" fmla="*/ 3527885 w 4078006"/>
                <a:gd name="connsiteY28" fmla="*/ 467805 h 2983459"/>
                <a:gd name="connsiteX29" fmla="*/ 3676954 w 4078006"/>
                <a:gd name="connsiteY29" fmla="*/ 379108 h 2983459"/>
                <a:gd name="connsiteX30" fmla="*/ 3800480 w 4078006"/>
                <a:gd name="connsiteY30" fmla="*/ 254893 h 2983459"/>
                <a:gd name="connsiteX31" fmla="*/ 2433467 w 4078006"/>
                <a:gd name="connsiteY31" fmla="*/ 87819 h 2983459"/>
                <a:gd name="connsiteX32" fmla="*/ 1762747 w 4078006"/>
                <a:gd name="connsiteY32" fmla="*/ 401696 h 2983459"/>
                <a:gd name="connsiteX33" fmla="*/ 1951891 w 4078006"/>
                <a:gd name="connsiteY33" fmla="*/ 406041 h 2983459"/>
                <a:gd name="connsiteX34" fmla="*/ 1959563 w 4078006"/>
                <a:gd name="connsiteY34" fmla="*/ 407143 h 2983459"/>
                <a:gd name="connsiteX35" fmla="*/ 1927533 w 4078006"/>
                <a:gd name="connsiteY35" fmla="*/ 415856 h 2983459"/>
                <a:gd name="connsiteX36" fmla="*/ 1600622 w 4078006"/>
                <a:gd name="connsiteY36" fmla="*/ 483859 h 2983459"/>
                <a:gd name="connsiteX37" fmla="*/ 982964 w 4078006"/>
                <a:gd name="connsiteY37" fmla="*/ 1285034 h 2983459"/>
                <a:gd name="connsiteX38" fmla="*/ 1168775 w 4078006"/>
                <a:gd name="connsiteY38" fmla="*/ 1578898 h 2983459"/>
                <a:gd name="connsiteX39" fmla="*/ 1361563 w 4078006"/>
                <a:gd name="connsiteY39" fmla="*/ 1359120 h 2983459"/>
                <a:gd name="connsiteX40" fmla="*/ 1136001 w 4078006"/>
                <a:gd name="connsiteY40" fmla="*/ 1825668 h 2983459"/>
                <a:gd name="connsiteX41" fmla="*/ 1347701 w 4078006"/>
                <a:gd name="connsiteY41" fmla="*/ 1950338 h 2983459"/>
                <a:gd name="connsiteX42" fmla="*/ 1708583 w 4078006"/>
                <a:gd name="connsiteY42" fmla="*/ 1771687 h 2983459"/>
                <a:gd name="connsiteX43" fmla="*/ 1939929 w 4078006"/>
                <a:gd name="connsiteY43" fmla="*/ 1748552 h 2983459"/>
                <a:gd name="connsiteX44" fmla="*/ 2022828 w 4078006"/>
                <a:gd name="connsiteY44" fmla="*/ 830879 h 2983459"/>
                <a:gd name="connsiteX45" fmla="*/ 2032468 w 4078006"/>
                <a:gd name="connsiteY45" fmla="*/ 1866154 h 2983459"/>
                <a:gd name="connsiteX46" fmla="*/ 2004456 w 4078006"/>
                <a:gd name="connsiteY46" fmla="*/ 1861564 h 2983459"/>
                <a:gd name="connsiteX47" fmla="*/ 1968987 w 4078006"/>
                <a:gd name="connsiteY47" fmla="*/ 1852495 h 2983459"/>
                <a:gd name="connsiteX48" fmla="*/ 1932657 w 4078006"/>
                <a:gd name="connsiteY48" fmla="*/ 1846824 h 2983459"/>
                <a:gd name="connsiteX49" fmla="*/ 1922475 w 4078006"/>
                <a:gd name="connsiteY49" fmla="*/ 1844465 h 2983459"/>
                <a:gd name="connsiteX50" fmla="*/ 1832491 w 4078006"/>
                <a:gd name="connsiteY50" fmla="*/ 1841415 h 2983459"/>
                <a:gd name="connsiteX51" fmla="*/ 1819387 w 4078006"/>
                <a:gd name="connsiteY51" fmla="*/ 1844470 h 2983459"/>
                <a:gd name="connsiteX52" fmla="*/ 1811474 w 4078006"/>
                <a:gd name="connsiteY52" fmla="*/ 1845158 h 2983459"/>
                <a:gd name="connsiteX53" fmla="*/ 1290139 w 4078006"/>
                <a:gd name="connsiteY53" fmla="*/ 2057015 h 2983459"/>
                <a:gd name="connsiteX54" fmla="*/ 993240 w 4078006"/>
                <a:gd name="connsiteY54" fmla="*/ 1821531 h 2983459"/>
                <a:gd name="connsiteX55" fmla="*/ 987156 w 4078006"/>
                <a:gd name="connsiteY55" fmla="*/ 1813649 h 2983459"/>
                <a:gd name="connsiteX56" fmla="*/ 1010042 w 4078006"/>
                <a:gd name="connsiteY56" fmla="*/ 1775406 h 2983459"/>
                <a:gd name="connsiteX57" fmla="*/ 1090833 w 4078006"/>
                <a:gd name="connsiteY57" fmla="*/ 1658401 h 2983459"/>
                <a:gd name="connsiteX58" fmla="*/ 864076 w 4078006"/>
                <a:gd name="connsiteY58" fmla="*/ 1299172 h 2983459"/>
                <a:gd name="connsiteX59" fmla="*/ 1266270 w 4078006"/>
                <a:gd name="connsiteY59" fmla="*/ 685736 h 2983459"/>
                <a:gd name="connsiteX60" fmla="*/ 202354 w 4078006"/>
                <a:gd name="connsiteY60" fmla="*/ 1315433 h 2983459"/>
                <a:gd name="connsiteX61" fmla="*/ 154182 w 4078006"/>
                <a:gd name="connsiteY61" fmla="*/ 1272061 h 2983459"/>
                <a:gd name="connsiteX62" fmla="*/ 168266 w 4078006"/>
                <a:gd name="connsiteY62" fmla="*/ 1264158 h 2983459"/>
                <a:gd name="connsiteX63" fmla="*/ 220805 w 4078006"/>
                <a:gd name="connsiteY63" fmla="*/ 999615 h 2983459"/>
                <a:gd name="connsiteX64" fmla="*/ 84952 w 4078006"/>
                <a:gd name="connsiteY64" fmla="*/ 1270717 h 2983459"/>
                <a:gd name="connsiteX65" fmla="*/ 95966 w 4078006"/>
                <a:gd name="connsiteY65" fmla="*/ 1276004 h 2983459"/>
                <a:gd name="connsiteX66" fmla="*/ 97601 w 4078006"/>
                <a:gd name="connsiteY66" fmla="*/ 1291713 h 2983459"/>
                <a:gd name="connsiteX67" fmla="*/ 359246 w 4078006"/>
                <a:gd name="connsiteY67" fmla="*/ 1476996 h 2983459"/>
                <a:gd name="connsiteX68" fmla="*/ 603067 w 4078006"/>
                <a:gd name="connsiteY68" fmla="*/ 2422013 h 2983459"/>
                <a:gd name="connsiteX69" fmla="*/ 615938 w 4078006"/>
                <a:gd name="connsiteY69" fmla="*/ 2446757 h 2983459"/>
                <a:gd name="connsiteX70" fmla="*/ 615485 w 4078006"/>
                <a:gd name="connsiteY70" fmla="*/ 2458370 h 2983459"/>
                <a:gd name="connsiteX71" fmla="*/ 596744 w 4078006"/>
                <a:gd name="connsiteY71" fmla="*/ 2638226 h 2983459"/>
                <a:gd name="connsiteX72" fmla="*/ 552586 w 4078006"/>
                <a:gd name="connsiteY72" fmla="*/ 2789795 h 2983459"/>
                <a:gd name="connsiteX73" fmla="*/ 1009678 w 4078006"/>
                <a:gd name="connsiteY73" fmla="*/ 2878111 h 2983459"/>
                <a:gd name="connsiteX74" fmla="*/ 1025194 w 4078006"/>
                <a:gd name="connsiteY74" fmla="*/ 2732510 h 2983459"/>
                <a:gd name="connsiteX75" fmla="*/ 1113509 w 4078006"/>
                <a:gd name="connsiteY75" fmla="*/ 2542750 h 2983459"/>
                <a:gd name="connsiteX76" fmla="*/ 1117239 w 4078006"/>
                <a:gd name="connsiteY76" fmla="*/ 2340609 h 2983459"/>
                <a:gd name="connsiteX77" fmla="*/ 1114454 w 4078006"/>
                <a:gd name="connsiteY77" fmla="*/ 2264619 h 2983459"/>
                <a:gd name="connsiteX78" fmla="*/ 1135711 w 4078006"/>
                <a:gd name="connsiteY78" fmla="*/ 2289370 h 2983459"/>
                <a:gd name="connsiteX79" fmla="*/ 1662496 w 4078006"/>
                <a:gd name="connsiteY79" fmla="*/ 2259902 h 2983459"/>
                <a:gd name="connsiteX80" fmla="*/ 1674431 w 4078006"/>
                <a:gd name="connsiteY80" fmla="*/ 2443694 h 2983459"/>
                <a:gd name="connsiteX81" fmla="*/ 1446482 w 4078006"/>
                <a:gd name="connsiteY81" fmla="*/ 2613164 h 2983459"/>
                <a:gd name="connsiteX82" fmla="*/ 1699493 w 4078006"/>
                <a:gd name="connsiteY82" fmla="*/ 2919882 h 2983459"/>
                <a:gd name="connsiteX83" fmla="*/ 2168521 w 4078006"/>
                <a:gd name="connsiteY83" fmla="*/ 2548718 h 2983459"/>
                <a:gd name="connsiteX84" fmla="*/ 2423920 w 4078006"/>
                <a:gd name="connsiteY84" fmla="*/ 1988988 h 2983459"/>
                <a:gd name="connsiteX85" fmla="*/ 2198293 w 4078006"/>
                <a:gd name="connsiteY85" fmla="*/ 1744629 h 2983459"/>
                <a:gd name="connsiteX86" fmla="*/ 2195696 w 4078006"/>
                <a:gd name="connsiteY86" fmla="*/ 1737830 h 2983459"/>
                <a:gd name="connsiteX87" fmla="*/ 2230731 w 4078006"/>
                <a:gd name="connsiteY87" fmla="*/ 1759883 h 2983459"/>
                <a:gd name="connsiteX88" fmla="*/ 2487173 w 4078006"/>
                <a:gd name="connsiteY88" fmla="*/ 1901867 h 2983459"/>
                <a:gd name="connsiteX89" fmla="*/ 2772408 w 4078006"/>
                <a:gd name="connsiteY89" fmla="*/ 2095206 h 2983459"/>
                <a:gd name="connsiteX90" fmla="*/ 3052870 w 4078006"/>
                <a:gd name="connsiteY90" fmla="*/ 1849354 h 2983459"/>
                <a:gd name="connsiteX91" fmla="*/ 3008712 w 4078006"/>
                <a:gd name="connsiteY91" fmla="*/ 1845774 h 2983459"/>
                <a:gd name="connsiteX92" fmla="*/ 2636848 w 4078006"/>
                <a:gd name="connsiteY92" fmla="*/ 1549438 h 2983459"/>
                <a:gd name="connsiteX93" fmla="*/ 2649216 w 4078006"/>
                <a:gd name="connsiteY93" fmla="*/ 1485537 h 2983459"/>
                <a:gd name="connsiteX94" fmla="*/ 2672662 w 4078006"/>
                <a:gd name="connsiteY94" fmla="*/ 1511089 h 2983459"/>
                <a:gd name="connsiteX95" fmla="*/ 3632889 w 4078006"/>
                <a:gd name="connsiteY95" fmla="*/ 1753877 h 2983459"/>
                <a:gd name="connsiteX96" fmla="*/ 3791618 w 4078006"/>
                <a:gd name="connsiteY96" fmla="*/ 186873 h 2983459"/>
                <a:gd name="connsiteX97" fmla="*/ 3667499 w 4078006"/>
                <a:gd name="connsiteY97" fmla="*/ 330088 h 2983459"/>
                <a:gd name="connsiteX98" fmla="*/ 3486095 w 4078006"/>
                <a:gd name="connsiteY98" fmla="*/ 421983 h 2983459"/>
                <a:gd name="connsiteX99" fmla="*/ 3372670 w 4078006"/>
                <a:gd name="connsiteY99" fmla="*/ 1235418 h 2983459"/>
                <a:gd name="connsiteX100" fmla="*/ 3352863 w 4078006"/>
                <a:gd name="connsiteY100" fmla="*/ 1251046 h 2983459"/>
                <a:gd name="connsiteX101" fmla="*/ 3357033 w 4078006"/>
                <a:gd name="connsiteY101" fmla="*/ 1243005 h 2983459"/>
                <a:gd name="connsiteX102" fmla="*/ 3400164 w 4078006"/>
                <a:gd name="connsiteY102" fmla="*/ 987681 h 2983459"/>
                <a:gd name="connsiteX103" fmla="*/ 3231888 w 4078006"/>
                <a:gd name="connsiteY103" fmla="*/ 1019904 h 2983459"/>
                <a:gd name="connsiteX104" fmla="*/ 3249789 w 4078006"/>
                <a:gd name="connsiteY104" fmla="*/ 880270 h 2983459"/>
                <a:gd name="connsiteX105" fmla="*/ 3092254 w 4078006"/>
                <a:gd name="connsiteY105" fmla="*/ 879076 h 2983459"/>
                <a:gd name="connsiteX106" fmla="*/ 3137605 w 4078006"/>
                <a:gd name="connsiteY106" fmla="*/ 775246 h 2983459"/>
                <a:gd name="connsiteX107" fmla="*/ 3046530 w 4078006"/>
                <a:gd name="connsiteY107" fmla="*/ 733176 h 2983459"/>
                <a:gd name="connsiteX108" fmla="*/ 3021289 w 4078006"/>
                <a:gd name="connsiteY108" fmla="*/ 733348 h 2983459"/>
                <a:gd name="connsiteX109" fmla="*/ 3042044 w 4078006"/>
                <a:gd name="connsiteY109" fmla="*/ 725896 h 2983459"/>
                <a:gd name="connsiteX110" fmla="*/ 3073159 w 4078006"/>
                <a:gd name="connsiteY110" fmla="*/ 716766 h 2983459"/>
                <a:gd name="connsiteX111" fmla="*/ 3223534 w 4078006"/>
                <a:gd name="connsiteY111" fmla="*/ 682156 h 2983459"/>
                <a:gd name="connsiteX112" fmla="*/ 3070772 w 4078006"/>
                <a:gd name="connsiteY112" fmla="*/ 487623 h 2983459"/>
                <a:gd name="connsiteX113" fmla="*/ 2911557 w 4078006"/>
                <a:gd name="connsiteY113" fmla="*/ 468100 h 2983459"/>
                <a:gd name="connsiteX114" fmla="*/ 2896855 w 4078006"/>
                <a:gd name="connsiteY114" fmla="*/ 467317 h 2983459"/>
                <a:gd name="connsiteX115" fmla="*/ 2896975 w 4078006"/>
                <a:gd name="connsiteY115" fmla="*/ 467001 h 2983459"/>
                <a:gd name="connsiteX116" fmla="*/ 3000358 w 4078006"/>
                <a:gd name="connsiteY116" fmla="*/ 435113 h 2983459"/>
                <a:gd name="connsiteX117" fmla="*/ 2433467 w 4078006"/>
                <a:gd name="connsiteY117" fmla="*/ 87819 h 2983459"/>
                <a:gd name="connsiteX118" fmla="*/ 2409815 w 4078006"/>
                <a:gd name="connsiteY118" fmla="*/ 615 h 2983459"/>
                <a:gd name="connsiteX119" fmla="*/ 2488267 w 4078006"/>
                <a:gd name="connsiteY119" fmla="*/ 7487 h 2983459"/>
                <a:gd name="connsiteX120" fmla="*/ 3063402 w 4078006"/>
                <a:gd name="connsiteY120" fmla="*/ 398450 h 2983459"/>
                <a:gd name="connsiteX121" fmla="*/ 3302503 w 4078006"/>
                <a:gd name="connsiteY121" fmla="*/ 679556 h 2983459"/>
                <a:gd name="connsiteX122" fmla="*/ 3260499 w 4078006"/>
                <a:gd name="connsiteY122" fmla="*/ 782951 h 2983459"/>
                <a:gd name="connsiteX123" fmla="*/ 3434777 w 4078006"/>
                <a:gd name="connsiteY123" fmla="*/ 917242 h 2983459"/>
                <a:gd name="connsiteX124" fmla="*/ 3412360 w 4078006"/>
                <a:gd name="connsiteY124" fmla="*/ 421070 h 2983459"/>
                <a:gd name="connsiteX125" fmla="*/ 3615918 w 4078006"/>
                <a:gd name="connsiteY125" fmla="*/ 291826 h 2983459"/>
                <a:gd name="connsiteX126" fmla="*/ 3774243 w 4078006"/>
                <a:gd name="connsiteY126" fmla="*/ 143197 h 2983459"/>
                <a:gd name="connsiteX127" fmla="*/ 4077965 w 4078006"/>
                <a:gd name="connsiteY127" fmla="*/ 973587 h 2983459"/>
                <a:gd name="connsiteX128" fmla="*/ 3577146 w 4078006"/>
                <a:gd name="connsiteY128" fmla="*/ 1881525 h 2983459"/>
                <a:gd name="connsiteX129" fmla="*/ 3151512 w 4078006"/>
                <a:gd name="connsiteY129" fmla="*/ 1891067 h 2983459"/>
                <a:gd name="connsiteX130" fmla="*/ 3098270 w 4078006"/>
                <a:gd name="connsiteY130" fmla="*/ 1872530 h 2983459"/>
                <a:gd name="connsiteX131" fmla="*/ 3091880 w 4078006"/>
                <a:gd name="connsiteY131" fmla="*/ 1902782 h 2983459"/>
                <a:gd name="connsiteX132" fmla="*/ 2762907 w 4078006"/>
                <a:gd name="connsiteY132" fmla="*/ 2169092 h 2983459"/>
                <a:gd name="connsiteX133" fmla="*/ 2475340 w 4078006"/>
                <a:gd name="connsiteY133" fmla="*/ 2039848 h 2983459"/>
                <a:gd name="connsiteX134" fmla="*/ 2462415 w 4078006"/>
                <a:gd name="connsiteY134" fmla="*/ 2207865 h 2983459"/>
                <a:gd name="connsiteX135" fmla="*/ 2591659 w 4078006"/>
                <a:gd name="connsiteY135" fmla="*/ 2482507 h 2983459"/>
                <a:gd name="connsiteX136" fmla="*/ 2585197 w 4078006"/>
                <a:gd name="connsiteY136" fmla="*/ 2631138 h 2983459"/>
                <a:gd name="connsiteX137" fmla="*/ 2614277 w 4078006"/>
                <a:gd name="connsiteY137" fmla="*/ 2815310 h 2983459"/>
                <a:gd name="connsiteX138" fmla="*/ 2401025 w 4078006"/>
                <a:gd name="connsiteY138" fmla="*/ 2892857 h 2983459"/>
                <a:gd name="connsiteX139" fmla="*/ 2068221 w 4078006"/>
                <a:gd name="connsiteY139" fmla="*/ 2821772 h 2983459"/>
                <a:gd name="connsiteX140" fmla="*/ 2058064 w 4078006"/>
                <a:gd name="connsiteY140" fmla="*/ 2762177 h 2983459"/>
                <a:gd name="connsiteX141" fmla="*/ 2057531 w 4078006"/>
                <a:gd name="connsiteY141" fmla="*/ 2744183 h 2983459"/>
                <a:gd name="connsiteX142" fmla="*/ 2007500 w 4078006"/>
                <a:gd name="connsiteY142" fmla="*/ 2791607 h 2983459"/>
                <a:gd name="connsiteX143" fmla="*/ 1693416 w 4078006"/>
                <a:gd name="connsiteY143" fmla="*/ 2983326 h 2983459"/>
                <a:gd name="connsiteX144" fmla="*/ 1379999 w 4078006"/>
                <a:gd name="connsiteY144" fmla="*/ 2605289 h 2983459"/>
                <a:gd name="connsiteX145" fmla="*/ 1525398 w 4078006"/>
                <a:gd name="connsiteY145" fmla="*/ 2446965 h 2983459"/>
                <a:gd name="connsiteX146" fmla="*/ 1192596 w 4078006"/>
                <a:gd name="connsiteY146" fmla="*/ 2414653 h 2983459"/>
                <a:gd name="connsiteX147" fmla="*/ 1179671 w 4078006"/>
                <a:gd name="connsiteY147" fmla="*/ 2560053 h 2983459"/>
                <a:gd name="connsiteX148" fmla="*/ 1095662 w 4078006"/>
                <a:gd name="connsiteY148" fmla="*/ 2702221 h 2983459"/>
                <a:gd name="connsiteX149" fmla="*/ 1027809 w 4078006"/>
                <a:gd name="connsiteY149" fmla="*/ 2957478 h 2983459"/>
                <a:gd name="connsiteX150" fmla="*/ 491448 w 4078006"/>
                <a:gd name="connsiteY150" fmla="*/ 2844389 h 2983459"/>
                <a:gd name="connsiteX151" fmla="*/ 504373 w 4078006"/>
                <a:gd name="connsiteY151" fmla="*/ 2656986 h 2983459"/>
                <a:gd name="connsiteX152" fmla="*/ 375129 w 4078006"/>
                <a:gd name="connsiteY152" fmla="*/ 2682835 h 2983459"/>
                <a:gd name="connsiteX153" fmla="*/ 39095 w 4078006"/>
                <a:gd name="connsiteY153" fmla="*/ 2337107 h 2983459"/>
                <a:gd name="connsiteX154" fmla="*/ 242654 w 4078006"/>
                <a:gd name="connsiteY154" fmla="*/ 1981687 h 2983459"/>
                <a:gd name="connsiteX155" fmla="*/ 262040 w 4078006"/>
                <a:gd name="connsiteY155" fmla="*/ 1626266 h 2983459"/>
                <a:gd name="connsiteX156" fmla="*/ 274963 w 4078006"/>
                <a:gd name="connsiteY156" fmla="*/ 928351 h 2983459"/>
                <a:gd name="connsiteX157" fmla="*/ 274965 w 4078006"/>
                <a:gd name="connsiteY157" fmla="*/ 1244997 h 2983459"/>
                <a:gd name="connsiteX158" fmla="*/ 1289529 w 4078006"/>
                <a:gd name="connsiteY158" fmla="*/ 602009 h 2983459"/>
                <a:gd name="connsiteX159" fmla="*/ 1590021 w 4078006"/>
                <a:gd name="connsiteY159" fmla="*/ 382295 h 2983459"/>
                <a:gd name="connsiteX160" fmla="*/ 1670238 w 4078006"/>
                <a:gd name="connsiteY160" fmla="*/ 373882 h 2983459"/>
                <a:gd name="connsiteX161" fmla="*/ 1679534 w 4078006"/>
                <a:gd name="connsiteY161" fmla="*/ 353995 h 2983459"/>
                <a:gd name="connsiteX162" fmla="*/ 1935750 w 4078006"/>
                <a:gd name="connsiteY162" fmla="*/ 107652 h 2983459"/>
                <a:gd name="connsiteX163" fmla="*/ 2409815 w 4078006"/>
                <a:gd name="connsiteY163" fmla="*/ 615 h 2983459"/>
                <a:gd name="connsiteX0" fmla="*/ 2405136 w 4041320"/>
                <a:gd name="connsiteY0" fmla="*/ 2267062 h 2983459"/>
                <a:gd name="connsiteX1" fmla="*/ 2094838 w 4041320"/>
                <a:gd name="connsiteY1" fmla="*/ 2792182 h 2983459"/>
                <a:gd name="connsiteX2" fmla="*/ 2314433 w 4041320"/>
                <a:gd name="connsiteY2" fmla="*/ 2837533 h 2983459"/>
                <a:gd name="connsiteX3" fmla="*/ 2534029 w 4041320"/>
                <a:gd name="connsiteY3" fmla="*/ 2789795 h 2983459"/>
                <a:gd name="connsiteX4" fmla="*/ 2494645 w 4041320"/>
                <a:gd name="connsiteY4" fmla="*/ 2663289 h 2983459"/>
                <a:gd name="connsiteX5" fmla="*/ 2507773 w 4041320"/>
                <a:gd name="connsiteY5" fmla="*/ 2486659 h 2983459"/>
                <a:gd name="connsiteX6" fmla="*/ 2405136 w 4041320"/>
                <a:gd name="connsiteY6" fmla="*/ 2267062 h 2983459"/>
                <a:gd name="connsiteX7" fmla="*/ 264080 w 4041320"/>
                <a:gd name="connsiteY7" fmla="*/ 2047468 h 2983459"/>
                <a:gd name="connsiteX8" fmla="*/ 81483 w 4041320"/>
                <a:gd name="connsiteY8" fmla="*/ 2318382 h 2983459"/>
                <a:gd name="connsiteX9" fmla="*/ 369104 w 4041320"/>
                <a:gd name="connsiteY9" fmla="*/ 2607197 h 2983459"/>
                <a:gd name="connsiteX10" fmla="*/ 488450 w 4041320"/>
                <a:gd name="connsiteY10" fmla="*/ 2510528 h 2983459"/>
                <a:gd name="connsiteX11" fmla="*/ 264080 w 4041320"/>
                <a:gd name="connsiteY11" fmla="*/ 2047468 h 2983459"/>
                <a:gd name="connsiteX12" fmla="*/ 2746464 w 4041320"/>
                <a:gd name="connsiteY12" fmla="*/ 769874 h 2983459"/>
                <a:gd name="connsiteX13" fmla="*/ 2693057 w 4041320"/>
                <a:gd name="connsiteY13" fmla="*/ 808065 h 2983459"/>
                <a:gd name="connsiteX14" fmla="*/ 2785676 w 4041320"/>
                <a:gd name="connsiteY14" fmla="*/ 920071 h 2983459"/>
                <a:gd name="connsiteX15" fmla="*/ 2877744 w 4041320"/>
                <a:gd name="connsiteY15" fmla="*/ 896977 h 2983459"/>
                <a:gd name="connsiteX16" fmla="*/ 2526869 w 4041320"/>
                <a:gd name="connsiteY16" fmla="*/ 1153571 h 2983459"/>
                <a:gd name="connsiteX17" fmla="*/ 2593986 w 4041320"/>
                <a:gd name="connsiteY17" fmla="*/ 1051580 h 2983459"/>
                <a:gd name="connsiteX18" fmla="*/ 2489870 w 4041320"/>
                <a:gd name="connsiteY18" fmla="*/ 958442 h 2983459"/>
                <a:gd name="connsiteX19" fmla="*/ 2425425 w 4041320"/>
                <a:gd name="connsiteY19" fmla="*/ 1012743 h 2983459"/>
                <a:gd name="connsiteX20" fmla="*/ 2746464 w 4041320"/>
                <a:gd name="connsiteY20" fmla="*/ 769874 h 2983459"/>
                <a:gd name="connsiteX21" fmla="*/ 2390977 w 4041320"/>
                <a:gd name="connsiteY21" fmla="*/ 550290 h 2983459"/>
                <a:gd name="connsiteX22" fmla="*/ 2421546 w 4041320"/>
                <a:gd name="connsiteY22" fmla="*/ 550782 h 2983459"/>
                <a:gd name="connsiteX23" fmla="*/ 2530449 w 4041320"/>
                <a:gd name="connsiteY23" fmla="*/ 567584 h 2983459"/>
                <a:gd name="connsiteX24" fmla="*/ 2277436 w 4041320"/>
                <a:gd name="connsiteY24" fmla="*/ 820596 h 2983459"/>
                <a:gd name="connsiteX25" fmla="*/ 2390977 w 4041320"/>
                <a:gd name="connsiteY25" fmla="*/ 550290 h 2983459"/>
                <a:gd name="connsiteX26" fmla="*/ 3763794 w 4041320"/>
                <a:gd name="connsiteY26" fmla="*/ 254893 h 2983459"/>
                <a:gd name="connsiteX27" fmla="*/ 3654111 w 4041320"/>
                <a:gd name="connsiteY27" fmla="*/ 441155 h 2983459"/>
                <a:gd name="connsiteX28" fmla="*/ 3491199 w 4041320"/>
                <a:gd name="connsiteY28" fmla="*/ 467805 h 2983459"/>
                <a:gd name="connsiteX29" fmla="*/ 3640268 w 4041320"/>
                <a:gd name="connsiteY29" fmla="*/ 379108 h 2983459"/>
                <a:gd name="connsiteX30" fmla="*/ 3763794 w 4041320"/>
                <a:gd name="connsiteY30" fmla="*/ 254893 h 2983459"/>
                <a:gd name="connsiteX31" fmla="*/ 2396781 w 4041320"/>
                <a:gd name="connsiteY31" fmla="*/ 87819 h 2983459"/>
                <a:gd name="connsiteX32" fmla="*/ 1726061 w 4041320"/>
                <a:gd name="connsiteY32" fmla="*/ 401696 h 2983459"/>
                <a:gd name="connsiteX33" fmla="*/ 1915205 w 4041320"/>
                <a:gd name="connsiteY33" fmla="*/ 406041 h 2983459"/>
                <a:gd name="connsiteX34" fmla="*/ 1922877 w 4041320"/>
                <a:gd name="connsiteY34" fmla="*/ 407143 h 2983459"/>
                <a:gd name="connsiteX35" fmla="*/ 1890847 w 4041320"/>
                <a:gd name="connsiteY35" fmla="*/ 415856 h 2983459"/>
                <a:gd name="connsiteX36" fmla="*/ 1563936 w 4041320"/>
                <a:gd name="connsiteY36" fmla="*/ 483859 h 2983459"/>
                <a:gd name="connsiteX37" fmla="*/ 946278 w 4041320"/>
                <a:gd name="connsiteY37" fmla="*/ 1285034 h 2983459"/>
                <a:gd name="connsiteX38" fmla="*/ 1132089 w 4041320"/>
                <a:gd name="connsiteY38" fmla="*/ 1578898 h 2983459"/>
                <a:gd name="connsiteX39" fmla="*/ 1324877 w 4041320"/>
                <a:gd name="connsiteY39" fmla="*/ 1359120 h 2983459"/>
                <a:gd name="connsiteX40" fmla="*/ 1099315 w 4041320"/>
                <a:gd name="connsiteY40" fmla="*/ 1825668 h 2983459"/>
                <a:gd name="connsiteX41" fmla="*/ 1311015 w 4041320"/>
                <a:gd name="connsiteY41" fmla="*/ 1950338 h 2983459"/>
                <a:gd name="connsiteX42" fmla="*/ 1671897 w 4041320"/>
                <a:gd name="connsiteY42" fmla="*/ 1771687 h 2983459"/>
                <a:gd name="connsiteX43" fmla="*/ 1903243 w 4041320"/>
                <a:gd name="connsiteY43" fmla="*/ 1748552 h 2983459"/>
                <a:gd name="connsiteX44" fmla="*/ 1986142 w 4041320"/>
                <a:gd name="connsiteY44" fmla="*/ 830879 h 2983459"/>
                <a:gd name="connsiteX45" fmla="*/ 1995782 w 4041320"/>
                <a:gd name="connsiteY45" fmla="*/ 1866154 h 2983459"/>
                <a:gd name="connsiteX46" fmla="*/ 1967770 w 4041320"/>
                <a:gd name="connsiteY46" fmla="*/ 1861564 h 2983459"/>
                <a:gd name="connsiteX47" fmla="*/ 1932301 w 4041320"/>
                <a:gd name="connsiteY47" fmla="*/ 1852495 h 2983459"/>
                <a:gd name="connsiteX48" fmla="*/ 1895971 w 4041320"/>
                <a:gd name="connsiteY48" fmla="*/ 1846824 h 2983459"/>
                <a:gd name="connsiteX49" fmla="*/ 1885789 w 4041320"/>
                <a:gd name="connsiteY49" fmla="*/ 1844465 h 2983459"/>
                <a:gd name="connsiteX50" fmla="*/ 1795805 w 4041320"/>
                <a:gd name="connsiteY50" fmla="*/ 1841415 h 2983459"/>
                <a:gd name="connsiteX51" fmla="*/ 1782701 w 4041320"/>
                <a:gd name="connsiteY51" fmla="*/ 1844470 h 2983459"/>
                <a:gd name="connsiteX52" fmla="*/ 1774788 w 4041320"/>
                <a:gd name="connsiteY52" fmla="*/ 1845158 h 2983459"/>
                <a:gd name="connsiteX53" fmla="*/ 1253453 w 4041320"/>
                <a:gd name="connsiteY53" fmla="*/ 2057015 h 2983459"/>
                <a:gd name="connsiteX54" fmla="*/ 956554 w 4041320"/>
                <a:gd name="connsiteY54" fmla="*/ 1821531 h 2983459"/>
                <a:gd name="connsiteX55" fmla="*/ 950470 w 4041320"/>
                <a:gd name="connsiteY55" fmla="*/ 1813649 h 2983459"/>
                <a:gd name="connsiteX56" fmla="*/ 973356 w 4041320"/>
                <a:gd name="connsiteY56" fmla="*/ 1775406 h 2983459"/>
                <a:gd name="connsiteX57" fmla="*/ 1054147 w 4041320"/>
                <a:gd name="connsiteY57" fmla="*/ 1658401 h 2983459"/>
                <a:gd name="connsiteX58" fmla="*/ 827390 w 4041320"/>
                <a:gd name="connsiteY58" fmla="*/ 1299172 h 2983459"/>
                <a:gd name="connsiteX59" fmla="*/ 1229584 w 4041320"/>
                <a:gd name="connsiteY59" fmla="*/ 685736 h 2983459"/>
                <a:gd name="connsiteX60" fmla="*/ 165668 w 4041320"/>
                <a:gd name="connsiteY60" fmla="*/ 1315433 h 2983459"/>
                <a:gd name="connsiteX61" fmla="*/ 117496 w 4041320"/>
                <a:gd name="connsiteY61" fmla="*/ 1272061 h 2983459"/>
                <a:gd name="connsiteX62" fmla="*/ 131580 w 4041320"/>
                <a:gd name="connsiteY62" fmla="*/ 1264158 h 2983459"/>
                <a:gd name="connsiteX63" fmla="*/ 184119 w 4041320"/>
                <a:gd name="connsiteY63" fmla="*/ 999615 h 2983459"/>
                <a:gd name="connsiteX64" fmla="*/ 48266 w 4041320"/>
                <a:gd name="connsiteY64" fmla="*/ 1270717 h 2983459"/>
                <a:gd name="connsiteX65" fmla="*/ 59280 w 4041320"/>
                <a:gd name="connsiteY65" fmla="*/ 1276004 h 2983459"/>
                <a:gd name="connsiteX66" fmla="*/ 60915 w 4041320"/>
                <a:gd name="connsiteY66" fmla="*/ 1291713 h 2983459"/>
                <a:gd name="connsiteX67" fmla="*/ 322560 w 4041320"/>
                <a:gd name="connsiteY67" fmla="*/ 1476996 h 2983459"/>
                <a:gd name="connsiteX68" fmla="*/ 566381 w 4041320"/>
                <a:gd name="connsiteY68" fmla="*/ 2422013 h 2983459"/>
                <a:gd name="connsiteX69" fmla="*/ 579252 w 4041320"/>
                <a:gd name="connsiteY69" fmla="*/ 2446757 h 2983459"/>
                <a:gd name="connsiteX70" fmla="*/ 578799 w 4041320"/>
                <a:gd name="connsiteY70" fmla="*/ 2458370 h 2983459"/>
                <a:gd name="connsiteX71" fmla="*/ 560058 w 4041320"/>
                <a:gd name="connsiteY71" fmla="*/ 2638226 h 2983459"/>
                <a:gd name="connsiteX72" fmla="*/ 515900 w 4041320"/>
                <a:gd name="connsiteY72" fmla="*/ 2789795 h 2983459"/>
                <a:gd name="connsiteX73" fmla="*/ 972992 w 4041320"/>
                <a:gd name="connsiteY73" fmla="*/ 2878111 h 2983459"/>
                <a:gd name="connsiteX74" fmla="*/ 988508 w 4041320"/>
                <a:gd name="connsiteY74" fmla="*/ 2732510 h 2983459"/>
                <a:gd name="connsiteX75" fmla="*/ 1076823 w 4041320"/>
                <a:gd name="connsiteY75" fmla="*/ 2542750 h 2983459"/>
                <a:gd name="connsiteX76" fmla="*/ 1080553 w 4041320"/>
                <a:gd name="connsiteY76" fmla="*/ 2340609 h 2983459"/>
                <a:gd name="connsiteX77" fmla="*/ 1077768 w 4041320"/>
                <a:gd name="connsiteY77" fmla="*/ 2264619 h 2983459"/>
                <a:gd name="connsiteX78" fmla="*/ 1099025 w 4041320"/>
                <a:gd name="connsiteY78" fmla="*/ 2289370 h 2983459"/>
                <a:gd name="connsiteX79" fmla="*/ 1625810 w 4041320"/>
                <a:gd name="connsiteY79" fmla="*/ 2259902 h 2983459"/>
                <a:gd name="connsiteX80" fmla="*/ 1637745 w 4041320"/>
                <a:gd name="connsiteY80" fmla="*/ 2443694 h 2983459"/>
                <a:gd name="connsiteX81" fmla="*/ 1409796 w 4041320"/>
                <a:gd name="connsiteY81" fmla="*/ 2613164 h 2983459"/>
                <a:gd name="connsiteX82" fmla="*/ 1662807 w 4041320"/>
                <a:gd name="connsiteY82" fmla="*/ 2919882 h 2983459"/>
                <a:gd name="connsiteX83" fmla="*/ 2131835 w 4041320"/>
                <a:gd name="connsiteY83" fmla="*/ 2548718 h 2983459"/>
                <a:gd name="connsiteX84" fmla="*/ 2387234 w 4041320"/>
                <a:gd name="connsiteY84" fmla="*/ 1988988 h 2983459"/>
                <a:gd name="connsiteX85" fmla="*/ 2161607 w 4041320"/>
                <a:gd name="connsiteY85" fmla="*/ 1744629 h 2983459"/>
                <a:gd name="connsiteX86" fmla="*/ 2159010 w 4041320"/>
                <a:gd name="connsiteY86" fmla="*/ 1737830 h 2983459"/>
                <a:gd name="connsiteX87" fmla="*/ 2194045 w 4041320"/>
                <a:gd name="connsiteY87" fmla="*/ 1759883 h 2983459"/>
                <a:gd name="connsiteX88" fmla="*/ 2450487 w 4041320"/>
                <a:gd name="connsiteY88" fmla="*/ 1901867 h 2983459"/>
                <a:gd name="connsiteX89" fmla="*/ 2735722 w 4041320"/>
                <a:gd name="connsiteY89" fmla="*/ 2095206 h 2983459"/>
                <a:gd name="connsiteX90" fmla="*/ 3016184 w 4041320"/>
                <a:gd name="connsiteY90" fmla="*/ 1849354 h 2983459"/>
                <a:gd name="connsiteX91" fmla="*/ 2972026 w 4041320"/>
                <a:gd name="connsiteY91" fmla="*/ 1845774 h 2983459"/>
                <a:gd name="connsiteX92" fmla="*/ 2600162 w 4041320"/>
                <a:gd name="connsiteY92" fmla="*/ 1549438 h 2983459"/>
                <a:gd name="connsiteX93" fmla="*/ 2612530 w 4041320"/>
                <a:gd name="connsiteY93" fmla="*/ 1485537 h 2983459"/>
                <a:gd name="connsiteX94" fmla="*/ 2635976 w 4041320"/>
                <a:gd name="connsiteY94" fmla="*/ 1511089 h 2983459"/>
                <a:gd name="connsiteX95" fmla="*/ 3596203 w 4041320"/>
                <a:gd name="connsiteY95" fmla="*/ 1753877 h 2983459"/>
                <a:gd name="connsiteX96" fmla="*/ 3754932 w 4041320"/>
                <a:gd name="connsiteY96" fmla="*/ 186873 h 2983459"/>
                <a:gd name="connsiteX97" fmla="*/ 3630813 w 4041320"/>
                <a:gd name="connsiteY97" fmla="*/ 330088 h 2983459"/>
                <a:gd name="connsiteX98" fmla="*/ 3449409 w 4041320"/>
                <a:gd name="connsiteY98" fmla="*/ 421983 h 2983459"/>
                <a:gd name="connsiteX99" fmla="*/ 3335984 w 4041320"/>
                <a:gd name="connsiteY99" fmla="*/ 1235418 h 2983459"/>
                <a:gd name="connsiteX100" fmla="*/ 3316177 w 4041320"/>
                <a:gd name="connsiteY100" fmla="*/ 1251046 h 2983459"/>
                <a:gd name="connsiteX101" fmla="*/ 3320347 w 4041320"/>
                <a:gd name="connsiteY101" fmla="*/ 1243005 h 2983459"/>
                <a:gd name="connsiteX102" fmla="*/ 3363478 w 4041320"/>
                <a:gd name="connsiteY102" fmla="*/ 987681 h 2983459"/>
                <a:gd name="connsiteX103" fmla="*/ 3195202 w 4041320"/>
                <a:gd name="connsiteY103" fmla="*/ 1019904 h 2983459"/>
                <a:gd name="connsiteX104" fmla="*/ 3213103 w 4041320"/>
                <a:gd name="connsiteY104" fmla="*/ 880270 h 2983459"/>
                <a:gd name="connsiteX105" fmla="*/ 3055568 w 4041320"/>
                <a:gd name="connsiteY105" fmla="*/ 879076 h 2983459"/>
                <a:gd name="connsiteX106" fmla="*/ 3100919 w 4041320"/>
                <a:gd name="connsiteY106" fmla="*/ 775246 h 2983459"/>
                <a:gd name="connsiteX107" fmla="*/ 3009844 w 4041320"/>
                <a:gd name="connsiteY107" fmla="*/ 733176 h 2983459"/>
                <a:gd name="connsiteX108" fmla="*/ 2984603 w 4041320"/>
                <a:gd name="connsiteY108" fmla="*/ 733348 h 2983459"/>
                <a:gd name="connsiteX109" fmla="*/ 3005358 w 4041320"/>
                <a:gd name="connsiteY109" fmla="*/ 725896 h 2983459"/>
                <a:gd name="connsiteX110" fmla="*/ 3036473 w 4041320"/>
                <a:gd name="connsiteY110" fmla="*/ 716766 h 2983459"/>
                <a:gd name="connsiteX111" fmla="*/ 3186848 w 4041320"/>
                <a:gd name="connsiteY111" fmla="*/ 682156 h 2983459"/>
                <a:gd name="connsiteX112" fmla="*/ 3034086 w 4041320"/>
                <a:gd name="connsiteY112" fmla="*/ 487623 h 2983459"/>
                <a:gd name="connsiteX113" fmla="*/ 2874871 w 4041320"/>
                <a:gd name="connsiteY113" fmla="*/ 468100 h 2983459"/>
                <a:gd name="connsiteX114" fmla="*/ 2860169 w 4041320"/>
                <a:gd name="connsiteY114" fmla="*/ 467317 h 2983459"/>
                <a:gd name="connsiteX115" fmla="*/ 2860289 w 4041320"/>
                <a:gd name="connsiteY115" fmla="*/ 467001 h 2983459"/>
                <a:gd name="connsiteX116" fmla="*/ 2963672 w 4041320"/>
                <a:gd name="connsiteY116" fmla="*/ 435113 h 2983459"/>
                <a:gd name="connsiteX117" fmla="*/ 2396781 w 4041320"/>
                <a:gd name="connsiteY117" fmla="*/ 87819 h 2983459"/>
                <a:gd name="connsiteX118" fmla="*/ 2373129 w 4041320"/>
                <a:gd name="connsiteY118" fmla="*/ 615 h 2983459"/>
                <a:gd name="connsiteX119" fmla="*/ 2451581 w 4041320"/>
                <a:gd name="connsiteY119" fmla="*/ 7487 h 2983459"/>
                <a:gd name="connsiteX120" fmla="*/ 3026716 w 4041320"/>
                <a:gd name="connsiteY120" fmla="*/ 398450 h 2983459"/>
                <a:gd name="connsiteX121" fmla="*/ 3265817 w 4041320"/>
                <a:gd name="connsiteY121" fmla="*/ 679556 h 2983459"/>
                <a:gd name="connsiteX122" fmla="*/ 3223813 w 4041320"/>
                <a:gd name="connsiteY122" fmla="*/ 782951 h 2983459"/>
                <a:gd name="connsiteX123" fmla="*/ 3398091 w 4041320"/>
                <a:gd name="connsiteY123" fmla="*/ 917242 h 2983459"/>
                <a:gd name="connsiteX124" fmla="*/ 3375674 w 4041320"/>
                <a:gd name="connsiteY124" fmla="*/ 421070 h 2983459"/>
                <a:gd name="connsiteX125" fmla="*/ 3579232 w 4041320"/>
                <a:gd name="connsiteY125" fmla="*/ 291826 h 2983459"/>
                <a:gd name="connsiteX126" fmla="*/ 3737557 w 4041320"/>
                <a:gd name="connsiteY126" fmla="*/ 143197 h 2983459"/>
                <a:gd name="connsiteX127" fmla="*/ 4041279 w 4041320"/>
                <a:gd name="connsiteY127" fmla="*/ 973587 h 2983459"/>
                <a:gd name="connsiteX128" fmla="*/ 3540460 w 4041320"/>
                <a:gd name="connsiteY128" fmla="*/ 1881525 h 2983459"/>
                <a:gd name="connsiteX129" fmla="*/ 3114826 w 4041320"/>
                <a:gd name="connsiteY129" fmla="*/ 1891067 h 2983459"/>
                <a:gd name="connsiteX130" fmla="*/ 3061584 w 4041320"/>
                <a:gd name="connsiteY130" fmla="*/ 1872530 h 2983459"/>
                <a:gd name="connsiteX131" fmla="*/ 3055194 w 4041320"/>
                <a:gd name="connsiteY131" fmla="*/ 1902782 h 2983459"/>
                <a:gd name="connsiteX132" fmla="*/ 2726221 w 4041320"/>
                <a:gd name="connsiteY132" fmla="*/ 2169092 h 2983459"/>
                <a:gd name="connsiteX133" fmla="*/ 2438654 w 4041320"/>
                <a:gd name="connsiteY133" fmla="*/ 2039848 h 2983459"/>
                <a:gd name="connsiteX134" fmla="*/ 2425729 w 4041320"/>
                <a:gd name="connsiteY134" fmla="*/ 2207865 h 2983459"/>
                <a:gd name="connsiteX135" fmla="*/ 2554973 w 4041320"/>
                <a:gd name="connsiteY135" fmla="*/ 2482507 h 2983459"/>
                <a:gd name="connsiteX136" fmla="*/ 2548511 w 4041320"/>
                <a:gd name="connsiteY136" fmla="*/ 2631138 h 2983459"/>
                <a:gd name="connsiteX137" fmla="*/ 2577591 w 4041320"/>
                <a:gd name="connsiteY137" fmla="*/ 2815310 h 2983459"/>
                <a:gd name="connsiteX138" fmla="*/ 2364339 w 4041320"/>
                <a:gd name="connsiteY138" fmla="*/ 2892857 h 2983459"/>
                <a:gd name="connsiteX139" fmla="*/ 2031535 w 4041320"/>
                <a:gd name="connsiteY139" fmla="*/ 2821772 h 2983459"/>
                <a:gd name="connsiteX140" fmla="*/ 2021378 w 4041320"/>
                <a:gd name="connsiteY140" fmla="*/ 2762177 h 2983459"/>
                <a:gd name="connsiteX141" fmla="*/ 2020845 w 4041320"/>
                <a:gd name="connsiteY141" fmla="*/ 2744183 h 2983459"/>
                <a:gd name="connsiteX142" fmla="*/ 1970814 w 4041320"/>
                <a:gd name="connsiteY142" fmla="*/ 2791607 h 2983459"/>
                <a:gd name="connsiteX143" fmla="*/ 1656730 w 4041320"/>
                <a:gd name="connsiteY143" fmla="*/ 2983326 h 2983459"/>
                <a:gd name="connsiteX144" fmla="*/ 1343313 w 4041320"/>
                <a:gd name="connsiteY144" fmla="*/ 2605289 h 2983459"/>
                <a:gd name="connsiteX145" fmla="*/ 1488712 w 4041320"/>
                <a:gd name="connsiteY145" fmla="*/ 2446965 h 2983459"/>
                <a:gd name="connsiteX146" fmla="*/ 1155910 w 4041320"/>
                <a:gd name="connsiteY146" fmla="*/ 2414653 h 2983459"/>
                <a:gd name="connsiteX147" fmla="*/ 1142985 w 4041320"/>
                <a:gd name="connsiteY147" fmla="*/ 2560053 h 2983459"/>
                <a:gd name="connsiteX148" fmla="*/ 1058976 w 4041320"/>
                <a:gd name="connsiteY148" fmla="*/ 2702221 h 2983459"/>
                <a:gd name="connsiteX149" fmla="*/ 991123 w 4041320"/>
                <a:gd name="connsiteY149" fmla="*/ 2957478 h 2983459"/>
                <a:gd name="connsiteX150" fmla="*/ 454762 w 4041320"/>
                <a:gd name="connsiteY150" fmla="*/ 2844389 h 2983459"/>
                <a:gd name="connsiteX151" fmla="*/ 467687 w 4041320"/>
                <a:gd name="connsiteY151" fmla="*/ 2656986 h 2983459"/>
                <a:gd name="connsiteX152" fmla="*/ 338443 w 4041320"/>
                <a:gd name="connsiteY152" fmla="*/ 2682835 h 2983459"/>
                <a:gd name="connsiteX153" fmla="*/ 2409 w 4041320"/>
                <a:gd name="connsiteY153" fmla="*/ 2337107 h 2983459"/>
                <a:gd name="connsiteX154" fmla="*/ 205968 w 4041320"/>
                <a:gd name="connsiteY154" fmla="*/ 1981687 h 2983459"/>
                <a:gd name="connsiteX155" fmla="*/ 225354 w 4041320"/>
                <a:gd name="connsiteY155" fmla="*/ 1626266 h 2983459"/>
                <a:gd name="connsiteX156" fmla="*/ 18564 w 4041320"/>
                <a:gd name="connsiteY156" fmla="*/ 1332238 h 2983459"/>
                <a:gd name="connsiteX157" fmla="*/ 238277 w 4041320"/>
                <a:gd name="connsiteY157" fmla="*/ 928351 h 2983459"/>
                <a:gd name="connsiteX158" fmla="*/ 238279 w 4041320"/>
                <a:gd name="connsiteY158" fmla="*/ 1244997 h 2983459"/>
                <a:gd name="connsiteX159" fmla="*/ 1252843 w 4041320"/>
                <a:gd name="connsiteY159" fmla="*/ 602009 h 2983459"/>
                <a:gd name="connsiteX160" fmla="*/ 1553335 w 4041320"/>
                <a:gd name="connsiteY160" fmla="*/ 382295 h 2983459"/>
                <a:gd name="connsiteX161" fmla="*/ 1633552 w 4041320"/>
                <a:gd name="connsiteY161" fmla="*/ 373882 h 2983459"/>
                <a:gd name="connsiteX162" fmla="*/ 1642848 w 4041320"/>
                <a:gd name="connsiteY162" fmla="*/ 353995 h 2983459"/>
                <a:gd name="connsiteX163" fmla="*/ 1899064 w 4041320"/>
                <a:gd name="connsiteY163" fmla="*/ 107652 h 2983459"/>
                <a:gd name="connsiteX164" fmla="*/ 2373129 w 4041320"/>
                <a:gd name="connsiteY164" fmla="*/ 615 h 2983459"/>
                <a:gd name="connsiteX0" fmla="*/ 2424492 w 4060676"/>
                <a:gd name="connsiteY0" fmla="*/ 2267062 h 2983459"/>
                <a:gd name="connsiteX1" fmla="*/ 2114194 w 4060676"/>
                <a:gd name="connsiteY1" fmla="*/ 2792182 h 2983459"/>
                <a:gd name="connsiteX2" fmla="*/ 2333789 w 4060676"/>
                <a:gd name="connsiteY2" fmla="*/ 2837533 h 2983459"/>
                <a:gd name="connsiteX3" fmla="*/ 2553385 w 4060676"/>
                <a:gd name="connsiteY3" fmla="*/ 2789795 h 2983459"/>
                <a:gd name="connsiteX4" fmla="*/ 2514001 w 4060676"/>
                <a:gd name="connsiteY4" fmla="*/ 2663289 h 2983459"/>
                <a:gd name="connsiteX5" fmla="*/ 2527129 w 4060676"/>
                <a:gd name="connsiteY5" fmla="*/ 2486659 h 2983459"/>
                <a:gd name="connsiteX6" fmla="*/ 2424492 w 4060676"/>
                <a:gd name="connsiteY6" fmla="*/ 2267062 h 2983459"/>
                <a:gd name="connsiteX7" fmla="*/ 283436 w 4060676"/>
                <a:gd name="connsiteY7" fmla="*/ 2047468 h 2983459"/>
                <a:gd name="connsiteX8" fmla="*/ 100839 w 4060676"/>
                <a:gd name="connsiteY8" fmla="*/ 2318382 h 2983459"/>
                <a:gd name="connsiteX9" fmla="*/ 388460 w 4060676"/>
                <a:gd name="connsiteY9" fmla="*/ 2607197 h 2983459"/>
                <a:gd name="connsiteX10" fmla="*/ 507806 w 4060676"/>
                <a:gd name="connsiteY10" fmla="*/ 2510528 h 2983459"/>
                <a:gd name="connsiteX11" fmla="*/ 283436 w 4060676"/>
                <a:gd name="connsiteY11" fmla="*/ 2047468 h 2983459"/>
                <a:gd name="connsiteX12" fmla="*/ 2765820 w 4060676"/>
                <a:gd name="connsiteY12" fmla="*/ 769874 h 2983459"/>
                <a:gd name="connsiteX13" fmla="*/ 2712413 w 4060676"/>
                <a:gd name="connsiteY13" fmla="*/ 808065 h 2983459"/>
                <a:gd name="connsiteX14" fmla="*/ 2805032 w 4060676"/>
                <a:gd name="connsiteY14" fmla="*/ 920071 h 2983459"/>
                <a:gd name="connsiteX15" fmla="*/ 2897100 w 4060676"/>
                <a:gd name="connsiteY15" fmla="*/ 896977 h 2983459"/>
                <a:gd name="connsiteX16" fmla="*/ 2546225 w 4060676"/>
                <a:gd name="connsiteY16" fmla="*/ 1153571 h 2983459"/>
                <a:gd name="connsiteX17" fmla="*/ 2613342 w 4060676"/>
                <a:gd name="connsiteY17" fmla="*/ 1051580 h 2983459"/>
                <a:gd name="connsiteX18" fmla="*/ 2509226 w 4060676"/>
                <a:gd name="connsiteY18" fmla="*/ 958442 h 2983459"/>
                <a:gd name="connsiteX19" fmla="*/ 2444781 w 4060676"/>
                <a:gd name="connsiteY19" fmla="*/ 1012743 h 2983459"/>
                <a:gd name="connsiteX20" fmla="*/ 2765820 w 4060676"/>
                <a:gd name="connsiteY20" fmla="*/ 769874 h 2983459"/>
                <a:gd name="connsiteX21" fmla="*/ 2410333 w 4060676"/>
                <a:gd name="connsiteY21" fmla="*/ 550290 h 2983459"/>
                <a:gd name="connsiteX22" fmla="*/ 2440902 w 4060676"/>
                <a:gd name="connsiteY22" fmla="*/ 550782 h 2983459"/>
                <a:gd name="connsiteX23" fmla="*/ 2549805 w 4060676"/>
                <a:gd name="connsiteY23" fmla="*/ 567584 h 2983459"/>
                <a:gd name="connsiteX24" fmla="*/ 2296792 w 4060676"/>
                <a:gd name="connsiteY24" fmla="*/ 820596 h 2983459"/>
                <a:gd name="connsiteX25" fmla="*/ 2410333 w 4060676"/>
                <a:gd name="connsiteY25" fmla="*/ 550290 h 2983459"/>
                <a:gd name="connsiteX26" fmla="*/ 3783150 w 4060676"/>
                <a:gd name="connsiteY26" fmla="*/ 254893 h 2983459"/>
                <a:gd name="connsiteX27" fmla="*/ 3673467 w 4060676"/>
                <a:gd name="connsiteY27" fmla="*/ 441155 h 2983459"/>
                <a:gd name="connsiteX28" fmla="*/ 3510555 w 4060676"/>
                <a:gd name="connsiteY28" fmla="*/ 467805 h 2983459"/>
                <a:gd name="connsiteX29" fmla="*/ 3659624 w 4060676"/>
                <a:gd name="connsiteY29" fmla="*/ 379108 h 2983459"/>
                <a:gd name="connsiteX30" fmla="*/ 3783150 w 4060676"/>
                <a:gd name="connsiteY30" fmla="*/ 254893 h 2983459"/>
                <a:gd name="connsiteX31" fmla="*/ 2416137 w 4060676"/>
                <a:gd name="connsiteY31" fmla="*/ 87819 h 2983459"/>
                <a:gd name="connsiteX32" fmla="*/ 1745417 w 4060676"/>
                <a:gd name="connsiteY32" fmla="*/ 401696 h 2983459"/>
                <a:gd name="connsiteX33" fmla="*/ 1934561 w 4060676"/>
                <a:gd name="connsiteY33" fmla="*/ 406041 h 2983459"/>
                <a:gd name="connsiteX34" fmla="*/ 1942233 w 4060676"/>
                <a:gd name="connsiteY34" fmla="*/ 407143 h 2983459"/>
                <a:gd name="connsiteX35" fmla="*/ 1910203 w 4060676"/>
                <a:gd name="connsiteY35" fmla="*/ 415856 h 2983459"/>
                <a:gd name="connsiteX36" fmla="*/ 1583292 w 4060676"/>
                <a:gd name="connsiteY36" fmla="*/ 483859 h 2983459"/>
                <a:gd name="connsiteX37" fmla="*/ 965634 w 4060676"/>
                <a:gd name="connsiteY37" fmla="*/ 1285034 h 2983459"/>
                <a:gd name="connsiteX38" fmla="*/ 1151445 w 4060676"/>
                <a:gd name="connsiteY38" fmla="*/ 1578898 h 2983459"/>
                <a:gd name="connsiteX39" fmla="*/ 1344233 w 4060676"/>
                <a:gd name="connsiteY39" fmla="*/ 1359120 h 2983459"/>
                <a:gd name="connsiteX40" fmla="*/ 1118671 w 4060676"/>
                <a:gd name="connsiteY40" fmla="*/ 1825668 h 2983459"/>
                <a:gd name="connsiteX41" fmla="*/ 1330371 w 4060676"/>
                <a:gd name="connsiteY41" fmla="*/ 1950338 h 2983459"/>
                <a:gd name="connsiteX42" fmla="*/ 1691253 w 4060676"/>
                <a:gd name="connsiteY42" fmla="*/ 1771687 h 2983459"/>
                <a:gd name="connsiteX43" fmla="*/ 1922599 w 4060676"/>
                <a:gd name="connsiteY43" fmla="*/ 1748552 h 2983459"/>
                <a:gd name="connsiteX44" fmla="*/ 2005498 w 4060676"/>
                <a:gd name="connsiteY44" fmla="*/ 830879 h 2983459"/>
                <a:gd name="connsiteX45" fmla="*/ 2015138 w 4060676"/>
                <a:gd name="connsiteY45" fmla="*/ 1866154 h 2983459"/>
                <a:gd name="connsiteX46" fmla="*/ 1987126 w 4060676"/>
                <a:gd name="connsiteY46" fmla="*/ 1861564 h 2983459"/>
                <a:gd name="connsiteX47" fmla="*/ 1951657 w 4060676"/>
                <a:gd name="connsiteY47" fmla="*/ 1852495 h 2983459"/>
                <a:gd name="connsiteX48" fmla="*/ 1915327 w 4060676"/>
                <a:gd name="connsiteY48" fmla="*/ 1846824 h 2983459"/>
                <a:gd name="connsiteX49" fmla="*/ 1905145 w 4060676"/>
                <a:gd name="connsiteY49" fmla="*/ 1844465 h 2983459"/>
                <a:gd name="connsiteX50" fmla="*/ 1815161 w 4060676"/>
                <a:gd name="connsiteY50" fmla="*/ 1841415 h 2983459"/>
                <a:gd name="connsiteX51" fmla="*/ 1802057 w 4060676"/>
                <a:gd name="connsiteY51" fmla="*/ 1844470 h 2983459"/>
                <a:gd name="connsiteX52" fmla="*/ 1794144 w 4060676"/>
                <a:gd name="connsiteY52" fmla="*/ 1845158 h 2983459"/>
                <a:gd name="connsiteX53" fmla="*/ 1272809 w 4060676"/>
                <a:gd name="connsiteY53" fmla="*/ 2057015 h 2983459"/>
                <a:gd name="connsiteX54" fmla="*/ 975910 w 4060676"/>
                <a:gd name="connsiteY54" fmla="*/ 1821531 h 2983459"/>
                <a:gd name="connsiteX55" fmla="*/ 969826 w 4060676"/>
                <a:gd name="connsiteY55" fmla="*/ 1813649 h 2983459"/>
                <a:gd name="connsiteX56" fmla="*/ 992712 w 4060676"/>
                <a:gd name="connsiteY56" fmla="*/ 1775406 h 2983459"/>
                <a:gd name="connsiteX57" fmla="*/ 1073503 w 4060676"/>
                <a:gd name="connsiteY57" fmla="*/ 1658401 h 2983459"/>
                <a:gd name="connsiteX58" fmla="*/ 846746 w 4060676"/>
                <a:gd name="connsiteY58" fmla="*/ 1299172 h 2983459"/>
                <a:gd name="connsiteX59" fmla="*/ 1248940 w 4060676"/>
                <a:gd name="connsiteY59" fmla="*/ 685736 h 2983459"/>
                <a:gd name="connsiteX60" fmla="*/ 185024 w 4060676"/>
                <a:gd name="connsiteY60" fmla="*/ 1315433 h 2983459"/>
                <a:gd name="connsiteX61" fmla="*/ 136852 w 4060676"/>
                <a:gd name="connsiteY61" fmla="*/ 1272061 h 2983459"/>
                <a:gd name="connsiteX62" fmla="*/ 150936 w 4060676"/>
                <a:gd name="connsiteY62" fmla="*/ 1264158 h 2983459"/>
                <a:gd name="connsiteX63" fmla="*/ 203475 w 4060676"/>
                <a:gd name="connsiteY63" fmla="*/ 999615 h 2983459"/>
                <a:gd name="connsiteX64" fmla="*/ 67622 w 4060676"/>
                <a:gd name="connsiteY64" fmla="*/ 1270717 h 2983459"/>
                <a:gd name="connsiteX65" fmla="*/ 78636 w 4060676"/>
                <a:gd name="connsiteY65" fmla="*/ 1276004 h 2983459"/>
                <a:gd name="connsiteX66" fmla="*/ 80271 w 4060676"/>
                <a:gd name="connsiteY66" fmla="*/ 1291713 h 2983459"/>
                <a:gd name="connsiteX67" fmla="*/ 341916 w 4060676"/>
                <a:gd name="connsiteY67" fmla="*/ 1476996 h 2983459"/>
                <a:gd name="connsiteX68" fmla="*/ 585737 w 4060676"/>
                <a:gd name="connsiteY68" fmla="*/ 2422013 h 2983459"/>
                <a:gd name="connsiteX69" fmla="*/ 598608 w 4060676"/>
                <a:gd name="connsiteY69" fmla="*/ 2446757 h 2983459"/>
                <a:gd name="connsiteX70" fmla="*/ 598155 w 4060676"/>
                <a:gd name="connsiteY70" fmla="*/ 2458370 h 2983459"/>
                <a:gd name="connsiteX71" fmla="*/ 579414 w 4060676"/>
                <a:gd name="connsiteY71" fmla="*/ 2638226 h 2983459"/>
                <a:gd name="connsiteX72" fmla="*/ 535256 w 4060676"/>
                <a:gd name="connsiteY72" fmla="*/ 2789795 h 2983459"/>
                <a:gd name="connsiteX73" fmla="*/ 992348 w 4060676"/>
                <a:gd name="connsiteY73" fmla="*/ 2878111 h 2983459"/>
                <a:gd name="connsiteX74" fmla="*/ 1007864 w 4060676"/>
                <a:gd name="connsiteY74" fmla="*/ 2732510 h 2983459"/>
                <a:gd name="connsiteX75" fmla="*/ 1096179 w 4060676"/>
                <a:gd name="connsiteY75" fmla="*/ 2542750 h 2983459"/>
                <a:gd name="connsiteX76" fmla="*/ 1099909 w 4060676"/>
                <a:gd name="connsiteY76" fmla="*/ 2340609 h 2983459"/>
                <a:gd name="connsiteX77" fmla="*/ 1097124 w 4060676"/>
                <a:gd name="connsiteY77" fmla="*/ 2264619 h 2983459"/>
                <a:gd name="connsiteX78" fmla="*/ 1118381 w 4060676"/>
                <a:gd name="connsiteY78" fmla="*/ 2289370 h 2983459"/>
                <a:gd name="connsiteX79" fmla="*/ 1645166 w 4060676"/>
                <a:gd name="connsiteY79" fmla="*/ 2259902 h 2983459"/>
                <a:gd name="connsiteX80" fmla="*/ 1657101 w 4060676"/>
                <a:gd name="connsiteY80" fmla="*/ 2443694 h 2983459"/>
                <a:gd name="connsiteX81" fmla="*/ 1429152 w 4060676"/>
                <a:gd name="connsiteY81" fmla="*/ 2613164 h 2983459"/>
                <a:gd name="connsiteX82" fmla="*/ 1682163 w 4060676"/>
                <a:gd name="connsiteY82" fmla="*/ 2919882 h 2983459"/>
                <a:gd name="connsiteX83" fmla="*/ 2151191 w 4060676"/>
                <a:gd name="connsiteY83" fmla="*/ 2548718 h 2983459"/>
                <a:gd name="connsiteX84" fmla="*/ 2406590 w 4060676"/>
                <a:gd name="connsiteY84" fmla="*/ 1988988 h 2983459"/>
                <a:gd name="connsiteX85" fmla="*/ 2180963 w 4060676"/>
                <a:gd name="connsiteY85" fmla="*/ 1744629 h 2983459"/>
                <a:gd name="connsiteX86" fmla="*/ 2178366 w 4060676"/>
                <a:gd name="connsiteY86" fmla="*/ 1737830 h 2983459"/>
                <a:gd name="connsiteX87" fmla="*/ 2213401 w 4060676"/>
                <a:gd name="connsiteY87" fmla="*/ 1759883 h 2983459"/>
                <a:gd name="connsiteX88" fmla="*/ 2469843 w 4060676"/>
                <a:gd name="connsiteY88" fmla="*/ 1901867 h 2983459"/>
                <a:gd name="connsiteX89" fmla="*/ 2755078 w 4060676"/>
                <a:gd name="connsiteY89" fmla="*/ 2095206 h 2983459"/>
                <a:gd name="connsiteX90" fmla="*/ 3035540 w 4060676"/>
                <a:gd name="connsiteY90" fmla="*/ 1849354 h 2983459"/>
                <a:gd name="connsiteX91" fmla="*/ 2991382 w 4060676"/>
                <a:gd name="connsiteY91" fmla="*/ 1845774 h 2983459"/>
                <a:gd name="connsiteX92" fmla="*/ 2619518 w 4060676"/>
                <a:gd name="connsiteY92" fmla="*/ 1549438 h 2983459"/>
                <a:gd name="connsiteX93" fmla="*/ 2631886 w 4060676"/>
                <a:gd name="connsiteY93" fmla="*/ 1485537 h 2983459"/>
                <a:gd name="connsiteX94" fmla="*/ 2655332 w 4060676"/>
                <a:gd name="connsiteY94" fmla="*/ 1511089 h 2983459"/>
                <a:gd name="connsiteX95" fmla="*/ 3615559 w 4060676"/>
                <a:gd name="connsiteY95" fmla="*/ 1753877 h 2983459"/>
                <a:gd name="connsiteX96" fmla="*/ 3774288 w 4060676"/>
                <a:gd name="connsiteY96" fmla="*/ 186873 h 2983459"/>
                <a:gd name="connsiteX97" fmla="*/ 3650169 w 4060676"/>
                <a:gd name="connsiteY97" fmla="*/ 330088 h 2983459"/>
                <a:gd name="connsiteX98" fmla="*/ 3468765 w 4060676"/>
                <a:gd name="connsiteY98" fmla="*/ 421983 h 2983459"/>
                <a:gd name="connsiteX99" fmla="*/ 3355340 w 4060676"/>
                <a:gd name="connsiteY99" fmla="*/ 1235418 h 2983459"/>
                <a:gd name="connsiteX100" fmla="*/ 3335533 w 4060676"/>
                <a:gd name="connsiteY100" fmla="*/ 1251046 h 2983459"/>
                <a:gd name="connsiteX101" fmla="*/ 3339703 w 4060676"/>
                <a:gd name="connsiteY101" fmla="*/ 1243005 h 2983459"/>
                <a:gd name="connsiteX102" fmla="*/ 3382834 w 4060676"/>
                <a:gd name="connsiteY102" fmla="*/ 987681 h 2983459"/>
                <a:gd name="connsiteX103" fmla="*/ 3214558 w 4060676"/>
                <a:gd name="connsiteY103" fmla="*/ 1019904 h 2983459"/>
                <a:gd name="connsiteX104" fmla="*/ 3232459 w 4060676"/>
                <a:gd name="connsiteY104" fmla="*/ 880270 h 2983459"/>
                <a:gd name="connsiteX105" fmla="*/ 3074924 w 4060676"/>
                <a:gd name="connsiteY105" fmla="*/ 879076 h 2983459"/>
                <a:gd name="connsiteX106" fmla="*/ 3120275 w 4060676"/>
                <a:gd name="connsiteY106" fmla="*/ 775246 h 2983459"/>
                <a:gd name="connsiteX107" fmla="*/ 3029200 w 4060676"/>
                <a:gd name="connsiteY107" fmla="*/ 733176 h 2983459"/>
                <a:gd name="connsiteX108" fmla="*/ 3003959 w 4060676"/>
                <a:gd name="connsiteY108" fmla="*/ 733348 h 2983459"/>
                <a:gd name="connsiteX109" fmla="*/ 3024714 w 4060676"/>
                <a:gd name="connsiteY109" fmla="*/ 725896 h 2983459"/>
                <a:gd name="connsiteX110" fmla="*/ 3055829 w 4060676"/>
                <a:gd name="connsiteY110" fmla="*/ 716766 h 2983459"/>
                <a:gd name="connsiteX111" fmla="*/ 3206204 w 4060676"/>
                <a:gd name="connsiteY111" fmla="*/ 682156 h 2983459"/>
                <a:gd name="connsiteX112" fmla="*/ 3053442 w 4060676"/>
                <a:gd name="connsiteY112" fmla="*/ 487623 h 2983459"/>
                <a:gd name="connsiteX113" fmla="*/ 2894227 w 4060676"/>
                <a:gd name="connsiteY113" fmla="*/ 468100 h 2983459"/>
                <a:gd name="connsiteX114" fmla="*/ 2879525 w 4060676"/>
                <a:gd name="connsiteY114" fmla="*/ 467317 h 2983459"/>
                <a:gd name="connsiteX115" fmla="*/ 2879645 w 4060676"/>
                <a:gd name="connsiteY115" fmla="*/ 467001 h 2983459"/>
                <a:gd name="connsiteX116" fmla="*/ 2983028 w 4060676"/>
                <a:gd name="connsiteY116" fmla="*/ 435113 h 2983459"/>
                <a:gd name="connsiteX117" fmla="*/ 2416137 w 4060676"/>
                <a:gd name="connsiteY117" fmla="*/ 87819 h 2983459"/>
                <a:gd name="connsiteX118" fmla="*/ 2392485 w 4060676"/>
                <a:gd name="connsiteY118" fmla="*/ 615 h 2983459"/>
                <a:gd name="connsiteX119" fmla="*/ 2470937 w 4060676"/>
                <a:gd name="connsiteY119" fmla="*/ 7487 h 2983459"/>
                <a:gd name="connsiteX120" fmla="*/ 3046072 w 4060676"/>
                <a:gd name="connsiteY120" fmla="*/ 398450 h 2983459"/>
                <a:gd name="connsiteX121" fmla="*/ 3285173 w 4060676"/>
                <a:gd name="connsiteY121" fmla="*/ 679556 h 2983459"/>
                <a:gd name="connsiteX122" fmla="*/ 3243169 w 4060676"/>
                <a:gd name="connsiteY122" fmla="*/ 782951 h 2983459"/>
                <a:gd name="connsiteX123" fmla="*/ 3417447 w 4060676"/>
                <a:gd name="connsiteY123" fmla="*/ 917242 h 2983459"/>
                <a:gd name="connsiteX124" fmla="*/ 3395030 w 4060676"/>
                <a:gd name="connsiteY124" fmla="*/ 421070 h 2983459"/>
                <a:gd name="connsiteX125" fmla="*/ 3598588 w 4060676"/>
                <a:gd name="connsiteY125" fmla="*/ 291826 h 2983459"/>
                <a:gd name="connsiteX126" fmla="*/ 3756913 w 4060676"/>
                <a:gd name="connsiteY126" fmla="*/ 143197 h 2983459"/>
                <a:gd name="connsiteX127" fmla="*/ 4060635 w 4060676"/>
                <a:gd name="connsiteY127" fmla="*/ 973587 h 2983459"/>
                <a:gd name="connsiteX128" fmla="*/ 3559816 w 4060676"/>
                <a:gd name="connsiteY128" fmla="*/ 1881525 h 2983459"/>
                <a:gd name="connsiteX129" fmla="*/ 3134182 w 4060676"/>
                <a:gd name="connsiteY129" fmla="*/ 1891067 h 2983459"/>
                <a:gd name="connsiteX130" fmla="*/ 3080940 w 4060676"/>
                <a:gd name="connsiteY130" fmla="*/ 1872530 h 2983459"/>
                <a:gd name="connsiteX131" fmla="*/ 3074550 w 4060676"/>
                <a:gd name="connsiteY131" fmla="*/ 1902782 h 2983459"/>
                <a:gd name="connsiteX132" fmla="*/ 2745577 w 4060676"/>
                <a:gd name="connsiteY132" fmla="*/ 2169092 h 2983459"/>
                <a:gd name="connsiteX133" fmla="*/ 2458010 w 4060676"/>
                <a:gd name="connsiteY133" fmla="*/ 2039848 h 2983459"/>
                <a:gd name="connsiteX134" fmla="*/ 2445085 w 4060676"/>
                <a:gd name="connsiteY134" fmla="*/ 2207865 h 2983459"/>
                <a:gd name="connsiteX135" fmla="*/ 2574329 w 4060676"/>
                <a:gd name="connsiteY135" fmla="*/ 2482507 h 2983459"/>
                <a:gd name="connsiteX136" fmla="*/ 2567867 w 4060676"/>
                <a:gd name="connsiteY136" fmla="*/ 2631138 h 2983459"/>
                <a:gd name="connsiteX137" fmla="*/ 2596947 w 4060676"/>
                <a:gd name="connsiteY137" fmla="*/ 2815310 h 2983459"/>
                <a:gd name="connsiteX138" fmla="*/ 2383695 w 4060676"/>
                <a:gd name="connsiteY138" fmla="*/ 2892857 h 2983459"/>
                <a:gd name="connsiteX139" fmla="*/ 2050891 w 4060676"/>
                <a:gd name="connsiteY139" fmla="*/ 2821772 h 2983459"/>
                <a:gd name="connsiteX140" fmla="*/ 2040734 w 4060676"/>
                <a:gd name="connsiteY140" fmla="*/ 2762177 h 2983459"/>
                <a:gd name="connsiteX141" fmla="*/ 2040201 w 4060676"/>
                <a:gd name="connsiteY141" fmla="*/ 2744183 h 2983459"/>
                <a:gd name="connsiteX142" fmla="*/ 1990170 w 4060676"/>
                <a:gd name="connsiteY142" fmla="*/ 2791607 h 2983459"/>
                <a:gd name="connsiteX143" fmla="*/ 1676086 w 4060676"/>
                <a:gd name="connsiteY143" fmla="*/ 2983326 h 2983459"/>
                <a:gd name="connsiteX144" fmla="*/ 1362669 w 4060676"/>
                <a:gd name="connsiteY144" fmla="*/ 2605289 h 2983459"/>
                <a:gd name="connsiteX145" fmla="*/ 1508068 w 4060676"/>
                <a:gd name="connsiteY145" fmla="*/ 2446965 h 2983459"/>
                <a:gd name="connsiteX146" fmla="*/ 1175266 w 4060676"/>
                <a:gd name="connsiteY146" fmla="*/ 2414653 h 2983459"/>
                <a:gd name="connsiteX147" fmla="*/ 1162341 w 4060676"/>
                <a:gd name="connsiteY147" fmla="*/ 2560053 h 2983459"/>
                <a:gd name="connsiteX148" fmla="*/ 1078332 w 4060676"/>
                <a:gd name="connsiteY148" fmla="*/ 2702221 h 2983459"/>
                <a:gd name="connsiteX149" fmla="*/ 1010479 w 4060676"/>
                <a:gd name="connsiteY149" fmla="*/ 2957478 h 2983459"/>
                <a:gd name="connsiteX150" fmla="*/ 474118 w 4060676"/>
                <a:gd name="connsiteY150" fmla="*/ 2844389 h 2983459"/>
                <a:gd name="connsiteX151" fmla="*/ 487043 w 4060676"/>
                <a:gd name="connsiteY151" fmla="*/ 2656986 h 2983459"/>
                <a:gd name="connsiteX152" fmla="*/ 357799 w 4060676"/>
                <a:gd name="connsiteY152" fmla="*/ 2682835 h 2983459"/>
                <a:gd name="connsiteX153" fmla="*/ 21765 w 4060676"/>
                <a:gd name="connsiteY153" fmla="*/ 2337107 h 2983459"/>
                <a:gd name="connsiteX154" fmla="*/ 225324 w 4060676"/>
                <a:gd name="connsiteY154" fmla="*/ 1981687 h 2983459"/>
                <a:gd name="connsiteX155" fmla="*/ 244710 w 4060676"/>
                <a:gd name="connsiteY155" fmla="*/ 1626266 h 2983459"/>
                <a:gd name="connsiteX156" fmla="*/ 37920 w 4060676"/>
                <a:gd name="connsiteY156" fmla="*/ 1332238 h 2983459"/>
                <a:gd name="connsiteX157" fmla="*/ 257633 w 4060676"/>
                <a:gd name="connsiteY157" fmla="*/ 928351 h 2983459"/>
                <a:gd name="connsiteX158" fmla="*/ 257635 w 4060676"/>
                <a:gd name="connsiteY158" fmla="*/ 1244997 h 2983459"/>
                <a:gd name="connsiteX159" fmla="*/ 1272199 w 4060676"/>
                <a:gd name="connsiteY159" fmla="*/ 602009 h 2983459"/>
                <a:gd name="connsiteX160" fmla="*/ 1572691 w 4060676"/>
                <a:gd name="connsiteY160" fmla="*/ 382295 h 2983459"/>
                <a:gd name="connsiteX161" fmla="*/ 1652908 w 4060676"/>
                <a:gd name="connsiteY161" fmla="*/ 373882 h 2983459"/>
                <a:gd name="connsiteX162" fmla="*/ 1662204 w 4060676"/>
                <a:gd name="connsiteY162" fmla="*/ 353995 h 2983459"/>
                <a:gd name="connsiteX163" fmla="*/ 1918420 w 4060676"/>
                <a:gd name="connsiteY163" fmla="*/ 107652 h 2983459"/>
                <a:gd name="connsiteX164" fmla="*/ 2392485 w 4060676"/>
                <a:gd name="connsiteY164" fmla="*/ 615 h 2983459"/>
                <a:gd name="connsiteX0" fmla="*/ 2424492 w 4060676"/>
                <a:gd name="connsiteY0" fmla="*/ 2267062 h 2983459"/>
                <a:gd name="connsiteX1" fmla="*/ 2114194 w 4060676"/>
                <a:gd name="connsiteY1" fmla="*/ 2792182 h 2983459"/>
                <a:gd name="connsiteX2" fmla="*/ 2333789 w 4060676"/>
                <a:gd name="connsiteY2" fmla="*/ 2837533 h 2983459"/>
                <a:gd name="connsiteX3" fmla="*/ 2553385 w 4060676"/>
                <a:gd name="connsiteY3" fmla="*/ 2789795 h 2983459"/>
                <a:gd name="connsiteX4" fmla="*/ 2514001 w 4060676"/>
                <a:gd name="connsiteY4" fmla="*/ 2663289 h 2983459"/>
                <a:gd name="connsiteX5" fmla="*/ 2527129 w 4060676"/>
                <a:gd name="connsiteY5" fmla="*/ 2486659 h 2983459"/>
                <a:gd name="connsiteX6" fmla="*/ 2424492 w 4060676"/>
                <a:gd name="connsiteY6" fmla="*/ 2267062 h 2983459"/>
                <a:gd name="connsiteX7" fmla="*/ 283436 w 4060676"/>
                <a:gd name="connsiteY7" fmla="*/ 2047468 h 2983459"/>
                <a:gd name="connsiteX8" fmla="*/ 100839 w 4060676"/>
                <a:gd name="connsiteY8" fmla="*/ 2318382 h 2983459"/>
                <a:gd name="connsiteX9" fmla="*/ 388460 w 4060676"/>
                <a:gd name="connsiteY9" fmla="*/ 2607197 h 2983459"/>
                <a:gd name="connsiteX10" fmla="*/ 507806 w 4060676"/>
                <a:gd name="connsiteY10" fmla="*/ 2510528 h 2983459"/>
                <a:gd name="connsiteX11" fmla="*/ 283436 w 4060676"/>
                <a:gd name="connsiteY11" fmla="*/ 2047468 h 2983459"/>
                <a:gd name="connsiteX12" fmla="*/ 2765820 w 4060676"/>
                <a:gd name="connsiteY12" fmla="*/ 769874 h 2983459"/>
                <a:gd name="connsiteX13" fmla="*/ 2712413 w 4060676"/>
                <a:gd name="connsiteY13" fmla="*/ 808065 h 2983459"/>
                <a:gd name="connsiteX14" fmla="*/ 2805032 w 4060676"/>
                <a:gd name="connsiteY14" fmla="*/ 920071 h 2983459"/>
                <a:gd name="connsiteX15" fmla="*/ 2897100 w 4060676"/>
                <a:gd name="connsiteY15" fmla="*/ 896977 h 2983459"/>
                <a:gd name="connsiteX16" fmla="*/ 2546225 w 4060676"/>
                <a:gd name="connsiteY16" fmla="*/ 1153571 h 2983459"/>
                <a:gd name="connsiteX17" fmla="*/ 2613342 w 4060676"/>
                <a:gd name="connsiteY17" fmla="*/ 1051580 h 2983459"/>
                <a:gd name="connsiteX18" fmla="*/ 2509226 w 4060676"/>
                <a:gd name="connsiteY18" fmla="*/ 958442 h 2983459"/>
                <a:gd name="connsiteX19" fmla="*/ 2444781 w 4060676"/>
                <a:gd name="connsiteY19" fmla="*/ 1012743 h 2983459"/>
                <a:gd name="connsiteX20" fmla="*/ 2765820 w 4060676"/>
                <a:gd name="connsiteY20" fmla="*/ 769874 h 2983459"/>
                <a:gd name="connsiteX21" fmla="*/ 2410333 w 4060676"/>
                <a:gd name="connsiteY21" fmla="*/ 550290 h 2983459"/>
                <a:gd name="connsiteX22" fmla="*/ 2440902 w 4060676"/>
                <a:gd name="connsiteY22" fmla="*/ 550782 h 2983459"/>
                <a:gd name="connsiteX23" fmla="*/ 2549805 w 4060676"/>
                <a:gd name="connsiteY23" fmla="*/ 567584 h 2983459"/>
                <a:gd name="connsiteX24" fmla="*/ 2296792 w 4060676"/>
                <a:gd name="connsiteY24" fmla="*/ 820596 h 2983459"/>
                <a:gd name="connsiteX25" fmla="*/ 2410333 w 4060676"/>
                <a:gd name="connsiteY25" fmla="*/ 550290 h 2983459"/>
                <a:gd name="connsiteX26" fmla="*/ 3783150 w 4060676"/>
                <a:gd name="connsiteY26" fmla="*/ 254893 h 2983459"/>
                <a:gd name="connsiteX27" fmla="*/ 3673467 w 4060676"/>
                <a:gd name="connsiteY27" fmla="*/ 441155 h 2983459"/>
                <a:gd name="connsiteX28" fmla="*/ 3510555 w 4060676"/>
                <a:gd name="connsiteY28" fmla="*/ 467805 h 2983459"/>
                <a:gd name="connsiteX29" fmla="*/ 3659624 w 4060676"/>
                <a:gd name="connsiteY29" fmla="*/ 379108 h 2983459"/>
                <a:gd name="connsiteX30" fmla="*/ 3783150 w 4060676"/>
                <a:gd name="connsiteY30" fmla="*/ 254893 h 2983459"/>
                <a:gd name="connsiteX31" fmla="*/ 2416137 w 4060676"/>
                <a:gd name="connsiteY31" fmla="*/ 87819 h 2983459"/>
                <a:gd name="connsiteX32" fmla="*/ 1745417 w 4060676"/>
                <a:gd name="connsiteY32" fmla="*/ 401696 h 2983459"/>
                <a:gd name="connsiteX33" fmla="*/ 1934561 w 4060676"/>
                <a:gd name="connsiteY33" fmla="*/ 406041 h 2983459"/>
                <a:gd name="connsiteX34" fmla="*/ 1942233 w 4060676"/>
                <a:gd name="connsiteY34" fmla="*/ 407143 h 2983459"/>
                <a:gd name="connsiteX35" fmla="*/ 1910203 w 4060676"/>
                <a:gd name="connsiteY35" fmla="*/ 415856 h 2983459"/>
                <a:gd name="connsiteX36" fmla="*/ 1583292 w 4060676"/>
                <a:gd name="connsiteY36" fmla="*/ 483859 h 2983459"/>
                <a:gd name="connsiteX37" fmla="*/ 965634 w 4060676"/>
                <a:gd name="connsiteY37" fmla="*/ 1285034 h 2983459"/>
                <a:gd name="connsiteX38" fmla="*/ 1151445 w 4060676"/>
                <a:gd name="connsiteY38" fmla="*/ 1578898 h 2983459"/>
                <a:gd name="connsiteX39" fmla="*/ 1344233 w 4060676"/>
                <a:gd name="connsiteY39" fmla="*/ 1359120 h 2983459"/>
                <a:gd name="connsiteX40" fmla="*/ 1118671 w 4060676"/>
                <a:gd name="connsiteY40" fmla="*/ 1825668 h 2983459"/>
                <a:gd name="connsiteX41" fmla="*/ 1330371 w 4060676"/>
                <a:gd name="connsiteY41" fmla="*/ 1950338 h 2983459"/>
                <a:gd name="connsiteX42" fmla="*/ 1691253 w 4060676"/>
                <a:gd name="connsiteY42" fmla="*/ 1771687 h 2983459"/>
                <a:gd name="connsiteX43" fmla="*/ 1922599 w 4060676"/>
                <a:gd name="connsiteY43" fmla="*/ 1748552 h 2983459"/>
                <a:gd name="connsiteX44" fmla="*/ 2005498 w 4060676"/>
                <a:gd name="connsiteY44" fmla="*/ 830879 h 2983459"/>
                <a:gd name="connsiteX45" fmla="*/ 2015138 w 4060676"/>
                <a:gd name="connsiteY45" fmla="*/ 1866154 h 2983459"/>
                <a:gd name="connsiteX46" fmla="*/ 1987126 w 4060676"/>
                <a:gd name="connsiteY46" fmla="*/ 1861564 h 2983459"/>
                <a:gd name="connsiteX47" fmla="*/ 1951657 w 4060676"/>
                <a:gd name="connsiteY47" fmla="*/ 1852495 h 2983459"/>
                <a:gd name="connsiteX48" fmla="*/ 1915327 w 4060676"/>
                <a:gd name="connsiteY48" fmla="*/ 1846824 h 2983459"/>
                <a:gd name="connsiteX49" fmla="*/ 1905145 w 4060676"/>
                <a:gd name="connsiteY49" fmla="*/ 1844465 h 2983459"/>
                <a:gd name="connsiteX50" fmla="*/ 1815161 w 4060676"/>
                <a:gd name="connsiteY50" fmla="*/ 1841415 h 2983459"/>
                <a:gd name="connsiteX51" fmla="*/ 1802057 w 4060676"/>
                <a:gd name="connsiteY51" fmla="*/ 1844470 h 2983459"/>
                <a:gd name="connsiteX52" fmla="*/ 1794144 w 4060676"/>
                <a:gd name="connsiteY52" fmla="*/ 1845158 h 2983459"/>
                <a:gd name="connsiteX53" fmla="*/ 1272809 w 4060676"/>
                <a:gd name="connsiteY53" fmla="*/ 2057015 h 2983459"/>
                <a:gd name="connsiteX54" fmla="*/ 975910 w 4060676"/>
                <a:gd name="connsiteY54" fmla="*/ 1821531 h 2983459"/>
                <a:gd name="connsiteX55" fmla="*/ 969826 w 4060676"/>
                <a:gd name="connsiteY55" fmla="*/ 1813649 h 2983459"/>
                <a:gd name="connsiteX56" fmla="*/ 992712 w 4060676"/>
                <a:gd name="connsiteY56" fmla="*/ 1775406 h 2983459"/>
                <a:gd name="connsiteX57" fmla="*/ 1073503 w 4060676"/>
                <a:gd name="connsiteY57" fmla="*/ 1658401 h 2983459"/>
                <a:gd name="connsiteX58" fmla="*/ 846746 w 4060676"/>
                <a:gd name="connsiteY58" fmla="*/ 1299172 h 2983459"/>
                <a:gd name="connsiteX59" fmla="*/ 1248940 w 4060676"/>
                <a:gd name="connsiteY59" fmla="*/ 685736 h 2983459"/>
                <a:gd name="connsiteX60" fmla="*/ 185024 w 4060676"/>
                <a:gd name="connsiteY60" fmla="*/ 1315433 h 2983459"/>
                <a:gd name="connsiteX61" fmla="*/ 136852 w 4060676"/>
                <a:gd name="connsiteY61" fmla="*/ 1272061 h 2983459"/>
                <a:gd name="connsiteX62" fmla="*/ 150936 w 4060676"/>
                <a:gd name="connsiteY62" fmla="*/ 1264158 h 2983459"/>
                <a:gd name="connsiteX63" fmla="*/ 203475 w 4060676"/>
                <a:gd name="connsiteY63" fmla="*/ 999615 h 2983459"/>
                <a:gd name="connsiteX64" fmla="*/ 67622 w 4060676"/>
                <a:gd name="connsiteY64" fmla="*/ 1270717 h 2983459"/>
                <a:gd name="connsiteX65" fmla="*/ 78636 w 4060676"/>
                <a:gd name="connsiteY65" fmla="*/ 1276004 h 2983459"/>
                <a:gd name="connsiteX66" fmla="*/ 80271 w 4060676"/>
                <a:gd name="connsiteY66" fmla="*/ 1291713 h 2983459"/>
                <a:gd name="connsiteX67" fmla="*/ 341916 w 4060676"/>
                <a:gd name="connsiteY67" fmla="*/ 1476996 h 2983459"/>
                <a:gd name="connsiteX68" fmla="*/ 585737 w 4060676"/>
                <a:gd name="connsiteY68" fmla="*/ 2422013 h 2983459"/>
                <a:gd name="connsiteX69" fmla="*/ 598608 w 4060676"/>
                <a:gd name="connsiteY69" fmla="*/ 2446757 h 2983459"/>
                <a:gd name="connsiteX70" fmla="*/ 598155 w 4060676"/>
                <a:gd name="connsiteY70" fmla="*/ 2458370 h 2983459"/>
                <a:gd name="connsiteX71" fmla="*/ 579414 w 4060676"/>
                <a:gd name="connsiteY71" fmla="*/ 2638226 h 2983459"/>
                <a:gd name="connsiteX72" fmla="*/ 535256 w 4060676"/>
                <a:gd name="connsiteY72" fmla="*/ 2789795 h 2983459"/>
                <a:gd name="connsiteX73" fmla="*/ 992348 w 4060676"/>
                <a:gd name="connsiteY73" fmla="*/ 2878111 h 2983459"/>
                <a:gd name="connsiteX74" fmla="*/ 1007864 w 4060676"/>
                <a:gd name="connsiteY74" fmla="*/ 2732510 h 2983459"/>
                <a:gd name="connsiteX75" fmla="*/ 1096179 w 4060676"/>
                <a:gd name="connsiteY75" fmla="*/ 2542750 h 2983459"/>
                <a:gd name="connsiteX76" fmla="*/ 1099909 w 4060676"/>
                <a:gd name="connsiteY76" fmla="*/ 2340609 h 2983459"/>
                <a:gd name="connsiteX77" fmla="*/ 1097124 w 4060676"/>
                <a:gd name="connsiteY77" fmla="*/ 2264619 h 2983459"/>
                <a:gd name="connsiteX78" fmla="*/ 1118381 w 4060676"/>
                <a:gd name="connsiteY78" fmla="*/ 2289370 h 2983459"/>
                <a:gd name="connsiteX79" fmla="*/ 1645166 w 4060676"/>
                <a:gd name="connsiteY79" fmla="*/ 2259902 h 2983459"/>
                <a:gd name="connsiteX80" fmla="*/ 1657101 w 4060676"/>
                <a:gd name="connsiteY80" fmla="*/ 2443694 h 2983459"/>
                <a:gd name="connsiteX81" fmla="*/ 1429152 w 4060676"/>
                <a:gd name="connsiteY81" fmla="*/ 2613164 h 2983459"/>
                <a:gd name="connsiteX82" fmla="*/ 1682163 w 4060676"/>
                <a:gd name="connsiteY82" fmla="*/ 2919882 h 2983459"/>
                <a:gd name="connsiteX83" fmla="*/ 2151191 w 4060676"/>
                <a:gd name="connsiteY83" fmla="*/ 2548718 h 2983459"/>
                <a:gd name="connsiteX84" fmla="*/ 2406590 w 4060676"/>
                <a:gd name="connsiteY84" fmla="*/ 1988988 h 2983459"/>
                <a:gd name="connsiteX85" fmla="*/ 2180963 w 4060676"/>
                <a:gd name="connsiteY85" fmla="*/ 1744629 h 2983459"/>
                <a:gd name="connsiteX86" fmla="*/ 2178366 w 4060676"/>
                <a:gd name="connsiteY86" fmla="*/ 1737830 h 2983459"/>
                <a:gd name="connsiteX87" fmla="*/ 2213401 w 4060676"/>
                <a:gd name="connsiteY87" fmla="*/ 1759883 h 2983459"/>
                <a:gd name="connsiteX88" fmla="*/ 2469843 w 4060676"/>
                <a:gd name="connsiteY88" fmla="*/ 1901867 h 2983459"/>
                <a:gd name="connsiteX89" fmla="*/ 2755078 w 4060676"/>
                <a:gd name="connsiteY89" fmla="*/ 2095206 h 2983459"/>
                <a:gd name="connsiteX90" fmla="*/ 3035540 w 4060676"/>
                <a:gd name="connsiteY90" fmla="*/ 1849354 h 2983459"/>
                <a:gd name="connsiteX91" fmla="*/ 2991382 w 4060676"/>
                <a:gd name="connsiteY91" fmla="*/ 1845774 h 2983459"/>
                <a:gd name="connsiteX92" fmla="*/ 2619518 w 4060676"/>
                <a:gd name="connsiteY92" fmla="*/ 1549438 h 2983459"/>
                <a:gd name="connsiteX93" fmla="*/ 2631886 w 4060676"/>
                <a:gd name="connsiteY93" fmla="*/ 1485537 h 2983459"/>
                <a:gd name="connsiteX94" fmla="*/ 2655332 w 4060676"/>
                <a:gd name="connsiteY94" fmla="*/ 1511089 h 2983459"/>
                <a:gd name="connsiteX95" fmla="*/ 3615559 w 4060676"/>
                <a:gd name="connsiteY95" fmla="*/ 1753877 h 2983459"/>
                <a:gd name="connsiteX96" fmla="*/ 3774288 w 4060676"/>
                <a:gd name="connsiteY96" fmla="*/ 186873 h 2983459"/>
                <a:gd name="connsiteX97" fmla="*/ 3650169 w 4060676"/>
                <a:gd name="connsiteY97" fmla="*/ 330088 h 2983459"/>
                <a:gd name="connsiteX98" fmla="*/ 3468765 w 4060676"/>
                <a:gd name="connsiteY98" fmla="*/ 421983 h 2983459"/>
                <a:gd name="connsiteX99" fmla="*/ 3355340 w 4060676"/>
                <a:gd name="connsiteY99" fmla="*/ 1235418 h 2983459"/>
                <a:gd name="connsiteX100" fmla="*/ 3335533 w 4060676"/>
                <a:gd name="connsiteY100" fmla="*/ 1251046 h 2983459"/>
                <a:gd name="connsiteX101" fmla="*/ 3339703 w 4060676"/>
                <a:gd name="connsiteY101" fmla="*/ 1243005 h 2983459"/>
                <a:gd name="connsiteX102" fmla="*/ 3382834 w 4060676"/>
                <a:gd name="connsiteY102" fmla="*/ 987681 h 2983459"/>
                <a:gd name="connsiteX103" fmla="*/ 3214558 w 4060676"/>
                <a:gd name="connsiteY103" fmla="*/ 1019904 h 2983459"/>
                <a:gd name="connsiteX104" fmla="*/ 3232459 w 4060676"/>
                <a:gd name="connsiteY104" fmla="*/ 880270 h 2983459"/>
                <a:gd name="connsiteX105" fmla="*/ 3074924 w 4060676"/>
                <a:gd name="connsiteY105" fmla="*/ 879076 h 2983459"/>
                <a:gd name="connsiteX106" fmla="*/ 3120275 w 4060676"/>
                <a:gd name="connsiteY106" fmla="*/ 775246 h 2983459"/>
                <a:gd name="connsiteX107" fmla="*/ 3029200 w 4060676"/>
                <a:gd name="connsiteY107" fmla="*/ 733176 h 2983459"/>
                <a:gd name="connsiteX108" fmla="*/ 3003959 w 4060676"/>
                <a:gd name="connsiteY108" fmla="*/ 733348 h 2983459"/>
                <a:gd name="connsiteX109" fmla="*/ 3024714 w 4060676"/>
                <a:gd name="connsiteY109" fmla="*/ 725896 h 2983459"/>
                <a:gd name="connsiteX110" fmla="*/ 3055829 w 4060676"/>
                <a:gd name="connsiteY110" fmla="*/ 716766 h 2983459"/>
                <a:gd name="connsiteX111" fmla="*/ 3206204 w 4060676"/>
                <a:gd name="connsiteY111" fmla="*/ 682156 h 2983459"/>
                <a:gd name="connsiteX112" fmla="*/ 3053442 w 4060676"/>
                <a:gd name="connsiteY112" fmla="*/ 487623 h 2983459"/>
                <a:gd name="connsiteX113" fmla="*/ 2894227 w 4060676"/>
                <a:gd name="connsiteY113" fmla="*/ 468100 h 2983459"/>
                <a:gd name="connsiteX114" fmla="*/ 2879525 w 4060676"/>
                <a:gd name="connsiteY114" fmla="*/ 467317 h 2983459"/>
                <a:gd name="connsiteX115" fmla="*/ 2879645 w 4060676"/>
                <a:gd name="connsiteY115" fmla="*/ 467001 h 2983459"/>
                <a:gd name="connsiteX116" fmla="*/ 2983028 w 4060676"/>
                <a:gd name="connsiteY116" fmla="*/ 435113 h 2983459"/>
                <a:gd name="connsiteX117" fmla="*/ 2416137 w 4060676"/>
                <a:gd name="connsiteY117" fmla="*/ 87819 h 2983459"/>
                <a:gd name="connsiteX118" fmla="*/ 2392485 w 4060676"/>
                <a:gd name="connsiteY118" fmla="*/ 615 h 2983459"/>
                <a:gd name="connsiteX119" fmla="*/ 2470937 w 4060676"/>
                <a:gd name="connsiteY119" fmla="*/ 7487 h 2983459"/>
                <a:gd name="connsiteX120" fmla="*/ 3046072 w 4060676"/>
                <a:gd name="connsiteY120" fmla="*/ 398450 h 2983459"/>
                <a:gd name="connsiteX121" fmla="*/ 3285173 w 4060676"/>
                <a:gd name="connsiteY121" fmla="*/ 679556 h 2983459"/>
                <a:gd name="connsiteX122" fmla="*/ 3243169 w 4060676"/>
                <a:gd name="connsiteY122" fmla="*/ 782951 h 2983459"/>
                <a:gd name="connsiteX123" fmla="*/ 3417447 w 4060676"/>
                <a:gd name="connsiteY123" fmla="*/ 917242 h 2983459"/>
                <a:gd name="connsiteX124" fmla="*/ 3395030 w 4060676"/>
                <a:gd name="connsiteY124" fmla="*/ 421070 h 2983459"/>
                <a:gd name="connsiteX125" fmla="*/ 3598588 w 4060676"/>
                <a:gd name="connsiteY125" fmla="*/ 291826 h 2983459"/>
                <a:gd name="connsiteX126" fmla="*/ 3756913 w 4060676"/>
                <a:gd name="connsiteY126" fmla="*/ 143197 h 2983459"/>
                <a:gd name="connsiteX127" fmla="*/ 4060635 w 4060676"/>
                <a:gd name="connsiteY127" fmla="*/ 973587 h 2983459"/>
                <a:gd name="connsiteX128" fmla="*/ 3559816 w 4060676"/>
                <a:gd name="connsiteY128" fmla="*/ 1881525 h 2983459"/>
                <a:gd name="connsiteX129" fmla="*/ 3134182 w 4060676"/>
                <a:gd name="connsiteY129" fmla="*/ 1891067 h 2983459"/>
                <a:gd name="connsiteX130" fmla="*/ 3080940 w 4060676"/>
                <a:gd name="connsiteY130" fmla="*/ 1872530 h 2983459"/>
                <a:gd name="connsiteX131" fmla="*/ 3074550 w 4060676"/>
                <a:gd name="connsiteY131" fmla="*/ 1902782 h 2983459"/>
                <a:gd name="connsiteX132" fmla="*/ 2745577 w 4060676"/>
                <a:gd name="connsiteY132" fmla="*/ 2169092 h 2983459"/>
                <a:gd name="connsiteX133" fmla="*/ 2458010 w 4060676"/>
                <a:gd name="connsiteY133" fmla="*/ 2039848 h 2983459"/>
                <a:gd name="connsiteX134" fmla="*/ 2445085 w 4060676"/>
                <a:gd name="connsiteY134" fmla="*/ 2207865 h 2983459"/>
                <a:gd name="connsiteX135" fmla="*/ 2574329 w 4060676"/>
                <a:gd name="connsiteY135" fmla="*/ 2482507 h 2983459"/>
                <a:gd name="connsiteX136" fmla="*/ 2567867 w 4060676"/>
                <a:gd name="connsiteY136" fmla="*/ 2631138 h 2983459"/>
                <a:gd name="connsiteX137" fmla="*/ 2596947 w 4060676"/>
                <a:gd name="connsiteY137" fmla="*/ 2815310 h 2983459"/>
                <a:gd name="connsiteX138" fmla="*/ 2383695 w 4060676"/>
                <a:gd name="connsiteY138" fmla="*/ 2892857 h 2983459"/>
                <a:gd name="connsiteX139" fmla="*/ 2050891 w 4060676"/>
                <a:gd name="connsiteY139" fmla="*/ 2821772 h 2983459"/>
                <a:gd name="connsiteX140" fmla="*/ 2040734 w 4060676"/>
                <a:gd name="connsiteY140" fmla="*/ 2762177 h 2983459"/>
                <a:gd name="connsiteX141" fmla="*/ 2040201 w 4060676"/>
                <a:gd name="connsiteY141" fmla="*/ 2744183 h 2983459"/>
                <a:gd name="connsiteX142" fmla="*/ 1990170 w 4060676"/>
                <a:gd name="connsiteY142" fmla="*/ 2791607 h 2983459"/>
                <a:gd name="connsiteX143" fmla="*/ 1676086 w 4060676"/>
                <a:gd name="connsiteY143" fmla="*/ 2983326 h 2983459"/>
                <a:gd name="connsiteX144" fmla="*/ 1362669 w 4060676"/>
                <a:gd name="connsiteY144" fmla="*/ 2605289 h 2983459"/>
                <a:gd name="connsiteX145" fmla="*/ 1508068 w 4060676"/>
                <a:gd name="connsiteY145" fmla="*/ 2446965 h 2983459"/>
                <a:gd name="connsiteX146" fmla="*/ 1175266 w 4060676"/>
                <a:gd name="connsiteY146" fmla="*/ 2414653 h 2983459"/>
                <a:gd name="connsiteX147" fmla="*/ 1162341 w 4060676"/>
                <a:gd name="connsiteY147" fmla="*/ 2560053 h 2983459"/>
                <a:gd name="connsiteX148" fmla="*/ 1078332 w 4060676"/>
                <a:gd name="connsiteY148" fmla="*/ 2702221 h 2983459"/>
                <a:gd name="connsiteX149" fmla="*/ 1010479 w 4060676"/>
                <a:gd name="connsiteY149" fmla="*/ 2957478 h 2983459"/>
                <a:gd name="connsiteX150" fmla="*/ 474118 w 4060676"/>
                <a:gd name="connsiteY150" fmla="*/ 2844389 h 2983459"/>
                <a:gd name="connsiteX151" fmla="*/ 487043 w 4060676"/>
                <a:gd name="connsiteY151" fmla="*/ 2656986 h 2983459"/>
                <a:gd name="connsiteX152" fmla="*/ 357799 w 4060676"/>
                <a:gd name="connsiteY152" fmla="*/ 2682835 h 2983459"/>
                <a:gd name="connsiteX153" fmla="*/ 21765 w 4060676"/>
                <a:gd name="connsiteY153" fmla="*/ 2337107 h 2983459"/>
                <a:gd name="connsiteX154" fmla="*/ 225324 w 4060676"/>
                <a:gd name="connsiteY154" fmla="*/ 1981687 h 2983459"/>
                <a:gd name="connsiteX155" fmla="*/ 244710 w 4060676"/>
                <a:gd name="connsiteY155" fmla="*/ 1626266 h 2983459"/>
                <a:gd name="connsiteX156" fmla="*/ 37920 w 4060676"/>
                <a:gd name="connsiteY156" fmla="*/ 1332238 h 2983459"/>
                <a:gd name="connsiteX157" fmla="*/ 257633 w 4060676"/>
                <a:gd name="connsiteY157" fmla="*/ 928351 h 2983459"/>
                <a:gd name="connsiteX158" fmla="*/ 257635 w 4060676"/>
                <a:gd name="connsiteY158" fmla="*/ 1244997 h 2983459"/>
                <a:gd name="connsiteX159" fmla="*/ 1272199 w 4060676"/>
                <a:gd name="connsiteY159" fmla="*/ 602009 h 2983459"/>
                <a:gd name="connsiteX160" fmla="*/ 1572691 w 4060676"/>
                <a:gd name="connsiteY160" fmla="*/ 382295 h 2983459"/>
                <a:gd name="connsiteX161" fmla="*/ 1652908 w 4060676"/>
                <a:gd name="connsiteY161" fmla="*/ 373882 h 2983459"/>
                <a:gd name="connsiteX162" fmla="*/ 1662204 w 4060676"/>
                <a:gd name="connsiteY162" fmla="*/ 353995 h 2983459"/>
                <a:gd name="connsiteX163" fmla="*/ 1918420 w 4060676"/>
                <a:gd name="connsiteY163" fmla="*/ 107652 h 2983459"/>
                <a:gd name="connsiteX164" fmla="*/ 2392485 w 4060676"/>
                <a:gd name="connsiteY164" fmla="*/ 615 h 2983459"/>
                <a:gd name="connsiteX0" fmla="*/ 2424492 w 4060676"/>
                <a:gd name="connsiteY0" fmla="*/ 2267062 h 2983459"/>
                <a:gd name="connsiteX1" fmla="*/ 2114194 w 4060676"/>
                <a:gd name="connsiteY1" fmla="*/ 2792182 h 2983459"/>
                <a:gd name="connsiteX2" fmla="*/ 2333789 w 4060676"/>
                <a:gd name="connsiteY2" fmla="*/ 2837533 h 2983459"/>
                <a:gd name="connsiteX3" fmla="*/ 2553385 w 4060676"/>
                <a:gd name="connsiteY3" fmla="*/ 2789795 h 2983459"/>
                <a:gd name="connsiteX4" fmla="*/ 2514001 w 4060676"/>
                <a:gd name="connsiteY4" fmla="*/ 2663289 h 2983459"/>
                <a:gd name="connsiteX5" fmla="*/ 2527129 w 4060676"/>
                <a:gd name="connsiteY5" fmla="*/ 2486659 h 2983459"/>
                <a:gd name="connsiteX6" fmla="*/ 2424492 w 4060676"/>
                <a:gd name="connsiteY6" fmla="*/ 2267062 h 2983459"/>
                <a:gd name="connsiteX7" fmla="*/ 283436 w 4060676"/>
                <a:gd name="connsiteY7" fmla="*/ 2047468 h 2983459"/>
                <a:gd name="connsiteX8" fmla="*/ 100839 w 4060676"/>
                <a:gd name="connsiteY8" fmla="*/ 2318382 h 2983459"/>
                <a:gd name="connsiteX9" fmla="*/ 388460 w 4060676"/>
                <a:gd name="connsiteY9" fmla="*/ 2607197 h 2983459"/>
                <a:gd name="connsiteX10" fmla="*/ 507806 w 4060676"/>
                <a:gd name="connsiteY10" fmla="*/ 2510528 h 2983459"/>
                <a:gd name="connsiteX11" fmla="*/ 283436 w 4060676"/>
                <a:gd name="connsiteY11" fmla="*/ 2047468 h 2983459"/>
                <a:gd name="connsiteX12" fmla="*/ 2765820 w 4060676"/>
                <a:gd name="connsiteY12" fmla="*/ 769874 h 2983459"/>
                <a:gd name="connsiteX13" fmla="*/ 2712413 w 4060676"/>
                <a:gd name="connsiteY13" fmla="*/ 808065 h 2983459"/>
                <a:gd name="connsiteX14" fmla="*/ 2805032 w 4060676"/>
                <a:gd name="connsiteY14" fmla="*/ 920071 h 2983459"/>
                <a:gd name="connsiteX15" fmla="*/ 2897100 w 4060676"/>
                <a:gd name="connsiteY15" fmla="*/ 896977 h 2983459"/>
                <a:gd name="connsiteX16" fmla="*/ 2546225 w 4060676"/>
                <a:gd name="connsiteY16" fmla="*/ 1153571 h 2983459"/>
                <a:gd name="connsiteX17" fmla="*/ 2613342 w 4060676"/>
                <a:gd name="connsiteY17" fmla="*/ 1051580 h 2983459"/>
                <a:gd name="connsiteX18" fmla="*/ 2509226 w 4060676"/>
                <a:gd name="connsiteY18" fmla="*/ 958442 h 2983459"/>
                <a:gd name="connsiteX19" fmla="*/ 2444781 w 4060676"/>
                <a:gd name="connsiteY19" fmla="*/ 1012743 h 2983459"/>
                <a:gd name="connsiteX20" fmla="*/ 2765820 w 4060676"/>
                <a:gd name="connsiteY20" fmla="*/ 769874 h 2983459"/>
                <a:gd name="connsiteX21" fmla="*/ 2410333 w 4060676"/>
                <a:gd name="connsiteY21" fmla="*/ 550290 h 2983459"/>
                <a:gd name="connsiteX22" fmla="*/ 2440902 w 4060676"/>
                <a:gd name="connsiteY22" fmla="*/ 550782 h 2983459"/>
                <a:gd name="connsiteX23" fmla="*/ 2549805 w 4060676"/>
                <a:gd name="connsiteY23" fmla="*/ 567584 h 2983459"/>
                <a:gd name="connsiteX24" fmla="*/ 2296792 w 4060676"/>
                <a:gd name="connsiteY24" fmla="*/ 820596 h 2983459"/>
                <a:gd name="connsiteX25" fmla="*/ 2410333 w 4060676"/>
                <a:gd name="connsiteY25" fmla="*/ 550290 h 2983459"/>
                <a:gd name="connsiteX26" fmla="*/ 3783150 w 4060676"/>
                <a:gd name="connsiteY26" fmla="*/ 254893 h 2983459"/>
                <a:gd name="connsiteX27" fmla="*/ 3673467 w 4060676"/>
                <a:gd name="connsiteY27" fmla="*/ 441155 h 2983459"/>
                <a:gd name="connsiteX28" fmla="*/ 3510555 w 4060676"/>
                <a:gd name="connsiteY28" fmla="*/ 467805 h 2983459"/>
                <a:gd name="connsiteX29" fmla="*/ 3659624 w 4060676"/>
                <a:gd name="connsiteY29" fmla="*/ 379108 h 2983459"/>
                <a:gd name="connsiteX30" fmla="*/ 3783150 w 4060676"/>
                <a:gd name="connsiteY30" fmla="*/ 254893 h 2983459"/>
                <a:gd name="connsiteX31" fmla="*/ 2416137 w 4060676"/>
                <a:gd name="connsiteY31" fmla="*/ 87819 h 2983459"/>
                <a:gd name="connsiteX32" fmla="*/ 1745417 w 4060676"/>
                <a:gd name="connsiteY32" fmla="*/ 401696 h 2983459"/>
                <a:gd name="connsiteX33" fmla="*/ 1934561 w 4060676"/>
                <a:gd name="connsiteY33" fmla="*/ 406041 h 2983459"/>
                <a:gd name="connsiteX34" fmla="*/ 1942233 w 4060676"/>
                <a:gd name="connsiteY34" fmla="*/ 407143 h 2983459"/>
                <a:gd name="connsiteX35" fmla="*/ 1910203 w 4060676"/>
                <a:gd name="connsiteY35" fmla="*/ 415856 h 2983459"/>
                <a:gd name="connsiteX36" fmla="*/ 1583292 w 4060676"/>
                <a:gd name="connsiteY36" fmla="*/ 483859 h 2983459"/>
                <a:gd name="connsiteX37" fmla="*/ 965634 w 4060676"/>
                <a:gd name="connsiteY37" fmla="*/ 1285034 h 2983459"/>
                <a:gd name="connsiteX38" fmla="*/ 1151445 w 4060676"/>
                <a:gd name="connsiteY38" fmla="*/ 1578898 h 2983459"/>
                <a:gd name="connsiteX39" fmla="*/ 1344233 w 4060676"/>
                <a:gd name="connsiteY39" fmla="*/ 1359120 h 2983459"/>
                <a:gd name="connsiteX40" fmla="*/ 1118671 w 4060676"/>
                <a:gd name="connsiteY40" fmla="*/ 1825668 h 2983459"/>
                <a:gd name="connsiteX41" fmla="*/ 1330371 w 4060676"/>
                <a:gd name="connsiteY41" fmla="*/ 1950338 h 2983459"/>
                <a:gd name="connsiteX42" fmla="*/ 1691253 w 4060676"/>
                <a:gd name="connsiteY42" fmla="*/ 1771687 h 2983459"/>
                <a:gd name="connsiteX43" fmla="*/ 1922599 w 4060676"/>
                <a:gd name="connsiteY43" fmla="*/ 1748552 h 2983459"/>
                <a:gd name="connsiteX44" fmla="*/ 2005498 w 4060676"/>
                <a:gd name="connsiteY44" fmla="*/ 830879 h 2983459"/>
                <a:gd name="connsiteX45" fmla="*/ 2015138 w 4060676"/>
                <a:gd name="connsiteY45" fmla="*/ 1866154 h 2983459"/>
                <a:gd name="connsiteX46" fmla="*/ 1987126 w 4060676"/>
                <a:gd name="connsiteY46" fmla="*/ 1861564 h 2983459"/>
                <a:gd name="connsiteX47" fmla="*/ 1951657 w 4060676"/>
                <a:gd name="connsiteY47" fmla="*/ 1852495 h 2983459"/>
                <a:gd name="connsiteX48" fmla="*/ 1915327 w 4060676"/>
                <a:gd name="connsiteY48" fmla="*/ 1846824 h 2983459"/>
                <a:gd name="connsiteX49" fmla="*/ 1905145 w 4060676"/>
                <a:gd name="connsiteY49" fmla="*/ 1844465 h 2983459"/>
                <a:gd name="connsiteX50" fmla="*/ 1815161 w 4060676"/>
                <a:gd name="connsiteY50" fmla="*/ 1841415 h 2983459"/>
                <a:gd name="connsiteX51" fmla="*/ 1802057 w 4060676"/>
                <a:gd name="connsiteY51" fmla="*/ 1844470 h 2983459"/>
                <a:gd name="connsiteX52" fmla="*/ 1794144 w 4060676"/>
                <a:gd name="connsiteY52" fmla="*/ 1845158 h 2983459"/>
                <a:gd name="connsiteX53" fmla="*/ 1272809 w 4060676"/>
                <a:gd name="connsiteY53" fmla="*/ 2057015 h 2983459"/>
                <a:gd name="connsiteX54" fmla="*/ 975910 w 4060676"/>
                <a:gd name="connsiteY54" fmla="*/ 1821531 h 2983459"/>
                <a:gd name="connsiteX55" fmla="*/ 969826 w 4060676"/>
                <a:gd name="connsiteY55" fmla="*/ 1813649 h 2983459"/>
                <a:gd name="connsiteX56" fmla="*/ 992712 w 4060676"/>
                <a:gd name="connsiteY56" fmla="*/ 1775406 h 2983459"/>
                <a:gd name="connsiteX57" fmla="*/ 1073503 w 4060676"/>
                <a:gd name="connsiteY57" fmla="*/ 1658401 h 2983459"/>
                <a:gd name="connsiteX58" fmla="*/ 846746 w 4060676"/>
                <a:gd name="connsiteY58" fmla="*/ 1299172 h 2983459"/>
                <a:gd name="connsiteX59" fmla="*/ 1248940 w 4060676"/>
                <a:gd name="connsiteY59" fmla="*/ 685736 h 2983459"/>
                <a:gd name="connsiteX60" fmla="*/ 185024 w 4060676"/>
                <a:gd name="connsiteY60" fmla="*/ 1315433 h 2983459"/>
                <a:gd name="connsiteX61" fmla="*/ 136852 w 4060676"/>
                <a:gd name="connsiteY61" fmla="*/ 1272061 h 2983459"/>
                <a:gd name="connsiteX62" fmla="*/ 150936 w 4060676"/>
                <a:gd name="connsiteY62" fmla="*/ 1264158 h 2983459"/>
                <a:gd name="connsiteX63" fmla="*/ 203475 w 4060676"/>
                <a:gd name="connsiteY63" fmla="*/ 999615 h 2983459"/>
                <a:gd name="connsiteX64" fmla="*/ 67622 w 4060676"/>
                <a:gd name="connsiteY64" fmla="*/ 1270717 h 2983459"/>
                <a:gd name="connsiteX65" fmla="*/ 78636 w 4060676"/>
                <a:gd name="connsiteY65" fmla="*/ 1276004 h 2983459"/>
                <a:gd name="connsiteX66" fmla="*/ 80271 w 4060676"/>
                <a:gd name="connsiteY66" fmla="*/ 1291713 h 2983459"/>
                <a:gd name="connsiteX67" fmla="*/ 341916 w 4060676"/>
                <a:gd name="connsiteY67" fmla="*/ 1476996 h 2983459"/>
                <a:gd name="connsiteX68" fmla="*/ 585737 w 4060676"/>
                <a:gd name="connsiteY68" fmla="*/ 2422013 h 2983459"/>
                <a:gd name="connsiteX69" fmla="*/ 598608 w 4060676"/>
                <a:gd name="connsiteY69" fmla="*/ 2446757 h 2983459"/>
                <a:gd name="connsiteX70" fmla="*/ 598155 w 4060676"/>
                <a:gd name="connsiteY70" fmla="*/ 2458370 h 2983459"/>
                <a:gd name="connsiteX71" fmla="*/ 579414 w 4060676"/>
                <a:gd name="connsiteY71" fmla="*/ 2638226 h 2983459"/>
                <a:gd name="connsiteX72" fmla="*/ 535256 w 4060676"/>
                <a:gd name="connsiteY72" fmla="*/ 2789795 h 2983459"/>
                <a:gd name="connsiteX73" fmla="*/ 992348 w 4060676"/>
                <a:gd name="connsiteY73" fmla="*/ 2878111 h 2983459"/>
                <a:gd name="connsiteX74" fmla="*/ 1007864 w 4060676"/>
                <a:gd name="connsiteY74" fmla="*/ 2732510 h 2983459"/>
                <a:gd name="connsiteX75" fmla="*/ 1096179 w 4060676"/>
                <a:gd name="connsiteY75" fmla="*/ 2542750 h 2983459"/>
                <a:gd name="connsiteX76" fmla="*/ 1099909 w 4060676"/>
                <a:gd name="connsiteY76" fmla="*/ 2340609 h 2983459"/>
                <a:gd name="connsiteX77" fmla="*/ 1097124 w 4060676"/>
                <a:gd name="connsiteY77" fmla="*/ 2264619 h 2983459"/>
                <a:gd name="connsiteX78" fmla="*/ 1118381 w 4060676"/>
                <a:gd name="connsiteY78" fmla="*/ 2289370 h 2983459"/>
                <a:gd name="connsiteX79" fmla="*/ 1645166 w 4060676"/>
                <a:gd name="connsiteY79" fmla="*/ 2259902 h 2983459"/>
                <a:gd name="connsiteX80" fmla="*/ 1657101 w 4060676"/>
                <a:gd name="connsiteY80" fmla="*/ 2443694 h 2983459"/>
                <a:gd name="connsiteX81" fmla="*/ 1429152 w 4060676"/>
                <a:gd name="connsiteY81" fmla="*/ 2613164 h 2983459"/>
                <a:gd name="connsiteX82" fmla="*/ 1682163 w 4060676"/>
                <a:gd name="connsiteY82" fmla="*/ 2919882 h 2983459"/>
                <a:gd name="connsiteX83" fmla="*/ 2151191 w 4060676"/>
                <a:gd name="connsiteY83" fmla="*/ 2548718 h 2983459"/>
                <a:gd name="connsiteX84" fmla="*/ 2406590 w 4060676"/>
                <a:gd name="connsiteY84" fmla="*/ 1988988 h 2983459"/>
                <a:gd name="connsiteX85" fmla="*/ 2180963 w 4060676"/>
                <a:gd name="connsiteY85" fmla="*/ 1744629 h 2983459"/>
                <a:gd name="connsiteX86" fmla="*/ 2178366 w 4060676"/>
                <a:gd name="connsiteY86" fmla="*/ 1737830 h 2983459"/>
                <a:gd name="connsiteX87" fmla="*/ 2213401 w 4060676"/>
                <a:gd name="connsiteY87" fmla="*/ 1759883 h 2983459"/>
                <a:gd name="connsiteX88" fmla="*/ 2469843 w 4060676"/>
                <a:gd name="connsiteY88" fmla="*/ 1901867 h 2983459"/>
                <a:gd name="connsiteX89" fmla="*/ 2755078 w 4060676"/>
                <a:gd name="connsiteY89" fmla="*/ 2095206 h 2983459"/>
                <a:gd name="connsiteX90" fmla="*/ 3035540 w 4060676"/>
                <a:gd name="connsiteY90" fmla="*/ 1849354 h 2983459"/>
                <a:gd name="connsiteX91" fmla="*/ 2991382 w 4060676"/>
                <a:gd name="connsiteY91" fmla="*/ 1845774 h 2983459"/>
                <a:gd name="connsiteX92" fmla="*/ 2619518 w 4060676"/>
                <a:gd name="connsiteY92" fmla="*/ 1549438 h 2983459"/>
                <a:gd name="connsiteX93" fmla="*/ 2631886 w 4060676"/>
                <a:gd name="connsiteY93" fmla="*/ 1485537 h 2983459"/>
                <a:gd name="connsiteX94" fmla="*/ 2655332 w 4060676"/>
                <a:gd name="connsiteY94" fmla="*/ 1511089 h 2983459"/>
                <a:gd name="connsiteX95" fmla="*/ 3615559 w 4060676"/>
                <a:gd name="connsiteY95" fmla="*/ 1753877 h 2983459"/>
                <a:gd name="connsiteX96" fmla="*/ 3774288 w 4060676"/>
                <a:gd name="connsiteY96" fmla="*/ 186873 h 2983459"/>
                <a:gd name="connsiteX97" fmla="*/ 3650169 w 4060676"/>
                <a:gd name="connsiteY97" fmla="*/ 330088 h 2983459"/>
                <a:gd name="connsiteX98" fmla="*/ 3468765 w 4060676"/>
                <a:gd name="connsiteY98" fmla="*/ 421983 h 2983459"/>
                <a:gd name="connsiteX99" fmla="*/ 3355340 w 4060676"/>
                <a:gd name="connsiteY99" fmla="*/ 1235418 h 2983459"/>
                <a:gd name="connsiteX100" fmla="*/ 3335533 w 4060676"/>
                <a:gd name="connsiteY100" fmla="*/ 1251046 h 2983459"/>
                <a:gd name="connsiteX101" fmla="*/ 3339703 w 4060676"/>
                <a:gd name="connsiteY101" fmla="*/ 1243005 h 2983459"/>
                <a:gd name="connsiteX102" fmla="*/ 3382834 w 4060676"/>
                <a:gd name="connsiteY102" fmla="*/ 987681 h 2983459"/>
                <a:gd name="connsiteX103" fmla="*/ 3214558 w 4060676"/>
                <a:gd name="connsiteY103" fmla="*/ 1019904 h 2983459"/>
                <a:gd name="connsiteX104" fmla="*/ 3232459 w 4060676"/>
                <a:gd name="connsiteY104" fmla="*/ 880270 h 2983459"/>
                <a:gd name="connsiteX105" fmla="*/ 3074924 w 4060676"/>
                <a:gd name="connsiteY105" fmla="*/ 879076 h 2983459"/>
                <a:gd name="connsiteX106" fmla="*/ 3120275 w 4060676"/>
                <a:gd name="connsiteY106" fmla="*/ 775246 h 2983459"/>
                <a:gd name="connsiteX107" fmla="*/ 3029200 w 4060676"/>
                <a:gd name="connsiteY107" fmla="*/ 733176 h 2983459"/>
                <a:gd name="connsiteX108" fmla="*/ 3003959 w 4060676"/>
                <a:gd name="connsiteY108" fmla="*/ 733348 h 2983459"/>
                <a:gd name="connsiteX109" fmla="*/ 3024714 w 4060676"/>
                <a:gd name="connsiteY109" fmla="*/ 725896 h 2983459"/>
                <a:gd name="connsiteX110" fmla="*/ 3055829 w 4060676"/>
                <a:gd name="connsiteY110" fmla="*/ 716766 h 2983459"/>
                <a:gd name="connsiteX111" fmla="*/ 3206204 w 4060676"/>
                <a:gd name="connsiteY111" fmla="*/ 682156 h 2983459"/>
                <a:gd name="connsiteX112" fmla="*/ 3053442 w 4060676"/>
                <a:gd name="connsiteY112" fmla="*/ 487623 h 2983459"/>
                <a:gd name="connsiteX113" fmla="*/ 2894227 w 4060676"/>
                <a:gd name="connsiteY113" fmla="*/ 468100 h 2983459"/>
                <a:gd name="connsiteX114" fmla="*/ 2879525 w 4060676"/>
                <a:gd name="connsiteY114" fmla="*/ 467317 h 2983459"/>
                <a:gd name="connsiteX115" fmla="*/ 2879645 w 4060676"/>
                <a:gd name="connsiteY115" fmla="*/ 467001 h 2983459"/>
                <a:gd name="connsiteX116" fmla="*/ 2983028 w 4060676"/>
                <a:gd name="connsiteY116" fmla="*/ 435113 h 2983459"/>
                <a:gd name="connsiteX117" fmla="*/ 2416137 w 4060676"/>
                <a:gd name="connsiteY117" fmla="*/ 87819 h 2983459"/>
                <a:gd name="connsiteX118" fmla="*/ 2392485 w 4060676"/>
                <a:gd name="connsiteY118" fmla="*/ 615 h 2983459"/>
                <a:gd name="connsiteX119" fmla="*/ 2470937 w 4060676"/>
                <a:gd name="connsiteY119" fmla="*/ 7487 h 2983459"/>
                <a:gd name="connsiteX120" fmla="*/ 3046072 w 4060676"/>
                <a:gd name="connsiteY120" fmla="*/ 398450 h 2983459"/>
                <a:gd name="connsiteX121" fmla="*/ 3285173 w 4060676"/>
                <a:gd name="connsiteY121" fmla="*/ 679556 h 2983459"/>
                <a:gd name="connsiteX122" fmla="*/ 3243169 w 4060676"/>
                <a:gd name="connsiteY122" fmla="*/ 782951 h 2983459"/>
                <a:gd name="connsiteX123" fmla="*/ 3417447 w 4060676"/>
                <a:gd name="connsiteY123" fmla="*/ 917242 h 2983459"/>
                <a:gd name="connsiteX124" fmla="*/ 3395030 w 4060676"/>
                <a:gd name="connsiteY124" fmla="*/ 421070 h 2983459"/>
                <a:gd name="connsiteX125" fmla="*/ 3598588 w 4060676"/>
                <a:gd name="connsiteY125" fmla="*/ 291826 h 2983459"/>
                <a:gd name="connsiteX126" fmla="*/ 3756913 w 4060676"/>
                <a:gd name="connsiteY126" fmla="*/ 143197 h 2983459"/>
                <a:gd name="connsiteX127" fmla="*/ 4060635 w 4060676"/>
                <a:gd name="connsiteY127" fmla="*/ 973587 h 2983459"/>
                <a:gd name="connsiteX128" fmla="*/ 3559816 w 4060676"/>
                <a:gd name="connsiteY128" fmla="*/ 1881525 h 2983459"/>
                <a:gd name="connsiteX129" fmla="*/ 3134182 w 4060676"/>
                <a:gd name="connsiteY129" fmla="*/ 1891067 h 2983459"/>
                <a:gd name="connsiteX130" fmla="*/ 3080940 w 4060676"/>
                <a:gd name="connsiteY130" fmla="*/ 1872530 h 2983459"/>
                <a:gd name="connsiteX131" fmla="*/ 3074550 w 4060676"/>
                <a:gd name="connsiteY131" fmla="*/ 1902782 h 2983459"/>
                <a:gd name="connsiteX132" fmla="*/ 2745577 w 4060676"/>
                <a:gd name="connsiteY132" fmla="*/ 2169092 h 2983459"/>
                <a:gd name="connsiteX133" fmla="*/ 2458010 w 4060676"/>
                <a:gd name="connsiteY133" fmla="*/ 2039848 h 2983459"/>
                <a:gd name="connsiteX134" fmla="*/ 2445085 w 4060676"/>
                <a:gd name="connsiteY134" fmla="*/ 2207865 h 2983459"/>
                <a:gd name="connsiteX135" fmla="*/ 2574329 w 4060676"/>
                <a:gd name="connsiteY135" fmla="*/ 2482507 h 2983459"/>
                <a:gd name="connsiteX136" fmla="*/ 2567867 w 4060676"/>
                <a:gd name="connsiteY136" fmla="*/ 2631138 h 2983459"/>
                <a:gd name="connsiteX137" fmla="*/ 2596947 w 4060676"/>
                <a:gd name="connsiteY137" fmla="*/ 2815310 h 2983459"/>
                <a:gd name="connsiteX138" fmla="*/ 2383695 w 4060676"/>
                <a:gd name="connsiteY138" fmla="*/ 2892857 h 2983459"/>
                <a:gd name="connsiteX139" fmla="*/ 2050891 w 4060676"/>
                <a:gd name="connsiteY139" fmla="*/ 2821772 h 2983459"/>
                <a:gd name="connsiteX140" fmla="*/ 2040734 w 4060676"/>
                <a:gd name="connsiteY140" fmla="*/ 2762177 h 2983459"/>
                <a:gd name="connsiteX141" fmla="*/ 2040201 w 4060676"/>
                <a:gd name="connsiteY141" fmla="*/ 2744183 h 2983459"/>
                <a:gd name="connsiteX142" fmla="*/ 1990170 w 4060676"/>
                <a:gd name="connsiteY142" fmla="*/ 2791607 h 2983459"/>
                <a:gd name="connsiteX143" fmla="*/ 1676086 w 4060676"/>
                <a:gd name="connsiteY143" fmla="*/ 2983326 h 2983459"/>
                <a:gd name="connsiteX144" fmla="*/ 1362669 w 4060676"/>
                <a:gd name="connsiteY144" fmla="*/ 2605289 h 2983459"/>
                <a:gd name="connsiteX145" fmla="*/ 1508068 w 4060676"/>
                <a:gd name="connsiteY145" fmla="*/ 2446965 h 2983459"/>
                <a:gd name="connsiteX146" fmla="*/ 1175266 w 4060676"/>
                <a:gd name="connsiteY146" fmla="*/ 2414653 h 2983459"/>
                <a:gd name="connsiteX147" fmla="*/ 1162341 w 4060676"/>
                <a:gd name="connsiteY147" fmla="*/ 2560053 h 2983459"/>
                <a:gd name="connsiteX148" fmla="*/ 1078332 w 4060676"/>
                <a:gd name="connsiteY148" fmla="*/ 2702221 h 2983459"/>
                <a:gd name="connsiteX149" fmla="*/ 1010479 w 4060676"/>
                <a:gd name="connsiteY149" fmla="*/ 2957478 h 2983459"/>
                <a:gd name="connsiteX150" fmla="*/ 474118 w 4060676"/>
                <a:gd name="connsiteY150" fmla="*/ 2844389 h 2983459"/>
                <a:gd name="connsiteX151" fmla="*/ 487043 w 4060676"/>
                <a:gd name="connsiteY151" fmla="*/ 2656986 h 2983459"/>
                <a:gd name="connsiteX152" fmla="*/ 357799 w 4060676"/>
                <a:gd name="connsiteY152" fmla="*/ 2682835 h 2983459"/>
                <a:gd name="connsiteX153" fmla="*/ 21765 w 4060676"/>
                <a:gd name="connsiteY153" fmla="*/ 2337107 h 2983459"/>
                <a:gd name="connsiteX154" fmla="*/ 225324 w 4060676"/>
                <a:gd name="connsiteY154" fmla="*/ 1981687 h 2983459"/>
                <a:gd name="connsiteX155" fmla="*/ 244710 w 4060676"/>
                <a:gd name="connsiteY155" fmla="*/ 1626266 h 2983459"/>
                <a:gd name="connsiteX156" fmla="*/ 37920 w 4060676"/>
                <a:gd name="connsiteY156" fmla="*/ 1332238 h 2983459"/>
                <a:gd name="connsiteX157" fmla="*/ 257633 w 4060676"/>
                <a:gd name="connsiteY157" fmla="*/ 928351 h 2983459"/>
                <a:gd name="connsiteX158" fmla="*/ 257635 w 4060676"/>
                <a:gd name="connsiteY158" fmla="*/ 1244997 h 2983459"/>
                <a:gd name="connsiteX159" fmla="*/ 1272199 w 4060676"/>
                <a:gd name="connsiteY159" fmla="*/ 602009 h 2983459"/>
                <a:gd name="connsiteX160" fmla="*/ 1572691 w 4060676"/>
                <a:gd name="connsiteY160" fmla="*/ 382295 h 2983459"/>
                <a:gd name="connsiteX161" fmla="*/ 1652908 w 4060676"/>
                <a:gd name="connsiteY161" fmla="*/ 373882 h 2983459"/>
                <a:gd name="connsiteX162" fmla="*/ 1662204 w 4060676"/>
                <a:gd name="connsiteY162" fmla="*/ 353995 h 2983459"/>
                <a:gd name="connsiteX163" fmla="*/ 1918420 w 4060676"/>
                <a:gd name="connsiteY163" fmla="*/ 107652 h 2983459"/>
                <a:gd name="connsiteX164" fmla="*/ 2392485 w 4060676"/>
                <a:gd name="connsiteY164" fmla="*/ 615 h 29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4060676" h="2983459">
                  <a:moveTo>
                    <a:pt x="2424492" y="2267062"/>
                  </a:moveTo>
                  <a:cubicBezTo>
                    <a:pt x="2364024" y="2506548"/>
                    <a:pt x="2295201" y="2657720"/>
                    <a:pt x="2114194" y="2792182"/>
                  </a:cubicBezTo>
                  <a:cubicBezTo>
                    <a:pt x="2095895" y="2890443"/>
                    <a:pt x="2260591" y="2837931"/>
                    <a:pt x="2333789" y="2837533"/>
                  </a:cubicBezTo>
                  <a:cubicBezTo>
                    <a:pt x="2406988" y="2837135"/>
                    <a:pt x="2533893" y="2856827"/>
                    <a:pt x="2553385" y="2789795"/>
                  </a:cubicBezTo>
                  <a:cubicBezTo>
                    <a:pt x="2566514" y="2743648"/>
                    <a:pt x="2534289" y="2708242"/>
                    <a:pt x="2514001" y="2663289"/>
                  </a:cubicBezTo>
                  <a:cubicBezTo>
                    <a:pt x="2503657" y="2613960"/>
                    <a:pt x="2542046" y="2552696"/>
                    <a:pt x="2527129" y="2486659"/>
                  </a:cubicBezTo>
                  <a:cubicBezTo>
                    <a:pt x="2512211" y="2420621"/>
                    <a:pt x="2468251" y="2316392"/>
                    <a:pt x="2424492" y="2267062"/>
                  </a:cubicBezTo>
                  <a:close/>
                  <a:moveTo>
                    <a:pt x="283436" y="2047468"/>
                  </a:moveTo>
                  <a:cubicBezTo>
                    <a:pt x="218990" y="2121064"/>
                    <a:pt x="100837" y="2261494"/>
                    <a:pt x="100839" y="2318382"/>
                  </a:cubicBezTo>
                  <a:cubicBezTo>
                    <a:pt x="104418" y="2389193"/>
                    <a:pt x="294177" y="2598446"/>
                    <a:pt x="388460" y="2607197"/>
                  </a:cubicBezTo>
                  <a:cubicBezTo>
                    <a:pt x="466432" y="2609185"/>
                    <a:pt x="473991" y="2568212"/>
                    <a:pt x="507806" y="2510528"/>
                  </a:cubicBezTo>
                  <a:cubicBezTo>
                    <a:pt x="399600" y="2357368"/>
                    <a:pt x="354646" y="2279396"/>
                    <a:pt x="283436" y="2047468"/>
                  </a:cubicBezTo>
                  <a:close/>
                  <a:moveTo>
                    <a:pt x="2765820" y="769874"/>
                  </a:moveTo>
                  <a:cubicBezTo>
                    <a:pt x="2765322" y="772163"/>
                    <a:pt x="2727083" y="786383"/>
                    <a:pt x="2712413" y="808065"/>
                  </a:cubicBezTo>
                  <a:cubicBezTo>
                    <a:pt x="2773123" y="828296"/>
                    <a:pt x="2794445" y="847331"/>
                    <a:pt x="2805032" y="920071"/>
                  </a:cubicBezTo>
                  <a:cubicBezTo>
                    <a:pt x="2807890" y="919524"/>
                    <a:pt x="2827881" y="903392"/>
                    <a:pt x="2897100" y="896977"/>
                  </a:cubicBezTo>
                  <a:cubicBezTo>
                    <a:pt x="2739962" y="959832"/>
                    <a:pt x="2660397" y="1027463"/>
                    <a:pt x="2546225" y="1153571"/>
                  </a:cubicBezTo>
                  <a:cubicBezTo>
                    <a:pt x="2582327" y="1082560"/>
                    <a:pt x="2613096" y="1052462"/>
                    <a:pt x="2613342" y="1051580"/>
                  </a:cubicBezTo>
                  <a:cubicBezTo>
                    <a:pt x="2553575" y="1031274"/>
                    <a:pt x="2536771" y="1026484"/>
                    <a:pt x="2509226" y="958442"/>
                  </a:cubicBezTo>
                  <a:cubicBezTo>
                    <a:pt x="2505597" y="960430"/>
                    <a:pt x="2499580" y="957347"/>
                    <a:pt x="2444781" y="1012743"/>
                  </a:cubicBezTo>
                  <a:cubicBezTo>
                    <a:pt x="2541052" y="823382"/>
                    <a:pt x="2631358" y="811248"/>
                    <a:pt x="2765820" y="769874"/>
                  </a:cubicBezTo>
                  <a:close/>
                  <a:moveTo>
                    <a:pt x="2410333" y="550290"/>
                  </a:moveTo>
                  <a:cubicBezTo>
                    <a:pt x="2419704" y="549547"/>
                    <a:pt x="2429863" y="549815"/>
                    <a:pt x="2440902" y="550782"/>
                  </a:cubicBezTo>
                  <a:cubicBezTo>
                    <a:pt x="2470341" y="553362"/>
                    <a:pt x="2506045" y="560920"/>
                    <a:pt x="2549805" y="567584"/>
                  </a:cubicBezTo>
                  <a:cubicBezTo>
                    <a:pt x="2401021" y="591056"/>
                    <a:pt x="2359648" y="674199"/>
                    <a:pt x="2296792" y="820596"/>
                  </a:cubicBezTo>
                  <a:cubicBezTo>
                    <a:pt x="2317678" y="610175"/>
                    <a:pt x="2344731" y="555489"/>
                    <a:pt x="2410333" y="550290"/>
                  </a:cubicBezTo>
                  <a:close/>
                  <a:moveTo>
                    <a:pt x="3783150" y="254893"/>
                  </a:moveTo>
                  <a:cubicBezTo>
                    <a:pt x="3804523" y="282408"/>
                    <a:pt x="3739486" y="385978"/>
                    <a:pt x="3673467" y="441155"/>
                  </a:cubicBezTo>
                  <a:cubicBezTo>
                    <a:pt x="3607447" y="496332"/>
                    <a:pt x="3510178" y="490678"/>
                    <a:pt x="3510555" y="467805"/>
                  </a:cubicBezTo>
                  <a:cubicBezTo>
                    <a:pt x="3510932" y="444933"/>
                    <a:pt x="3614191" y="414594"/>
                    <a:pt x="3659624" y="379108"/>
                  </a:cubicBezTo>
                  <a:cubicBezTo>
                    <a:pt x="3705056" y="343623"/>
                    <a:pt x="3768044" y="241700"/>
                    <a:pt x="3783150" y="254893"/>
                  </a:cubicBezTo>
                  <a:close/>
                  <a:moveTo>
                    <a:pt x="2416137" y="87819"/>
                  </a:moveTo>
                  <a:cubicBezTo>
                    <a:pt x="2189779" y="94581"/>
                    <a:pt x="1906136" y="152662"/>
                    <a:pt x="1745417" y="401696"/>
                  </a:cubicBezTo>
                  <a:cubicBezTo>
                    <a:pt x="1827566" y="400801"/>
                    <a:pt x="1888681" y="401174"/>
                    <a:pt x="1934561" y="406041"/>
                  </a:cubicBezTo>
                  <a:lnTo>
                    <a:pt x="1942233" y="407143"/>
                  </a:lnTo>
                  <a:lnTo>
                    <a:pt x="1910203" y="415856"/>
                  </a:lnTo>
                  <a:cubicBezTo>
                    <a:pt x="1740012" y="456798"/>
                    <a:pt x="1621448" y="450684"/>
                    <a:pt x="1583292" y="483859"/>
                  </a:cubicBezTo>
                  <a:cubicBezTo>
                    <a:pt x="1503514" y="539676"/>
                    <a:pt x="986932" y="1015589"/>
                    <a:pt x="965634" y="1285034"/>
                  </a:cubicBezTo>
                  <a:cubicBezTo>
                    <a:pt x="1020347" y="1428063"/>
                    <a:pt x="1030631" y="1326988"/>
                    <a:pt x="1151445" y="1578898"/>
                  </a:cubicBezTo>
                  <a:lnTo>
                    <a:pt x="1344233" y="1359120"/>
                  </a:lnTo>
                  <a:lnTo>
                    <a:pt x="1118671" y="1825668"/>
                  </a:lnTo>
                  <a:cubicBezTo>
                    <a:pt x="1174917" y="1907802"/>
                    <a:pt x="1213260" y="1951746"/>
                    <a:pt x="1330371" y="1950338"/>
                  </a:cubicBezTo>
                  <a:cubicBezTo>
                    <a:pt x="1455439" y="1933752"/>
                    <a:pt x="1570959" y="1831237"/>
                    <a:pt x="1691253" y="1771687"/>
                  </a:cubicBezTo>
                  <a:cubicBezTo>
                    <a:pt x="1810140" y="1722205"/>
                    <a:pt x="1845484" y="1756264"/>
                    <a:pt x="1922599" y="1748552"/>
                  </a:cubicBezTo>
                  <a:cubicBezTo>
                    <a:pt x="2085093" y="1307801"/>
                    <a:pt x="1829877" y="1309820"/>
                    <a:pt x="2005498" y="830879"/>
                  </a:cubicBezTo>
                  <a:cubicBezTo>
                    <a:pt x="1943071" y="1217742"/>
                    <a:pt x="2190942" y="1217925"/>
                    <a:pt x="2015138" y="1866154"/>
                  </a:cubicBezTo>
                  <a:lnTo>
                    <a:pt x="1987126" y="1861564"/>
                  </a:lnTo>
                  <a:lnTo>
                    <a:pt x="1951657" y="1852495"/>
                  </a:lnTo>
                  <a:lnTo>
                    <a:pt x="1915327" y="1846824"/>
                  </a:lnTo>
                  <a:lnTo>
                    <a:pt x="1905145" y="1844465"/>
                  </a:lnTo>
                  <a:cubicBezTo>
                    <a:pt x="1877647" y="1839043"/>
                    <a:pt x="1848722" y="1836138"/>
                    <a:pt x="1815161" y="1841415"/>
                  </a:cubicBezTo>
                  <a:lnTo>
                    <a:pt x="1802057" y="1844470"/>
                  </a:lnTo>
                  <a:lnTo>
                    <a:pt x="1794144" y="1845158"/>
                  </a:lnTo>
                  <a:cubicBezTo>
                    <a:pt x="1618687" y="1872477"/>
                    <a:pt x="1554166" y="2027178"/>
                    <a:pt x="1272809" y="2057015"/>
                  </a:cubicBezTo>
                  <a:cubicBezTo>
                    <a:pt x="1188919" y="2040655"/>
                    <a:pt x="1054775" y="1917387"/>
                    <a:pt x="975910" y="1821531"/>
                  </a:cubicBezTo>
                  <a:lnTo>
                    <a:pt x="969826" y="1813649"/>
                  </a:lnTo>
                  <a:lnTo>
                    <a:pt x="992712" y="1775406"/>
                  </a:lnTo>
                  <a:cubicBezTo>
                    <a:pt x="1017162" y="1737318"/>
                    <a:pt x="1043915" y="1698382"/>
                    <a:pt x="1073503" y="1658401"/>
                  </a:cubicBezTo>
                  <a:cubicBezTo>
                    <a:pt x="1021787" y="1519563"/>
                    <a:pt x="885334" y="1471426"/>
                    <a:pt x="846746" y="1299172"/>
                  </a:cubicBezTo>
                  <a:cubicBezTo>
                    <a:pt x="909204" y="1120949"/>
                    <a:pt x="934664" y="1004786"/>
                    <a:pt x="1248940" y="685736"/>
                  </a:cubicBezTo>
                  <a:cubicBezTo>
                    <a:pt x="413523" y="805479"/>
                    <a:pt x="416003" y="1478035"/>
                    <a:pt x="185024" y="1315433"/>
                  </a:cubicBezTo>
                  <a:lnTo>
                    <a:pt x="136852" y="1272061"/>
                  </a:lnTo>
                  <a:lnTo>
                    <a:pt x="150936" y="1264158"/>
                  </a:lnTo>
                  <a:cubicBezTo>
                    <a:pt x="236066" y="1206816"/>
                    <a:pt x="135250" y="1124231"/>
                    <a:pt x="203475" y="999615"/>
                  </a:cubicBezTo>
                  <a:cubicBezTo>
                    <a:pt x="65979" y="1059486"/>
                    <a:pt x="5237" y="1216214"/>
                    <a:pt x="67622" y="1270717"/>
                  </a:cubicBezTo>
                  <a:lnTo>
                    <a:pt x="78636" y="1276004"/>
                  </a:lnTo>
                  <a:lnTo>
                    <a:pt x="80271" y="1291713"/>
                  </a:lnTo>
                  <a:cubicBezTo>
                    <a:pt x="93977" y="1403822"/>
                    <a:pt x="130676" y="1528016"/>
                    <a:pt x="341916" y="1476996"/>
                  </a:cubicBezTo>
                  <a:cubicBezTo>
                    <a:pt x="251063" y="1959101"/>
                    <a:pt x="456263" y="2198152"/>
                    <a:pt x="585737" y="2422013"/>
                  </a:cubicBezTo>
                  <a:lnTo>
                    <a:pt x="598608" y="2446757"/>
                  </a:lnTo>
                  <a:lnTo>
                    <a:pt x="598155" y="2458370"/>
                  </a:lnTo>
                  <a:cubicBezTo>
                    <a:pt x="594258" y="2526714"/>
                    <a:pt x="584486" y="2574078"/>
                    <a:pt x="579414" y="2638226"/>
                  </a:cubicBezTo>
                  <a:cubicBezTo>
                    <a:pt x="564694" y="2688749"/>
                    <a:pt x="528493" y="2683180"/>
                    <a:pt x="535256" y="2789795"/>
                  </a:cubicBezTo>
                  <a:cubicBezTo>
                    <a:pt x="539632" y="2856231"/>
                    <a:pt x="929494" y="2963244"/>
                    <a:pt x="992348" y="2878111"/>
                  </a:cubicBezTo>
                  <a:cubicBezTo>
                    <a:pt x="1010649" y="2848673"/>
                    <a:pt x="1002692" y="2781043"/>
                    <a:pt x="1007864" y="2732510"/>
                  </a:cubicBezTo>
                  <a:cubicBezTo>
                    <a:pt x="1015820" y="2678406"/>
                    <a:pt x="1085836" y="2619529"/>
                    <a:pt x="1096179" y="2542750"/>
                  </a:cubicBezTo>
                  <a:cubicBezTo>
                    <a:pt x="1102942" y="2481686"/>
                    <a:pt x="1102246" y="2412564"/>
                    <a:pt x="1099909" y="2340609"/>
                  </a:cubicBezTo>
                  <a:lnTo>
                    <a:pt x="1097124" y="2264619"/>
                  </a:lnTo>
                  <a:lnTo>
                    <a:pt x="1118381" y="2289370"/>
                  </a:lnTo>
                  <a:cubicBezTo>
                    <a:pt x="1255827" y="2429553"/>
                    <a:pt x="1547353" y="2476763"/>
                    <a:pt x="1645166" y="2259902"/>
                  </a:cubicBezTo>
                  <a:cubicBezTo>
                    <a:pt x="1646360" y="2329520"/>
                    <a:pt x="1669036" y="2356174"/>
                    <a:pt x="1657101" y="2443694"/>
                  </a:cubicBezTo>
                  <a:cubicBezTo>
                    <a:pt x="1622889" y="2498991"/>
                    <a:pt x="1470525" y="2511323"/>
                    <a:pt x="1429152" y="2613164"/>
                  </a:cubicBezTo>
                  <a:cubicBezTo>
                    <a:pt x="1416819" y="2655731"/>
                    <a:pt x="1578732" y="2910732"/>
                    <a:pt x="1682163" y="2919882"/>
                  </a:cubicBezTo>
                  <a:cubicBezTo>
                    <a:pt x="1757352" y="2928633"/>
                    <a:pt x="1896985" y="2781044"/>
                    <a:pt x="2151191" y="2548718"/>
                  </a:cubicBezTo>
                  <a:cubicBezTo>
                    <a:pt x="2190544" y="2512751"/>
                    <a:pt x="2339358" y="2230463"/>
                    <a:pt x="2406590" y="1988988"/>
                  </a:cubicBezTo>
                  <a:cubicBezTo>
                    <a:pt x="2338060" y="1954571"/>
                    <a:pt x="2238748" y="1872582"/>
                    <a:pt x="2180963" y="1744629"/>
                  </a:cubicBezTo>
                  <a:lnTo>
                    <a:pt x="2178366" y="1737830"/>
                  </a:lnTo>
                  <a:lnTo>
                    <a:pt x="2213401" y="1759883"/>
                  </a:lnTo>
                  <a:cubicBezTo>
                    <a:pt x="2301567" y="1818624"/>
                    <a:pt x="2391076" y="1883070"/>
                    <a:pt x="2469843" y="1901867"/>
                  </a:cubicBezTo>
                  <a:cubicBezTo>
                    <a:pt x="2527925" y="1968699"/>
                    <a:pt x="2595554" y="2074917"/>
                    <a:pt x="2755078" y="2095206"/>
                  </a:cubicBezTo>
                  <a:cubicBezTo>
                    <a:pt x="2891132" y="2118279"/>
                    <a:pt x="2987802" y="1989783"/>
                    <a:pt x="3035540" y="1849354"/>
                  </a:cubicBezTo>
                  <a:lnTo>
                    <a:pt x="2991382" y="1845774"/>
                  </a:lnTo>
                  <a:cubicBezTo>
                    <a:pt x="2788496" y="2185908"/>
                    <a:pt x="2574070" y="1875704"/>
                    <a:pt x="2619518" y="1549438"/>
                  </a:cubicBezTo>
                  <a:lnTo>
                    <a:pt x="2631886" y="1485537"/>
                  </a:lnTo>
                  <a:lnTo>
                    <a:pt x="2655332" y="1511089"/>
                  </a:lnTo>
                  <a:cubicBezTo>
                    <a:pt x="3060371" y="1923874"/>
                    <a:pt x="3414538" y="1863526"/>
                    <a:pt x="3615559" y="1753877"/>
                  </a:cubicBezTo>
                  <a:cubicBezTo>
                    <a:pt x="4166139" y="1414539"/>
                    <a:pt x="4004823" y="243417"/>
                    <a:pt x="3774288" y="186873"/>
                  </a:cubicBezTo>
                  <a:cubicBezTo>
                    <a:pt x="3721578" y="173944"/>
                    <a:pt x="3684780" y="309799"/>
                    <a:pt x="3650169" y="330088"/>
                  </a:cubicBezTo>
                  <a:cubicBezTo>
                    <a:pt x="3543952" y="386180"/>
                    <a:pt x="3497407" y="377825"/>
                    <a:pt x="3468765" y="421983"/>
                  </a:cubicBezTo>
                  <a:cubicBezTo>
                    <a:pt x="3412075" y="504779"/>
                    <a:pt x="3620767" y="984072"/>
                    <a:pt x="3355340" y="1235418"/>
                  </a:cubicBezTo>
                  <a:lnTo>
                    <a:pt x="3335533" y="1251046"/>
                  </a:lnTo>
                  <a:lnTo>
                    <a:pt x="3339703" y="1243005"/>
                  </a:lnTo>
                  <a:cubicBezTo>
                    <a:pt x="3389995" y="1145813"/>
                    <a:pt x="3442806" y="1034524"/>
                    <a:pt x="3382834" y="987681"/>
                  </a:cubicBezTo>
                  <a:cubicBezTo>
                    <a:pt x="3312421" y="931589"/>
                    <a:pt x="3268263" y="974553"/>
                    <a:pt x="3214558" y="1019904"/>
                  </a:cubicBezTo>
                  <a:cubicBezTo>
                    <a:pt x="3249168" y="980520"/>
                    <a:pt x="3290939" y="973359"/>
                    <a:pt x="3232459" y="880270"/>
                  </a:cubicBezTo>
                  <a:cubicBezTo>
                    <a:pt x="3185915" y="848842"/>
                    <a:pt x="3160852" y="856799"/>
                    <a:pt x="3074924" y="879076"/>
                  </a:cubicBezTo>
                  <a:cubicBezTo>
                    <a:pt x="3129425" y="838500"/>
                    <a:pt x="3146929" y="854013"/>
                    <a:pt x="3120275" y="775246"/>
                  </a:cubicBezTo>
                  <a:cubicBezTo>
                    <a:pt x="3083875" y="726314"/>
                    <a:pt x="3065600" y="730416"/>
                    <a:pt x="3029200" y="733176"/>
                  </a:cubicBezTo>
                  <a:lnTo>
                    <a:pt x="3003959" y="733348"/>
                  </a:lnTo>
                  <a:lnTo>
                    <a:pt x="3024714" y="725896"/>
                  </a:lnTo>
                  <a:cubicBezTo>
                    <a:pt x="3036352" y="721981"/>
                    <a:pt x="3046878" y="718805"/>
                    <a:pt x="3055829" y="716766"/>
                  </a:cubicBezTo>
                  <a:cubicBezTo>
                    <a:pt x="3127436" y="700456"/>
                    <a:pt x="3205806" y="722932"/>
                    <a:pt x="3206204" y="682156"/>
                  </a:cubicBezTo>
                  <a:cubicBezTo>
                    <a:pt x="3214956" y="637601"/>
                    <a:pt x="3103169" y="498762"/>
                    <a:pt x="3053442" y="487623"/>
                  </a:cubicBezTo>
                  <a:cubicBezTo>
                    <a:pt x="3026887" y="479269"/>
                    <a:pt x="2957368" y="472258"/>
                    <a:pt x="2894227" y="468100"/>
                  </a:cubicBezTo>
                  <a:lnTo>
                    <a:pt x="2879525" y="467317"/>
                  </a:lnTo>
                  <a:lnTo>
                    <a:pt x="2879645" y="467001"/>
                  </a:lnTo>
                  <a:cubicBezTo>
                    <a:pt x="2894638" y="446301"/>
                    <a:pt x="2944539" y="438693"/>
                    <a:pt x="2983028" y="435113"/>
                  </a:cubicBezTo>
                  <a:cubicBezTo>
                    <a:pt x="2821514" y="221883"/>
                    <a:pt x="2603907" y="85034"/>
                    <a:pt x="2416137" y="87819"/>
                  </a:cubicBezTo>
                  <a:close/>
                  <a:moveTo>
                    <a:pt x="2392485" y="615"/>
                  </a:moveTo>
                  <a:cubicBezTo>
                    <a:pt x="2418432" y="1614"/>
                    <a:pt x="2444617" y="3852"/>
                    <a:pt x="2470937" y="7487"/>
                  </a:cubicBezTo>
                  <a:cubicBezTo>
                    <a:pt x="2681497" y="36566"/>
                    <a:pt x="2952370" y="257358"/>
                    <a:pt x="3046072" y="398450"/>
                  </a:cubicBezTo>
                  <a:cubicBezTo>
                    <a:pt x="3172085" y="432916"/>
                    <a:pt x="3252323" y="615472"/>
                    <a:pt x="3285173" y="679556"/>
                  </a:cubicBezTo>
                  <a:cubicBezTo>
                    <a:pt x="3318023" y="743640"/>
                    <a:pt x="3279787" y="780258"/>
                    <a:pt x="3243169" y="782951"/>
                  </a:cubicBezTo>
                  <a:cubicBezTo>
                    <a:pt x="3242630" y="790759"/>
                    <a:pt x="3356122" y="881498"/>
                    <a:pt x="3417447" y="917242"/>
                  </a:cubicBezTo>
                  <a:cubicBezTo>
                    <a:pt x="3464903" y="710924"/>
                    <a:pt x="3396040" y="572459"/>
                    <a:pt x="3395030" y="421070"/>
                  </a:cubicBezTo>
                  <a:cubicBezTo>
                    <a:pt x="3467191" y="295058"/>
                    <a:pt x="3526427" y="340292"/>
                    <a:pt x="3598588" y="291826"/>
                  </a:cubicBezTo>
                  <a:cubicBezTo>
                    <a:pt x="3641669" y="242283"/>
                    <a:pt x="3681522" y="137811"/>
                    <a:pt x="3756913" y="143197"/>
                  </a:cubicBezTo>
                  <a:cubicBezTo>
                    <a:pt x="3888310" y="148582"/>
                    <a:pt x="4055250" y="393068"/>
                    <a:pt x="4060635" y="973587"/>
                  </a:cubicBezTo>
                  <a:cubicBezTo>
                    <a:pt x="4063866" y="1434556"/>
                    <a:pt x="3879694" y="1743665"/>
                    <a:pt x="3559816" y="1881525"/>
                  </a:cubicBezTo>
                  <a:cubicBezTo>
                    <a:pt x="3396242" y="1925145"/>
                    <a:pt x="3255841" y="1922418"/>
                    <a:pt x="3134182" y="1891067"/>
                  </a:cubicBezTo>
                  <a:lnTo>
                    <a:pt x="3080940" y="1872530"/>
                  </a:lnTo>
                  <a:lnTo>
                    <a:pt x="3074550" y="1902782"/>
                  </a:lnTo>
                  <a:cubicBezTo>
                    <a:pt x="3009628" y="2151834"/>
                    <a:pt x="2827096" y="2170977"/>
                    <a:pt x="2745577" y="2169092"/>
                  </a:cubicBezTo>
                  <a:cubicBezTo>
                    <a:pt x="2652413" y="2166938"/>
                    <a:pt x="2514554" y="2080775"/>
                    <a:pt x="2458010" y="2039848"/>
                  </a:cubicBezTo>
                  <a:cubicBezTo>
                    <a:pt x="2456395" y="2102315"/>
                    <a:pt x="2470934" y="2124396"/>
                    <a:pt x="2445085" y="2207865"/>
                  </a:cubicBezTo>
                  <a:cubicBezTo>
                    <a:pt x="2512939" y="2252562"/>
                    <a:pt x="2553865" y="2411962"/>
                    <a:pt x="2574329" y="2482507"/>
                  </a:cubicBezTo>
                  <a:cubicBezTo>
                    <a:pt x="2594793" y="2553052"/>
                    <a:pt x="2569483" y="2569209"/>
                    <a:pt x="2567867" y="2631138"/>
                  </a:cubicBezTo>
                  <a:cubicBezTo>
                    <a:pt x="2566252" y="2693067"/>
                    <a:pt x="2630874" y="2742610"/>
                    <a:pt x="2596947" y="2815310"/>
                  </a:cubicBezTo>
                  <a:cubicBezTo>
                    <a:pt x="2563020" y="2888010"/>
                    <a:pt x="2474704" y="2891780"/>
                    <a:pt x="2383695" y="2892857"/>
                  </a:cubicBezTo>
                  <a:cubicBezTo>
                    <a:pt x="2292686" y="2893934"/>
                    <a:pt x="2089126" y="2956401"/>
                    <a:pt x="2050891" y="2821772"/>
                  </a:cubicBezTo>
                  <a:cubicBezTo>
                    <a:pt x="2046112" y="2804944"/>
                    <a:pt x="2042763" y="2784892"/>
                    <a:pt x="2040734" y="2762177"/>
                  </a:cubicBezTo>
                  <a:cubicBezTo>
                    <a:pt x="2040556" y="2756179"/>
                    <a:pt x="2040379" y="2750181"/>
                    <a:pt x="2040201" y="2744183"/>
                  </a:cubicBezTo>
                  <a:lnTo>
                    <a:pt x="1990170" y="2791607"/>
                  </a:lnTo>
                  <a:cubicBezTo>
                    <a:pt x="1875799" y="2899267"/>
                    <a:pt x="1772682" y="2987365"/>
                    <a:pt x="1676086" y="2983326"/>
                  </a:cubicBezTo>
                  <a:cubicBezTo>
                    <a:pt x="1515070" y="2951015"/>
                    <a:pt x="1390672" y="2694682"/>
                    <a:pt x="1362669" y="2605289"/>
                  </a:cubicBezTo>
                  <a:cubicBezTo>
                    <a:pt x="1334666" y="2515896"/>
                    <a:pt x="1425674" y="2499201"/>
                    <a:pt x="1508068" y="2446965"/>
                  </a:cubicBezTo>
                  <a:cubicBezTo>
                    <a:pt x="1425675" y="2494893"/>
                    <a:pt x="1202731" y="2455580"/>
                    <a:pt x="1175266" y="2414653"/>
                  </a:cubicBezTo>
                  <a:cubicBezTo>
                    <a:pt x="1183343" y="2499738"/>
                    <a:pt x="1178497" y="2512125"/>
                    <a:pt x="1162341" y="2560053"/>
                  </a:cubicBezTo>
                  <a:cubicBezTo>
                    <a:pt x="1146185" y="2607981"/>
                    <a:pt x="1103642" y="2635984"/>
                    <a:pt x="1078332" y="2702221"/>
                  </a:cubicBezTo>
                  <a:cubicBezTo>
                    <a:pt x="1053022" y="2768459"/>
                    <a:pt x="1111181" y="2933783"/>
                    <a:pt x="1010479" y="2957478"/>
                  </a:cubicBezTo>
                  <a:cubicBezTo>
                    <a:pt x="909777" y="2981173"/>
                    <a:pt x="596899" y="2972017"/>
                    <a:pt x="474118" y="2844389"/>
                  </a:cubicBezTo>
                  <a:cubicBezTo>
                    <a:pt x="422421" y="2781383"/>
                    <a:pt x="506429" y="2683912"/>
                    <a:pt x="487043" y="2656986"/>
                  </a:cubicBezTo>
                  <a:cubicBezTo>
                    <a:pt x="467657" y="2630060"/>
                    <a:pt x="435345" y="2736148"/>
                    <a:pt x="357799" y="2682835"/>
                  </a:cubicBezTo>
                  <a:cubicBezTo>
                    <a:pt x="280253" y="2629522"/>
                    <a:pt x="43844" y="2453965"/>
                    <a:pt x="21765" y="2337107"/>
                  </a:cubicBezTo>
                  <a:cubicBezTo>
                    <a:pt x="-314" y="2220249"/>
                    <a:pt x="134315" y="2097468"/>
                    <a:pt x="225324" y="1981687"/>
                  </a:cubicBezTo>
                  <a:cubicBezTo>
                    <a:pt x="203245" y="1856212"/>
                    <a:pt x="194090" y="1772202"/>
                    <a:pt x="244710" y="1626266"/>
                  </a:cubicBezTo>
                  <a:cubicBezTo>
                    <a:pt x="176857" y="1584801"/>
                    <a:pt x="29304" y="1526104"/>
                    <a:pt x="37920" y="1332238"/>
                  </a:cubicBezTo>
                  <a:cubicBezTo>
                    <a:pt x="-108556" y="1080213"/>
                    <a:pt x="213475" y="945045"/>
                    <a:pt x="257633" y="928351"/>
                  </a:cubicBezTo>
                  <a:cubicBezTo>
                    <a:pt x="216166" y="1054903"/>
                    <a:pt x="306640" y="1143218"/>
                    <a:pt x="257635" y="1244997"/>
                  </a:cubicBezTo>
                  <a:cubicBezTo>
                    <a:pt x="728837" y="645630"/>
                    <a:pt x="1054100" y="607394"/>
                    <a:pt x="1272199" y="602009"/>
                  </a:cubicBezTo>
                  <a:cubicBezTo>
                    <a:pt x="1441831" y="451225"/>
                    <a:pt x="1456372" y="411913"/>
                    <a:pt x="1572691" y="382295"/>
                  </a:cubicBezTo>
                  <a:lnTo>
                    <a:pt x="1652908" y="373882"/>
                  </a:lnTo>
                  <a:lnTo>
                    <a:pt x="1662204" y="353995"/>
                  </a:lnTo>
                  <a:cubicBezTo>
                    <a:pt x="1733591" y="212200"/>
                    <a:pt x="1795908" y="167966"/>
                    <a:pt x="1918420" y="107652"/>
                  </a:cubicBezTo>
                  <a:cubicBezTo>
                    <a:pt x="2040933" y="47338"/>
                    <a:pt x="2210859" y="-6379"/>
                    <a:pt x="2392485" y="615"/>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7" name="Picture 6"/>
            <p:cNvPicPr>
              <a:picLocks noChangeAspect="1"/>
            </p:cNvPicPr>
            <p:nvPr/>
          </p:nvPicPr>
          <p:blipFill>
            <a:blip r:embed="rId4">
              <a:duotone>
                <a:prstClr val="black"/>
                <a:schemeClr val="bg2">
                  <a:tint val="45000"/>
                  <a:satMod val="400000"/>
                </a:schemeClr>
              </a:duotone>
            </a:blip>
            <a:stretch>
              <a:fillRect/>
            </a:stretch>
          </p:blipFill>
          <p:spPr>
            <a:xfrm>
              <a:off x="1118512" y="5129376"/>
              <a:ext cx="717487" cy="375283"/>
            </a:xfrm>
            <a:prstGeom prst="rect">
              <a:avLst/>
            </a:prstGeom>
          </p:spPr>
        </p:pic>
        <p:sp>
          <p:nvSpPr>
            <p:cNvPr id="8" name="Cross 7"/>
            <p:cNvSpPr/>
            <p:nvPr/>
          </p:nvSpPr>
          <p:spPr bwMode="auto">
            <a:xfrm>
              <a:off x="2042441" y="5202092"/>
              <a:ext cx="229849" cy="229849"/>
            </a:xfrm>
            <a:prstGeom prst="plus">
              <a:avLst>
                <a:gd name="adj" fmla="val 47102"/>
              </a:avLst>
            </a:prstGeom>
            <a:solidFill>
              <a:srgbClr val="002050"/>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sp>
        <p:nvSpPr>
          <p:cNvPr id="10" name="Rectangle 9"/>
          <p:cNvSpPr/>
          <p:nvPr/>
        </p:nvSpPr>
        <p:spPr>
          <a:xfrm>
            <a:off x="61625" y="5988762"/>
            <a:ext cx="2295833" cy="230832"/>
          </a:xfrm>
          <a:prstGeom prst="rect">
            <a:avLst/>
          </a:prstGeom>
          <a:noFill/>
        </p:spPr>
        <p:txBody>
          <a:bodyPr wrap="square">
            <a:spAutoFit/>
          </a:bodyPr>
          <a:lstStyle/>
          <a:p>
            <a:pPr marL="0" lvl="1" defTabSz="913788">
              <a:buSzPct val="60000"/>
              <a:tabLst>
                <a:tab pos="230321" algn="l"/>
              </a:tabLst>
              <a:defRPr/>
            </a:pPr>
            <a:r>
              <a:rPr lang="en-US" sz="900" spc="-29" dirty="0">
                <a:solidFill>
                  <a:sysClr val="windowText" lastClr="000000"/>
                </a:solidFill>
                <a:latin typeface="Segoe UI" panose="020B0502040204020203" pitchFamily="34" charset="0"/>
                <a:cs typeface="Segoe UI" panose="020B0502040204020203" pitchFamily="34" charset="0"/>
              </a:rPr>
              <a:t>*Applies to HDInsight only</a:t>
            </a:r>
          </a:p>
        </p:txBody>
      </p:sp>
    </p:spTree>
    <p:extLst>
      <p:ext uri="{BB962C8B-B14F-4D97-AF65-F5344CB8AC3E}">
        <p14:creationId xmlns:p14="http://schemas.microsoft.com/office/powerpoint/2010/main" val="34175261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935333" y="1973823"/>
            <a:ext cx="7256294" cy="43647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9" name="Title 1"/>
          <p:cNvSpPr>
            <a:spLocks noGrp="1"/>
          </p:cNvSpPr>
          <p:nvPr>
            <p:ph type="title"/>
          </p:nvPr>
        </p:nvSpPr>
        <p:spPr>
          <a:xfrm>
            <a:off x="269240" y="289511"/>
            <a:ext cx="11655840" cy="899665"/>
          </a:xfrm>
        </p:spPr>
        <p:txBody>
          <a:bodyPr/>
          <a:lstStyle/>
          <a:p>
            <a:r>
              <a:rPr lang="en-US" dirty="0"/>
              <a:t>Big Data is driving transformative changes</a:t>
            </a:r>
          </a:p>
        </p:txBody>
      </p:sp>
      <p:cxnSp>
        <p:nvCxnSpPr>
          <p:cNvPr id="92" name="Straight Connector 91"/>
          <p:cNvCxnSpPr/>
          <p:nvPr/>
        </p:nvCxnSpPr>
        <p:spPr>
          <a:xfrm flipH="1">
            <a:off x="4935333" y="1492244"/>
            <a:ext cx="2387" cy="484632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8145723" y="1492244"/>
            <a:ext cx="22339" cy="484632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5080634" y="1445643"/>
            <a:ext cx="2125903" cy="584775"/>
          </a:xfrm>
          <a:prstGeom prst="rect">
            <a:avLst/>
          </a:prstGeom>
        </p:spPr>
        <p:txBody>
          <a:bodyPr wrap="none" lIns="182880" tIns="0" rIns="0" bIns="0">
            <a:noAutofit/>
          </a:bodyPr>
          <a:lstStyle/>
          <a:p>
            <a:pPr lvl="0"/>
            <a:r>
              <a:rPr lang="en-US" sz="2800" dirty="0">
                <a:solidFill>
                  <a:schemeClr val="bg1"/>
                </a:solidFill>
                <a:latin typeface="Segoe UI Light"/>
              </a:rPr>
              <a:t>Traditional</a:t>
            </a:r>
          </a:p>
        </p:txBody>
      </p:sp>
      <p:sp>
        <p:nvSpPr>
          <p:cNvPr id="109" name="Rectangle 108"/>
          <p:cNvSpPr/>
          <p:nvPr/>
        </p:nvSpPr>
        <p:spPr>
          <a:xfrm>
            <a:off x="8328288" y="1445642"/>
            <a:ext cx="2125903" cy="584775"/>
          </a:xfrm>
          <a:prstGeom prst="rect">
            <a:avLst/>
          </a:prstGeom>
        </p:spPr>
        <p:txBody>
          <a:bodyPr wrap="none" lIns="182880" tIns="0" rIns="0" bIns="0">
            <a:noAutofit/>
          </a:bodyPr>
          <a:lstStyle/>
          <a:p>
            <a:pPr lvl="0"/>
            <a:r>
              <a:rPr lang="en-US" sz="2800" dirty="0">
                <a:solidFill>
                  <a:schemeClr val="bg1"/>
                </a:solidFill>
                <a:latin typeface="Segoe UI Light"/>
              </a:rPr>
              <a:t>Big Data</a:t>
            </a:r>
          </a:p>
        </p:txBody>
      </p:sp>
      <p:grpSp>
        <p:nvGrpSpPr>
          <p:cNvPr id="3" name="Group 2"/>
          <p:cNvGrpSpPr/>
          <p:nvPr/>
        </p:nvGrpSpPr>
        <p:grpSpPr>
          <a:xfrm>
            <a:off x="5080634" y="2256301"/>
            <a:ext cx="6627348" cy="926407"/>
            <a:chOff x="5080634" y="2256301"/>
            <a:chExt cx="6627348" cy="926407"/>
          </a:xfrm>
        </p:grpSpPr>
        <p:sp>
          <p:nvSpPr>
            <p:cNvPr id="110" name="TextBox 109"/>
            <p:cNvSpPr txBox="1"/>
            <p:nvPr/>
          </p:nvSpPr>
          <p:spPr>
            <a:xfrm>
              <a:off x="5080634" y="2256301"/>
              <a:ext cx="3379694" cy="898708"/>
            </a:xfrm>
            <a:prstGeom prst="rect">
              <a:avLst/>
            </a:prstGeom>
            <a:noFill/>
          </p:spPr>
          <p:txBody>
            <a:bodyPr wrap="square" lIns="182880" tIns="146304" rIns="182880" bIns="146304" rtlCol="0">
              <a:spAutoFit/>
            </a:bodyPr>
            <a:lstStyle/>
            <a:p>
              <a:pPr>
                <a:lnSpc>
                  <a:spcPct val="90000"/>
                </a:lnSpc>
                <a:spcAft>
                  <a:spcPts val="600"/>
                </a:spcAft>
              </a:pPr>
              <a:r>
                <a:rPr lang="en-US" sz="2400" dirty="0">
                  <a:latin typeface="Segoe UI Light"/>
                </a:rPr>
                <a:t>Relational data</a:t>
              </a:r>
            </a:p>
            <a:p>
              <a:pPr>
                <a:lnSpc>
                  <a:spcPct val="90000"/>
                </a:lnSpc>
                <a:spcAft>
                  <a:spcPts val="600"/>
                </a:spcAft>
              </a:pPr>
              <a:r>
                <a:rPr lang="en-US" sz="1400" dirty="0">
                  <a:latin typeface="Segoe UI Light"/>
                </a:rPr>
                <a:t>with highly modeled schema</a:t>
              </a:r>
            </a:p>
          </p:txBody>
        </p:sp>
        <p:sp>
          <p:nvSpPr>
            <p:cNvPr id="111" name="TextBox 110"/>
            <p:cNvSpPr txBox="1"/>
            <p:nvPr/>
          </p:nvSpPr>
          <p:spPr>
            <a:xfrm>
              <a:off x="8328288" y="2256301"/>
              <a:ext cx="3379694" cy="926407"/>
            </a:xfrm>
            <a:prstGeom prst="rect">
              <a:avLst/>
            </a:prstGeom>
            <a:noFill/>
          </p:spPr>
          <p:txBody>
            <a:bodyPr wrap="square" lIns="182880" tIns="146304" rIns="182880" bIns="146304" rtlCol="0">
              <a:spAutoFit/>
            </a:bodyPr>
            <a:lstStyle/>
            <a:p>
              <a:pPr>
                <a:lnSpc>
                  <a:spcPct val="90000"/>
                </a:lnSpc>
                <a:spcAft>
                  <a:spcPts val="600"/>
                </a:spcAft>
              </a:pPr>
              <a:r>
                <a:rPr lang="en-US" sz="2400" dirty="0">
                  <a:latin typeface="Segoe UI Light"/>
                </a:rPr>
                <a:t>All data</a:t>
              </a:r>
            </a:p>
            <a:p>
              <a:pPr>
                <a:lnSpc>
                  <a:spcPct val="90000"/>
                </a:lnSpc>
                <a:spcAft>
                  <a:spcPts val="600"/>
                </a:spcAft>
              </a:pPr>
              <a:r>
                <a:rPr lang="en-US" sz="1400" dirty="0">
                  <a:latin typeface="Segoe UI Light"/>
                </a:rPr>
                <a:t>with schema agility </a:t>
              </a:r>
            </a:p>
          </p:txBody>
        </p:sp>
      </p:grpSp>
      <p:grpSp>
        <p:nvGrpSpPr>
          <p:cNvPr id="6" name="Group 5"/>
          <p:cNvGrpSpPr/>
          <p:nvPr/>
        </p:nvGrpSpPr>
        <p:grpSpPr>
          <a:xfrm>
            <a:off x="5080634" y="3832988"/>
            <a:ext cx="6627348" cy="627864"/>
            <a:chOff x="5080634" y="3832988"/>
            <a:chExt cx="6627348" cy="627864"/>
          </a:xfrm>
        </p:grpSpPr>
        <p:sp>
          <p:nvSpPr>
            <p:cNvPr id="120" name="TextBox 119"/>
            <p:cNvSpPr txBox="1"/>
            <p:nvPr/>
          </p:nvSpPr>
          <p:spPr>
            <a:xfrm>
              <a:off x="5080634" y="3832988"/>
              <a:ext cx="337969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latin typeface="Segoe UI Light"/>
                </a:rPr>
                <a:t>Specialized HW</a:t>
              </a:r>
            </a:p>
          </p:txBody>
        </p:sp>
        <p:sp>
          <p:nvSpPr>
            <p:cNvPr id="121" name="TextBox 120"/>
            <p:cNvSpPr txBox="1"/>
            <p:nvPr/>
          </p:nvSpPr>
          <p:spPr>
            <a:xfrm>
              <a:off x="8328288" y="3832988"/>
              <a:ext cx="337969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latin typeface="Segoe UI Light"/>
                </a:rPr>
                <a:t>Commodity HW</a:t>
              </a:r>
            </a:p>
          </p:txBody>
        </p:sp>
      </p:grpSp>
      <p:grpSp>
        <p:nvGrpSpPr>
          <p:cNvPr id="2" name="Group 1"/>
          <p:cNvGrpSpPr/>
          <p:nvPr/>
        </p:nvGrpSpPr>
        <p:grpSpPr>
          <a:xfrm>
            <a:off x="987962" y="2235062"/>
            <a:ext cx="3643556" cy="897493"/>
            <a:chOff x="987962" y="2235062"/>
            <a:chExt cx="3643556" cy="897493"/>
          </a:xfrm>
        </p:grpSpPr>
        <p:sp>
          <p:nvSpPr>
            <p:cNvPr id="33" name="Rectangle 32"/>
            <p:cNvSpPr/>
            <p:nvPr/>
          </p:nvSpPr>
          <p:spPr>
            <a:xfrm>
              <a:off x="2505615" y="2256043"/>
              <a:ext cx="2125903" cy="584775"/>
            </a:xfrm>
            <a:prstGeom prst="rect">
              <a:avLst/>
            </a:prstGeom>
          </p:spPr>
          <p:txBody>
            <a:bodyPr wrap="none" lIns="0" tIns="0" rIns="0" bIns="0">
              <a:noAutofit/>
            </a:bodyPr>
            <a:lstStyle/>
            <a:p>
              <a:pPr lvl="0" algn="r"/>
              <a:r>
                <a:rPr lang="en-US" sz="2800" dirty="0">
                  <a:solidFill>
                    <a:schemeClr val="bg1"/>
                  </a:solidFill>
                  <a:latin typeface="Segoe UI Light"/>
                </a:rPr>
                <a:t>Data</a:t>
              </a:r>
            </a:p>
            <a:p>
              <a:pPr lvl="0" algn="r"/>
              <a:r>
                <a:rPr lang="en-US" sz="2800" dirty="0">
                  <a:solidFill>
                    <a:schemeClr val="bg1"/>
                  </a:solidFill>
                  <a:latin typeface="Segoe UI Light"/>
                </a:rPr>
                <a:t>characteristics</a:t>
              </a:r>
            </a:p>
          </p:txBody>
        </p:sp>
        <p:grpSp>
          <p:nvGrpSpPr>
            <p:cNvPr id="5" name="Group 4"/>
            <p:cNvGrpSpPr/>
            <p:nvPr/>
          </p:nvGrpSpPr>
          <p:grpSpPr>
            <a:xfrm>
              <a:off x="987962" y="2235062"/>
              <a:ext cx="1508974" cy="897493"/>
              <a:chOff x="148433" y="2177889"/>
              <a:chExt cx="1729887" cy="1028886"/>
            </a:xfrm>
          </p:grpSpPr>
          <p:grpSp>
            <p:nvGrpSpPr>
              <p:cNvPr id="132" name="Group 131"/>
              <p:cNvGrpSpPr/>
              <p:nvPr/>
            </p:nvGrpSpPr>
            <p:grpSpPr>
              <a:xfrm>
                <a:off x="148433" y="2258226"/>
                <a:ext cx="1388236" cy="948549"/>
                <a:chOff x="1854201" y="4027488"/>
                <a:chExt cx="892174" cy="609600"/>
              </a:xfrm>
              <a:solidFill>
                <a:schemeClr val="bg1"/>
              </a:solidFill>
            </p:grpSpPr>
            <p:sp>
              <p:nvSpPr>
                <p:cNvPr id="133" name="Freeform 33"/>
                <p:cNvSpPr>
                  <a:spLocks/>
                </p:cNvSpPr>
                <p:nvPr/>
              </p:nvSpPr>
              <p:spPr bwMode="auto">
                <a:xfrm>
                  <a:off x="2311400" y="4497388"/>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8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8"/>
                        <a:pt x="3" y="8"/>
                        <a:pt x="5" y="7"/>
                      </a:cubicBezTo>
                      <a:cubicBezTo>
                        <a:pt x="6" y="7"/>
                        <a:pt x="8" y="6"/>
                        <a:pt x="9" y="5"/>
                      </a:cubicBezTo>
                      <a:cubicBezTo>
                        <a:pt x="11" y="4"/>
                        <a:pt x="12" y="4"/>
                        <a:pt x="14" y="3"/>
                      </a:cubicBezTo>
                      <a:cubicBezTo>
                        <a:pt x="15" y="2"/>
                        <a:pt x="17" y="1"/>
                        <a:pt x="18" y="0"/>
                      </a:cubicBezTo>
                      <a:cubicBezTo>
                        <a:pt x="23" y="0"/>
                        <a:pt x="23" y="0"/>
                        <a:pt x="23" y="0"/>
                      </a:cubicBezTo>
                      <a:cubicBezTo>
                        <a:pt x="23" y="0"/>
                        <a:pt x="23" y="0"/>
                        <a:pt x="23"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34" name="Freeform 34"/>
                <p:cNvSpPr>
                  <a:spLocks/>
                </p:cNvSpPr>
                <p:nvPr/>
              </p:nvSpPr>
              <p:spPr bwMode="auto">
                <a:xfrm>
                  <a:off x="2487613" y="4497388"/>
                  <a:ext cx="49212" cy="138112"/>
                </a:xfrm>
                <a:custGeom>
                  <a:avLst/>
                  <a:gdLst>
                    <a:gd name="T0" fmla="*/ 22 w 22"/>
                    <a:gd name="T1" fmla="*/ 0 h 62"/>
                    <a:gd name="T2" fmla="*/ 22 w 22"/>
                    <a:gd name="T3" fmla="*/ 0 h 62"/>
                    <a:gd name="T4" fmla="*/ 22 w 22"/>
                    <a:gd name="T5" fmla="*/ 62 h 62"/>
                    <a:gd name="T6" fmla="*/ 13 w 22"/>
                    <a:gd name="T7" fmla="*/ 62 h 62"/>
                    <a:gd name="T8" fmla="*/ 13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4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8"/>
                        <a:pt x="3" y="8"/>
                        <a:pt x="4" y="7"/>
                      </a:cubicBezTo>
                      <a:cubicBezTo>
                        <a:pt x="6" y="7"/>
                        <a:pt x="8" y="6"/>
                        <a:pt x="9" y="5"/>
                      </a:cubicBezTo>
                      <a:cubicBezTo>
                        <a:pt x="11" y="4"/>
                        <a:pt x="12" y="4"/>
                        <a:pt x="14" y="3"/>
                      </a:cubicBezTo>
                      <a:cubicBezTo>
                        <a:pt x="15" y="2"/>
                        <a:pt x="17" y="1"/>
                        <a:pt x="18" y="0"/>
                      </a:cubicBezTo>
                      <a:cubicBezTo>
                        <a:pt x="22" y="0"/>
                        <a:pt x="22" y="0"/>
                        <a:pt x="22" y="0"/>
                      </a:cubicBezTo>
                      <a:cubicBezTo>
                        <a:pt x="22" y="0"/>
                        <a:pt x="22" y="0"/>
                        <a:pt x="22"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35" name="Freeform 35"/>
                <p:cNvSpPr>
                  <a:spLocks noEditPoints="1"/>
                </p:cNvSpPr>
                <p:nvPr/>
              </p:nvSpPr>
              <p:spPr bwMode="auto">
                <a:xfrm>
                  <a:off x="2382838" y="4494213"/>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3"/>
                      </a:cubicBezTo>
                      <a:cubicBezTo>
                        <a:pt x="32" y="16"/>
                        <a:pt x="29" y="8"/>
                        <a:pt x="21" y="8"/>
                      </a:cubicBezTo>
                      <a:close/>
                      <a:moveTo>
                        <a:pt x="20" y="64"/>
                      </a:moveTo>
                      <a:cubicBezTo>
                        <a:pt x="20" y="64"/>
                        <a:pt x="20" y="64"/>
                        <a:pt x="20" y="64"/>
                      </a:cubicBezTo>
                      <a:cubicBezTo>
                        <a:pt x="14" y="64"/>
                        <a:pt x="9" y="62"/>
                        <a:pt x="5" y="56"/>
                      </a:cubicBezTo>
                      <a:cubicBezTo>
                        <a:pt x="2" y="51"/>
                        <a:pt x="0" y="43"/>
                        <a:pt x="0" y="33"/>
                      </a:cubicBezTo>
                      <a:cubicBezTo>
                        <a:pt x="0" y="22"/>
                        <a:pt x="2" y="14"/>
                        <a:pt x="6" y="8"/>
                      </a:cubicBezTo>
                      <a:cubicBezTo>
                        <a:pt x="9" y="3"/>
                        <a:pt x="15" y="0"/>
                        <a:pt x="22" y="0"/>
                      </a:cubicBezTo>
                      <a:cubicBezTo>
                        <a:pt x="36" y="0"/>
                        <a:pt x="42" y="11"/>
                        <a:pt x="42" y="32"/>
                      </a:cubicBezTo>
                      <a:cubicBezTo>
                        <a:pt x="42" y="42"/>
                        <a:pt x="40" y="50"/>
                        <a:pt x="37" y="56"/>
                      </a:cubicBezTo>
                      <a:cubicBezTo>
                        <a:pt x="33" y="62"/>
                        <a:pt x="27" y="64"/>
                        <a:pt x="20"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36" name="Freeform 36"/>
                <p:cNvSpPr>
                  <a:spLocks noEditPoints="1"/>
                </p:cNvSpPr>
                <p:nvPr/>
              </p:nvSpPr>
              <p:spPr bwMode="auto">
                <a:xfrm>
                  <a:off x="2559050" y="4494213"/>
                  <a:ext cx="95250" cy="142875"/>
                </a:xfrm>
                <a:custGeom>
                  <a:avLst/>
                  <a:gdLst>
                    <a:gd name="T0" fmla="*/ 22 w 43"/>
                    <a:gd name="T1" fmla="*/ 8 h 64"/>
                    <a:gd name="T2" fmla="*/ 22 w 43"/>
                    <a:gd name="T3" fmla="*/ 8 h 64"/>
                    <a:gd name="T4" fmla="*/ 11 w 43"/>
                    <a:gd name="T5" fmla="*/ 33 h 64"/>
                    <a:gd name="T6" fmla="*/ 22 w 43"/>
                    <a:gd name="T7" fmla="*/ 56 h 64"/>
                    <a:gd name="T8" fmla="*/ 33 w 43"/>
                    <a:gd name="T9" fmla="*/ 33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3"/>
                      </a:cubicBezTo>
                      <a:cubicBezTo>
                        <a:pt x="33" y="16"/>
                        <a:pt x="29" y="8"/>
                        <a:pt x="22" y="8"/>
                      </a:cubicBezTo>
                      <a:close/>
                      <a:moveTo>
                        <a:pt x="21" y="64"/>
                      </a:moveTo>
                      <a:cubicBezTo>
                        <a:pt x="21" y="64"/>
                        <a:pt x="21" y="64"/>
                        <a:pt x="21" y="64"/>
                      </a:cubicBezTo>
                      <a:cubicBezTo>
                        <a:pt x="14" y="64"/>
                        <a:pt x="9" y="62"/>
                        <a:pt x="6" y="56"/>
                      </a:cubicBezTo>
                      <a:cubicBezTo>
                        <a:pt x="2" y="51"/>
                        <a:pt x="0" y="43"/>
                        <a:pt x="0" y="33"/>
                      </a:cubicBezTo>
                      <a:cubicBezTo>
                        <a:pt x="0" y="22"/>
                        <a:pt x="2" y="14"/>
                        <a:pt x="6" y="8"/>
                      </a:cubicBezTo>
                      <a:cubicBezTo>
                        <a:pt x="10" y="3"/>
                        <a:pt x="15" y="0"/>
                        <a:pt x="22" y="0"/>
                      </a:cubicBezTo>
                      <a:cubicBezTo>
                        <a:pt x="36" y="0"/>
                        <a:pt x="43" y="11"/>
                        <a:pt x="43" y="32"/>
                      </a:cubicBezTo>
                      <a:cubicBezTo>
                        <a:pt x="43" y="42"/>
                        <a:pt x="41" y="50"/>
                        <a:pt x="37" y="56"/>
                      </a:cubicBezTo>
                      <a:cubicBezTo>
                        <a:pt x="33" y="62"/>
                        <a:pt x="28" y="64"/>
                        <a:pt x="21"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37" name="Freeform 37"/>
                <p:cNvSpPr>
                  <a:spLocks/>
                </p:cNvSpPr>
                <p:nvPr/>
              </p:nvSpPr>
              <p:spPr bwMode="auto">
                <a:xfrm>
                  <a:off x="1954213" y="4497388"/>
                  <a:ext cx="49212" cy="138112"/>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4" y="16"/>
                        <a:pt x="2" y="17"/>
                        <a:pt x="0" y="17"/>
                      </a:cubicBezTo>
                      <a:cubicBezTo>
                        <a:pt x="0" y="9"/>
                        <a:pt x="0" y="9"/>
                        <a:pt x="0" y="9"/>
                      </a:cubicBezTo>
                      <a:cubicBezTo>
                        <a:pt x="1" y="8"/>
                        <a:pt x="3" y="8"/>
                        <a:pt x="4" y="7"/>
                      </a:cubicBezTo>
                      <a:cubicBezTo>
                        <a:pt x="6" y="7"/>
                        <a:pt x="7" y="6"/>
                        <a:pt x="9" y="5"/>
                      </a:cubicBezTo>
                      <a:cubicBezTo>
                        <a:pt x="10" y="4"/>
                        <a:pt x="12" y="4"/>
                        <a:pt x="13" y="3"/>
                      </a:cubicBezTo>
                      <a:cubicBezTo>
                        <a:pt x="15" y="2"/>
                        <a:pt x="16" y="1"/>
                        <a:pt x="18" y="0"/>
                      </a:cubicBezTo>
                      <a:cubicBezTo>
                        <a:pt x="22" y="0"/>
                        <a:pt x="22" y="0"/>
                        <a:pt x="22" y="0"/>
                      </a:cubicBezTo>
                      <a:cubicBezTo>
                        <a:pt x="22" y="0"/>
                        <a:pt x="22" y="0"/>
                        <a:pt x="22"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38" name="Freeform 38"/>
                <p:cNvSpPr>
                  <a:spLocks/>
                </p:cNvSpPr>
                <p:nvPr/>
              </p:nvSpPr>
              <p:spPr bwMode="auto">
                <a:xfrm>
                  <a:off x="2032000"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3" y="8"/>
                        <a:pt x="5" y="7"/>
                      </a:cubicBezTo>
                      <a:cubicBezTo>
                        <a:pt x="6" y="7"/>
                        <a:pt x="8" y="6"/>
                        <a:pt x="9" y="5"/>
                      </a:cubicBezTo>
                      <a:cubicBezTo>
                        <a:pt x="11" y="5"/>
                        <a:pt x="12" y="4"/>
                        <a:pt x="14" y="3"/>
                      </a:cubicBezTo>
                      <a:cubicBezTo>
                        <a:pt x="16" y="2"/>
                        <a:pt x="17" y="1"/>
                        <a:pt x="19" y="0"/>
                      </a:cubicBezTo>
                      <a:cubicBezTo>
                        <a:pt x="23" y="0"/>
                        <a:pt x="23" y="0"/>
                        <a:pt x="23" y="0"/>
                      </a:cubicBezTo>
                      <a:cubicBezTo>
                        <a:pt x="23" y="0"/>
                        <a:pt x="23" y="0"/>
                        <a:pt x="23"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39" name="Freeform 39"/>
                <p:cNvSpPr>
                  <a:spLocks/>
                </p:cNvSpPr>
                <p:nvPr/>
              </p:nvSpPr>
              <p:spPr bwMode="auto">
                <a:xfrm>
                  <a:off x="2103438"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3" y="8"/>
                        <a:pt x="5" y="7"/>
                      </a:cubicBezTo>
                      <a:cubicBezTo>
                        <a:pt x="6" y="7"/>
                        <a:pt x="8" y="6"/>
                        <a:pt x="9" y="5"/>
                      </a:cubicBezTo>
                      <a:cubicBezTo>
                        <a:pt x="11" y="5"/>
                        <a:pt x="12" y="4"/>
                        <a:pt x="14" y="3"/>
                      </a:cubicBezTo>
                      <a:cubicBezTo>
                        <a:pt x="15" y="2"/>
                        <a:pt x="17" y="1"/>
                        <a:pt x="19" y="0"/>
                      </a:cubicBezTo>
                      <a:cubicBezTo>
                        <a:pt x="23" y="0"/>
                        <a:pt x="23" y="0"/>
                        <a:pt x="23" y="0"/>
                      </a:cubicBezTo>
                      <a:cubicBezTo>
                        <a:pt x="23" y="0"/>
                        <a:pt x="23" y="0"/>
                        <a:pt x="23"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40" name="Freeform 40"/>
                <p:cNvSpPr>
                  <a:spLocks/>
                </p:cNvSpPr>
                <p:nvPr/>
              </p:nvSpPr>
              <p:spPr bwMode="auto">
                <a:xfrm>
                  <a:off x="2176463" y="4341813"/>
                  <a:ext cx="49212" cy="136525"/>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5" y="16"/>
                        <a:pt x="2" y="17"/>
                        <a:pt x="0" y="17"/>
                      </a:cubicBezTo>
                      <a:cubicBezTo>
                        <a:pt x="0" y="9"/>
                        <a:pt x="0" y="9"/>
                        <a:pt x="0" y="9"/>
                      </a:cubicBezTo>
                      <a:cubicBezTo>
                        <a:pt x="1" y="8"/>
                        <a:pt x="3" y="8"/>
                        <a:pt x="4" y="7"/>
                      </a:cubicBezTo>
                      <a:cubicBezTo>
                        <a:pt x="6" y="7"/>
                        <a:pt x="7" y="6"/>
                        <a:pt x="9" y="5"/>
                      </a:cubicBezTo>
                      <a:cubicBezTo>
                        <a:pt x="10" y="5"/>
                        <a:pt x="12" y="4"/>
                        <a:pt x="13" y="3"/>
                      </a:cubicBezTo>
                      <a:cubicBezTo>
                        <a:pt x="15" y="2"/>
                        <a:pt x="16" y="1"/>
                        <a:pt x="18" y="0"/>
                      </a:cubicBezTo>
                      <a:cubicBezTo>
                        <a:pt x="22" y="0"/>
                        <a:pt x="22" y="0"/>
                        <a:pt x="22" y="0"/>
                      </a:cubicBezTo>
                      <a:cubicBezTo>
                        <a:pt x="22" y="0"/>
                        <a:pt x="22" y="0"/>
                        <a:pt x="22"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41" name="Freeform 41"/>
                <p:cNvSpPr>
                  <a:spLocks/>
                </p:cNvSpPr>
                <p:nvPr/>
              </p:nvSpPr>
              <p:spPr bwMode="auto">
                <a:xfrm>
                  <a:off x="2581275"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4" y="8"/>
                        <a:pt x="5" y="7"/>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0" name="Freeform 42"/>
                <p:cNvSpPr>
                  <a:spLocks/>
                </p:cNvSpPr>
                <p:nvPr/>
              </p:nvSpPr>
              <p:spPr bwMode="auto">
                <a:xfrm>
                  <a:off x="1854201"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4" y="8"/>
                        <a:pt x="5" y="7"/>
                      </a:cubicBezTo>
                      <a:cubicBezTo>
                        <a:pt x="7" y="7"/>
                        <a:pt x="8" y="6"/>
                        <a:pt x="9" y="5"/>
                      </a:cubicBezTo>
                      <a:cubicBezTo>
                        <a:pt x="11" y="5"/>
                        <a:pt x="13" y="4"/>
                        <a:pt x="14" y="3"/>
                      </a:cubicBezTo>
                      <a:cubicBezTo>
                        <a:pt x="16" y="2"/>
                        <a:pt x="17" y="1"/>
                        <a:pt x="19" y="0"/>
                      </a:cubicBezTo>
                      <a:cubicBezTo>
                        <a:pt x="23" y="0"/>
                        <a:pt x="23" y="0"/>
                        <a:pt x="23" y="0"/>
                      </a:cubicBezTo>
                      <a:cubicBezTo>
                        <a:pt x="23" y="0"/>
                        <a:pt x="23" y="0"/>
                        <a:pt x="23"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1" name="Freeform 43"/>
                <p:cNvSpPr>
                  <a:spLocks/>
                </p:cNvSpPr>
                <p:nvPr/>
              </p:nvSpPr>
              <p:spPr bwMode="auto">
                <a:xfrm>
                  <a:off x="2127250" y="4497388"/>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8"/>
                        <a:pt x="4" y="8"/>
                        <a:pt x="5" y="7"/>
                      </a:cubicBezTo>
                      <a:cubicBezTo>
                        <a:pt x="7" y="7"/>
                        <a:pt x="8" y="6"/>
                        <a:pt x="10" y="5"/>
                      </a:cubicBezTo>
                      <a:cubicBezTo>
                        <a:pt x="11" y="4"/>
                        <a:pt x="13" y="4"/>
                        <a:pt x="14" y="3"/>
                      </a:cubicBezTo>
                      <a:cubicBezTo>
                        <a:pt x="16" y="2"/>
                        <a:pt x="17" y="1"/>
                        <a:pt x="19" y="0"/>
                      </a:cubicBezTo>
                      <a:cubicBezTo>
                        <a:pt x="23" y="0"/>
                        <a:pt x="23" y="0"/>
                        <a:pt x="23" y="0"/>
                      </a:cubicBezTo>
                      <a:cubicBezTo>
                        <a:pt x="23" y="0"/>
                        <a:pt x="23" y="0"/>
                        <a:pt x="23"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2" name="Freeform 44"/>
                <p:cNvSpPr>
                  <a:spLocks noEditPoints="1"/>
                </p:cNvSpPr>
                <p:nvPr/>
              </p:nvSpPr>
              <p:spPr bwMode="auto">
                <a:xfrm>
                  <a:off x="2025650" y="4494213"/>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3" y="8"/>
                        <a:pt x="10" y="16"/>
                        <a:pt x="10" y="33"/>
                      </a:cubicBezTo>
                      <a:cubicBezTo>
                        <a:pt x="10" y="48"/>
                        <a:pt x="13" y="56"/>
                        <a:pt x="21" y="56"/>
                      </a:cubicBezTo>
                      <a:cubicBezTo>
                        <a:pt x="28" y="56"/>
                        <a:pt x="32" y="48"/>
                        <a:pt x="32" y="33"/>
                      </a:cubicBezTo>
                      <a:cubicBezTo>
                        <a:pt x="32" y="16"/>
                        <a:pt x="28" y="8"/>
                        <a:pt x="21" y="8"/>
                      </a:cubicBezTo>
                      <a:close/>
                      <a:moveTo>
                        <a:pt x="20" y="64"/>
                      </a:moveTo>
                      <a:cubicBezTo>
                        <a:pt x="20" y="64"/>
                        <a:pt x="20" y="64"/>
                        <a:pt x="20" y="64"/>
                      </a:cubicBezTo>
                      <a:cubicBezTo>
                        <a:pt x="14" y="64"/>
                        <a:pt x="9" y="62"/>
                        <a:pt x="5" y="56"/>
                      </a:cubicBezTo>
                      <a:cubicBezTo>
                        <a:pt x="1" y="51"/>
                        <a:pt x="0" y="43"/>
                        <a:pt x="0" y="33"/>
                      </a:cubicBezTo>
                      <a:cubicBezTo>
                        <a:pt x="0" y="22"/>
                        <a:pt x="1" y="14"/>
                        <a:pt x="5" y="8"/>
                      </a:cubicBezTo>
                      <a:cubicBezTo>
                        <a:pt x="9" y="3"/>
                        <a:pt x="14" y="0"/>
                        <a:pt x="22" y="0"/>
                      </a:cubicBezTo>
                      <a:cubicBezTo>
                        <a:pt x="35" y="0"/>
                        <a:pt x="42" y="11"/>
                        <a:pt x="42" y="32"/>
                      </a:cubicBezTo>
                      <a:cubicBezTo>
                        <a:pt x="42" y="42"/>
                        <a:pt x="40" y="50"/>
                        <a:pt x="36" y="56"/>
                      </a:cubicBezTo>
                      <a:cubicBezTo>
                        <a:pt x="32" y="62"/>
                        <a:pt x="27" y="64"/>
                        <a:pt x="20"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3" name="Freeform 45"/>
                <p:cNvSpPr>
                  <a:spLocks noEditPoints="1"/>
                </p:cNvSpPr>
                <p:nvPr/>
              </p:nvSpPr>
              <p:spPr bwMode="auto">
                <a:xfrm>
                  <a:off x="1922463" y="4338638"/>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2"/>
                      </a:cubicBezTo>
                      <a:cubicBezTo>
                        <a:pt x="32" y="16"/>
                        <a:pt x="28" y="8"/>
                        <a:pt x="21" y="8"/>
                      </a:cubicBezTo>
                      <a:close/>
                      <a:moveTo>
                        <a:pt x="20" y="64"/>
                      </a:moveTo>
                      <a:cubicBezTo>
                        <a:pt x="20" y="64"/>
                        <a:pt x="20" y="64"/>
                        <a:pt x="20" y="64"/>
                      </a:cubicBezTo>
                      <a:cubicBezTo>
                        <a:pt x="14" y="64"/>
                        <a:pt x="9" y="61"/>
                        <a:pt x="5" y="56"/>
                      </a:cubicBezTo>
                      <a:cubicBezTo>
                        <a:pt x="2" y="51"/>
                        <a:pt x="0" y="43"/>
                        <a:pt x="0" y="33"/>
                      </a:cubicBezTo>
                      <a:cubicBezTo>
                        <a:pt x="0" y="22"/>
                        <a:pt x="2" y="14"/>
                        <a:pt x="5" y="8"/>
                      </a:cubicBezTo>
                      <a:cubicBezTo>
                        <a:pt x="9" y="2"/>
                        <a:pt x="15" y="0"/>
                        <a:pt x="22" y="0"/>
                      </a:cubicBezTo>
                      <a:cubicBezTo>
                        <a:pt x="35" y="0"/>
                        <a:pt x="42" y="10"/>
                        <a:pt x="42" y="32"/>
                      </a:cubicBezTo>
                      <a:cubicBezTo>
                        <a:pt x="42" y="42"/>
                        <a:pt x="40" y="50"/>
                        <a:pt x="36" y="56"/>
                      </a:cubicBezTo>
                      <a:cubicBezTo>
                        <a:pt x="33" y="61"/>
                        <a:pt x="27" y="64"/>
                        <a:pt x="20"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6" name="Freeform 46"/>
                <p:cNvSpPr>
                  <a:spLocks noEditPoints="1"/>
                </p:cNvSpPr>
                <p:nvPr/>
              </p:nvSpPr>
              <p:spPr bwMode="auto">
                <a:xfrm>
                  <a:off x="2247900" y="4338638"/>
                  <a:ext cx="95250" cy="142875"/>
                </a:xfrm>
                <a:custGeom>
                  <a:avLst/>
                  <a:gdLst>
                    <a:gd name="T0" fmla="*/ 22 w 43"/>
                    <a:gd name="T1" fmla="*/ 8 h 64"/>
                    <a:gd name="T2" fmla="*/ 22 w 43"/>
                    <a:gd name="T3" fmla="*/ 8 h 64"/>
                    <a:gd name="T4" fmla="*/ 11 w 43"/>
                    <a:gd name="T5" fmla="*/ 33 h 64"/>
                    <a:gd name="T6" fmla="*/ 22 w 43"/>
                    <a:gd name="T7" fmla="*/ 56 h 64"/>
                    <a:gd name="T8" fmla="*/ 33 w 43"/>
                    <a:gd name="T9" fmla="*/ 32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2"/>
                      </a:cubicBezTo>
                      <a:cubicBezTo>
                        <a:pt x="33" y="16"/>
                        <a:pt x="29" y="8"/>
                        <a:pt x="22" y="8"/>
                      </a:cubicBezTo>
                      <a:close/>
                      <a:moveTo>
                        <a:pt x="21" y="64"/>
                      </a:moveTo>
                      <a:cubicBezTo>
                        <a:pt x="21" y="64"/>
                        <a:pt x="21" y="64"/>
                        <a:pt x="21" y="64"/>
                      </a:cubicBezTo>
                      <a:cubicBezTo>
                        <a:pt x="14" y="64"/>
                        <a:pt x="9" y="61"/>
                        <a:pt x="6" y="56"/>
                      </a:cubicBezTo>
                      <a:cubicBezTo>
                        <a:pt x="2" y="51"/>
                        <a:pt x="0" y="43"/>
                        <a:pt x="0" y="33"/>
                      </a:cubicBezTo>
                      <a:cubicBezTo>
                        <a:pt x="0" y="22"/>
                        <a:pt x="2" y="14"/>
                        <a:pt x="6" y="8"/>
                      </a:cubicBezTo>
                      <a:cubicBezTo>
                        <a:pt x="10" y="2"/>
                        <a:pt x="15" y="0"/>
                        <a:pt x="22" y="0"/>
                      </a:cubicBezTo>
                      <a:cubicBezTo>
                        <a:pt x="36" y="0"/>
                        <a:pt x="43" y="10"/>
                        <a:pt x="43" y="32"/>
                      </a:cubicBezTo>
                      <a:cubicBezTo>
                        <a:pt x="43" y="42"/>
                        <a:pt x="41" y="50"/>
                        <a:pt x="37" y="56"/>
                      </a:cubicBezTo>
                      <a:cubicBezTo>
                        <a:pt x="33" y="61"/>
                        <a:pt x="28" y="64"/>
                        <a:pt x="21"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7" name="Freeform 47"/>
                <p:cNvSpPr>
                  <a:spLocks noEditPoints="1"/>
                </p:cNvSpPr>
                <p:nvPr/>
              </p:nvSpPr>
              <p:spPr bwMode="auto">
                <a:xfrm>
                  <a:off x="2362200" y="4338638"/>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2"/>
                      </a:cubicBezTo>
                      <a:cubicBezTo>
                        <a:pt x="32" y="16"/>
                        <a:pt x="28" y="8"/>
                        <a:pt x="21" y="8"/>
                      </a:cubicBezTo>
                      <a:close/>
                      <a:moveTo>
                        <a:pt x="20" y="64"/>
                      </a:moveTo>
                      <a:cubicBezTo>
                        <a:pt x="20" y="64"/>
                        <a:pt x="20" y="64"/>
                        <a:pt x="20" y="64"/>
                      </a:cubicBezTo>
                      <a:cubicBezTo>
                        <a:pt x="14" y="64"/>
                        <a:pt x="9" y="61"/>
                        <a:pt x="5" y="56"/>
                      </a:cubicBezTo>
                      <a:cubicBezTo>
                        <a:pt x="1" y="51"/>
                        <a:pt x="0" y="43"/>
                        <a:pt x="0" y="33"/>
                      </a:cubicBezTo>
                      <a:cubicBezTo>
                        <a:pt x="0" y="22"/>
                        <a:pt x="1" y="14"/>
                        <a:pt x="5" y="8"/>
                      </a:cubicBezTo>
                      <a:cubicBezTo>
                        <a:pt x="9" y="2"/>
                        <a:pt x="14" y="0"/>
                        <a:pt x="22" y="0"/>
                      </a:cubicBezTo>
                      <a:cubicBezTo>
                        <a:pt x="35" y="0"/>
                        <a:pt x="42" y="10"/>
                        <a:pt x="42" y="32"/>
                      </a:cubicBezTo>
                      <a:cubicBezTo>
                        <a:pt x="42" y="42"/>
                        <a:pt x="40" y="50"/>
                        <a:pt x="36" y="56"/>
                      </a:cubicBezTo>
                      <a:cubicBezTo>
                        <a:pt x="32" y="61"/>
                        <a:pt x="27" y="64"/>
                        <a:pt x="20"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8" name="Freeform 48"/>
                <p:cNvSpPr>
                  <a:spLocks/>
                </p:cNvSpPr>
                <p:nvPr/>
              </p:nvSpPr>
              <p:spPr bwMode="auto">
                <a:xfrm>
                  <a:off x="2243139" y="4030663"/>
                  <a:ext cx="49212" cy="136525"/>
                </a:xfrm>
                <a:custGeom>
                  <a:avLst/>
                  <a:gdLst>
                    <a:gd name="T0" fmla="*/ 22 w 22"/>
                    <a:gd name="T1" fmla="*/ 0 h 62"/>
                    <a:gd name="T2" fmla="*/ 22 w 22"/>
                    <a:gd name="T3" fmla="*/ 0 h 62"/>
                    <a:gd name="T4" fmla="*/ 22 w 22"/>
                    <a:gd name="T5" fmla="*/ 62 h 62"/>
                    <a:gd name="T6" fmla="*/ 12 w 22"/>
                    <a:gd name="T7" fmla="*/ 62 h 62"/>
                    <a:gd name="T8" fmla="*/ 12 w 22"/>
                    <a:gd name="T9" fmla="*/ 11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1"/>
                        <a:pt x="12" y="11"/>
                        <a:pt x="12" y="11"/>
                      </a:cubicBezTo>
                      <a:cubicBezTo>
                        <a:pt x="11" y="13"/>
                        <a:pt x="9" y="14"/>
                        <a:pt x="7" y="15"/>
                      </a:cubicBezTo>
                      <a:cubicBezTo>
                        <a:pt x="5" y="16"/>
                        <a:pt x="2" y="16"/>
                        <a:pt x="0" y="17"/>
                      </a:cubicBezTo>
                      <a:cubicBezTo>
                        <a:pt x="0" y="9"/>
                        <a:pt x="0" y="9"/>
                        <a:pt x="0" y="9"/>
                      </a:cubicBezTo>
                      <a:cubicBezTo>
                        <a:pt x="1" y="8"/>
                        <a:pt x="3" y="8"/>
                        <a:pt x="4" y="7"/>
                      </a:cubicBezTo>
                      <a:cubicBezTo>
                        <a:pt x="6" y="6"/>
                        <a:pt x="7" y="6"/>
                        <a:pt x="9" y="5"/>
                      </a:cubicBezTo>
                      <a:cubicBezTo>
                        <a:pt x="10" y="4"/>
                        <a:pt x="12" y="3"/>
                        <a:pt x="13" y="3"/>
                      </a:cubicBezTo>
                      <a:cubicBezTo>
                        <a:pt x="15" y="2"/>
                        <a:pt x="16" y="1"/>
                        <a:pt x="18" y="0"/>
                      </a:cubicBezTo>
                      <a:cubicBezTo>
                        <a:pt x="22" y="0"/>
                        <a:pt x="22" y="0"/>
                        <a:pt x="22" y="0"/>
                      </a:cubicBezTo>
                      <a:cubicBezTo>
                        <a:pt x="22" y="0"/>
                        <a:pt x="22" y="0"/>
                        <a:pt x="22"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9" name="Freeform 49"/>
                <p:cNvSpPr>
                  <a:spLocks noEditPoints="1"/>
                </p:cNvSpPr>
                <p:nvPr/>
              </p:nvSpPr>
              <p:spPr bwMode="auto">
                <a:xfrm>
                  <a:off x="2314576" y="4027488"/>
                  <a:ext cx="95250" cy="142875"/>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4"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4" y="64"/>
                        <a:pt x="9" y="61"/>
                        <a:pt x="6" y="56"/>
                      </a:cubicBezTo>
                      <a:cubicBezTo>
                        <a:pt x="2" y="50"/>
                        <a:pt x="0" y="43"/>
                        <a:pt x="0" y="33"/>
                      </a:cubicBezTo>
                      <a:cubicBezTo>
                        <a:pt x="0" y="22"/>
                        <a:pt x="2" y="13"/>
                        <a:pt x="6" y="8"/>
                      </a:cubicBezTo>
                      <a:cubicBezTo>
                        <a:pt x="10" y="2"/>
                        <a:pt x="15" y="0"/>
                        <a:pt x="22" y="0"/>
                      </a:cubicBezTo>
                      <a:cubicBezTo>
                        <a:pt x="36" y="0"/>
                        <a:pt x="43" y="10"/>
                        <a:pt x="43" y="31"/>
                      </a:cubicBezTo>
                      <a:cubicBezTo>
                        <a:pt x="43" y="42"/>
                        <a:pt x="41" y="50"/>
                        <a:pt x="37" y="55"/>
                      </a:cubicBezTo>
                      <a:cubicBezTo>
                        <a:pt x="33" y="61"/>
                        <a:pt x="28" y="64"/>
                        <a:pt x="21"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0" name="Freeform 50"/>
                <p:cNvSpPr>
                  <a:spLocks noEditPoints="1"/>
                </p:cNvSpPr>
                <p:nvPr/>
              </p:nvSpPr>
              <p:spPr bwMode="auto">
                <a:xfrm>
                  <a:off x="2427289" y="4027488"/>
                  <a:ext cx="95250" cy="142875"/>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3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5"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5" y="64"/>
                        <a:pt x="9" y="61"/>
                        <a:pt x="6" y="56"/>
                      </a:cubicBezTo>
                      <a:cubicBezTo>
                        <a:pt x="2" y="50"/>
                        <a:pt x="0" y="43"/>
                        <a:pt x="0" y="33"/>
                      </a:cubicBezTo>
                      <a:cubicBezTo>
                        <a:pt x="0" y="22"/>
                        <a:pt x="2" y="13"/>
                        <a:pt x="6" y="8"/>
                      </a:cubicBezTo>
                      <a:cubicBezTo>
                        <a:pt x="10" y="2"/>
                        <a:pt x="15" y="0"/>
                        <a:pt x="23" y="0"/>
                      </a:cubicBezTo>
                      <a:cubicBezTo>
                        <a:pt x="36" y="0"/>
                        <a:pt x="43" y="10"/>
                        <a:pt x="43" y="31"/>
                      </a:cubicBezTo>
                      <a:cubicBezTo>
                        <a:pt x="43" y="42"/>
                        <a:pt x="41" y="50"/>
                        <a:pt x="37" y="55"/>
                      </a:cubicBezTo>
                      <a:cubicBezTo>
                        <a:pt x="33" y="61"/>
                        <a:pt x="28" y="64"/>
                        <a:pt x="21"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1" name="Freeform 51"/>
                <p:cNvSpPr>
                  <a:spLocks noEditPoints="1"/>
                </p:cNvSpPr>
                <p:nvPr/>
              </p:nvSpPr>
              <p:spPr bwMode="auto">
                <a:xfrm>
                  <a:off x="2476500" y="4338638"/>
                  <a:ext cx="95250" cy="142875"/>
                </a:xfrm>
                <a:custGeom>
                  <a:avLst/>
                  <a:gdLst>
                    <a:gd name="T0" fmla="*/ 22 w 43"/>
                    <a:gd name="T1" fmla="*/ 8 h 64"/>
                    <a:gd name="T2" fmla="*/ 22 w 43"/>
                    <a:gd name="T3" fmla="*/ 8 h 64"/>
                    <a:gd name="T4" fmla="*/ 11 w 43"/>
                    <a:gd name="T5" fmla="*/ 33 h 64"/>
                    <a:gd name="T6" fmla="*/ 22 w 43"/>
                    <a:gd name="T7" fmla="*/ 56 h 64"/>
                    <a:gd name="T8" fmla="*/ 33 w 43"/>
                    <a:gd name="T9" fmla="*/ 32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3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5" y="8"/>
                        <a:pt x="11" y="16"/>
                        <a:pt x="11" y="33"/>
                      </a:cubicBezTo>
                      <a:cubicBezTo>
                        <a:pt x="11" y="48"/>
                        <a:pt x="14" y="56"/>
                        <a:pt x="22" y="56"/>
                      </a:cubicBezTo>
                      <a:cubicBezTo>
                        <a:pt x="29" y="56"/>
                        <a:pt x="33" y="48"/>
                        <a:pt x="33" y="32"/>
                      </a:cubicBezTo>
                      <a:cubicBezTo>
                        <a:pt x="33" y="16"/>
                        <a:pt x="29" y="8"/>
                        <a:pt x="22" y="8"/>
                      </a:cubicBezTo>
                      <a:close/>
                      <a:moveTo>
                        <a:pt x="21" y="64"/>
                      </a:moveTo>
                      <a:cubicBezTo>
                        <a:pt x="21" y="64"/>
                        <a:pt x="21" y="64"/>
                        <a:pt x="21" y="64"/>
                      </a:cubicBezTo>
                      <a:cubicBezTo>
                        <a:pt x="15" y="64"/>
                        <a:pt x="9" y="61"/>
                        <a:pt x="6" y="56"/>
                      </a:cubicBezTo>
                      <a:cubicBezTo>
                        <a:pt x="2" y="51"/>
                        <a:pt x="0" y="43"/>
                        <a:pt x="0" y="33"/>
                      </a:cubicBezTo>
                      <a:cubicBezTo>
                        <a:pt x="0" y="22"/>
                        <a:pt x="2" y="14"/>
                        <a:pt x="6" y="8"/>
                      </a:cubicBezTo>
                      <a:cubicBezTo>
                        <a:pt x="10" y="2"/>
                        <a:pt x="15" y="0"/>
                        <a:pt x="23" y="0"/>
                      </a:cubicBezTo>
                      <a:cubicBezTo>
                        <a:pt x="36" y="0"/>
                        <a:pt x="43" y="10"/>
                        <a:pt x="43" y="32"/>
                      </a:cubicBezTo>
                      <a:cubicBezTo>
                        <a:pt x="43" y="42"/>
                        <a:pt x="41" y="50"/>
                        <a:pt x="37" y="56"/>
                      </a:cubicBezTo>
                      <a:cubicBezTo>
                        <a:pt x="33" y="61"/>
                        <a:pt x="28" y="64"/>
                        <a:pt x="21"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2" name="Freeform 52"/>
                <p:cNvSpPr>
                  <a:spLocks noEditPoints="1"/>
                </p:cNvSpPr>
                <p:nvPr/>
              </p:nvSpPr>
              <p:spPr bwMode="auto">
                <a:xfrm>
                  <a:off x="2654300" y="4338638"/>
                  <a:ext cx="92075" cy="142875"/>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9" y="56"/>
                        <a:pt x="32" y="48"/>
                        <a:pt x="32" y="32"/>
                      </a:cubicBezTo>
                      <a:cubicBezTo>
                        <a:pt x="32" y="16"/>
                        <a:pt x="29" y="8"/>
                        <a:pt x="21" y="8"/>
                      </a:cubicBezTo>
                      <a:close/>
                      <a:moveTo>
                        <a:pt x="20" y="64"/>
                      </a:moveTo>
                      <a:cubicBezTo>
                        <a:pt x="20" y="64"/>
                        <a:pt x="20" y="64"/>
                        <a:pt x="20" y="64"/>
                      </a:cubicBezTo>
                      <a:cubicBezTo>
                        <a:pt x="14" y="64"/>
                        <a:pt x="9" y="61"/>
                        <a:pt x="5" y="56"/>
                      </a:cubicBezTo>
                      <a:cubicBezTo>
                        <a:pt x="2" y="51"/>
                        <a:pt x="0" y="43"/>
                        <a:pt x="0" y="33"/>
                      </a:cubicBezTo>
                      <a:cubicBezTo>
                        <a:pt x="0" y="22"/>
                        <a:pt x="2" y="14"/>
                        <a:pt x="6" y="8"/>
                      </a:cubicBezTo>
                      <a:cubicBezTo>
                        <a:pt x="9" y="2"/>
                        <a:pt x="15" y="0"/>
                        <a:pt x="22" y="0"/>
                      </a:cubicBezTo>
                      <a:cubicBezTo>
                        <a:pt x="36" y="0"/>
                        <a:pt x="42" y="10"/>
                        <a:pt x="42" y="32"/>
                      </a:cubicBezTo>
                      <a:cubicBezTo>
                        <a:pt x="42" y="42"/>
                        <a:pt x="41" y="50"/>
                        <a:pt x="37" y="56"/>
                      </a:cubicBezTo>
                      <a:cubicBezTo>
                        <a:pt x="33" y="61"/>
                        <a:pt x="27" y="64"/>
                        <a:pt x="20"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3" name="Freeform 53"/>
                <p:cNvSpPr>
                  <a:spLocks noEditPoints="1"/>
                </p:cNvSpPr>
                <p:nvPr/>
              </p:nvSpPr>
              <p:spPr bwMode="auto">
                <a:xfrm>
                  <a:off x="2200275" y="4494213"/>
                  <a:ext cx="95250" cy="142875"/>
                </a:xfrm>
                <a:custGeom>
                  <a:avLst/>
                  <a:gdLst>
                    <a:gd name="T0" fmla="*/ 22 w 43"/>
                    <a:gd name="T1" fmla="*/ 8 h 64"/>
                    <a:gd name="T2" fmla="*/ 22 w 43"/>
                    <a:gd name="T3" fmla="*/ 8 h 64"/>
                    <a:gd name="T4" fmla="*/ 10 w 43"/>
                    <a:gd name="T5" fmla="*/ 33 h 64"/>
                    <a:gd name="T6" fmla="*/ 21 w 43"/>
                    <a:gd name="T7" fmla="*/ 56 h 64"/>
                    <a:gd name="T8" fmla="*/ 32 w 43"/>
                    <a:gd name="T9" fmla="*/ 33 h 64"/>
                    <a:gd name="T10" fmla="*/ 22 w 43"/>
                    <a:gd name="T11" fmla="*/ 8 h 64"/>
                    <a:gd name="T12" fmla="*/ 21 w 43"/>
                    <a:gd name="T13" fmla="*/ 64 h 64"/>
                    <a:gd name="T14" fmla="*/ 21 w 43"/>
                    <a:gd name="T15" fmla="*/ 64 h 64"/>
                    <a:gd name="T16" fmla="*/ 5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0" y="16"/>
                        <a:pt x="10" y="33"/>
                      </a:cubicBezTo>
                      <a:cubicBezTo>
                        <a:pt x="10" y="48"/>
                        <a:pt x="14" y="56"/>
                        <a:pt x="21" y="56"/>
                      </a:cubicBezTo>
                      <a:cubicBezTo>
                        <a:pt x="29" y="56"/>
                        <a:pt x="32" y="48"/>
                        <a:pt x="32" y="33"/>
                      </a:cubicBezTo>
                      <a:cubicBezTo>
                        <a:pt x="32" y="16"/>
                        <a:pt x="29" y="8"/>
                        <a:pt x="22" y="8"/>
                      </a:cubicBezTo>
                      <a:close/>
                      <a:moveTo>
                        <a:pt x="21" y="64"/>
                      </a:moveTo>
                      <a:cubicBezTo>
                        <a:pt x="21" y="64"/>
                        <a:pt x="21" y="64"/>
                        <a:pt x="21" y="64"/>
                      </a:cubicBezTo>
                      <a:cubicBezTo>
                        <a:pt x="14" y="64"/>
                        <a:pt x="9" y="62"/>
                        <a:pt x="5" y="56"/>
                      </a:cubicBezTo>
                      <a:cubicBezTo>
                        <a:pt x="2" y="51"/>
                        <a:pt x="0" y="43"/>
                        <a:pt x="0" y="33"/>
                      </a:cubicBezTo>
                      <a:cubicBezTo>
                        <a:pt x="0" y="22"/>
                        <a:pt x="2" y="14"/>
                        <a:pt x="6" y="8"/>
                      </a:cubicBezTo>
                      <a:cubicBezTo>
                        <a:pt x="9" y="3"/>
                        <a:pt x="15" y="0"/>
                        <a:pt x="22" y="0"/>
                      </a:cubicBezTo>
                      <a:cubicBezTo>
                        <a:pt x="36" y="0"/>
                        <a:pt x="43" y="11"/>
                        <a:pt x="43" y="32"/>
                      </a:cubicBezTo>
                      <a:cubicBezTo>
                        <a:pt x="43" y="42"/>
                        <a:pt x="41" y="50"/>
                        <a:pt x="37" y="56"/>
                      </a:cubicBezTo>
                      <a:cubicBezTo>
                        <a:pt x="33" y="62"/>
                        <a:pt x="28" y="64"/>
                        <a:pt x="21" y="6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4" name="Freeform 54"/>
                <p:cNvSpPr>
                  <a:spLocks/>
                </p:cNvSpPr>
                <p:nvPr/>
              </p:nvSpPr>
              <p:spPr bwMode="auto">
                <a:xfrm>
                  <a:off x="2311402" y="4183063"/>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9 w 23"/>
                    <a:gd name="T19" fmla="*/ 5 h 62"/>
                    <a:gd name="T20" fmla="*/ 14 w 23"/>
                    <a:gd name="T21" fmla="*/ 3 h 62"/>
                    <a:gd name="T22" fmla="*/ 18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9"/>
                        <a:pt x="3" y="8"/>
                        <a:pt x="5" y="8"/>
                      </a:cubicBezTo>
                      <a:cubicBezTo>
                        <a:pt x="6" y="7"/>
                        <a:pt x="8" y="6"/>
                        <a:pt x="9" y="5"/>
                      </a:cubicBezTo>
                      <a:cubicBezTo>
                        <a:pt x="11" y="5"/>
                        <a:pt x="12" y="4"/>
                        <a:pt x="14" y="3"/>
                      </a:cubicBezTo>
                      <a:cubicBezTo>
                        <a:pt x="15" y="2"/>
                        <a:pt x="17" y="1"/>
                        <a:pt x="18" y="0"/>
                      </a:cubicBezTo>
                      <a:cubicBezTo>
                        <a:pt x="23" y="0"/>
                        <a:pt x="23" y="0"/>
                        <a:pt x="23" y="0"/>
                      </a:cubicBezTo>
                      <a:cubicBezTo>
                        <a:pt x="23" y="0"/>
                        <a:pt x="23" y="0"/>
                        <a:pt x="23"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5" name="Freeform 55"/>
                <p:cNvSpPr>
                  <a:spLocks noEditPoints="1"/>
                </p:cNvSpPr>
                <p:nvPr/>
              </p:nvSpPr>
              <p:spPr bwMode="auto">
                <a:xfrm>
                  <a:off x="2382839" y="4181475"/>
                  <a:ext cx="93662" cy="144462"/>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6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9" y="8"/>
                        <a:pt x="21" y="8"/>
                      </a:cubicBezTo>
                      <a:close/>
                      <a:moveTo>
                        <a:pt x="20" y="65"/>
                      </a:moveTo>
                      <a:cubicBezTo>
                        <a:pt x="20" y="65"/>
                        <a:pt x="20" y="65"/>
                        <a:pt x="20" y="65"/>
                      </a:cubicBezTo>
                      <a:cubicBezTo>
                        <a:pt x="14" y="65"/>
                        <a:pt x="9" y="62"/>
                        <a:pt x="5" y="57"/>
                      </a:cubicBezTo>
                      <a:cubicBezTo>
                        <a:pt x="2" y="51"/>
                        <a:pt x="0" y="44"/>
                        <a:pt x="0" y="34"/>
                      </a:cubicBezTo>
                      <a:cubicBezTo>
                        <a:pt x="0" y="23"/>
                        <a:pt x="2" y="14"/>
                        <a:pt x="6"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6" name="Freeform 56"/>
                <p:cNvSpPr>
                  <a:spLocks/>
                </p:cNvSpPr>
                <p:nvPr/>
              </p:nvSpPr>
              <p:spPr bwMode="auto">
                <a:xfrm>
                  <a:off x="2489202" y="4183063"/>
                  <a:ext cx="49212" cy="138112"/>
                </a:xfrm>
                <a:custGeom>
                  <a:avLst/>
                  <a:gdLst>
                    <a:gd name="T0" fmla="*/ 22 w 22"/>
                    <a:gd name="T1" fmla="*/ 0 h 62"/>
                    <a:gd name="T2" fmla="*/ 22 w 22"/>
                    <a:gd name="T3" fmla="*/ 0 h 62"/>
                    <a:gd name="T4" fmla="*/ 22 w 22"/>
                    <a:gd name="T5" fmla="*/ 62 h 62"/>
                    <a:gd name="T6" fmla="*/ 13 w 22"/>
                    <a:gd name="T7" fmla="*/ 62 h 62"/>
                    <a:gd name="T8" fmla="*/ 13 w 22"/>
                    <a:gd name="T9" fmla="*/ 12 h 62"/>
                    <a:gd name="T10" fmla="*/ 7 w 22"/>
                    <a:gd name="T11" fmla="*/ 15 h 62"/>
                    <a:gd name="T12" fmla="*/ 0 w 22"/>
                    <a:gd name="T13" fmla="*/ 17 h 62"/>
                    <a:gd name="T14" fmla="*/ 0 w 22"/>
                    <a:gd name="T15" fmla="*/ 9 h 62"/>
                    <a:gd name="T16" fmla="*/ 5 w 22"/>
                    <a:gd name="T17" fmla="*/ 8 h 62"/>
                    <a:gd name="T18" fmla="*/ 9 w 22"/>
                    <a:gd name="T19" fmla="*/ 5 h 62"/>
                    <a:gd name="T20" fmla="*/ 14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1" y="9"/>
                        <a:pt x="3" y="8"/>
                        <a:pt x="5" y="8"/>
                      </a:cubicBezTo>
                      <a:cubicBezTo>
                        <a:pt x="6" y="7"/>
                        <a:pt x="8" y="6"/>
                        <a:pt x="9" y="5"/>
                      </a:cubicBezTo>
                      <a:cubicBezTo>
                        <a:pt x="10" y="5"/>
                        <a:pt x="12" y="4"/>
                        <a:pt x="14" y="3"/>
                      </a:cubicBezTo>
                      <a:cubicBezTo>
                        <a:pt x="15" y="2"/>
                        <a:pt x="17" y="1"/>
                        <a:pt x="18" y="0"/>
                      </a:cubicBezTo>
                      <a:cubicBezTo>
                        <a:pt x="22" y="0"/>
                        <a:pt x="22" y="0"/>
                        <a:pt x="22" y="0"/>
                      </a:cubicBezTo>
                      <a:cubicBezTo>
                        <a:pt x="22" y="0"/>
                        <a:pt x="22" y="0"/>
                        <a:pt x="22"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7" name="Freeform 57"/>
                <p:cNvSpPr>
                  <a:spLocks noEditPoints="1"/>
                </p:cNvSpPr>
                <p:nvPr/>
              </p:nvSpPr>
              <p:spPr bwMode="auto">
                <a:xfrm>
                  <a:off x="2560638" y="4181475"/>
                  <a:ext cx="93662" cy="144462"/>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5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8" y="8"/>
                        <a:pt x="21" y="8"/>
                      </a:cubicBezTo>
                      <a:close/>
                      <a:moveTo>
                        <a:pt x="20" y="65"/>
                      </a:moveTo>
                      <a:cubicBezTo>
                        <a:pt x="20" y="65"/>
                        <a:pt x="20" y="65"/>
                        <a:pt x="20" y="65"/>
                      </a:cubicBezTo>
                      <a:cubicBezTo>
                        <a:pt x="14" y="65"/>
                        <a:pt x="9" y="62"/>
                        <a:pt x="5" y="57"/>
                      </a:cubicBezTo>
                      <a:cubicBezTo>
                        <a:pt x="2" y="51"/>
                        <a:pt x="0" y="44"/>
                        <a:pt x="0" y="34"/>
                      </a:cubicBezTo>
                      <a:cubicBezTo>
                        <a:pt x="0" y="23"/>
                        <a:pt x="2" y="14"/>
                        <a:pt x="5"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8" name="Freeform 58"/>
                <p:cNvSpPr>
                  <a:spLocks/>
                </p:cNvSpPr>
                <p:nvPr/>
              </p:nvSpPr>
              <p:spPr bwMode="auto">
                <a:xfrm>
                  <a:off x="1954214" y="4183063"/>
                  <a:ext cx="49212" cy="138112"/>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8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4" y="16"/>
                        <a:pt x="2" y="17"/>
                        <a:pt x="0" y="17"/>
                      </a:cubicBezTo>
                      <a:cubicBezTo>
                        <a:pt x="0" y="9"/>
                        <a:pt x="0" y="9"/>
                        <a:pt x="0" y="9"/>
                      </a:cubicBezTo>
                      <a:cubicBezTo>
                        <a:pt x="1" y="9"/>
                        <a:pt x="3" y="8"/>
                        <a:pt x="4" y="8"/>
                      </a:cubicBezTo>
                      <a:cubicBezTo>
                        <a:pt x="6" y="7"/>
                        <a:pt x="7" y="6"/>
                        <a:pt x="9" y="5"/>
                      </a:cubicBezTo>
                      <a:cubicBezTo>
                        <a:pt x="10" y="5"/>
                        <a:pt x="12" y="4"/>
                        <a:pt x="13" y="3"/>
                      </a:cubicBezTo>
                      <a:cubicBezTo>
                        <a:pt x="15" y="2"/>
                        <a:pt x="16" y="1"/>
                        <a:pt x="18" y="0"/>
                      </a:cubicBezTo>
                      <a:cubicBezTo>
                        <a:pt x="22" y="0"/>
                        <a:pt x="22" y="0"/>
                        <a:pt x="22" y="0"/>
                      </a:cubicBezTo>
                      <a:cubicBezTo>
                        <a:pt x="22" y="0"/>
                        <a:pt x="22" y="0"/>
                        <a:pt x="22"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9" name="Freeform 59"/>
                <p:cNvSpPr>
                  <a:spLocks/>
                </p:cNvSpPr>
                <p:nvPr/>
              </p:nvSpPr>
              <p:spPr bwMode="auto">
                <a:xfrm>
                  <a:off x="2127251" y="4183063"/>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9"/>
                        <a:pt x="4" y="8"/>
                        <a:pt x="5" y="8"/>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70" name="Freeform 60"/>
                <p:cNvSpPr>
                  <a:spLocks noEditPoints="1"/>
                </p:cNvSpPr>
                <p:nvPr/>
              </p:nvSpPr>
              <p:spPr bwMode="auto">
                <a:xfrm>
                  <a:off x="2025651" y="4181475"/>
                  <a:ext cx="93662" cy="144462"/>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5 w 42"/>
                    <a:gd name="T21" fmla="*/ 9 h 65"/>
                    <a:gd name="T22" fmla="*/ 22 w 42"/>
                    <a:gd name="T23" fmla="*/ 0 h 65"/>
                    <a:gd name="T24" fmla="*/ 42 w 42"/>
                    <a:gd name="T25" fmla="*/ 32 h 65"/>
                    <a:gd name="T26" fmla="*/ 36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3" y="8"/>
                        <a:pt x="10" y="17"/>
                        <a:pt x="10" y="33"/>
                      </a:cubicBezTo>
                      <a:cubicBezTo>
                        <a:pt x="10" y="49"/>
                        <a:pt x="13" y="57"/>
                        <a:pt x="21" y="57"/>
                      </a:cubicBezTo>
                      <a:cubicBezTo>
                        <a:pt x="28" y="57"/>
                        <a:pt x="32" y="49"/>
                        <a:pt x="32" y="33"/>
                      </a:cubicBezTo>
                      <a:cubicBezTo>
                        <a:pt x="32" y="16"/>
                        <a:pt x="28" y="8"/>
                        <a:pt x="21" y="8"/>
                      </a:cubicBezTo>
                      <a:close/>
                      <a:moveTo>
                        <a:pt x="20" y="65"/>
                      </a:moveTo>
                      <a:cubicBezTo>
                        <a:pt x="20" y="65"/>
                        <a:pt x="20" y="65"/>
                        <a:pt x="20" y="65"/>
                      </a:cubicBezTo>
                      <a:cubicBezTo>
                        <a:pt x="14" y="65"/>
                        <a:pt x="9" y="62"/>
                        <a:pt x="5" y="57"/>
                      </a:cubicBezTo>
                      <a:cubicBezTo>
                        <a:pt x="1" y="51"/>
                        <a:pt x="0" y="44"/>
                        <a:pt x="0" y="34"/>
                      </a:cubicBezTo>
                      <a:cubicBezTo>
                        <a:pt x="0" y="23"/>
                        <a:pt x="1" y="14"/>
                        <a:pt x="5" y="9"/>
                      </a:cubicBezTo>
                      <a:cubicBezTo>
                        <a:pt x="9" y="3"/>
                        <a:pt x="14" y="0"/>
                        <a:pt x="22" y="0"/>
                      </a:cubicBezTo>
                      <a:cubicBezTo>
                        <a:pt x="35" y="0"/>
                        <a:pt x="42" y="11"/>
                        <a:pt x="42" y="32"/>
                      </a:cubicBezTo>
                      <a:cubicBezTo>
                        <a:pt x="42" y="43"/>
                        <a:pt x="40" y="51"/>
                        <a:pt x="36" y="56"/>
                      </a:cubicBezTo>
                      <a:cubicBezTo>
                        <a:pt x="32" y="62"/>
                        <a:pt x="27" y="65"/>
                        <a:pt x="20" y="6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71" name="Freeform 61"/>
                <p:cNvSpPr>
                  <a:spLocks noEditPoints="1"/>
                </p:cNvSpPr>
                <p:nvPr/>
              </p:nvSpPr>
              <p:spPr bwMode="auto">
                <a:xfrm>
                  <a:off x="2200276" y="4181475"/>
                  <a:ext cx="95250" cy="144462"/>
                </a:xfrm>
                <a:custGeom>
                  <a:avLst/>
                  <a:gdLst>
                    <a:gd name="T0" fmla="*/ 22 w 43"/>
                    <a:gd name="T1" fmla="*/ 8 h 65"/>
                    <a:gd name="T2" fmla="*/ 22 w 43"/>
                    <a:gd name="T3" fmla="*/ 8 h 65"/>
                    <a:gd name="T4" fmla="*/ 10 w 43"/>
                    <a:gd name="T5" fmla="*/ 33 h 65"/>
                    <a:gd name="T6" fmla="*/ 21 w 43"/>
                    <a:gd name="T7" fmla="*/ 57 h 65"/>
                    <a:gd name="T8" fmla="*/ 32 w 43"/>
                    <a:gd name="T9" fmla="*/ 33 h 65"/>
                    <a:gd name="T10" fmla="*/ 22 w 43"/>
                    <a:gd name="T11" fmla="*/ 8 h 65"/>
                    <a:gd name="T12" fmla="*/ 21 w 43"/>
                    <a:gd name="T13" fmla="*/ 65 h 65"/>
                    <a:gd name="T14" fmla="*/ 21 w 43"/>
                    <a:gd name="T15" fmla="*/ 65 h 65"/>
                    <a:gd name="T16" fmla="*/ 5 w 43"/>
                    <a:gd name="T17" fmla="*/ 57 h 65"/>
                    <a:gd name="T18" fmla="*/ 0 w 43"/>
                    <a:gd name="T19" fmla="*/ 34 h 65"/>
                    <a:gd name="T20" fmla="*/ 6 w 43"/>
                    <a:gd name="T21" fmla="*/ 9 h 65"/>
                    <a:gd name="T22" fmla="*/ 22 w 43"/>
                    <a:gd name="T23" fmla="*/ 0 h 65"/>
                    <a:gd name="T24" fmla="*/ 43 w 43"/>
                    <a:gd name="T25" fmla="*/ 32 h 65"/>
                    <a:gd name="T26" fmla="*/ 37 w 43"/>
                    <a:gd name="T27" fmla="*/ 56 h 65"/>
                    <a:gd name="T28" fmla="*/ 21 w 43"/>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5">
                      <a:moveTo>
                        <a:pt x="22" y="8"/>
                      </a:moveTo>
                      <a:cubicBezTo>
                        <a:pt x="22" y="8"/>
                        <a:pt x="22" y="8"/>
                        <a:pt x="22" y="8"/>
                      </a:cubicBezTo>
                      <a:cubicBezTo>
                        <a:pt x="14" y="8"/>
                        <a:pt x="10" y="17"/>
                        <a:pt x="10" y="33"/>
                      </a:cubicBezTo>
                      <a:cubicBezTo>
                        <a:pt x="10" y="49"/>
                        <a:pt x="14" y="57"/>
                        <a:pt x="21" y="57"/>
                      </a:cubicBezTo>
                      <a:cubicBezTo>
                        <a:pt x="29" y="57"/>
                        <a:pt x="32" y="49"/>
                        <a:pt x="32" y="33"/>
                      </a:cubicBezTo>
                      <a:cubicBezTo>
                        <a:pt x="32" y="16"/>
                        <a:pt x="29" y="8"/>
                        <a:pt x="22" y="8"/>
                      </a:cubicBezTo>
                      <a:close/>
                      <a:moveTo>
                        <a:pt x="21" y="65"/>
                      </a:moveTo>
                      <a:cubicBezTo>
                        <a:pt x="21" y="65"/>
                        <a:pt x="21" y="65"/>
                        <a:pt x="21" y="65"/>
                      </a:cubicBezTo>
                      <a:cubicBezTo>
                        <a:pt x="14" y="65"/>
                        <a:pt x="9" y="62"/>
                        <a:pt x="5" y="57"/>
                      </a:cubicBezTo>
                      <a:cubicBezTo>
                        <a:pt x="2" y="51"/>
                        <a:pt x="0" y="44"/>
                        <a:pt x="0" y="34"/>
                      </a:cubicBezTo>
                      <a:cubicBezTo>
                        <a:pt x="0" y="23"/>
                        <a:pt x="2" y="14"/>
                        <a:pt x="6" y="9"/>
                      </a:cubicBezTo>
                      <a:cubicBezTo>
                        <a:pt x="9" y="3"/>
                        <a:pt x="15" y="0"/>
                        <a:pt x="22" y="0"/>
                      </a:cubicBezTo>
                      <a:cubicBezTo>
                        <a:pt x="36" y="0"/>
                        <a:pt x="43" y="11"/>
                        <a:pt x="43" y="32"/>
                      </a:cubicBezTo>
                      <a:cubicBezTo>
                        <a:pt x="43" y="43"/>
                        <a:pt x="41" y="51"/>
                        <a:pt x="37" y="56"/>
                      </a:cubicBezTo>
                      <a:cubicBezTo>
                        <a:pt x="33" y="62"/>
                        <a:pt x="28" y="65"/>
                        <a:pt x="21" y="6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172" name="Group 171"/>
              <p:cNvGrpSpPr/>
              <p:nvPr/>
            </p:nvGrpSpPr>
            <p:grpSpPr>
              <a:xfrm>
                <a:off x="1218988" y="2177889"/>
                <a:ext cx="659332" cy="660218"/>
                <a:chOff x="13342465" y="5048251"/>
                <a:chExt cx="659332" cy="660218"/>
              </a:xfrm>
            </p:grpSpPr>
            <p:sp>
              <p:nvSpPr>
                <p:cNvPr id="173" name="Oval 172"/>
                <p:cNvSpPr/>
                <p:nvPr/>
              </p:nvSpPr>
              <p:spPr bwMode="auto">
                <a:xfrm>
                  <a:off x="13342465" y="5048251"/>
                  <a:ext cx="659332" cy="660218"/>
                </a:xfrm>
                <a:prstGeom prst="ellipse">
                  <a:avLst/>
                </a:prstGeom>
                <a:solidFill>
                  <a:srgbClr val="FFFFFF"/>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243779" tIns="195023" rIns="243779" bIns="195023" numCol="1" spcCol="0" rtlCol="0" fromWordArt="0" anchor="t" anchorCtr="0" forceAA="0" compatLnSpc="1">
                  <a:prstTxWarp prst="textNoShape">
                    <a:avLst/>
                  </a:prstTxWarp>
                  <a:noAutofit/>
                </a:bodyPr>
                <a:lstStyle/>
                <a:p>
                  <a:pPr marL="0" marR="0" lvl="0" indent="0" algn="ctr" defTabSz="1243057"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74" name="Group 173"/>
                <p:cNvGrpSpPr/>
                <p:nvPr/>
              </p:nvGrpSpPr>
              <p:grpSpPr>
                <a:xfrm>
                  <a:off x="13431412" y="5127217"/>
                  <a:ext cx="481438" cy="502286"/>
                  <a:chOff x="2034677" y="923892"/>
                  <a:chExt cx="576833" cy="601813"/>
                </a:xfrm>
              </p:grpSpPr>
              <p:sp>
                <p:nvSpPr>
                  <p:cNvPr id="175" name="Freeform 174"/>
                  <p:cNvSpPr>
                    <a:spLocks/>
                  </p:cNvSpPr>
                  <p:nvPr/>
                </p:nvSpPr>
                <p:spPr bwMode="auto">
                  <a:xfrm>
                    <a:off x="2034677" y="923892"/>
                    <a:ext cx="576833" cy="490873"/>
                  </a:xfrm>
                  <a:custGeom>
                    <a:avLst/>
                    <a:gdLst>
                      <a:gd name="connsiteX0" fmla="*/ 742907 w 2759075"/>
                      <a:gd name="connsiteY0" fmla="*/ 1922194 h 2347912"/>
                      <a:gd name="connsiteX1" fmla="*/ 785365 w 2759075"/>
                      <a:gd name="connsiteY1" fmla="*/ 1940439 h 2347912"/>
                      <a:gd name="connsiteX2" fmla="*/ 785365 w 2759075"/>
                      <a:gd name="connsiteY2" fmla="*/ 2025583 h 2347912"/>
                      <a:gd name="connsiteX3" fmla="*/ 482097 w 2759075"/>
                      <a:gd name="connsiteY3" fmla="*/ 2329667 h 2347912"/>
                      <a:gd name="connsiteX4" fmla="*/ 436607 w 2759075"/>
                      <a:gd name="connsiteY4" fmla="*/ 2347912 h 2347912"/>
                      <a:gd name="connsiteX5" fmla="*/ 394150 w 2759075"/>
                      <a:gd name="connsiteY5" fmla="*/ 2329667 h 2347912"/>
                      <a:gd name="connsiteX6" fmla="*/ 394150 w 2759075"/>
                      <a:gd name="connsiteY6" fmla="*/ 2244523 h 2347912"/>
                      <a:gd name="connsiteX7" fmla="*/ 700450 w 2759075"/>
                      <a:gd name="connsiteY7" fmla="*/ 1940439 h 2347912"/>
                      <a:gd name="connsiteX8" fmla="*/ 742907 w 2759075"/>
                      <a:gd name="connsiteY8" fmla="*/ 1922194 h 2347912"/>
                      <a:gd name="connsiteX9" fmla="*/ 2008660 w 2759075"/>
                      <a:gd name="connsiteY9" fmla="*/ 1919021 h 2347912"/>
                      <a:gd name="connsiteX10" fmla="*/ 2052241 w 2759075"/>
                      <a:gd name="connsiteY10" fmla="*/ 1937271 h 2347912"/>
                      <a:gd name="connsiteX11" fmla="*/ 2355410 w 2759075"/>
                      <a:gd name="connsiteY11" fmla="*/ 2244492 h 2347912"/>
                      <a:gd name="connsiteX12" fmla="*/ 2355410 w 2759075"/>
                      <a:gd name="connsiteY12" fmla="*/ 2329661 h 2347912"/>
                      <a:gd name="connsiteX13" fmla="*/ 2312966 w 2759075"/>
                      <a:gd name="connsiteY13" fmla="*/ 2347912 h 2347912"/>
                      <a:gd name="connsiteX14" fmla="*/ 2270522 w 2759075"/>
                      <a:gd name="connsiteY14" fmla="*/ 2329661 h 2347912"/>
                      <a:gd name="connsiteX15" fmla="*/ 1967354 w 2759075"/>
                      <a:gd name="connsiteY15" fmla="*/ 2025483 h 2347912"/>
                      <a:gd name="connsiteX16" fmla="*/ 1967354 w 2759075"/>
                      <a:gd name="connsiteY16" fmla="*/ 1937271 h 2347912"/>
                      <a:gd name="connsiteX17" fmla="*/ 2008660 w 2759075"/>
                      <a:gd name="connsiteY17" fmla="*/ 1919021 h 2347912"/>
                      <a:gd name="connsiteX18" fmla="*/ 2267334 w 2759075"/>
                      <a:gd name="connsiteY18" fmla="*/ 1301750 h 2347912"/>
                      <a:gd name="connsiteX19" fmla="*/ 2698366 w 2759075"/>
                      <a:gd name="connsiteY19" fmla="*/ 1301750 h 2347912"/>
                      <a:gd name="connsiteX20" fmla="*/ 2759075 w 2759075"/>
                      <a:gd name="connsiteY20" fmla="*/ 1362868 h 2347912"/>
                      <a:gd name="connsiteX21" fmla="*/ 2698366 w 2759075"/>
                      <a:gd name="connsiteY21" fmla="*/ 1423987 h 2347912"/>
                      <a:gd name="connsiteX22" fmla="*/ 2267334 w 2759075"/>
                      <a:gd name="connsiteY22" fmla="*/ 1423987 h 2347912"/>
                      <a:gd name="connsiteX23" fmla="*/ 2206625 w 2759075"/>
                      <a:gd name="connsiteY23" fmla="*/ 1362868 h 2347912"/>
                      <a:gd name="connsiteX24" fmla="*/ 2267334 w 2759075"/>
                      <a:gd name="connsiteY24" fmla="*/ 1301750 h 2347912"/>
                      <a:gd name="connsiteX25" fmla="*/ 60724 w 2759075"/>
                      <a:gd name="connsiteY25" fmla="*/ 1292225 h 2347912"/>
                      <a:gd name="connsiteX26" fmla="*/ 494901 w 2759075"/>
                      <a:gd name="connsiteY26" fmla="*/ 1292225 h 2347912"/>
                      <a:gd name="connsiteX27" fmla="*/ 555625 w 2759075"/>
                      <a:gd name="connsiteY27" fmla="*/ 1353343 h 2347912"/>
                      <a:gd name="connsiteX28" fmla="*/ 494901 w 2759075"/>
                      <a:gd name="connsiteY28" fmla="*/ 1414462 h 2347912"/>
                      <a:gd name="connsiteX29" fmla="*/ 60724 w 2759075"/>
                      <a:gd name="connsiteY29" fmla="*/ 1414462 h 2347912"/>
                      <a:gd name="connsiteX30" fmla="*/ 0 w 2759075"/>
                      <a:gd name="connsiteY30" fmla="*/ 1353343 h 2347912"/>
                      <a:gd name="connsiteX31" fmla="*/ 60724 w 2759075"/>
                      <a:gd name="connsiteY31" fmla="*/ 1292225 h 2347912"/>
                      <a:gd name="connsiteX32" fmla="*/ 2346304 w 2759075"/>
                      <a:gd name="connsiteY32" fmla="*/ 368032 h 2347912"/>
                      <a:gd name="connsiteX33" fmla="*/ 2388748 w 2759075"/>
                      <a:gd name="connsiteY33" fmla="*/ 386277 h 2347912"/>
                      <a:gd name="connsiteX34" fmla="*/ 2388748 w 2759075"/>
                      <a:gd name="connsiteY34" fmla="*/ 471420 h 2347912"/>
                      <a:gd name="connsiteX35" fmla="*/ 2085579 w 2759075"/>
                      <a:gd name="connsiteY35" fmla="*/ 775505 h 2347912"/>
                      <a:gd name="connsiteX36" fmla="*/ 2043135 w 2759075"/>
                      <a:gd name="connsiteY36" fmla="*/ 793750 h 2347912"/>
                      <a:gd name="connsiteX37" fmla="*/ 2000692 w 2759075"/>
                      <a:gd name="connsiteY37" fmla="*/ 775505 h 2347912"/>
                      <a:gd name="connsiteX38" fmla="*/ 2000692 w 2759075"/>
                      <a:gd name="connsiteY38" fmla="*/ 690361 h 2347912"/>
                      <a:gd name="connsiteX39" fmla="*/ 2303860 w 2759075"/>
                      <a:gd name="connsiteY39" fmla="*/ 386277 h 2347912"/>
                      <a:gd name="connsiteX40" fmla="*/ 2346304 w 2759075"/>
                      <a:gd name="connsiteY40" fmla="*/ 368032 h 2347912"/>
                      <a:gd name="connsiteX41" fmla="*/ 447269 w 2759075"/>
                      <a:gd name="connsiteY41" fmla="*/ 368032 h 2347912"/>
                      <a:gd name="connsiteX42" fmla="*/ 488590 w 2759075"/>
                      <a:gd name="connsiteY42" fmla="*/ 386277 h 2347912"/>
                      <a:gd name="connsiteX43" fmla="*/ 794890 w 2759075"/>
                      <a:gd name="connsiteY43" fmla="*/ 690361 h 2347912"/>
                      <a:gd name="connsiteX44" fmla="*/ 794890 w 2759075"/>
                      <a:gd name="connsiteY44" fmla="*/ 775505 h 2347912"/>
                      <a:gd name="connsiteX45" fmla="*/ 752432 w 2759075"/>
                      <a:gd name="connsiteY45" fmla="*/ 793750 h 2347912"/>
                      <a:gd name="connsiteX46" fmla="*/ 709975 w 2759075"/>
                      <a:gd name="connsiteY46" fmla="*/ 775505 h 2347912"/>
                      <a:gd name="connsiteX47" fmla="*/ 403675 w 2759075"/>
                      <a:gd name="connsiteY47" fmla="*/ 471420 h 2347912"/>
                      <a:gd name="connsiteX48" fmla="*/ 403675 w 2759075"/>
                      <a:gd name="connsiteY48" fmla="*/ 386277 h 2347912"/>
                      <a:gd name="connsiteX49" fmla="*/ 447269 w 2759075"/>
                      <a:gd name="connsiteY49" fmla="*/ 368032 h 2347912"/>
                      <a:gd name="connsiteX50" fmla="*/ 1388269 w 2759075"/>
                      <a:gd name="connsiteY50" fmla="*/ 0 h 2347912"/>
                      <a:gd name="connsiteX51" fmla="*/ 1449388 w 2759075"/>
                      <a:gd name="connsiteY51" fmla="*/ 60883 h 2347912"/>
                      <a:gd name="connsiteX52" fmla="*/ 1449388 w 2759075"/>
                      <a:gd name="connsiteY52" fmla="*/ 493154 h 2347912"/>
                      <a:gd name="connsiteX53" fmla="*/ 1388269 w 2759075"/>
                      <a:gd name="connsiteY53" fmla="*/ 554037 h 2347912"/>
                      <a:gd name="connsiteX54" fmla="*/ 1327150 w 2759075"/>
                      <a:gd name="connsiteY54" fmla="*/ 493154 h 2347912"/>
                      <a:gd name="connsiteX55" fmla="*/ 1327150 w 2759075"/>
                      <a:gd name="connsiteY55" fmla="*/ 60883 h 2347912"/>
                      <a:gd name="connsiteX56" fmla="*/ 1388269 w 2759075"/>
                      <a:gd name="connsiteY56" fmla="*/ 0 h 2347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759075" h="2347912">
                        <a:moveTo>
                          <a:pt x="742907" y="1922194"/>
                        </a:moveTo>
                        <a:cubicBezTo>
                          <a:pt x="758071" y="1922194"/>
                          <a:pt x="773234" y="1928276"/>
                          <a:pt x="785365" y="1940439"/>
                        </a:cubicBezTo>
                        <a:cubicBezTo>
                          <a:pt x="809626" y="1964766"/>
                          <a:pt x="809626" y="2001256"/>
                          <a:pt x="785365" y="2025583"/>
                        </a:cubicBezTo>
                        <a:cubicBezTo>
                          <a:pt x="785365" y="2025583"/>
                          <a:pt x="785365" y="2025583"/>
                          <a:pt x="482097" y="2329667"/>
                        </a:cubicBezTo>
                        <a:cubicBezTo>
                          <a:pt x="469967" y="2341830"/>
                          <a:pt x="454803" y="2347912"/>
                          <a:pt x="436607" y="2347912"/>
                        </a:cubicBezTo>
                        <a:cubicBezTo>
                          <a:pt x="421444" y="2347912"/>
                          <a:pt x="406280" y="2341830"/>
                          <a:pt x="394150" y="2329667"/>
                        </a:cubicBezTo>
                        <a:cubicBezTo>
                          <a:pt x="369888" y="2308381"/>
                          <a:pt x="369888" y="2268850"/>
                          <a:pt x="394150" y="2244523"/>
                        </a:cubicBezTo>
                        <a:cubicBezTo>
                          <a:pt x="394150" y="2244523"/>
                          <a:pt x="394150" y="2244523"/>
                          <a:pt x="700450" y="1940439"/>
                        </a:cubicBezTo>
                        <a:cubicBezTo>
                          <a:pt x="712580" y="1928276"/>
                          <a:pt x="727744" y="1922194"/>
                          <a:pt x="742907" y="1922194"/>
                        </a:cubicBezTo>
                        <a:close/>
                        <a:moveTo>
                          <a:pt x="2008660" y="1919021"/>
                        </a:moveTo>
                        <a:cubicBezTo>
                          <a:pt x="2024198" y="1919021"/>
                          <a:pt x="2040114" y="1925104"/>
                          <a:pt x="2052241" y="1937271"/>
                        </a:cubicBezTo>
                        <a:cubicBezTo>
                          <a:pt x="2052241" y="1937271"/>
                          <a:pt x="2052241" y="1937271"/>
                          <a:pt x="2355410" y="2244492"/>
                        </a:cubicBezTo>
                        <a:cubicBezTo>
                          <a:pt x="2379663" y="2268826"/>
                          <a:pt x="2379663" y="2305327"/>
                          <a:pt x="2355410" y="2329661"/>
                        </a:cubicBezTo>
                        <a:cubicBezTo>
                          <a:pt x="2346315" y="2341829"/>
                          <a:pt x="2328125" y="2347912"/>
                          <a:pt x="2312966" y="2347912"/>
                        </a:cubicBezTo>
                        <a:cubicBezTo>
                          <a:pt x="2297808" y="2347912"/>
                          <a:pt x="2282649" y="2341829"/>
                          <a:pt x="2270522" y="2329661"/>
                        </a:cubicBezTo>
                        <a:cubicBezTo>
                          <a:pt x="2270522" y="2329661"/>
                          <a:pt x="2270522" y="2329661"/>
                          <a:pt x="1967354" y="2025483"/>
                        </a:cubicBezTo>
                        <a:cubicBezTo>
                          <a:pt x="1943100" y="2001149"/>
                          <a:pt x="1943100" y="1961606"/>
                          <a:pt x="1967354" y="1937271"/>
                        </a:cubicBezTo>
                        <a:cubicBezTo>
                          <a:pt x="1977965" y="1925104"/>
                          <a:pt x="1993123" y="1919021"/>
                          <a:pt x="2008660" y="1919021"/>
                        </a:cubicBezTo>
                        <a:close/>
                        <a:moveTo>
                          <a:pt x="2267334" y="1301750"/>
                        </a:moveTo>
                        <a:cubicBezTo>
                          <a:pt x="2267334" y="1301750"/>
                          <a:pt x="2267334" y="1301750"/>
                          <a:pt x="2698366" y="1301750"/>
                        </a:cubicBezTo>
                        <a:cubicBezTo>
                          <a:pt x="2731756" y="1301750"/>
                          <a:pt x="2759075" y="1329253"/>
                          <a:pt x="2759075" y="1362868"/>
                        </a:cubicBezTo>
                        <a:cubicBezTo>
                          <a:pt x="2759075" y="1396484"/>
                          <a:pt x="2731756" y="1423987"/>
                          <a:pt x="2698366" y="1423987"/>
                        </a:cubicBezTo>
                        <a:cubicBezTo>
                          <a:pt x="2698366" y="1423987"/>
                          <a:pt x="2698366" y="1423987"/>
                          <a:pt x="2267334" y="1423987"/>
                        </a:cubicBezTo>
                        <a:cubicBezTo>
                          <a:pt x="2233944" y="1423987"/>
                          <a:pt x="2206625" y="1396484"/>
                          <a:pt x="2206625" y="1362868"/>
                        </a:cubicBezTo>
                        <a:cubicBezTo>
                          <a:pt x="2206625" y="1329253"/>
                          <a:pt x="2233944" y="1301750"/>
                          <a:pt x="2267334" y="1301750"/>
                        </a:cubicBezTo>
                        <a:close/>
                        <a:moveTo>
                          <a:pt x="60724" y="1292225"/>
                        </a:moveTo>
                        <a:cubicBezTo>
                          <a:pt x="60724" y="1292225"/>
                          <a:pt x="60724" y="1292225"/>
                          <a:pt x="494901" y="1292225"/>
                        </a:cubicBezTo>
                        <a:cubicBezTo>
                          <a:pt x="528299" y="1292225"/>
                          <a:pt x="555625" y="1319728"/>
                          <a:pt x="555625" y="1353343"/>
                        </a:cubicBezTo>
                        <a:cubicBezTo>
                          <a:pt x="555625" y="1386959"/>
                          <a:pt x="528299" y="1414462"/>
                          <a:pt x="494901" y="1414462"/>
                        </a:cubicBezTo>
                        <a:cubicBezTo>
                          <a:pt x="494901" y="1414462"/>
                          <a:pt x="494901" y="1414462"/>
                          <a:pt x="60724" y="1414462"/>
                        </a:cubicBezTo>
                        <a:cubicBezTo>
                          <a:pt x="27326" y="1414462"/>
                          <a:pt x="0" y="1386959"/>
                          <a:pt x="0" y="1353343"/>
                        </a:cubicBezTo>
                        <a:cubicBezTo>
                          <a:pt x="0" y="1319728"/>
                          <a:pt x="27326" y="1292225"/>
                          <a:pt x="60724" y="1292225"/>
                        </a:cubicBezTo>
                        <a:close/>
                        <a:moveTo>
                          <a:pt x="2346304" y="368032"/>
                        </a:moveTo>
                        <a:cubicBezTo>
                          <a:pt x="2361463" y="368032"/>
                          <a:pt x="2376621" y="374113"/>
                          <a:pt x="2388748" y="386277"/>
                        </a:cubicBezTo>
                        <a:cubicBezTo>
                          <a:pt x="2413001" y="407563"/>
                          <a:pt x="2413001" y="447094"/>
                          <a:pt x="2388748" y="471420"/>
                        </a:cubicBezTo>
                        <a:cubicBezTo>
                          <a:pt x="2388748" y="471420"/>
                          <a:pt x="2388748" y="471420"/>
                          <a:pt x="2085579" y="775505"/>
                        </a:cubicBezTo>
                        <a:cubicBezTo>
                          <a:pt x="2073452" y="787668"/>
                          <a:pt x="2058294" y="793750"/>
                          <a:pt x="2043135" y="793750"/>
                        </a:cubicBezTo>
                        <a:cubicBezTo>
                          <a:pt x="2027977" y="793750"/>
                          <a:pt x="2009787" y="787668"/>
                          <a:pt x="2000692" y="775505"/>
                        </a:cubicBezTo>
                        <a:cubicBezTo>
                          <a:pt x="1976438" y="754219"/>
                          <a:pt x="1976438" y="714688"/>
                          <a:pt x="2000692" y="690361"/>
                        </a:cubicBezTo>
                        <a:cubicBezTo>
                          <a:pt x="2000692" y="690361"/>
                          <a:pt x="2000692" y="690361"/>
                          <a:pt x="2303860" y="386277"/>
                        </a:cubicBezTo>
                        <a:cubicBezTo>
                          <a:pt x="2315987" y="374113"/>
                          <a:pt x="2331146" y="368032"/>
                          <a:pt x="2346304" y="368032"/>
                        </a:cubicBezTo>
                        <a:close/>
                        <a:moveTo>
                          <a:pt x="447269" y="368032"/>
                        </a:moveTo>
                        <a:cubicBezTo>
                          <a:pt x="462812" y="368032"/>
                          <a:pt x="477975" y="374113"/>
                          <a:pt x="488590" y="386277"/>
                        </a:cubicBezTo>
                        <a:cubicBezTo>
                          <a:pt x="488590" y="386277"/>
                          <a:pt x="488590" y="386277"/>
                          <a:pt x="794890" y="690361"/>
                        </a:cubicBezTo>
                        <a:cubicBezTo>
                          <a:pt x="819151" y="714688"/>
                          <a:pt x="819151" y="754219"/>
                          <a:pt x="794890" y="775505"/>
                        </a:cubicBezTo>
                        <a:cubicBezTo>
                          <a:pt x="782759" y="787668"/>
                          <a:pt x="767596" y="793750"/>
                          <a:pt x="752432" y="793750"/>
                        </a:cubicBezTo>
                        <a:cubicBezTo>
                          <a:pt x="737269" y="793750"/>
                          <a:pt x="719073" y="787668"/>
                          <a:pt x="709975" y="775505"/>
                        </a:cubicBezTo>
                        <a:cubicBezTo>
                          <a:pt x="709975" y="775505"/>
                          <a:pt x="709975" y="775505"/>
                          <a:pt x="403675" y="471420"/>
                        </a:cubicBezTo>
                        <a:cubicBezTo>
                          <a:pt x="379413" y="447094"/>
                          <a:pt x="379413" y="407563"/>
                          <a:pt x="403675" y="386277"/>
                        </a:cubicBezTo>
                        <a:cubicBezTo>
                          <a:pt x="415806" y="374113"/>
                          <a:pt x="431727" y="368032"/>
                          <a:pt x="447269" y="368032"/>
                        </a:cubicBezTo>
                        <a:close/>
                        <a:moveTo>
                          <a:pt x="1388269" y="0"/>
                        </a:moveTo>
                        <a:cubicBezTo>
                          <a:pt x="1421885" y="0"/>
                          <a:pt x="1449388" y="27397"/>
                          <a:pt x="1449388" y="60883"/>
                        </a:cubicBezTo>
                        <a:cubicBezTo>
                          <a:pt x="1449388" y="493154"/>
                          <a:pt x="1449388" y="493154"/>
                          <a:pt x="1449388" y="493154"/>
                        </a:cubicBezTo>
                        <a:cubicBezTo>
                          <a:pt x="1449388" y="526639"/>
                          <a:pt x="1421885" y="554037"/>
                          <a:pt x="1388269" y="554037"/>
                        </a:cubicBezTo>
                        <a:cubicBezTo>
                          <a:pt x="1354654" y="554037"/>
                          <a:pt x="1327150" y="526639"/>
                          <a:pt x="1327150" y="493154"/>
                        </a:cubicBezTo>
                        <a:cubicBezTo>
                          <a:pt x="1327150" y="60883"/>
                          <a:pt x="1327150" y="60883"/>
                          <a:pt x="1327150" y="60883"/>
                        </a:cubicBezTo>
                        <a:cubicBezTo>
                          <a:pt x="1327150" y="27397"/>
                          <a:pt x="1354654" y="0"/>
                          <a:pt x="1388269"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76" name="Freeform 175"/>
                  <p:cNvSpPr>
                    <a:spLocks/>
                  </p:cNvSpPr>
                  <p:nvPr/>
                </p:nvSpPr>
                <p:spPr bwMode="auto">
                  <a:xfrm>
                    <a:off x="2170087" y="1059793"/>
                    <a:ext cx="306013" cy="465912"/>
                  </a:xfrm>
                  <a:custGeom>
                    <a:avLst/>
                    <a:gdLst>
                      <a:gd name="connsiteX0" fmla="*/ 117334 w 306013"/>
                      <a:gd name="connsiteY0" fmla="*/ 440356 h 465912"/>
                      <a:gd name="connsiteX1" fmla="*/ 188678 w 306013"/>
                      <a:gd name="connsiteY1" fmla="*/ 440356 h 465912"/>
                      <a:gd name="connsiteX2" fmla="*/ 198726 w 306013"/>
                      <a:gd name="connsiteY2" fmla="*/ 453134 h 465912"/>
                      <a:gd name="connsiteX3" fmla="*/ 188678 w 306013"/>
                      <a:gd name="connsiteY3" fmla="*/ 465912 h 465912"/>
                      <a:gd name="connsiteX4" fmla="*/ 117334 w 306013"/>
                      <a:gd name="connsiteY4" fmla="*/ 465912 h 465912"/>
                      <a:gd name="connsiteX5" fmla="*/ 107286 w 306013"/>
                      <a:gd name="connsiteY5" fmla="*/ 453134 h 465912"/>
                      <a:gd name="connsiteX6" fmla="*/ 117334 w 306013"/>
                      <a:gd name="connsiteY6" fmla="*/ 440356 h 465912"/>
                      <a:gd name="connsiteX7" fmla="*/ 107949 w 306013"/>
                      <a:gd name="connsiteY7" fmla="*/ 395233 h 465912"/>
                      <a:gd name="connsiteX8" fmla="*/ 198064 w 306013"/>
                      <a:gd name="connsiteY8" fmla="*/ 395233 h 465912"/>
                      <a:gd name="connsiteX9" fmla="*/ 210756 w 306013"/>
                      <a:gd name="connsiteY9" fmla="*/ 408011 h 465912"/>
                      <a:gd name="connsiteX10" fmla="*/ 198064 w 306013"/>
                      <a:gd name="connsiteY10" fmla="*/ 420789 h 465912"/>
                      <a:gd name="connsiteX11" fmla="*/ 107949 w 306013"/>
                      <a:gd name="connsiteY11" fmla="*/ 420789 h 465912"/>
                      <a:gd name="connsiteX12" fmla="*/ 95257 w 306013"/>
                      <a:gd name="connsiteY12" fmla="*/ 408011 h 465912"/>
                      <a:gd name="connsiteX13" fmla="*/ 107949 w 306013"/>
                      <a:gd name="connsiteY13" fmla="*/ 395233 h 465912"/>
                      <a:gd name="connsiteX14" fmla="*/ 152830 w 306013"/>
                      <a:gd name="connsiteY14" fmla="*/ 23621 h 465912"/>
                      <a:gd name="connsiteX15" fmla="*/ 23621 w 306013"/>
                      <a:gd name="connsiteY15" fmla="*/ 153254 h 465912"/>
                      <a:gd name="connsiteX16" fmla="*/ 65703 w 306013"/>
                      <a:gd name="connsiteY16" fmla="*/ 247209 h 465912"/>
                      <a:gd name="connsiteX17" fmla="*/ 110156 w 306013"/>
                      <a:gd name="connsiteY17" fmla="*/ 333432 h 465912"/>
                      <a:gd name="connsiteX18" fmla="*/ 111341 w 306013"/>
                      <a:gd name="connsiteY18" fmla="*/ 345920 h 465912"/>
                      <a:gd name="connsiteX19" fmla="*/ 98894 w 306013"/>
                      <a:gd name="connsiteY19" fmla="*/ 347109 h 465912"/>
                      <a:gd name="connsiteX20" fmla="*/ 97709 w 306013"/>
                      <a:gd name="connsiteY20" fmla="*/ 348299 h 465912"/>
                      <a:gd name="connsiteX21" fmla="*/ 98894 w 306013"/>
                      <a:gd name="connsiteY21" fmla="*/ 350083 h 465912"/>
                      <a:gd name="connsiteX22" fmla="*/ 206766 w 306013"/>
                      <a:gd name="connsiteY22" fmla="*/ 350083 h 465912"/>
                      <a:gd name="connsiteX23" fmla="*/ 207952 w 306013"/>
                      <a:gd name="connsiteY23" fmla="*/ 348299 h 465912"/>
                      <a:gd name="connsiteX24" fmla="*/ 206766 w 306013"/>
                      <a:gd name="connsiteY24" fmla="*/ 347109 h 465912"/>
                      <a:gd name="connsiteX25" fmla="*/ 194320 w 306013"/>
                      <a:gd name="connsiteY25" fmla="*/ 345920 h 465912"/>
                      <a:gd name="connsiteX26" fmla="*/ 195505 w 306013"/>
                      <a:gd name="connsiteY26" fmla="*/ 333432 h 465912"/>
                      <a:gd name="connsiteX27" fmla="*/ 239958 w 306013"/>
                      <a:gd name="connsiteY27" fmla="*/ 247209 h 465912"/>
                      <a:gd name="connsiteX28" fmla="*/ 282040 w 306013"/>
                      <a:gd name="connsiteY28" fmla="*/ 153254 h 465912"/>
                      <a:gd name="connsiteX29" fmla="*/ 152830 w 306013"/>
                      <a:gd name="connsiteY29" fmla="*/ 23621 h 465912"/>
                      <a:gd name="connsiteX30" fmla="*/ 153007 w 306013"/>
                      <a:gd name="connsiteY30" fmla="*/ 0 h 465912"/>
                      <a:gd name="connsiteX31" fmla="*/ 306013 w 306013"/>
                      <a:gd name="connsiteY31" fmla="*/ 153284 h 465912"/>
                      <a:gd name="connsiteX32" fmla="*/ 258569 w 306013"/>
                      <a:gd name="connsiteY32" fmla="*/ 262008 h 465912"/>
                      <a:gd name="connsiteX33" fmla="*/ 220614 w 306013"/>
                      <a:gd name="connsiteY33" fmla="*/ 327362 h 465912"/>
                      <a:gd name="connsiteX34" fmla="*/ 231882 w 306013"/>
                      <a:gd name="connsiteY34" fmla="*/ 348156 h 465912"/>
                      <a:gd name="connsiteX35" fmla="*/ 206974 w 306013"/>
                      <a:gd name="connsiteY35" fmla="*/ 373703 h 465912"/>
                      <a:gd name="connsiteX36" fmla="*/ 99039 w 306013"/>
                      <a:gd name="connsiteY36" fmla="*/ 373703 h 465912"/>
                      <a:gd name="connsiteX37" fmla="*/ 74131 w 306013"/>
                      <a:gd name="connsiteY37" fmla="*/ 348156 h 465912"/>
                      <a:gd name="connsiteX38" fmla="*/ 85399 w 306013"/>
                      <a:gd name="connsiteY38" fmla="*/ 327362 h 465912"/>
                      <a:gd name="connsiteX39" fmla="*/ 47444 w 306013"/>
                      <a:gd name="connsiteY39" fmla="*/ 262008 h 465912"/>
                      <a:gd name="connsiteX40" fmla="*/ 0 w 306013"/>
                      <a:gd name="connsiteY40" fmla="*/ 153284 h 465912"/>
                      <a:gd name="connsiteX41" fmla="*/ 153007 w 306013"/>
                      <a:gd name="connsiteY41" fmla="*/ 0 h 46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06013" h="465912">
                        <a:moveTo>
                          <a:pt x="117334" y="440356"/>
                        </a:moveTo>
                        <a:cubicBezTo>
                          <a:pt x="117334" y="440356"/>
                          <a:pt x="117334" y="440356"/>
                          <a:pt x="188678" y="440356"/>
                        </a:cubicBezTo>
                        <a:cubicBezTo>
                          <a:pt x="194205" y="440356"/>
                          <a:pt x="198726" y="446106"/>
                          <a:pt x="198726" y="453134"/>
                        </a:cubicBezTo>
                        <a:cubicBezTo>
                          <a:pt x="198726" y="460162"/>
                          <a:pt x="194205" y="465912"/>
                          <a:pt x="188678" y="465912"/>
                        </a:cubicBezTo>
                        <a:cubicBezTo>
                          <a:pt x="188678" y="465912"/>
                          <a:pt x="188678" y="465912"/>
                          <a:pt x="117334" y="465912"/>
                        </a:cubicBezTo>
                        <a:cubicBezTo>
                          <a:pt x="111807" y="465912"/>
                          <a:pt x="107286" y="460162"/>
                          <a:pt x="107286" y="453134"/>
                        </a:cubicBezTo>
                        <a:cubicBezTo>
                          <a:pt x="107286" y="446106"/>
                          <a:pt x="111807" y="440356"/>
                          <a:pt x="117334" y="440356"/>
                        </a:cubicBezTo>
                        <a:close/>
                        <a:moveTo>
                          <a:pt x="107949" y="395233"/>
                        </a:moveTo>
                        <a:cubicBezTo>
                          <a:pt x="107949" y="395233"/>
                          <a:pt x="107949" y="395233"/>
                          <a:pt x="198064" y="395233"/>
                        </a:cubicBezTo>
                        <a:cubicBezTo>
                          <a:pt x="205045" y="395233"/>
                          <a:pt x="210756" y="400983"/>
                          <a:pt x="210756" y="408011"/>
                        </a:cubicBezTo>
                        <a:cubicBezTo>
                          <a:pt x="210756" y="415039"/>
                          <a:pt x="205045" y="420789"/>
                          <a:pt x="198064" y="420789"/>
                        </a:cubicBezTo>
                        <a:cubicBezTo>
                          <a:pt x="198064" y="420789"/>
                          <a:pt x="198064" y="420789"/>
                          <a:pt x="107949" y="420789"/>
                        </a:cubicBezTo>
                        <a:cubicBezTo>
                          <a:pt x="100968" y="420789"/>
                          <a:pt x="95257" y="415039"/>
                          <a:pt x="95257" y="408011"/>
                        </a:cubicBezTo>
                        <a:cubicBezTo>
                          <a:pt x="95257" y="400983"/>
                          <a:pt x="100968" y="395233"/>
                          <a:pt x="107949" y="395233"/>
                        </a:cubicBezTo>
                        <a:close/>
                        <a:moveTo>
                          <a:pt x="152830" y="23621"/>
                        </a:moveTo>
                        <a:cubicBezTo>
                          <a:pt x="81706" y="23621"/>
                          <a:pt x="23621" y="81302"/>
                          <a:pt x="23621" y="153254"/>
                        </a:cubicBezTo>
                        <a:cubicBezTo>
                          <a:pt x="23621" y="196664"/>
                          <a:pt x="44366" y="221044"/>
                          <a:pt x="65703" y="247209"/>
                        </a:cubicBezTo>
                        <a:cubicBezTo>
                          <a:pt x="85262" y="270400"/>
                          <a:pt x="106007" y="295375"/>
                          <a:pt x="110156" y="333432"/>
                        </a:cubicBezTo>
                        <a:cubicBezTo>
                          <a:pt x="111341" y="345920"/>
                          <a:pt x="111341" y="345920"/>
                          <a:pt x="111341" y="345920"/>
                        </a:cubicBezTo>
                        <a:cubicBezTo>
                          <a:pt x="98894" y="347109"/>
                          <a:pt x="98894" y="347109"/>
                          <a:pt x="98894" y="347109"/>
                        </a:cubicBezTo>
                        <a:cubicBezTo>
                          <a:pt x="98302" y="347109"/>
                          <a:pt x="97709" y="347704"/>
                          <a:pt x="97709" y="348299"/>
                        </a:cubicBezTo>
                        <a:cubicBezTo>
                          <a:pt x="97709" y="349488"/>
                          <a:pt x="98302" y="350083"/>
                          <a:pt x="98894" y="350083"/>
                        </a:cubicBezTo>
                        <a:cubicBezTo>
                          <a:pt x="206766" y="350083"/>
                          <a:pt x="206766" y="350083"/>
                          <a:pt x="206766" y="350083"/>
                        </a:cubicBezTo>
                        <a:cubicBezTo>
                          <a:pt x="207359" y="350083"/>
                          <a:pt x="207952" y="349488"/>
                          <a:pt x="207952" y="348299"/>
                        </a:cubicBezTo>
                        <a:cubicBezTo>
                          <a:pt x="207952" y="347704"/>
                          <a:pt x="207359" y="347109"/>
                          <a:pt x="206766" y="347109"/>
                        </a:cubicBezTo>
                        <a:cubicBezTo>
                          <a:pt x="194320" y="345920"/>
                          <a:pt x="194320" y="345920"/>
                          <a:pt x="194320" y="345920"/>
                        </a:cubicBezTo>
                        <a:cubicBezTo>
                          <a:pt x="195505" y="333432"/>
                          <a:pt x="195505" y="333432"/>
                          <a:pt x="195505" y="333432"/>
                        </a:cubicBezTo>
                        <a:cubicBezTo>
                          <a:pt x="199654" y="295375"/>
                          <a:pt x="220399" y="270400"/>
                          <a:pt x="239958" y="247209"/>
                        </a:cubicBezTo>
                        <a:cubicBezTo>
                          <a:pt x="261888" y="221044"/>
                          <a:pt x="282040" y="196664"/>
                          <a:pt x="282040" y="153254"/>
                        </a:cubicBezTo>
                        <a:cubicBezTo>
                          <a:pt x="282040" y="81302"/>
                          <a:pt x="223955" y="23621"/>
                          <a:pt x="152830" y="23621"/>
                        </a:cubicBezTo>
                        <a:close/>
                        <a:moveTo>
                          <a:pt x="153007" y="0"/>
                        </a:moveTo>
                        <a:cubicBezTo>
                          <a:pt x="237219" y="0"/>
                          <a:pt x="306013" y="68324"/>
                          <a:pt x="306013" y="153284"/>
                        </a:cubicBezTo>
                        <a:cubicBezTo>
                          <a:pt x="306013" y="205567"/>
                          <a:pt x="280512" y="235867"/>
                          <a:pt x="258569" y="262008"/>
                        </a:cubicBezTo>
                        <a:cubicBezTo>
                          <a:pt x="241964" y="282208"/>
                          <a:pt x="226545" y="300626"/>
                          <a:pt x="220614" y="327362"/>
                        </a:cubicBezTo>
                        <a:cubicBezTo>
                          <a:pt x="227731" y="331521"/>
                          <a:pt x="231882" y="339244"/>
                          <a:pt x="231882" y="348156"/>
                        </a:cubicBezTo>
                        <a:cubicBezTo>
                          <a:pt x="231882" y="362415"/>
                          <a:pt x="220614" y="373703"/>
                          <a:pt x="206974" y="373703"/>
                        </a:cubicBezTo>
                        <a:cubicBezTo>
                          <a:pt x="99039" y="373703"/>
                          <a:pt x="99039" y="373703"/>
                          <a:pt x="99039" y="373703"/>
                        </a:cubicBezTo>
                        <a:cubicBezTo>
                          <a:pt x="85399" y="373703"/>
                          <a:pt x="74131" y="362415"/>
                          <a:pt x="74131" y="348156"/>
                        </a:cubicBezTo>
                        <a:cubicBezTo>
                          <a:pt x="74131" y="339244"/>
                          <a:pt x="78283" y="331521"/>
                          <a:pt x="85399" y="327362"/>
                        </a:cubicBezTo>
                        <a:cubicBezTo>
                          <a:pt x="80062" y="300626"/>
                          <a:pt x="64049" y="282208"/>
                          <a:pt x="47444" y="262008"/>
                        </a:cubicBezTo>
                        <a:cubicBezTo>
                          <a:pt x="25501" y="235867"/>
                          <a:pt x="0" y="205567"/>
                          <a:pt x="0" y="153284"/>
                        </a:cubicBezTo>
                        <a:cubicBezTo>
                          <a:pt x="0" y="68324"/>
                          <a:pt x="68794" y="0"/>
                          <a:pt x="153007"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grpSp>
      <p:grpSp>
        <p:nvGrpSpPr>
          <p:cNvPr id="4" name="Group 3"/>
          <p:cNvGrpSpPr/>
          <p:nvPr/>
        </p:nvGrpSpPr>
        <p:grpSpPr>
          <a:xfrm>
            <a:off x="1275171" y="3626941"/>
            <a:ext cx="3337121" cy="1202584"/>
            <a:chOff x="1275171" y="3626941"/>
            <a:chExt cx="3337121" cy="1202584"/>
          </a:xfrm>
        </p:grpSpPr>
        <p:sp>
          <p:nvSpPr>
            <p:cNvPr id="10" name="Rectangle 9"/>
            <p:cNvSpPr/>
            <p:nvPr/>
          </p:nvSpPr>
          <p:spPr>
            <a:xfrm>
              <a:off x="2486389" y="3908158"/>
              <a:ext cx="2125903" cy="921367"/>
            </a:xfrm>
            <a:prstGeom prst="rect">
              <a:avLst/>
            </a:prstGeom>
          </p:spPr>
          <p:txBody>
            <a:bodyPr wrap="none" lIns="0" tIns="0" rIns="0" bIns="0">
              <a:noAutofit/>
            </a:bodyPr>
            <a:lstStyle/>
            <a:p>
              <a:pPr lvl="0" algn="r"/>
              <a:r>
                <a:rPr lang="en-US" sz="2800" dirty="0">
                  <a:solidFill>
                    <a:schemeClr val="bg1"/>
                  </a:solidFill>
                  <a:latin typeface="Segoe UI Light"/>
                </a:rPr>
                <a:t>Costs</a:t>
              </a:r>
            </a:p>
          </p:txBody>
        </p:sp>
        <p:sp>
          <p:nvSpPr>
            <p:cNvPr id="178" name="Freeform 177"/>
            <p:cNvSpPr>
              <a:spLocks noChangeAspect="1" noEditPoints="1"/>
            </p:cNvSpPr>
            <p:nvPr/>
          </p:nvSpPr>
          <p:spPr bwMode="auto">
            <a:xfrm>
              <a:off x="1275171" y="3626941"/>
              <a:ext cx="759067" cy="1026715"/>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FFFFFF"/>
            </a:solidFill>
            <a:ln w="19050">
              <a:solidFill>
                <a:schemeClr val="accent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endParaRPr lang="en-US"/>
            </a:p>
          </p:txBody>
        </p:sp>
      </p:grpSp>
      <p:cxnSp>
        <p:nvCxnSpPr>
          <p:cNvPr id="11" name="Straight Connector 10"/>
          <p:cNvCxnSpPr/>
          <p:nvPr/>
        </p:nvCxnSpPr>
        <p:spPr>
          <a:xfrm>
            <a:off x="0" y="6338564"/>
            <a:ext cx="12191627" cy="0"/>
          </a:xfrm>
          <a:prstGeom prst="line">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841155" y="4849991"/>
            <a:ext cx="11338560" cy="0"/>
          </a:xfrm>
          <a:prstGeom prst="line">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841155" y="3400096"/>
            <a:ext cx="11338560" cy="0"/>
          </a:xfrm>
          <a:prstGeom prst="line">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841155" y="1976233"/>
            <a:ext cx="11338560" cy="0"/>
          </a:xfrm>
          <a:prstGeom prst="line">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1008288" y="5054446"/>
            <a:ext cx="3634779" cy="1237910"/>
            <a:chOff x="1008288" y="5054446"/>
            <a:chExt cx="3634779" cy="1237910"/>
          </a:xfrm>
        </p:grpSpPr>
        <p:sp>
          <p:nvSpPr>
            <p:cNvPr id="27" name="Rectangle 26"/>
            <p:cNvSpPr/>
            <p:nvPr/>
          </p:nvSpPr>
          <p:spPr>
            <a:xfrm>
              <a:off x="2517164" y="5370595"/>
              <a:ext cx="2125903" cy="921761"/>
            </a:xfrm>
            <a:prstGeom prst="rect">
              <a:avLst/>
            </a:prstGeom>
          </p:spPr>
          <p:txBody>
            <a:bodyPr wrap="none" lIns="0" tIns="0" rIns="0" bIns="0">
              <a:noAutofit/>
            </a:bodyPr>
            <a:lstStyle/>
            <a:p>
              <a:pPr lvl="0" algn="r"/>
              <a:r>
                <a:rPr lang="en-US" sz="2800" dirty="0">
                  <a:solidFill>
                    <a:schemeClr val="bg1"/>
                  </a:solidFill>
                  <a:latin typeface="Segoe UI Light"/>
                </a:rPr>
                <a:t>Culture</a:t>
              </a:r>
            </a:p>
          </p:txBody>
        </p:sp>
        <p:sp>
          <p:nvSpPr>
            <p:cNvPr id="64" name="Freeform 63"/>
            <p:cNvSpPr>
              <a:spLocks/>
            </p:cNvSpPr>
            <p:nvPr/>
          </p:nvSpPr>
          <p:spPr bwMode="auto">
            <a:xfrm>
              <a:off x="1008288" y="5054446"/>
              <a:ext cx="1233812" cy="1128670"/>
            </a:xfrm>
            <a:custGeom>
              <a:avLst/>
              <a:gdLst/>
              <a:ahLst/>
              <a:cxnLst/>
              <a:rect l="l" t="t" r="r" b="b"/>
              <a:pathLst>
                <a:path w="310149" h="299015">
                  <a:moveTo>
                    <a:pt x="231101" y="150303"/>
                  </a:moveTo>
                  <a:cubicBezTo>
                    <a:pt x="283800" y="150303"/>
                    <a:pt x="308267" y="186102"/>
                    <a:pt x="310149" y="272772"/>
                  </a:cubicBezTo>
                  <a:cubicBezTo>
                    <a:pt x="296975" y="272772"/>
                    <a:pt x="234865" y="272772"/>
                    <a:pt x="223573" y="272772"/>
                  </a:cubicBezTo>
                  <a:cubicBezTo>
                    <a:pt x="223573" y="236973"/>
                    <a:pt x="217926" y="191754"/>
                    <a:pt x="197223" y="157840"/>
                  </a:cubicBezTo>
                  <a:close/>
                  <a:moveTo>
                    <a:pt x="101540" y="129626"/>
                  </a:moveTo>
                  <a:cubicBezTo>
                    <a:pt x="186156" y="129626"/>
                    <a:pt x="201199" y="204910"/>
                    <a:pt x="201199" y="299015"/>
                  </a:cubicBezTo>
                  <a:lnTo>
                    <a:pt x="0" y="299015"/>
                  </a:lnTo>
                  <a:cubicBezTo>
                    <a:pt x="0" y="204910"/>
                    <a:pt x="15043" y="129626"/>
                    <a:pt x="101540" y="129626"/>
                  </a:cubicBezTo>
                  <a:close/>
                  <a:moveTo>
                    <a:pt x="230226" y="45329"/>
                  </a:moveTo>
                  <a:cubicBezTo>
                    <a:pt x="255480" y="45329"/>
                    <a:pt x="275953" y="65446"/>
                    <a:pt x="275953" y="90261"/>
                  </a:cubicBezTo>
                  <a:cubicBezTo>
                    <a:pt x="275953" y="115076"/>
                    <a:pt x="255480" y="135193"/>
                    <a:pt x="230226" y="135193"/>
                  </a:cubicBezTo>
                  <a:cubicBezTo>
                    <a:pt x="204972" y="135193"/>
                    <a:pt x="184499" y="115076"/>
                    <a:pt x="184499" y="90261"/>
                  </a:cubicBezTo>
                  <a:cubicBezTo>
                    <a:pt x="184499" y="65446"/>
                    <a:pt x="204972" y="45329"/>
                    <a:pt x="230226" y="45329"/>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9050">
              <a:solidFill>
                <a:schemeClr val="accent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z="2200" spc="-135" dirty="0">
                <a:solidFill>
                  <a:schemeClr val="accent3"/>
                </a:solidFill>
                <a:latin typeface="Segoe Light" pitchFamily="34" charset="0"/>
              </a:endParaRPr>
            </a:p>
          </p:txBody>
        </p:sp>
        <p:grpSp>
          <p:nvGrpSpPr>
            <p:cNvPr id="106" name="Group 105"/>
            <p:cNvGrpSpPr/>
            <p:nvPr/>
          </p:nvGrpSpPr>
          <p:grpSpPr>
            <a:xfrm rot="2700000">
              <a:off x="2148970" y="5532105"/>
              <a:ext cx="481083" cy="480425"/>
              <a:chOff x="-4038290" y="-1273925"/>
              <a:chExt cx="1162052" cy="1160462"/>
            </a:xfrm>
          </p:grpSpPr>
          <p:sp>
            <p:nvSpPr>
              <p:cNvPr id="107" name="Oval 7"/>
              <p:cNvSpPr>
                <a:spLocks noChangeArrowheads="1"/>
              </p:cNvSpPr>
              <p:nvPr/>
            </p:nvSpPr>
            <p:spPr bwMode="auto">
              <a:xfrm>
                <a:off x="-4038290" y="-1273925"/>
                <a:ext cx="744539" cy="755650"/>
              </a:xfrm>
              <a:prstGeom prst="ellipse">
                <a:avLst/>
              </a:prstGeom>
              <a:solidFill>
                <a:srgbClr val="FFFFFF"/>
              </a:solidFill>
              <a:ln w="19050" cap="flat">
                <a:solidFill>
                  <a:srgbClr val="00BCF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0" name="Line 8"/>
              <p:cNvSpPr>
                <a:spLocks noChangeShapeType="1"/>
              </p:cNvSpPr>
              <p:nvPr/>
            </p:nvSpPr>
            <p:spPr bwMode="auto">
              <a:xfrm>
                <a:off x="-3406466" y="-630987"/>
                <a:ext cx="112714" cy="112714"/>
              </a:xfrm>
              <a:prstGeom prst="line">
                <a:avLst/>
              </a:prstGeom>
              <a:noFill/>
              <a:ln w="19050" cap="flat">
                <a:solidFill>
                  <a:srgbClr val="00BCF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1" name="Freeform 9"/>
              <p:cNvSpPr>
                <a:spLocks/>
              </p:cNvSpPr>
              <p:nvPr/>
            </p:nvSpPr>
            <p:spPr bwMode="auto">
              <a:xfrm>
                <a:off x="-3350902" y="-575426"/>
                <a:ext cx="474664"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9" name="Group 68"/>
          <p:cNvGrpSpPr/>
          <p:nvPr/>
        </p:nvGrpSpPr>
        <p:grpSpPr>
          <a:xfrm>
            <a:off x="5067818" y="5037649"/>
            <a:ext cx="7013988" cy="1231106"/>
            <a:chOff x="5080634" y="5153542"/>
            <a:chExt cx="7013988" cy="1231106"/>
          </a:xfrm>
        </p:grpSpPr>
        <p:sp>
          <p:nvSpPr>
            <p:cNvPr id="70" name="TextBox 69"/>
            <p:cNvSpPr txBox="1"/>
            <p:nvPr/>
          </p:nvSpPr>
          <p:spPr>
            <a:xfrm>
              <a:off x="5080634" y="5153542"/>
              <a:ext cx="3379694" cy="898708"/>
            </a:xfrm>
            <a:prstGeom prst="rect">
              <a:avLst/>
            </a:prstGeom>
            <a:noFill/>
          </p:spPr>
          <p:txBody>
            <a:bodyPr wrap="square" lIns="182880" tIns="146304" rIns="182880" bIns="146304" rtlCol="0">
              <a:spAutoFit/>
            </a:bodyPr>
            <a:lstStyle/>
            <a:p>
              <a:pPr>
                <a:lnSpc>
                  <a:spcPct val="90000"/>
                </a:lnSpc>
                <a:spcAft>
                  <a:spcPts val="600"/>
                </a:spcAft>
              </a:pPr>
              <a:r>
                <a:rPr lang="en-US" sz="2400" dirty="0">
                  <a:latin typeface="Segoe UI Light"/>
                </a:rPr>
                <a:t>Operational reporting</a:t>
              </a:r>
            </a:p>
            <a:p>
              <a:pPr>
                <a:lnSpc>
                  <a:spcPct val="90000"/>
                </a:lnSpc>
                <a:spcAft>
                  <a:spcPts val="600"/>
                </a:spcAft>
              </a:pPr>
              <a:r>
                <a:rPr lang="en-US" sz="1400" dirty="0">
                  <a:latin typeface="Segoe UI Light"/>
                </a:rPr>
                <a:t>Focus on rear-view analysis</a:t>
              </a:r>
            </a:p>
          </p:txBody>
        </p:sp>
        <p:sp>
          <p:nvSpPr>
            <p:cNvPr id="71" name="TextBox 70"/>
            <p:cNvSpPr txBox="1"/>
            <p:nvPr/>
          </p:nvSpPr>
          <p:spPr>
            <a:xfrm>
              <a:off x="8328288" y="5153542"/>
              <a:ext cx="3766334" cy="1231106"/>
            </a:xfrm>
            <a:prstGeom prst="rect">
              <a:avLst/>
            </a:prstGeom>
            <a:noFill/>
          </p:spPr>
          <p:txBody>
            <a:bodyPr wrap="square" lIns="182880" tIns="146304" rIns="182880" bIns="146304" rtlCol="0">
              <a:spAutoFit/>
            </a:bodyPr>
            <a:lstStyle/>
            <a:p>
              <a:pPr>
                <a:lnSpc>
                  <a:spcPct val="90000"/>
                </a:lnSpc>
                <a:spcAft>
                  <a:spcPts val="600"/>
                </a:spcAft>
              </a:pPr>
              <a:r>
                <a:rPr lang="en-US" sz="2400" dirty="0">
                  <a:latin typeface="Segoe UI Light"/>
                </a:rPr>
                <a:t>Experimentation leading to intelligent action</a:t>
              </a:r>
            </a:p>
            <a:p>
              <a:pPr>
                <a:lnSpc>
                  <a:spcPct val="90000"/>
                </a:lnSpc>
                <a:spcAft>
                  <a:spcPts val="600"/>
                </a:spcAft>
              </a:pPr>
              <a:r>
                <a:rPr lang="en-US" sz="1400" dirty="0">
                  <a:latin typeface="Segoe UI Light"/>
                </a:rPr>
                <a:t>With machine learning, graph, a/b testing</a:t>
              </a:r>
            </a:p>
          </p:txBody>
        </p:sp>
      </p:grpSp>
    </p:spTree>
    <p:extLst>
      <p:ext uri="{BB962C8B-B14F-4D97-AF65-F5344CB8AC3E}">
        <p14:creationId xmlns:p14="http://schemas.microsoft.com/office/powerpoint/2010/main" val="3530200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69"/>
                                        </p:tgtEl>
                                        <p:attrNameLst>
                                          <p:attrName>style.visibility</p:attrName>
                                        </p:attrNameLst>
                                      </p:cBhvr>
                                      <p:to>
                                        <p:strVal val="visible"/>
                                      </p:to>
                                    </p:set>
                                    <p:animEffect transition="in" filter="wipe(left)">
                                      <p:cBhvr>
                                        <p:cTn id="29"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y for business analysts with interactive reports over big data</a:t>
            </a:r>
          </a:p>
        </p:txBody>
      </p:sp>
      <p:sp>
        <p:nvSpPr>
          <p:cNvPr id="4" name="Text Placeholder 3"/>
          <p:cNvSpPr>
            <a:spLocks noGrp="1"/>
          </p:cNvSpPr>
          <p:nvPr>
            <p:ph type="body" sz="quarter" idx="10"/>
          </p:nvPr>
        </p:nvSpPr>
        <p:spPr>
          <a:xfrm>
            <a:off x="6613913" y="933098"/>
            <a:ext cx="5243532" cy="3591752"/>
          </a:xfrm>
        </p:spPr>
        <p:txBody>
          <a:bodyPr/>
          <a:lstStyle/>
          <a:p>
            <a:pPr>
              <a:spcBef>
                <a:spcPts val="0"/>
              </a:spcBef>
              <a:spcAft>
                <a:spcPts val="1800"/>
              </a:spcAft>
            </a:pPr>
            <a:r>
              <a:rPr lang="en-US" dirty="0">
                <a:solidFill>
                  <a:srgbClr val="003C6C"/>
                </a:solidFill>
              </a:rPr>
              <a:t>Interactive BI with big data</a:t>
            </a:r>
          </a:p>
          <a:p>
            <a:pPr>
              <a:spcBef>
                <a:spcPts val="0"/>
              </a:spcBef>
              <a:spcAft>
                <a:spcPts val="1800"/>
              </a:spcAft>
            </a:pPr>
            <a:r>
              <a:rPr lang="en-US" dirty="0">
                <a:solidFill>
                  <a:srgbClr val="003C6C"/>
                </a:solidFill>
              </a:rPr>
              <a:t>Spark integration with </a:t>
            </a:r>
            <a:br>
              <a:rPr lang="en-US" dirty="0">
                <a:solidFill>
                  <a:srgbClr val="003C6C"/>
                </a:solidFill>
              </a:rPr>
            </a:br>
            <a:r>
              <a:rPr lang="en-US" dirty="0">
                <a:solidFill>
                  <a:srgbClr val="003C6C"/>
                </a:solidFill>
              </a:rPr>
              <a:t>Power BI, Tableau, SAP </a:t>
            </a:r>
            <a:r>
              <a:rPr lang="en-US" dirty="0" err="1">
                <a:solidFill>
                  <a:srgbClr val="003C6C"/>
                </a:solidFill>
              </a:rPr>
              <a:t>Lumira</a:t>
            </a:r>
            <a:r>
              <a:rPr lang="en-US" dirty="0">
                <a:solidFill>
                  <a:srgbClr val="003C6C"/>
                </a:solidFill>
              </a:rPr>
              <a:t> and </a:t>
            </a:r>
            <a:r>
              <a:rPr lang="en-US" dirty="0" err="1">
                <a:solidFill>
                  <a:srgbClr val="003C6C"/>
                </a:solidFill>
              </a:rPr>
              <a:t>Qlik</a:t>
            </a:r>
            <a:endParaRPr lang="en-US" dirty="0">
              <a:solidFill>
                <a:srgbClr val="003C6C"/>
              </a:solidFill>
            </a:endParaRPr>
          </a:p>
          <a:p>
            <a:pPr>
              <a:spcBef>
                <a:spcPts val="0"/>
              </a:spcBef>
              <a:spcAft>
                <a:spcPts val="1800"/>
              </a:spcAft>
            </a:pPr>
            <a:r>
              <a:rPr lang="en-US" dirty="0">
                <a:solidFill>
                  <a:srgbClr val="003C6C"/>
                </a:solidFill>
              </a:rPr>
              <a:t>Power BI offers streaming connector with Spark Stream</a:t>
            </a:r>
          </a:p>
          <a:p>
            <a:pPr>
              <a:spcBef>
                <a:spcPts val="0"/>
              </a:spcBef>
              <a:spcAft>
                <a:spcPts val="1800"/>
              </a:spcAft>
            </a:pPr>
            <a:endParaRPr lang="en-US" dirty="0"/>
          </a:p>
        </p:txBody>
      </p:sp>
      <p:grpSp>
        <p:nvGrpSpPr>
          <p:cNvPr id="8" name="Group 7"/>
          <p:cNvGrpSpPr/>
          <p:nvPr/>
        </p:nvGrpSpPr>
        <p:grpSpPr>
          <a:xfrm>
            <a:off x="705792" y="3439750"/>
            <a:ext cx="1567200" cy="2269082"/>
            <a:chOff x="725963" y="3486814"/>
            <a:chExt cx="1567200" cy="2269082"/>
          </a:xfrm>
        </p:grpSpPr>
        <p:grpSp>
          <p:nvGrpSpPr>
            <p:cNvPr id="3" name="Group 2"/>
            <p:cNvGrpSpPr/>
            <p:nvPr/>
          </p:nvGrpSpPr>
          <p:grpSpPr>
            <a:xfrm flipH="1">
              <a:off x="725963" y="3486814"/>
              <a:ext cx="1567200" cy="2269082"/>
              <a:chOff x="7945901" y="4223312"/>
              <a:chExt cx="1217781" cy="1763172"/>
            </a:xfrm>
          </p:grpSpPr>
          <p:grpSp>
            <p:nvGrpSpPr>
              <p:cNvPr id="25" name="Group 24"/>
              <p:cNvGrpSpPr/>
              <p:nvPr/>
            </p:nvGrpSpPr>
            <p:grpSpPr>
              <a:xfrm>
                <a:off x="8185421" y="4256314"/>
                <a:ext cx="978261" cy="1730170"/>
                <a:chOff x="7768797" y="4042774"/>
                <a:chExt cx="978261" cy="1730170"/>
              </a:xfrm>
            </p:grpSpPr>
            <p:sp>
              <p:nvSpPr>
                <p:cNvPr id="26" name="Freeform 25"/>
                <p:cNvSpPr>
                  <a:spLocks noChangeArrowheads="1"/>
                </p:cNvSpPr>
                <p:nvPr/>
              </p:nvSpPr>
              <p:spPr bwMode="auto">
                <a:xfrm>
                  <a:off x="8342246" y="4042774"/>
                  <a:ext cx="404812" cy="404814"/>
                </a:xfrm>
                <a:custGeom>
                  <a:avLst/>
                  <a:gdLst>
                    <a:gd name="connsiteX0" fmla="*/ 202407 w 404812"/>
                    <a:gd name="connsiteY0" fmla="*/ 77787 h 404814"/>
                    <a:gd name="connsiteX1" fmla="*/ 77788 w 404812"/>
                    <a:gd name="connsiteY1" fmla="*/ 201612 h 404814"/>
                    <a:gd name="connsiteX2" fmla="*/ 202407 w 404812"/>
                    <a:gd name="connsiteY2" fmla="*/ 325437 h 404814"/>
                    <a:gd name="connsiteX3" fmla="*/ 327026 w 404812"/>
                    <a:gd name="connsiteY3" fmla="*/ 201612 h 404814"/>
                    <a:gd name="connsiteX4" fmla="*/ 202407 w 404812"/>
                    <a:gd name="connsiteY4" fmla="*/ 77787 h 404814"/>
                    <a:gd name="connsiteX5" fmla="*/ 202406 w 404812"/>
                    <a:gd name="connsiteY5" fmla="*/ 0 h 404814"/>
                    <a:gd name="connsiteX6" fmla="*/ 404812 w 404812"/>
                    <a:gd name="connsiteY6" fmla="*/ 202407 h 404814"/>
                    <a:gd name="connsiteX7" fmla="*/ 202406 w 404812"/>
                    <a:gd name="connsiteY7" fmla="*/ 404814 h 404814"/>
                    <a:gd name="connsiteX8" fmla="*/ 0 w 404812"/>
                    <a:gd name="connsiteY8" fmla="*/ 202407 h 404814"/>
                    <a:gd name="connsiteX9" fmla="*/ 202406 w 404812"/>
                    <a:gd name="connsiteY9" fmla="*/ 0 h 40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4812" h="404814">
                      <a:moveTo>
                        <a:pt x="202407" y="77787"/>
                      </a:moveTo>
                      <a:cubicBezTo>
                        <a:pt x="133582" y="77787"/>
                        <a:pt x="77788" y="133225"/>
                        <a:pt x="77788" y="201612"/>
                      </a:cubicBezTo>
                      <a:cubicBezTo>
                        <a:pt x="77788" y="269999"/>
                        <a:pt x="133582" y="325437"/>
                        <a:pt x="202407" y="325437"/>
                      </a:cubicBezTo>
                      <a:cubicBezTo>
                        <a:pt x="271232" y="325437"/>
                        <a:pt x="327026" y="269999"/>
                        <a:pt x="327026" y="201612"/>
                      </a:cubicBezTo>
                      <a:cubicBezTo>
                        <a:pt x="327026" y="133225"/>
                        <a:pt x="271232" y="77787"/>
                        <a:pt x="202407" y="77787"/>
                      </a:cubicBezTo>
                      <a:close/>
                      <a:moveTo>
                        <a:pt x="202406" y="0"/>
                      </a:moveTo>
                      <a:cubicBezTo>
                        <a:pt x="314192" y="0"/>
                        <a:pt x="404812" y="90621"/>
                        <a:pt x="404812" y="202407"/>
                      </a:cubicBezTo>
                      <a:cubicBezTo>
                        <a:pt x="404812" y="314193"/>
                        <a:pt x="314192" y="404814"/>
                        <a:pt x="202406" y="404814"/>
                      </a:cubicBezTo>
                      <a:cubicBezTo>
                        <a:pt x="90620" y="404814"/>
                        <a:pt x="0" y="314193"/>
                        <a:pt x="0" y="202407"/>
                      </a:cubicBezTo>
                      <a:cubicBezTo>
                        <a:pt x="0" y="90621"/>
                        <a:pt x="90620" y="0"/>
                        <a:pt x="202406" y="0"/>
                      </a:cubicBezTo>
                      <a:close/>
                    </a:path>
                  </a:pathLst>
                </a:custGeom>
                <a:solidFill>
                  <a:srgbClr val="0078D7"/>
                </a:solidFill>
                <a:ln w="76200">
                  <a:solidFill>
                    <a:schemeClr val="tx1"/>
                  </a:solidFill>
                </a:ln>
              </p:spPr>
              <p:txBody>
                <a:bodyPr vert="horz" wrap="square" lIns="91440" tIns="45720" rIns="91440" bIns="45720" numCol="1" anchor="t" anchorCtr="0" compatLnSpc="1">
                  <a:prstTxWarp prst="textNoShape">
                    <a:avLst/>
                  </a:prstTxWarp>
                  <a:noAutofit/>
                </a:bodyPr>
                <a:lstStyle/>
                <a:p>
                  <a:endParaRPr lang="en-US"/>
                </a:p>
              </p:txBody>
            </p:sp>
            <p:sp>
              <p:nvSpPr>
                <p:cNvPr id="28" name="Freeform 27"/>
                <p:cNvSpPr>
                  <a:spLocks noEditPoints="1"/>
                </p:cNvSpPr>
                <p:nvPr/>
              </p:nvSpPr>
              <p:spPr bwMode="auto">
                <a:xfrm>
                  <a:off x="7911240" y="4553951"/>
                  <a:ext cx="633412" cy="334963"/>
                </a:xfrm>
                <a:custGeom>
                  <a:avLst/>
                  <a:gdLst>
                    <a:gd name="T0" fmla="*/ 183 w 291"/>
                    <a:gd name="T1" fmla="*/ 154 h 154"/>
                    <a:gd name="T2" fmla="*/ 89 w 291"/>
                    <a:gd name="T3" fmla="*/ 93 h 154"/>
                    <a:gd name="T4" fmla="*/ 9 w 291"/>
                    <a:gd name="T5" fmla="*/ 34 h 154"/>
                    <a:gd name="T6" fmla="*/ 6 w 291"/>
                    <a:gd name="T7" fmla="*/ 9 h 154"/>
                    <a:gd name="T8" fmla="*/ 31 w 291"/>
                    <a:gd name="T9" fmla="*/ 6 h 154"/>
                    <a:gd name="T10" fmla="*/ 181 w 291"/>
                    <a:gd name="T11" fmla="*/ 114 h 154"/>
                    <a:gd name="T12" fmla="*/ 258 w 291"/>
                    <a:gd name="T13" fmla="*/ 39 h 154"/>
                    <a:gd name="T14" fmla="*/ 284 w 291"/>
                    <a:gd name="T15" fmla="*/ 40 h 154"/>
                    <a:gd name="T16" fmla="*/ 283 w 291"/>
                    <a:gd name="T17" fmla="*/ 65 h 154"/>
                    <a:gd name="T18" fmla="*/ 198 w 291"/>
                    <a:gd name="T19" fmla="*/ 147 h 154"/>
                    <a:gd name="T20" fmla="*/ 187 w 291"/>
                    <a:gd name="T21" fmla="*/ 154 h 154"/>
                    <a:gd name="T22" fmla="*/ 183 w 291"/>
                    <a:gd name="T23" fmla="*/ 154 h 154"/>
                    <a:gd name="T24" fmla="*/ 199 w 291"/>
                    <a:gd name="T25" fmla="*/ 146 h 154"/>
                    <a:gd name="T26" fmla="*/ 198 w 291"/>
                    <a:gd name="T27" fmla="*/ 147 h 154"/>
                    <a:gd name="T28" fmla="*/ 199 w 291"/>
                    <a:gd name="T29" fmla="*/ 146 h 154"/>
                    <a:gd name="T30" fmla="*/ 171 w 291"/>
                    <a:gd name="T31" fmla="*/ 123 h 154"/>
                    <a:gd name="T32" fmla="*/ 169 w 291"/>
                    <a:gd name="T33" fmla="*/ 126 h 154"/>
                    <a:gd name="T34" fmla="*/ 171 w 291"/>
                    <a:gd name="T35" fmla="*/ 12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1" h="154">
                      <a:moveTo>
                        <a:pt x="183" y="154"/>
                      </a:moveTo>
                      <a:cubicBezTo>
                        <a:pt x="175" y="154"/>
                        <a:pt x="163" y="147"/>
                        <a:pt x="89" y="93"/>
                      </a:cubicBezTo>
                      <a:cubicBezTo>
                        <a:pt x="49" y="64"/>
                        <a:pt x="10" y="35"/>
                        <a:pt x="9" y="34"/>
                      </a:cubicBezTo>
                      <a:cubicBezTo>
                        <a:pt x="1" y="29"/>
                        <a:pt x="0" y="17"/>
                        <a:pt x="6" y="9"/>
                      </a:cubicBezTo>
                      <a:cubicBezTo>
                        <a:pt x="11" y="1"/>
                        <a:pt x="23" y="0"/>
                        <a:pt x="31" y="6"/>
                      </a:cubicBezTo>
                      <a:cubicBezTo>
                        <a:pt x="81" y="43"/>
                        <a:pt x="154" y="96"/>
                        <a:pt x="181" y="114"/>
                      </a:cubicBezTo>
                      <a:cubicBezTo>
                        <a:pt x="192" y="103"/>
                        <a:pt x="214" y="81"/>
                        <a:pt x="258" y="39"/>
                      </a:cubicBezTo>
                      <a:cubicBezTo>
                        <a:pt x="265" y="32"/>
                        <a:pt x="277" y="32"/>
                        <a:pt x="284" y="40"/>
                      </a:cubicBezTo>
                      <a:cubicBezTo>
                        <a:pt x="291" y="47"/>
                        <a:pt x="290" y="58"/>
                        <a:pt x="283" y="65"/>
                      </a:cubicBezTo>
                      <a:cubicBezTo>
                        <a:pt x="253" y="94"/>
                        <a:pt x="204" y="141"/>
                        <a:pt x="198" y="147"/>
                      </a:cubicBezTo>
                      <a:cubicBezTo>
                        <a:pt x="195" y="151"/>
                        <a:pt x="191" y="153"/>
                        <a:pt x="187" y="154"/>
                      </a:cubicBezTo>
                      <a:cubicBezTo>
                        <a:pt x="186" y="154"/>
                        <a:pt x="184" y="154"/>
                        <a:pt x="183" y="154"/>
                      </a:cubicBezTo>
                      <a:close/>
                      <a:moveTo>
                        <a:pt x="199" y="146"/>
                      </a:moveTo>
                      <a:cubicBezTo>
                        <a:pt x="199" y="146"/>
                        <a:pt x="198" y="147"/>
                        <a:pt x="198" y="147"/>
                      </a:cubicBezTo>
                      <a:cubicBezTo>
                        <a:pt x="199" y="147"/>
                        <a:pt x="199" y="146"/>
                        <a:pt x="199" y="146"/>
                      </a:cubicBezTo>
                      <a:close/>
                      <a:moveTo>
                        <a:pt x="171" y="123"/>
                      </a:moveTo>
                      <a:cubicBezTo>
                        <a:pt x="171" y="124"/>
                        <a:pt x="170" y="125"/>
                        <a:pt x="169" y="126"/>
                      </a:cubicBezTo>
                      <a:cubicBezTo>
                        <a:pt x="170" y="125"/>
                        <a:pt x="170" y="124"/>
                        <a:pt x="171" y="123"/>
                      </a:cubicBezTo>
                      <a:close/>
                    </a:path>
                  </a:pathLst>
                </a:custGeom>
                <a:solidFill>
                  <a:srgbClr val="0078D7"/>
                </a:solidFill>
                <a:ln w="762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p:nvSpPr>
              <p:spPr bwMode="auto">
                <a:xfrm>
                  <a:off x="8368440" y="4447588"/>
                  <a:ext cx="357187" cy="757238"/>
                </a:xfrm>
                <a:custGeom>
                  <a:avLst/>
                  <a:gdLst>
                    <a:gd name="T0" fmla="*/ 82 w 164"/>
                    <a:gd name="T1" fmla="*/ 348 h 348"/>
                    <a:gd name="T2" fmla="*/ 61 w 164"/>
                    <a:gd name="T3" fmla="*/ 346 h 348"/>
                    <a:gd name="T4" fmla="*/ 48 w 164"/>
                    <a:gd name="T5" fmla="*/ 324 h 348"/>
                    <a:gd name="T6" fmla="*/ 70 w 164"/>
                    <a:gd name="T7" fmla="*/ 311 h 348"/>
                    <a:gd name="T8" fmla="*/ 82 w 164"/>
                    <a:gd name="T9" fmla="*/ 312 h 348"/>
                    <a:gd name="T10" fmla="*/ 128 w 164"/>
                    <a:gd name="T11" fmla="*/ 266 h 348"/>
                    <a:gd name="T12" fmla="*/ 128 w 164"/>
                    <a:gd name="T13" fmla="*/ 82 h 348"/>
                    <a:gd name="T14" fmla="*/ 82 w 164"/>
                    <a:gd name="T15" fmla="*/ 36 h 348"/>
                    <a:gd name="T16" fmla="*/ 36 w 164"/>
                    <a:gd name="T17" fmla="*/ 82 h 348"/>
                    <a:gd name="T18" fmla="*/ 18 w 164"/>
                    <a:gd name="T19" fmla="*/ 100 h 348"/>
                    <a:gd name="T20" fmla="*/ 0 w 164"/>
                    <a:gd name="T21" fmla="*/ 82 h 348"/>
                    <a:gd name="T22" fmla="*/ 82 w 164"/>
                    <a:gd name="T23" fmla="*/ 0 h 348"/>
                    <a:gd name="T24" fmla="*/ 164 w 164"/>
                    <a:gd name="T25" fmla="*/ 82 h 348"/>
                    <a:gd name="T26" fmla="*/ 164 w 164"/>
                    <a:gd name="T27" fmla="*/ 266 h 348"/>
                    <a:gd name="T28" fmla="*/ 82 w 164"/>
                    <a:gd name="T29"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348">
                      <a:moveTo>
                        <a:pt x="82" y="348"/>
                      </a:moveTo>
                      <a:cubicBezTo>
                        <a:pt x="75" y="348"/>
                        <a:pt x="68" y="347"/>
                        <a:pt x="61" y="346"/>
                      </a:cubicBezTo>
                      <a:cubicBezTo>
                        <a:pt x="51" y="343"/>
                        <a:pt x="45" y="333"/>
                        <a:pt x="48" y="324"/>
                      </a:cubicBezTo>
                      <a:cubicBezTo>
                        <a:pt x="51" y="314"/>
                        <a:pt x="60" y="308"/>
                        <a:pt x="70" y="311"/>
                      </a:cubicBezTo>
                      <a:cubicBezTo>
                        <a:pt x="74" y="312"/>
                        <a:pt x="78" y="312"/>
                        <a:pt x="82" y="312"/>
                      </a:cubicBezTo>
                      <a:cubicBezTo>
                        <a:pt x="107" y="312"/>
                        <a:pt x="128" y="292"/>
                        <a:pt x="128" y="266"/>
                      </a:cubicBezTo>
                      <a:cubicBezTo>
                        <a:pt x="128" y="82"/>
                        <a:pt x="128" y="82"/>
                        <a:pt x="128" y="82"/>
                      </a:cubicBezTo>
                      <a:cubicBezTo>
                        <a:pt x="128" y="57"/>
                        <a:pt x="107" y="36"/>
                        <a:pt x="82" y="36"/>
                      </a:cubicBezTo>
                      <a:cubicBezTo>
                        <a:pt x="57" y="36"/>
                        <a:pt x="36" y="57"/>
                        <a:pt x="36" y="82"/>
                      </a:cubicBezTo>
                      <a:cubicBezTo>
                        <a:pt x="36" y="92"/>
                        <a:pt x="28" y="100"/>
                        <a:pt x="18" y="100"/>
                      </a:cubicBezTo>
                      <a:cubicBezTo>
                        <a:pt x="8" y="100"/>
                        <a:pt x="0" y="92"/>
                        <a:pt x="0" y="82"/>
                      </a:cubicBezTo>
                      <a:cubicBezTo>
                        <a:pt x="0" y="37"/>
                        <a:pt x="37" y="0"/>
                        <a:pt x="82" y="0"/>
                      </a:cubicBezTo>
                      <a:cubicBezTo>
                        <a:pt x="127" y="0"/>
                        <a:pt x="164" y="37"/>
                        <a:pt x="164" y="82"/>
                      </a:cubicBezTo>
                      <a:cubicBezTo>
                        <a:pt x="164" y="266"/>
                        <a:pt x="164" y="266"/>
                        <a:pt x="164" y="266"/>
                      </a:cubicBezTo>
                      <a:cubicBezTo>
                        <a:pt x="164" y="312"/>
                        <a:pt x="127" y="348"/>
                        <a:pt x="82" y="348"/>
                      </a:cubicBezTo>
                      <a:close/>
                    </a:path>
                  </a:pathLst>
                </a:custGeom>
                <a:solidFill>
                  <a:srgbClr val="0078D7"/>
                </a:solidFill>
                <a:ln w="76200">
                  <a:solidFill>
                    <a:schemeClr val="tx1"/>
                  </a:solidFill>
                </a:ln>
              </p:spPr>
              <p:txBody>
                <a:bodyPr vert="horz" wrap="square" lIns="91440" tIns="45720" rIns="91440" bIns="45720" numCol="1" anchor="t" anchorCtr="0" compatLnSpc="1">
                  <a:prstTxWarp prst="textNoShape">
                    <a:avLst/>
                  </a:prstTxWarp>
                </a:bodyPr>
                <a:lstStyle/>
                <a:p>
                  <a:endParaRPr lang="en-US"/>
                </a:p>
              </p:txBody>
            </p:sp>
            <p:cxnSp>
              <p:nvCxnSpPr>
                <p:cNvPr id="37" name="Straight Connector 36"/>
                <p:cNvCxnSpPr/>
                <p:nvPr/>
              </p:nvCxnSpPr>
              <p:spPr>
                <a:xfrm flipH="1">
                  <a:off x="8418940" y="4852402"/>
                  <a:ext cx="11186" cy="920542"/>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8611357" y="5148099"/>
                  <a:ext cx="7056" cy="624845"/>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7768797" y="4185287"/>
                  <a:ext cx="229896" cy="369405"/>
                  <a:chOff x="8945384" y="5397563"/>
                  <a:chExt cx="449432" cy="722165"/>
                </a:xfrm>
                <a:solidFill>
                  <a:schemeClr val="accent1"/>
                </a:solidFill>
              </p:grpSpPr>
              <p:sp>
                <p:nvSpPr>
                  <p:cNvPr id="40" name="Rectangle 195"/>
                  <p:cNvSpPr>
                    <a:spLocks noChangeArrowheads="1"/>
                  </p:cNvSpPr>
                  <p:nvPr/>
                </p:nvSpPr>
                <p:spPr bwMode="auto">
                  <a:xfrm>
                    <a:off x="8968436" y="5935350"/>
                    <a:ext cx="403336" cy="46096"/>
                  </a:xfrm>
                  <a:prstGeom prst="rect">
                    <a:avLst/>
                  </a:prstGeom>
                  <a:solidFill>
                    <a:srgbClr val="00BCF2"/>
                  </a:solidFill>
                  <a:ln w="6350">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1" name="Freeform 196"/>
                  <p:cNvSpPr>
                    <a:spLocks/>
                  </p:cNvSpPr>
                  <p:nvPr/>
                </p:nvSpPr>
                <p:spPr bwMode="auto">
                  <a:xfrm>
                    <a:off x="9106723" y="6004494"/>
                    <a:ext cx="126763" cy="46096"/>
                  </a:xfrm>
                  <a:custGeom>
                    <a:avLst/>
                    <a:gdLst>
                      <a:gd name="T0" fmla="*/ 54 w 66"/>
                      <a:gd name="T1" fmla="*/ 24 h 24"/>
                      <a:gd name="T2" fmla="*/ 12 w 66"/>
                      <a:gd name="T3" fmla="*/ 24 h 24"/>
                      <a:gd name="T4" fmla="*/ 12 w 66"/>
                      <a:gd name="T5" fmla="*/ 24 h 24"/>
                      <a:gd name="T6" fmla="*/ 8 w 66"/>
                      <a:gd name="T7" fmla="*/ 24 h 24"/>
                      <a:gd name="T8" fmla="*/ 4 w 66"/>
                      <a:gd name="T9" fmla="*/ 22 h 24"/>
                      <a:gd name="T10" fmla="*/ 2 w 66"/>
                      <a:gd name="T11" fmla="*/ 18 h 24"/>
                      <a:gd name="T12" fmla="*/ 0 w 66"/>
                      <a:gd name="T13" fmla="*/ 12 h 24"/>
                      <a:gd name="T14" fmla="*/ 0 w 66"/>
                      <a:gd name="T15" fmla="*/ 12 h 24"/>
                      <a:gd name="T16" fmla="*/ 2 w 66"/>
                      <a:gd name="T17" fmla="*/ 8 h 24"/>
                      <a:gd name="T18" fmla="*/ 4 w 66"/>
                      <a:gd name="T19" fmla="*/ 4 h 24"/>
                      <a:gd name="T20" fmla="*/ 8 w 66"/>
                      <a:gd name="T21" fmla="*/ 2 h 24"/>
                      <a:gd name="T22" fmla="*/ 12 w 66"/>
                      <a:gd name="T23" fmla="*/ 0 h 24"/>
                      <a:gd name="T24" fmla="*/ 54 w 66"/>
                      <a:gd name="T25" fmla="*/ 0 h 24"/>
                      <a:gd name="T26" fmla="*/ 54 w 66"/>
                      <a:gd name="T27" fmla="*/ 0 h 24"/>
                      <a:gd name="T28" fmla="*/ 58 w 66"/>
                      <a:gd name="T29" fmla="*/ 2 h 24"/>
                      <a:gd name="T30" fmla="*/ 62 w 66"/>
                      <a:gd name="T31" fmla="*/ 4 h 24"/>
                      <a:gd name="T32" fmla="*/ 66 w 66"/>
                      <a:gd name="T33" fmla="*/ 8 h 24"/>
                      <a:gd name="T34" fmla="*/ 66 w 66"/>
                      <a:gd name="T35" fmla="*/ 12 h 24"/>
                      <a:gd name="T36" fmla="*/ 66 w 66"/>
                      <a:gd name="T37" fmla="*/ 12 h 24"/>
                      <a:gd name="T38" fmla="*/ 66 w 66"/>
                      <a:gd name="T39" fmla="*/ 18 h 24"/>
                      <a:gd name="T40" fmla="*/ 62 w 66"/>
                      <a:gd name="T41" fmla="*/ 22 h 24"/>
                      <a:gd name="T42" fmla="*/ 58 w 66"/>
                      <a:gd name="T43" fmla="*/ 24 h 24"/>
                      <a:gd name="T44" fmla="*/ 54 w 66"/>
                      <a:gd name="T45" fmla="*/ 24 h 24"/>
                      <a:gd name="T46" fmla="*/ 54 w 66"/>
                      <a:gd name="T4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6" h="24">
                        <a:moveTo>
                          <a:pt x="54" y="24"/>
                        </a:moveTo>
                        <a:lnTo>
                          <a:pt x="12" y="24"/>
                        </a:lnTo>
                        <a:lnTo>
                          <a:pt x="12" y="24"/>
                        </a:lnTo>
                        <a:lnTo>
                          <a:pt x="8" y="24"/>
                        </a:lnTo>
                        <a:lnTo>
                          <a:pt x="4" y="22"/>
                        </a:lnTo>
                        <a:lnTo>
                          <a:pt x="2" y="18"/>
                        </a:lnTo>
                        <a:lnTo>
                          <a:pt x="0" y="12"/>
                        </a:lnTo>
                        <a:lnTo>
                          <a:pt x="0" y="12"/>
                        </a:lnTo>
                        <a:lnTo>
                          <a:pt x="2" y="8"/>
                        </a:lnTo>
                        <a:lnTo>
                          <a:pt x="4" y="4"/>
                        </a:lnTo>
                        <a:lnTo>
                          <a:pt x="8" y="2"/>
                        </a:lnTo>
                        <a:lnTo>
                          <a:pt x="12" y="0"/>
                        </a:lnTo>
                        <a:lnTo>
                          <a:pt x="54" y="0"/>
                        </a:lnTo>
                        <a:lnTo>
                          <a:pt x="54" y="0"/>
                        </a:lnTo>
                        <a:lnTo>
                          <a:pt x="58" y="2"/>
                        </a:lnTo>
                        <a:lnTo>
                          <a:pt x="62" y="4"/>
                        </a:lnTo>
                        <a:lnTo>
                          <a:pt x="66" y="8"/>
                        </a:lnTo>
                        <a:lnTo>
                          <a:pt x="66" y="12"/>
                        </a:lnTo>
                        <a:lnTo>
                          <a:pt x="66" y="12"/>
                        </a:lnTo>
                        <a:lnTo>
                          <a:pt x="66" y="18"/>
                        </a:lnTo>
                        <a:lnTo>
                          <a:pt x="62" y="22"/>
                        </a:lnTo>
                        <a:lnTo>
                          <a:pt x="58" y="24"/>
                        </a:lnTo>
                        <a:lnTo>
                          <a:pt x="54" y="24"/>
                        </a:lnTo>
                        <a:lnTo>
                          <a:pt x="54" y="24"/>
                        </a:lnTo>
                        <a:close/>
                      </a:path>
                    </a:pathLst>
                  </a:custGeom>
                  <a:solidFill>
                    <a:srgbClr val="00BCF2"/>
                  </a:solidFill>
                  <a:ln w="6350">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2" name="Freeform 199"/>
                  <p:cNvSpPr>
                    <a:spLocks noEditPoints="1"/>
                  </p:cNvSpPr>
                  <p:nvPr/>
                </p:nvSpPr>
                <p:spPr bwMode="auto">
                  <a:xfrm>
                    <a:off x="8945384" y="5397563"/>
                    <a:ext cx="449432" cy="722165"/>
                  </a:xfrm>
                  <a:custGeom>
                    <a:avLst/>
                    <a:gdLst>
                      <a:gd name="T0" fmla="*/ 202 w 234"/>
                      <a:gd name="T1" fmla="*/ 376 h 376"/>
                      <a:gd name="T2" fmla="*/ 32 w 234"/>
                      <a:gd name="T3" fmla="*/ 376 h 376"/>
                      <a:gd name="T4" fmla="*/ 32 w 234"/>
                      <a:gd name="T5" fmla="*/ 376 h 376"/>
                      <a:gd name="T6" fmla="*/ 26 w 234"/>
                      <a:gd name="T7" fmla="*/ 374 h 376"/>
                      <a:gd name="T8" fmla="*/ 20 w 234"/>
                      <a:gd name="T9" fmla="*/ 372 h 376"/>
                      <a:gd name="T10" fmla="*/ 10 w 234"/>
                      <a:gd name="T11" fmla="*/ 366 h 376"/>
                      <a:gd name="T12" fmla="*/ 2 w 234"/>
                      <a:gd name="T13" fmla="*/ 356 h 376"/>
                      <a:gd name="T14" fmla="*/ 2 w 234"/>
                      <a:gd name="T15" fmla="*/ 350 h 376"/>
                      <a:gd name="T16" fmla="*/ 0 w 234"/>
                      <a:gd name="T17" fmla="*/ 344 h 376"/>
                      <a:gd name="T18" fmla="*/ 0 w 234"/>
                      <a:gd name="T19" fmla="*/ 32 h 376"/>
                      <a:gd name="T20" fmla="*/ 0 w 234"/>
                      <a:gd name="T21" fmla="*/ 32 h 376"/>
                      <a:gd name="T22" fmla="*/ 2 w 234"/>
                      <a:gd name="T23" fmla="*/ 24 h 376"/>
                      <a:gd name="T24" fmla="*/ 2 w 234"/>
                      <a:gd name="T25" fmla="*/ 18 h 376"/>
                      <a:gd name="T26" fmla="*/ 10 w 234"/>
                      <a:gd name="T27" fmla="*/ 8 h 376"/>
                      <a:gd name="T28" fmla="*/ 20 w 234"/>
                      <a:gd name="T29" fmla="*/ 2 h 376"/>
                      <a:gd name="T30" fmla="*/ 26 w 234"/>
                      <a:gd name="T31" fmla="*/ 0 h 376"/>
                      <a:gd name="T32" fmla="*/ 32 w 234"/>
                      <a:gd name="T33" fmla="*/ 0 h 376"/>
                      <a:gd name="T34" fmla="*/ 202 w 234"/>
                      <a:gd name="T35" fmla="*/ 0 h 376"/>
                      <a:gd name="T36" fmla="*/ 202 w 234"/>
                      <a:gd name="T37" fmla="*/ 0 h 376"/>
                      <a:gd name="T38" fmla="*/ 208 w 234"/>
                      <a:gd name="T39" fmla="*/ 0 h 376"/>
                      <a:gd name="T40" fmla="*/ 214 w 234"/>
                      <a:gd name="T41" fmla="*/ 2 h 376"/>
                      <a:gd name="T42" fmla="*/ 224 w 234"/>
                      <a:gd name="T43" fmla="*/ 8 h 376"/>
                      <a:gd name="T44" fmla="*/ 232 w 234"/>
                      <a:gd name="T45" fmla="*/ 18 h 376"/>
                      <a:gd name="T46" fmla="*/ 234 w 234"/>
                      <a:gd name="T47" fmla="*/ 24 h 376"/>
                      <a:gd name="T48" fmla="*/ 234 w 234"/>
                      <a:gd name="T49" fmla="*/ 32 h 376"/>
                      <a:gd name="T50" fmla="*/ 234 w 234"/>
                      <a:gd name="T51" fmla="*/ 344 h 376"/>
                      <a:gd name="T52" fmla="*/ 234 w 234"/>
                      <a:gd name="T53" fmla="*/ 344 h 376"/>
                      <a:gd name="T54" fmla="*/ 234 w 234"/>
                      <a:gd name="T55" fmla="*/ 350 h 376"/>
                      <a:gd name="T56" fmla="*/ 232 w 234"/>
                      <a:gd name="T57" fmla="*/ 356 h 376"/>
                      <a:gd name="T58" fmla="*/ 224 w 234"/>
                      <a:gd name="T59" fmla="*/ 366 h 376"/>
                      <a:gd name="T60" fmla="*/ 214 w 234"/>
                      <a:gd name="T61" fmla="*/ 372 h 376"/>
                      <a:gd name="T62" fmla="*/ 208 w 234"/>
                      <a:gd name="T63" fmla="*/ 374 h 376"/>
                      <a:gd name="T64" fmla="*/ 202 w 234"/>
                      <a:gd name="T65" fmla="*/ 376 h 376"/>
                      <a:gd name="T66" fmla="*/ 202 w 234"/>
                      <a:gd name="T67" fmla="*/ 376 h 376"/>
                      <a:gd name="T68" fmla="*/ 32 w 234"/>
                      <a:gd name="T69" fmla="*/ 24 h 376"/>
                      <a:gd name="T70" fmla="*/ 32 w 234"/>
                      <a:gd name="T71" fmla="*/ 24 h 376"/>
                      <a:gd name="T72" fmla="*/ 30 w 234"/>
                      <a:gd name="T73" fmla="*/ 24 h 376"/>
                      <a:gd name="T74" fmla="*/ 26 w 234"/>
                      <a:gd name="T75" fmla="*/ 26 h 376"/>
                      <a:gd name="T76" fmla="*/ 26 w 234"/>
                      <a:gd name="T77" fmla="*/ 28 h 376"/>
                      <a:gd name="T78" fmla="*/ 24 w 234"/>
                      <a:gd name="T79" fmla="*/ 32 h 376"/>
                      <a:gd name="T80" fmla="*/ 24 w 234"/>
                      <a:gd name="T81" fmla="*/ 344 h 376"/>
                      <a:gd name="T82" fmla="*/ 24 w 234"/>
                      <a:gd name="T83" fmla="*/ 344 h 376"/>
                      <a:gd name="T84" fmla="*/ 26 w 234"/>
                      <a:gd name="T85" fmla="*/ 346 h 376"/>
                      <a:gd name="T86" fmla="*/ 26 w 234"/>
                      <a:gd name="T87" fmla="*/ 350 h 376"/>
                      <a:gd name="T88" fmla="*/ 30 w 234"/>
                      <a:gd name="T89" fmla="*/ 350 h 376"/>
                      <a:gd name="T90" fmla="*/ 32 w 234"/>
                      <a:gd name="T91" fmla="*/ 352 h 376"/>
                      <a:gd name="T92" fmla="*/ 202 w 234"/>
                      <a:gd name="T93" fmla="*/ 352 h 376"/>
                      <a:gd name="T94" fmla="*/ 202 w 234"/>
                      <a:gd name="T95" fmla="*/ 352 h 376"/>
                      <a:gd name="T96" fmla="*/ 206 w 234"/>
                      <a:gd name="T97" fmla="*/ 350 h 376"/>
                      <a:gd name="T98" fmla="*/ 208 w 234"/>
                      <a:gd name="T99" fmla="*/ 350 h 376"/>
                      <a:gd name="T100" fmla="*/ 210 w 234"/>
                      <a:gd name="T101" fmla="*/ 346 h 376"/>
                      <a:gd name="T102" fmla="*/ 210 w 234"/>
                      <a:gd name="T103" fmla="*/ 344 h 376"/>
                      <a:gd name="T104" fmla="*/ 210 w 234"/>
                      <a:gd name="T105" fmla="*/ 32 h 376"/>
                      <a:gd name="T106" fmla="*/ 210 w 234"/>
                      <a:gd name="T107" fmla="*/ 32 h 376"/>
                      <a:gd name="T108" fmla="*/ 210 w 234"/>
                      <a:gd name="T109" fmla="*/ 28 h 376"/>
                      <a:gd name="T110" fmla="*/ 208 w 234"/>
                      <a:gd name="T111" fmla="*/ 26 h 376"/>
                      <a:gd name="T112" fmla="*/ 206 w 234"/>
                      <a:gd name="T113" fmla="*/ 24 h 376"/>
                      <a:gd name="T114" fmla="*/ 202 w 234"/>
                      <a:gd name="T115" fmla="*/ 24 h 376"/>
                      <a:gd name="T116" fmla="*/ 32 w 234"/>
                      <a:gd name="T117" fmla="*/ 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4" h="376">
                        <a:moveTo>
                          <a:pt x="202" y="376"/>
                        </a:moveTo>
                        <a:lnTo>
                          <a:pt x="32" y="376"/>
                        </a:lnTo>
                        <a:lnTo>
                          <a:pt x="32" y="376"/>
                        </a:lnTo>
                        <a:lnTo>
                          <a:pt x="26" y="374"/>
                        </a:lnTo>
                        <a:lnTo>
                          <a:pt x="20" y="372"/>
                        </a:lnTo>
                        <a:lnTo>
                          <a:pt x="10" y="366"/>
                        </a:lnTo>
                        <a:lnTo>
                          <a:pt x="2" y="356"/>
                        </a:lnTo>
                        <a:lnTo>
                          <a:pt x="2" y="350"/>
                        </a:lnTo>
                        <a:lnTo>
                          <a:pt x="0" y="344"/>
                        </a:lnTo>
                        <a:lnTo>
                          <a:pt x="0" y="32"/>
                        </a:lnTo>
                        <a:lnTo>
                          <a:pt x="0" y="32"/>
                        </a:lnTo>
                        <a:lnTo>
                          <a:pt x="2" y="24"/>
                        </a:lnTo>
                        <a:lnTo>
                          <a:pt x="2" y="18"/>
                        </a:lnTo>
                        <a:lnTo>
                          <a:pt x="10" y="8"/>
                        </a:lnTo>
                        <a:lnTo>
                          <a:pt x="20" y="2"/>
                        </a:lnTo>
                        <a:lnTo>
                          <a:pt x="26" y="0"/>
                        </a:lnTo>
                        <a:lnTo>
                          <a:pt x="32" y="0"/>
                        </a:lnTo>
                        <a:lnTo>
                          <a:pt x="202" y="0"/>
                        </a:lnTo>
                        <a:lnTo>
                          <a:pt x="202" y="0"/>
                        </a:lnTo>
                        <a:lnTo>
                          <a:pt x="208" y="0"/>
                        </a:lnTo>
                        <a:lnTo>
                          <a:pt x="214" y="2"/>
                        </a:lnTo>
                        <a:lnTo>
                          <a:pt x="224" y="8"/>
                        </a:lnTo>
                        <a:lnTo>
                          <a:pt x="232" y="18"/>
                        </a:lnTo>
                        <a:lnTo>
                          <a:pt x="234" y="24"/>
                        </a:lnTo>
                        <a:lnTo>
                          <a:pt x="234" y="32"/>
                        </a:lnTo>
                        <a:lnTo>
                          <a:pt x="234" y="344"/>
                        </a:lnTo>
                        <a:lnTo>
                          <a:pt x="234" y="344"/>
                        </a:lnTo>
                        <a:lnTo>
                          <a:pt x="234" y="350"/>
                        </a:lnTo>
                        <a:lnTo>
                          <a:pt x="232" y="356"/>
                        </a:lnTo>
                        <a:lnTo>
                          <a:pt x="224" y="366"/>
                        </a:lnTo>
                        <a:lnTo>
                          <a:pt x="214" y="372"/>
                        </a:lnTo>
                        <a:lnTo>
                          <a:pt x="208" y="374"/>
                        </a:lnTo>
                        <a:lnTo>
                          <a:pt x="202" y="376"/>
                        </a:lnTo>
                        <a:lnTo>
                          <a:pt x="202" y="376"/>
                        </a:lnTo>
                        <a:close/>
                        <a:moveTo>
                          <a:pt x="32" y="24"/>
                        </a:moveTo>
                        <a:lnTo>
                          <a:pt x="32" y="24"/>
                        </a:lnTo>
                        <a:lnTo>
                          <a:pt x="30" y="24"/>
                        </a:lnTo>
                        <a:lnTo>
                          <a:pt x="26" y="26"/>
                        </a:lnTo>
                        <a:lnTo>
                          <a:pt x="26" y="28"/>
                        </a:lnTo>
                        <a:lnTo>
                          <a:pt x="24" y="32"/>
                        </a:lnTo>
                        <a:lnTo>
                          <a:pt x="24" y="344"/>
                        </a:lnTo>
                        <a:lnTo>
                          <a:pt x="24" y="344"/>
                        </a:lnTo>
                        <a:lnTo>
                          <a:pt x="26" y="346"/>
                        </a:lnTo>
                        <a:lnTo>
                          <a:pt x="26" y="350"/>
                        </a:lnTo>
                        <a:lnTo>
                          <a:pt x="30" y="350"/>
                        </a:lnTo>
                        <a:lnTo>
                          <a:pt x="32" y="352"/>
                        </a:lnTo>
                        <a:lnTo>
                          <a:pt x="202" y="352"/>
                        </a:lnTo>
                        <a:lnTo>
                          <a:pt x="202" y="352"/>
                        </a:lnTo>
                        <a:lnTo>
                          <a:pt x="206" y="350"/>
                        </a:lnTo>
                        <a:lnTo>
                          <a:pt x="208" y="350"/>
                        </a:lnTo>
                        <a:lnTo>
                          <a:pt x="210" y="346"/>
                        </a:lnTo>
                        <a:lnTo>
                          <a:pt x="210" y="344"/>
                        </a:lnTo>
                        <a:lnTo>
                          <a:pt x="210" y="32"/>
                        </a:lnTo>
                        <a:lnTo>
                          <a:pt x="210" y="32"/>
                        </a:lnTo>
                        <a:lnTo>
                          <a:pt x="210" y="28"/>
                        </a:lnTo>
                        <a:lnTo>
                          <a:pt x="208" y="26"/>
                        </a:lnTo>
                        <a:lnTo>
                          <a:pt x="206" y="24"/>
                        </a:lnTo>
                        <a:lnTo>
                          <a:pt x="202" y="24"/>
                        </a:lnTo>
                        <a:lnTo>
                          <a:pt x="32" y="24"/>
                        </a:lnTo>
                        <a:close/>
                      </a:path>
                    </a:pathLst>
                  </a:custGeom>
                  <a:solidFill>
                    <a:srgbClr val="00BCF2"/>
                  </a:solidFill>
                  <a:ln w="6350">
                    <a:no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sp>
            <p:nvSpPr>
              <p:cNvPr id="47" name="Oval 46"/>
              <p:cNvSpPr/>
              <p:nvPr/>
            </p:nvSpPr>
            <p:spPr bwMode="auto">
              <a:xfrm>
                <a:off x="7945901" y="4223312"/>
                <a:ext cx="720427" cy="720427"/>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grpSp>
        <p:sp>
          <p:nvSpPr>
            <p:cNvPr id="48" name="Freeform 62"/>
            <p:cNvSpPr>
              <a:spLocks/>
            </p:cNvSpPr>
            <p:nvPr/>
          </p:nvSpPr>
          <p:spPr bwMode="auto">
            <a:xfrm>
              <a:off x="1740370" y="3886366"/>
              <a:ext cx="197991" cy="96512"/>
            </a:xfrm>
            <a:custGeom>
              <a:avLst/>
              <a:gdLst>
                <a:gd name="T0" fmla="*/ 496 w 558"/>
                <a:gd name="T1" fmla="*/ 272 h 272"/>
                <a:gd name="T2" fmla="*/ 492 w 558"/>
                <a:gd name="T3" fmla="*/ 270 h 272"/>
                <a:gd name="T4" fmla="*/ 484 w 558"/>
                <a:gd name="T5" fmla="*/ 264 h 272"/>
                <a:gd name="T6" fmla="*/ 482 w 558"/>
                <a:gd name="T7" fmla="*/ 28 h 272"/>
                <a:gd name="T8" fmla="*/ 438 w 558"/>
                <a:gd name="T9" fmla="*/ 258 h 272"/>
                <a:gd name="T10" fmla="*/ 436 w 558"/>
                <a:gd name="T11" fmla="*/ 264 h 272"/>
                <a:gd name="T12" fmla="*/ 430 w 558"/>
                <a:gd name="T13" fmla="*/ 270 h 272"/>
                <a:gd name="T14" fmla="*/ 314 w 558"/>
                <a:gd name="T15" fmla="*/ 272 h 272"/>
                <a:gd name="T16" fmla="*/ 310 w 558"/>
                <a:gd name="T17" fmla="*/ 270 h 272"/>
                <a:gd name="T18" fmla="*/ 302 w 558"/>
                <a:gd name="T19" fmla="*/ 264 h 272"/>
                <a:gd name="T20" fmla="*/ 300 w 558"/>
                <a:gd name="T21" fmla="*/ 62 h 272"/>
                <a:gd name="T22" fmla="*/ 256 w 558"/>
                <a:gd name="T23" fmla="*/ 258 h 272"/>
                <a:gd name="T24" fmla="*/ 254 w 558"/>
                <a:gd name="T25" fmla="*/ 264 h 272"/>
                <a:gd name="T26" fmla="*/ 248 w 558"/>
                <a:gd name="T27" fmla="*/ 270 h 272"/>
                <a:gd name="T28" fmla="*/ 132 w 558"/>
                <a:gd name="T29" fmla="*/ 272 h 272"/>
                <a:gd name="T30" fmla="*/ 128 w 558"/>
                <a:gd name="T31" fmla="*/ 270 h 272"/>
                <a:gd name="T32" fmla="*/ 120 w 558"/>
                <a:gd name="T33" fmla="*/ 264 h 272"/>
                <a:gd name="T34" fmla="*/ 118 w 558"/>
                <a:gd name="T35" fmla="*/ 126 h 272"/>
                <a:gd name="T36" fmla="*/ 74 w 558"/>
                <a:gd name="T37" fmla="*/ 258 h 272"/>
                <a:gd name="T38" fmla="*/ 72 w 558"/>
                <a:gd name="T39" fmla="*/ 264 h 272"/>
                <a:gd name="T40" fmla="*/ 64 w 558"/>
                <a:gd name="T41" fmla="*/ 270 h 272"/>
                <a:gd name="T42" fmla="*/ 14 w 558"/>
                <a:gd name="T43" fmla="*/ 272 h 272"/>
                <a:gd name="T44" fmla="*/ 10 w 558"/>
                <a:gd name="T45" fmla="*/ 270 h 272"/>
                <a:gd name="T46" fmla="*/ 2 w 558"/>
                <a:gd name="T47" fmla="*/ 264 h 272"/>
                <a:gd name="T48" fmla="*/ 0 w 558"/>
                <a:gd name="T49" fmla="*/ 258 h 272"/>
                <a:gd name="T50" fmla="*/ 4 w 558"/>
                <a:gd name="T51" fmla="*/ 248 h 272"/>
                <a:gd name="T52" fmla="*/ 14 w 558"/>
                <a:gd name="T53" fmla="*/ 244 h 272"/>
                <a:gd name="T54" fmla="*/ 46 w 558"/>
                <a:gd name="T55" fmla="*/ 122 h 272"/>
                <a:gd name="T56" fmla="*/ 48 w 558"/>
                <a:gd name="T57" fmla="*/ 112 h 272"/>
                <a:gd name="T58" fmla="*/ 60 w 558"/>
                <a:gd name="T59" fmla="*/ 100 h 272"/>
                <a:gd name="T60" fmla="*/ 122 w 558"/>
                <a:gd name="T61" fmla="*/ 98 h 272"/>
                <a:gd name="T62" fmla="*/ 132 w 558"/>
                <a:gd name="T63" fmla="*/ 100 h 272"/>
                <a:gd name="T64" fmla="*/ 144 w 558"/>
                <a:gd name="T65" fmla="*/ 112 h 272"/>
                <a:gd name="T66" fmla="*/ 146 w 558"/>
                <a:gd name="T67" fmla="*/ 244 h 272"/>
                <a:gd name="T68" fmla="*/ 228 w 558"/>
                <a:gd name="T69" fmla="*/ 60 h 272"/>
                <a:gd name="T70" fmla="*/ 230 w 558"/>
                <a:gd name="T71" fmla="*/ 50 h 272"/>
                <a:gd name="T72" fmla="*/ 242 w 558"/>
                <a:gd name="T73" fmla="*/ 36 h 272"/>
                <a:gd name="T74" fmla="*/ 304 w 558"/>
                <a:gd name="T75" fmla="*/ 34 h 272"/>
                <a:gd name="T76" fmla="*/ 314 w 558"/>
                <a:gd name="T77" fmla="*/ 36 h 272"/>
                <a:gd name="T78" fmla="*/ 326 w 558"/>
                <a:gd name="T79" fmla="*/ 50 h 272"/>
                <a:gd name="T80" fmla="*/ 328 w 558"/>
                <a:gd name="T81" fmla="*/ 244 h 272"/>
                <a:gd name="T82" fmla="*/ 410 w 558"/>
                <a:gd name="T83" fmla="*/ 24 h 272"/>
                <a:gd name="T84" fmla="*/ 412 w 558"/>
                <a:gd name="T85" fmla="*/ 14 h 272"/>
                <a:gd name="T86" fmla="*/ 424 w 558"/>
                <a:gd name="T87" fmla="*/ 2 h 272"/>
                <a:gd name="T88" fmla="*/ 486 w 558"/>
                <a:gd name="T89" fmla="*/ 0 h 272"/>
                <a:gd name="T90" fmla="*/ 496 w 558"/>
                <a:gd name="T91" fmla="*/ 2 h 272"/>
                <a:gd name="T92" fmla="*/ 508 w 558"/>
                <a:gd name="T93" fmla="*/ 14 h 272"/>
                <a:gd name="T94" fmla="*/ 510 w 558"/>
                <a:gd name="T95" fmla="*/ 244 h 272"/>
                <a:gd name="T96" fmla="*/ 544 w 558"/>
                <a:gd name="T97" fmla="*/ 244 h 272"/>
                <a:gd name="T98" fmla="*/ 554 w 558"/>
                <a:gd name="T99" fmla="*/ 248 h 272"/>
                <a:gd name="T100" fmla="*/ 558 w 558"/>
                <a:gd name="T101" fmla="*/ 258 h 272"/>
                <a:gd name="T102" fmla="*/ 558 w 558"/>
                <a:gd name="T103" fmla="*/ 264 h 272"/>
                <a:gd name="T104" fmla="*/ 550 w 558"/>
                <a:gd name="T105" fmla="*/ 270 h 272"/>
                <a:gd name="T106" fmla="*/ 544 w 558"/>
                <a:gd name="T107"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8" h="272">
                  <a:moveTo>
                    <a:pt x="544" y="272"/>
                  </a:moveTo>
                  <a:lnTo>
                    <a:pt x="496" y="272"/>
                  </a:lnTo>
                  <a:lnTo>
                    <a:pt x="496" y="272"/>
                  </a:lnTo>
                  <a:lnTo>
                    <a:pt x="492" y="270"/>
                  </a:lnTo>
                  <a:lnTo>
                    <a:pt x="486" y="268"/>
                  </a:lnTo>
                  <a:lnTo>
                    <a:pt x="484" y="264"/>
                  </a:lnTo>
                  <a:lnTo>
                    <a:pt x="482" y="258"/>
                  </a:lnTo>
                  <a:lnTo>
                    <a:pt x="482" y="28"/>
                  </a:lnTo>
                  <a:lnTo>
                    <a:pt x="438" y="28"/>
                  </a:lnTo>
                  <a:lnTo>
                    <a:pt x="438" y="258"/>
                  </a:lnTo>
                  <a:lnTo>
                    <a:pt x="438" y="258"/>
                  </a:lnTo>
                  <a:lnTo>
                    <a:pt x="436" y="264"/>
                  </a:lnTo>
                  <a:lnTo>
                    <a:pt x="434" y="268"/>
                  </a:lnTo>
                  <a:lnTo>
                    <a:pt x="430" y="270"/>
                  </a:lnTo>
                  <a:lnTo>
                    <a:pt x="424" y="272"/>
                  </a:lnTo>
                  <a:lnTo>
                    <a:pt x="314" y="272"/>
                  </a:lnTo>
                  <a:lnTo>
                    <a:pt x="314" y="272"/>
                  </a:lnTo>
                  <a:lnTo>
                    <a:pt x="310" y="270"/>
                  </a:lnTo>
                  <a:lnTo>
                    <a:pt x="304" y="268"/>
                  </a:lnTo>
                  <a:lnTo>
                    <a:pt x="302" y="264"/>
                  </a:lnTo>
                  <a:lnTo>
                    <a:pt x="300" y="258"/>
                  </a:lnTo>
                  <a:lnTo>
                    <a:pt x="300" y="62"/>
                  </a:lnTo>
                  <a:lnTo>
                    <a:pt x="256" y="62"/>
                  </a:lnTo>
                  <a:lnTo>
                    <a:pt x="256" y="258"/>
                  </a:lnTo>
                  <a:lnTo>
                    <a:pt x="256" y="258"/>
                  </a:lnTo>
                  <a:lnTo>
                    <a:pt x="254" y="264"/>
                  </a:lnTo>
                  <a:lnTo>
                    <a:pt x="252" y="268"/>
                  </a:lnTo>
                  <a:lnTo>
                    <a:pt x="248" y="270"/>
                  </a:lnTo>
                  <a:lnTo>
                    <a:pt x="242" y="272"/>
                  </a:lnTo>
                  <a:lnTo>
                    <a:pt x="132" y="272"/>
                  </a:lnTo>
                  <a:lnTo>
                    <a:pt x="132" y="272"/>
                  </a:lnTo>
                  <a:lnTo>
                    <a:pt x="128" y="270"/>
                  </a:lnTo>
                  <a:lnTo>
                    <a:pt x="122" y="268"/>
                  </a:lnTo>
                  <a:lnTo>
                    <a:pt x="120" y="264"/>
                  </a:lnTo>
                  <a:lnTo>
                    <a:pt x="118" y="258"/>
                  </a:lnTo>
                  <a:lnTo>
                    <a:pt x="118" y="126"/>
                  </a:lnTo>
                  <a:lnTo>
                    <a:pt x="74" y="126"/>
                  </a:lnTo>
                  <a:lnTo>
                    <a:pt x="74" y="258"/>
                  </a:lnTo>
                  <a:lnTo>
                    <a:pt x="74" y="258"/>
                  </a:lnTo>
                  <a:lnTo>
                    <a:pt x="72" y="264"/>
                  </a:lnTo>
                  <a:lnTo>
                    <a:pt x="70" y="268"/>
                  </a:lnTo>
                  <a:lnTo>
                    <a:pt x="64" y="270"/>
                  </a:lnTo>
                  <a:lnTo>
                    <a:pt x="60" y="272"/>
                  </a:lnTo>
                  <a:lnTo>
                    <a:pt x="14" y="272"/>
                  </a:lnTo>
                  <a:lnTo>
                    <a:pt x="14" y="272"/>
                  </a:lnTo>
                  <a:lnTo>
                    <a:pt x="10" y="270"/>
                  </a:lnTo>
                  <a:lnTo>
                    <a:pt x="4" y="268"/>
                  </a:lnTo>
                  <a:lnTo>
                    <a:pt x="2" y="264"/>
                  </a:lnTo>
                  <a:lnTo>
                    <a:pt x="0" y="258"/>
                  </a:lnTo>
                  <a:lnTo>
                    <a:pt x="0" y="258"/>
                  </a:lnTo>
                  <a:lnTo>
                    <a:pt x="2" y="252"/>
                  </a:lnTo>
                  <a:lnTo>
                    <a:pt x="4" y="248"/>
                  </a:lnTo>
                  <a:lnTo>
                    <a:pt x="10" y="246"/>
                  </a:lnTo>
                  <a:lnTo>
                    <a:pt x="14" y="244"/>
                  </a:lnTo>
                  <a:lnTo>
                    <a:pt x="46" y="244"/>
                  </a:lnTo>
                  <a:lnTo>
                    <a:pt x="46" y="122"/>
                  </a:lnTo>
                  <a:lnTo>
                    <a:pt x="46" y="122"/>
                  </a:lnTo>
                  <a:lnTo>
                    <a:pt x="48" y="112"/>
                  </a:lnTo>
                  <a:lnTo>
                    <a:pt x="52" y="106"/>
                  </a:lnTo>
                  <a:lnTo>
                    <a:pt x="60" y="100"/>
                  </a:lnTo>
                  <a:lnTo>
                    <a:pt x="70" y="98"/>
                  </a:lnTo>
                  <a:lnTo>
                    <a:pt x="122" y="98"/>
                  </a:lnTo>
                  <a:lnTo>
                    <a:pt x="122" y="98"/>
                  </a:lnTo>
                  <a:lnTo>
                    <a:pt x="132" y="100"/>
                  </a:lnTo>
                  <a:lnTo>
                    <a:pt x="140" y="106"/>
                  </a:lnTo>
                  <a:lnTo>
                    <a:pt x="144" y="112"/>
                  </a:lnTo>
                  <a:lnTo>
                    <a:pt x="146" y="122"/>
                  </a:lnTo>
                  <a:lnTo>
                    <a:pt x="146" y="244"/>
                  </a:lnTo>
                  <a:lnTo>
                    <a:pt x="228" y="244"/>
                  </a:lnTo>
                  <a:lnTo>
                    <a:pt x="228" y="60"/>
                  </a:lnTo>
                  <a:lnTo>
                    <a:pt x="228" y="60"/>
                  </a:lnTo>
                  <a:lnTo>
                    <a:pt x="230" y="50"/>
                  </a:lnTo>
                  <a:lnTo>
                    <a:pt x="234" y="42"/>
                  </a:lnTo>
                  <a:lnTo>
                    <a:pt x="242" y="36"/>
                  </a:lnTo>
                  <a:lnTo>
                    <a:pt x="252" y="34"/>
                  </a:lnTo>
                  <a:lnTo>
                    <a:pt x="304" y="34"/>
                  </a:lnTo>
                  <a:lnTo>
                    <a:pt x="304" y="34"/>
                  </a:lnTo>
                  <a:lnTo>
                    <a:pt x="314" y="36"/>
                  </a:lnTo>
                  <a:lnTo>
                    <a:pt x="322" y="42"/>
                  </a:lnTo>
                  <a:lnTo>
                    <a:pt x="326" y="50"/>
                  </a:lnTo>
                  <a:lnTo>
                    <a:pt x="328" y="60"/>
                  </a:lnTo>
                  <a:lnTo>
                    <a:pt x="328" y="244"/>
                  </a:lnTo>
                  <a:lnTo>
                    <a:pt x="410" y="244"/>
                  </a:lnTo>
                  <a:lnTo>
                    <a:pt x="410" y="24"/>
                  </a:lnTo>
                  <a:lnTo>
                    <a:pt x="410" y="24"/>
                  </a:lnTo>
                  <a:lnTo>
                    <a:pt x="412" y="14"/>
                  </a:lnTo>
                  <a:lnTo>
                    <a:pt x="416" y="8"/>
                  </a:lnTo>
                  <a:lnTo>
                    <a:pt x="424" y="2"/>
                  </a:lnTo>
                  <a:lnTo>
                    <a:pt x="434" y="0"/>
                  </a:lnTo>
                  <a:lnTo>
                    <a:pt x="486" y="0"/>
                  </a:lnTo>
                  <a:lnTo>
                    <a:pt x="486" y="0"/>
                  </a:lnTo>
                  <a:lnTo>
                    <a:pt x="496" y="2"/>
                  </a:lnTo>
                  <a:lnTo>
                    <a:pt x="504" y="8"/>
                  </a:lnTo>
                  <a:lnTo>
                    <a:pt x="508" y="14"/>
                  </a:lnTo>
                  <a:lnTo>
                    <a:pt x="510" y="24"/>
                  </a:lnTo>
                  <a:lnTo>
                    <a:pt x="510" y="244"/>
                  </a:lnTo>
                  <a:lnTo>
                    <a:pt x="544" y="244"/>
                  </a:lnTo>
                  <a:lnTo>
                    <a:pt x="544" y="244"/>
                  </a:lnTo>
                  <a:lnTo>
                    <a:pt x="550" y="246"/>
                  </a:lnTo>
                  <a:lnTo>
                    <a:pt x="554" y="248"/>
                  </a:lnTo>
                  <a:lnTo>
                    <a:pt x="558" y="252"/>
                  </a:lnTo>
                  <a:lnTo>
                    <a:pt x="558" y="258"/>
                  </a:lnTo>
                  <a:lnTo>
                    <a:pt x="558" y="258"/>
                  </a:lnTo>
                  <a:lnTo>
                    <a:pt x="558" y="264"/>
                  </a:lnTo>
                  <a:lnTo>
                    <a:pt x="554" y="268"/>
                  </a:lnTo>
                  <a:lnTo>
                    <a:pt x="550" y="270"/>
                  </a:lnTo>
                  <a:lnTo>
                    <a:pt x="544" y="272"/>
                  </a:lnTo>
                  <a:lnTo>
                    <a:pt x="544" y="272"/>
                  </a:lnTo>
                  <a:close/>
                </a:path>
              </a:pathLst>
            </a:custGeom>
            <a:solidFill>
              <a:srgbClr val="00BCF2"/>
            </a:solidFill>
            <a:ln w="0">
              <a:solidFill>
                <a:schemeClr val="tx1"/>
              </a:solid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995819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nvGrpSpPr>
        <p:grpSpPr>
          <a:xfrm>
            <a:off x="1135943" y="3297661"/>
            <a:ext cx="1785889" cy="2266949"/>
            <a:chOff x="1369783" y="3088939"/>
            <a:chExt cx="1785889" cy="2266949"/>
          </a:xfrm>
        </p:grpSpPr>
        <p:grpSp>
          <p:nvGrpSpPr>
            <p:cNvPr id="74" name="Group 73"/>
            <p:cNvGrpSpPr/>
            <p:nvPr/>
          </p:nvGrpSpPr>
          <p:grpSpPr>
            <a:xfrm>
              <a:off x="1625047" y="3088939"/>
              <a:ext cx="1318396" cy="1057911"/>
              <a:chOff x="1534290" y="3079525"/>
              <a:chExt cx="1642059" cy="1317626"/>
            </a:xfrm>
          </p:grpSpPr>
          <p:grpSp>
            <p:nvGrpSpPr>
              <p:cNvPr id="79" name="Group 78"/>
              <p:cNvGrpSpPr/>
              <p:nvPr/>
            </p:nvGrpSpPr>
            <p:grpSpPr>
              <a:xfrm>
                <a:off x="2813815" y="4082826"/>
                <a:ext cx="241300" cy="314325"/>
                <a:chOff x="9717088" y="2738438"/>
                <a:chExt cx="241300" cy="314325"/>
              </a:xfrm>
            </p:grpSpPr>
            <p:sp>
              <p:nvSpPr>
                <p:cNvPr id="109" name="Freeform 108"/>
                <p:cNvSpPr>
                  <a:spLocks/>
                </p:cNvSpPr>
                <p:nvPr/>
              </p:nvSpPr>
              <p:spPr bwMode="auto">
                <a:xfrm>
                  <a:off x="9717088" y="2738438"/>
                  <a:ext cx="241300" cy="314325"/>
                </a:xfrm>
                <a:custGeom>
                  <a:avLst/>
                  <a:gdLst>
                    <a:gd name="connsiteX0" fmla="*/ 120357 w 241300"/>
                    <a:gd name="connsiteY0" fmla="*/ 25400 h 314325"/>
                    <a:gd name="connsiteX1" fmla="*/ 26987 w 241300"/>
                    <a:gd name="connsiteY1" fmla="*/ 119116 h 314325"/>
                    <a:gd name="connsiteX2" fmla="*/ 120357 w 241300"/>
                    <a:gd name="connsiteY2" fmla="*/ 282575 h 314325"/>
                    <a:gd name="connsiteX3" fmla="*/ 215899 w 241300"/>
                    <a:gd name="connsiteY3" fmla="*/ 119116 h 314325"/>
                    <a:gd name="connsiteX4" fmla="*/ 120357 w 241300"/>
                    <a:gd name="connsiteY4" fmla="*/ 25400 h 314325"/>
                    <a:gd name="connsiteX5" fmla="*/ 119563 w 241300"/>
                    <a:gd name="connsiteY5" fmla="*/ 0 h 314325"/>
                    <a:gd name="connsiteX6" fmla="*/ 241300 w 241300"/>
                    <a:gd name="connsiteY6" fmla="*/ 119227 h 314325"/>
                    <a:gd name="connsiteX7" fmla="*/ 130432 w 241300"/>
                    <a:gd name="connsiteY7" fmla="*/ 309990 h 314325"/>
                    <a:gd name="connsiteX8" fmla="*/ 119563 w 241300"/>
                    <a:gd name="connsiteY8" fmla="*/ 314325 h 314325"/>
                    <a:gd name="connsiteX9" fmla="*/ 110868 w 241300"/>
                    <a:gd name="connsiteY9" fmla="*/ 309990 h 314325"/>
                    <a:gd name="connsiteX10" fmla="*/ 0 w 241300"/>
                    <a:gd name="connsiteY10" fmla="*/ 119227 h 314325"/>
                    <a:gd name="connsiteX11" fmla="*/ 119563 w 241300"/>
                    <a:gd name="connsiteY11"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314325">
                      <a:moveTo>
                        <a:pt x="120357" y="25400"/>
                      </a:moveTo>
                      <a:cubicBezTo>
                        <a:pt x="68244" y="25400"/>
                        <a:pt x="26987" y="66810"/>
                        <a:pt x="26987" y="119116"/>
                      </a:cubicBezTo>
                      <a:cubicBezTo>
                        <a:pt x="26987" y="160526"/>
                        <a:pt x="87786" y="243345"/>
                        <a:pt x="120357" y="282575"/>
                      </a:cubicBezTo>
                      <a:cubicBezTo>
                        <a:pt x="155100" y="243345"/>
                        <a:pt x="215899" y="160526"/>
                        <a:pt x="215899" y="119116"/>
                      </a:cubicBezTo>
                      <a:cubicBezTo>
                        <a:pt x="215899" y="66810"/>
                        <a:pt x="172471" y="25400"/>
                        <a:pt x="120357" y="25400"/>
                      </a:cubicBezTo>
                      <a:close/>
                      <a:moveTo>
                        <a:pt x="119563" y="0"/>
                      </a:moveTo>
                      <a:cubicBezTo>
                        <a:pt x="186953" y="0"/>
                        <a:pt x="241300" y="54194"/>
                        <a:pt x="241300" y="119227"/>
                      </a:cubicBezTo>
                      <a:cubicBezTo>
                        <a:pt x="241300" y="182092"/>
                        <a:pt x="141302" y="296983"/>
                        <a:pt x="130432" y="309990"/>
                      </a:cubicBezTo>
                      <a:cubicBezTo>
                        <a:pt x="128259" y="312157"/>
                        <a:pt x="123911" y="314325"/>
                        <a:pt x="119563" y="314325"/>
                      </a:cubicBezTo>
                      <a:cubicBezTo>
                        <a:pt x="117389" y="314325"/>
                        <a:pt x="113041" y="312157"/>
                        <a:pt x="110868" y="309990"/>
                      </a:cubicBezTo>
                      <a:cubicBezTo>
                        <a:pt x="99998" y="296983"/>
                        <a:pt x="0" y="182092"/>
                        <a:pt x="0" y="119227"/>
                      </a:cubicBezTo>
                      <a:cubicBezTo>
                        <a:pt x="0" y="54194"/>
                        <a:pt x="54347" y="0"/>
                        <a:pt x="119563"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110" name="Freeform 109"/>
                <p:cNvSpPr>
                  <a:spLocks noChangeArrowheads="1"/>
                </p:cNvSpPr>
                <p:nvPr/>
              </p:nvSpPr>
              <p:spPr bwMode="auto">
                <a:xfrm>
                  <a:off x="9771062" y="2794000"/>
                  <a:ext cx="128588" cy="128588"/>
                </a:xfrm>
                <a:custGeom>
                  <a:avLst/>
                  <a:gdLst>
                    <a:gd name="connsiteX0" fmla="*/ 65087 w 128588"/>
                    <a:gd name="connsiteY0" fmla="*/ 26988 h 128588"/>
                    <a:gd name="connsiteX1" fmla="*/ 26987 w 128588"/>
                    <a:gd name="connsiteY1" fmla="*/ 65088 h 128588"/>
                    <a:gd name="connsiteX2" fmla="*/ 65087 w 128588"/>
                    <a:gd name="connsiteY2" fmla="*/ 103188 h 128588"/>
                    <a:gd name="connsiteX3" fmla="*/ 103187 w 128588"/>
                    <a:gd name="connsiteY3" fmla="*/ 65088 h 128588"/>
                    <a:gd name="connsiteX4" fmla="*/ 65087 w 128588"/>
                    <a:gd name="connsiteY4" fmla="*/ 26988 h 128588"/>
                    <a:gd name="connsiteX5" fmla="*/ 64294 w 128588"/>
                    <a:gd name="connsiteY5" fmla="*/ 0 h 128588"/>
                    <a:gd name="connsiteX6" fmla="*/ 128588 w 128588"/>
                    <a:gd name="connsiteY6" fmla="*/ 64294 h 128588"/>
                    <a:gd name="connsiteX7" fmla="*/ 64294 w 128588"/>
                    <a:gd name="connsiteY7" fmla="*/ 128588 h 128588"/>
                    <a:gd name="connsiteX8" fmla="*/ 0 w 128588"/>
                    <a:gd name="connsiteY8" fmla="*/ 64294 h 128588"/>
                    <a:gd name="connsiteX9" fmla="*/ 64294 w 128588"/>
                    <a:gd name="connsiteY9" fmla="*/ 0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8" h="128588">
                      <a:moveTo>
                        <a:pt x="65087" y="26988"/>
                      </a:moveTo>
                      <a:cubicBezTo>
                        <a:pt x="44045" y="26988"/>
                        <a:pt x="26987" y="44046"/>
                        <a:pt x="26987" y="65088"/>
                      </a:cubicBezTo>
                      <a:cubicBezTo>
                        <a:pt x="26987" y="86130"/>
                        <a:pt x="44045" y="103188"/>
                        <a:pt x="65087" y="103188"/>
                      </a:cubicBezTo>
                      <a:cubicBezTo>
                        <a:pt x="86129" y="103188"/>
                        <a:pt x="103187" y="86130"/>
                        <a:pt x="103187" y="65088"/>
                      </a:cubicBezTo>
                      <a:cubicBezTo>
                        <a:pt x="103187" y="44046"/>
                        <a:pt x="86129" y="26988"/>
                        <a:pt x="65087" y="26988"/>
                      </a:cubicBezTo>
                      <a:close/>
                      <a:moveTo>
                        <a:pt x="64294" y="0"/>
                      </a:moveTo>
                      <a:cubicBezTo>
                        <a:pt x="99803" y="0"/>
                        <a:pt x="128588" y="28785"/>
                        <a:pt x="128588" y="64294"/>
                      </a:cubicBezTo>
                      <a:cubicBezTo>
                        <a:pt x="128588" y="99803"/>
                        <a:pt x="99803" y="128588"/>
                        <a:pt x="64294" y="128588"/>
                      </a:cubicBezTo>
                      <a:cubicBezTo>
                        <a:pt x="28785" y="128588"/>
                        <a:pt x="0" y="99803"/>
                        <a:pt x="0" y="64294"/>
                      </a:cubicBezTo>
                      <a:cubicBezTo>
                        <a:pt x="0" y="28785"/>
                        <a:pt x="28785" y="0"/>
                        <a:pt x="64294"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80" name="Freeform 79"/>
              <p:cNvSpPr>
                <a:spLocks/>
              </p:cNvSpPr>
              <p:nvPr/>
            </p:nvSpPr>
            <p:spPr bwMode="auto">
              <a:xfrm>
                <a:off x="2299465" y="3339876"/>
                <a:ext cx="79375"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1" name="Freeform 80"/>
              <p:cNvSpPr>
                <a:spLocks/>
              </p:cNvSpPr>
              <p:nvPr/>
            </p:nvSpPr>
            <p:spPr bwMode="auto">
              <a:xfrm>
                <a:off x="2178815" y="3525613"/>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2" name="Freeform 33"/>
              <p:cNvSpPr>
                <a:spLocks/>
              </p:cNvSpPr>
              <p:nvPr/>
            </p:nvSpPr>
            <p:spPr bwMode="auto">
              <a:xfrm>
                <a:off x="2831277" y="3652613"/>
                <a:ext cx="77787"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3" name="Freeform 34"/>
              <p:cNvSpPr>
                <a:spLocks/>
              </p:cNvSpPr>
              <p:nvPr/>
            </p:nvSpPr>
            <p:spPr bwMode="auto">
              <a:xfrm>
                <a:off x="2709040" y="3838351"/>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4" name="Freeform 35"/>
              <p:cNvSpPr>
                <a:spLocks/>
              </p:cNvSpPr>
              <p:nvPr/>
            </p:nvSpPr>
            <p:spPr bwMode="auto">
              <a:xfrm>
                <a:off x="1656527" y="3739926"/>
                <a:ext cx="77787" cy="244475"/>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5" name="Freeform 36"/>
              <p:cNvSpPr>
                <a:spLocks/>
              </p:cNvSpPr>
              <p:nvPr/>
            </p:nvSpPr>
            <p:spPr bwMode="auto">
              <a:xfrm>
                <a:off x="1534290" y="3925663"/>
                <a:ext cx="322262" cy="171450"/>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rgbClr val="00BCF2"/>
              </a:solidFill>
              <a:ln w="5080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86" name="Freeform 85"/>
              <p:cNvSpPr>
                <a:spLocks/>
              </p:cNvSpPr>
              <p:nvPr/>
            </p:nvSpPr>
            <p:spPr bwMode="auto">
              <a:xfrm>
                <a:off x="1610490" y="3079525"/>
                <a:ext cx="541337" cy="534988"/>
              </a:xfrm>
              <a:custGeom>
                <a:avLst/>
                <a:gdLst>
                  <a:gd name="connsiteX0" fmla="*/ 270668 w 541337"/>
                  <a:gd name="connsiteY0" fmla="*/ 223836 h 534988"/>
                  <a:gd name="connsiteX1" fmla="*/ 225424 w 541337"/>
                  <a:gd name="connsiteY1" fmla="*/ 267493 h 534988"/>
                  <a:gd name="connsiteX2" fmla="*/ 270668 w 541337"/>
                  <a:gd name="connsiteY2" fmla="*/ 311150 h 534988"/>
                  <a:gd name="connsiteX3" fmla="*/ 315912 w 541337"/>
                  <a:gd name="connsiteY3" fmla="*/ 267493 h 534988"/>
                  <a:gd name="connsiteX4" fmla="*/ 270668 w 541337"/>
                  <a:gd name="connsiteY4" fmla="*/ 223836 h 534988"/>
                  <a:gd name="connsiteX5" fmla="*/ 42862 w 541337"/>
                  <a:gd name="connsiteY5" fmla="*/ 195263 h 534988"/>
                  <a:gd name="connsiteX6" fmla="*/ 42862 w 541337"/>
                  <a:gd name="connsiteY6" fmla="*/ 202446 h 534988"/>
                  <a:gd name="connsiteX7" fmla="*/ 42862 w 541337"/>
                  <a:gd name="connsiteY7" fmla="*/ 455766 h 534988"/>
                  <a:gd name="connsiteX8" fmla="*/ 77696 w 541337"/>
                  <a:gd name="connsiteY8" fmla="*/ 490537 h 534988"/>
                  <a:gd name="connsiteX9" fmla="*/ 463051 w 541337"/>
                  <a:gd name="connsiteY9" fmla="*/ 490537 h 534988"/>
                  <a:gd name="connsiteX10" fmla="*/ 500062 w 541337"/>
                  <a:gd name="connsiteY10" fmla="*/ 455766 h 534988"/>
                  <a:gd name="connsiteX11" fmla="*/ 500062 w 541337"/>
                  <a:gd name="connsiteY11" fmla="*/ 237158 h 534988"/>
                  <a:gd name="connsiteX12" fmla="*/ 500062 w 541337"/>
                  <a:gd name="connsiteY12" fmla="*/ 195263 h 534988"/>
                  <a:gd name="connsiteX13" fmla="*/ 470386 w 541337"/>
                  <a:gd name="connsiteY13" fmla="*/ 195263 h 534988"/>
                  <a:gd name="connsiteX14" fmla="*/ 433335 w 541337"/>
                  <a:gd name="connsiteY14" fmla="*/ 195263 h 534988"/>
                  <a:gd name="connsiteX15" fmla="*/ 408673 w 541337"/>
                  <a:gd name="connsiteY15" fmla="*/ 195263 h 534988"/>
                  <a:gd name="connsiteX16" fmla="*/ 416336 w 541337"/>
                  <a:gd name="connsiteY16" fmla="*/ 206628 h 534988"/>
                  <a:gd name="connsiteX17" fmla="*/ 428624 w 541337"/>
                  <a:gd name="connsiteY17" fmla="*/ 267494 h 534988"/>
                  <a:gd name="connsiteX18" fmla="*/ 272255 w 541337"/>
                  <a:gd name="connsiteY18" fmla="*/ 423863 h 534988"/>
                  <a:gd name="connsiteX19" fmla="*/ 115886 w 541337"/>
                  <a:gd name="connsiteY19" fmla="*/ 267494 h 534988"/>
                  <a:gd name="connsiteX20" fmla="*/ 128174 w 541337"/>
                  <a:gd name="connsiteY20" fmla="*/ 206628 h 534988"/>
                  <a:gd name="connsiteX21" fmla="*/ 135837 w 541337"/>
                  <a:gd name="connsiteY21" fmla="*/ 195263 h 534988"/>
                  <a:gd name="connsiteX22" fmla="*/ 122134 w 541337"/>
                  <a:gd name="connsiteY22" fmla="*/ 195263 h 534988"/>
                  <a:gd name="connsiteX23" fmla="*/ 59996 w 541337"/>
                  <a:gd name="connsiteY23" fmla="*/ 195263 h 534988"/>
                  <a:gd name="connsiteX24" fmla="*/ 270668 w 541337"/>
                  <a:gd name="connsiteY24" fmla="*/ 179386 h 534988"/>
                  <a:gd name="connsiteX25" fmla="*/ 357187 w 541337"/>
                  <a:gd name="connsiteY25" fmla="*/ 266699 h 534988"/>
                  <a:gd name="connsiteX26" fmla="*/ 270668 w 541337"/>
                  <a:gd name="connsiteY26" fmla="*/ 354012 h 534988"/>
                  <a:gd name="connsiteX27" fmla="*/ 184149 w 541337"/>
                  <a:gd name="connsiteY27" fmla="*/ 266699 h 534988"/>
                  <a:gd name="connsiteX28" fmla="*/ 270668 w 541337"/>
                  <a:gd name="connsiteY28" fmla="*/ 179386 h 534988"/>
                  <a:gd name="connsiteX29" fmla="*/ 271461 w 541337"/>
                  <a:gd name="connsiteY29" fmla="*/ 152400 h 534988"/>
                  <a:gd name="connsiteX30" fmla="*/ 157161 w 541337"/>
                  <a:gd name="connsiteY30" fmla="*/ 267494 h 534988"/>
                  <a:gd name="connsiteX31" fmla="*/ 271461 w 541337"/>
                  <a:gd name="connsiteY31" fmla="*/ 382588 h 534988"/>
                  <a:gd name="connsiteX32" fmla="*/ 385761 w 541337"/>
                  <a:gd name="connsiteY32" fmla="*/ 267494 h 534988"/>
                  <a:gd name="connsiteX33" fmla="*/ 271461 w 541337"/>
                  <a:gd name="connsiteY33" fmla="*/ 152400 h 534988"/>
                  <a:gd name="connsiteX34" fmla="*/ 434975 w 541337"/>
                  <a:gd name="connsiteY34" fmla="*/ 85725 h 534988"/>
                  <a:gd name="connsiteX35" fmla="*/ 422275 w 541337"/>
                  <a:gd name="connsiteY35" fmla="*/ 98425 h 534988"/>
                  <a:gd name="connsiteX36" fmla="*/ 434975 w 541337"/>
                  <a:gd name="connsiteY36" fmla="*/ 111125 h 534988"/>
                  <a:gd name="connsiteX37" fmla="*/ 447675 w 541337"/>
                  <a:gd name="connsiteY37" fmla="*/ 98425 h 534988"/>
                  <a:gd name="connsiteX38" fmla="*/ 434975 w 541337"/>
                  <a:gd name="connsiteY38" fmla="*/ 85725 h 534988"/>
                  <a:gd name="connsiteX39" fmla="*/ 434975 w 541337"/>
                  <a:gd name="connsiteY39" fmla="*/ 42862 h 534988"/>
                  <a:gd name="connsiteX40" fmla="*/ 488950 w 541337"/>
                  <a:gd name="connsiteY40" fmla="*/ 97631 h 534988"/>
                  <a:gd name="connsiteX41" fmla="*/ 434975 w 541337"/>
                  <a:gd name="connsiteY41" fmla="*/ 152400 h 534988"/>
                  <a:gd name="connsiteX42" fmla="*/ 381000 w 541337"/>
                  <a:gd name="connsiteY42" fmla="*/ 97631 h 534988"/>
                  <a:gd name="connsiteX43" fmla="*/ 434975 w 541337"/>
                  <a:gd name="connsiteY43" fmla="*/ 42862 h 534988"/>
                  <a:gd name="connsiteX44" fmla="*/ 176212 w 541337"/>
                  <a:gd name="connsiteY44" fmla="*/ 42862 h 534988"/>
                  <a:gd name="connsiteX45" fmla="*/ 176212 w 541337"/>
                  <a:gd name="connsiteY45" fmla="*/ 70038 h 534988"/>
                  <a:gd name="connsiteX46" fmla="*/ 176212 w 541337"/>
                  <a:gd name="connsiteY46" fmla="*/ 141605 h 534988"/>
                  <a:gd name="connsiteX47" fmla="*/ 176212 w 541337"/>
                  <a:gd name="connsiteY47" fmla="*/ 147131 h 534988"/>
                  <a:gd name="connsiteX48" fmla="*/ 211389 w 541337"/>
                  <a:gd name="connsiteY48" fmla="*/ 123413 h 534988"/>
                  <a:gd name="connsiteX49" fmla="*/ 272255 w 541337"/>
                  <a:gd name="connsiteY49" fmla="*/ 111125 h 534988"/>
                  <a:gd name="connsiteX50" fmla="*/ 333121 w 541337"/>
                  <a:gd name="connsiteY50" fmla="*/ 123413 h 534988"/>
                  <a:gd name="connsiteX51" fmla="*/ 376114 w 541337"/>
                  <a:gd name="connsiteY51" fmla="*/ 152400 h 534988"/>
                  <a:gd name="connsiteX52" fmla="*/ 419623 w 541337"/>
                  <a:gd name="connsiteY52" fmla="*/ 152400 h 534988"/>
                  <a:gd name="connsiteX53" fmla="*/ 434975 w 541337"/>
                  <a:gd name="connsiteY53" fmla="*/ 152400 h 534988"/>
                  <a:gd name="connsiteX54" fmla="*/ 456674 w 541337"/>
                  <a:gd name="connsiteY54" fmla="*/ 152400 h 534988"/>
                  <a:gd name="connsiteX55" fmla="*/ 483222 w 541337"/>
                  <a:gd name="connsiteY55" fmla="*/ 152400 h 534988"/>
                  <a:gd name="connsiteX56" fmla="*/ 500062 w 541337"/>
                  <a:gd name="connsiteY56" fmla="*/ 152400 h 534988"/>
                  <a:gd name="connsiteX57" fmla="*/ 500062 w 541337"/>
                  <a:gd name="connsiteY57" fmla="*/ 124900 h 534988"/>
                  <a:gd name="connsiteX58" fmla="*/ 500062 w 541337"/>
                  <a:gd name="connsiteY58" fmla="*/ 77633 h 534988"/>
                  <a:gd name="connsiteX59" fmla="*/ 463051 w 541337"/>
                  <a:gd name="connsiteY59" fmla="*/ 42862 h 534988"/>
                  <a:gd name="connsiteX60" fmla="*/ 434975 w 541337"/>
                  <a:gd name="connsiteY60" fmla="*/ 42862 h 534988"/>
                  <a:gd name="connsiteX61" fmla="*/ 77696 w 541337"/>
                  <a:gd name="connsiteY61" fmla="*/ 42862 h 534988"/>
                  <a:gd name="connsiteX62" fmla="*/ 42862 w 541337"/>
                  <a:gd name="connsiteY62" fmla="*/ 77633 h 534988"/>
                  <a:gd name="connsiteX63" fmla="*/ 42862 w 541337"/>
                  <a:gd name="connsiteY63" fmla="*/ 144194 h 534988"/>
                  <a:gd name="connsiteX64" fmla="*/ 42862 w 541337"/>
                  <a:gd name="connsiteY64" fmla="*/ 152400 h 534988"/>
                  <a:gd name="connsiteX65" fmla="*/ 72537 w 541337"/>
                  <a:gd name="connsiteY65" fmla="*/ 152400 h 534988"/>
                  <a:gd name="connsiteX66" fmla="*/ 108737 w 541337"/>
                  <a:gd name="connsiteY66" fmla="*/ 152400 h 534988"/>
                  <a:gd name="connsiteX67" fmla="*/ 133625 w 541337"/>
                  <a:gd name="connsiteY67" fmla="*/ 152400 h 534988"/>
                  <a:gd name="connsiteX68" fmla="*/ 133350 w 541337"/>
                  <a:gd name="connsiteY68" fmla="*/ 151829 h 534988"/>
                  <a:gd name="connsiteX69" fmla="*/ 133350 w 541337"/>
                  <a:gd name="connsiteY69" fmla="*/ 45000 h 534988"/>
                  <a:gd name="connsiteX70" fmla="*/ 133350 w 541337"/>
                  <a:gd name="connsiteY70" fmla="*/ 42862 h 534988"/>
                  <a:gd name="connsiteX71" fmla="*/ 78266 w 541337"/>
                  <a:gd name="connsiteY71" fmla="*/ 0 h 534988"/>
                  <a:gd name="connsiteX72" fmla="*/ 463071 w 541337"/>
                  <a:gd name="connsiteY72" fmla="*/ 0 h 534988"/>
                  <a:gd name="connsiteX73" fmla="*/ 541337 w 541337"/>
                  <a:gd name="connsiteY73" fmla="*/ 78291 h 534988"/>
                  <a:gd name="connsiteX74" fmla="*/ 541337 w 541337"/>
                  <a:gd name="connsiteY74" fmla="*/ 144900 h 534988"/>
                  <a:gd name="connsiteX75" fmla="*/ 541337 w 541337"/>
                  <a:gd name="connsiteY75" fmla="*/ 173832 h 534988"/>
                  <a:gd name="connsiteX76" fmla="*/ 541337 w 541337"/>
                  <a:gd name="connsiteY76" fmla="*/ 203195 h 534988"/>
                  <a:gd name="connsiteX77" fmla="*/ 541337 w 541337"/>
                  <a:gd name="connsiteY77" fmla="*/ 456697 h 534988"/>
                  <a:gd name="connsiteX78" fmla="*/ 463071 w 541337"/>
                  <a:gd name="connsiteY78" fmla="*/ 534988 h 534988"/>
                  <a:gd name="connsiteX79" fmla="*/ 78266 w 541337"/>
                  <a:gd name="connsiteY79" fmla="*/ 534988 h 534988"/>
                  <a:gd name="connsiteX80" fmla="*/ 0 w 541337"/>
                  <a:gd name="connsiteY80" fmla="*/ 456697 h 534988"/>
                  <a:gd name="connsiteX81" fmla="*/ 0 w 541337"/>
                  <a:gd name="connsiteY81" fmla="*/ 78291 h 534988"/>
                  <a:gd name="connsiteX82" fmla="*/ 78266 w 541337"/>
                  <a:gd name="connsiteY82" fmla="*/ 0 h 5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1337" h="534988">
                    <a:moveTo>
                      <a:pt x="270668" y="223836"/>
                    </a:moveTo>
                    <a:cubicBezTo>
                      <a:pt x="245680" y="223836"/>
                      <a:pt x="225424" y="243382"/>
                      <a:pt x="225424" y="267493"/>
                    </a:cubicBezTo>
                    <a:cubicBezTo>
                      <a:pt x="225424" y="291604"/>
                      <a:pt x="245680" y="311150"/>
                      <a:pt x="270668" y="311150"/>
                    </a:cubicBezTo>
                    <a:cubicBezTo>
                      <a:pt x="295656" y="311150"/>
                      <a:pt x="315912" y="291604"/>
                      <a:pt x="315912" y="267493"/>
                    </a:cubicBezTo>
                    <a:cubicBezTo>
                      <a:pt x="315912" y="243382"/>
                      <a:pt x="295656" y="223836"/>
                      <a:pt x="270668" y="223836"/>
                    </a:cubicBezTo>
                    <a:close/>
                    <a:moveTo>
                      <a:pt x="42862" y="195263"/>
                    </a:moveTo>
                    <a:lnTo>
                      <a:pt x="42862" y="202446"/>
                    </a:lnTo>
                    <a:cubicBezTo>
                      <a:pt x="42862" y="455766"/>
                      <a:pt x="42862" y="455766"/>
                      <a:pt x="42862" y="455766"/>
                    </a:cubicBezTo>
                    <a:cubicBezTo>
                      <a:pt x="42862" y="475325"/>
                      <a:pt x="58102" y="490537"/>
                      <a:pt x="77696" y="490537"/>
                    </a:cubicBezTo>
                    <a:cubicBezTo>
                      <a:pt x="463051" y="490537"/>
                      <a:pt x="463051" y="490537"/>
                      <a:pt x="463051" y="490537"/>
                    </a:cubicBezTo>
                    <a:cubicBezTo>
                      <a:pt x="482645" y="490537"/>
                      <a:pt x="500062" y="475325"/>
                      <a:pt x="500062" y="455766"/>
                    </a:cubicBezTo>
                    <a:cubicBezTo>
                      <a:pt x="500062" y="361233"/>
                      <a:pt x="500062" y="290333"/>
                      <a:pt x="500062" y="237158"/>
                    </a:cubicBezTo>
                    <a:lnTo>
                      <a:pt x="500062" y="195263"/>
                    </a:lnTo>
                    <a:lnTo>
                      <a:pt x="470386" y="195263"/>
                    </a:lnTo>
                    <a:cubicBezTo>
                      <a:pt x="456090" y="195263"/>
                      <a:pt x="443838" y="195263"/>
                      <a:pt x="433335" y="195263"/>
                    </a:cubicBezTo>
                    <a:lnTo>
                      <a:pt x="408673" y="195263"/>
                    </a:lnTo>
                    <a:lnTo>
                      <a:pt x="416336" y="206628"/>
                    </a:lnTo>
                    <a:cubicBezTo>
                      <a:pt x="424248" y="225336"/>
                      <a:pt x="428624" y="245904"/>
                      <a:pt x="428624" y="267494"/>
                    </a:cubicBezTo>
                    <a:cubicBezTo>
                      <a:pt x="428624" y="353854"/>
                      <a:pt x="358615" y="423863"/>
                      <a:pt x="272255" y="423863"/>
                    </a:cubicBezTo>
                    <a:cubicBezTo>
                      <a:pt x="185895" y="423863"/>
                      <a:pt x="115886" y="353854"/>
                      <a:pt x="115886" y="267494"/>
                    </a:cubicBezTo>
                    <a:cubicBezTo>
                      <a:pt x="115886" y="245904"/>
                      <a:pt x="120262" y="225336"/>
                      <a:pt x="128174" y="206628"/>
                    </a:cubicBezTo>
                    <a:lnTo>
                      <a:pt x="135837" y="195263"/>
                    </a:lnTo>
                    <a:lnTo>
                      <a:pt x="122134" y="195263"/>
                    </a:lnTo>
                    <a:cubicBezTo>
                      <a:pt x="94200" y="195263"/>
                      <a:pt x="74248" y="195263"/>
                      <a:pt x="59996" y="195263"/>
                    </a:cubicBezTo>
                    <a:close/>
                    <a:moveTo>
                      <a:pt x="270668" y="179386"/>
                    </a:moveTo>
                    <a:cubicBezTo>
                      <a:pt x="318451" y="179386"/>
                      <a:pt x="357187" y="218477"/>
                      <a:pt x="357187" y="266699"/>
                    </a:cubicBezTo>
                    <a:cubicBezTo>
                      <a:pt x="357187" y="314921"/>
                      <a:pt x="318451" y="354012"/>
                      <a:pt x="270668" y="354012"/>
                    </a:cubicBezTo>
                    <a:cubicBezTo>
                      <a:pt x="222885" y="354012"/>
                      <a:pt x="184149" y="314921"/>
                      <a:pt x="184149" y="266699"/>
                    </a:cubicBezTo>
                    <a:cubicBezTo>
                      <a:pt x="184149" y="218477"/>
                      <a:pt x="222885" y="179386"/>
                      <a:pt x="270668" y="179386"/>
                    </a:cubicBezTo>
                    <a:close/>
                    <a:moveTo>
                      <a:pt x="271461" y="152400"/>
                    </a:moveTo>
                    <a:cubicBezTo>
                      <a:pt x="208335" y="152400"/>
                      <a:pt x="157161" y="203929"/>
                      <a:pt x="157161" y="267494"/>
                    </a:cubicBezTo>
                    <a:cubicBezTo>
                      <a:pt x="157161" y="331059"/>
                      <a:pt x="208335" y="382588"/>
                      <a:pt x="271461" y="382588"/>
                    </a:cubicBezTo>
                    <a:cubicBezTo>
                      <a:pt x="334587" y="382588"/>
                      <a:pt x="385761" y="331059"/>
                      <a:pt x="385761" y="267494"/>
                    </a:cubicBezTo>
                    <a:cubicBezTo>
                      <a:pt x="385761" y="203929"/>
                      <a:pt x="334587" y="152400"/>
                      <a:pt x="271461" y="152400"/>
                    </a:cubicBezTo>
                    <a:close/>
                    <a:moveTo>
                      <a:pt x="434975" y="85725"/>
                    </a:moveTo>
                    <a:cubicBezTo>
                      <a:pt x="427961" y="85725"/>
                      <a:pt x="422275" y="91411"/>
                      <a:pt x="422275" y="98425"/>
                    </a:cubicBezTo>
                    <a:cubicBezTo>
                      <a:pt x="422275" y="105439"/>
                      <a:pt x="427961" y="111125"/>
                      <a:pt x="434975" y="111125"/>
                    </a:cubicBezTo>
                    <a:cubicBezTo>
                      <a:pt x="441989" y="111125"/>
                      <a:pt x="447675" y="105439"/>
                      <a:pt x="447675" y="98425"/>
                    </a:cubicBezTo>
                    <a:cubicBezTo>
                      <a:pt x="447675" y="91411"/>
                      <a:pt x="441989" y="85725"/>
                      <a:pt x="434975" y="85725"/>
                    </a:cubicBezTo>
                    <a:close/>
                    <a:moveTo>
                      <a:pt x="434975" y="42862"/>
                    </a:moveTo>
                    <a:cubicBezTo>
                      <a:pt x="464785" y="42862"/>
                      <a:pt x="488950" y="67383"/>
                      <a:pt x="488950" y="97631"/>
                    </a:cubicBezTo>
                    <a:cubicBezTo>
                      <a:pt x="488950" y="127879"/>
                      <a:pt x="464785" y="152400"/>
                      <a:pt x="434975" y="152400"/>
                    </a:cubicBezTo>
                    <a:cubicBezTo>
                      <a:pt x="405165" y="152400"/>
                      <a:pt x="381000" y="127879"/>
                      <a:pt x="381000" y="97631"/>
                    </a:cubicBezTo>
                    <a:cubicBezTo>
                      <a:pt x="381000" y="67383"/>
                      <a:pt x="405165" y="42862"/>
                      <a:pt x="434975" y="42862"/>
                    </a:cubicBezTo>
                    <a:close/>
                    <a:moveTo>
                      <a:pt x="176212" y="42862"/>
                    </a:moveTo>
                    <a:lnTo>
                      <a:pt x="176212" y="70038"/>
                    </a:lnTo>
                    <a:cubicBezTo>
                      <a:pt x="176212" y="110933"/>
                      <a:pt x="176212" y="131381"/>
                      <a:pt x="176212" y="141605"/>
                    </a:cubicBezTo>
                    <a:lnTo>
                      <a:pt x="176212" y="147131"/>
                    </a:lnTo>
                    <a:lnTo>
                      <a:pt x="211389" y="123413"/>
                    </a:lnTo>
                    <a:cubicBezTo>
                      <a:pt x="230097" y="115501"/>
                      <a:pt x="250665" y="111125"/>
                      <a:pt x="272255" y="111125"/>
                    </a:cubicBezTo>
                    <a:cubicBezTo>
                      <a:pt x="293845" y="111125"/>
                      <a:pt x="314413" y="115501"/>
                      <a:pt x="333121" y="123413"/>
                    </a:cubicBezTo>
                    <a:lnTo>
                      <a:pt x="376114" y="152400"/>
                    </a:lnTo>
                    <a:lnTo>
                      <a:pt x="419623" y="152400"/>
                    </a:lnTo>
                    <a:lnTo>
                      <a:pt x="434975" y="152400"/>
                    </a:lnTo>
                    <a:lnTo>
                      <a:pt x="456674" y="152400"/>
                    </a:lnTo>
                    <a:cubicBezTo>
                      <a:pt x="467176" y="152400"/>
                      <a:pt x="475929" y="152400"/>
                      <a:pt x="483222" y="152400"/>
                    </a:cubicBezTo>
                    <a:lnTo>
                      <a:pt x="500062" y="152400"/>
                    </a:lnTo>
                    <a:lnTo>
                      <a:pt x="500062" y="124900"/>
                    </a:lnTo>
                    <a:cubicBezTo>
                      <a:pt x="500062" y="77633"/>
                      <a:pt x="500062" y="77633"/>
                      <a:pt x="500062" y="77633"/>
                    </a:cubicBezTo>
                    <a:cubicBezTo>
                      <a:pt x="500062" y="58074"/>
                      <a:pt x="482645" y="42862"/>
                      <a:pt x="463051" y="42862"/>
                    </a:cubicBezTo>
                    <a:lnTo>
                      <a:pt x="434975" y="42862"/>
                    </a:lnTo>
                    <a:close/>
                    <a:moveTo>
                      <a:pt x="77696" y="42862"/>
                    </a:moveTo>
                    <a:cubicBezTo>
                      <a:pt x="58102" y="42862"/>
                      <a:pt x="42862" y="58074"/>
                      <a:pt x="42862" y="77633"/>
                    </a:cubicBezTo>
                    <a:cubicBezTo>
                      <a:pt x="42862" y="101266"/>
                      <a:pt x="42862" y="123423"/>
                      <a:pt x="42862" y="144194"/>
                    </a:cubicBezTo>
                    <a:lnTo>
                      <a:pt x="42862" y="152400"/>
                    </a:lnTo>
                    <a:lnTo>
                      <a:pt x="72537" y="152400"/>
                    </a:lnTo>
                    <a:cubicBezTo>
                      <a:pt x="86504" y="152400"/>
                      <a:pt x="98476" y="152400"/>
                      <a:pt x="108737" y="152400"/>
                    </a:cubicBezTo>
                    <a:lnTo>
                      <a:pt x="133625" y="152400"/>
                    </a:lnTo>
                    <a:lnTo>
                      <a:pt x="133350" y="151829"/>
                    </a:lnTo>
                    <a:cubicBezTo>
                      <a:pt x="133350" y="90784"/>
                      <a:pt x="133350" y="60261"/>
                      <a:pt x="133350" y="45000"/>
                    </a:cubicBezTo>
                    <a:lnTo>
                      <a:pt x="133350" y="42862"/>
                    </a:lnTo>
                    <a:close/>
                    <a:moveTo>
                      <a:pt x="78266" y="0"/>
                    </a:moveTo>
                    <a:cubicBezTo>
                      <a:pt x="463071" y="0"/>
                      <a:pt x="463071" y="0"/>
                      <a:pt x="463071" y="0"/>
                    </a:cubicBezTo>
                    <a:cubicBezTo>
                      <a:pt x="506552" y="0"/>
                      <a:pt x="541337" y="34796"/>
                      <a:pt x="541337" y="78291"/>
                    </a:cubicBezTo>
                    <a:cubicBezTo>
                      <a:pt x="541337" y="101941"/>
                      <a:pt x="541337" y="124114"/>
                      <a:pt x="541337" y="144900"/>
                    </a:cubicBezTo>
                    <a:lnTo>
                      <a:pt x="541337" y="173832"/>
                    </a:lnTo>
                    <a:lnTo>
                      <a:pt x="541337" y="203195"/>
                    </a:lnTo>
                    <a:cubicBezTo>
                      <a:pt x="541337" y="456697"/>
                      <a:pt x="541337" y="456697"/>
                      <a:pt x="541337" y="456697"/>
                    </a:cubicBezTo>
                    <a:cubicBezTo>
                      <a:pt x="541337" y="500192"/>
                      <a:pt x="506552" y="534988"/>
                      <a:pt x="463071" y="534988"/>
                    </a:cubicBezTo>
                    <a:cubicBezTo>
                      <a:pt x="78266" y="534988"/>
                      <a:pt x="78266" y="534988"/>
                      <a:pt x="78266" y="534988"/>
                    </a:cubicBezTo>
                    <a:cubicBezTo>
                      <a:pt x="34785" y="534988"/>
                      <a:pt x="0" y="500192"/>
                      <a:pt x="0" y="456697"/>
                    </a:cubicBezTo>
                    <a:cubicBezTo>
                      <a:pt x="0" y="78291"/>
                      <a:pt x="0" y="78291"/>
                      <a:pt x="0" y="78291"/>
                    </a:cubicBezTo>
                    <a:cubicBezTo>
                      <a:pt x="0" y="34796"/>
                      <a:pt x="34785" y="0"/>
                      <a:pt x="78266" y="0"/>
                    </a:cubicBezTo>
                    <a:close/>
                  </a:path>
                </a:pathLst>
              </a:custGeom>
              <a:solidFill>
                <a:srgbClr val="0072C6"/>
              </a:solidFill>
              <a:ln w="190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87" name="Freeform 86"/>
              <p:cNvSpPr>
                <a:spLocks/>
              </p:cNvSpPr>
              <p:nvPr/>
            </p:nvSpPr>
            <p:spPr bwMode="auto">
              <a:xfrm>
                <a:off x="2415352" y="3204967"/>
                <a:ext cx="314160" cy="300009"/>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88" name="Freeform 87"/>
              <p:cNvSpPr>
                <a:spLocks/>
              </p:cNvSpPr>
              <p:nvPr/>
            </p:nvSpPr>
            <p:spPr bwMode="auto">
              <a:xfrm>
                <a:off x="2196277" y="3728316"/>
                <a:ext cx="468812" cy="471985"/>
              </a:xfrm>
              <a:custGeom>
                <a:avLst/>
                <a:gdLst>
                  <a:gd name="connsiteX0" fmla="*/ 290954 w 468812"/>
                  <a:gd name="connsiteY0" fmla="*/ 32247 h 471985"/>
                  <a:gd name="connsiteX1" fmla="*/ 30163 w 468812"/>
                  <a:gd name="connsiteY1" fmla="*/ 293039 h 471985"/>
                  <a:gd name="connsiteX2" fmla="*/ 56242 w 468812"/>
                  <a:gd name="connsiteY2" fmla="*/ 319118 h 471985"/>
                  <a:gd name="connsiteX3" fmla="*/ 143173 w 468812"/>
                  <a:gd name="connsiteY3" fmla="*/ 332157 h 471985"/>
                  <a:gd name="connsiteX4" fmla="*/ 149692 w 468812"/>
                  <a:gd name="connsiteY4" fmla="*/ 414741 h 471985"/>
                  <a:gd name="connsiteX5" fmla="*/ 175772 w 468812"/>
                  <a:gd name="connsiteY5" fmla="*/ 438647 h 471985"/>
                  <a:gd name="connsiteX6" fmla="*/ 436563 w 468812"/>
                  <a:gd name="connsiteY6" fmla="*/ 180029 h 471985"/>
                  <a:gd name="connsiteX7" fmla="*/ 414830 w 468812"/>
                  <a:gd name="connsiteY7" fmla="*/ 156123 h 471985"/>
                  <a:gd name="connsiteX8" fmla="*/ 327900 w 468812"/>
                  <a:gd name="connsiteY8" fmla="*/ 140910 h 471985"/>
                  <a:gd name="connsiteX9" fmla="*/ 317034 w 468812"/>
                  <a:gd name="connsiteY9" fmla="*/ 58326 h 471985"/>
                  <a:gd name="connsiteX10" fmla="*/ 290954 w 468812"/>
                  <a:gd name="connsiteY10" fmla="*/ 32247 h 471985"/>
                  <a:gd name="connsiteX11" fmla="*/ 282810 w 468812"/>
                  <a:gd name="connsiteY11" fmla="*/ 3270 h 471985"/>
                  <a:gd name="connsiteX12" fmla="*/ 302389 w 468812"/>
                  <a:gd name="connsiteY12" fmla="*/ 3270 h 471985"/>
                  <a:gd name="connsiteX13" fmla="*/ 343723 w 468812"/>
                  <a:gd name="connsiteY13" fmla="*/ 44692 h 471985"/>
                  <a:gd name="connsiteX14" fmla="*/ 345899 w 468812"/>
                  <a:gd name="connsiteY14" fmla="*/ 62132 h 471985"/>
                  <a:gd name="connsiteX15" fmla="*/ 345899 w 468812"/>
                  <a:gd name="connsiteY15" fmla="*/ 120994 h 471985"/>
                  <a:gd name="connsiteX16" fmla="*/ 406812 w 468812"/>
                  <a:gd name="connsiteY16" fmla="*/ 129714 h 471985"/>
                  <a:gd name="connsiteX17" fmla="*/ 426391 w 468812"/>
                  <a:gd name="connsiteY17" fmla="*/ 129714 h 471985"/>
                  <a:gd name="connsiteX18" fmla="*/ 465549 w 468812"/>
                  <a:gd name="connsiteY18" fmla="*/ 171136 h 471985"/>
                  <a:gd name="connsiteX19" fmla="*/ 465549 w 468812"/>
                  <a:gd name="connsiteY19" fmla="*/ 188576 h 471985"/>
                  <a:gd name="connsiteX20" fmla="*/ 184914 w 468812"/>
                  <a:gd name="connsiteY20" fmla="*/ 467625 h 471985"/>
                  <a:gd name="connsiteX21" fmla="*/ 176212 w 468812"/>
                  <a:gd name="connsiteY21" fmla="*/ 471985 h 471985"/>
                  <a:gd name="connsiteX22" fmla="*/ 165335 w 468812"/>
                  <a:gd name="connsiteY22" fmla="*/ 467625 h 471985"/>
                  <a:gd name="connsiteX23" fmla="*/ 124001 w 468812"/>
                  <a:gd name="connsiteY23" fmla="*/ 424024 h 471985"/>
                  <a:gd name="connsiteX24" fmla="*/ 124001 w 468812"/>
                  <a:gd name="connsiteY24" fmla="*/ 406583 h 471985"/>
                  <a:gd name="connsiteX25" fmla="*/ 121826 w 468812"/>
                  <a:gd name="connsiteY25" fmla="*/ 349901 h 471985"/>
                  <a:gd name="connsiteX26" fmla="*/ 60913 w 468812"/>
                  <a:gd name="connsiteY26" fmla="*/ 345541 h 471985"/>
                  <a:gd name="connsiteX27" fmla="*/ 43509 w 468812"/>
                  <a:gd name="connsiteY27" fmla="*/ 345541 h 471985"/>
                  <a:gd name="connsiteX28" fmla="*/ 2175 w 468812"/>
                  <a:gd name="connsiteY28" fmla="*/ 301940 h 471985"/>
                  <a:gd name="connsiteX29" fmla="*/ 0 w 468812"/>
                  <a:gd name="connsiteY29" fmla="*/ 293219 h 471985"/>
                  <a:gd name="connsiteX30" fmla="*/ 2175 w 468812"/>
                  <a:gd name="connsiteY30" fmla="*/ 284499 h 471985"/>
                  <a:gd name="connsiteX31" fmla="*/ 282810 w 468812"/>
                  <a:gd name="connsiteY31" fmla="*/ 3270 h 47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812" h="471985">
                    <a:moveTo>
                      <a:pt x="290954" y="32247"/>
                    </a:moveTo>
                    <a:cubicBezTo>
                      <a:pt x="30163" y="293039"/>
                      <a:pt x="30163" y="293039"/>
                      <a:pt x="30163" y="293039"/>
                    </a:cubicBezTo>
                    <a:cubicBezTo>
                      <a:pt x="56242" y="319118"/>
                      <a:pt x="56242" y="319118"/>
                      <a:pt x="56242" y="319118"/>
                    </a:cubicBezTo>
                    <a:cubicBezTo>
                      <a:pt x="77975" y="306078"/>
                      <a:pt x="114920" y="299558"/>
                      <a:pt x="143173" y="332157"/>
                    </a:cubicBezTo>
                    <a:cubicBezTo>
                      <a:pt x="169252" y="364756"/>
                      <a:pt x="160559" y="395182"/>
                      <a:pt x="149692" y="414741"/>
                    </a:cubicBezTo>
                    <a:cubicBezTo>
                      <a:pt x="175772" y="438647"/>
                      <a:pt x="175772" y="438647"/>
                      <a:pt x="175772" y="438647"/>
                    </a:cubicBezTo>
                    <a:cubicBezTo>
                      <a:pt x="436563" y="180029"/>
                      <a:pt x="436563" y="180029"/>
                      <a:pt x="436563" y="180029"/>
                    </a:cubicBezTo>
                    <a:cubicBezTo>
                      <a:pt x="414830" y="156123"/>
                      <a:pt x="414830" y="156123"/>
                      <a:pt x="414830" y="156123"/>
                    </a:cubicBezTo>
                    <a:cubicBezTo>
                      <a:pt x="395271" y="166989"/>
                      <a:pt x="362672" y="173509"/>
                      <a:pt x="327900" y="140910"/>
                    </a:cubicBezTo>
                    <a:cubicBezTo>
                      <a:pt x="301821" y="112658"/>
                      <a:pt x="308341" y="77886"/>
                      <a:pt x="317034" y="58326"/>
                    </a:cubicBezTo>
                    <a:cubicBezTo>
                      <a:pt x="290954" y="32247"/>
                      <a:pt x="290954" y="32247"/>
                      <a:pt x="290954" y="32247"/>
                    </a:cubicBezTo>
                    <a:close/>
                    <a:moveTo>
                      <a:pt x="282810" y="3270"/>
                    </a:moveTo>
                    <a:cubicBezTo>
                      <a:pt x="287161" y="-1090"/>
                      <a:pt x="295863" y="-1090"/>
                      <a:pt x="302389" y="3270"/>
                    </a:cubicBezTo>
                    <a:cubicBezTo>
                      <a:pt x="343723" y="44692"/>
                      <a:pt x="343723" y="44692"/>
                      <a:pt x="343723" y="44692"/>
                    </a:cubicBezTo>
                    <a:cubicBezTo>
                      <a:pt x="348074" y="49052"/>
                      <a:pt x="348074" y="57772"/>
                      <a:pt x="345899" y="62132"/>
                    </a:cubicBezTo>
                    <a:cubicBezTo>
                      <a:pt x="343723" y="64312"/>
                      <a:pt x="321969" y="97013"/>
                      <a:pt x="345899" y="120994"/>
                    </a:cubicBezTo>
                    <a:cubicBezTo>
                      <a:pt x="380706" y="151515"/>
                      <a:pt x="404636" y="131894"/>
                      <a:pt x="406812" y="129714"/>
                    </a:cubicBezTo>
                    <a:cubicBezTo>
                      <a:pt x="413338" y="123174"/>
                      <a:pt x="422040" y="125354"/>
                      <a:pt x="426391" y="129714"/>
                    </a:cubicBezTo>
                    <a:cubicBezTo>
                      <a:pt x="465549" y="171136"/>
                      <a:pt x="465549" y="171136"/>
                      <a:pt x="465549" y="171136"/>
                    </a:cubicBezTo>
                    <a:cubicBezTo>
                      <a:pt x="469900" y="175496"/>
                      <a:pt x="469900" y="184216"/>
                      <a:pt x="465549" y="188576"/>
                    </a:cubicBezTo>
                    <a:cubicBezTo>
                      <a:pt x="184914" y="467625"/>
                      <a:pt x="184914" y="467625"/>
                      <a:pt x="184914" y="467625"/>
                    </a:cubicBezTo>
                    <a:cubicBezTo>
                      <a:pt x="182739" y="469805"/>
                      <a:pt x="178388" y="471985"/>
                      <a:pt x="176212" y="471985"/>
                    </a:cubicBezTo>
                    <a:cubicBezTo>
                      <a:pt x="171862" y="471985"/>
                      <a:pt x="167511" y="469805"/>
                      <a:pt x="165335" y="467625"/>
                    </a:cubicBezTo>
                    <a:cubicBezTo>
                      <a:pt x="124001" y="424024"/>
                      <a:pt x="124001" y="424024"/>
                      <a:pt x="124001" y="424024"/>
                    </a:cubicBezTo>
                    <a:cubicBezTo>
                      <a:pt x="119650" y="419663"/>
                      <a:pt x="119650" y="410943"/>
                      <a:pt x="124001" y="406583"/>
                    </a:cubicBezTo>
                    <a:cubicBezTo>
                      <a:pt x="126177" y="404403"/>
                      <a:pt x="147931" y="380422"/>
                      <a:pt x="121826" y="349901"/>
                    </a:cubicBezTo>
                    <a:cubicBezTo>
                      <a:pt x="97896" y="319380"/>
                      <a:pt x="63088" y="345541"/>
                      <a:pt x="60913" y="345541"/>
                    </a:cubicBezTo>
                    <a:cubicBezTo>
                      <a:pt x="56562" y="349901"/>
                      <a:pt x="50036" y="349901"/>
                      <a:pt x="43509" y="345541"/>
                    </a:cubicBezTo>
                    <a:cubicBezTo>
                      <a:pt x="2175" y="301940"/>
                      <a:pt x="2175" y="301940"/>
                      <a:pt x="2175" y="301940"/>
                    </a:cubicBezTo>
                    <a:cubicBezTo>
                      <a:pt x="0" y="299760"/>
                      <a:pt x="0" y="297580"/>
                      <a:pt x="0" y="293219"/>
                    </a:cubicBezTo>
                    <a:cubicBezTo>
                      <a:pt x="0" y="291039"/>
                      <a:pt x="0" y="286679"/>
                      <a:pt x="2175" y="284499"/>
                    </a:cubicBezTo>
                    <a:cubicBezTo>
                      <a:pt x="282810" y="3270"/>
                      <a:pt x="282810" y="3270"/>
                      <a:pt x="282810" y="327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89" name="Freeform 77"/>
              <p:cNvSpPr>
                <a:spLocks/>
              </p:cNvSpPr>
              <p:nvPr/>
            </p:nvSpPr>
            <p:spPr bwMode="auto">
              <a:xfrm>
                <a:off x="2502665" y="3955826"/>
                <a:ext cx="58737" cy="57150"/>
              </a:xfrm>
              <a:custGeom>
                <a:avLst/>
                <a:gdLst>
                  <a:gd name="T0" fmla="*/ 20 w 27"/>
                  <a:gd name="T1" fmla="*/ 26 h 26"/>
                  <a:gd name="T2" fmla="*/ 16 w 27"/>
                  <a:gd name="T3" fmla="*/ 24 h 26"/>
                  <a:gd name="T4" fmla="*/ 3 w 27"/>
                  <a:gd name="T5" fmla="*/ 11 h 26"/>
                  <a:gd name="T6" fmla="*/ 3 w 27"/>
                  <a:gd name="T7" fmla="*/ 3 h 26"/>
                  <a:gd name="T8" fmla="*/ 11 w 27"/>
                  <a:gd name="T9" fmla="*/ 3 h 26"/>
                  <a:gd name="T10" fmla="*/ 24 w 27"/>
                  <a:gd name="T11" fmla="*/ 16 h 26"/>
                  <a:gd name="T12" fmla="*/ 24 w 27"/>
                  <a:gd name="T13" fmla="*/ 24 h 26"/>
                  <a:gd name="T14" fmla="*/ 20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0" y="26"/>
                    </a:moveTo>
                    <a:cubicBezTo>
                      <a:pt x="19" y="26"/>
                      <a:pt x="17" y="25"/>
                      <a:pt x="16" y="24"/>
                    </a:cubicBezTo>
                    <a:cubicBezTo>
                      <a:pt x="3" y="11"/>
                      <a:pt x="3" y="11"/>
                      <a:pt x="3" y="11"/>
                    </a:cubicBezTo>
                    <a:cubicBezTo>
                      <a:pt x="0" y="9"/>
                      <a:pt x="0" y="5"/>
                      <a:pt x="3" y="3"/>
                    </a:cubicBezTo>
                    <a:cubicBezTo>
                      <a:pt x="5" y="0"/>
                      <a:pt x="9" y="0"/>
                      <a:pt x="11" y="3"/>
                    </a:cubicBezTo>
                    <a:cubicBezTo>
                      <a:pt x="24" y="16"/>
                      <a:pt x="24" y="16"/>
                      <a:pt x="24" y="16"/>
                    </a:cubicBezTo>
                    <a:cubicBezTo>
                      <a:pt x="27" y="18"/>
                      <a:pt x="27" y="22"/>
                      <a:pt x="24" y="24"/>
                    </a:cubicBezTo>
                    <a:cubicBezTo>
                      <a:pt x="23" y="25"/>
                      <a:pt x="22" y="26"/>
                      <a:pt x="20"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8"/>
              <p:cNvSpPr>
                <a:spLocks/>
              </p:cNvSpPr>
              <p:nvPr/>
            </p:nvSpPr>
            <p:spPr bwMode="auto">
              <a:xfrm>
                <a:off x="2462977" y="3914551"/>
                <a:ext cx="57150" cy="57150"/>
              </a:xfrm>
              <a:custGeom>
                <a:avLst/>
                <a:gdLst>
                  <a:gd name="T0" fmla="*/ 19 w 26"/>
                  <a:gd name="T1" fmla="*/ 26 h 26"/>
                  <a:gd name="T2" fmla="*/ 15 w 26"/>
                  <a:gd name="T3" fmla="*/ 24 h 26"/>
                  <a:gd name="T4" fmla="*/ 2 w 26"/>
                  <a:gd name="T5" fmla="*/ 11 h 26"/>
                  <a:gd name="T6" fmla="*/ 2 w 26"/>
                  <a:gd name="T7" fmla="*/ 3 h 26"/>
                  <a:gd name="T8" fmla="*/ 11 w 26"/>
                  <a:gd name="T9" fmla="*/ 3 h 26"/>
                  <a:gd name="T10" fmla="*/ 24 w 26"/>
                  <a:gd name="T11" fmla="*/ 16 h 26"/>
                  <a:gd name="T12" fmla="*/ 24 w 26"/>
                  <a:gd name="T13" fmla="*/ 24 h 26"/>
                  <a:gd name="T14" fmla="*/ 19 w 2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6">
                    <a:moveTo>
                      <a:pt x="19" y="26"/>
                    </a:moveTo>
                    <a:cubicBezTo>
                      <a:pt x="18" y="26"/>
                      <a:pt x="16" y="26"/>
                      <a:pt x="15" y="24"/>
                    </a:cubicBezTo>
                    <a:cubicBezTo>
                      <a:pt x="2" y="11"/>
                      <a:pt x="2" y="11"/>
                      <a:pt x="2" y="11"/>
                    </a:cubicBezTo>
                    <a:cubicBezTo>
                      <a:pt x="0" y="9"/>
                      <a:pt x="0" y="5"/>
                      <a:pt x="2" y="3"/>
                    </a:cubicBezTo>
                    <a:cubicBezTo>
                      <a:pt x="4" y="0"/>
                      <a:pt x="8" y="0"/>
                      <a:pt x="11" y="3"/>
                    </a:cubicBezTo>
                    <a:cubicBezTo>
                      <a:pt x="24" y="16"/>
                      <a:pt x="24" y="16"/>
                      <a:pt x="24" y="16"/>
                    </a:cubicBezTo>
                    <a:cubicBezTo>
                      <a:pt x="26" y="18"/>
                      <a:pt x="26" y="22"/>
                      <a:pt x="24" y="24"/>
                    </a:cubicBezTo>
                    <a:cubicBezTo>
                      <a:pt x="22" y="26"/>
                      <a:pt x="21" y="26"/>
                      <a:pt x="19"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9"/>
              <p:cNvSpPr>
                <a:spLocks/>
              </p:cNvSpPr>
              <p:nvPr/>
            </p:nvSpPr>
            <p:spPr bwMode="auto">
              <a:xfrm>
                <a:off x="2420115" y="3874863"/>
                <a:ext cx="57150" cy="55563"/>
              </a:xfrm>
              <a:custGeom>
                <a:avLst/>
                <a:gdLst>
                  <a:gd name="T0" fmla="*/ 19 w 26"/>
                  <a:gd name="T1" fmla="*/ 25 h 25"/>
                  <a:gd name="T2" fmla="*/ 15 w 26"/>
                  <a:gd name="T3" fmla="*/ 24 h 25"/>
                  <a:gd name="T4" fmla="*/ 2 w 26"/>
                  <a:gd name="T5" fmla="*/ 11 h 25"/>
                  <a:gd name="T6" fmla="*/ 2 w 26"/>
                  <a:gd name="T7" fmla="*/ 2 h 25"/>
                  <a:gd name="T8" fmla="*/ 11 w 26"/>
                  <a:gd name="T9" fmla="*/ 2 h 25"/>
                  <a:gd name="T10" fmla="*/ 24 w 26"/>
                  <a:gd name="T11" fmla="*/ 15 h 25"/>
                  <a:gd name="T12" fmla="*/ 24 w 26"/>
                  <a:gd name="T13" fmla="*/ 24 h 25"/>
                  <a:gd name="T14" fmla="*/ 19 w 26"/>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5">
                    <a:moveTo>
                      <a:pt x="19" y="25"/>
                    </a:moveTo>
                    <a:cubicBezTo>
                      <a:pt x="18" y="25"/>
                      <a:pt x="16" y="25"/>
                      <a:pt x="15" y="24"/>
                    </a:cubicBezTo>
                    <a:cubicBezTo>
                      <a:pt x="2" y="11"/>
                      <a:pt x="2" y="11"/>
                      <a:pt x="2" y="11"/>
                    </a:cubicBezTo>
                    <a:cubicBezTo>
                      <a:pt x="0" y="8"/>
                      <a:pt x="0" y="4"/>
                      <a:pt x="2" y="2"/>
                    </a:cubicBezTo>
                    <a:cubicBezTo>
                      <a:pt x="5" y="0"/>
                      <a:pt x="8" y="0"/>
                      <a:pt x="11" y="2"/>
                    </a:cubicBezTo>
                    <a:cubicBezTo>
                      <a:pt x="24" y="15"/>
                      <a:pt x="24" y="15"/>
                      <a:pt x="24" y="15"/>
                    </a:cubicBezTo>
                    <a:cubicBezTo>
                      <a:pt x="26" y="17"/>
                      <a:pt x="26" y="21"/>
                      <a:pt x="24" y="24"/>
                    </a:cubicBezTo>
                    <a:cubicBezTo>
                      <a:pt x="23" y="25"/>
                      <a:pt x="21" y="25"/>
                      <a:pt x="19" y="2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0"/>
              <p:cNvSpPr>
                <a:spLocks/>
              </p:cNvSpPr>
              <p:nvPr/>
            </p:nvSpPr>
            <p:spPr bwMode="auto">
              <a:xfrm>
                <a:off x="2378840" y="3833588"/>
                <a:ext cx="55562" cy="57150"/>
              </a:xfrm>
              <a:custGeom>
                <a:avLst/>
                <a:gdLst>
                  <a:gd name="T0" fmla="*/ 19 w 26"/>
                  <a:gd name="T1" fmla="*/ 26 h 26"/>
                  <a:gd name="T2" fmla="*/ 15 w 26"/>
                  <a:gd name="T3" fmla="*/ 24 h 26"/>
                  <a:gd name="T4" fmla="*/ 2 w 26"/>
                  <a:gd name="T5" fmla="*/ 11 h 26"/>
                  <a:gd name="T6" fmla="*/ 2 w 26"/>
                  <a:gd name="T7" fmla="*/ 2 h 26"/>
                  <a:gd name="T8" fmla="*/ 10 w 26"/>
                  <a:gd name="T9" fmla="*/ 2 h 26"/>
                  <a:gd name="T10" fmla="*/ 23 w 26"/>
                  <a:gd name="T11" fmla="*/ 15 h 26"/>
                  <a:gd name="T12" fmla="*/ 23 w 26"/>
                  <a:gd name="T13" fmla="*/ 24 h 26"/>
                  <a:gd name="T14" fmla="*/ 19 w 2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6">
                    <a:moveTo>
                      <a:pt x="19" y="26"/>
                    </a:moveTo>
                    <a:cubicBezTo>
                      <a:pt x="18" y="26"/>
                      <a:pt x="16" y="25"/>
                      <a:pt x="15" y="24"/>
                    </a:cubicBezTo>
                    <a:cubicBezTo>
                      <a:pt x="2" y="11"/>
                      <a:pt x="2" y="11"/>
                      <a:pt x="2" y="11"/>
                    </a:cubicBezTo>
                    <a:cubicBezTo>
                      <a:pt x="0" y="8"/>
                      <a:pt x="0" y="5"/>
                      <a:pt x="2" y="2"/>
                    </a:cubicBezTo>
                    <a:cubicBezTo>
                      <a:pt x="4" y="0"/>
                      <a:pt x="8" y="0"/>
                      <a:pt x="10" y="2"/>
                    </a:cubicBezTo>
                    <a:cubicBezTo>
                      <a:pt x="23" y="15"/>
                      <a:pt x="23" y="15"/>
                      <a:pt x="23" y="15"/>
                    </a:cubicBezTo>
                    <a:cubicBezTo>
                      <a:pt x="26" y="18"/>
                      <a:pt x="26" y="21"/>
                      <a:pt x="23" y="24"/>
                    </a:cubicBezTo>
                    <a:cubicBezTo>
                      <a:pt x="22" y="25"/>
                      <a:pt x="21" y="26"/>
                      <a:pt x="19"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4" name="Group 93"/>
              <p:cNvGrpSpPr/>
              <p:nvPr/>
            </p:nvGrpSpPr>
            <p:grpSpPr>
              <a:xfrm>
                <a:off x="1837748" y="4093497"/>
                <a:ext cx="284166" cy="220428"/>
                <a:chOff x="8964790" y="2459832"/>
                <a:chExt cx="339725" cy="263525"/>
              </a:xfrm>
            </p:grpSpPr>
            <p:sp>
              <p:nvSpPr>
                <p:cNvPr id="103" name="Freeform 85"/>
                <p:cNvSpPr>
                  <a:spLocks/>
                </p:cNvSpPr>
                <p:nvPr/>
              </p:nvSpPr>
              <p:spPr bwMode="auto">
                <a:xfrm>
                  <a:off x="8964790" y="2459832"/>
                  <a:ext cx="287337" cy="182563"/>
                </a:xfrm>
                <a:custGeom>
                  <a:avLst/>
                  <a:gdLst>
                    <a:gd name="T0" fmla="*/ 84 w 132"/>
                    <a:gd name="T1" fmla="*/ 84 h 84"/>
                    <a:gd name="T2" fmla="*/ 47 w 132"/>
                    <a:gd name="T3" fmla="*/ 84 h 84"/>
                    <a:gd name="T4" fmla="*/ 27 w 132"/>
                    <a:gd name="T5" fmla="*/ 12 h 84"/>
                    <a:gd name="T6" fmla="*/ 6 w 132"/>
                    <a:gd name="T7" fmla="*/ 12 h 84"/>
                    <a:gd name="T8" fmla="*/ 0 w 132"/>
                    <a:gd name="T9" fmla="*/ 6 h 84"/>
                    <a:gd name="T10" fmla="*/ 6 w 132"/>
                    <a:gd name="T11" fmla="*/ 0 h 84"/>
                    <a:gd name="T12" fmla="*/ 32 w 132"/>
                    <a:gd name="T13" fmla="*/ 0 h 84"/>
                    <a:gd name="T14" fmla="*/ 38 w 132"/>
                    <a:gd name="T15" fmla="*/ 5 h 84"/>
                    <a:gd name="T16" fmla="*/ 52 w 132"/>
                    <a:gd name="T17" fmla="*/ 72 h 84"/>
                    <a:gd name="T18" fmla="*/ 126 w 132"/>
                    <a:gd name="T19" fmla="*/ 72 h 84"/>
                    <a:gd name="T20" fmla="*/ 126 w 132"/>
                    <a:gd name="T21" fmla="*/ 72 h 84"/>
                    <a:gd name="T22" fmla="*/ 132 w 132"/>
                    <a:gd name="T23" fmla="*/ 78 h 84"/>
                    <a:gd name="T24" fmla="*/ 126 w 132"/>
                    <a:gd name="T25" fmla="*/ 84 h 84"/>
                    <a:gd name="T26" fmla="*/ 84 w 132"/>
                    <a:gd name="T2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84">
                      <a:moveTo>
                        <a:pt x="84" y="84"/>
                      </a:moveTo>
                      <a:cubicBezTo>
                        <a:pt x="48" y="84"/>
                        <a:pt x="47" y="84"/>
                        <a:pt x="47" y="84"/>
                      </a:cubicBezTo>
                      <a:cubicBezTo>
                        <a:pt x="42" y="83"/>
                        <a:pt x="41" y="83"/>
                        <a:pt x="27" y="12"/>
                      </a:cubicBezTo>
                      <a:cubicBezTo>
                        <a:pt x="6" y="12"/>
                        <a:pt x="6" y="12"/>
                        <a:pt x="6" y="12"/>
                      </a:cubicBezTo>
                      <a:cubicBezTo>
                        <a:pt x="3" y="12"/>
                        <a:pt x="0" y="9"/>
                        <a:pt x="0" y="6"/>
                      </a:cubicBezTo>
                      <a:cubicBezTo>
                        <a:pt x="0" y="3"/>
                        <a:pt x="3" y="0"/>
                        <a:pt x="6" y="0"/>
                      </a:cubicBezTo>
                      <a:cubicBezTo>
                        <a:pt x="32" y="0"/>
                        <a:pt x="32" y="0"/>
                        <a:pt x="32" y="0"/>
                      </a:cubicBezTo>
                      <a:cubicBezTo>
                        <a:pt x="35" y="0"/>
                        <a:pt x="37" y="2"/>
                        <a:pt x="38" y="5"/>
                      </a:cubicBezTo>
                      <a:cubicBezTo>
                        <a:pt x="43" y="32"/>
                        <a:pt x="50" y="62"/>
                        <a:pt x="52" y="72"/>
                      </a:cubicBezTo>
                      <a:cubicBezTo>
                        <a:pt x="64" y="72"/>
                        <a:pt x="101" y="72"/>
                        <a:pt x="126" y="72"/>
                      </a:cubicBezTo>
                      <a:cubicBezTo>
                        <a:pt x="126" y="72"/>
                        <a:pt x="126" y="72"/>
                        <a:pt x="126" y="72"/>
                      </a:cubicBezTo>
                      <a:cubicBezTo>
                        <a:pt x="129" y="72"/>
                        <a:pt x="132" y="75"/>
                        <a:pt x="132" y="78"/>
                      </a:cubicBezTo>
                      <a:cubicBezTo>
                        <a:pt x="132" y="81"/>
                        <a:pt x="129" y="84"/>
                        <a:pt x="126" y="84"/>
                      </a:cubicBezTo>
                      <a:cubicBezTo>
                        <a:pt x="108" y="84"/>
                        <a:pt x="95" y="84"/>
                        <a:pt x="84" y="84"/>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4" name="Freeform 86"/>
                <p:cNvSpPr>
                  <a:spLocks/>
                </p:cNvSpPr>
                <p:nvPr/>
              </p:nvSpPr>
              <p:spPr bwMode="auto">
                <a:xfrm>
                  <a:off x="9061628" y="2494757"/>
                  <a:ext cx="242887" cy="25400"/>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3" y="12"/>
                        <a:pt x="0" y="9"/>
                        <a:pt x="0" y="6"/>
                      </a:cubicBezTo>
                      <a:cubicBezTo>
                        <a:pt x="0" y="3"/>
                        <a:pt x="3" y="0"/>
                        <a:pt x="6" y="0"/>
                      </a:cubicBezTo>
                      <a:cubicBezTo>
                        <a:pt x="106" y="0"/>
                        <a:pt x="106" y="0"/>
                        <a:pt x="106" y="0"/>
                      </a:cubicBezTo>
                      <a:cubicBezTo>
                        <a:pt x="109" y="0"/>
                        <a:pt x="112" y="3"/>
                        <a:pt x="112" y="6"/>
                      </a:cubicBezTo>
                      <a:cubicBezTo>
                        <a:pt x="112" y="9"/>
                        <a:pt x="109" y="12"/>
                        <a:pt x="106"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5" name="Freeform 87"/>
                <p:cNvSpPr>
                  <a:spLocks/>
                </p:cNvSpPr>
                <p:nvPr/>
              </p:nvSpPr>
              <p:spPr bwMode="auto">
                <a:xfrm>
                  <a:off x="9079090" y="2537619"/>
                  <a:ext cx="217487" cy="2698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3" y="12"/>
                        <a:pt x="0" y="9"/>
                        <a:pt x="0" y="6"/>
                      </a:cubicBezTo>
                      <a:cubicBezTo>
                        <a:pt x="0" y="3"/>
                        <a:pt x="3" y="0"/>
                        <a:pt x="6" y="0"/>
                      </a:cubicBezTo>
                      <a:cubicBezTo>
                        <a:pt x="94" y="0"/>
                        <a:pt x="94" y="0"/>
                        <a:pt x="94" y="0"/>
                      </a:cubicBezTo>
                      <a:cubicBezTo>
                        <a:pt x="97" y="0"/>
                        <a:pt x="100" y="3"/>
                        <a:pt x="100" y="6"/>
                      </a:cubicBezTo>
                      <a:cubicBezTo>
                        <a:pt x="100" y="9"/>
                        <a:pt x="97" y="12"/>
                        <a:pt x="94"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6" name="Freeform 88"/>
                <p:cNvSpPr>
                  <a:spLocks/>
                </p:cNvSpPr>
                <p:nvPr/>
              </p:nvSpPr>
              <p:spPr bwMode="auto">
                <a:xfrm>
                  <a:off x="9087028" y="2572544"/>
                  <a:ext cx="192087" cy="26988"/>
                </a:xfrm>
                <a:custGeom>
                  <a:avLst/>
                  <a:gdLst>
                    <a:gd name="T0" fmla="*/ 82 w 88"/>
                    <a:gd name="T1" fmla="*/ 12 h 12"/>
                    <a:gd name="T2" fmla="*/ 6 w 88"/>
                    <a:gd name="T3" fmla="*/ 12 h 12"/>
                    <a:gd name="T4" fmla="*/ 0 w 88"/>
                    <a:gd name="T5" fmla="*/ 6 h 12"/>
                    <a:gd name="T6" fmla="*/ 6 w 88"/>
                    <a:gd name="T7" fmla="*/ 0 h 12"/>
                    <a:gd name="T8" fmla="*/ 82 w 88"/>
                    <a:gd name="T9" fmla="*/ 0 h 12"/>
                    <a:gd name="T10" fmla="*/ 88 w 88"/>
                    <a:gd name="T11" fmla="*/ 6 h 12"/>
                    <a:gd name="T12" fmla="*/ 82 w 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8" h="12">
                      <a:moveTo>
                        <a:pt x="82" y="12"/>
                      </a:moveTo>
                      <a:cubicBezTo>
                        <a:pt x="6" y="12"/>
                        <a:pt x="6" y="12"/>
                        <a:pt x="6" y="12"/>
                      </a:cubicBezTo>
                      <a:cubicBezTo>
                        <a:pt x="3" y="12"/>
                        <a:pt x="0" y="9"/>
                        <a:pt x="0" y="6"/>
                      </a:cubicBezTo>
                      <a:cubicBezTo>
                        <a:pt x="0" y="3"/>
                        <a:pt x="3" y="0"/>
                        <a:pt x="6" y="0"/>
                      </a:cubicBezTo>
                      <a:cubicBezTo>
                        <a:pt x="82" y="0"/>
                        <a:pt x="82" y="0"/>
                        <a:pt x="82" y="0"/>
                      </a:cubicBezTo>
                      <a:cubicBezTo>
                        <a:pt x="85" y="0"/>
                        <a:pt x="88" y="3"/>
                        <a:pt x="88" y="6"/>
                      </a:cubicBezTo>
                      <a:cubicBezTo>
                        <a:pt x="88" y="9"/>
                        <a:pt x="85" y="12"/>
                        <a:pt x="82" y="12"/>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7" name="Freeform 106"/>
                <p:cNvSpPr>
                  <a:spLocks noChangeArrowheads="1"/>
                </p:cNvSpPr>
                <p:nvPr/>
              </p:nvSpPr>
              <p:spPr bwMode="auto">
                <a:xfrm>
                  <a:off x="9045753" y="2647157"/>
                  <a:ext cx="76200" cy="76200"/>
                </a:xfrm>
                <a:custGeom>
                  <a:avLst/>
                  <a:gdLst>
                    <a:gd name="connsiteX0" fmla="*/ 37306 w 76200"/>
                    <a:gd name="connsiteY0" fmla="*/ 25400 h 76200"/>
                    <a:gd name="connsiteX1" fmla="*/ 25400 w 76200"/>
                    <a:gd name="connsiteY1" fmla="*/ 37307 h 76200"/>
                    <a:gd name="connsiteX2" fmla="*/ 37306 w 76200"/>
                    <a:gd name="connsiteY2" fmla="*/ 49214 h 76200"/>
                    <a:gd name="connsiteX3" fmla="*/ 49212 w 76200"/>
                    <a:gd name="connsiteY3" fmla="*/ 37307 h 76200"/>
                    <a:gd name="connsiteX4" fmla="*/ 37306 w 76200"/>
                    <a:gd name="connsiteY4" fmla="*/ 25400 h 76200"/>
                    <a:gd name="connsiteX5" fmla="*/ 38100 w 76200"/>
                    <a:gd name="connsiteY5" fmla="*/ 0 h 76200"/>
                    <a:gd name="connsiteX6" fmla="*/ 76200 w 76200"/>
                    <a:gd name="connsiteY6" fmla="*/ 38100 h 76200"/>
                    <a:gd name="connsiteX7" fmla="*/ 38100 w 76200"/>
                    <a:gd name="connsiteY7" fmla="*/ 76200 h 76200"/>
                    <a:gd name="connsiteX8" fmla="*/ 0 w 76200"/>
                    <a:gd name="connsiteY8" fmla="*/ 38100 h 76200"/>
                    <a:gd name="connsiteX9" fmla="*/ 38100 w 76200"/>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7306" y="25400"/>
                      </a:moveTo>
                      <a:cubicBezTo>
                        <a:pt x="30730" y="25400"/>
                        <a:pt x="25400" y="30731"/>
                        <a:pt x="25400" y="37307"/>
                      </a:cubicBezTo>
                      <a:cubicBezTo>
                        <a:pt x="25400" y="43883"/>
                        <a:pt x="30730" y="49214"/>
                        <a:pt x="37306" y="49214"/>
                      </a:cubicBezTo>
                      <a:cubicBezTo>
                        <a:pt x="43882" y="49214"/>
                        <a:pt x="49212" y="43883"/>
                        <a:pt x="49212" y="37307"/>
                      </a:cubicBezTo>
                      <a:cubicBezTo>
                        <a:pt x="49212" y="30731"/>
                        <a:pt x="43882" y="25400"/>
                        <a:pt x="37306" y="25400"/>
                      </a:cubicBezTo>
                      <a:close/>
                      <a:moveTo>
                        <a:pt x="38100" y="0"/>
                      </a:moveTo>
                      <a:cubicBezTo>
                        <a:pt x="59142" y="0"/>
                        <a:pt x="76200" y="17058"/>
                        <a:pt x="76200" y="38100"/>
                      </a:cubicBezTo>
                      <a:cubicBezTo>
                        <a:pt x="76200" y="59142"/>
                        <a:pt x="59142" y="76200"/>
                        <a:pt x="38100" y="76200"/>
                      </a:cubicBezTo>
                      <a:cubicBezTo>
                        <a:pt x="17058" y="76200"/>
                        <a:pt x="0" y="59142"/>
                        <a:pt x="0" y="38100"/>
                      </a:cubicBezTo>
                      <a:cubicBezTo>
                        <a:pt x="0" y="17058"/>
                        <a:pt x="17058" y="0"/>
                        <a:pt x="38100"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108" name="Freeform 107"/>
                <p:cNvSpPr>
                  <a:spLocks noChangeArrowheads="1"/>
                </p:cNvSpPr>
                <p:nvPr/>
              </p:nvSpPr>
              <p:spPr bwMode="auto">
                <a:xfrm>
                  <a:off x="9174339" y="2647157"/>
                  <a:ext cx="77788" cy="76200"/>
                </a:xfrm>
                <a:custGeom>
                  <a:avLst/>
                  <a:gdLst>
                    <a:gd name="connsiteX0" fmla="*/ 38894 w 77788"/>
                    <a:gd name="connsiteY0" fmla="*/ 25400 h 76200"/>
                    <a:gd name="connsiteX1" fmla="*/ 25400 w 77788"/>
                    <a:gd name="connsiteY1" fmla="*/ 37307 h 76200"/>
                    <a:gd name="connsiteX2" fmla="*/ 38894 w 77788"/>
                    <a:gd name="connsiteY2" fmla="*/ 49214 h 76200"/>
                    <a:gd name="connsiteX3" fmla="*/ 52388 w 77788"/>
                    <a:gd name="connsiteY3" fmla="*/ 37307 h 76200"/>
                    <a:gd name="connsiteX4" fmla="*/ 38894 w 77788"/>
                    <a:gd name="connsiteY4" fmla="*/ 25400 h 76200"/>
                    <a:gd name="connsiteX5" fmla="*/ 38894 w 77788"/>
                    <a:gd name="connsiteY5" fmla="*/ 0 h 76200"/>
                    <a:gd name="connsiteX6" fmla="*/ 77788 w 77788"/>
                    <a:gd name="connsiteY6" fmla="*/ 38100 h 76200"/>
                    <a:gd name="connsiteX7" fmla="*/ 38894 w 77788"/>
                    <a:gd name="connsiteY7" fmla="*/ 76200 h 76200"/>
                    <a:gd name="connsiteX8" fmla="*/ 0 w 77788"/>
                    <a:gd name="connsiteY8" fmla="*/ 38100 h 76200"/>
                    <a:gd name="connsiteX9" fmla="*/ 38894 w 77788"/>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88" h="76200">
                      <a:moveTo>
                        <a:pt x="38894" y="25400"/>
                      </a:moveTo>
                      <a:cubicBezTo>
                        <a:pt x="31441" y="25400"/>
                        <a:pt x="25400" y="30731"/>
                        <a:pt x="25400" y="37307"/>
                      </a:cubicBezTo>
                      <a:cubicBezTo>
                        <a:pt x="25400" y="43883"/>
                        <a:pt x="31441" y="49214"/>
                        <a:pt x="38894" y="49214"/>
                      </a:cubicBezTo>
                      <a:cubicBezTo>
                        <a:pt x="46347" y="49214"/>
                        <a:pt x="52388" y="43883"/>
                        <a:pt x="52388" y="37307"/>
                      </a:cubicBezTo>
                      <a:cubicBezTo>
                        <a:pt x="52388" y="30731"/>
                        <a:pt x="46347" y="25400"/>
                        <a:pt x="38894" y="25400"/>
                      </a:cubicBezTo>
                      <a:close/>
                      <a:moveTo>
                        <a:pt x="38894" y="0"/>
                      </a:moveTo>
                      <a:cubicBezTo>
                        <a:pt x="60375" y="0"/>
                        <a:pt x="77788" y="17058"/>
                        <a:pt x="77788" y="38100"/>
                      </a:cubicBezTo>
                      <a:cubicBezTo>
                        <a:pt x="77788" y="59142"/>
                        <a:pt x="60375" y="76200"/>
                        <a:pt x="38894" y="76200"/>
                      </a:cubicBezTo>
                      <a:cubicBezTo>
                        <a:pt x="17413" y="76200"/>
                        <a:pt x="0" y="59142"/>
                        <a:pt x="0" y="38100"/>
                      </a:cubicBezTo>
                      <a:cubicBezTo>
                        <a:pt x="0" y="17058"/>
                        <a:pt x="17413" y="0"/>
                        <a:pt x="38894" y="0"/>
                      </a:cubicBezTo>
                      <a:close/>
                    </a:path>
                  </a:pathLst>
                </a:custGeom>
                <a:solidFill>
                  <a:srgbClr val="0072C6"/>
                </a:solidFill>
                <a:ln w="6350">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100" name="Freeform 99"/>
              <p:cNvSpPr>
                <a:spLocks/>
              </p:cNvSpPr>
              <p:nvPr/>
            </p:nvSpPr>
            <p:spPr bwMode="auto">
              <a:xfrm>
                <a:off x="2781037" y="3093241"/>
                <a:ext cx="265748" cy="253778"/>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3175">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sp>
            <p:nvSpPr>
              <p:cNvPr id="102" name="Freeform 101"/>
              <p:cNvSpPr>
                <a:spLocks/>
              </p:cNvSpPr>
              <p:nvPr/>
            </p:nvSpPr>
            <p:spPr bwMode="auto">
              <a:xfrm>
                <a:off x="2975141" y="3459732"/>
                <a:ext cx="201208" cy="192146"/>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3175">
                <a:solidFill>
                  <a:schemeClr val="tx1"/>
                </a:solidFill>
                <a:round/>
                <a:headEnd/>
                <a:tailEnd/>
              </a:ln>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75" name="Group 74"/>
            <p:cNvGrpSpPr/>
            <p:nvPr/>
          </p:nvGrpSpPr>
          <p:grpSpPr>
            <a:xfrm>
              <a:off x="1369783" y="4198990"/>
              <a:ext cx="1785889" cy="1156898"/>
              <a:chOff x="2668588" y="8150225"/>
              <a:chExt cx="1514475" cy="981075"/>
            </a:xfrm>
            <a:solidFill>
              <a:srgbClr val="0078D7"/>
            </a:solidFill>
          </p:grpSpPr>
          <p:sp>
            <p:nvSpPr>
              <p:cNvPr id="76" name="Freeform 60"/>
              <p:cNvSpPr>
                <a:spLocks noEditPoints="1"/>
              </p:cNvSpPr>
              <p:nvPr/>
            </p:nvSpPr>
            <p:spPr bwMode="auto">
              <a:xfrm>
                <a:off x="2668588" y="8150225"/>
                <a:ext cx="1514475" cy="981075"/>
              </a:xfrm>
              <a:custGeom>
                <a:avLst/>
                <a:gdLst>
                  <a:gd name="T0" fmla="*/ 46 w 954"/>
                  <a:gd name="T1" fmla="*/ 618 h 618"/>
                  <a:gd name="T2" fmla="*/ 34 w 954"/>
                  <a:gd name="T3" fmla="*/ 618 h 618"/>
                  <a:gd name="T4" fmla="*/ 18 w 954"/>
                  <a:gd name="T5" fmla="*/ 610 h 618"/>
                  <a:gd name="T6" fmla="*/ 6 w 954"/>
                  <a:gd name="T7" fmla="*/ 592 h 618"/>
                  <a:gd name="T8" fmla="*/ 0 w 954"/>
                  <a:gd name="T9" fmla="*/ 562 h 618"/>
                  <a:gd name="T10" fmla="*/ 0 w 954"/>
                  <a:gd name="T11" fmla="*/ 550 h 618"/>
                  <a:gd name="T12" fmla="*/ 6 w 954"/>
                  <a:gd name="T13" fmla="*/ 520 h 618"/>
                  <a:gd name="T14" fmla="*/ 18 w 954"/>
                  <a:gd name="T15" fmla="*/ 502 h 618"/>
                  <a:gd name="T16" fmla="*/ 34 w 954"/>
                  <a:gd name="T17" fmla="*/ 494 h 618"/>
                  <a:gd name="T18" fmla="*/ 60 w 954"/>
                  <a:gd name="T19" fmla="*/ 494 h 618"/>
                  <a:gd name="T20" fmla="*/ 60 w 954"/>
                  <a:gd name="T21" fmla="*/ 58 h 618"/>
                  <a:gd name="T22" fmla="*/ 64 w 954"/>
                  <a:gd name="T23" fmla="*/ 36 h 618"/>
                  <a:gd name="T24" fmla="*/ 76 w 954"/>
                  <a:gd name="T25" fmla="*/ 18 h 618"/>
                  <a:gd name="T26" fmla="*/ 94 w 954"/>
                  <a:gd name="T27" fmla="*/ 6 h 618"/>
                  <a:gd name="T28" fmla="*/ 116 w 954"/>
                  <a:gd name="T29" fmla="*/ 0 h 618"/>
                  <a:gd name="T30" fmla="*/ 838 w 954"/>
                  <a:gd name="T31" fmla="*/ 0 h 618"/>
                  <a:gd name="T32" fmla="*/ 860 w 954"/>
                  <a:gd name="T33" fmla="*/ 6 h 618"/>
                  <a:gd name="T34" fmla="*/ 878 w 954"/>
                  <a:gd name="T35" fmla="*/ 18 h 618"/>
                  <a:gd name="T36" fmla="*/ 890 w 954"/>
                  <a:gd name="T37" fmla="*/ 36 h 618"/>
                  <a:gd name="T38" fmla="*/ 896 w 954"/>
                  <a:gd name="T39" fmla="*/ 58 h 618"/>
                  <a:gd name="T40" fmla="*/ 910 w 954"/>
                  <a:gd name="T41" fmla="*/ 494 h 618"/>
                  <a:gd name="T42" fmla="*/ 922 w 954"/>
                  <a:gd name="T43" fmla="*/ 494 h 618"/>
                  <a:gd name="T44" fmla="*/ 936 w 954"/>
                  <a:gd name="T45" fmla="*/ 502 h 618"/>
                  <a:gd name="T46" fmla="*/ 950 w 954"/>
                  <a:gd name="T47" fmla="*/ 520 h 618"/>
                  <a:gd name="T48" fmla="*/ 954 w 954"/>
                  <a:gd name="T49" fmla="*/ 550 h 618"/>
                  <a:gd name="T50" fmla="*/ 954 w 954"/>
                  <a:gd name="T51" fmla="*/ 562 h 618"/>
                  <a:gd name="T52" fmla="*/ 950 w 954"/>
                  <a:gd name="T53" fmla="*/ 592 h 618"/>
                  <a:gd name="T54" fmla="*/ 936 w 954"/>
                  <a:gd name="T55" fmla="*/ 610 h 618"/>
                  <a:gd name="T56" fmla="*/ 922 w 954"/>
                  <a:gd name="T57" fmla="*/ 618 h 618"/>
                  <a:gd name="T58" fmla="*/ 910 w 954"/>
                  <a:gd name="T59" fmla="*/ 618 h 618"/>
                  <a:gd name="T60" fmla="*/ 46 w 954"/>
                  <a:gd name="T61" fmla="*/ 522 h 618"/>
                  <a:gd name="T62" fmla="*/ 36 w 954"/>
                  <a:gd name="T63" fmla="*/ 524 h 618"/>
                  <a:gd name="T64" fmla="*/ 30 w 954"/>
                  <a:gd name="T65" fmla="*/ 534 h 618"/>
                  <a:gd name="T66" fmla="*/ 28 w 954"/>
                  <a:gd name="T67" fmla="*/ 550 h 618"/>
                  <a:gd name="T68" fmla="*/ 28 w 954"/>
                  <a:gd name="T69" fmla="*/ 562 h 618"/>
                  <a:gd name="T70" fmla="*/ 30 w 954"/>
                  <a:gd name="T71" fmla="*/ 578 h 618"/>
                  <a:gd name="T72" fmla="*/ 36 w 954"/>
                  <a:gd name="T73" fmla="*/ 588 h 618"/>
                  <a:gd name="T74" fmla="*/ 46 w 954"/>
                  <a:gd name="T75" fmla="*/ 590 h 618"/>
                  <a:gd name="T76" fmla="*/ 910 w 954"/>
                  <a:gd name="T77" fmla="*/ 590 h 618"/>
                  <a:gd name="T78" fmla="*/ 920 w 954"/>
                  <a:gd name="T79" fmla="*/ 588 h 618"/>
                  <a:gd name="T80" fmla="*/ 924 w 954"/>
                  <a:gd name="T81" fmla="*/ 578 h 618"/>
                  <a:gd name="T82" fmla="*/ 926 w 954"/>
                  <a:gd name="T83" fmla="*/ 562 h 618"/>
                  <a:gd name="T84" fmla="*/ 926 w 954"/>
                  <a:gd name="T85" fmla="*/ 550 h 618"/>
                  <a:gd name="T86" fmla="*/ 924 w 954"/>
                  <a:gd name="T87" fmla="*/ 534 h 618"/>
                  <a:gd name="T88" fmla="*/ 920 w 954"/>
                  <a:gd name="T89" fmla="*/ 524 h 618"/>
                  <a:gd name="T90" fmla="*/ 910 w 954"/>
                  <a:gd name="T91" fmla="*/ 522 h 618"/>
                  <a:gd name="T92" fmla="*/ 882 w 954"/>
                  <a:gd name="T93" fmla="*/ 522 h 618"/>
                  <a:gd name="T94" fmla="*/ 872 w 954"/>
                  <a:gd name="T95" fmla="*/ 518 h 618"/>
                  <a:gd name="T96" fmla="*/ 868 w 954"/>
                  <a:gd name="T97" fmla="*/ 508 h 618"/>
                  <a:gd name="T98" fmla="*/ 868 w 954"/>
                  <a:gd name="T99" fmla="*/ 58 h 618"/>
                  <a:gd name="T100" fmla="*/ 858 w 954"/>
                  <a:gd name="T101" fmla="*/ 38 h 618"/>
                  <a:gd name="T102" fmla="*/ 838 w 954"/>
                  <a:gd name="T103" fmla="*/ 28 h 618"/>
                  <a:gd name="T104" fmla="*/ 116 w 954"/>
                  <a:gd name="T105" fmla="*/ 28 h 618"/>
                  <a:gd name="T106" fmla="*/ 96 w 954"/>
                  <a:gd name="T107" fmla="*/ 38 h 618"/>
                  <a:gd name="T108" fmla="*/ 88 w 954"/>
                  <a:gd name="T109" fmla="*/ 58 h 618"/>
                  <a:gd name="T110" fmla="*/ 88 w 954"/>
                  <a:gd name="T111" fmla="*/ 508 h 618"/>
                  <a:gd name="T112" fmla="*/ 84 w 954"/>
                  <a:gd name="T113" fmla="*/ 518 h 618"/>
                  <a:gd name="T114" fmla="*/ 74 w 954"/>
                  <a:gd name="T115" fmla="*/ 52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4" h="618">
                    <a:moveTo>
                      <a:pt x="910" y="618"/>
                    </a:moveTo>
                    <a:lnTo>
                      <a:pt x="46" y="618"/>
                    </a:lnTo>
                    <a:lnTo>
                      <a:pt x="46" y="618"/>
                    </a:lnTo>
                    <a:lnTo>
                      <a:pt x="34" y="618"/>
                    </a:lnTo>
                    <a:lnTo>
                      <a:pt x="26" y="614"/>
                    </a:lnTo>
                    <a:lnTo>
                      <a:pt x="18" y="610"/>
                    </a:lnTo>
                    <a:lnTo>
                      <a:pt x="12" y="602"/>
                    </a:lnTo>
                    <a:lnTo>
                      <a:pt x="6" y="592"/>
                    </a:lnTo>
                    <a:lnTo>
                      <a:pt x="2" y="580"/>
                    </a:lnTo>
                    <a:lnTo>
                      <a:pt x="0" y="562"/>
                    </a:lnTo>
                    <a:lnTo>
                      <a:pt x="0" y="550"/>
                    </a:lnTo>
                    <a:lnTo>
                      <a:pt x="0" y="550"/>
                    </a:lnTo>
                    <a:lnTo>
                      <a:pt x="2" y="534"/>
                    </a:lnTo>
                    <a:lnTo>
                      <a:pt x="6" y="520"/>
                    </a:lnTo>
                    <a:lnTo>
                      <a:pt x="12" y="510"/>
                    </a:lnTo>
                    <a:lnTo>
                      <a:pt x="18" y="502"/>
                    </a:lnTo>
                    <a:lnTo>
                      <a:pt x="26" y="498"/>
                    </a:lnTo>
                    <a:lnTo>
                      <a:pt x="34" y="494"/>
                    </a:lnTo>
                    <a:lnTo>
                      <a:pt x="46" y="494"/>
                    </a:lnTo>
                    <a:lnTo>
                      <a:pt x="60" y="494"/>
                    </a:lnTo>
                    <a:lnTo>
                      <a:pt x="60" y="58"/>
                    </a:lnTo>
                    <a:lnTo>
                      <a:pt x="60" y="58"/>
                    </a:lnTo>
                    <a:lnTo>
                      <a:pt x="60" y="46"/>
                    </a:lnTo>
                    <a:lnTo>
                      <a:pt x="64" y="36"/>
                    </a:lnTo>
                    <a:lnTo>
                      <a:pt x="70" y="26"/>
                    </a:lnTo>
                    <a:lnTo>
                      <a:pt x="76" y="18"/>
                    </a:lnTo>
                    <a:lnTo>
                      <a:pt x="84" y="10"/>
                    </a:lnTo>
                    <a:lnTo>
                      <a:pt x="94" y="6"/>
                    </a:lnTo>
                    <a:lnTo>
                      <a:pt x="106" y="2"/>
                    </a:lnTo>
                    <a:lnTo>
                      <a:pt x="116" y="0"/>
                    </a:lnTo>
                    <a:lnTo>
                      <a:pt x="838" y="0"/>
                    </a:lnTo>
                    <a:lnTo>
                      <a:pt x="838" y="0"/>
                    </a:lnTo>
                    <a:lnTo>
                      <a:pt x="850" y="2"/>
                    </a:lnTo>
                    <a:lnTo>
                      <a:pt x="860" y="6"/>
                    </a:lnTo>
                    <a:lnTo>
                      <a:pt x="870" y="10"/>
                    </a:lnTo>
                    <a:lnTo>
                      <a:pt x="878" y="18"/>
                    </a:lnTo>
                    <a:lnTo>
                      <a:pt x="886" y="26"/>
                    </a:lnTo>
                    <a:lnTo>
                      <a:pt x="890" y="36"/>
                    </a:lnTo>
                    <a:lnTo>
                      <a:pt x="894" y="46"/>
                    </a:lnTo>
                    <a:lnTo>
                      <a:pt x="896" y="58"/>
                    </a:lnTo>
                    <a:lnTo>
                      <a:pt x="896" y="494"/>
                    </a:lnTo>
                    <a:lnTo>
                      <a:pt x="910" y="494"/>
                    </a:lnTo>
                    <a:lnTo>
                      <a:pt x="910" y="494"/>
                    </a:lnTo>
                    <a:lnTo>
                      <a:pt x="922" y="494"/>
                    </a:lnTo>
                    <a:lnTo>
                      <a:pt x="930" y="498"/>
                    </a:lnTo>
                    <a:lnTo>
                      <a:pt x="936" y="502"/>
                    </a:lnTo>
                    <a:lnTo>
                      <a:pt x="944" y="510"/>
                    </a:lnTo>
                    <a:lnTo>
                      <a:pt x="950" y="520"/>
                    </a:lnTo>
                    <a:lnTo>
                      <a:pt x="954" y="534"/>
                    </a:lnTo>
                    <a:lnTo>
                      <a:pt x="954" y="550"/>
                    </a:lnTo>
                    <a:lnTo>
                      <a:pt x="954" y="562"/>
                    </a:lnTo>
                    <a:lnTo>
                      <a:pt x="954" y="562"/>
                    </a:lnTo>
                    <a:lnTo>
                      <a:pt x="954" y="580"/>
                    </a:lnTo>
                    <a:lnTo>
                      <a:pt x="950" y="592"/>
                    </a:lnTo>
                    <a:lnTo>
                      <a:pt x="944" y="602"/>
                    </a:lnTo>
                    <a:lnTo>
                      <a:pt x="936" y="610"/>
                    </a:lnTo>
                    <a:lnTo>
                      <a:pt x="930" y="614"/>
                    </a:lnTo>
                    <a:lnTo>
                      <a:pt x="922" y="618"/>
                    </a:lnTo>
                    <a:lnTo>
                      <a:pt x="910" y="618"/>
                    </a:lnTo>
                    <a:lnTo>
                      <a:pt x="910" y="618"/>
                    </a:lnTo>
                    <a:close/>
                    <a:moveTo>
                      <a:pt x="46" y="522"/>
                    </a:moveTo>
                    <a:lnTo>
                      <a:pt x="46" y="522"/>
                    </a:lnTo>
                    <a:lnTo>
                      <a:pt x="40" y="522"/>
                    </a:lnTo>
                    <a:lnTo>
                      <a:pt x="36" y="524"/>
                    </a:lnTo>
                    <a:lnTo>
                      <a:pt x="32" y="528"/>
                    </a:lnTo>
                    <a:lnTo>
                      <a:pt x="30" y="534"/>
                    </a:lnTo>
                    <a:lnTo>
                      <a:pt x="30" y="540"/>
                    </a:lnTo>
                    <a:lnTo>
                      <a:pt x="28" y="550"/>
                    </a:lnTo>
                    <a:lnTo>
                      <a:pt x="28" y="562"/>
                    </a:lnTo>
                    <a:lnTo>
                      <a:pt x="28" y="562"/>
                    </a:lnTo>
                    <a:lnTo>
                      <a:pt x="30" y="572"/>
                    </a:lnTo>
                    <a:lnTo>
                      <a:pt x="30" y="578"/>
                    </a:lnTo>
                    <a:lnTo>
                      <a:pt x="32" y="584"/>
                    </a:lnTo>
                    <a:lnTo>
                      <a:pt x="36" y="588"/>
                    </a:lnTo>
                    <a:lnTo>
                      <a:pt x="40" y="590"/>
                    </a:lnTo>
                    <a:lnTo>
                      <a:pt x="46" y="590"/>
                    </a:lnTo>
                    <a:lnTo>
                      <a:pt x="910" y="590"/>
                    </a:lnTo>
                    <a:lnTo>
                      <a:pt x="910" y="590"/>
                    </a:lnTo>
                    <a:lnTo>
                      <a:pt x="914" y="590"/>
                    </a:lnTo>
                    <a:lnTo>
                      <a:pt x="920" y="588"/>
                    </a:lnTo>
                    <a:lnTo>
                      <a:pt x="922" y="584"/>
                    </a:lnTo>
                    <a:lnTo>
                      <a:pt x="924" y="578"/>
                    </a:lnTo>
                    <a:lnTo>
                      <a:pt x="926" y="572"/>
                    </a:lnTo>
                    <a:lnTo>
                      <a:pt x="926" y="562"/>
                    </a:lnTo>
                    <a:lnTo>
                      <a:pt x="926" y="550"/>
                    </a:lnTo>
                    <a:lnTo>
                      <a:pt x="926" y="550"/>
                    </a:lnTo>
                    <a:lnTo>
                      <a:pt x="926" y="540"/>
                    </a:lnTo>
                    <a:lnTo>
                      <a:pt x="924" y="534"/>
                    </a:lnTo>
                    <a:lnTo>
                      <a:pt x="922" y="528"/>
                    </a:lnTo>
                    <a:lnTo>
                      <a:pt x="920" y="524"/>
                    </a:lnTo>
                    <a:lnTo>
                      <a:pt x="914" y="522"/>
                    </a:lnTo>
                    <a:lnTo>
                      <a:pt x="910" y="522"/>
                    </a:lnTo>
                    <a:lnTo>
                      <a:pt x="882" y="522"/>
                    </a:lnTo>
                    <a:lnTo>
                      <a:pt x="882" y="522"/>
                    </a:lnTo>
                    <a:lnTo>
                      <a:pt x="876" y="520"/>
                    </a:lnTo>
                    <a:lnTo>
                      <a:pt x="872" y="518"/>
                    </a:lnTo>
                    <a:lnTo>
                      <a:pt x="868" y="512"/>
                    </a:lnTo>
                    <a:lnTo>
                      <a:pt x="868" y="508"/>
                    </a:lnTo>
                    <a:lnTo>
                      <a:pt x="868" y="58"/>
                    </a:lnTo>
                    <a:lnTo>
                      <a:pt x="868" y="58"/>
                    </a:lnTo>
                    <a:lnTo>
                      <a:pt x="866" y="46"/>
                    </a:lnTo>
                    <a:lnTo>
                      <a:pt x="858" y="38"/>
                    </a:lnTo>
                    <a:lnTo>
                      <a:pt x="850" y="30"/>
                    </a:lnTo>
                    <a:lnTo>
                      <a:pt x="838" y="28"/>
                    </a:lnTo>
                    <a:lnTo>
                      <a:pt x="116" y="28"/>
                    </a:lnTo>
                    <a:lnTo>
                      <a:pt x="116" y="28"/>
                    </a:lnTo>
                    <a:lnTo>
                      <a:pt x="106" y="30"/>
                    </a:lnTo>
                    <a:lnTo>
                      <a:pt x="96" y="38"/>
                    </a:lnTo>
                    <a:lnTo>
                      <a:pt x="90" y="46"/>
                    </a:lnTo>
                    <a:lnTo>
                      <a:pt x="88" y="58"/>
                    </a:lnTo>
                    <a:lnTo>
                      <a:pt x="88" y="508"/>
                    </a:lnTo>
                    <a:lnTo>
                      <a:pt x="88" y="508"/>
                    </a:lnTo>
                    <a:lnTo>
                      <a:pt x="86" y="512"/>
                    </a:lnTo>
                    <a:lnTo>
                      <a:pt x="84" y="518"/>
                    </a:lnTo>
                    <a:lnTo>
                      <a:pt x="80" y="520"/>
                    </a:lnTo>
                    <a:lnTo>
                      <a:pt x="74" y="522"/>
                    </a:lnTo>
                    <a:lnTo>
                      <a:pt x="46" y="522"/>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77" name="Freeform 61"/>
              <p:cNvSpPr>
                <a:spLocks noEditPoints="1"/>
              </p:cNvSpPr>
              <p:nvPr/>
            </p:nvSpPr>
            <p:spPr bwMode="auto">
              <a:xfrm>
                <a:off x="2843213" y="8232775"/>
                <a:ext cx="1165225" cy="742950"/>
              </a:xfrm>
              <a:custGeom>
                <a:avLst/>
                <a:gdLst>
                  <a:gd name="T0" fmla="*/ 720 w 734"/>
                  <a:gd name="T1" fmla="*/ 468 h 468"/>
                  <a:gd name="T2" fmla="*/ 14 w 734"/>
                  <a:gd name="T3" fmla="*/ 468 h 468"/>
                  <a:gd name="T4" fmla="*/ 14 w 734"/>
                  <a:gd name="T5" fmla="*/ 468 h 468"/>
                  <a:gd name="T6" fmla="*/ 8 w 734"/>
                  <a:gd name="T7" fmla="*/ 468 h 468"/>
                  <a:gd name="T8" fmla="*/ 4 w 734"/>
                  <a:gd name="T9" fmla="*/ 464 h 468"/>
                  <a:gd name="T10" fmla="*/ 2 w 734"/>
                  <a:gd name="T11" fmla="*/ 460 h 468"/>
                  <a:gd name="T12" fmla="*/ 0 w 734"/>
                  <a:gd name="T13" fmla="*/ 454 h 468"/>
                  <a:gd name="T14" fmla="*/ 0 w 734"/>
                  <a:gd name="T15" fmla="*/ 14 h 468"/>
                  <a:gd name="T16" fmla="*/ 0 w 734"/>
                  <a:gd name="T17" fmla="*/ 14 h 468"/>
                  <a:gd name="T18" fmla="*/ 2 w 734"/>
                  <a:gd name="T19" fmla="*/ 8 h 468"/>
                  <a:gd name="T20" fmla="*/ 4 w 734"/>
                  <a:gd name="T21" fmla="*/ 4 h 468"/>
                  <a:gd name="T22" fmla="*/ 8 w 734"/>
                  <a:gd name="T23" fmla="*/ 0 h 468"/>
                  <a:gd name="T24" fmla="*/ 14 w 734"/>
                  <a:gd name="T25" fmla="*/ 0 h 468"/>
                  <a:gd name="T26" fmla="*/ 720 w 734"/>
                  <a:gd name="T27" fmla="*/ 0 h 468"/>
                  <a:gd name="T28" fmla="*/ 720 w 734"/>
                  <a:gd name="T29" fmla="*/ 0 h 468"/>
                  <a:gd name="T30" fmla="*/ 726 w 734"/>
                  <a:gd name="T31" fmla="*/ 0 h 468"/>
                  <a:gd name="T32" fmla="*/ 730 w 734"/>
                  <a:gd name="T33" fmla="*/ 4 h 468"/>
                  <a:gd name="T34" fmla="*/ 734 w 734"/>
                  <a:gd name="T35" fmla="*/ 8 h 468"/>
                  <a:gd name="T36" fmla="*/ 734 w 734"/>
                  <a:gd name="T37" fmla="*/ 14 h 468"/>
                  <a:gd name="T38" fmla="*/ 734 w 734"/>
                  <a:gd name="T39" fmla="*/ 454 h 468"/>
                  <a:gd name="T40" fmla="*/ 734 w 734"/>
                  <a:gd name="T41" fmla="*/ 454 h 468"/>
                  <a:gd name="T42" fmla="*/ 734 w 734"/>
                  <a:gd name="T43" fmla="*/ 460 h 468"/>
                  <a:gd name="T44" fmla="*/ 730 w 734"/>
                  <a:gd name="T45" fmla="*/ 464 h 468"/>
                  <a:gd name="T46" fmla="*/ 726 w 734"/>
                  <a:gd name="T47" fmla="*/ 468 h 468"/>
                  <a:gd name="T48" fmla="*/ 720 w 734"/>
                  <a:gd name="T49" fmla="*/ 468 h 468"/>
                  <a:gd name="T50" fmla="*/ 720 w 734"/>
                  <a:gd name="T51" fmla="*/ 468 h 468"/>
                  <a:gd name="T52" fmla="*/ 28 w 734"/>
                  <a:gd name="T53" fmla="*/ 440 h 468"/>
                  <a:gd name="T54" fmla="*/ 706 w 734"/>
                  <a:gd name="T55" fmla="*/ 440 h 468"/>
                  <a:gd name="T56" fmla="*/ 706 w 734"/>
                  <a:gd name="T57" fmla="*/ 28 h 468"/>
                  <a:gd name="T58" fmla="*/ 28 w 734"/>
                  <a:gd name="T59" fmla="*/ 28 h 468"/>
                  <a:gd name="T60" fmla="*/ 28 w 734"/>
                  <a:gd name="T61" fmla="*/ 44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34" h="468">
                    <a:moveTo>
                      <a:pt x="720" y="468"/>
                    </a:moveTo>
                    <a:lnTo>
                      <a:pt x="14" y="468"/>
                    </a:lnTo>
                    <a:lnTo>
                      <a:pt x="14" y="468"/>
                    </a:lnTo>
                    <a:lnTo>
                      <a:pt x="8" y="468"/>
                    </a:lnTo>
                    <a:lnTo>
                      <a:pt x="4" y="464"/>
                    </a:lnTo>
                    <a:lnTo>
                      <a:pt x="2" y="460"/>
                    </a:lnTo>
                    <a:lnTo>
                      <a:pt x="0" y="454"/>
                    </a:lnTo>
                    <a:lnTo>
                      <a:pt x="0" y="14"/>
                    </a:lnTo>
                    <a:lnTo>
                      <a:pt x="0" y="14"/>
                    </a:lnTo>
                    <a:lnTo>
                      <a:pt x="2" y="8"/>
                    </a:lnTo>
                    <a:lnTo>
                      <a:pt x="4" y="4"/>
                    </a:lnTo>
                    <a:lnTo>
                      <a:pt x="8" y="0"/>
                    </a:lnTo>
                    <a:lnTo>
                      <a:pt x="14" y="0"/>
                    </a:lnTo>
                    <a:lnTo>
                      <a:pt x="720" y="0"/>
                    </a:lnTo>
                    <a:lnTo>
                      <a:pt x="720" y="0"/>
                    </a:lnTo>
                    <a:lnTo>
                      <a:pt x="726" y="0"/>
                    </a:lnTo>
                    <a:lnTo>
                      <a:pt x="730" y="4"/>
                    </a:lnTo>
                    <a:lnTo>
                      <a:pt x="734" y="8"/>
                    </a:lnTo>
                    <a:lnTo>
                      <a:pt x="734" y="14"/>
                    </a:lnTo>
                    <a:lnTo>
                      <a:pt x="734" y="454"/>
                    </a:lnTo>
                    <a:lnTo>
                      <a:pt x="734" y="454"/>
                    </a:lnTo>
                    <a:lnTo>
                      <a:pt x="734" y="460"/>
                    </a:lnTo>
                    <a:lnTo>
                      <a:pt x="730" y="464"/>
                    </a:lnTo>
                    <a:lnTo>
                      <a:pt x="726" y="468"/>
                    </a:lnTo>
                    <a:lnTo>
                      <a:pt x="720" y="468"/>
                    </a:lnTo>
                    <a:lnTo>
                      <a:pt x="720" y="468"/>
                    </a:lnTo>
                    <a:close/>
                    <a:moveTo>
                      <a:pt x="28" y="440"/>
                    </a:moveTo>
                    <a:lnTo>
                      <a:pt x="706" y="440"/>
                    </a:lnTo>
                    <a:lnTo>
                      <a:pt x="706" y="28"/>
                    </a:lnTo>
                    <a:lnTo>
                      <a:pt x="28" y="28"/>
                    </a:lnTo>
                    <a:lnTo>
                      <a:pt x="28" y="440"/>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78" name="Freeform 62"/>
              <p:cNvSpPr>
                <a:spLocks/>
              </p:cNvSpPr>
              <p:nvPr/>
            </p:nvSpPr>
            <p:spPr bwMode="auto">
              <a:xfrm>
                <a:off x="2982913" y="8388350"/>
                <a:ext cx="885825" cy="431800"/>
              </a:xfrm>
              <a:custGeom>
                <a:avLst/>
                <a:gdLst>
                  <a:gd name="T0" fmla="*/ 496 w 558"/>
                  <a:gd name="T1" fmla="*/ 272 h 272"/>
                  <a:gd name="T2" fmla="*/ 492 w 558"/>
                  <a:gd name="T3" fmla="*/ 270 h 272"/>
                  <a:gd name="T4" fmla="*/ 484 w 558"/>
                  <a:gd name="T5" fmla="*/ 264 h 272"/>
                  <a:gd name="T6" fmla="*/ 482 w 558"/>
                  <a:gd name="T7" fmla="*/ 28 h 272"/>
                  <a:gd name="T8" fmla="*/ 438 w 558"/>
                  <a:gd name="T9" fmla="*/ 258 h 272"/>
                  <a:gd name="T10" fmla="*/ 436 w 558"/>
                  <a:gd name="T11" fmla="*/ 264 h 272"/>
                  <a:gd name="T12" fmla="*/ 430 w 558"/>
                  <a:gd name="T13" fmla="*/ 270 h 272"/>
                  <a:gd name="T14" fmla="*/ 314 w 558"/>
                  <a:gd name="T15" fmla="*/ 272 h 272"/>
                  <a:gd name="T16" fmla="*/ 310 w 558"/>
                  <a:gd name="T17" fmla="*/ 270 h 272"/>
                  <a:gd name="T18" fmla="*/ 302 w 558"/>
                  <a:gd name="T19" fmla="*/ 264 h 272"/>
                  <a:gd name="T20" fmla="*/ 300 w 558"/>
                  <a:gd name="T21" fmla="*/ 62 h 272"/>
                  <a:gd name="T22" fmla="*/ 256 w 558"/>
                  <a:gd name="T23" fmla="*/ 258 h 272"/>
                  <a:gd name="T24" fmla="*/ 254 w 558"/>
                  <a:gd name="T25" fmla="*/ 264 h 272"/>
                  <a:gd name="T26" fmla="*/ 248 w 558"/>
                  <a:gd name="T27" fmla="*/ 270 h 272"/>
                  <a:gd name="T28" fmla="*/ 132 w 558"/>
                  <a:gd name="T29" fmla="*/ 272 h 272"/>
                  <a:gd name="T30" fmla="*/ 128 w 558"/>
                  <a:gd name="T31" fmla="*/ 270 h 272"/>
                  <a:gd name="T32" fmla="*/ 120 w 558"/>
                  <a:gd name="T33" fmla="*/ 264 h 272"/>
                  <a:gd name="T34" fmla="*/ 118 w 558"/>
                  <a:gd name="T35" fmla="*/ 126 h 272"/>
                  <a:gd name="T36" fmla="*/ 74 w 558"/>
                  <a:gd name="T37" fmla="*/ 258 h 272"/>
                  <a:gd name="T38" fmla="*/ 72 w 558"/>
                  <a:gd name="T39" fmla="*/ 264 h 272"/>
                  <a:gd name="T40" fmla="*/ 64 w 558"/>
                  <a:gd name="T41" fmla="*/ 270 h 272"/>
                  <a:gd name="T42" fmla="*/ 14 w 558"/>
                  <a:gd name="T43" fmla="*/ 272 h 272"/>
                  <a:gd name="T44" fmla="*/ 10 w 558"/>
                  <a:gd name="T45" fmla="*/ 270 h 272"/>
                  <a:gd name="T46" fmla="*/ 2 w 558"/>
                  <a:gd name="T47" fmla="*/ 264 h 272"/>
                  <a:gd name="T48" fmla="*/ 0 w 558"/>
                  <a:gd name="T49" fmla="*/ 258 h 272"/>
                  <a:gd name="T50" fmla="*/ 4 w 558"/>
                  <a:gd name="T51" fmla="*/ 248 h 272"/>
                  <a:gd name="T52" fmla="*/ 14 w 558"/>
                  <a:gd name="T53" fmla="*/ 244 h 272"/>
                  <a:gd name="T54" fmla="*/ 46 w 558"/>
                  <a:gd name="T55" fmla="*/ 122 h 272"/>
                  <a:gd name="T56" fmla="*/ 48 w 558"/>
                  <a:gd name="T57" fmla="*/ 112 h 272"/>
                  <a:gd name="T58" fmla="*/ 60 w 558"/>
                  <a:gd name="T59" fmla="*/ 100 h 272"/>
                  <a:gd name="T60" fmla="*/ 122 w 558"/>
                  <a:gd name="T61" fmla="*/ 98 h 272"/>
                  <a:gd name="T62" fmla="*/ 132 w 558"/>
                  <a:gd name="T63" fmla="*/ 100 h 272"/>
                  <a:gd name="T64" fmla="*/ 144 w 558"/>
                  <a:gd name="T65" fmla="*/ 112 h 272"/>
                  <a:gd name="T66" fmla="*/ 146 w 558"/>
                  <a:gd name="T67" fmla="*/ 244 h 272"/>
                  <a:gd name="T68" fmla="*/ 228 w 558"/>
                  <a:gd name="T69" fmla="*/ 60 h 272"/>
                  <a:gd name="T70" fmla="*/ 230 w 558"/>
                  <a:gd name="T71" fmla="*/ 50 h 272"/>
                  <a:gd name="T72" fmla="*/ 242 w 558"/>
                  <a:gd name="T73" fmla="*/ 36 h 272"/>
                  <a:gd name="T74" fmla="*/ 304 w 558"/>
                  <a:gd name="T75" fmla="*/ 34 h 272"/>
                  <a:gd name="T76" fmla="*/ 314 w 558"/>
                  <a:gd name="T77" fmla="*/ 36 h 272"/>
                  <a:gd name="T78" fmla="*/ 326 w 558"/>
                  <a:gd name="T79" fmla="*/ 50 h 272"/>
                  <a:gd name="T80" fmla="*/ 328 w 558"/>
                  <a:gd name="T81" fmla="*/ 244 h 272"/>
                  <a:gd name="T82" fmla="*/ 410 w 558"/>
                  <a:gd name="T83" fmla="*/ 24 h 272"/>
                  <a:gd name="T84" fmla="*/ 412 w 558"/>
                  <a:gd name="T85" fmla="*/ 14 h 272"/>
                  <a:gd name="T86" fmla="*/ 424 w 558"/>
                  <a:gd name="T87" fmla="*/ 2 h 272"/>
                  <a:gd name="T88" fmla="*/ 486 w 558"/>
                  <a:gd name="T89" fmla="*/ 0 h 272"/>
                  <a:gd name="T90" fmla="*/ 496 w 558"/>
                  <a:gd name="T91" fmla="*/ 2 h 272"/>
                  <a:gd name="T92" fmla="*/ 508 w 558"/>
                  <a:gd name="T93" fmla="*/ 14 h 272"/>
                  <a:gd name="T94" fmla="*/ 510 w 558"/>
                  <a:gd name="T95" fmla="*/ 244 h 272"/>
                  <a:gd name="T96" fmla="*/ 544 w 558"/>
                  <a:gd name="T97" fmla="*/ 244 h 272"/>
                  <a:gd name="T98" fmla="*/ 554 w 558"/>
                  <a:gd name="T99" fmla="*/ 248 h 272"/>
                  <a:gd name="T100" fmla="*/ 558 w 558"/>
                  <a:gd name="T101" fmla="*/ 258 h 272"/>
                  <a:gd name="T102" fmla="*/ 558 w 558"/>
                  <a:gd name="T103" fmla="*/ 264 h 272"/>
                  <a:gd name="T104" fmla="*/ 550 w 558"/>
                  <a:gd name="T105" fmla="*/ 270 h 272"/>
                  <a:gd name="T106" fmla="*/ 544 w 558"/>
                  <a:gd name="T107"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8" h="272">
                    <a:moveTo>
                      <a:pt x="544" y="272"/>
                    </a:moveTo>
                    <a:lnTo>
                      <a:pt x="496" y="272"/>
                    </a:lnTo>
                    <a:lnTo>
                      <a:pt x="496" y="272"/>
                    </a:lnTo>
                    <a:lnTo>
                      <a:pt x="492" y="270"/>
                    </a:lnTo>
                    <a:lnTo>
                      <a:pt x="486" y="268"/>
                    </a:lnTo>
                    <a:lnTo>
                      <a:pt x="484" y="264"/>
                    </a:lnTo>
                    <a:lnTo>
                      <a:pt x="482" y="258"/>
                    </a:lnTo>
                    <a:lnTo>
                      <a:pt x="482" y="28"/>
                    </a:lnTo>
                    <a:lnTo>
                      <a:pt x="438" y="28"/>
                    </a:lnTo>
                    <a:lnTo>
                      <a:pt x="438" y="258"/>
                    </a:lnTo>
                    <a:lnTo>
                      <a:pt x="438" y="258"/>
                    </a:lnTo>
                    <a:lnTo>
                      <a:pt x="436" y="264"/>
                    </a:lnTo>
                    <a:lnTo>
                      <a:pt x="434" y="268"/>
                    </a:lnTo>
                    <a:lnTo>
                      <a:pt x="430" y="270"/>
                    </a:lnTo>
                    <a:lnTo>
                      <a:pt x="424" y="272"/>
                    </a:lnTo>
                    <a:lnTo>
                      <a:pt x="314" y="272"/>
                    </a:lnTo>
                    <a:lnTo>
                      <a:pt x="314" y="272"/>
                    </a:lnTo>
                    <a:lnTo>
                      <a:pt x="310" y="270"/>
                    </a:lnTo>
                    <a:lnTo>
                      <a:pt x="304" y="268"/>
                    </a:lnTo>
                    <a:lnTo>
                      <a:pt x="302" y="264"/>
                    </a:lnTo>
                    <a:lnTo>
                      <a:pt x="300" y="258"/>
                    </a:lnTo>
                    <a:lnTo>
                      <a:pt x="300" y="62"/>
                    </a:lnTo>
                    <a:lnTo>
                      <a:pt x="256" y="62"/>
                    </a:lnTo>
                    <a:lnTo>
                      <a:pt x="256" y="258"/>
                    </a:lnTo>
                    <a:lnTo>
                      <a:pt x="256" y="258"/>
                    </a:lnTo>
                    <a:lnTo>
                      <a:pt x="254" y="264"/>
                    </a:lnTo>
                    <a:lnTo>
                      <a:pt x="252" y="268"/>
                    </a:lnTo>
                    <a:lnTo>
                      <a:pt x="248" y="270"/>
                    </a:lnTo>
                    <a:lnTo>
                      <a:pt x="242" y="272"/>
                    </a:lnTo>
                    <a:lnTo>
                      <a:pt x="132" y="272"/>
                    </a:lnTo>
                    <a:lnTo>
                      <a:pt x="132" y="272"/>
                    </a:lnTo>
                    <a:lnTo>
                      <a:pt x="128" y="270"/>
                    </a:lnTo>
                    <a:lnTo>
                      <a:pt x="122" y="268"/>
                    </a:lnTo>
                    <a:lnTo>
                      <a:pt x="120" y="264"/>
                    </a:lnTo>
                    <a:lnTo>
                      <a:pt x="118" y="258"/>
                    </a:lnTo>
                    <a:lnTo>
                      <a:pt x="118" y="126"/>
                    </a:lnTo>
                    <a:lnTo>
                      <a:pt x="74" y="126"/>
                    </a:lnTo>
                    <a:lnTo>
                      <a:pt x="74" y="258"/>
                    </a:lnTo>
                    <a:lnTo>
                      <a:pt x="74" y="258"/>
                    </a:lnTo>
                    <a:lnTo>
                      <a:pt x="72" y="264"/>
                    </a:lnTo>
                    <a:lnTo>
                      <a:pt x="70" y="268"/>
                    </a:lnTo>
                    <a:lnTo>
                      <a:pt x="64" y="270"/>
                    </a:lnTo>
                    <a:lnTo>
                      <a:pt x="60" y="272"/>
                    </a:lnTo>
                    <a:lnTo>
                      <a:pt x="14" y="272"/>
                    </a:lnTo>
                    <a:lnTo>
                      <a:pt x="14" y="272"/>
                    </a:lnTo>
                    <a:lnTo>
                      <a:pt x="10" y="270"/>
                    </a:lnTo>
                    <a:lnTo>
                      <a:pt x="4" y="268"/>
                    </a:lnTo>
                    <a:lnTo>
                      <a:pt x="2" y="264"/>
                    </a:lnTo>
                    <a:lnTo>
                      <a:pt x="0" y="258"/>
                    </a:lnTo>
                    <a:lnTo>
                      <a:pt x="0" y="258"/>
                    </a:lnTo>
                    <a:lnTo>
                      <a:pt x="2" y="252"/>
                    </a:lnTo>
                    <a:lnTo>
                      <a:pt x="4" y="248"/>
                    </a:lnTo>
                    <a:lnTo>
                      <a:pt x="10" y="246"/>
                    </a:lnTo>
                    <a:lnTo>
                      <a:pt x="14" y="244"/>
                    </a:lnTo>
                    <a:lnTo>
                      <a:pt x="46" y="244"/>
                    </a:lnTo>
                    <a:lnTo>
                      <a:pt x="46" y="122"/>
                    </a:lnTo>
                    <a:lnTo>
                      <a:pt x="46" y="122"/>
                    </a:lnTo>
                    <a:lnTo>
                      <a:pt x="48" y="112"/>
                    </a:lnTo>
                    <a:lnTo>
                      <a:pt x="52" y="106"/>
                    </a:lnTo>
                    <a:lnTo>
                      <a:pt x="60" y="100"/>
                    </a:lnTo>
                    <a:lnTo>
                      <a:pt x="70" y="98"/>
                    </a:lnTo>
                    <a:lnTo>
                      <a:pt x="122" y="98"/>
                    </a:lnTo>
                    <a:lnTo>
                      <a:pt x="122" y="98"/>
                    </a:lnTo>
                    <a:lnTo>
                      <a:pt x="132" y="100"/>
                    </a:lnTo>
                    <a:lnTo>
                      <a:pt x="140" y="106"/>
                    </a:lnTo>
                    <a:lnTo>
                      <a:pt x="144" y="112"/>
                    </a:lnTo>
                    <a:lnTo>
                      <a:pt x="146" y="122"/>
                    </a:lnTo>
                    <a:lnTo>
                      <a:pt x="146" y="244"/>
                    </a:lnTo>
                    <a:lnTo>
                      <a:pt x="228" y="244"/>
                    </a:lnTo>
                    <a:lnTo>
                      <a:pt x="228" y="60"/>
                    </a:lnTo>
                    <a:lnTo>
                      <a:pt x="228" y="60"/>
                    </a:lnTo>
                    <a:lnTo>
                      <a:pt x="230" y="50"/>
                    </a:lnTo>
                    <a:lnTo>
                      <a:pt x="234" y="42"/>
                    </a:lnTo>
                    <a:lnTo>
                      <a:pt x="242" y="36"/>
                    </a:lnTo>
                    <a:lnTo>
                      <a:pt x="252" y="34"/>
                    </a:lnTo>
                    <a:lnTo>
                      <a:pt x="304" y="34"/>
                    </a:lnTo>
                    <a:lnTo>
                      <a:pt x="304" y="34"/>
                    </a:lnTo>
                    <a:lnTo>
                      <a:pt x="314" y="36"/>
                    </a:lnTo>
                    <a:lnTo>
                      <a:pt x="322" y="42"/>
                    </a:lnTo>
                    <a:lnTo>
                      <a:pt x="326" y="50"/>
                    </a:lnTo>
                    <a:lnTo>
                      <a:pt x="328" y="60"/>
                    </a:lnTo>
                    <a:lnTo>
                      <a:pt x="328" y="244"/>
                    </a:lnTo>
                    <a:lnTo>
                      <a:pt x="410" y="244"/>
                    </a:lnTo>
                    <a:lnTo>
                      <a:pt x="410" y="24"/>
                    </a:lnTo>
                    <a:lnTo>
                      <a:pt x="410" y="24"/>
                    </a:lnTo>
                    <a:lnTo>
                      <a:pt x="412" y="14"/>
                    </a:lnTo>
                    <a:lnTo>
                      <a:pt x="416" y="8"/>
                    </a:lnTo>
                    <a:lnTo>
                      <a:pt x="424" y="2"/>
                    </a:lnTo>
                    <a:lnTo>
                      <a:pt x="434" y="0"/>
                    </a:lnTo>
                    <a:lnTo>
                      <a:pt x="486" y="0"/>
                    </a:lnTo>
                    <a:lnTo>
                      <a:pt x="486" y="0"/>
                    </a:lnTo>
                    <a:lnTo>
                      <a:pt x="496" y="2"/>
                    </a:lnTo>
                    <a:lnTo>
                      <a:pt x="504" y="8"/>
                    </a:lnTo>
                    <a:lnTo>
                      <a:pt x="508" y="14"/>
                    </a:lnTo>
                    <a:lnTo>
                      <a:pt x="510" y="24"/>
                    </a:lnTo>
                    <a:lnTo>
                      <a:pt x="510" y="244"/>
                    </a:lnTo>
                    <a:lnTo>
                      <a:pt x="544" y="244"/>
                    </a:lnTo>
                    <a:lnTo>
                      <a:pt x="544" y="244"/>
                    </a:lnTo>
                    <a:lnTo>
                      <a:pt x="550" y="246"/>
                    </a:lnTo>
                    <a:lnTo>
                      <a:pt x="554" y="248"/>
                    </a:lnTo>
                    <a:lnTo>
                      <a:pt x="558" y="252"/>
                    </a:lnTo>
                    <a:lnTo>
                      <a:pt x="558" y="258"/>
                    </a:lnTo>
                    <a:lnTo>
                      <a:pt x="558" y="258"/>
                    </a:lnTo>
                    <a:lnTo>
                      <a:pt x="558" y="264"/>
                    </a:lnTo>
                    <a:lnTo>
                      <a:pt x="554" y="268"/>
                    </a:lnTo>
                    <a:lnTo>
                      <a:pt x="550" y="270"/>
                    </a:lnTo>
                    <a:lnTo>
                      <a:pt x="544" y="272"/>
                    </a:lnTo>
                    <a:lnTo>
                      <a:pt x="544" y="272"/>
                    </a:lnTo>
                    <a:close/>
                  </a:path>
                </a:pathLst>
              </a:custGeom>
              <a:grpFill/>
              <a:ln w="31750">
                <a:solidFill>
                  <a:schemeClr val="tx1"/>
                </a:solidFill>
              </a:ln>
            </p:spPr>
            <p:txBody>
              <a:bodyPr vert="horz" wrap="square" lIns="91440" tIns="45720" rIns="91440" bIns="45720" numCol="1" anchor="t" anchorCtr="0" compatLnSpc="1">
                <a:prstTxWarp prst="textNoShape">
                  <a:avLst/>
                </a:prstTxWarp>
              </a:bodyPr>
              <a:lstStyle/>
              <a:p>
                <a:endParaRPr lang="en-US"/>
              </a:p>
            </p:txBody>
          </p:sp>
        </p:grpSp>
      </p:grpSp>
      <p:grpSp>
        <p:nvGrpSpPr>
          <p:cNvPr id="117" name="Group 116"/>
          <p:cNvGrpSpPr/>
          <p:nvPr/>
        </p:nvGrpSpPr>
        <p:grpSpPr>
          <a:xfrm>
            <a:off x="9076358" y="3362902"/>
            <a:ext cx="2173512" cy="2201708"/>
            <a:chOff x="8983693" y="3362902"/>
            <a:chExt cx="2173512" cy="2201708"/>
          </a:xfrm>
        </p:grpSpPr>
        <p:sp>
          <p:nvSpPr>
            <p:cNvPr id="91" name="Freeform 90"/>
            <p:cNvSpPr>
              <a:spLocks/>
            </p:cNvSpPr>
            <p:nvPr/>
          </p:nvSpPr>
          <p:spPr bwMode="auto">
            <a:xfrm>
              <a:off x="8983693" y="3892492"/>
              <a:ext cx="1727568" cy="1672118"/>
            </a:xfrm>
            <a:custGeom>
              <a:avLst/>
              <a:gdLst>
                <a:gd name="connsiteX0" fmla="*/ 1374746 w 4797425"/>
                <a:gd name="connsiteY0" fmla="*/ 3544713 h 4643438"/>
                <a:gd name="connsiteX1" fmla="*/ 1374746 w 4797425"/>
                <a:gd name="connsiteY1" fmla="*/ 4431859 h 4643438"/>
                <a:gd name="connsiteX2" fmla="*/ 1374746 w 4797425"/>
                <a:gd name="connsiteY2" fmla="*/ 4473575 h 4643438"/>
                <a:gd name="connsiteX3" fmla="*/ 1612356 w 4797425"/>
                <a:gd name="connsiteY3" fmla="*/ 4473575 h 4643438"/>
                <a:gd name="connsiteX4" fmla="*/ 1932802 w 4797425"/>
                <a:gd name="connsiteY4" fmla="*/ 4473575 h 4643438"/>
                <a:gd name="connsiteX5" fmla="*/ 1935194 w 4797425"/>
                <a:gd name="connsiteY5" fmla="*/ 4473575 h 4643438"/>
                <a:gd name="connsiteX6" fmla="*/ 1935194 w 4797425"/>
                <a:gd name="connsiteY6" fmla="*/ 4380126 h 4643438"/>
                <a:gd name="connsiteX7" fmla="*/ 1935194 w 4797425"/>
                <a:gd name="connsiteY7" fmla="*/ 3544713 h 4643438"/>
                <a:gd name="connsiteX8" fmla="*/ 1374746 w 4797425"/>
                <a:gd name="connsiteY8" fmla="*/ 3544713 h 4643438"/>
                <a:gd name="connsiteX9" fmla="*/ 2762250 w 4797425"/>
                <a:gd name="connsiteY9" fmla="*/ 2568575 h 4643438"/>
                <a:gd name="connsiteX10" fmla="*/ 2762250 w 4797425"/>
                <a:gd name="connsiteY10" fmla="*/ 3013075 h 4643438"/>
                <a:gd name="connsiteX11" fmla="*/ 3321050 w 4797425"/>
                <a:gd name="connsiteY11" fmla="*/ 3013075 h 4643438"/>
                <a:gd name="connsiteX12" fmla="*/ 3321050 w 4797425"/>
                <a:gd name="connsiteY12" fmla="*/ 2568575 h 4643438"/>
                <a:gd name="connsiteX13" fmla="*/ 1374775 w 4797425"/>
                <a:gd name="connsiteY13" fmla="*/ 2568575 h 4643438"/>
                <a:gd name="connsiteX14" fmla="*/ 1374775 w 4797425"/>
                <a:gd name="connsiteY14" fmla="*/ 3013075 h 4643438"/>
                <a:gd name="connsiteX15" fmla="*/ 1935163 w 4797425"/>
                <a:gd name="connsiteY15" fmla="*/ 3013075 h 4643438"/>
                <a:gd name="connsiteX16" fmla="*/ 1935163 w 4797425"/>
                <a:gd name="connsiteY16" fmla="*/ 2568575 h 4643438"/>
                <a:gd name="connsiteX17" fmla="*/ 2677155 w 4797425"/>
                <a:gd name="connsiteY17" fmla="*/ 2398713 h 4643438"/>
                <a:gd name="connsiteX18" fmla="*/ 3406147 w 4797425"/>
                <a:gd name="connsiteY18" fmla="*/ 2398713 h 4643438"/>
                <a:gd name="connsiteX19" fmla="*/ 3490913 w 4797425"/>
                <a:gd name="connsiteY19" fmla="*/ 2483494 h 4643438"/>
                <a:gd name="connsiteX20" fmla="*/ 3490913 w 4797425"/>
                <a:gd name="connsiteY20" fmla="*/ 3098157 h 4643438"/>
                <a:gd name="connsiteX21" fmla="*/ 3406147 w 4797425"/>
                <a:gd name="connsiteY21" fmla="*/ 3182938 h 4643438"/>
                <a:gd name="connsiteX22" fmla="*/ 2677155 w 4797425"/>
                <a:gd name="connsiteY22" fmla="*/ 3182938 h 4643438"/>
                <a:gd name="connsiteX23" fmla="*/ 2592388 w 4797425"/>
                <a:gd name="connsiteY23" fmla="*/ 3098157 h 4643438"/>
                <a:gd name="connsiteX24" fmla="*/ 2592388 w 4797425"/>
                <a:gd name="connsiteY24" fmla="*/ 2483494 h 4643438"/>
                <a:gd name="connsiteX25" fmla="*/ 2677155 w 4797425"/>
                <a:gd name="connsiteY25" fmla="*/ 2398713 h 4643438"/>
                <a:gd name="connsiteX26" fmla="*/ 1289830 w 4797425"/>
                <a:gd name="connsiteY26" fmla="*/ 2398713 h 4643438"/>
                <a:gd name="connsiteX27" fmla="*/ 2020110 w 4797425"/>
                <a:gd name="connsiteY27" fmla="*/ 2398713 h 4643438"/>
                <a:gd name="connsiteX28" fmla="*/ 2105026 w 4797425"/>
                <a:gd name="connsiteY28" fmla="*/ 2483494 h 4643438"/>
                <a:gd name="connsiteX29" fmla="*/ 2105026 w 4797425"/>
                <a:gd name="connsiteY29" fmla="*/ 3098157 h 4643438"/>
                <a:gd name="connsiteX30" fmla="*/ 2020110 w 4797425"/>
                <a:gd name="connsiteY30" fmla="*/ 3182938 h 4643438"/>
                <a:gd name="connsiteX31" fmla="*/ 1289830 w 4797425"/>
                <a:gd name="connsiteY31" fmla="*/ 3182938 h 4643438"/>
                <a:gd name="connsiteX32" fmla="*/ 1204913 w 4797425"/>
                <a:gd name="connsiteY32" fmla="*/ 3098157 h 4643438"/>
                <a:gd name="connsiteX33" fmla="*/ 1204913 w 4797425"/>
                <a:gd name="connsiteY33" fmla="*/ 2483494 h 4643438"/>
                <a:gd name="connsiteX34" fmla="*/ 1289830 w 4797425"/>
                <a:gd name="connsiteY34" fmla="*/ 2398713 h 4643438"/>
                <a:gd name="connsiteX35" fmla="*/ 2762250 w 4797425"/>
                <a:gd name="connsiteY35" fmla="*/ 1587500 h 4643438"/>
                <a:gd name="connsiteX36" fmla="*/ 2762250 w 4797425"/>
                <a:gd name="connsiteY36" fmla="*/ 2036763 h 4643438"/>
                <a:gd name="connsiteX37" fmla="*/ 3321050 w 4797425"/>
                <a:gd name="connsiteY37" fmla="*/ 2036763 h 4643438"/>
                <a:gd name="connsiteX38" fmla="*/ 3321050 w 4797425"/>
                <a:gd name="connsiteY38" fmla="*/ 1587500 h 4643438"/>
                <a:gd name="connsiteX39" fmla="*/ 1374775 w 4797425"/>
                <a:gd name="connsiteY39" fmla="*/ 1587500 h 4643438"/>
                <a:gd name="connsiteX40" fmla="*/ 1374775 w 4797425"/>
                <a:gd name="connsiteY40" fmla="*/ 2036763 h 4643438"/>
                <a:gd name="connsiteX41" fmla="*/ 1935163 w 4797425"/>
                <a:gd name="connsiteY41" fmla="*/ 2036763 h 4643438"/>
                <a:gd name="connsiteX42" fmla="*/ 1935163 w 4797425"/>
                <a:gd name="connsiteY42" fmla="*/ 1587500 h 4643438"/>
                <a:gd name="connsiteX43" fmla="*/ 2677155 w 4797425"/>
                <a:gd name="connsiteY43" fmla="*/ 1417638 h 4643438"/>
                <a:gd name="connsiteX44" fmla="*/ 3406147 w 4797425"/>
                <a:gd name="connsiteY44" fmla="*/ 1417638 h 4643438"/>
                <a:gd name="connsiteX45" fmla="*/ 3490913 w 4797425"/>
                <a:gd name="connsiteY45" fmla="*/ 1502476 h 4643438"/>
                <a:gd name="connsiteX46" fmla="*/ 3490913 w 4797425"/>
                <a:gd name="connsiteY46" fmla="*/ 2121789 h 4643438"/>
                <a:gd name="connsiteX47" fmla="*/ 3406147 w 4797425"/>
                <a:gd name="connsiteY47" fmla="*/ 2206626 h 4643438"/>
                <a:gd name="connsiteX48" fmla="*/ 2677155 w 4797425"/>
                <a:gd name="connsiteY48" fmla="*/ 2206626 h 4643438"/>
                <a:gd name="connsiteX49" fmla="*/ 2592388 w 4797425"/>
                <a:gd name="connsiteY49" fmla="*/ 2121789 h 4643438"/>
                <a:gd name="connsiteX50" fmla="*/ 2592388 w 4797425"/>
                <a:gd name="connsiteY50" fmla="*/ 1502476 h 4643438"/>
                <a:gd name="connsiteX51" fmla="*/ 2677155 w 4797425"/>
                <a:gd name="connsiteY51" fmla="*/ 1417638 h 4643438"/>
                <a:gd name="connsiteX52" fmla="*/ 1289830 w 4797425"/>
                <a:gd name="connsiteY52" fmla="*/ 1417638 h 4643438"/>
                <a:gd name="connsiteX53" fmla="*/ 2020110 w 4797425"/>
                <a:gd name="connsiteY53" fmla="*/ 1417638 h 4643438"/>
                <a:gd name="connsiteX54" fmla="*/ 2105026 w 4797425"/>
                <a:gd name="connsiteY54" fmla="*/ 1502476 h 4643438"/>
                <a:gd name="connsiteX55" fmla="*/ 2105026 w 4797425"/>
                <a:gd name="connsiteY55" fmla="*/ 2121789 h 4643438"/>
                <a:gd name="connsiteX56" fmla="*/ 2020110 w 4797425"/>
                <a:gd name="connsiteY56" fmla="*/ 2206626 h 4643438"/>
                <a:gd name="connsiteX57" fmla="*/ 1289830 w 4797425"/>
                <a:gd name="connsiteY57" fmla="*/ 2206626 h 4643438"/>
                <a:gd name="connsiteX58" fmla="*/ 1204913 w 4797425"/>
                <a:gd name="connsiteY58" fmla="*/ 2121789 h 4643438"/>
                <a:gd name="connsiteX59" fmla="*/ 1204913 w 4797425"/>
                <a:gd name="connsiteY59" fmla="*/ 1502476 h 4643438"/>
                <a:gd name="connsiteX60" fmla="*/ 1289830 w 4797425"/>
                <a:gd name="connsiteY60" fmla="*/ 1417638 h 4643438"/>
                <a:gd name="connsiteX61" fmla="*/ 2762250 w 4797425"/>
                <a:gd name="connsiteY61" fmla="*/ 649288 h 4643438"/>
                <a:gd name="connsiteX62" fmla="*/ 2762250 w 4797425"/>
                <a:gd name="connsiteY62" fmla="*/ 1095376 h 4643438"/>
                <a:gd name="connsiteX63" fmla="*/ 3321050 w 4797425"/>
                <a:gd name="connsiteY63" fmla="*/ 1095376 h 4643438"/>
                <a:gd name="connsiteX64" fmla="*/ 3321050 w 4797425"/>
                <a:gd name="connsiteY64" fmla="*/ 649288 h 4643438"/>
                <a:gd name="connsiteX65" fmla="*/ 1374775 w 4797425"/>
                <a:gd name="connsiteY65" fmla="*/ 649288 h 4643438"/>
                <a:gd name="connsiteX66" fmla="*/ 1374775 w 4797425"/>
                <a:gd name="connsiteY66" fmla="*/ 1095376 h 4643438"/>
                <a:gd name="connsiteX67" fmla="*/ 1935163 w 4797425"/>
                <a:gd name="connsiteY67" fmla="*/ 1095376 h 4643438"/>
                <a:gd name="connsiteX68" fmla="*/ 1935163 w 4797425"/>
                <a:gd name="connsiteY68" fmla="*/ 649288 h 4643438"/>
                <a:gd name="connsiteX69" fmla="*/ 2677155 w 4797425"/>
                <a:gd name="connsiteY69" fmla="*/ 479425 h 4643438"/>
                <a:gd name="connsiteX70" fmla="*/ 3406147 w 4797425"/>
                <a:gd name="connsiteY70" fmla="*/ 479425 h 4643438"/>
                <a:gd name="connsiteX71" fmla="*/ 3490913 w 4797425"/>
                <a:gd name="connsiteY71" fmla="*/ 564378 h 4643438"/>
                <a:gd name="connsiteX72" fmla="*/ 3490913 w 4797425"/>
                <a:gd name="connsiteY72" fmla="*/ 1180285 h 4643438"/>
                <a:gd name="connsiteX73" fmla="*/ 3406147 w 4797425"/>
                <a:gd name="connsiteY73" fmla="*/ 1265238 h 4643438"/>
                <a:gd name="connsiteX74" fmla="*/ 2677155 w 4797425"/>
                <a:gd name="connsiteY74" fmla="*/ 1265238 h 4643438"/>
                <a:gd name="connsiteX75" fmla="*/ 2592388 w 4797425"/>
                <a:gd name="connsiteY75" fmla="*/ 1180285 h 4643438"/>
                <a:gd name="connsiteX76" fmla="*/ 2592388 w 4797425"/>
                <a:gd name="connsiteY76" fmla="*/ 564378 h 4643438"/>
                <a:gd name="connsiteX77" fmla="*/ 2677155 w 4797425"/>
                <a:gd name="connsiteY77" fmla="*/ 479425 h 4643438"/>
                <a:gd name="connsiteX78" fmla="*/ 1289830 w 4797425"/>
                <a:gd name="connsiteY78" fmla="*/ 479425 h 4643438"/>
                <a:gd name="connsiteX79" fmla="*/ 2020110 w 4797425"/>
                <a:gd name="connsiteY79" fmla="*/ 479425 h 4643438"/>
                <a:gd name="connsiteX80" fmla="*/ 2105026 w 4797425"/>
                <a:gd name="connsiteY80" fmla="*/ 564378 h 4643438"/>
                <a:gd name="connsiteX81" fmla="*/ 2105026 w 4797425"/>
                <a:gd name="connsiteY81" fmla="*/ 1180285 h 4643438"/>
                <a:gd name="connsiteX82" fmla="*/ 2020110 w 4797425"/>
                <a:gd name="connsiteY82" fmla="*/ 1265238 h 4643438"/>
                <a:gd name="connsiteX83" fmla="*/ 1289830 w 4797425"/>
                <a:gd name="connsiteY83" fmla="*/ 1265238 h 4643438"/>
                <a:gd name="connsiteX84" fmla="*/ 1204913 w 4797425"/>
                <a:gd name="connsiteY84" fmla="*/ 1180285 h 4643438"/>
                <a:gd name="connsiteX85" fmla="*/ 1204913 w 4797425"/>
                <a:gd name="connsiteY85" fmla="*/ 564378 h 4643438"/>
                <a:gd name="connsiteX86" fmla="*/ 1289830 w 4797425"/>
                <a:gd name="connsiteY86" fmla="*/ 479425 h 4643438"/>
                <a:gd name="connsiteX87" fmla="*/ 900113 w 4797425"/>
                <a:gd name="connsiteY87" fmla="*/ 169863 h 4643438"/>
                <a:gd name="connsiteX88" fmla="*/ 900113 w 4797425"/>
                <a:gd name="connsiteY88" fmla="*/ 4473575 h 4643438"/>
                <a:gd name="connsiteX89" fmla="*/ 1204913 w 4797425"/>
                <a:gd name="connsiteY89" fmla="*/ 4473575 h 4643438"/>
                <a:gd name="connsiteX90" fmla="*/ 1204913 w 4797425"/>
                <a:gd name="connsiteY90" fmla="*/ 4365191 h 4643438"/>
                <a:gd name="connsiteX91" fmla="*/ 1204913 w 4797425"/>
                <a:gd name="connsiteY91" fmla="*/ 3459869 h 4643438"/>
                <a:gd name="connsiteX92" fmla="*/ 1289830 w 4797425"/>
                <a:gd name="connsiteY92" fmla="*/ 3375025 h 4643438"/>
                <a:gd name="connsiteX93" fmla="*/ 2020110 w 4797425"/>
                <a:gd name="connsiteY93" fmla="*/ 3375025 h 4643438"/>
                <a:gd name="connsiteX94" fmla="*/ 2105026 w 4797425"/>
                <a:gd name="connsiteY94" fmla="*/ 3459869 h 4643438"/>
                <a:gd name="connsiteX95" fmla="*/ 2105026 w 4797425"/>
                <a:gd name="connsiteY95" fmla="*/ 4466587 h 4643438"/>
                <a:gd name="connsiteX96" fmla="*/ 2105026 w 4797425"/>
                <a:gd name="connsiteY96" fmla="*/ 4473575 h 4643438"/>
                <a:gd name="connsiteX97" fmla="*/ 2230369 w 4797425"/>
                <a:gd name="connsiteY97" fmla="*/ 4473575 h 4643438"/>
                <a:gd name="connsiteX98" fmla="*/ 3888949 w 4797425"/>
                <a:gd name="connsiteY98" fmla="*/ 4473575 h 4643438"/>
                <a:gd name="connsiteX99" fmla="*/ 3932238 w 4797425"/>
                <a:gd name="connsiteY99" fmla="*/ 4473575 h 4643438"/>
                <a:gd name="connsiteX100" fmla="*/ 3932238 w 4797425"/>
                <a:gd name="connsiteY100" fmla="*/ 169863 h 4643438"/>
                <a:gd name="connsiteX101" fmla="*/ 815077 w 4797425"/>
                <a:gd name="connsiteY101" fmla="*/ 0 h 4643438"/>
                <a:gd name="connsiteX102" fmla="*/ 4017274 w 4797425"/>
                <a:gd name="connsiteY102" fmla="*/ 0 h 4643438"/>
                <a:gd name="connsiteX103" fmla="*/ 4102100 w 4797425"/>
                <a:gd name="connsiteY103" fmla="*/ 84889 h 4643438"/>
                <a:gd name="connsiteX104" fmla="*/ 4102100 w 4797425"/>
                <a:gd name="connsiteY104" fmla="*/ 4459022 h 4643438"/>
                <a:gd name="connsiteX105" fmla="*/ 4102100 w 4797425"/>
                <a:gd name="connsiteY105" fmla="*/ 4473575 h 4643438"/>
                <a:gd name="connsiteX106" fmla="*/ 4134121 w 4797425"/>
                <a:gd name="connsiteY106" fmla="*/ 4473575 h 4643438"/>
                <a:gd name="connsiteX107" fmla="*/ 4712590 w 4797425"/>
                <a:gd name="connsiteY107" fmla="*/ 4473575 h 4643438"/>
                <a:gd name="connsiteX108" fmla="*/ 4797425 w 4797425"/>
                <a:gd name="connsiteY108" fmla="*/ 4558507 h 4643438"/>
                <a:gd name="connsiteX109" fmla="*/ 4712590 w 4797425"/>
                <a:gd name="connsiteY109" fmla="*/ 4643438 h 4643438"/>
                <a:gd name="connsiteX110" fmla="*/ 4292155 w 4797425"/>
                <a:gd name="connsiteY110" fmla="*/ 4643438 h 4643438"/>
                <a:gd name="connsiteX111" fmla="*/ 4017274 w 4797425"/>
                <a:gd name="connsiteY111" fmla="*/ 4643438 h 4643438"/>
                <a:gd name="connsiteX112" fmla="*/ 3897988 w 4797425"/>
                <a:gd name="connsiteY112" fmla="*/ 4643438 h 4643438"/>
                <a:gd name="connsiteX113" fmla="*/ 3726352 w 4797425"/>
                <a:gd name="connsiteY113" fmla="*/ 4643438 h 4643438"/>
                <a:gd name="connsiteX114" fmla="*/ 3529242 w 4797425"/>
                <a:gd name="connsiteY114" fmla="*/ 4643438 h 4643438"/>
                <a:gd name="connsiteX115" fmla="*/ 3453606 w 4797425"/>
                <a:gd name="connsiteY115" fmla="*/ 4643438 h 4643438"/>
                <a:gd name="connsiteX116" fmla="*/ 3198451 w 4797425"/>
                <a:gd name="connsiteY116" fmla="*/ 4643438 h 4643438"/>
                <a:gd name="connsiteX117" fmla="*/ 3185070 w 4797425"/>
                <a:gd name="connsiteY117" fmla="*/ 4643438 h 4643438"/>
                <a:gd name="connsiteX118" fmla="*/ 2960299 w 4797425"/>
                <a:gd name="connsiteY118" fmla="*/ 4643438 h 4643438"/>
                <a:gd name="connsiteX119" fmla="*/ 2864624 w 4797425"/>
                <a:gd name="connsiteY119" fmla="*/ 4643438 h 4643438"/>
                <a:gd name="connsiteX120" fmla="*/ 2738565 w 4797425"/>
                <a:gd name="connsiteY120" fmla="*/ 4643438 h 4643438"/>
                <a:gd name="connsiteX121" fmla="*/ 2567056 w 4797425"/>
                <a:gd name="connsiteY121" fmla="*/ 4643438 h 4643438"/>
                <a:gd name="connsiteX122" fmla="*/ 2532662 w 4797425"/>
                <a:gd name="connsiteY122" fmla="*/ 4643438 h 4643438"/>
                <a:gd name="connsiteX123" fmla="*/ 2342004 w 4797425"/>
                <a:gd name="connsiteY123" fmla="*/ 4643438 h 4643438"/>
                <a:gd name="connsiteX124" fmla="*/ 2291521 w 4797425"/>
                <a:gd name="connsiteY124" fmla="*/ 4643438 h 4643438"/>
                <a:gd name="connsiteX125" fmla="*/ 2166004 w 4797425"/>
                <a:gd name="connsiteY125" fmla="*/ 4643438 h 4643438"/>
                <a:gd name="connsiteX126" fmla="*/ 2037169 w 4797425"/>
                <a:gd name="connsiteY126" fmla="*/ 4643438 h 4643438"/>
                <a:gd name="connsiteX127" fmla="*/ 2020110 w 4797425"/>
                <a:gd name="connsiteY127" fmla="*/ 4643438 h 4643438"/>
                <a:gd name="connsiteX128" fmla="*/ 2004077 w 4797425"/>
                <a:gd name="connsiteY128" fmla="*/ 4643438 h 4643438"/>
                <a:gd name="connsiteX129" fmla="*/ 1803155 w 4797425"/>
                <a:gd name="connsiteY129" fmla="*/ 4643438 h 4643438"/>
                <a:gd name="connsiteX130" fmla="*/ 1786288 w 4797425"/>
                <a:gd name="connsiteY130" fmla="*/ 4643438 h 4643438"/>
                <a:gd name="connsiteX131" fmla="*/ 1596864 w 4797425"/>
                <a:gd name="connsiteY131" fmla="*/ 4643438 h 4643438"/>
                <a:gd name="connsiteX132" fmla="*/ 1588630 w 4797425"/>
                <a:gd name="connsiteY132" fmla="*/ 4643438 h 4643438"/>
                <a:gd name="connsiteX133" fmla="*/ 1433825 w 4797425"/>
                <a:gd name="connsiteY133" fmla="*/ 4643438 h 4643438"/>
                <a:gd name="connsiteX134" fmla="*/ 1392747 w 4797425"/>
                <a:gd name="connsiteY134" fmla="*/ 4643438 h 4643438"/>
                <a:gd name="connsiteX135" fmla="*/ 1295192 w 4797425"/>
                <a:gd name="connsiteY135" fmla="*/ 4643438 h 4643438"/>
                <a:gd name="connsiteX136" fmla="*/ 1289830 w 4797425"/>
                <a:gd name="connsiteY136" fmla="*/ 4643438 h 4643438"/>
                <a:gd name="connsiteX137" fmla="*/ 1215352 w 4797425"/>
                <a:gd name="connsiteY137" fmla="*/ 4643438 h 4643438"/>
                <a:gd name="connsiteX138" fmla="*/ 1214658 w 4797425"/>
                <a:gd name="connsiteY138" fmla="*/ 4643438 h 4643438"/>
                <a:gd name="connsiteX139" fmla="*/ 1144893 w 4797425"/>
                <a:gd name="connsiteY139" fmla="*/ 4643438 h 4643438"/>
                <a:gd name="connsiteX140" fmla="*/ 1083229 w 4797425"/>
                <a:gd name="connsiteY140" fmla="*/ 4643438 h 4643438"/>
                <a:gd name="connsiteX141" fmla="*/ 1053517 w 4797425"/>
                <a:gd name="connsiteY141" fmla="*/ 4643438 h 4643438"/>
                <a:gd name="connsiteX142" fmla="*/ 1029775 w 4797425"/>
                <a:gd name="connsiteY142" fmla="*/ 4643438 h 4643438"/>
                <a:gd name="connsiteX143" fmla="*/ 912800 w 4797425"/>
                <a:gd name="connsiteY143" fmla="*/ 4643438 h 4643438"/>
                <a:gd name="connsiteX144" fmla="*/ 908476 w 4797425"/>
                <a:gd name="connsiteY144" fmla="*/ 4643438 h 4643438"/>
                <a:gd name="connsiteX145" fmla="*/ 865111 w 4797425"/>
                <a:gd name="connsiteY145" fmla="*/ 4643438 h 4643438"/>
                <a:gd name="connsiteX146" fmla="*/ 815077 w 4797425"/>
                <a:gd name="connsiteY146" fmla="*/ 4643438 h 4643438"/>
                <a:gd name="connsiteX147" fmla="*/ 778687 w 4797425"/>
                <a:gd name="connsiteY147" fmla="*/ 4643438 h 4643438"/>
                <a:gd name="connsiteX148" fmla="*/ 84835 w 4797425"/>
                <a:gd name="connsiteY148" fmla="*/ 4643438 h 4643438"/>
                <a:gd name="connsiteX149" fmla="*/ 0 w 4797425"/>
                <a:gd name="connsiteY149" fmla="*/ 4558507 h 4643438"/>
                <a:gd name="connsiteX150" fmla="*/ 84835 w 4797425"/>
                <a:gd name="connsiteY150" fmla="*/ 4473575 h 4643438"/>
                <a:gd name="connsiteX151" fmla="*/ 505270 w 4797425"/>
                <a:gd name="connsiteY151" fmla="*/ 4473575 h 4643438"/>
                <a:gd name="connsiteX152" fmla="*/ 730250 w 4797425"/>
                <a:gd name="connsiteY152" fmla="*/ 4473575 h 4643438"/>
                <a:gd name="connsiteX153" fmla="*/ 730250 w 4797425"/>
                <a:gd name="connsiteY153" fmla="*/ 4152114 h 4643438"/>
                <a:gd name="connsiteX154" fmla="*/ 730250 w 4797425"/>
                <a:gd name="connsiteY154" fmla="*/ 84889 h 4643438"/>
                <a:gd name="connsiteX155" fmla="*/ 815077 w 4797425"/>
                <a:gd name="connsiteY155" fmla="*/ 0 h 464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797425" h="4643438">
                  <a:moveTo>
                    <a:pt x="1374746" y="3544713"/>
                  </a:moveTo>
                  <a:cubicBezTo>
                    <a:pt x="1374746" y="4051654"/>
                    <a:pt x="1374746" y="4305124"/>
                    <a:pt x="1374746" y="4431859"/>
                  </a:cubicBezTo>
                  <a:lnTo>
                    <a:pt x="1374746" y="4473575"/>
                  </a:lnTo>
                  <a:lnTo>
                    <a:pt x="1612356" y="4473575"/>
                  </a:lnTo>
                  <a:cubicBezTo>
                    <a:pt x="1723079" y="4473575"/>
                    <a:pt x="1829847" y="4473575"/>
                    <a:pt x="1932802" y="4473575"/>
                  </a:cubicBezTo>
                  <a:lnTo>
                    <a:pt x="1935194" y="4473575"/>
                  </a:lnTo>
                  <a:lnTo>
                    <a:pt x="1935194" y="4380126"/>
                  </a:lnTo>
                  <a:cubicBezTo>
                    <a:pt x="1935194" y="3544713"/>
                    <a:pt x="1935194" y="3544713"/>
                    <a:pt x="1935194" y="3544713"/>
                  </a:cubicBezTo>
                  <a:cubicBezTo>
                    <a:pt x="1374746" y="3544713"/>
                    <a:pt x="1374746" y="3544713"/>
                    <a:pt x="1374746" y="3544713"/>
                  </a:cubicBezTo>
                  <a:close/>
                  <a:moveTo>
                    <a:pt x="2762250" y="2568575"/>
                  </a:moveTo>
                  <a:lnTo>
                    <a:pt x="2762250" y="3013075"/>
                  </a:lnTo>
                  <a:lnTo>
                    <a:pt x="3321050" y="3013075"/>
                  </a:lnTo>
                  <a:lnTo>
                    <a:pt x="3321050" y="2568575"/>
                  </a:lnTo>
                  <a:close/>
                  <a:moveTo>
                    <a:pt x="1374775" y="2568575"/>
                  </a:moveTo>
                  <a:lnTo>
                    <a:pt x="1374775" y="3013075"/>
                  </a:lnTo>
                  <a:lnTo>
                    <a:pt x="1935163" y="3013075"/>
                  </a:lnTo>
                  <a:lnTo>
                    <a:pt x="1935163" y="2568575"/>
                  </a:lnTo>
                  <a:close/>
                  <a:moveTo>
                    <a:pt x="2677155" y="2398713"/>
                  </a:moveTo>
                  <a:cubicBezTo>
                    <a:pt x="3406147" y="2398713"/>
                    <a:pt x="3406147" y="2398713"/>
                    <a:pt x="3406147" y="2398713"/>
                  </a:cubicBezTo>
                  <a:cubicBezTo>
                    <a:pt x="3452768" y="2398713"/>
                    <a:pt x="3490913" y="2436865"/>
                    <a:pt x="3490913" y="2483494"/>
                  </a:cubicBezTo>
                  <a:cubicBezTo>
                    <a:pt x="3490913" y="3098157"/>
                    <a:pt x="3490913" y="3098157"/>
                    <a:pt x="3490913" y="3098157"/>
                  </a:cubicBezTo>
                  <a:cubicBezTo>
                    <a:pt x="3490913" y="3144787"/>
                    <a:pt x="3452768" y="3182938"/>
                    <a:pt x="3406147" y="3182938"/>
                  </a:cubicBezTo>
                  <a:cubicBezTo>
                    <a:pt x="2677155" y="3182938"/>
                    <a:pt x="2677155" y="3182938"/>
                    <a:pt x="2677155" y="3182938"/>
                  </a:cubicBezTo>
                  <a:cubicBezTo>
                    <a:pt x="2630533" y="3182938"/>
                    <a:pt x="2592388" y="3144787"/>
                    <a:pt x="2592388" y="3098157"/>
                  </a:cubicBezTo>
                  <a:cubicBezTo>
                    <a:pt x="2592388" y="2483494"/>
                    <a:pt x="2592388" y="2483494"/>
                    <a:pt x="2592388" y="2483494"/>
                  </a:cubicBezTo>
                  <a:cubicBezTo>
                    <a:pt x="2592388" y="2436865"/>
                    <a:pt x="2630533" y="2398713"/>
                    <a:pt x="2677155" y="2398713"/>
                  </a:cubicBezTo>
                  <a:close/>
                  <a:moveTo>
                    <a:pt x="1289830" y="2398713"/>
                  </a:moveTo>
                  <a:cubicBezTo>
                    <a:pt x="2020110" y="2398713"/>
                    <a:pt x="2020110" y="2398713"/>
                    <a:pt x="2020110" y="2398713"/>
                  </a:cubicBezTo>
                  <a:cubicBezTo>
                    <a:pt x="2066814" y="2398713"/>
                    <a:pt x="2105026" y="2436865"/>
                    <a:pt x="2105026" y="2483494"/>
                  </a:cubicBezTo>
                  <a:cubicBezTo>
                    <a:pt x="2105026" y="3098157"/>
                    <a:pt x="2105026" y="3098157"/>
                    <a:pt x="2105026" y="3098157"/>
                  </a:cubicBezTo>
                  <a:cubicBezTo>
                    <a:pt x="2105026" y="3144787"/>
                    <a:pt x="2066814" y="3182938"/>
                    <a:pt x="2020110" y="3182938"/>
                  </a:cubicBezTo>
                  <a:cubicBezTo>
                    <a:pt x="1289830" y="3182938"/>
                    <a:pt x="1289830" y="3182938"/>
                    <a:pt x="1289830" y="3182938"/>
                  </a:cubicBezTo>
                  <a:cubicBezTo>
                    <a:pt x="1243126" y="3182938"/>
                    <a:pt x="1204913" y="3144787"/>
                    <a:pt x="1204913" y="3098157"/>
                  </a:cubicBezTo>
                  <a:cubicBezTo>
                    <a:pt x="1204913" y="2483494"/>
                    <a:pt x="1204913" y="2483494"/>
                    <a:pt x="1204913" y="2483494"/>
                  </a:cubicBezTo>
                  <a:cubicBezTo>
                    <a:pt x="1204913" y="2436865"/>
                    <a:pt x="1243126" y="2398713"/>
                    <a:pt x="1289830" y="2398713"/>
                  </a:cubicBezTo>
                  <a:close/>
                  <a:moveTo>
                    <a:pt x="2762250" y="1587500"/>
                  </a:moveTo>
                  <a:lnTo>
                    <a:pt x="2762250" y="2036763"/>
                  </a:lnTo>
                  <a:lnTo>
                    <a:pt x="3321050" y="2036763"/>
                  </a:lnTo>
                  <a:lnTo>
                    <a:pt x="3321050" y="1587500"/>
                  </a:lnTo>
                  <a:close/>
                  <a:moveTo>
                    <a:pt x="1374775" y="1587500"/>
                  </a:moveTo>
                  <a:lnTo>
                    <a:pt x="1374775" y="2036763"/>
                  </a:lnTo>
                  <a:lnTo>
                    <a:pt x="1935163" y="2036763"/>
                  </a:lnTo>
                  <a:lnTo>
                    <a:pt x="1935163" y="1587500"/>
                  </a:lnTo>
                  <a:close/>
                  <a:moveTo>
                    <a:pt x="2677155" y="1417638"/>
                  </a:moveTo>
                  <a:cubicBezTo>
                    <a:pt x="3406147" y="1417638"/>
                    <a:pt x="3406147" y="1417638"/>
                    <a:pt x="3406147" y="1417638"/>
                  </a:cubicBezTo>
                  <a:cubicBezTo>
                    <a:pt x="3452768" y="1417638"/>
                    <a:pt x="3490913" y="1455815"/>
                    <a:pt x="3490913" y="1502476"/>
                  </a:cubicBezTo>
                  <a:cubicBezTo>
                    <a:pt x="3490913" y="2121789"/>
                    <a:pt x="3490913" y="2121789"/>
                    <a:pt x="3490913" y="2121789"/>
                  </a:cubicBezTo>
                  <a:cubicBezTo>
                    <a:pt x="3490913" y="2168449"/>
                    <a:pt x="3452768" y="2206626"/>
                    <a:pt x="3406147" y="2206626"/>
                  </a:cubicBezTo>
                  <a:cubicBezTo>
                    <a:pt x="2677155" y="2206626"/>
                    <a:pt x="2677155" y="2206626"/>
                    <a:pt x="2677155" y="2206626"/>
                  </a:cubicBezTo>
                  <a:cubicBezTo>
                    <a:pt x="2630533" y="2206626"/>
                    <a:pt x="2592388" y="2168449"/>
                    <a:pt x="2592388" y="2121789"/>
                  </a:cubicBezTo>
                  <a:cubicBezTo>
                    <a:pt x="2592388" y="1502476"/>
                    <a:pt x="2592388" y="1502476"/>
                    <a:pt x="2592388" y="1502476"/>
                  </a:cubicBezTo>
                  <a:cubicBezTo>
                    <a:pt x="2592388" y="1455815"/>
                    <a:pt x="2630533" y="1417638"/>
                    <a:pt x="2677155" y="1417638"/>
                  </a:cubicBezTo>
                  <a:close/>
                  <a:moveTo>
                    <a:pt x="1289830" y="1417638"/>
                  </a:moveTo>
                  <a:cubicBezTo>
                    <a:pt x="2020110" y="1417638"/>
                    <a:pt x="2020110" y="1417638"/>
                    <a:pt x="2020110" y="1417638"/>
                  </a:cubicBezTo>
                  <a:cubicBezTo>
                    <a:pt x="2066814" y="1417638"/>
                    <a:pt x="2105026" y="1455815"/>
                    <a:pt x="2105026" y="1502476"/>
                  </a:cubicBezTo>
                  <a:cubicBezTo>
                    <a:pt x="2105026" y="2121789"/>
                    <a:pt x="2105026" y="2121789"/>
                    <a:pt x="2105026" y="2121789"/>
                  </a:cubicBezTo>
                  <a:cubicBezTo>
                    <a:pt x="2105026" y="2168449"/>
                    <a:pt x="2066814" y="2206626"/>
                    <a:pt x="2020110" y="2206626"/>
                  </a:cubicBezTo>
                  <a:cubicBezTo>
                    <a:pt x="1289830" y="2206626"/>
                    <a:pt x="1289830" y="2206626"/>
                    <a:pt x="1289830" y="2206626"/>
                  </a:cubicBezTo>
                  <a:cubicBezTo>
                    <a:pt x="1243126" y="2206626"/>
                    <a:pt x="1204913" y="2168449"/>
                    <a:pt x="1204913" y="2121789"/>
                  </a:cubicBezTo>
                  <a:cubicBezTo>
                    <a:pt x="1204913" y="1502476"/>
                    <a:pt x="1204913" y="1502476"/>
                    <a:pt x="1204913" y="1502476"/>
                  </a:cubicBezTo>
                  <a:cubicBezTo>
                    <a:pt x="1204913" y="1455815"/>
                    <a:pt x="1243126" y="1417638"/>
                    <a:pt x="1289830" y="1417638"/>
                  </a:cubicBezTo>
                  <a:close/>
                  <a:moveTo>
                    <a:pt x="2762250" y="649288"/>
                  </a:moveTo>
                  <a:lnTo>
                    <a:pt x="2762250" y="1095376"/>
                  </a:lnTo>
                  <a:lnTo>
                    <a:pt x="3321050" y="1095376"/>
                  </a:lnTo>
                  <a:lnTo>
                    <a:pt x="3321050" y="649288"/>
                  </a:lnTo>
                  <a:close/>
                  <a:moveTo>
                    <a:pt x="1374775" y="649288"/>
                  </a:moveTo>
                  <a:lnTo>
                    <a:pt x="1374775" y="1095376"/>
                  </a:lnTo>
                  <a:lnTo>
                    <a:pt x="1935163" y="1095376"/>
                  </a:lnTo>
                  <a:lnTo>
                    <a:pt x="1935163" y="649288"/>
                  </a:lnTo>
                  <a:close/>
                  <a:moveTo>
                    <a:pt x="2677155" y="479425"/>
                  </a:moveTo>
                  <a:cubicBezTo>
                    <a:pt x="3406147" y="479425"/>
                    <a:pt x="3406147" y="479425"/>
                    <a:pt x="3406147" y="479425"/>
                  </a:cubicBezTo>
                  <a:cubicBezTo>
                    <a:pt x="3452768" y="479425"/>
                    <a:pt x="3490913" y="517654"/>
                    <a:pt x="3490913" y="564378"/>
                  </a:cubicBezTo>
                  <a:cubicBezTo>
                    <a:pt x="3490913" y="1180285"/>
                    <a:pt x="3490913" y="1180285"/>
                    <a:pt x="3490913" y="1180285"/>
                  </a:cubicBezTo>
                  <a:cubicBezTo>
                    <a:pt x="3490913" y="1231257"/>
                    <a:pt x="3452768" y="1265238"/>
                    <a:pt x="3406147" y="1265238"/>
                  </a:cubicBezTo>
                  <a:cubicBezTo>
                    <a:pt x="2677155" y="1265238"/>
                    <a:pt x="2677155" y="1265238"/>
                    <a:pt x="2677155" y="1265238"/>
                  </a:cubicBezTo>
                  <a:cubicBezTo>
                    <a:pt x="2630533" y="1265238"/>
                    <a:pt x="2592388" y="1231257"/>
                    <a:pt x="2592388" y="1180285"/>
                  </a:cubicBezTo>
                  <a:cubicBezTo>
                    <a:pt x="2592388" y="564378"/>
                    <a:pt x="2592388" y="564378"/>
                    <a:pt x="2592388" y="564378"/>
                  </a:cubicBezTo>
                  <a:cubicBezTo>
                    <a:pt x="2592388" y="517654"/>
                    <a:pt x="2630533" y="479425"/>
                    <a:pt x="2677155" y="479425"/>
                  </a:cubicBezTo>
                  <a:close/>
                  <a:moveTo>
                    <a:pt x="1289830" y="479425"/>
                  </a:moveTo>
                  <a:cubicBezTo>
                    <a:pt x="2020110" y="479425"/>
                    <a:pt x="2020110" y="479425"/>
                    <a:pt x="2020110" y="479425"/>
                  </a:cubicBezTo>
                  <a:cubicBezTo>
                    <a:pt x="2066814" y="479425"/>
                    <a:pt x="2105026" y="517654"/>
                    <a:pt x="2105026" y="564378"/>
                  </a:cubicBezTo>
                  <a:cubicBezTo>
                    <a:pt x="2105026" y="1180285"/>
                    <a:pt x="2105026" y="1180285"/>
                    <a:pt x="2105026" y="1180285"/>
                  </a:cubicBezTo>
                  <a:cubicBezTo>
                    <a:pt x="2105026" y="1231257"/>
                    <a:pt x="2066814" y="1265238"/>
                    <a:pt x="2020110" y="1265238"/>
                  </a:cubicBezTo>
                  <a:cubicBezTo>
                    <a:pt x="1289830" y="1265238"/>
                    <a:pt x="1289830" y="1265238"/>
                    <a:pt x="1289830" y="1265238"/>
                  </a:cubicBezTo>
                  <a:cubicBezTo>
                    <a:pt x="1243126" y="1265238"/>
                    <a:pt x="1204913" y="1231257"/>
                    <a:pt x="1204913" y="1180285"/>
                  </a:cubicBezTo>
                  <a:cubicBezTo>
                    <a:pt x="1204913" y="564378"/>
                    <a:pt x="1204913" y="564378"/>
                    <a:pt x="1204913" y="564378"/>
                  </a:cubicBezTo>
                  <a:cubicBezTo>
                    <a:pt x="1204913" y="517654"/>
                    <a:pt x="1243126" y="479425"/>
                    <a:pt x="1289830" y="479425"/>
                  </a:cubicBezTo>
                  <a:close/>
                  <a:moveTo>
                    <a:pt x="900113" y="169863"/>
                  </a:moveTo>
                  <a:lnTo>
                    <a:pt x="900113" y="4473575"/>
                  </a:lnTo>
                  <a:lnTo>
                    <a:pt x="1204913" y="4473575"/>
                  </a:lnTo>
                  <a:lnTo>
                    <a:pt x="1204913" y="4365191"/>
                  </a:lnTo>
                  <a:cubicBezTo>
                    <a:pt x="1204913" y="3459869"/>
                    <a:pt x="1204913" y="3459869"/>
                    <a:pt x="1204913" y="3459869"/>
                  </a:cubicBezTo>
                  <a:cubicBezTo>
                    <a:pt x="1204913" y="3413205"/>
                    <a:pt x="1243126" y="3375025"/>
                    <a:pt x="1289830" y="3375025"/>
                  </a:cubicBezTo>
                  <a:cubicBezTo>
                    <a:pt x="2020110" y="3375025"/>
                    <a:pt x="2020110" y="3375025"/>
                    <a:pt x="2020110" y="3375025"/>
                  </a:cubicBezTo>
                  <a:cubicBezTo>
                    <a:pt x="2066814" y="3375025"/>
                    <a:pt x="2105026" y="3413205"/>
                    <a:pt x="2105026" y="3459869"/>
                  </a:cubicBezTo>
                  <a:cubicBezTo>
                    <a:pt x="2105026" y="4077902"/>
                    <a:pt x="2105026" y="4348292"/>
                    <a:pt x="2105026" y="4466587"/>
                  </a:cubicBezTo>
                  <a:lnTo>
                    <a:pt x="2105026" y="4473575"/>
                  </a:lnTo>
                  <a:lnTo>
                    <a:pt x="2230369" y="4473575"/>
                  </a:lnTo>
                  <a:cubicBezTo>
                    <a:pt x="2994129" y="4473575"/>
                    <a:pt x="3522887" y="4473575"/>
                    <a:pt x="3888949" y="4473575"/>
                  </a:cubicBezTo>
                  <a:lnTo>
                    <a:pt x="3932238" y="4473575"/>
                  </a:lnTo>
                  <a:lnTo>
                    <a:pt x="3932238" y="169863"/>
                  </a:lnTo>
                  <a:close/>
                  <a:moveTo>
                    <a:pt x="815077" y="0"/>
                  </a:moveTo>
                  <a:cubicBezTo>
                    <a:pt x="4017274" y="0"/>
                    <a:pt x="4017274" y="0"/>
                    <a:pt x="4017274" y="0"/>
                  </a:cubicBezTo>
                  <a:cubicBezTo>
                    <a:pt x="4063928" y="0"/>
                    <a:pt x="4102100" y="38200"/>
                    <a:pt x="4102100" y="84889"/>
                  </a:cubicBezTo>
                  <a:cubicBezTo>
                    <a:pt x="4102100" y="3300332"/>
                    <a:pt x="4102100" y="4204676"/>
                    <a:pt x="4102100" y="4459022"/>
                  </a:cubicBezTo>
                  <a:lnTo>
                    <a:pt x="4102100" y="4473575"/>
                  </a:lnTo>
                  <a:lnTo>
                    <a:pt x="4134121" y="4473575"/>
                  </a:lnTo>
                  <a:cubicBezTo>
                    <a:pt x="4712590" y="4473575"/>
                    <a:pt x="4712590" y="4473575"/>
                    <a:pt x="4712590" y="4473575"/>
                  </a:cubicBezTo>
                  <a:cubicBezTo>
                    <a:pt x="4759249" y="4473575"/>
                    <a:pt x="4797425" y="4511794"/>
                    <a:pt x="4797425" y="4558507"/>
                  </a:cubicBezTo>
                  <a:cubicBezTo>
                    <a:pt x="4797425" y="4605219"/>
                    <a:pt x="4759249" y="4643438"/>
                    <a:pt x="4712590" y="4643438"/>
                  </a:cubicBezTo>
                  <a:cubicBezTo>
                    <a:pt x="4567973" y="4643438"/>
                    <a:pt x="4427875" y="4643438"/>
                    <a:pt x="4292155" y="4643438"/>
                  </a:cubicBezTo>
                  <a:lnTo>
                    <a:pt x="4017274" y="4643438"/>
                  </a:lnTo>
                  <a:lnTo>
                    <a:pt x="3897988" y="4643438"/>
                  </a:lnTo>
                  <a:lnTo>
                    <a:pt x="3726352" y="4643438"/>
                  </a:lnTo>
                  <a:lnTo>
                    <a:pt x="3529242" y="4643438"/>
                  </a:lnTo>
                  <a:lnTo>
                    <a:pt x="3453606" y="4643438"/>
                  </a:lnTo>
                  <a:cubicBezTo>
                    <a:pt x="3365655" y="4643438"/>
                    <a:pt x="3280636" y="4643438"/>
                    <a:pt x="3198451" y="4643438"/>
                  </a:cubicBezTo>
                  <a:lnTo>
                    <a:pt x="3185070" y="4643438"/>
                  </a:lnTo>
                  <a:lnTo>
                    <a:pt x="2960299" y="4643438"/>
                  </a:lnTo>
                  <a:lnTo>
                    <a:pt x="2864624" y="4643438"/>
                  </a:lnTo>
                  <a:lnTo>
                    <a:pt x="2738565" y="4643438"/>
                  </a:lnTo>
                  <a:lnTo>
                    <a:pt x="2567056" y="4643438"/>
                  </a:lnTo>
                  <a:lnTo>
                    <a:pt x="2532662" y="4643438"/>
                  </a:lnTo>
                  <a:cubicBezTo>
                    <a:pt x="2466601" y="4643438"/>
                    <a:pt x="2403081" y="4643438"/>
                    <a:pt x="2342004" y="4643438"/>
                  </a:cubicBezTo>
                  <a:lnTo>
                    <a:pt x="2291521" y="4643438"/>
                  </a:lnTo>
                  <a:lnTo>
                    <a:pt x="2166004" y="4643438"/>
                  </a:lnTo>
                  <a:lnTo>
                    <a:pt x="2037169" y="4643438"/>
                  </a:lnTo>
                  <a:lnTo>
                    <a:pt x="2020110" y="4643438"/>
                  </a:lnTo>
                  <a:lnTo>
                    <a:pt x="2004077" y="4643438"/>
                  </a:lnTo>
                  <a:lnTo>
                    <a:pt x="1803155" y="4643438"/>
                  </a:lnTo>
                  <a:lnTo>
                    <a:pt x="1786288" y="4643438"/>
                  </a:lnTo>
                  <a:cubicBezTo>
                    <a:pt x="1718529" y="4643438"/>
                    <a:pt x="1655498" y="4643438"/>
                    <a:pt x="1596864" y="4643438"/>
                  </a:cubicBezTo>
                  <a:lnTo>
                    <a:pt x="1588630" y="4643438"/>
                  </a:lnTo>
                  <a:lnTo>
                    <a:pt x="1433825" y="4643438"/>
                  </a:lnTo>
                  <a:lnTo>
                    <a:pt x="1392747" y="4643438"/>
                  </a:lnTo>
                  <a:lnTo>
                    <a:pt x="1295192" y="4643438"/>
                  </a:lnTo>
                  <a:lnTo>
                    <a:pt x="1289830" y="4643438"/>
                  </a:lnTo>
                  <a:lnTo>
                    <a:pt x="1215352" y="4643438"/>
                  </a:lnTo>
                  <a:lnTo>
                    <a:pt x="1214658" y="4643438"/>
                  </a:lnTo>
                  <a:lnTo>
                    <a:pt x="1144893" y="4643438"/>
                  </a:lnTo>
                  <a:cubicBezTo>
                    <a:pt x="1122905" y="4643438"/>
                    <a:pt x="1102383" y="4643438"/>
                    <a:pt x="1083229" y="4643438"/>
                  </a:cubicBezTo>
                  <a:lnTo>
                    <a:pt x="1053517" y="4643438"/>
                  </a:lnTo>
                  <a:lnTo>
                    <a:pt x="1029775" y="4643438"/>
                  </a:lnTo>
                  <a:cubicBezTo>
                    <a:pt x="980229" y="4643438"/>
                    <a:pt x="942117" y="4643438"/>
                    <a:pt x="912800" y="4643438"/>
                  </a:cubicBezTo>
                  <a:lnTo>
                    <a:pt x="908476" y="4643438"/>
                  </a:lnTo>
                  <a:lnTo>
                    <a:pt x="865111" y="4643438"/>
                  </a:lnTo>
                  <a:cubicBezTo>
                    <a:pt x="815077" y="4643438"/>
                    <a:pt x="815077" y="4643438"/>
                    <a:pt x="815077" y="4643438"/>
                  </a:cubicBezTo>
                  <a:lnTo>
                    <a:pt x="778687" y="4643438"/>
                  </a:lnTo>
                  <a:cubicBezTo>
                    <a:pt x="84835" y="4643438"/>
                    <a:pt x="84835" y="4643438"/>
                    <a:pt x="84835" y="4643438"/>
                  </a:cubicBezTo>
                  <a:cubicBezTo>
                    <a:pt x="38176" y="4643438"/>
                    <a:pt x="0" y="4605219"/>
                    <a:pt x="0" y="4558507"/>
                  </a:cubicBezTo>
                  <a:cubicBezTo>
                    <a:pt x="0" y="4511794"/>
                    <a:pt x="38176" y="4473575"/>
                    <a:pt x="84835" y="4473575"/>
                  </a:cubicBezTo>
                  <a:cubicBezTo>
                    <a:pt x="229452" y="4473575"/>
                    <a:pt x="369550" y="4473575"/>
                    <a:pt x="505270" y="4473575"/>
                  </a:cubicBezTo>
                  <a:lnTo>
                    <a:pt x="730250" y="4473575"/>
                  </a:lnTo>
                  <a:lnTo>
                    <a:pt x="730250" y="4152114"/>
                  </a:lnTo>
                  <a:cubicBezTo>
                    <a:pt x="730250" y="84889"/>
                    <a:pt x="730250" y="84889"/>
                    <a:pt x="730250" y="84889"/>
                  </a:cubicBezTo>
                  <a:cubicBezTo>
                    <a:pt x="730250" y="38200"/>
                    <a:pt x="768422" y="0"/>
                    <a:pt x="815077" y="0"/>
                  </a:cubicBezTo>
                  <a:close/>
                </a:path>
              </a:pathLst>
            </a:custGeom>
            <a:solidFill>
              <a:srgbClr val="0078D7"/>
            </a:solidFill>
            <a:ln w="41275">
              <a:solidFill>
                <a:schemeClr val="tx1"/>
              </a:solidFill>
            </a:ln>
          </p:spPr>
          <p:txBody>
            <a:bodyPr vert="horz" wrap="square" lIns="91440" tIns="45720" rIns="91440" bIns="45720" numCol="1" anchor="t" anchorCtr="0" compatLnSpc="1">
              <a:prstTxWarp prst="textNoShape">
                <a:avLst/>
              </a:prstTxWarp>
              <a:noAutofit/>
            </a:bodyPr>
            <a:lstStyle/>
            <a:p>
              <a:endParaRPr lang="en-US"/>
            </a:p>
          </p:txBody>
        </p:sp>
        <p:grpSp>
          <p:nvGrpSpPr>
            <p:cNvPr id="116" name="Group 115"/>
            <p:cNvGrpSpPr/>
            <p:nvPr/>
          </p:nvGrpSpPr>
          <p:grpSpPr>
            <a:xfrm>
              <a:off x="10044022" y="3362902"/>
              <a:ext cx="1113183" cy="1113183"/>
              <a:chOff x="10098565" y="310348"/>
              <a:chExt cx="1113183" cy="1113183"/>
            </a:xfrm>
          </p:grpSpPr>
          <p:sp>
            <p:nvSpPr>
              <p:cNvPr id="115" name="Oval 114"/>
              <p:cNvSpPr/>
              <p:nvPr/>
            </p:nvSpPr>
            <p:spPr bwMode="auto">
              <a:xfrm>
                <a:off x="10098565" y="310348"/>
                <a:ext cx="1113183" cy="1113183"/>
              </a:xfrm>
              <a:prstGeom prst="ellipse">
                <a:avLst/>
              </a:prstGeom>
              <a:solidFill>
                <a:schemeClr val="tx1"/>
              </a:solidFill>
              <a:ln w="1905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grpSp>
            <p:nvGrpSpPr>
              <p:cNvPr id="22" name="Group 21"/>
              <p:cNvGrpSpPr/>
              <p:nvPr/>
            </p:nvGrpSpPr>
            <p:grpSpPr>
              <a:xfrm>
                <a:off x="10269870" y="433763"/>
                <a:ext cx="790453" cy="737132"/>
                <a:chOff x="10486141" y="3021512"/>
                <a:chExt cx="1256052" cy="1171324"/>
              </a:xfrm>
            </p:grpSpPr>
            <p:sp>
              <p:nvSpPr>
                <p:cNvPr id="97" name="Freeform 11"/>
                <p:cNvSpPr>
                  <a:spLocks/>
                </p:cNvSpPr>
                <p:nvPr/>
              </p:nvSpPr>
              <p:spPr bwMode="auto">
                <a:xfrm>
                  <a:off x="10833971" y="3021512"/>
                  <a:ext cx="908222" cy="116091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
                <p:cNvSpPr>
                  <a:spLocks/>
                </p:cNvSpPr>
                <p:nvPr/>
              </p:nvSpPr>
              <p:spPr bwMode="auto">
                <a:xfrm>
                  <a:off x="10486141" y="3570013"/>
                  <a:ext cx="337425" cy="62282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19050"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25" name="Rectangle 24"/>
          <p:cNvSpPr/>
          <p:nvPr/>
        </p:nvSpPr>
        <p:spPr bwMode="auto">
          <a:xfrm>
            <a:off x="0" y="1632940"/>
            <a:ext cx="12192000" cy="98602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4" name="Title 1"/>
          <p:cNvSpPr>
            <a:spLocks noGrp="1"/>
          </p:cNvSpPr>
          <p:nvPr>
            <p:ph type="title"/>
          </p:nvPr>
        </p:nvSpPr>
        <p:spPr>
          <a:prstGeom prst="rect">
            <a:avLst/>
          </a:prstGeom>
        </p:spPr>
        <p:txBody>
          <a:bodyPr/>
          <a:lstStyle/>
          <a:p>
            <a:r>
              <a:rPr lang="en-US" dirty="0"/>
              <a:t>Azure Data Lake</a:t>
            </a:r>
            <a:br>
              <a:rPr lang="en-US" dirty="0"/>
            </a:br>
            <a:r>
              <a:rPr lang="en-US" sz="2800" dirty="0">
                <a:solidFill>
                  <a:srgbClr val="0078D7"/>
                </a:solidFill>
              </a:rPr>
              <a:t>Big Data made easy</a:t>
            </a:r>
            <a:endParaRPr lang="en-US" sz="3200" dirty="0">
              <a:solidFill>
                <a:srgbClr val="0078D7"/>
              </a:solidFill>
            </a:endParaRPr>
          </a:p>
        </p:txBody>
      </p:sp>
      <p:sp>
        <p:nvSpPr>
          <p:cNvPr id="69" name="Rectangle 68"/>
          <p:cNvSpPr/>
          <p:nvPr/>
        </p:nvSpPr>
        <p:spPr>
          <a:xfrm>
            <a:off x="1243640" y="1727370"/>
            <a:ext cx="1570495" cy="584775"/>
          </a:xfrm>
          <a:prstGeom prst="rect">
            <a:avLst/>
          </a:prstGeom>
        </p:spPr>
        <p:txBody>
          <a:bodyPr wrap="none" lIns="0" tIns="0" rIns="0" bIns="0">
            <a:noAutofit/>
          </a:bodyPr>
          <a:lstStyle/>
          <a:p>
            <a:pPr lvl="0" algn="ctr"/>
            <a:r>
              <a:rPr lang="en-US" sz="2400" dirty="0">
                <a:latin typeface="Segoe UI Light"/>
              </a:rPr>
              <a:t>Analytics on any data, </a:t>
            </a:r>
            <a:br>
              <a:rPr lang="en-US" sz="2400" dirty="0">
                <a:latin typeface="Segoe UI Light"/>
              </a:rPr>
            </a:br>
            <a:r>
              <a:rPr lang="en-US" sz="2400" dirty="0">
                <a:latin typeface="Segoe UI Light"/>
              </a:rPr>
              <a:t>any size</a:t>
            </a:r>
          </a:p>
        </p:txBody>
      </p:sp>
      <p:sp>
        <p:nvSpPr>
          <p:cNvPr id="70" name="Rectangle 69"/>
          <p:cNvSpPr/>
          <p:nvPr/>
        </p:nvSpPr>
        <p:spPr>
          <a:xfrm>
            <a:off x="5313292" y="1727370"/>
            <a:ext cx="1570495" cy="584775"/>
          </a:xfrm>
          <a:prstGeom prst="rect">
            <a:avLst/>
          </a:prstGeom>
        </p:spPr>
        <p:txBody>
          <a:bodyPr wrap="none" lIns="0" tIns="0" rIns="0" bIns="0">
            <a:noAutofit/>
          </a:bodyPr>
          <a:lstStyle/>
          <a:p>
            <a:pPr lvl="0" algn="ctr"/>
            <a:r>
              <a:rPr lang="en-US" sz="2400" dirty="0">
                <a:latin typeface="Segoe UI Light"/>
              </a:rPr>
              <a:t>Easier and more </a:t>
            </a:r>
            <a:br>
              <a:rPr lang="en-US" sz="2400" dirty="0">
                <a:latin typeface="Segoe UI Light"/>
              </a:rPr>
            </a:br>
            <a:r>
              <a:rPr lang="en-US" sz="2400" dirty="0">
                <a:latin typeface="Segoe UI Light"/>
              </a:rPr>
              <a:t>productive for all users</a:t>
            </a:r>
          </a:p>
        </p:txBody>
      </p:sp>
      <p:sp>
        <p:nvSpPr>
          <p:cNvPr id="71" name="Rectangle 70"/>
          <p:cNvSpPr/>
          <p:nvPr/>
        </p:nvSpPr>
        <p:spPr>
          <a:xfrm>
            <a:off x="9377867" y="1833563"/>
            <a:ext cx="1570495" cy="584775"/>
          </a:xfrm>
          <a:prstGeom prst="rect">
            <a:avLst/>
          </a:prstGeom>
        </p:spPr>
        <p:txBody>
          <a:bodyPr wrap="none" lIns="0" tIns="0" rIns="0" bIns="0" anchor="ctr">
            <a:noAutofit/>
          </a:bodyPr>
          <a:lstStyle/>
          <a:p>
            <a:pPr lvl="0" algn="ctr"/>
            <a:r>
              <a:rPr lang="en-US" sz="2400" dirty="0">
                <a:latin typeface="Segoe UI Light"/>
              </a:rPr>
              <a:t>Enterprise-ready</a:t>
            </a:r>
          </a:p>
        </p:txBody>
      </p:sp>
      <p:grpSp>
        <p:nvGrpSpPr>
          <p:cNvPr id="15" name="Group 14"/>
          <p:cNvGrpSpPr/>
          <p:nvPr/>
        </p:nvGrpSpPr>
        <p:grpSpPr>
          <a:xfrm>
            <a:off x="4837676" y="4296028"/>
            <a:ext cx="2521727" cy="1268582"/>
            <a:chOff x="5752770" y="882436"/>
            <a:chExt cx="1506663" cy="757943"/>
          </a:xfrm>
        </p:grpSpPr>
        <p:sp>
          <p:nvSpPr>
            <p:cNvPr id="96" name="Freeform 95"/>
            <p:cNvSpPr>
              <a:spLocks/>
            </p:cNvSpPr>
            <p:nvPr/>
          </p:nvSpPr>
          <p:spPr bwMode="auto">
            <a:xfrm flipH="1">
              <a:off x="5752770" y="882436"/>
              <a:ext cx="828550" cy="757943"/>
            </a:xfrm>
            <a:custGeom>
              <a:avLst/>
              <a:gdLst/>
              <a:ahLst/>
              <a:cxnLst/>
              <a:rect l="l" t="t" r="r" b="b"/>
              <a:pathLst>
                <a:path w="310149" h="299015">
                  <a:moveTo>
                    <a:pt x="231101" y="150303"/>
                  </a:moveTo>
                  <a:cubicBezTo>
                    <a:pt x="283800" y="150303"/>
                    <a:pt x="308267" y="186102"/>
                    <a:pt x="310149" y="272772"/>
                  </a:cubicBezTo>
                  <a:cubicBezTo>
                    <a:pt x="296975" y="272772"/>
                    <a:pt x="234865" y="272772"/>
                    <a:pt x="223573" y="272772"/>
                  </a:cubicBezTo>
                  <a:cubicBezTo>
                    <a:pt x="223573" y="236973"/>
                    <a:pt x="217926" y="191754"/>
                    <a:pt x="197223" y="157840"/>
                  </a:cubicBezTo>
                  <a:close/>
                  <a:moveTo>
                    <a:pt x="101540" y="129626"/>
                  </a:moveTo>
                  <a:cubicBezTo>
                    <a:pt x="186156" y="129626"/>
                    <a:pt x="201199" y="204910"/>
                    <a:pt x="201199" y="299015"/>
                  </a:cubicBezTo>
                  <a:lnTo>
                    <a:pt x="0" y="299015"/>
                  </a:lnTo>
                  <a:cubicBezTo>
                    <a:pt x="0" y="204910"/>
                    <a:pt x="15043" y="129626"/>
                    <a:pt x="101540" y="129626"/>
                  </a:cubicBezTo>
                  <a:close/>
                  <a:moveTo>
                    <a:pt x="230226" y="45329"/>
                  </a:moveTo>
                  <a:cubicBezTo>
                    <a:pt x="255480" y="45329"/>
                    <a:pt x="275953" y="65446"/>
                    <a:pt x="275953" y="90261"/>
                  </a:cubicBezTo>
                  <a:cubicBezTo>
                    <a:pt x="275953" y="115076"/>
                    <a:pt x="255480" y="135193"/>
                    <a:pt x="230226" y="135193"/>
                  </a:cubicBezTo>
                  <a:cubicBezTo>
                    <a:pt x="204972" y="135193"/>
                    <a:pt x="184499" y="115076"/>
                    <a:pt x="184499" y="90261"/>
                  </a:cubicBezTo>
                  <a:cubicBezTo>
                    <a:pt x="184499" y="65446"/>
                    <a:pt x="204972" y="45329"/>
                    <a:pt x="230226" y="45329"/>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9050">
              <a:solidFill>
                <a:srgbClr val="00BCF2"/>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z="2200" spc="-135" dirty="0">
                <a:solidFill>
                  <a:schemeClr val="accent3"/>
                </a:solidFill>
                <a:latin typeface="Segoe Light" pitchFamily="34" charset="0"/>
              </a:endParaRPr>
            </a:p>
          </p:txBody>
        </p:sp>
        <p:sp>
          <p:nvSpPr>
            <p:cNvPr id="95" name="Freeform 94"/>
            <p:cNvSpPr>
              <a:spLocks/>
            </p:cNvSpPr>
            <p:nvPr/>
          </p:nvSpPr>
          <p:spPr bwMode="auto">
            <a:xfrm>
              <a:off x="6430883" y="882436"/>
              <a:ext cx="828550" cy="757943"/>
            </a:xfrm>
            <a:custGeom>
              <a:avLst/>
              <a:gdLst/>
              <a:ahLst/>
              <a:cxnLst/>
              <a:rect l="l" t="t" r="r" b="b"/>
              <a:pathLst>
                <a:path w="310149" h="299015">
                  <a:moveTo>
                    <a:pt x="231101" y="150303"/>
                  </a:moveTo>
                  <a:cubicBezTo>
                    <a:pt x="283800" y="150303"/>
                    <a:pt x="308267" y="186102"/>
                    <a:pt x="310149" y="272772"/>
                  </a:cubicBezTo>
                  <a:cubicBezTo>
                    <a:pt x="296975" y="272772"/>
                    <a:pt x="234865" y="272772"/>
                    <a:pt x="223573" y="272772"/>
                  </a:cubicBezTo>
                  <a:cubicBezTo>
                    <a:pt x="223573" y="236973"/>
                    <a:pt x="217926" y="191754"/>
                    <a:pt x="197223" y="157840"/>
                  </a:cubicBezTo>
                  <a:close/>
                  <a:moveTo>
                    <a:pt x="101540" y="129626"/>
                  </a:moveTo>
                  <a:cubicBezTo>
                    <a:pt x="186156" y="129626"/>
                    <a:pt x="201199" y="204910"/>
                    <a:pt x="201199" y="299015"/>
                  </a:cubicBezTo>
                  <a:lnTo>
                    <a:pt x="0" y="299015"/>
                  </a:lnTo>
                  <a:cubicBezTo>
                    <a:pt x="0" y="204910"/>
                    <a:pt x="15043" y="129626"/>
                    <a:pt x="101540" y="129626"/>
                  </a:cubicBezTo>
                  <a:close/>
                  <a:moveTo>
                    <a:pt x="230226" y="45329"/>
                  </a:moveTo>
                  <a:cubicBezTo>
                    <a:pt x="255480" y="45329"/>
                    <a:pt x="275953" y="65446"/>
                    <a:pt x="275953" y="90261"/>
                  </a:cubicBezTo>
                  <a:cubicBezTo>
                    <a:pt x="275953" y="115076"/>
                    <a:pt x="255480" y="135193"/>
                    <a:pt x="230226" y="135193"/>
                  </a:cubicBezTo>
                  <a:cubicBezTo>
                    <a:pt x="204972" y="135193"/>
                    <a:pt x="184499" y="115076"/>
                    <a:pt x="184499" y="90261"/>
                  </a:cubicBezTo>
                  <a:cubicBezTo>
                    <a:pt x="184499" y="65446"/>
                    <a:pt x="204972" y="45329"/>
                    <a:pt x="230226" y="45329"/>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9050">
              <a:solidFill>
                <a:schemeClr val="accent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z="2200" spc="-135" dirty="0">
                <a:solidFill>
                  <a:schemeClr val="accent3"/>
                </a:solidFill>
                <a:latin typeface="Segoe Light" pitchFamily="34" charset="0"/>
              </a:endParaRPr>
            </a:p>
          </p:txBody>
        </p:sp>
      </p:grpSp>
      <p:sp>
        <p:nvSpPr>
          <p:cNvPr id="113" name="Rectangle 112"/>
          <p:cNvSpPr/>
          <p:nvPr/>
        </p:nvSpPr>
        <p:spPr bwMode="auto">
          <a:xfrm>
            <a:off x="0" y="1632940"/>
            <a:ext cx="4064575" cy="4700271"/>
          </a:xfrm>
          <a:prstGeom prst="rect">
            <a:avLst/>
          </a:prstGeom>
          <a:solidFill>
            <a:schemeClr val="tx1">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14" name="Rectangle 113"/>
          <p:cNvSpPr/>
          <p:nvPr/>
        </p:nvSpPr>
        <p:spPr bwMode="auto">
          <a:xfrm>
            <a:off x="4069652" y="1632940"/>
            <a:ext cx="4064576" cy="4700271"/>
          </a:xfrm>
          <a:prstGeom prst="rect">
            <a:avLst/>
          </a:prstGeom>
          <a:solidFill>
            <a:schemeClr val="tx1">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cxnSp>
        <p:nvCxnSpPr>
          <p:cNvPr id="72" name="Straight Connector 71"/>
          <p:cNvCxnSpPr/>
          <p:nvPr/>
        </p:nvCxnSpPr>
        <p:spPr>
          <a:xfrm>
            <a:off x="8134228" y="1669771"/>
            <a:ext cx="0" cy="466344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8134228" y="1580322"/>
            <a:ext cx="0" cy="10386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4069653" y="1669771"/>
            <a:ext cx="0" cy="466344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4069653" y="1632940"/>
            <a:ext cx="0" cy="9860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17123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459" y="511827"/>
            <a:ext cx="5880828" cy="2200893"/>
          </a:xfrm>
        </p:spPr>
        <p:txBody>
          <a:bodyPr/>
          <a:lstStyle/>
          <a:p>
            <a:r>
              <a:rPr lang="en-US" dirty="0"/>
              <a:t>Highest availability guarantee in the industry for peace of mind</a:t>
            </a:r>
          </a:p>
        </p:txBody>
      </p:sp>
      <p:sp>
        <p:nvSpPr>
          <p:cNvPr id="4" name="Text Placeholder 3"/>
          <p:cNvSpPr>
            <a:spLocks noGrp="1"/>
          </p:cNvSpPr>
          <p:nvPr>
            <p:ph type="body" sz="quarter" idx="10"/>
          </p:nvPr>
        </p:nvSpPr>
        <p:spPr>
          <a:xfrm>
            <a:off x="6613913" y="933098"/>
            <a:ext cx="5155721" cy="4367349"/>
          </a:xfrm>
        </p:spPr>
        <p:txBody>
          <a:bodyPr/>
          <a:lstStyle/>
          <a:p>
            <a:pPr>
              <a:spcBef>
                <a:spcPts val="0"/>
              </a:spcBef>
              <a:spcAft>
                <a:spcPts val="1800"/>
              </a:spcAft>
            </a:pPr>
            <a:r>
              <a:rPr lang="en-US" dirty="0"/>
              <a:t>Managed, monitored and supported by Microsoft</a:t>
            </a:r>
          </a:p>
          <a:p>
            <a:pPr>
              <a:spcBef>
                <a:spcPts val="0"/>
              </a:spcBef>
              <a:spcAft>
                <a:spcPts val="1800"/>
              </a:spcAft>
            </a:pPr>
            <a:r>
              <a:rPr lang="en-US" dirty="0"/>
              <a:t>Enterprise-leading SLA—99.9% uptime</a:t>
            </a:r>
          </a:p>
          <a:p>
            <a:pPr>
              <a:spcBef>
                <a:spcPts val="0"/>
              </a:spcBef>
              <a:spcAft>
                <a:spcPts val="1800"/>
              </a:spcAft>
            </a:pPr>
            <a:r>
              <a:rPr lang="en-US" dirty="0"/>
              <a:t>No IT resources needed for upgrades and patching</a:t>
            </a:r>
          </a:p>
          <a:p>
            <a:pPr>
              <a:spcBef>
                <a:spcPts val="0"/>
              </a:spcBef>
              <a:spcAft>
                <a:spcPts val="1800"/>
              </a:spcAft>
            </a:pPr>
            <a:r>
              <a:rPr lang="en-US" dirty="0"/>
              <a:t>Microsoft monitors your deployment so you don’t have to</a:t>
            </a:r>
          </a:p>
        </p:txBody>
      </p:sp>
      <p:sp>
        <p:nvSpPr>
          <p:cNvPr id="9" name="Rectangle 8"/>
          <p:cNvSpPr/>
          <p:nvPr/>
        </p:nvSpPr>
        <p:spPr>
          <a:xfrm>
            <a:off x="61625" y="5988762"/>
            <a:ext cx="2295833" cy="230832"/>
          </a:xfrm>
          <a:prstGeom prst="rect">
            <a:avLst/>
          </a:prstGeom>
          <a:noFill/>
        </p:spPr>
        <p:txBody>
          <a:bodyPr wrap="square">
            <a:spAutoFit/>
          </a:bodyPr>
          <a:lstStyle/>
          <a:p>
            <a:pPr marL="0" lvl="1" defTabSz="913788">
              <a:buSzPct val="60000"/>
              <a:tabLst>
                <a:tab pos="230321" algn="l"/>
              </a:tabLst>
              <a:defRPr/>
            </a:pPr>
            <a:r>
              <a:rPr lang="en-US" sz="900" spc="-29" dirty="0">
                <a:solidFill>
                  <a:sysClr val="windowText" lastClr="000000"/>
                </a:solidFill>
                <a:latin typeface="Segoe UI" panose="020B0502040204020203" pitchFamily="34" charset="0"/>
                <a:cs typeface="Segoe UI" panose="020B0502040204020203" pitchFamily="34" charset="0"/>
              </a:rPr>
              <a:t>*Applies to HDInsight only</a:t>
            </a:r>
          </a:p>
        </p:txBody>
      </p:sp>
      <p:grpSp>
        <p:nvGrpSpPr>
          <p:cNvPr id="3" name="Group 2"/>
          <p:cNvGrpSpPr/>
          <p:nvPr/>
        </p:nvGrpSpPr>
        <p:grpSpPr>
          <a:xfrm>
            <a:off x="254090" y="3099212"/>
            <a:ext cx="2799210" cy="2924052"/>
            <a:chOff x="317701" y="3353164"/>
            <a:chExt cx="2361918" cy="2467257"/>
          </a:xfrm>
        </p:grpSpPr>
        <p:sp>
          <p:nvSpPr>
            <p:cNvPr id="7" name="TextBox 6"/>
            <p:cNvSpPr txBox="1"/>
            <p:nvPr/>
          </p:nvSpPr>
          <p:spPr>
            <a:xfrm>
              <a:off x="317701" y="5192557"/>
              <a:ext cx="2361918"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0BCF2"/>
                  </a:solidFill>
                  <a:latin typeface="+mj-lt"/>
                </a:rPr>
                <a:t>99.9% SLA</a:t>
              </a:r>
            </a:p>
          </p:txBody>
        </p:sp>
        <p:grpSp>
          <p:nvGrpSpPr>
            <p:cNvPr id="21" name="Group 20"/>
            <p:cNvGrpSpPr/>
            <p:nvPr/>
          </p:nvGrpSpPr>
          <p:grpSpPr>
            <a:xfrm>
              <a:off x="556756" y="3353164"/>
              <a:ext cx="1883808" cy="1888382"/>
              <a:chOff x="2098833" y="2665190"/>
              <a:chExt cx="1883808" cy="1888382"/>
            </a:xfrm>
          </p:grpSpPr>
          <p:sp>
            <p:nvSpPr>
              <p:cNvPr id="12" name="Oval 11"/>
              <p:cNvSpPr/>
              <p:nvPr/>
            </p:nvSpPr>
            <p:spPr bwMode="auto">
              <a:xfrm rot="2700000">
                <a:off x="2739565" y="2667478"/>
                <a:ext cx="602343" cy="1883808"/>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13" name="Oval 12"/>
              <p:cNvSpPr/>
              <p:nvPr/>
            </p:nvSpPr>
            <p:spPr bwMode="auto">
              <a:xfrm rot="8100000">
                <a:off x="2739565" y="2665190"/>
                <a:ext cx="602343" cy="1888382"/>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 name="Oval 4"/>
              <p:cNvSpPr/>
              <p:nvPr/>
            </p:nvSpPr>
            <p:spPr bwMode="auto">
              <a:xfrm>
                <a:off x="2795590" y="2766489"/>
                <a:ext cx="490295" cy="1685786"/>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0" name="Oval 9"/>
              <p:cNvSpPr/>
              <p:nvPr/>
            </p:nvSpPr>
            <p:spPr bwMode="auto">
              <a:xfrm rot="5400000">
                <a:off x="2795591" y="2766487"/>
                <a:ext cx="490295" cy="1685788"/>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5" name="Oval 14"/>
              <p:cNvSpPr/>
              <p:nvPr/>
            </p:nvSpPr>
            <p:spPr bwMode="auto">
              <a:xfrm>
                <a:off x="2909668" y="3476853"/>
                <a:ext cx="256602" cy="256600"/>
              </a:xfrm>
              <a:prstGeom prst="ellipse">
                <a:avLst/>
              </a:prstGeom>
              <a:solidFill>
                <a:schemeClr val="tx1"/>
              </a:solidFill>
              <a:ln w="1905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6" name="Oval 15"/>
              <p:cNvSpPr/>
              <p:nvPr/>
            </p:nvSpPr>
            <p:spPr bwMode="auto">
              <a:xfrm>
                <a:off x="2823610" y="4245384"/>
                <a:ext cx="133358" cy="133358"/>
              </a:xfrm>
              <a:prstGeom prst="ellipse">
                <a:avLst/>
              </a:prstGeom>
              <a:solidFill>
                <a:schemeClr val="tx1"/>
              </a:solidFill>
              <a:ln w="127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7" name="Oval 16"/>
              <p:cNvSpPr/>
              <p:nvPr/>
            </p:nvSpPr>
            <p:spPr bwMode="auto">
              <a:xfrm>
                <a:off x="2296680" y="3066659"/>
                <a:ext cx="133358" cy="133358"/>
              </a:xfrm>
              <a:prstGeom prst="ellipse">
                <a:avLst/>
              </a:prstGeom>
              <a:solidFill>
                <a:schemeClr val="tx1"/>
              </a:solidFill>
              <a:ln w="127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8" name="Oval 17"/>
              <p:cNvSpPr/>
              <p:nvPr/>
            </p:nvSpPr>
            <p:spPr bwMode="auto">
              <a:xfrm>
                <a:off x="3269244" y="2933301"/>
                <a:ext cx="133358" cy="133358"/>
              </a:xfrm>
              <a:prstGeom prst="ellipse">
                <a:avLst/>
              </a:prstGeom>
              <a:solidFill>
                <a:schemeClr val="tx1"/>
              </a:solidFill>
              <a:ln w="127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9" name="Oval 18"/>
              <p:cNvSpPr/>
              <p:nvPr/>
            </p:nvSpPr>
            <p:spPr bwMode="auto">
              <a:xfrm>
                <a:off x="3696710" y="3679608"/>
                <a:ext cx="133358" cy="133358"/>
              </a:xfrm>
              <a:prstGeom prst="ellipse">
                <a:avLst/>
              </a:prstGeom>
              <a:solidFill>
                <a:schemeClr val="tx1"/>
              </a:solidFill>
              <a:ln w="127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grpSp>
    </p:spTree>
    <p:extLst>
      <p:ext uri="{BB962C8B-B14F-4D97-AF65-F5344CB8AC3E}">
        <p14:creationId xmlns:p14="http://schemas.microsoft.com/office/powerpoint/2010/main" val="48304055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0" y="0"/>
            <a:ext cx="12192000" cy="6361043"/>
          </a:xfrm>
          <a:prstGeom prst="rect">
            <a:avLst/>
          </a:prstGeom>
          <a:solidFill>
            <a:srgbClr val="00BCF2">
              <a:alpha val="8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 name="Rectangle 4"/>
          <p:cNvSpPr/>
          <p:nvPr/>
        </p:nvSpPr>
        <p:spPr bwMode="auto">
          <a:xfrm>
            <a:off x="5175" y="4563516"/>
            <a:ext cx="3691765" cy="177367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53" name="World map" descr="world-map.png"/>
          <p:cNvPicPr>
            <a:picLocks noChangeAspect="1"/>
          </p:cNvPicPr>
          <p:nvPr/>
        </p:nvPicPr>
        <p:blipFill rotWithShape="1">
          <a:blip r:embed="rId3" cstate="email">
            <a:lum bright="70000" contrast="-70000"/>
            <a:extLst>
              <a:ext uri="{28A0092B-C50C-407E-A947-70E740481C1C}">
                <a14:useLocalDpi xmlns:a14="http://schemas.microsoft.com/office/drawing/2010/main"/>
              </a:ext>
            </a:extLst>
          </a:blip>
          <a:srcRect b="7370"/>
          <a:stretch/>
        </p:blipFill>
        <p:spPr>
          <a:xfrm>
            <a:off x="-11766" y="639449"/>
            <a:ext cx="12180750" cy="5697741"/>
          </a:xfrm>
          <a:prstGeom prst="rect">
            <a:avLst/>
          </a:prstGeom>
          <a:noFill/>
          <a:ln>
            <a:noFill/>
          </a:ln>
        </p:spPr>
      </p:pic>
      <p:pic>
        <p:nvPicPr>
          <p:cNvPr id="173" name="Picture 17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82018" y="2852707"/>
            <a:ext cx="549144" cy="527467"/>
          </a:xfrm>
          <a:prstGeom prst="rect">
            <a:avLst/>
          </a:prstGeom>
          <a:effectLst>
            <a:outerShdw blurRad="63500" sx="102000" sy="102000" algn="ctr" rotWithShape="0">
              <a:srgbClr val="0078D7">
                <a:alpha val="40000"/>
              </a:srgbClr>
            </a:outerShdw>
          </a:effectLst>
        </p:spPr>
      </p:pic>
      <p:sp>
        <p:nvSpPr>
          <p:cNvPr id="2" name="Title 1"/>
          <p:cNvSpPr>
            <a:spLocks noGrp="1"/>
          </p:cNvSpPr>
          <p:nvPr>
            <p:ph type="title"/>
          </p:nvPr>
        </p:nvSpPr>
        <p:spPr/>
        <p:txBody>
          <a:bodyPr/>
          <a:lstStyle/>
          <a:p>
            <a:r>
              <a:rPr lang="en-US" dirty="0">
                <a:solidFill>
                  <a:schemeClr val="tx1"/>
                </a:solidFill>
              </a:rPr>
              <a:t>Runs in the most datacenters worldwide</a:t>
            </a:r>
          </a:p>
        </p:txBody>
      </p:sp>
      <p:sp>
        <p:nvSpPr>
          <p:cNvPr id="3" name="Rectangle 2"/>
          <p:cNvSpPr/>
          <p:nvPr/>
        </p:nvSpPr>
        <p:spPr>
          <a:xfrm>
            <a:off x="211500" y="4926969"/>
            <a:ext cx="3246527" cy="1046440"/>
          </a:xfrm>
          <a:prstGeom prst="rect">
            <a:avLst/>
          </a:prstGeom>
          <a:noFill/>
        </p:spPr>
        <p:txBody>
          <a:bodyPr wrap="square">
            <a:spAutoFit/>
          </a:bodyPr>
          <a:lstStyle/>
          <a:p>
            <a:pPr marL="0" lvl="1" defTabSz="913788">
              <a:spcAft>
                <a:spcPts val="1200"/>
              </a:spcAft>
              <a:buSzPct val="100000"/>
              <a:tabLst>
                <a:tab pos="230321" algn="l"/>
              </a:tabLst>
              <a:defRPr/>
            </a:pPr>
            <a:r>
              <a:rPr lang="en-US" sz="2000" spc="-29" dirty="0">
                <a:latin typeface="Segoe UI Semilight" panose="020B0402040204020203" pitchFamily="34" charset="0"/>
                <a:ea typeface="Yu Gothic UI Semilight" panose="020B0400000000000000" pitchFamily="34" charset="-128"/>
                <a:cs typeface="Segoe UI Semilight" panose="020B0402040204020203" pitchFamily="34" charset="0"/>
              </a:rPr>
              <a:t>Azure doubling compute </a:t>
            </a:r>
            <a:br>
              <a:rPr lang="en-US" sz="2000" spc="-29" dirty="0">
                <a:latin typeface="Segoe UI Semilight" panose="020B0402040204020203" pitchFamily="34" charset="0"/>
                <a:ea typeface="Yu Gothic UI Semilight" panose="020B0400000000000000" pitchFamily="34" charset="-128"/>
                <a:cs typeface="Segoe UI Semilight" panose="020B0402040204020203" pitchFamily="34" charset="0"/>
              </a:rPr>
            </a:br>
            <a:r>
              <a:rPr lang="en-US" sz="2000" spc="-29" dirty="0">
                <a:latin typeface="Segoe UI Semilight" panose="020B0402040204020203" pitchFamily="34" charset="0"/>
                <a:ea typeface="Yu Gothic UI Semilight" panose="020B0400000000000000" pitchFamily="34" charset="-128"/>
                <a:cs typeface="Segoe UI Semilight" panose="020B0402040204020203" pitchFamily="34" charset="0"/>
              </a:rPr>
              <a:t>and storage every 6 months</a:t>
            </a:r>
          </a:p>
          <a:p>
            <a:pPr marL="0" lvl="1" defTabSz="913788">
              <a:spcAft>
                <a:spcPts val="1200"/>
              </a:spcAft>
              <a:buSzPct val="100000"/>
              <a:tabLst>
                <a:tab pos="230321" algn="l"/>
              </a:tabLst>
              <a:defRPr/>
            </a:pPr>
            <a:r>
              <a:rPr lang="en-US" sz="1100" spc="-29" dirty="0">
                <a:ea typeface="Yu Gothic UI Semilight" panose="020B0400000000000000" pitchFamily="34" charset="-128"/>
                <a:cs typeface="Segoe UI Semilight" panose="020B0402040204020203" pitchFamily="34" charset="0"/>
              </a:rPr>
              <a:t>*Applies to HDInsight only</a:t>
            </a:r>
          </a:p>
        </p:txBody>
      </p:sp>
      <p:pic>
        <p:nvPicPr>
          <p:cNvPr id="129" name="Picture 1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69520" y="4083923"/>
            <a:ext cx="549144" cy="527467"/>
          </a:xfrm>
          <a:prstGeom prst="rect">
            <a:avLst/>
          </a:prstGeom>
          <a:effectLst>
            <a:outerShdw blurRad="63500" sx="102000" sy="102000" algn="ctr" rotWithShape="0">
              <a:srgbClr val="0078D7">
                <a:alpha val="40000"/>
              </a:srgbClr>
            </a:outerShdw>
          </a:effectLst>
        </p:spPr>
      </p:pic>
      <p:pic>
        <p:nvPicPr>
          <p:cNvPr id="131" name="Picture 1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372100" y="3443744"/>
            <a:ext cx="549144" cy="527467"/>
          </a:xfrm>
          <a:prstGeom prst="rect">
            <a:avLst/>
          </a:prstGeom>
          <a:effectLst>
            <a:outerShdw blurRad="63500" sx="102000" sy="102000" algn="ctr" rotWithShape="0">
              <a:srgbClr val="0078D7">
                <a:alpha val="40000"/>
              </a:srgbClr>
            </a:outerShdw>
          </a:effectLst>
        </p:spPr>
      </p:pic>
      <p:pic>
        <p:nvPicPr>
          <p:cNvPr id="138" name="Picture 13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42444" y="5402568"/>
            <a:ext cx="549144" cy="527467"/>
          </a:xfrm>
          <a:prstGeom prst="rect">
            <a:avLst/>
          </a:prstGeom>
          <a:effectLst>
            <a:outerShdw blurRad="63500" sx="102000" sy="102000" algn="ctr" rotWithShape="0">
              <a:srgbClr val="0078D7">
                <a:alpha val="40000"/>
              </a:srgbClr>
            </a:outerShdw>
          </a:effectLst>
        </p:spPr>
      </p:pic>
      <p:pic>
        <p:nvPicPr>
          <p:cNvPr id="139" name="Picture 1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657635" y="5276700"/>
            <a:ext cx="549144" cy="527467"/>
          </a:xfrm>
          <a:prstGeom prst="rect">
            <a:avLst/>
          </a:prstGeom>
          <a:effectLst>
            <a:outerShdw blurRad="63500" sx="102000" sy="102000" algn="ctr" rotWithShape="0">
              <a:srgbClr val="0078D7">
                <a:alpha val="40000"/>
              </a:srgbClr>
            </a:outerShdw>
          </a:effectLst>
        </p:spPr>
      </p:pic>
      <p:pic>
        <p:nvPicPr>
          <p:cNvPr id="140" name="Picture 13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76428" y="3165730"/>
            <a:ext cx="549144" cy="527467"/>
          </a:xfrm>
          <a:prstGeom prst="rect">
            <a:avLst/>
          </a:prstGeom>
          <a:effectLst>
            <a:outerShdw blurRad="63500" sx="102000" sy="102000" algn="ctr" rotWithShape="0">
              <a:srgbClr val="0078D7">
                <a:alpha val="40000"/>
              </a:srgbClr>
            </a:outerShdw>
          </a:effectLst>
        </p:spPr>
      </p:pic>
      <p:pic>
        <p:nvPicPr>
          <p:cNvPr id="141" name="Picture 14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42881" y="2870919"/>
            <a:ext cx="549144" cy="527467"/>
          </a:xfrm>
          <a:prstGeom prst="rect">
            <a:avLst/>
          </a:prstGeom>
          <a:effectLst>
            <a:outerShdw blurRad="63500" sx="102000" sy="102000" algn="ctr" rotWithShape="0">
              <a:srgbClr val="0078D7">
                <a:alpha val="40000"/>
              </a:srgbClr>
            </a:outerShdw>
          </a:effectLst>
        </p:spPr>
      </p:pic>
      <p:pic>
        <p:nvPicPr>
          <p:cNvPr id="142" name="Picture 1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62045" y="2851569"/>
            <a:ext cx="549144" cy="527467"/>
          </a:xfrm>
          <a:prstGeom prst="rect">
            <a:avLst/>
          </a:prstGeom>
          <a:effectLst>
            <a:outerShdw blurRad="63500" sx="102000" sy="102000" algn="ctr" rotWithShape="0">
              <a:srgbClr val="0078D7">
                <a:alpha val="40000"/>
              </a:srgbClr>
            </a:outerShdw>
          </a:effectLst>
        </p:spPr>
      </p:pic>
      <p:pic>
        <p:nvPicPr>
          <p:cNvPr id="143" name="Picture 14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73302" y="2993581"/>
            <a:ext cx="549144" cy="527467"/>
          </a:xfrm>
          <a:prstGeom prst="rect">
            <a:avLst/>
          </a:prstGeom>
          <a:effectLst>
            <a:outerShdw blurRad="63500" sx="102000" sy="102000" algn="ctr" rotWithShape="0">
              <a:srgbClr val="0078D7">
                <a:alpha val="40000"/>
              </a:srgbClr>
            </a:outerShdw>
          </a:effectLst>
        </p:spPr>
      </p:pic>
      <p:cxnSp>
        <p:nvCxnSpPr>
          <p:cNvPr id="114" name="Straight Connector 113"/>
          <p:cNvCxnSpPr>
            <a:stCxn id="113" idx="3"/>
          </p:cNvCxnSpPr>
          <p:nvPr/>
        </p:nvCxnSpPr>
        <p:spPr>
          <a:xfrm flipV="1">
            <a:off x="8916310" y="4351284"/>
            <a:ext cx="425462" cy="145758"/>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640016" y="3710852"/>
            <a:ext cx="344640" cy="266361"/>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028310" y="3133872"/>
            <a:ext cx="822690" cy="299721"/>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452757" y="3261463"/>
            <a:ext cx="410042" cy="60807"/>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541995" y="2865116"/>
            <a:ext cx="320804" cy="259710"/>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721759" y="2736932"/>
            <a:ext cx="168216" cy="403312"/>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0927894" y="5183378"/>
            <a:ext cx="191820" cy="360766"/>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161476" y="5556311"/>
            <a:ext cx="551791" cy="114588"/>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55653" y="2372023"/>
            <a:ext cx="549144" cy="527467"/>
          </a:xfrm>
          <a:prstGeom prst="rect">
            <a:avLst/>
          </a:prstGeom>
          <a:effectLst>
            <a:outerShdw blurRad="63500" sx="102000" sy="102000" algn="ctr" rotWithShape="0">
              <a:srgbClr val="0078D7">
                <a:alpha val="40000"/>
              </a:srgbClr>
            </a:outerShdw>
          </a:effectLst>
        </p:spPr>
      </p:pic>
      <p:pic>
        <p:nvPicPr>
          <p:cNvPr id="147" name="Picture 1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28515" y="2346050"/>
            <a:ext cx="549144" cy="527467"/>
          </a:xfrm>
          <a:prstGeom prst="rect">
            <a:avLst/>
          </a:prstGeom>
          <a:effectLst>
            <a:outerShdw blurRad="63500" sx="102000" sy="102000" algn="ctr" rotWithShape="0">
              <a:srgbClr val="0078D7">
                <a:alpha val="40000"/>
              </a:srgbClr>
            </a:outerShdw>
          </a:effectLst>
        </p:spPr>
      </p:pic>
      <p:cxnSp>
        <p:nvCxnSpPr>
          <p:cNvPr id="144" name="Straight Connector 143"/>
          <p:cNvCxnSpPr>
            <a:stCxn id="92" idx="2"/>
          </p:cNvCxnSpPr>
          <p:nvPr/>
        </p:nvCxnSpPr>
        <p:spPr>
          <a:xfrm flipH="1">
            <a:off x="6134345" y="2306028"/>
            <a:ext cx="334480" cy="335823"/>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0"/>
          </p:cNvCxnSpPr>
          <p:nvPr/>
        </p:nvCxnSpPr>
        <p:spPr>
          <a:xfrm flipV="1">
            <a:off x="5211992" y="2613116"/>
            <a:ext cx="491839" cy="123815"/>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58387" y="3122324"/>
            <a:ext cx="394790" cy="54016"/>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90381" y="3275326"/>
            <a:ext cx="549144" cy="527467"/>
          </a:xfrm>
          <a:prstGeom prst="rect">
            <a:avLst/>
          </a:prstGeom>
          <a:effectLst>
            <a:outerShdw blurRad="63500" sx="102000" sy="102000" algn="ctr" rotWithShape="0">
              <a:srgbClr val="0078D7">
                <a:alpha val="40000"/>
              </a:srgbClr>
            </a:outerShdw>
          </a:effectLst>
        </p:spPr>
      </p:pic>
      <p:pic>
        <p:nvPicPr>
          <p:cNvPr id="177" name="Picture 17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32216" y="2741705"/>
            <a:ext cx="549144" cy="527467"/>
          </a:xfrm>
          <a:prstGeom prst="rect">
            <a:avLst/>
          </a:prstGeom>
          <a:effectLst>
            <a:outerShdw blurRad="63500" sx="102000" sy="102000" algn="ctr" rotWithShape="0">
              <a:srgbClr val="0078D7">
                <a:alpha val="40000"/>
              </a:srgbClr>
            </a:outerShdw>
          </a:effectLst>
        </p:spPr>
      </p:pic>
      <p:pic>
        <p:nvPicPr>
          <p:cNvPr id="178" name="Picture 1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61540" y="2821431"/>
            <a:ext cx="549144" cy="527467"/>
          </a:xfrm>
          <a:prstGeom prst="rect">
            <a:avLst/>
          </a:prstGeom>
          <a:effectLst>
            <a:outerShdw blurRad="63500" sx="102000" sy="102000" algn="ctr" rotWithShape="0">
              <a:srgbClr val="0078D7">
                <a:alpha val="40000"/>
              </a:srgbClr>
            </a:outerShdw>
          </a:effectLst>
        </p:spPr>
      </p:pic>
      <p:pic>
        <p:nvPicPr>
          <p:cNvPr id="181" name="Picture 18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61538" y="2946529"/>
            <a:ext cx="549144" cy="527467"/>
          </a:xfrm>
          <a:prstGeom prst="rect">
            <a:avLst/>
          </a:prstGeom>
          <a:effectLst>
            <a:outerShdw blurRad="63500" sx="102000" sy="102000" algn="ctr" rotWithShape="0">
              <a:srgbClr val="0078D7">
                <a:alpha val="40000"/>
              </a:srgbClr>
            </a:outerShdw>
          </a:effectLst>
        </p:spPr>
      </p:pic>
      <p:pic>
        <p:nvPicPr>
          <p:cNvPr id="182" name="Picture 18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16055" y="4907207"/>
            <a:ext cx="549144" cy="527467"/>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333886" y="3153761"/>
            <a:ext cx="655790" cy="60749"/>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stCxn id="85" idx="2"/>
          </p:cNvCxnSpPr>
          <p:nvPr/>
        </p:nvCxnSpPr>
        <p:spPr>
          <a:xfrm>
            <a:off x="2685785" y="2054938"/>
            <a:ext cx="352552" cy="1040112"/>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55098" y="2558499"/>
            <a:ext cx="754268" cy="452488"/>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10840" y="3543193"/>
            <a:ext cx="451415" cy="137855"/>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333886" y="3215950"/>
            <a:ext cx="937962" cy="345846"/>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487797" y="5177842"/>
            <a:ext cx="371676" cy="264657"/>
          </a:xfrm>
          <a:prstGeom prst="line">
            <a:avLst/>
          </a:prstGeom>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bwMode="auto">
          <a:xfrm>
            <a:off x="1838370" y="2192980"/>
            <a:ext cx="633455"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Central US</a:t>
            </a:r>
          </a:p>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54817" y="2993580"/>
            <a:ext cx="603572"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West US</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California</a:t>
            </a:r>
          </a:p>
        </p:txBody>
      </p:sp>
      <p:sp>
        <p:nvSpPr>
          <p:cNvPr id="76" name="Rectangle 75"/>
          <p:cNvSpPr/>
          <p:nvPr/>
        </p:nvSpPr>
        <p:spPr bwMode="auto">
          <a:xfrm>
            <a:off x="3989676" y="2971001"/>
            <a:ext cx="568819"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East US</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31162" y="1689419"/>
            <a:ext cx="909246"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North Central US</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Illinois</a:t>
            </a:r>
          </a:p>
        </p:txBody>
      </p:sp>
      <p:sp>
        <p:nvSpPr>
          <p:cNvPr id="88" name="Rectangle 87"/>
          <p:cNvSpPr>
            <a:spLocks/>
          </p:cNvSpPr>
          <p:nvPr/>
        </p:nvSpPr>
        <p:spPr bwMode="auto">
          <a:xfrm>
            <a:off x="1357997" y="3498288"/>
            <a:ext cx="952843"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South Central US</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859473" y="5259739"/>
            <a:ext cx="844357"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Brazil South</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Sao Paulo State</a:t>
            </a:r>
          </a:p>
        </p:txBody>
      </p:sp>
      <p:sp>
        <p:nvSpPr>
          <p:cNvPr id="92" name="Rectangle 91"/>
          <p:cNvSpPr/>
          <p:nvPr/>
        </p:nvSpPr>
        <p:spPr bwMode="auto">
          <a:xfrm>
            <a:off x="6078609" y="1940509"/>
            <a:ext cx="780431"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West Europe</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498289" y="2371413"/>
            <a:ext cx="783372"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China North*</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647303" y="2768353"/>
            <a:ext cx="762013"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China South*</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0862799" y="2682356"/>
            <a:ext cx="882617"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Japan East</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Tokyo, Saitama</a:t>
            </a:r>
          </a:p>
        </p:txBody>
      </p:sp>
      <p:sp>
        <p:nvSpPr>
          <p:cNvPr id="99" name="Rectangle 98"/>
          <p:cNvSpPr/>
          <p:nvPr/>
        </p:nvSpPr>
        <p:spPr bwMode="auto">
          <a:xfrm>
            <a:off x="10862799" y="3139510"/>
            <a:ext cx="721991"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Japan West</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Osaka</a:t>
            </a:r>
          </a:p>
        </p:txBody>
      </p:sp>
      <p:sp>
        <p:nvSpPr>
          <p:cNvPr id="110" name="Rectangle 109"/>
          <p:cNvSpPr/>
          <p:nvPr/>
        </p:nvSpPr>
        <p:spPr bwMode="auto">
          <a:xfrm>
            <a:off x="9984656" y="3794453"/>
            <a:ext cx="721712"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East Asia</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294853" y="4314282"/>
            <a:ext cx="621457"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SE Asia</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145442" y="5373551"/>
            <a:ext cx="1016034"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Australia South East</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654637" y="4817859"/>
            <a:ext cx="930153"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Australia East</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New South Wales</a:t>
            </a:r>
          </a:p>
        </p:txBody>
      </p:sp>
      <p:sp>
        <p:nvSpPr>
          <p:cNvPr id="121" name="Rectangle 120"/>
          <p:cNvSpPr/>
          <p:nvPr/>
        </p:nvSpPr>
        <p:spPr bwMode="auto">
          <a:xfrm>
            <a:off x="8050000" y="3214372"/>
            <a:ext cx="722678" cy="274687"/>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India Central</a:t>
            </a:r>
          </a:p>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39230" y="3571939"/>
            <a:ext cx="549144" cy="527467"/>
          </a:xfrm>
          <a:prstGeom prst="rect">
            <a:avLst/>
          </a:prstGeom>
          <a:noFill/>
          <a:effectLst>
            <a:outerShdw blurRad="63500" sx="102000" sy="102000" algn="ctr" rotWithShape="0">
              <a:srgbClr val="0078D7">
                <a:alpha val="40000"/>
              </a:srgbClr>
            </a:outerShdw>
          </a:effectLst>
        </p:spPr>
      </p:pic>
      <p:cxnSp>
        <p:nvCxnSpPr>
          <p:cNvPr id="126" name="Straight Connector 125"/>
          <p:cNvCxnSpPr>
            <a:stCxn id="121" idx="2"/>
          </p:cNvCxnSpPr>
          <p:nvPr/>
        </p:nvCxnSpPr>
        <p:spPr>
          <a:xfrm>
            <a:off x="8411339" y="3489059"/>
            <a:ext cx="6445" cy="352974"/>
          </a:xfrm>
          <a:prstGeom prst="line">
            <a:avLst/>
          </a:prstGeom>
          <a:solidFill>
            <a:srgbClr val="0078D7"/>
          </a:solidFill>
          <a:ln>
            <a:solidFill>
              <a:srgbClr val="4EB1FF"/>
            </a:solidFill>
            <a:tailEnd type="oval" w="med" len="med"/>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bwMode="auto">
          <a:xfrm>
            <a:off x="4809346" y="2736931"/>
            <a:ext cx="805291"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North Europe</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Ireland</a:t>
            </a:r>
          </a:p>
        </p:txBody>
      </p:sp>
      <p:sp>
        <p:nvSpPr>
          <p:cNvPr id="77" name="Rectangle 76"/>
          <p:cNvSpPr/>
          <p:nvPr/>
        </p:nvSpPr>
        <p:spPr bwMode="auto">
          <a:xfrm>
            <a:off x="4271848" y="3379036"/>
            <a:ext cx="633882" cy="365519"/>
          </a:xfrm>
          <a:prstGeom prst="rect">
            <a:avLst/>
          </a:prstGeom>
          <a:solidFill>
            <a:srgbClr val="0078D7"/>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defTabSz="1218092">
              <a:defRPr/>
            </a:pPr>
            <a:r>
              <a:rPr lang="en-US" sz="784" dirty="0">
                <a:solidFill>
                  <a:srgbClr val="FFFFFF"/>
                </a:solidFill>
                <a:latin typeface="Segoe UI Light"/>
                <a:ea typeface="Verdana" panose="020B0604030504040204" pitchFamily="34" charset="0"/>
                <a:cs typeface="Arial" panose="020B0604020202020204" pitchFamily="34" charset="0"/>
              </a:rPr>
              <a:t>East US 2</a:t>
            </a:r>
          </a:p>
          <a:p>
            <a:pPr defTabSz="1218092">
              <a:defRPr/>
            </a:pPr>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Tree>
    <p:extLst>
      <p:ext uri="{BB962C8B-B14F-4D97-AF65-F5344CB8AC3E}">
        <p14:creationId xmlns:p14="http://schemas.microsoft.com/office/powerpoint/2010/main" val="1207522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0459" y="511827"/>
            <a:ext cx="4863061" cy="2200893"/>
          </a:xfrm>
        </p:spPr>
        <p:txBody>
          <a:bodyPr/>
          <a:lstStyle/>
          <a:p>
            <a:r>
              <a:rPr lang="en-US" dirty="0"/>
              <a:t>Manage and secure your data by leveraging existing IT investments</a:t>
            </a:r>
          </a:p>
        </p:txBody>
      </p:sp>
      <p:sp>
        <p:nvSpPr>
          <p:cNvPr id="2" name="Text Placeholder 1"/>
          <p:cNvSpPr>
            <a:spLocks noGrp="1"/>
          </p:cNvSpPr>
          <p:nvPr>
            <p:ph type="body" sz="quarter" idx="10"/>
          </p:nvPr>
        </p:nvSpPr>
        <p:spPr>
          <a:xfrm>
            <a:off x="6613913" y="933098"/>
            <a:ext cx="5243532" cy="4136517"/>
          </a:xfrm>
        </p:spPr>
        <p:txBody>
          <a:bodyPr/>
          <a:lstStyle/>
          <a:p>
            <a:pPr>
              <a:spcBef>
                <a:spcPts val="0"/>
              </a:spcBef>
              <a:spcAft>
                <a:spcPts val="1800"/>
              </a:spcAft>
            </a:pPr>
            <a:r>
              <a:rPr lang="en-US" dirty="0"/>
              <a:t>Auditing, alerting, access control—all from within </a:t>
            </a:r>
            <a:br>
              <a:rPr lang="en-US" dirty="0"/>
            </a:br>
            <a:r>
              <a:rPr lang="en-US" dirty="0"/>
              <a:t>a single web-based portal</a:t>
            </a:r>
          </a:p>
          <a:p>
            <a:pPr>
              <a:spcBef>
                <a:spcPts val="0"/>
              </a:spcBef>
              <a:spcAft>
                <a:spcPts val="1800"/>
              </a:spcAft>
            </a:pPr>
            <a:r>
              <a:rPr lang="en-US" dirty="0"/>
              <a:t>Azure Active Directory integration for identity </a:t>
            </a:r>
            <a:br>
              <a:rPr lang="en-US" dirty="0"/>
            </a:br>
            <a:r>
              <a:rPr lang="en-US" dirty="0"/>
              <a:t>and access management </a:t>
            </a:r>
          </a:p>
          <a:p>
            <a:pPr>
              <a:spcBef>
                <a:spcPts val="0"/>
              </a:spcBef>
              <a:spcAft>
                <a:spcPts val="1800"/>
              </a:spcAft>
            </a:pPr>
            <a:r>
              <a:rPr lang="en-US" dirty="0"/>
              <a:t>Leverage existing investment in Active Directory on-premises </a:t>
            </a:r>
          </a:p>
        </p:txBody>
      </p:sp>
      <p:grpSp>
        <p:nvGrpSpPr>
          <p:cNvPr id="9" name="Group 8"/>
          <p:cNvGrpSpPr/>
          <p:nvPr/>
        </p:nvGrpSpPr>
        <p:grpSpPr>
          <a:xfrm>
            <a:off x="440459" y="3359173"/>
            <a:ext cx="2699714" cy="2540056"/>
            <a:chOff x="1663424" y="3263757"/>
            <a:chExt cx="2699714" cy="2540056"/>
          </a:xfrm>
        </p:grpSpPr>
        <p:sp>
          <p:nvSpPr>
            <p:cNvPr id="6" name="Oval 5"/>
            <p:cNvSpPr/>
            <p:nvPr/>
          </p:nvSpPr>
          <p:spPr bwMode="auto">
            <a:xfrm>
              <a:off x="2348040" y="3961159"/>
              <a:ext cx="1330483" cy="1330482"/>
            </a:xfrm>
            <a:prstGeom prst="ellipse">
              <a:avLst/>
            </a:prstGeom>
            <a:solidFill>
              <a:schemeClr val="tx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cxnSp>
          <p:nvCxnSpPr>
            <p:cNvPr id="19" name="Straight Connector 18"/>
            <p:cNvCxnSpPr>
              <a:stCxn id="14" idx="4"/>
              <a:endCxn id="6" idx="0"/>
            </p:cNvCxnSpPr>
            <p:nvPr/>
          </p:nvCxnSpPr>
          <p:spPr>
            <a:xfrm>
              <a:off x="3013281" y="3808762"/>
              <a:ext cx="1" cy="152397"/>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1" idx="2"/>
            </p:cNvCxnSpPr>
            <p:nvPr/>
          </p:nvCxnSpPr>
          <p:spPr>
            <a:xfrm flipH="1">
              <a:off x="3630202" y="4320934"/>
              <a:ext cx="187931" cy="76405"/>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0" idx="6"/>
            </p:cNvCxnSpPr>
            <p:nvPr/>
          </p:nvCxnSpPr>
          <p:spPr>
            <a:xfrm>
              <a:off x="2208429" y="4320934"/>
              <a:ext cx="178600" cy="76405"/>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flipV="1">
              <a:off x="3381576" y="5181600"/>
              <a:ext cx="79814" cy="15702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Freeform 34"/>
            <p:cNvSpPr>
              <a:spLocks/>
            </p:cNvSpPr>
            <p:nvPr/>
          </p:nvSpPr>
          <p:spPr bwMode="auto">
            <a:xfrm>
              <a:off x="2678154" y="4097920"/>
              <a:ext cx="660922" cy="931992"/>
            </a:xfrm>
            <a:custGeom>
              <a:avLst/>
              <a:gdLst>
                <a:gd name="connsiteX0" fmla="*/ 231101 w 310149"/>
                <a:gd name="connsiteY0" fmla="*/ 150303 h 299015"/>
                <a:gd name="connsiteX1" fmla="*/ 310149 w 310149"/>
                <a:gd name="connsiteY1" fmla="*/ 272772 h 299015"/>
                <a:gd name="connsiteX2" fmla="*/ 223573 w 310149"/>
                <a:gd name="connsiteY2" fmla="*/ 272772 h 299015"/>
                <a:gd name="connsiteX3" fmla="*/ 231101 w 310149"/>
                <a:gd name="connsiteY3" fmla="*/ 150303 h 299015"/>
                <a:gd name="connsiteX4" fmla="*/ 101540 w 310149"/>
                <a:gd name="connsiteY4" fmla="*/ 129626 h 299015"/>
                <a:gd name="connsiteX5" fmla="*/ 201199 w 310149"/>
                <a:gd name="connsiteY5" fmla="*/ 299015 h 299015"/>
                <a:gd name="connsiteX6" fmla="*/ 0 w 310149"/>
                <a:gd name="connsiteY6" fmla="*/ 299015 h 299015"/>
                <a:gd name="connsiteX7" fmla="*/ 101540 w 310149"/>
                <a:gd name="connsiteY7" fmla="*/ 129626 h 299015"/>
                <a:gd name="connsiteX8" fmla="*/ 230226 w 310149"/>
                <a:gd name="connsiteY8" fmla="*/ 45329 h 299015"/>
                <a:gd name="connsiteX9" fmla="*/ 275953 w 310149"/>
                <a:gd name="connsiteY9" fmla="*/ 90261 h 299015"/>
                <a:gd name="connsiteX10" fmla="*/ 230226 w 310149"/>
                <a:gd name="connsiteY10" fmla="*/ 135193 h 299015"/>
                <a:gd name="connsiteX11" fmla="*/ 184499 w 310149"/>
                <a:gd name="connsiteY11" fmla="*/ 90261 h 299015"/>
                <a:gd name="connsiteX12" fmla="*/ 230226 w 310149"/>
                <a:gd name="connsiteY12" fmla="*/ 45329 h 299015"/>
                <a:gd name="connsiteX13" fmla="*/ 101395 w 310149"/>
                <a:gd name="connsiteY13" fmla="*/ 0 h 299015"/>
                <a:gd name="connsiteX14" fmla="*/ 161437 w 310149"/>
                <a:gd name="connsiteY14" fmla="*/ 60042 h 299015"/>
                <a:gd name="connsiteX15" fmla="*/ 101395 w 310149"/>
                <a:gd name="connsiteY15" fmla="*/ 120084 h 299015"/>
                <a:gd name="connsiteX16" fmla="*/ 41353 w 310149"/>
                <a:gd name="connsiteY16" fmla="*/ 60042 h 299015"/>
                <a:gd name="connsiteX17" fmla="*/ 101395 w 310149"/>
                <a:gd name="connsiteY17" fmla="*/ 0 h 299015"/>
                <a:gd name="connsiteX0" fmla="*/ 231101 w 310149"/>
                <a:gd name="connsiteY0" fmla="*/ 150303 h 299015"/>
                <a:gd name="connsiteX1" fmla="*/ 310149 w 310149"/>
                <a:gd name="connsiteY1" fmla="*/ 272772 h 299015"/>
                <a:gd name="connsiteX2" fmla="*/ 231101 w 310149"/>
                <a:gd name="connsiteY2" fmla="*/ 150303 h 299015"/>
                <a:gd name="connsiteX3" fmla="*/ 101540 w 310149"/>
                <a:gd name="connsiteY3" fmla="*/ 129626 h 299015"/>
                <a:gd name="connsiteX4" fmla="*/ 201199 w 310149"/>
                <a:gd name="connsiteY4" fmla="*/ 299015 h 299015"/>
                <a:gd name="connsiteX5" fmla="*/ 0 w 310149"/>
                <a:gd name="connsiteY5" fmla="*/ 299015 h 299015"/>
                <a:gd name="connsiteX6" fmla="*/ 101540 w 310149"/>
                <a:gd name="connsiteY6" fmla="*/ 129626 h 299015"/>
                <a:gd name="connsiteX7" fmla="*/ 230226 w 310149"/>
                <a:gd name="connsiteY7" fmla="*/ 45329 h 299015"/>
                <a:gd name="connsiteX8" fmla="*/ 275953 w 310149"/>
                <a:gd name="connsiteY8" fmla="*/ 90261 h 299015"/>
                <a:gd name="connsiteX9" fmla="*/ 230226 w 310149"/>
                <a:gd name="connsiteY9" fmla="*/ 135193 h 299015"/>
                <a:gd name="connsiteX10" fmla="*/ 184499 w 310149"/>
                <a:gd name="connsiteY10" fmla="*/ 90261 h 299015"/>
                <a:gd name="connsiteX11" fmla="*/ 230226 w 310149"/>
                <a:gd name="connsiteY11" fmla="*/ 45329 h 299015"/>
                <a:gd name="connsiteX12" fmla="*/ 101395 w 310149"/>
                <a:gd name="connsiteY12" fmla="*/ 0 h 299015"/>
                <a:gd name="connsiteX13" fmla="*/ 161437 w 310149"/>
                <a:gd name="connsiteY13" fmla="*/ 60042 h 299015"/>
                <a:gd name="connsiteX14" fmla="*/ 101395 w 310149"/>
                <a:gd name="connsiteY14" fmla="*/ 120084 h 299015"/>
                <a:gd name="connsiteX15" fmla="*/ 41353 w 310149"/>
                <a:gd name="connsiteY15" fmla="*/ 60042 h 299015"/>
                <a:gd name="connsiteX16" fmla="*/ 101395 w 310149"/>
                <a:gd name="connsiteY16" fmla="*/ 0 h 299015"/>
                <a:gd name="connsiteX0" fmla="*/ 101540 w 275953"/>
                <a:gd name="connsiteY0" fmla="*/ 129626 h 299015"/>
                <a:gd name="connsiteX1" fmla="*/ 201199 w 275953"/>
                <a:gd name="connsiteY1" fmla="*/ 299015 h 299015"/>
                <a:gd name="connsiteX2" fmla="*/ 0 w 275953"/>
                <a:gd name="connsiteY2" fmla="*/ 299015 h 299015"/>
                <a:gd name="connsiteX3" fmla="*/ 101540 w 275953"/>
                <a:gd name="connsiteY3" fmla="*/ 129626 h 299015"/>
                <a:gd name="connsiteX4" fmla="*/ 230226 w 275953"/>
                <a:gd name="connsiteY4" fmla="*/ 45329 h 299015"/>
                <a:gd name="connsiteX5" fmla="*/ 275953 w 275953"/>
                <a:gd name="connsiteY5" fmla="*/ 90261 h 299015"/>
                <a:gd name="connsiteX6" fmla="*/ 230226 w 275953"/>
                <a:gd name="connsiteY6" fmla="*/ 135193 h 299015"/>
                <a:gd name="connsiteX7" fmla="*/ 184499 w 275953"/>
                <a:gd name="connsiteY7" fmla="*/ 90261 h 299015"/>
                <a:gd name="connsiteX8" fmla="*/ 230226 w 275953"/>
                <a:gd name="connsiteY8" fmla="*/ 45329 h 299015"/>
                <a:gd name="connsiteX9" fmla="*/ 101395 w 275953"/>
                <a:gd name="connsiteY9" fmla="*/ 0 h 299015"/>
                <a:gd name="connsiteX10" fmla="*/ 161437 w 275953"/>
                <a:gd name="connsiteY10" fmla="*/ 60042 h 299015"/>
                <a:gd name="connsiteX11" fmla="*/ 101395 w 275953"/>
                <a:gd name="connsiteY11" fmla="*/ 120084 h 299015"/>
                <a:gd name="connsiteX12" fmla="*/ 41353 w 275953"/>
                <a:gd name="connsiteY12" fmla="*/ 60042 h 299015"/>
                <a:gd name="connsiteX13" fmla="*/ 101395 w 275953"/>
                <a:gd name="connsiteY13" fmla="*/ 0 h 299015"/>
                <a:gd name="connsiteX0" fmla="*/ 101540 w 277224"/>
                <a:gd name="connsiteY0" fmla="*/ 129626 h 299015"/>
                <a:gd name="connsiteX1" fmla="*/ 201199 w 277224"/>
                <a:gd name="connsiteY1" fmla="*/ 299015 h 299015"/>
                <a:gd name="connsiteX2" fmla="*/ 0 w 277224"/>
                <a:gd name="connsiteY2" fmla="*/ 299015 h 299015"/>
                <a:gd name="connsiteX3" fmla="*/ 101540 w 277224"/>
                <a:gd name="connsiteY3" fmla="*/ 129626 h 299015"/>
                <a:gd name="connsiteX4" fmla="*/ 230226 w 277224"/>
                <a:gd name="connsiteY4" fmla="*/ 45329 h 299015"/>
                <a:gd name="connsiteX5" fmla="*/ 275953 w 277224"/>
                <a:gd name="connsiteY5" fmla="*/ 90261 h 299015"/>
                <a:gd name="connsiteX6" fmla="*/ 184499 w 277224"/>
                <a:gd name="connsiteY6" fmla="*/ 90261 h 299015"/>
                <a:gd name="connsiteX7" fmla="*/ 230226 w 277224"/>
                <a:gd name="connsiteY7" fmla="*/ 45329 h 299015"/>
                <a:gd name="connsiteX8" fmla="*/ 101395 w 277224"/>
                <a:gd name="connsiteY8" fmla="*/ 0 h 299015"/>
                <a:gd name="connsiteX9" fmla="*/ 161437 w 277224"/>
                <a:gd name="connsiteY9" fmla="*/ 60042 h 299015"/>
                <a:gd name="connsiteX10" fmla="*/ 101395 w 277224"/>
                <a:gd name="connsiteY10" fmla="*/ 120084 h 299015"/>
                <a:gd name="connsiteX11" fmla="*/ 41353 w 277224"/>
                <a:gd name="connsiteY11" fmla="*/ 60042 h 299015"/>
                <a:gd name="connsiteX12" fmla="*/ 101395 w 277224"/>
                <a:gd name="connsiteY12" fmla="*/ 0 h 299015"/>
                <a:gd name="connsiteX0" fmla="*/ 101540 w 275953"/>
                <a:gd name="connsiteY0" fmla="*/ 129626 h 299015"/>
                <a:gd name="connsiteX1" fmla="*/ 201199 w 275953"/>
                <a:gd name="connsiteY1" fmla="*/ 299015 h 299015"/>
                <a:gd name="connsiteX2" fmla="*/ 0 w 275953"/>
                <a:gd name="connsiteY2" fmla="*/ 299015 h 299015"/>
                <a:gd name="connsiteX3" fmla="*/ 101540 w 275953"/>
                <a:gd name="connsiteY3" fmla="*/ 129626 h 299015"/>
                <a:gd name="connsiteX4" fmla="*/ 230226 w 275953"/>
                <a:gd name="connsiteY4" fmla="*/ 45329 h 299015"/>
                <a:gd name="connsiteX5" fmla="*/ 275953 w 275953"/>
                <a:gd name="connsiteY5" fmla="*/ 90261 h 299015"/>
                <a:gd name="connsiteX6" fmla="*/ 230226 w 275953"/>
                <a:gd name="connsiteY6" fmla="*/ 45329 h 299015"/>
                <a:gd name="connsiteX7" fmla="*/ 101395 w 275953"/>
                <a:gd name="connsiteY7" fmla="*/ 0 h 299015"/>
                <a:gd name="connsiteX8" fmla="*/ 161437 w 275953"/>
                <a:gd name="connsiteY8" fmla="*/ 60042 h 299015"/>
                <a:gd name="connsiteX9" fmla="*/ 101395 w 275953"/>
                <a:gd name="connsiteY9" fmla="*/ 120084 h 299015"/>
                <a:gd name="connsiteX10" fmla="*/ 41353 w 275953"/>
                <a:gd name="connsiteY10" fmla="*/ 60042 h 299015"/>
                <a:gd name="connsiteX11" fmla="*/ 101395 w 275953"/>
                <a:gd name="connsiteY11" fmla="*/ 0 h 299015"/>
                <a:gd name="connsiteX0" fmla="*/ 101540 w 201199"/>
                <a:gd name="connsiteY0" fmla="*/ 129626 h 299015"/>
                <a:gd name="connsiteX1" fmla="*/ 201199 w 201199"/>
                <a:gd name="connsiteY1" fmla="*/ 299015 h 299015"/>
                <a:gd name="connsiteX2" fmla="*/ 0 w 201199"/>
                <a:gd name="connsiteY2" fmla="*/ 299015 h 299015"/>
                <a:gd name="connsiteX3" fmla="*/ 101540 w 201199"/>
                <a:gd name="connsiteY3" fmla="*/ 129626 h 299015"/>
                <a:gd name="connsiteX4" fmla="*/ 101395 w 201199"/>
                <a:gd name="connsiteY4" fmla="*/ 0 h 299015"/>
                <a:gd name="connsiteX5" fmla="*/ 161437 w 201199"/>
                <a:gd name="connsiteY5" fmla="*/ 60042 h 299015"/>
                <a:gd name="connsiteX6" fmla="*/ 101395 w 201199"/>
                <a:gd name="connsiteY6" fmla="*/ 120084 h 299015"/>
                <a:gd name="connsiteX7" fmla="*/ 41353 w 201199"/>
                <a:gd name="connsiteY7" fmla="*/ 60042 h 299015"/>
                <a:gd name="connsiteX8" fmla="*/ 101395 w 201199"/>
                <a:gd name="connsiteY8" fmla="*/ 0 h 29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199" h="299015">
                  <a:moveTo>
                    <a:pt x="101540" y="129626"/>
                  </a:moveTo>
                  <a:cubicBezTo>
                    <a:pt x="186156" y="129626"/>
                    <a:pt x="201199" y="204910"/>
                    <a:pt x="201199" y="299015"/>
                  </a:cubicBezTo>
                  <a:lnTo>
                    <a:pt x="0" y="299015"/>
                  </a:lnTo>
                  <a:cubicBezTo>
                    <a:pt x="0" y="204910"/>
                    <a:pt x="15043" y="129626"/>
                    <a:pt x="101540" y="129626"/>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2700">
              <a:solidFill>
                <a:srgbClr val="00BCF2"/>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z="2200" spc="-135" dirty="0">
                <a:solidFill>
                  <a:schemeClr val="accent3"/>
                </a:solidFill>
                <a:latin typeface="Segoe Light" pitchFamily="34" charset="0"/>
              </a:endParaRPr>
            </a:p>
          </p:txBody>
        </p:sp>
        <p:cxnSp>
          <p:nvCxnSpPr>
            <p:cNvPr id="53" name="Straight Connector 52"/>
            <p:cNvCxnSpPr/>
            <p:nvPr/>
          </p:nvCxnSpPr>
          <p:spPr>
            <a:xfrm flipV="1">
              <a:off x="2570953" y="5181600"/>
              <a:ext cx="79814" cy="15702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p:cNvSpPr/>
            <p:nvPr/>
          </p:nvSpPr>
          <p:spPr bwMode="auto">
            <a:xfrm>
              <a:off x="1663424" y="4048431"/>
              <a:ext cx="545005" cy="545005"/>
            </a:xfrm>
            <a:prstGeom prst="ellipse">
              <a:avLst/>
            </a:prstGeom>
            <a:solidFill>
              <a:schemeClr val="tx1"/>
            </a:solidFill>
            <a:ln w="127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1" name="Oval 10"/>
            <p:cNvSpPr/>
            <p:nvPr/>
          </p:nvSpPr>
          <p:spPr bwMode="auto">
            <a:xfrm>
              <a:off x="3818133" y="4048431"/>
              <a:ext cx="545005" cy="545005"/>
            </a:xfrm>
            <a:prstGeom prst="ellipse">
              <a:avLst/>
            </a:prstGeom>
            <a:solidFill>
              <a:schemeClr val="tx1"/>
            </a:solidFill>
            <a:ln w="127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2" name="Oval 11"/>
            <p:cNvSpPr/>
            <p:nvPr/>
          </p:nvSpPr>
          <p:spPr bwMode="auto">
            <a:xfrm>
              <a:off x="2099982" y="5258808"/>
              <a:ext cx="545005" cy="545005"/>
            </a:xfrm>
            <a:prstGeom prst="ellipse">
              <a:avLst/>
            </a:prstGeom>
            <a:solidFill>
              <a:schemeClr val="tx1"/>
            </a:solidFill>
            <a:ln w="127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3" name="Oval 12"/>
            <p:cNvSpPr/>
            <p:nvPr/>
          </p:nvSpPr>
          <p:spPr bwMode="auto">
            <a:xfrm>
              <a:off x="3381576" y="5258808"/>
              <a:ext cx="545005" cy="545005"/>
            </a:xfrm>
            <a:prstGeom prst="ellipse">
              <a:avLst/>
            </a:prstGeom>
            <a:solidFill>
              <a:schemeClr val="tx1"/>
            </a:solidFill>
            <a:ln w="127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4" name="Oval 13"/>
            <p:cNvSpPr/>
            <p:nvPr/>
          </p:nvSpPr>
          <p:spPr bwMode="auto">
            <a:xfrm>
              <a:off x="2740778" y="3263757"/>
              <a:ext cx="545005" cy="545005"/>
            </a:xfrm>
            <a:prstGeom prst="ellipse">
              <a:avLst/>
            </a:prstGeom>
            <a:solidFill>
              <a:schemeClr val="tx1"/>
            </a:solidFill>
            <a:ln w="127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nvGrpSpPr>
            <p:cNvPr id="5" name="Group 4"/>
            <p:cNvGrpSpPr/>
            <p:nvPr/>
          </p:nvGrpSpPr>
          <p:grpSpPr>
            <a:xfrm>
              <a:off x="2857279" y="3348461"/>
              <a:ext cx="302672" cy="375595"/>
              <a:chOff x="9608629" y="1646827"/>
              <a:chExt cx="375512" cy="465984"/>
            </a:xfrm>
          </p:grpSpPr>
          <p:sp>
            <p:nvSpPr>
              <p:cNvPr id="54" name="Freeform 53"/>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56" name="Group 55"/>
            <p:cNvGrpSpPr/>
            <p:nvPr/>
          </p:nvGrpSpPr>
          <p:grpSpPr>
            <a:xfrm>
              <a:off x="3939299" y="4133135"/>
              <a:ext cx="302672" cy="375595"/>
              <a:chOff x="9608629" y="1646827"/>
              <a:chExt cx="375512" cy="465984"/>
            </a:xfrm>
          </p:grpSpPr>
          <p:sp>
            <p:nvSpPr>
              <p:cNvPr id="57" name="Freeform 56"/>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59" name="Group 58"/>
            <p:cNvGrpSpPr/>
            <p:nvPr/>
          </p:nvGrpSpPr>
          <p:grpSpPr>
            <a:xfrm>
              <a:off x="3502742" y="5338622"/>
              <a:ext cx="302672" cy="375595"/>
              <a:chOff x="9608629" y="1646827"/>
              <a:chExt cx="375512" cy="465984"/>
            </a:xfrm>
          </p:grpSpPr>
          <p:sp>
            <p:nvSpPr>
              <p:cNvPr id="60" name="Freeform 59"/>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62" name="Group 61"/>
            <p:cNvGrpSpPr/>
            <p:nvPr/>
          </p:nvGrpSpPr>
          <p:grpSpPr>
            <a:xfrm>
              <a:off x="2224668" y="5338622"/>
              <a:ext cx="302672" cy="375595"/>
              <a:chOff x="9608629" y="1646827"/>
              <a:chExt cx="375512" cy="465984"/>
            </a:xfrm>
          </p:grpSpPr>
          <p:sp>
            <p:nvSpPr>
              <p:cNvPr id="63" name="Freeform 62"/>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3"/>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65" name="Group 64"/>
            <p:cNvGrpSpPr/>
            <p:nvPr/>
          </p:nvGrpSpPr>
          <p:grpSpPr>
            <a:xfrm>
              <a:off x="1781728" y="4133135"/>
              <a:ext cx="302672" cy="375595"/>
              <a:chOff x="9608629" y="1646827"/>
              <a:chExt cx="375512" cy="465984"/>
            </a:xfrm>
          </p:grpSpPr>
          <p:sp>
            <p:nvSpPr>
              <p:cNvPr id="66" name="Freeform 65"/>
              <p:cNvSpPr>
                <a:spLocks/>
              </p:cNvSpPr>
              <p:nvPr/>
            </p:nvSpPr>
            <p:spPr bwMode="auto">
              <a:xfrm>
                <a:off x="9608629" y="1725004"/>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6"/>
              <p:cNvSpPr>
                <a:spLocks noEditPoints="1"/>
              </p:cNvSpPr>
              <p:nvPr/>
            </p:nvSpPr>
            <p:spPr bwMode="auto">
              <a:xfrm>
                <a:off x="9608629" y="1646827"/>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spTree>
    <p:extLst>
      <p:ext uri="{BB962C8B-B14F-4D97-AF65-F5344CB8AC3E}">
        <p14:creationId xmlns:p14="http://schemas.microsoft.com/office/powerpoint/2010/main" val="374595282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wer total cost </a:t>
            </a:r>
            <a:br>
              <a:rPr lang="en-US" dirty="0"/>
            </a:br>
            <a:r>
              <a:rPr lang="en-US" dirty="0"/>
              <a:t>of ownership</a:t>
            </a:r>
          </a:p>
        </p:txBody>
      </p:sp>
      <p:sp>
        <p:nvSpPr>
          <p:cNvPr id="4" name="Text Placeholder 3"/>
          <p:cNvSpPr>
            <a:spLocks noGrp="1"/>
          </p:cNvSpPr>
          <p:nvPr>
            <p:ph type="body" sz="quarter" idx="10"/>
          </p:nvPr>
        </p:nvSpPr>
        <p:spPr>
          <a:xfrm>
            <a:off x="6535536" y="487898"/>
            <a:ext cx="5243532" cy="5216813"/>
          </a:xfrm>
        </p:spPr>
        <p:txBody>
          <a:bodyPr/>
          <a:lstStyle/>
          <a:p>
            <a:pPr>
              <a:spcBef>
                <a:spcPts val="0"/>
              </a:spcBef>
              <a:spcAft>
                <a:spcPts val="1800"/>
              </a:spcAft>
            </a:pPr>
            <a:r>
              <a:rPr lang="en-US" dirty="0"/>
              <a:t>No hardware </a:t>
            </a:r>
          </a:p>
          <a:p>
            <a:pPr>
              <a:spcBef>
                <a:spcPts val="0"/>
              </a:spcBef>
              <a:spcAft>
                <a:spcPts val="1800"/>
              </a:spcAft>
            </a:pPr>
            <a:r>
              <a:rPr lang="en-US" dirty="0"/>
              <a:t>Hadoop support included with Azure support </a:t>
            </a:r>
          </a:p>
          <a:p>
            <a:pPr>
              <a:spcBef>
                <a:spcPts val="0"/>
              </a:spcBef>
              <a:spcAft>
                <a:spcPts val="1800"/>
              </a:spcAft>
            </a:pPr>
            <a:r>
              <a:rPr lang="en-US" dirty="0"/>
              <a:t>Pay only for what you use</a:t>
            </a:r>
          </a:p>
          <a:p>
            <a:pPr>
              <a:spcBef>
                <a:spcPts val="0"/>
              </a:spcBef>
              <a:spcAft>
                <a:spcPts val="1800"/>
              </a:spcAft>
            </a:pPr>
            <a:r>
              <a:rPr lang="en-US" dirty="0"/>
              <a:t>Independently scale storage and compute</a:t>
            </a:r>
          </a:p>
          <a:p>
            <a:pPr>
              <a:spcBef>
                <a:spcPts val="0"/>
              </a:spcBef>
              <a:spcAft>
                <a:spcPts val="1800"/>
              </a:spcAft>
            </a:pPr>
            <a:r>
              <a:rPr lang="en-US" dirty="0"/>
              <a:t>No need to hire specialized operations team </a:t>
            </a:r>
          </a:p>
          <a:p>
            <a:pPr>
              <a:spcBef>
                <a:spcPts val="0"/>
              </a:spcBef>
              <a:spcAft>
                <a:spcPts val="1800"/>
              </a:spcAft>
            </a:pPr>
            <a:r>
              <a:rPr lang="en-US" dirty="0"/>
              <a:t>63% lower total cost of ownership than on-premises*</a:t>
            </a:r>
          </a:p>
        </p:txBody>
      </p:sp>
      <p:sp>
        <p:nvSpPr>
          <p:cNvPr id="5" name="TextBox 4"/>
          <p:cNvSpPr txBox="1"/>
          <p:nvPr/>
        </p:nvSpPr>
        <p:spPr>
          <a:xfrm>
            <a:off x="6334162" y="5870335"/>
            <a:ext cx="4662492" cy="550647"/>
          </a:xfrm>
          <a:prstGeom prst="rect">
            <a:avLst/>
          </a:prstGeom>
          <a:noFill/>
        </p:spPr>
        <p:txBody>
          <a:bodyPr wrap="square" lIns="91440" tIns="149217" rIns="91440" bIns="149217" rtlCol="0">
            <a:spAutoFit/>
          </a:bodyPr>
          <a:lstStyle/>
          <a:p>
            <a:pPr>
              <a:lnSpc>
                <a:spcPct val="90000"/>
              </a:lnSpc>
              <a:spcAft>
                <a:spcPts val="612"/>
              </a:spcAft>
            </a:pPr>
            <a:r>
              <a:rPr lang="en-US" sz="900" dirty="0">
                <a:solidFill>
                  <a:schemeClr val="bg1"/>
                </a:solidFill>
              </a:rPr>
              <a:t>*IDC study “The Business Value and TCO Advantage of Apache Hadoop in the Cloud with Microsoft Azure HDInsight”</a:t>
            </a:r>
          </a:p>
        </p:txBody>
      </p:sp>
      <p:grpSp>
        <p:nvGrpSpPr>
          <p:cNvPr id="18" name="Group 17"/>
          <p:cNvGrpSpPr/>
          <p:nvPr/>
        </p:nvGrpSpPr>
        <p:grpSpPr>
          <a:xfrm>
            <a:off x="695566" y="2604814"/>
            <a:ext cx="1785241" cy="3099897"/>
            <a:chOff x="3574886" y="1890533"/>
            <a:chExt cx="1052748" cy="1827994"/>
          </a:xfrm>
        </p:grpSpPr>
        <p:grpSp>
          <p:nvGrpSpPr>
            <p:cNvPr id="11" name="Group 10"/>
            <p:cNvGrpSpPr/>
            <p:nvPr/>
          </p:nvGrpSpPr>
          <p:grpSpPr>
            <a:xfrm>
              <a:off x="3574886" y="1890533"/>
              <a:ext cx="1052748" cy="1827994"/>
              <a:chOff x="957114" y="1529862"/>
              <a:chExt cx="2097984" cy="3642945"/>
            </a:xfrm>
          </p:grpSpPr>
          <p:sp>
            <p:nvSpPr>
              <p:cNvPr id="12" name="Freeform 11"/>
              <p:cNvSpPr/>
              <p:nvPr/>
            </p:nvSpPr>
            <p:spPr>
              <a:xfrm>
                <a:off x="1052141" y="1529862"/>
                <a:ext cx="1907930" cy="3642945"/>
              </a:xfrm>
              <a:custGeom>
                <a:avLst/>
                <a:gdLst>
                  <a:gd name="connsiteX0" fmla="*/ 1389184 w 1907930"/>
                  <a:gd name="connsiteY0" fmla="*/ 0 h 3642945"/>
                  <a:gd name="connsiteX1" fmla="*/ 992866 w 1907930"/>
                  <a:gd name="connsiteY1" fmla="*/ 1491760 h 3642945"/>
                  <a:gd name="connsiteX2" fmla="*/ 1040423 w 1907930"/>
                  <a:gd name="connsiteY2" fmla="*/ 1491760 h 3642945"/>
                  <a:gd name="connsiteX3" fmla="*/ 1538654 w 1907930"/>
                  <a:gd name="connsiteY3" fmla="*/ 1491760 h 3642945"/>
                  <a:gd name="connsiteX4" fmla="*/ 1907930 w 1907930"/>
                  <a:gd name="connsiteY4" fmla="*/ 1491760 h 3642945"/>
                  <a:gd name="connsiteX5" fmla="*/ 518746 w 1907930"/>
                  <a:gd name="connsiteY5" fmla="*/ 3642945 h 3642945"/>
                  <a:gd name="connsiteX6" fmla="*/ 925995 w 1907930"/>
                  <a:gd name="connsiteY6" fmla="*/ 1963615 h 3642945"/>
                  <a:gd name="connsiteX7" fmla="*/ 867507 w 1907930"/>
                  <a:gd name="connsiteY7" fmla="*/ 1963615 h 3642945"/>
                  <a:gd name="connsiteX8" fmla="*/ 524608 w 1907930"/>
                  <a:gd name="connsiteY8" fmla="*/ 1963615 h 3642945"/>
                  <a:gd name="connsiteX9" fmla="*/ 0 w 1907930"/>
                  <a:gd name="connsiteY9" fmla="*/ 1963615 h 3642945"/>
                  <a:gd name="connsiteX0" fmla="*/ 1389184 w 1907930"/>
                  <a:gd name="connsiteY0" fmla="*/ 0 h 3642945"/>
                  <a:gd name="connsiteX1" fmla="*/ 992866 w 1907930"/>
                  <a:gd name="connsiteY1" fmla="*/ 1491760 h 3642945"/>
                  <a:gd name="connsiteX2" fmla="*/ 1538654 w 1907930"/>
                  <a:gd name="connsiteY2" fmla="*/ 1491760 h 3642945"/>
                  <a:gd name="connsiteX3" fmla="*/ 1907930 w 1907930"/>
                  <a:gd name="connsiteY3" fmla="*/ 1491760 h 3642945"/>
                  <a:gd name="connsiteX4" fmla="*/ 518746 w 1907930"/>
                  <a:gd name="connsiteY4" fmla="*/ 3642945 h 3642945"/>
                  <a:gd name="connsiteX5" fmla="*/ 925995 w 1907930"/>
                  <a:gd name="connsiteY5" fmla="*/ 1963615 h 3642945"/>
                  <a:gd name="connsiteX6" fmla="*/ 867507 w 1907930"/>
                  <a:gd name="connsiteY6" fmla="*/ 1963615 h 3642945"/>
                  <a:gd name="connsiteX7" fmla="*/ 524608 w 1907930"/>
                  <a:gd name="connsiteY7" fmla="*/ 1963615 h 3642945"/>
                  <a:gd name="connsiteX8" fmla="*/ 0 w 1907930"/>
                  <a:gd name="connsiteY8" fmla="*/ 1963615 h 3642945"/>
                  <a:gd name="connsiteX9" fmla="*/ 1389184 w 1907930"/>
                  <a:gd name="connsiteY9" fmla="*/ 0 h 3642945"/>
                  <a:gd name="connsiteX0" fmla="*/ 1389184 w 1907930"/>
                  <a:gd name="connsiteY0" fmla="*/ 0 h 3642945"/>
                  <a:gd name="connsiteX1" fmla="*/ 992866 w 1907930"/>
                  <a:gd name="connsiteY1" fmla="*/ 1491760 h 3642945"/>
                  <a:gd name="connsiteX2" fmla="*/ 1907930 w 1907930"/>
                  <a:gd name="connsiteY2" fmla="*/ 1491760 h 3642945"/>
                  <a:gd name="connsiteX3" fmla="*/ 518746 w 1907930"/>
                  <a:gd name="connsiteY3" fmla="*/ 3642945 h 3642945"/>
                  <a:gd name="connsiteX4" fmla="*/ 925995 w 1907930"/>
                  <a:gd name="connsiteY4" fmla="*/ 1963615 h 3642945"/>
                  <a:gd name="connsiteX5" fmla="*/ 867507 w 1907930"/>
                  <a:gd name="connsiteY5" fmla="*/ 1963615 h 3642945"/>
                  <a:gd name="connsiteX6" fmla="*/ 524608 w 1907930"/>
                  <a:gd name="connsiteY6" fmla="*/ 1963615 h 3642945"/>
                  <a:gd name="connsiteX7" fmla="*/ 0 w 1907930"/>
                  <a:gd name="connsiteY7" fmla="*/ 1963615 h 3642945"/>
                  <a:gd name="connsiteX8" fmla="*/ 1389184 w 1907930"/>
                  <a:gd name="connsiteY8" fmla="*/ 0 h 3642945"/>
                  <a:gd name="connsiteX0" fmla="*/ 1389184 w 1907930"/>
                  <a:gd name="connsiteY0" fmla="*/ 0 h 3642945"/>
                  <a:gd name="connsiteX1" fmla="*/ 992866 w 1907930"/>
                  <a:gd name="connsiteY1" fmla="*/ 1491760 h 3642945"/>
                  <a:gd name="connsiteX2" fmla="*/ 1907930 w 1907930"/>
                  <a:gd name="connsiteY2" fmla="*/ 1491760 h 3642945"/>
                  <a:gd name="connsiteX3" fmla="*/ 518746 w 1907930"/>
                  <a:gd name="connsiteY3" fmla="*/ 3642945 h 3642945"/>
                  <a:gd name="connsiteX4" fmla="*/ 925995 w 1907930"/>
                  <a:gd name="connsiteY4" fmla="*/ 1963615 h 3642945"/>
                  <a:gd name="connsiteX5" fmla="*/ 524608 w 1907930"/>
                  <a:gd name="connsiteY5" fmla="*/ 1963615 h 3642945"/>
                  <a:gd name="connsiteX6" fmla="*/ 0 w 1907930"/>
                  <a:gd name="connsiteY6" fmla="*/ 1963615 h 3642945"/>
                  <a:gd name="connsiteX7" fmla="*/ 1389184 w 1907930"/>
                  <a:gd name="connsiteY7" fmla="*/ 0 h 3642945"/>
                  <a:gd name="connsiteX0" fmla="*/ 1389184 w 1907930"/>
                  <a:gd name="connsiteY0" fmla="*/ 0 h 3642945"/>
                  <a:gd name="connsiteX1" fmla="*/ 992866 w 1907930"/>
                  <a:gd name="connsiteY1" fmla="*/ 1491760 h 3642945"/>
                  <a:gd name="connsiteX2" fmla="*/ 1907930 w 1907930"/>
                  <a:gd name="connsiteY2" fmla="*/ 1491760 h 3642945"/>
                  <a:gd name="connsiteX3" fmla="*/ 518746 w 1907930"/>
                  <a:gd name="connsiteY3" fmla="*/ 3642945 h 3642945"/>
                  <a:gd name="connsiteX4" fmla="*/ 925995 w 1907930"/>
                  <a:gd name="connsiteY4" fmla="*/ 1963615 h 3642945"/>
                  <a:gd name="connsiteX5" fmla="*/ 0 w 1907930"/>
                  <a:gd name="connsiteY5" fmla="*/ 1963615 h 3642945"/>
                  <a:gd name="connsiteX6" fmla="*/ 1389184 w 1907930"/>
                  <a:gd name="connsiteY6" fmla="*/ 0 h 3642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7930" h="3642945">
                    <a:moveTo>
                      <a:pt x="1389184" y="0"/>
                    </a:moveTo>
                    <a:lnTo>
                      <a:pt x="992866" y="1491760"/>
                    </a:lnTo>
                    <a:lnTo>
                      <a:pt x="1907930" y="1491760"/>
                    </a:lnTo>
                    <a:lnTo>
                      <a:pt x="518746" y="3642945"/>
                    </a:lnTo>
                    <a:lnTo>
                      <a:pt x="925995" y="1963615"/>
                    </a:lnTo>
                    <a:lnTo>
                      <a:pt x="0" y="1963615"/>
                    </a:lnTo>
                    <a:lnTo>
                      <a:pt x="1389184" y="0"/>
                    </a:lnTo>
                    <a:close/>
                  </a:path>
                </a:pathLst>
              </a:custGeom>
              <a:solidFill>
                <a:srgbClr val="FFFFFF"/>
              </a:solidFill>
              <a:ln w="12700" cap="flat" cmpd="sng" algn="ctr">
                <a:solidFill>
                  <a:srgbClr val="0078D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12"/>
              <p:cNvSpPr/>
              <p:nvPr/>
            </p:nvSpPr>
            <p:spPr>
              <a:xfrm>
                <a:off x="957114" y="2655276"/>
                <a:ext cx="2097984" cy="2121877"/>
              </a:xfrm>
              <a:custGeom>
                <a:avLst/>
                <a:gdLst>
                  <a:gd name="connsiteX0" fmla="*/ 435127 w 1978028"/>
                  <a:gd name="connsiteY0" fmla="*/ 0 h 2059139"/>
                  <a:gd name="connsiteX1" fmla="*/ 1542901 w 1978028"/>
                  <a:gd name="connsiteY1" fmla="*/ 0 h 2059139"/>
                  <a:gd name="connsiteX2" fmla="*/ 1542901 w 1978028"/>
                  <a:gd name="connsiteY2" fmla="*/ 1084783 h 2059139"/>
                  <a:gd name="connsiteX3" fmla="*/ 1978028 w 1978028"/>
                  <a:gd name="connsiteY3" fmla="*/ 1084783 h 2059139"/>
                  <a:gd name="connsiteX4" fmla="*/ 989014 w 1978028"/>
                  <a:gd name="connsiteY4" fmla="*/ 2059139 h 2059139"/>
                  <a:gd name="connsiteX5" fmla="*/ 0 w 1978028"/>
                  <a:gd name="connsiteY5" fmla="*/ 1084783 h 2059139"/>
                  <a:gd name="connsiteX6" fmla="*/ 435127 w 1978028"/>
                  <a:gd name="connsiteY6" fmla="*/ 1084783 h 205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8028" h="2059139">
                    <a:moveTo>
                      <a:pt x="435127" y="0"/>
                    </a:moveTo>
                    <a:lnTo>
                      <a:pt x="1542901" y="0"/>
                    </a:lnTo>
                    <a:lnTo>
                      <a:pt x="1542901" y="1084783"/>
                    </a:lnTo>
                    <a:lnTo>
                      <a:pt x="1978028" y="1084783"/>
                    </a:lnTo>
                    <a:lnTo>
                      <a:pt x="989014" y="2059139"/>
                    </a:lnTo>
                    <a:lnTo>
                      <a:pt x="0" y="1084783"/>
                    </a:lnTo>
                    <a:lnTo>
                      <a:pt x="435127" y="1084783"/>
                    </a:lnTo>
                    <a:close/>
                  </a:path>
                </a:pathLst>
              </a:custGeom>
              <a:solidFill>
                <a:schemeClr val="tx1"/>
              </a:solidFill>
              <a:ln w="19050" cap="flat" cmpd="sng" algn="ctr">
                <a:solidFill>
                  <a:srgbClr val="00BCF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7" name="Freeform 16"/>
            <p:cNvSpPr/>
            <p:nvPr/>
          </p:nvSpPr>
          <p:spPr bwMode="auto">
            <a:xfrm>
              <a:off x="3981588" y="2644433"/>
              <a:ext cx="239345" cy="596890"/>
            </a:xfrm>
            <a:custGeom>
              <a:avLst/>
              <a:gdLst/>
              <a:ahLst/>
              <a:cxnLst/>
              <a:rect l="l" t="t" r="r" b="b"/>
              <a:pathLst>
                <a:path w="217586" h="542627">
                  <a:moveTo>
                    <a:pt x="120550" y="291405"/>
                  </a:moveTo>
                  <a:lnTo>
                    <a:pt x="120550" y="454819"/>
                  </a:lnTo>
                  <a:cubicBezTo>
                    <a:pt x="143172" y="450850"/>
                    <a:pt x="160238" y="442168"/>
                    <a:pt x="171747" y="428774"/>
                  </a:cubicBezTo>
                  <a:cubicBezTo>
                    <a:pt x="183257" y="415379"/>
                    <a:pt x="189011" y="399058"/>
                    <a:pt x="189011" y="379809"/>
                  </a:cubicBezTo>
                  <a:cubicBezTo>
                    <a:pt x="189011" y="361553"/>
                    <a:pt x="184199" y="346075"/>
                    <a:pt x="174575" y="333375"/>
                  </a:cubicBezTo>
                  <a:cubicBezTo>
                    <a:pt x="164951" y="320675"/>
                    <a:pt x="146943" y="306685"/>
                    <a:pt x="120550" y="291405"/>
                  </a:cubicBezTo>
                  <a:close/>
                  <a:moveTo>
                    <a:pt x="97333" y="79772"/>
                  </a:moveTo>
                  <a:cubicBezTo>
                    <a:pt x="76100" y="83145"/>
                    <a:pt x="59332" y="91876"/>
                    <a:pt x="47029" y="105965"/>
                  </a:cubicBezTo>
                  <a:cubicBezTo>
                    <a:pt x="34726" y="120055"/>
                    <a:pt x="28575" y="137418"/>
                    <a:pt x="28575" y="158055"/>
                  </a:cubicBezTo>
                  <a:cubicBezTo>
                    <a:pt x="28575" y="175518"/>
                    <a:pt x="33139" y="190649"/>
                    <a:pt x="42267" y="203448"/>
                  </a:cubicBezTo>
                  <a:cubicBezTo>
                    <a:pt x="51395" y="216247"/>
                    <a:pt x="69750" y="230584"/>
                    <a:pt x="97333" y="246459"/>
                  </a:cubicBezTo>
                  <a:close/>
                  <a:moveTo>
                    <a:pt x="97333" y="0"/>
                  </a:moveTo>
                  <a:lnTo>
                    <a:pt x="120550" y="0"/>
                  </a:lnTo>
                  <a:lnTo>
                    <a:pt x="120550" y="53578"/>
                  </a:lnTo>
                  <a:cubicBezTo>
                    <a:pt x="150713" y="53578"/>
                    <a:pt x="176510" y="57844"/>
                    <a:pt x="197941" y="66377"/>
                  </a:cubicBezTo>
                  <a:lnTo>
                    <a:pt x="197941" y="97036"/>
                  </a:lnTo>
                  <a:cubicBezTo>
                    <a:pt x="177502" y="85130"/>
                    <a:pt x="151705" y="79176"/>
                    <a:pt x="120550" y="79176"/>
                  </a:cubicBezTo>
                  <a:lnTo>
                    <a:pt x="120550" y="259854"/>
                  </a:lnTo>
                  <a:cubicBezTo>
                    <a:pt x="157063" y="279896"/>
                    <a:pt x="182364" y="298301"/>
                    <a:pt x="196453" y="315069"/>
                  </a:cubicBezTo>
                  <a:cubicBezTo>
                    <a:pt x="210542" y="331837"/>
                    <a:pt x="217586" y="351631"/>
                    <a:pt x="217586" y="374451"/>
                  </a:cubicBezTo>
                  <a:cubicBezTo>
                    <a:pt x="217586" y="402233"/>
                    <a:pt x="209103" y="425549"/>
                    <a:pt x="192137" y="444401"/>
                  </a:cubicBezTo>
                  <a:cubicBezTo>
                    <a:pt x="175170" y="463252"/>
                    <a:pt x="151308" y="474861"/>
                    <a:pt x="120550" y="479226"/>
                  </a:cubicBezTo>
                  <a:lnTo>
                    <a:pt x="120550" y="542627"/>
                  </a:lnTo>
                  <a:lnTo>
                    <a:pt x="97333" y="542627"/>
                  </a:lnTo>
                  <a:lnTo>
                    <a:pt x="97333" y="480417"/>
                  </a:lnTo>
                  <a:cubicBezTo>
                    <a:pt x="60027" y="480417"/>
                    <a:pt x="27582" y="472480"/>
                    <a:pt x="0" y="456605"/>
                  </a:cubicBezTo>
                  <a:lnTo>
                    <a:pt x="0" y="426244"/>
                  </a:lnTo>
                  <a:cubicBezTo>
                    <a:pt x="30162" y="445690"/>
                    <a:pt x="62607" y="455414"/>
                    <a:pt x="97333" y="455414"/>
                  </a:cubicBezTo>
                  <a:lnTo>
                    <a:pt x="97333" y="277415"/>
                  </a:lnTo>
                  <a:cubicBezTo>
                    <a:pt x="58241" y="254992"/>
                    <a:pt x="32246" y="235694"/>
                    <a:pt x="19347" y="219521"/>
                  </a:cubicBezTo>
                  <a:cubicBezTo>
                    <a:pt x="6449" y="203349"/>
                    <a:pt x="0" y="184051"/>
                    <a:pt x="0" y="161627"/>
                  </a:cubicBezTo>
                  <a:cubicBezTo>
                    <a:pt x="0" y="134640"/>
                    <a:pt x="8731" y="111125"/>
                    <a:pt x="26193" y="91083"/>
                  </a:cubicBezTo>
                  <a:cubicBezTo>
                    <a:pt x="43656" y="71040"/>
                    <a:pt x="67369" y="58737"/>
                    <a:pt x="97333" y="54173"/>
                  </a:cubicBezTo>
                  <a:close/>
                </a:path>
              </a:pathLst>
            </a:cu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50260286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460" y="511827"/>
            <a:ext cx="3590852" cy="2200893"/>
          </a:xfrm>
        </p:spPr>
        <p:txBody>
          <a:bodyPr/>
          <a:lstStyle/>
          <a:p>
            <a:r>
              <a:rPr lang="en-US" dirty="0"/>
              <a:t>Recognized by top analysts</a:t>
            </a:r>
          </a:p>
        </p:txBody>
      </p:sp>
      <p:sp>
        <p:nvSpPr>
          <p:cNvPr id="4" name="Text Placeholder 3"/>
          <p:cNvSpPr>
            <a:spLocks noGrp="1"/>
          </p:cNvSpPr>
          <p:nvPr>
            <p:ph type="body" sz="quarter" idx="10"/>
          </p:nvPr>
        </p:nvSpPr>
        <p:spPr>
          <a:xfrm>
            <a:off x="6613913" y="933098"/>
            <a:ext cx="5400508" cy="3748719"/>
          </a:xfrm>
        </p:spPr>
        <p:txBody>
          <a:bodyPr/>
          <a:lstStyle/>
          <a:p>
            <a:pPr marL="0" indent="0">
              <a:spcBef>
                <a:spcPts val="0"/>
              </a:spcBef>
              <a:spcAft>
                <a:spcPts val="1800"/>
              </a:spcAft>
              <a:buNone/>
            </a:pPr>
            <a:r>
              <a:rPr lang="en-US" dirty="0">
                <a:solidFill>
                  <a:srgbClr val="0078D7"/>
                </a:solidFill>
              </a:rPr>
              <a:t>Forrester Wave for Big Data Hadoop Cloud</a:t>
            </a:r>
          </a:p>
          <a:p>
            <a:pPr>
              <a:spcBef>
                <a:spcPts val="0"/>
              </a:spcBef>
              <a:spcAft>
                <a:spcPts val="1800"/>
              </a:spcAft>
            </a:pPr>
            <a:r>
              <a:rPr lang="en-US" dirty="0"/>
              <a:t>Named industry leader by Forrester with the most comprehensive, scalable, and integrated platforms*</a:t>
            </a:r>
          </a:p>
          <a:p>
            <a:pPr>
              <a:spcBef>
                <a:spcPts val="0"/>
              </a:spcBef>
              <a:spcAft>
                <a:spcPts val="1800"/>
              </a:spcAft>
            </a:pPr>
            <a:r>
              <a:rPr lang="en-US" dirty="0"/>
              <a:t>Recognized for its cloud-first strategy that is paying off*</a:t>
            </a:r>
          </a:p>
        </p:txBody>
      </p:sp>
      <p:sp>
        <p:nvSpPr>
          <p:cNvPr id="5" name="Rectangle 4"/>
          <p:cNvSpPr/>
          <p:nvPr/>
        </p:nvSpPr>
        <p:spPr>
          <a:xfrm>
            <a:off x="6351520" y="6036651"/>
            <a:ext cx="3778442" cy="216982"/>
          </a:xfrm>
          <a:prstGeom prst="rect">
            <a:avLst/>
          </a:prstGeom>
        </p:spPr>
        <p:txBody>
          <a:bodyPr wrap="square">
            <a:spAutoFit/>
          </a:bodyPr>
          <a:lstStyle/>
          <a:p>
            <a:pPr>
              <a:lnSpc>
                <a:spcPct val="90000"/>
              </a:lnSpc>
              <a:spcAft>
                <a:spcPts val="612"/>
              </a:spcAft>
            </a:pPr>
            <a:r>
              <a:rPr lang="en-US" sz="900" dirty="0">
                <a:solidFill>
                  <a:schemeClr val="bg1"/>
                </a:solidFill>
              </a:rPr>
              <a:t>*The Forrester </a:t>
            </a:r>
            <a:r>
              <a:rPr lang="en-US" sz="900" dirty="0" err="1">
                <a:solidFill>
                  <a:schemeClr val="bg1"/>
                </a:solidFill>
              </a:rPr>
              <a:t>WaveTM</a:t>
            </a:r>
            <a:r>
              <a:rPr lang="en-US" sz="900" dirty="0">
                <a:solidFill>
                  <a:schemeClr val="bg1"/>
                </a:solidFill>
              </a:rPr>
              <a:t>: Big Data Hadoop Cloud Solutions, Q2 2016.</a:t>
            </a:r>
          </a:p>
        </p:txBody>
      </p:sp>
      <p:grpSp>
        <p:nvGrpSpPr>
          <p:cNvPr id="6" name="Group 5"/>
          <p:cNvGrpSpPr/>
          <p:nvPr/>
        </p:nvGrpSpPr>
        <p:grpSpPr>
          <a:xfrm>
            <a:off x="460869" y="1987826"/>
            <a:ext cx="3981922" cy="4124556"/>
            <a:chOff x="1571988" y="3215811"/>
            <a:chExt cx="2858223" cy="2853912"/>
          </a:xfrm>
        </p:grpSpPr>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71988" y="3215811"/>
              <a:ext cx="2858223" cy="2853912"/>
            </a:xfrm>
            <a:prstGeom prst="rect">
              <a:avLst/>
            </a:prstGeom>
            <a:ln>
              <a:noFill/>
            </a:ln>
            <a:effectLst/>
          </p:spPr>
        </p:pic>
        <p:sp>
          <p:nvSpPr>
            <p:cNvPr id="8" name="Rectangle 7"/>
            <p:cNvSpPr/>
            <p:nvPr/>
          </p:nvSpPr>
          <p:spPr bwMode="auto">
            <a:xfrm>
              <a:off x="3631725" y="3526471"/>
              <a:ext cx="573288" cy="178106"/>
            </a:xfrm>
            <a:prstGeom prst="rect">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pic>
        <p:nvPicPr>
          <p:cNvPr id="10" name="Picture 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729720" y="387089"/>
            <a:ext cx="2300635" cy="1725476"/>
          </a:xfrm>
          <a:prstGeom prst="rect">
            <a:avLst/>
          </a:prstGeom>
        </p:spPr>
      </p:pic>
    </p:spTree>
    <p:extLst>
      <p:ext uri="{BB962C8B-B14F-4D97-AF65-F5344CB8AC3E}">
        <p14:creationId xmlns:p14="http://schemas.microsoft.com/office/powerpoint/2010/main" val="186708140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269240" y="5805350"/>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2016 Microsoft Corporation. All rights reserved. </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889366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422798980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269240" y="289511"/>
            <a:ext cx="11655840" cy="899665"/>
          </a:xfrm>
        </p:spPr>
        <p:txBody>
          <a:bodyPr/>
          <a:lstStyle/>
          <a:p>
            <a:r>
              <a:rPr lang="en-US" dirty="0"/>
              <a:t>Big Data leverages new hardware cost dynamics</a:t>
            </a:r>
          </a:p>
        </p:txBody>
      </p:sp>
      <p:sp>
        <p:nvSpPr>
          <p:cNvPr id="33" name="Rectangle 32"/>
          <p:cNvSpPr/>
          <p:nvPr/>
        </p:nvSpPr>
        <p:spPr>
          <a:xfrm>
            <a:off x="2175843" y="4709038"/>
            <a:ext cx="2125903" cy="584775"/>
          </a:xfrm>
          <a:prstGeom prst="rect">
            <a:avLst/>
          </a:prstGeom>
        </p:spPr>
        <p:txBody>
          <a:bodyPr wrap="none" lIns="0" tIns="0" rIns="0" bIns="0">
            <a:noAutofit/>
          </a:bodyPr>
          <a:lstStyle/>
          <a:p>
            <a:pPr lvl="0" algn="ctr"/>
            <a:r>
              <a:rPr lang="en-US" sz="3200" dirty="0">
                <a:solidFill>
                  <a:schemeClr val="bg1"/>
                </a:solidFill>
                <a:latin typeface="Segoe UI Light"/>
              </a:rPr>
              <a:t>Commodity Hardware </a:t>
            </a:r>
          </a:p>
        </p:txBody>
      </p:sp>
      <p:sp>
        <p:nvSpPr>
          <p:cNvPr id="87" name="Freeform 30"/>
          <p:cNvSpPr>
            <a:spLocks/>
          </p:cNvSpPr>
          <p:nvPr/>
        </p:nvSpPr>
        <p:spPr bwMode="auto">
          <a:xfrm>
            <a:off x="7344440" y="1867318"/>
            <a:ext cx="3934074" cy="2412074"/>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Rectangle 87"/>
          <p:cNvSpPr/>
          <p:nvPr/>
        </p:nvSpPr>
        <p:spPr>
          <a:xfrm>
            <a:off x="8442174" y="4709640"/>
            <a:ext cx="2125903" cy="584775"/>
          </a:xfrm>
          <a:prstGeom prst="rect">
            <a:avLst/>
          </a:prstGeom>
        </p:spPr>
        <p:txBody>
          <a:bodyPr wrap="none" lIns="0" tIns="0" rIns="0" bIns="0">
            <a:noAutofit/>
          </a:bodyPr>
          <a:lstStyle/>
          <a:p>
            <a:pPr lvl="0" algn="ctr"/>
            <a:r>
              <a:rPr lang="en-US" sz="3200" dirty="0">
                <a:solidFill>
                  <a:schemeClr val="bg1"/>
                </a:solidFill>
                <a:latin typeface="Segoe UI Light"/>
              </a:rPr>
              <a:t>Cloud </a:t>
            </a:r>
          </a:p>
        </p:txBody>
      </p:sp>
      <p:sp>
        <p:nvSpPr>
          <p:cNvPr id="2" name="Plus 1"/>
          <p:cNvSpPr/>
          <p:nvPr/>
        </p:nvSpPr>
        <p:spPr bwMode="auto">
          <a:xfrm>
            <a:off x="6147541" y="2765765"/>
            <a:ext cx="923365" cy="851647"/>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89" name="Picture 5" descr="\\MAGNUM\Projects\Microsoft\Cloud Power FY12\Design\ICONS_PNG\Virtual_tower.png"/>
          <p:cNvPicPr>
            <a:picLocks noChangeAspect="1" noChangeArrowheads="1"/>
          </p:cNvPicPr>
          <p:nvPr/>
        </p:nvPicPr>
        <p:blipFill>
          <a:blip r:embed="rId3" cstate="print">
            <a:duotone>
              <a:schemeClr val="accent1">
                <a:shade val="45000"/>
                <a:satMod val="135000"/>
              </a:schemeClr>
              <a:prstClr val="white"/>
            </a:duotone>
          </a:blip>
          <a:srcRect/>
          <a:stretch>
            <a:fillRect/>
          </a:stretch>
        </p:blipFill>
        <p:spPr bwMode="auto">
          <a:xfrm>
            <a:off x="-553699" y="1451527"/>
            <a:ext cx="3257511" cy="3257511"/>
          </a:xfrm>
          <a:prstGeom prst="rect">
            <a:avLst/>
          </a:prstGeom>
          <a:noFill/>
        </p:spPr>
      </p:pic>
      <p:sp>
        <p:nvSpPr>
          <p:cNvPr id="90" name="Rectangle 89"/>
          <p:cNvSpPr/>
          <p:nvPr/>
        </p:nvSpPr>
        <p:spPr>
          <a:xfrm>
            <a:off x="2707300" y="2606814"/>
            <a:ext cx="2125903" cy="584775"/>
          </a:xfrm>
          <a:prstGeom prst="rect">
            <a:avLst/>
          </a:prstGeom>
        </p:spPr>
        <p:txBody>
          <a:bodyPr wrap="none" lIns="0" tIns="0" rIns="0" bIns="0">
            <a:noAutofit/>
          </a:bodyPr>
          <a:lstStyle/>
          <a:p>
            <a:pPr lvl="0" algn="ctr"/>
            <a:r>
              <a:rPr lang="en-US" sz="2400" dirty="0">
                <a:solidFill>
                  <a:schemeClr val="bg1"/>
                </a:solidFill>
                <a:latin typeface="Segoe UI Light"/>
              </a:rPr>
              <a:t>Technology advances:</a:t>
            </a:r>
          </a:p>
          <a:p>
            <a:pPr marL="342900" lvl="0" indent="-342900">
              <a:buFont typeface="Arial" panose="020B0604020202020204" pitchFamily="34" charset="0"/>
              <a:buChar char="•"/>
            </a:pPr>
            <a:r>
              <a:rPr lang="en-US" sz="2000" dirty="0">
                <a:solidFill>
                  <a:schemeClr val="bg1"/>
                </a:solidFill>
                <a:latin typeface="Segoe UI Light"/>
              </a:rPr>
              <a:t>Low cost memory</a:t>
            </a:r>
          </a:p>
          <a:p>
            <a:pPr marL="342900" lvl="0" indent="-342900">
              <a:buFont typeface="Arial" panose="020B0604020202020204" pitchFamily="34" charset="0"/>
              <a:buChar char="•"/>
            </a:pPr>
            <a:r>
              <a:rPr lang="en-US" sz="2000" dirty="0">
                <a:solidFill>
                  <a:schemeClr val="bg1"/>
                </a:solidFill>
                <a:latin typeface="Segoe UI Light"/>
              </a:rPr>
              <a:t>High speed networking</a:t>
            </a:r>
          </a:p>
          <a:p>
            <a:pPr marL="342900" lvl="0" indent="-342900">
              <a:buFont typeface="Arial" panose="020B0604020202020204" pitchFamily="34" charset="0"/>
              <a:buChar char="•"/>
            </a:pPr>
            <a:r>
              <a:rPr lang="en-US" sz="2000" dirty="0">
                <a:solidFill>
                  <a:schemeClr val="bg1"/>
                </a:solidFill>
                <a:latin typeface="Segoe UI Light"/>
              </a:rPr>
              <a:t>Flash and SSD storage</a:t>
            </a:r>
          </a:p>
          <a:p>
            <a:pPr marL="342900" lvl="0" indent="-342900">
              <a:buFont typeface="Arial" panose="020B0604020202020204" pitchFamily="34" charset="0"/>
              <a:buChar char="•"/>
            </a:pPr>
            <a:r>
              <a:rPr lang="en-US" sz="2000" dirty="0">
                <a:solidFill>
                  <a:schemeClr val="bg1"/>
                </a:solidFill>
                <a:latin typeface="Segoe UI Light"/>
              </a:rPr>
              <a:t>CPU processing doubling</a:t>
            </a:r>
          </a:p>
        </p:txBody>
      </p:sp>
    </p:spTree>
    <p:extLst>
      <p:ext uri="{BB962C8B-B14F-4D97-AF65-F5344CB8AC3E}">
        <p14:creationId xmlns:p14="http://schemas.microsoft.com/office/powerpoint/2010/main" val="33199208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g Data has new data characteristics </a:t>
            </a:r>
          </a:p>
        </p:txBody>
      </p:sp>
      <p:sp>
        <p:nvSpPr>
          <p:cNvPr id="30" name="TextBox 29"/>
          <p:cNvSpPr txBox="1"/>
          <p:nvPr/>
        </p:nvSpPr>
        <p:spPr>
          <a:xfrm>
            <a:off x="1955670" y="5971481"/>
            <a:ext cx="5136342" cy="341376"/>
          </a:xfrm>
          <a:prstGeom prst="rect">
            <a:avLst/>
          </a:prstGeom>
          <a:noFill/>
          <a:ln w="38100"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spAutoFit/>
          </a:bodyPr>
          <a:lstStyle>
            <a:defPPr>
              <a:defRPr lang="en-US"/>
            </a:defPPr>
            <a:lvl1pPr marR="0" lvl="0" indent="1588" algn="r"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lgn="l"/>
            <a:r>
              <a:rPr lang="en-US" sz="2465" dirty="0">
                <a:solidFill>
                  <a:srgbClr val="2A8EDD"/>
                </a:solidFill>
              </a:rPr>
              <a:t>Data complexity: variety and velocity</a:t>
            </a:r>
          </a:p>
        </p:txBody>
      </p:sp>
      <p:sp>
        <p:nvSpPr>
          <p:cNvPr id="31" name="TextBox 30"/>
          <p:cNvSpPr txBox="1"/>
          <p:nvPr/>
        </p:nvSpPr>
        <p:spPr>
          <a:xfrm>
            <a:off x="634459" y="2936542"/>
            <a:ext cx="1021433" cy="258982"/>
          </a:xfrm>
          <a:prstGeom prst="rect">
            <a:avLst/>
          </a:prstGeom>
          <a:noFill/>
          <a:ln w="38100"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lgn="r"/>
            <a:r>
              <a:rPr lang="en-US" sz="1870" dirty="0">
                <a:gradFill>
                  <a:gsLst>
                    <a:gs pos="0">
                      <a:srgbClr val="FFFFFF"/>
                    </a:gs>
                    <a:gs pos="99000">
                      <a:srgbClr val="FFFFFF"/>
                    </a:gs>
                  </a:gsLst>
                  <a:lin ang="5400000" scaled="0"/>
                </a:gradFill>
              </a:rPr>
              <a:t>Terabytes</a:t>
            </a:r>
          </a:p>
        </p:txBody>
      </p:sp>
      <p:sp>
        <p:nvSpPr>
          <p:cNvPr id="32" name="TextBox 31"/>
          <p:cNvSpPr txBox="1"/>
          <p:nvPr/>
        </p:nvSpPr>
        <p:spPr>
          <a:xfrm>
            <a:off x="743468" y="4233225"/>
            <a:ext cx="912429" cy="223651"/>
          </a:xfrm>
          <a:prstGeom prst="rect">
            <a:avLst/>
          </a:prstGeom>
          <a:noFill/>
          <a:ln w="38100"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lgn="r"/>
            <a:r>
              <a:rPr lang="en-US" sz="1615" dirty="0">
                <a:gradFill>
                  <a:gsLst>
                    <a:gs pos="0">
                      <a:srgbClr val="FFFFFF"/>
                    </a:gs>
                    <a:gs pos="99000">
                      <a:srgbClr val="FFFFFF"/>
                    </a:gs>
                  </a:gsLst>
                  <a:lin ang="5400000" scaled="0"/>
                </a:gradFill>
              </a:rPr>
              <a:t>Gigabytes</a:t>
            </a:r>
          </a:p>
        </p:txBody>
      </p:sp>
      <p:sp>
        <p:nvSpPr>
          <p:cNvPr id="33" name="TextBox 32"/>
          <p:cNvSpPr txBox="1"/>
          <p:nvPr/>
        </p:nvSpPr>
        <p:spPr>
          <a:xfrm>
            <a:off x="751478" y="5495751"/>
            <a:ext cx="904415" cy="200119"/>
          </a:xfrm>
          <a:prstGeom prst="rect">
            <a:avLst/>
          </a:prstGeom>
          <a:noFill/>
          <a:ln w="38100"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lgn="r"/>
            <a:r>
              <a:rPr lang="en-US" sz="1445" dirty="0">
                <a:gradFill>
                  <a:gsLst>
                    <a:gs pos="0">
                      <a:srgbClr val="FFFFFF"/>
                    </a:gs>
                    <a:gs pos="99000">
                      <a:srgbClr val="FFFFFF"/>
                    </a:gs>
                  </a:gsLst>
                  <a:lin ang="5400000" scaled="0"/>
                </a:gradFill>
              </a:rPr>
              <a:t>Megabytes</a:t>
            </a:r>
          </a:p>
        </p:txBody>
      </p:sp>
      <p:sp>
        <p:nvSpPr>
          <p:cNvPr id="34" name="TextBox 33"/>
          <p:cNvSpPr txBox="1"/>
          <p:nvPr/>
        </p:nvSpPr>
        <p:spPr>
          <a:xfrm>
            <a:off x="535073" y="1617515"/>
            <a:ext cx="1120820" cy="282513"/>
          </a:xfrm>
          <a:prstGeom prst="rect">
            <a:avLst/>
          </a:prstGeom>
          <a:noFill/>
          <a:ln w="38100"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3200" b="0" i="0" u="none" strike="noStrike" kern="0" cap="none" spc="0" normalizeH="0" baseline="0">
                <a:ln>
                  <a:noFill/>
                </a:ln>
                <a:gradFill>
                  <a:gsLst>
                    <a:gs pos="0">
                      <a:schemeClr val="tx1"/>
                    </a:gs>
                    <a:gs pos="99000">
                      <a:schemeClr val="tx1"/>
                    </a:gs>
                  </a:gsLst>
                  <a:lin ang="5400000" scaled="0"/>
                </a:gradFill>
                <a:effectLst/>
                <a:uLnTx/>
                <a:uFillTx/>
                <a:latin typeface="+mj-lt"/>
                <a:ea typeface="Segoe UI" pitchFamily="34" charset="0"/>
                <a:cs typeface="Segoe UI" pitchFamily="34" charset="0"/>
              </a:defRPr>
            </a:lvl1pPr>
          </a:lstStyle>
          <a:p>
            <a:pPr algn="r"/>
            <a:r>
              <a:rPr lang="en-US" sz="2040" dirty="0">
                <a:solidFill>
                  <a:srgbClr val="2A8EDD"/>
                </a:solidFill>
                <a:latin typeface="Segoe UI"/>
              </a:rPr>
              <a:t>Petabytes</a:t>
            </a:r>
          </a:p>
        </p:txBody>
      </p:sp>
      <p:grpSp>
        <p:nvGrpSpPr>
          <p:cNvPr id="35" name="Group 34"/>
          <p:cNvGrpSpPr/>
          <p:nvPr/>
        </p:nvGrpSpPr>
        <p:grpSpPr>
          <a:xfrm>
            <a:off x="1955670" y="1405170"/>
            <a:ext cx="9608318" cy="4333964"/>
            <a:chOff x="1916134" y="1551668"/>
            <a:chExt cx="9418320" cy="4434126"/>
          </a:xfrm>
        </p:grpSpPr>
        <p:grpSp>
          <p:nvGrpSpPr>
            <p:cNvPr id="36" name="Group 35"/>
            <p:cNvGrpSpPr/>
            <p:nvPr/>
          </p:nvGrpSpPr>
          <p:grpSpPr>
            <a:xfrm>
              <a:off x="1916134" y="1551668"/>
              <a:ext cx="9418320" cy="4434126"/>
              <a:chOff x="1916135" y="1551668"/>
              <a:chExt cx="9320756" cy="4434126"/>
            </a:xfrm>
          </p:grpSpPr>
          <p:sp>
            <p:nvSpPr>
              <p:cNvPr id="41" name="Rectangle 40"/>
              <p:cNvSpPr/>
              <p:nvPr/>
            </p:nvSpPr>
            <p:spPr bwMode="auto">
              <a:xfrm>
                <a:off x="1916135" y="1596674"/>
                <a:ext cx="9320756" cy="4389120"/>
              </a:xfrm>
              <a:prstGeom prst="rect">
                <a:avLst/>
              </a:prstGeom>
              <a:solidFill>
                <a:srgbClr val="003C6C"/>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7717" tIns="38858" rIns="77717" bIns="38858" numCol="1" rtlCol="0" anchor="t" anchorCtr="0" compatLnSpc="1">
                <a:prstTxWarp prst="textNoShape">
                  <a:avLst/>
                </a:prstTxWarp>
              </a:bodyPr>
              <a:lstStyle/>
              <a:p>
                <a:pPr defTabSz="1109527" eaLnBrk="0" fontAlgn="base" hangingPunct="0">
                  <a:spcBef>
                    <a:spcPct val="0"/>
                  </a:spcBef>
                  <a:spcAft>
                    <a:spcPct val="0"/>
                  </a:spcAft>
                  <a:defRPr/>
                </a:pPr>
                <a:endParaRPr lang="en-US" sz="1360" kern="0" dirty="0">
                  <a:solidFill>
                    <a:srgbClr val="000000"/>
                  </a:solidFill>
                  <a:latin typeface="Arial"/>
                  <a:ea typeface="ＭＳ Ｐゴシック" pitchFamily="48" charset="-128"/>
                  <a:cs typeface="Arial"/>
                </a:endParaRPr>
              </a:p>
            </p:txBody>
          </p:sp>
          <p:sp>
            <p:nvSpPr>
              <p:cNvPr id="42" name="TextBox 41"/>
              <p:cNvSpPr txBox="1"/>
              <p:nvPr/>
            </p:nvSpPr>
            <p:spPr>
              <a:xfrm>
                <a:off x="9562264" y="1551668"/>
                <a:ext cx="1600296" cy="833200"/>
              </a:xfrm>
              <a:prstGeom prst="rect">
                <a:avLst/>
              </a:prstGeom>
              <a:noFill/>
              <a:ln w="38100" cap="flat" cmpd="sng" algn="ctr">
                <a:noFill/>
                <a:prstDash val="solid"/>
                <a:headEnd type="none" w="med" len="med"/>
                <a:tailEnd type="none" w="med" len="med"/>
              </a:ln>
              <a:effectLst/>
            </p:spPr>
            <p:txBody>
              <a:bodyPr vert="horz" wrap="none" lIns="155434" tIns="116575"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lgn="r"/>
                <a:r>
                  <a:rPr lang="en-US" sz="3230" b="1" u="sng" dirty="0">
                    <a:gradFill>
                      <a:gsLst>
                        <a:gs pos="39583">
                          <a:srgbClr val="FFFFFF"/>
                        </a:gs>
                        <a:gs pos="50417">
                          <a:srgbClr val="FFFFFF"/>
                        </a:gs>
                      </a:gsLst>
                      <a:lin ang="5400000" scaled="0"/>
                    </a:gradFill>
                    <a:latin typeface="Segoe UI Light"/>
                  </a:rPr>
                  <a:t>Big Data</a:t>
                </a:r>
              </a:p>
              <a:p>
                <a:pPr algn="r"/>
                <a:r>
                  <a:rPr lang="en-US" sz="1800" dirty="0">
                    <a:gradFill>
                      <a:gsLst>
                        <a:gs pos="39583">
                          <a:srgbClr val="FFFFFF"/>
                        </a:gs>
                        <a:gs pos="50417">
                          <a:srgbClr val="FFFFFF"/>
                        </a:gs>
                      </a:gsLst>
                      <a:lin ang="5400000" scaled="0"/>
                    </a:gradFill>
                    <a:latin typeface="Segoe UI Light"/>
                  </a:rPr>
                  <a:t>(schema agility)</a:t>
                </a:r>
              </a:p>
            </p:txBody>
          </p:sp>
        </p:grpSp>
        <p:sp>
          <p:nvSpPr>
            <p:cNvPr id="37" name="TextBox 36"/>
            <p:cNvSpPr txBox="1"/>
            <p:nvPr/>
          </p:nvSpPr>
          <p:spPr>
            <a:xfrm>
              <a:off x="9109338" y="2284181"/>
              <a:ext cx="1620330" cy="3142598"/>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endParaRPr lang="en-US" sz="1600" dirty="0">
                <a:gradFill>
                  <a:gsLst>
                    <a:gs pos="39583">
                      <a:srgbClr val="FFFFFF"/>
                    </a:gs>
                    <a:gs pos="50417">
                      <a:srgbClr val="FFFFFF"/>
                    </a:gs>
                  </a:gsLst>
                  <a:lin ang="5400000" scaled="0"/>
                </a:gradFill>
              </a:endParaRPr>
            </a:p>
            <a:p>
              <a:endParaRPr lang="en-US" sz="1600" dirty="0">
                <a:gradFill>
                  <a:gsLst>
                    <a:gs pos="39583">
                      <a:srgbClr val="FFFFFF"/>
                    </a:gs>
                    <a:gs pos="50417">
                      <a:srgbClr val="FFFFFF"/>
                    </a:gs>
                  </a:gsLst>
                  <a:lin ang="5400000" scaled="0"/>
                </a:gradFill>
              </a:endParaRPr>
            </a:p>
            <a:p>
              <a:r>
                <a:rPr lang="en-US" sz="1600" dirty="0">
                  <a:gradFill>
                    <a:gsLst>
                      <a:gs pos="39583">
                        <a:srgbClr val="FFFFFF"/>
                      </a:gs>
                      <a:gs pos="50417">
                        <a:srgbClr val="FFFFFF"/>
                      </a:gs>
                    </a:gsLst>
                    <a:lin ang="5400000" scaled="0"/>
                  </a:gradFill>
                </a:rPr>
                <a:t>Log files</a:t>
              </a:r>
            </a:p>
            <a:p>
              <a:r>
                <a:rPr lang="en-US" sz="1600" dirty="0">
                  <a:gradFill>
                    <a:gsLst>
                      <a:gs pos="39583">
                        <a:srgbClr val="FFFFFF"/>
                      </a:gs>
                      <a:gs pos="50417">
                        <a:srgbClr val="FFFFFF"/>
                      </a:gs>
                    </a:gsLst>
                    <a:lin ang="5400000" scaled="0"/>
                  </a:gradFill>
                </a:rPr>
                <a:t>Spatial &amp; </a:t>
              </a:r>
              <a:br>
                <a:rPr lang="en-US" sz="1600" dirty="0">
                  <a:gradFill>
                    <a:gsLst>
                      <a:gs pos="39583">
                        <a:srgbClr val="FFFFFF"/>
                      </a:gs>
                      <a:gs pos="50417">
                        <a:srgbClr val="FFFFFF"/>
                      </a:gs>
                    </a:gsLst>
                    <a:lin ang="5400000" scaled="0"/>
                  </a:gradFill>
                </a:rPr>
              </a:br>
              <a:r>
                <a:rPr lang="en-US" sz="1600" dirty="0">
                  <a:gradFill>
                    <a:gsLst>
                      <a:gs pos="39583">
                        <a:srgbClr val="FFFFFF"/>
                      </a:gs>
                      <a:gs pos="50417">
                        <a:srgbClr val="FFFFFF"/>
                      </a:gs>
                    </a:gsLst>
                    <a:lin ang="5400000" scaled="0"/>
                  </a:gradFill>
                </a:rPr>
                <a:t>GPS coordinates</a:t>
              </a:r>
            </a:p>
            <a:p>
              <a:r>
                <a:rPr lang="en-US" sz="1600" dirty="0">
                  <a:gradFill>
                    <a:gsLst>
                      <a:gs pos="39583">
                        <a:srgbClr val="FFFFFF"/>
                      </a:gs>
                      <a:gs pos="50417">
                        <a:srgbClr val="FFFFFF"/>
                      </a:gs>
                    </a:gsLst>
                    <a:lin ang="5400000" scaled="0"/>
                  </a:gradFill>
                </a:rPr>
                <a:t>Data market feeds</a:t>
              </a:r>
            </a:p>
            <a:p>
              <a:r>
                <a:rPr lang="en-US" sz="1600" dirty="0" err="1">
                  <a:gradFill>
                    <a:gsLst>
                      <a:gs pos="39583">
                        <a:srgbClr val="FFFFFF"/>
                      </a:gs>
                      <a:gs pos="50417">
                        <a:srgbClr val="FFFFFF"/>
                      </a:gs>
                    </a:gsLst>
                    <a:lin ang="5400000" scaled="0"/>
                  </a:gradFill>
                </a:rPr>
                <a:t>eGov</a:t>
              </a:r>
              <a:r>
                <a:rPr lang="en-US" sz="1600" dirty="0">
                  <a:gradFill>
                    <a:gsLst>
                      <a:gs pos="39583">
                        <a:srgbClr val="FFFFFF"/>
                      </a:gs>
                      <a:gs pos="50417">
                        <a:srgbClr val="FFFFFF"/>
                      </a:gs>
                    </a:gsLst>
                    <a:lin ang="5400000" scaled="0"/>
                  </a:gradFill>
                </a:rPr>
                <a:t> feeds</a:t>
              </a:r>
            </a:p>
            <a:p>
              <a:r>
                <a:rPr lang="en-US" sz="1600" dirty="0">
                  <a:gradFill>
                    <a:gsLst>
                      <a:gs pos="39583">
                        <a:srgbClr val="FFFFFF"/>
                      </a:gs>
                      <a:gs pos="50417">
                        <a:srgbClr val="FFFFFF"/>
                      </a:gs>
                    </a:gsLst>
                    <a:lin ang="5400000" scaled="0"/>
                  </a:gradFill>
                </a:rPr>
                <a:t>Weather </a:t>
              </a:r>
            </a:p>
            <a:p>
              <a:r>
                <a:rPr lang="en-US" sz="1600" dirty="0">
                  <a:gradFill>
                    <a:gsLst>
                      <a:gs pos="39583">
                        <a:srgbClr val="FFFFFF"/>
                      </a:gs>
                      <a:gs pos="50417">
                        <a:srgbClr val="FFFFFF"/>
                      </a:gs>
                    </a:gsLst>
                    <a:lin ang="5400000" scaled="0"/>
                  </a:gradFill>
                </a:rPr>
                <a:t>Text/image</a:t>
              </a:r>
            </a:p>
          </p:txBody>
        </p:sp>
        <p:sp>
          <p:nvSpPr>
            <p:cNvPr id="38" name="TextBox 37"/>
            <p:cNvSpPr txBox="1"/>
            <p:nvPr/>
          </p:nvSpPr>
          <p:spPr>
            <a:xfrm>
              <a:off x="3051821" y="1809300"/>
              <a:ext cx="1075087" cy="610886"/>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r>
                <a:rPr lang="en-US" sz="1600" dirty="0">
                  <a:gradFill>
                    <a:gsLst>
                      <a:gs pos="39583">
                        <a:srgbClr val="FFFFFF"/>
                      </a:gs>
                      <a:gs pos="50417">
                        <a:srgbClr val="FFFFFF"/>
                      </a:gs>
                    </a:gsLst>
                    <a:lin ang="5400000" scaled="0"/>
                  </a:gradFill>
                </a:rPr>
                <a:t>Click stream</a:t>
              </a:r>
            </a:p>
            <a:p>
              <a:r>
                <a:rPr lang="en-US" sz="1600" dirty="0">
                  <a:gradFill>
                    <a:gsLst>
                      <a:gs pos="39583">
                        <a:srgbClr val="FFFFFF"/>
                      </a:gs>
                      <a:gs pos="50417">
                        <a:srgbClr val="FFFFFF"/>
                      </a:gs>
                    </a:gsLst>
                    <a:lin ang="5400000" scaled="0"/>
                  </a:gradFill>
                </a:rPr>
                <a:t>Wikis/blogs</a:t>
              </a:r>
            </a:p>
          </p:txBody>
        </p:sp>
        <p:sp>
          <p:nvSpPr>
            <p:cNvPr id="39" name="TextBox 38"/>
            <p:cNvSpPr txBox="1"/>
            <p:nvPr/>
          </p:nvSpPr>
          <p:spPr>
            <a:xfrm>
              <a:off x="4857773" y="1809300"/>
              <a:ext cx="1257358" cy="453441"/>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r>
                <a:rPr lang="en-US" sz="1600" dirty="0">
                  <a:gradFill>
                    <a:gsLst>
                      <a:gs pos="39583">
                        <a:srgbClr val="FFFFFF"/>
                      </a:gs>
                      <a:gs pos="50417">
                        <a:srgbClr val="FFFFFF"/>
                      </a:gs>
                    </a:gsLst>
                    <a:lin ang="5400000" scaled="0"/>
                  </a:gradFill>
                </a:rPr>
                <a:t>Sensors/RFID/</a:t>
              </a:r>
              <a:br>
                <a:rPr lang="en-US" sz="1600" dirty="0">
                  <a:gradFill>
                    <a:gsLst>
                      <a:gs pos="39583">
                        <a:srgbClr val="FFFFFF"/>
                      </a:gs>
                      <a:gs pos="50417">
                        <a:srgbClr val="FFFFFF"/>
                      </a:gs>
                    </a:gsLst>
                    <a:lin ang="5400000" scaled="0"/>
                  </a:gradFill>
                </a:rPr>
              </a:br>
              <a:r>
                <a:rPr lang="en-US" sz="1600" dirty="0">
                  <a:gradFill>
                    <a:gsLst>
                      <a:gs pos="39583">
                        <a:srgbClr val="FFFFFF"/>
                      </a:gs>
                      <a:gs pos="50417">
                        <a:srgbClr val="FFFFFF"/>
                      </a:gs>
                    </a:gsLst>
                    <a:lin ang="5400000" scaled="0"/>
                  </a:gradFill>
                </a:rPr>
                <a:t>devices</a:t>
              </a:r>
            </a:p>
          </p:txBody>
        </p:sp>
        <p:sp>
          <p:nvSpPr>
            <p:cNvPr id="40" name="TextBox 28"/>
            <p:cNvSpPr txBox="1"/>
            <p:nvPr/>
          </p:nvSpPr>
          <p:spPr>
            <a:xfrm>
              <a:off x="6892952" y="1809300"/>
              <a:ext cx="1452200" cy="995051"/>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r>
                <a:rPr lang="en-US" sz="1600" dirty="0">
                  <a:gradFill>
                    <a:gsLst>
                      <a:gs pos="39583">
                        <a:srgbClr val="FFFFFF"/>
                      </a:gs>
                      <a:gs pos="50417">
                        <a:srgbClr val="FFFFFF"/>
                      </a:gs>
                    </a:gsLst>
                    <a:lin ang="5400000" scaled="0"/>
                  </a:gradFill>
                </a:rPr>
                <a:t>Social sentiment</a:t>
              </a:r>
            </a:p>
            <a:p>
              <a:r>
                <a:rPr lang="en-US" sz="1600" dirty="0">
                  <a:gradFill>
                    <a:gsLst>
                      <a:gs pos="39583">
                        <a:srgbClr val="FFFFFF"/>
                      </a:gs>
                      <a:gs pos="50417">
                        <a:srgbClr val="FFFFFF"/>
                      </a:gs>
                    </a:gsLst>
                    <a:lin ang="5400000" scaled="0"/>
                  </a:gradFill>
                </a:rPr>
                <a:t>Audio/video</a:t>
              </a:r>
            </a:p>
            <a:p>
              <a:endParaRPr lang="en-US" sz="1600" dirty="0">
                <a:gradFill>
                  <a:gsLst>
                    <a:gs pos="39583">
                      <a:srgbClr val="FFFFFF"/>
                    </a:gs>
                    <a:gs pos="50417">
                      <a:srgbClr val="FFFFFF"/>
                    </a:gs>
                  </a:gsLst>
                  <a:lin ang="5400000" scaled="0"/>
                </a:gradFill>
              </a:endParaRPr>
            </a:p>
          </p:txBody>
        </p:sp>
      </p:grpSp>
      <p:grpSp>
        <p:nvGrpSpPr>
          <p:cNvPr id="43" name="Group 42"/>
          <p:cNvGrpSpPr/>
          <p:nvPr/>
        </p:nvGrpSpPr>
        <p:grpSpPr>
          <a:xfrm>
            <a:off x="1955671" y="2611028"/>
            <a:ext cx="6996347" cy="3128107"/>
            <a:chOff x="1916135" y="2785394"/>
            <a:chExt cx="6858000" cy="3200400"/>
          </a:xfrm>
        </p:grpSpPr>
        <p:sp>
          <p:nvSpPr>
            <p:cNvPr id="48" name="Rectangle 47"/>
            <p:cNvSpPr/>
            <p:nvPr/>
          </p:nvSpPr>
          <p:spPr bwMode="auto">
            <a:xfrm>
              <a:off x="1916135" y="2785394"/>
              <a:ext cx="6858000" cy="3200400"/>
            </a:xfrm>
            <a:prstGeom prst="rect">
              <a:avLst/>
            </a:prstGeom>
            <a:solidFill>
              <a:srgbClr val="0078D7"/>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7717" tIns="38858" rIns="77717" bIns="38858" numCol="1" rtlCol="0" anchor="t" anchorCtr="0" compatLnSpc="1">
              <a:prstTxWarp prst="textNoShape">
                <a:avLst/>
              </a:prstTxWarp>
            </a:bodyPr>
            <a:lstStyle/>
            <a:p>
              <a:pPr defTabSz="1109527" eaLnBrk="0" fontAlgn="base" hangingPunct="0">
                <a:spcBef>
                  <a:spcPct val="0"/>
                </a:spcBef>
                <a:spcAft>
                  <a:spcPct val="0"/>
                </a:spcAft>
              </a:pPr>
              <a:endParaRPr lang="en-US" sz="1360" kern="0" dirty="0">
                <a:solidFill>
                  <a:srgbClr val="000000"/>
                </a:solidFill>
                <a:latin typeface="Arial"/>
                <a:ea typeface="ＭＳ Ｐゴシック" pitchFamily="48" charset="-128"/>
                <a:cs typeface="Arial"/>
              </a:endParaRPr>
            </a:p>
          </p:txBody>
        </p:sp>
        <p:sp>
          <p:nvSpPr>
            <p:cNvPr id="45" name="TextBox 44"/>
            <p:cNvSpPr txBox="1"/>
            <p:nvPr/>
          </p:nvSpPr>
          <p:spPr>
            <a:xfrm>
              <a:off x="6426939" y="3068033"/>
              <a:ext cx="1654899" cy="2147546"/>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spcBef>
                  <a:spcPts val="1224"/>
                </a:spcBef>
              </a:pPr>
              <a:endParaRPr lang="en-US" sz="1600" dirty="0">
                <a:gradFill>
                  <a:gsLst>
                    <a:gs pos="39583">
                      <a:srgbClr val="FFFFFF"/>
                    </a:gs>
                    <a:gs pos="50417">
                      <a:srgbClr val="FFFFFF"/>
                    </a:gs>
                  </a:gsLst>
                  <a:lin ang="5400000" scaled="0"/>
                </a:gradFill>
              </a:endParaRPr>
            </a:p>
            <a:p>
              <a:pPr>
                <a:spcBef>
                  <a:spcPts val="1224"/>
                </a:spcBef>
              </a:pPr>
              <a:endParaRPr lang="en-US" sz="1600" dirty="0">
                <a:gradFill>
                  <a:gsLst>
                    <a:gs pos="39583">
                      <a:srgbClr val="FFFFFF"/>
                    </a:gs>
                    <a:gs pos="50417">
                      <a:srgbClr val="FFFFFF"/>
                    </a:gs>
                  </a:gsLst>
                  <a:lin ang="5400000" scaled="0"/>
                </a:gradFill>
              </a:endParaRPr>
            </a:p>
            <a:p>
              <a:pPr>
                <a:spcBef>
                  <a:spcPts val="1224"/>
                </a:spcBef>
              </a:pPr>
              <a:r>
                <a:rPr lang="en-US" sz="1600" dirty="0">
                  <a:gradFill>
                    <a:gsLst>
                      <a:gs pos="39583">
                        <a:srgbClr val="FFFFFF"/>
                      </a:gs>
                      <a:gs pos="50417">
                        <a:srgbClr val="FFFFFF"/>
                      </a:gs>
                    </a:gsLst>
                    <a:lin ang="5400000" scaled="0"/>
                  </a:gradFill>
                </a:rPr>
                <a:t>Web Logs</a:t>
              </a:r>
            </a:p>
            <a:p>
              <a:pPr>
                <a:spcBef>
                  <a:spcPts val="1224"/>
                </a:spcBef>
              </a:pPr>
              <a:r>
                <a:rPr lang="en-US" sz="1600" dirty="0">
                  <a:gradFill>
                    <a:gsLst>
                      <a:gs pos="39583">
                        <a:srgbClr val="FFFFFF"/>
                      </a:gs>
                      <a:gs pos="50417">
                        <a:srgbClr val="FFFFFF"/>
                      </a:gs>
                    </a:gsLst>
                    <a:lin ang="5400000" scaled="0"/>
                  </a:gradFill>
                </a:rPr>
                <a:t>Digital Marketing</a:t>
              </a:r>
            </a:p>
            <a:p>
              <a:pPr>
                <a:spcBef>
                  <a:spcPts val="1224"/>
                </a:spcBef>
              </a:pPr>
              <a:r>
                <a:rPr lang="en-US" sz="1600" dirty="0">
                  <a:gradFill>
                    <a:gsLst>
                      <a:gs pos="39583">
                        <a:srgbClr val="FFFFFF"/>
                      </a:gs>
                      <a:gs pos="50417">
                        <a:srgbClr val="FFFFFF"/>
                      </a:gs>
                    </a:gsLst>
                    <a:lin ang="5400000" scaled="0"/>
                  </a:gradFill>
                </a:rPr>
                <a:t>Search Marketing</a:t>
              </a:r>
            </a:p>
            <a:p>
              <a:pPr>
                <a:spcBef>
                  <a:spcPts val="1224"/>
                </a:spcBef>
              </a:pPr>
              <a:r>
                <a:rPr lang="en-US" sz="1600" dirty="0">
                  <a:gradFill>
                    <a:gsLst>
                      <a:gs pos="39583">
                        <a:srgbClr val="FFFFFF"/>
                      </a:gs>
                      <a:gs pos="50417">
                        <a:srgbClr val="FFFFFF"/>
                      </a:gs>
                    </a:gsLst>
                    <a:lin ang="5400000" scaled="0"/>
                  </a:gradFill>
                </a:rPr>
                <a:t>Recommendations</a:t>
              </a:r>
            </a:p>
          </p:txBody>
        </p:sp>
        <p:sp>
          <p:nvSpPr>
            <p:cNvPr id="46" name="TextBox 45"/>
            <p:cNvSpPr txBox="1"/>
            <p:nvPr/>
          </p:nvSpPr>
          <p:spPr>
            <a:xfrm>
              <a:off x="2590298" y="3011650"/>
              <a:ext cx="1002807" cy="610886"/>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spcBef>
                  <a:spcPts val="1224"/>
                </a:spcBef>
              </a:pPr>
              <a:r>
                <a:rPr lang="en-US" sz="1600" dirty="0">
                  <a:gradFill>
                    <a:gsLst>
                      <a:gs pos="39583">
                        <a:srgbClr val="FFFFFF"/>
                      </a:gs>
                      <a:gs pos="50417">
                        <a:srgbClr val="FFFFFF"/>
                      </a:gs>
                    </a:gsLst>
                    <a:lin ang="5400000" scaled="0"/>
                  </a:gradFill>
                </a:rPr>
                <a:t>Advertising</a:t>
              </a:r>
            </a:p>
            <a:p>
              <a:pPr>
                <a:spcBef>
                  <a:spcPts val="1224"/>
                </a:spcBef>
              </a:pPr>
              <a:r>
                <a:rPr lang="en-US" sz="1600" dirty="0">
                  <a:gradFill>
                    <a:gsLst>
                      <a:gs pos="39583">
                        <a:srgbClr val="FFFFFF"/>
                      </a:gs>
                      <a:gs pos="50417">
                        <a:srgbClr val="FFFFFF"/>
                      </a:gs>
                    </a:gsLst>
                    <a:lin ang="5400000" scaled="0"/>
                  </a:gradFill>
                </a:rPr>
                <a:t>Mobile</a:t>
              </a:r>
            </a:p>
          </p:txBody>
        </p:sp>
        <p:sp>
          <p:nvSpPr>
            <p:cNvPr id="47" name="TextBox 27"/>
            <p:cNvSpPr txBox="1"/>
            <p:nvPr/>
          </p:nvSpPr>
          <p:spPr>
            <a:xfrm>
              <a:off x="4703773" y="3052570"/>
              <a:ext cx="1199220" cy="610886"/>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spcBef>
                  <a:spcPts val="1224"/>
                </a:spcBef>
              </a:pPr>
              <a:r>
                <a:rPr lang="en-US" sz="1600" dirty="0">
                  <a:gradFill>
                    <a:gsLst>
                      <a:gs pos="39583">
                        <a:srgbClr val="FFFFFF"/>
                      </a:gs>
                      <a:gs pos="50417">
                        <a:srgbClr val="FFFFFF"/>
                      </a:gs>
                    </a:gsLst>
                    <a:lin ang="5400000" scaled="0"/>
                  </a:gradFill>
                </a:rPr>
                <a:t>Collaboration</a:t>
              </a:r>
            </a:p>
            <a:p>
              <a:pPr>
                <a:spcBef>
                  <a:spcPts val="1224"/>
                </a:spcBef>
              </a:pPr>
              <a:r>
                <a:rPr lang="en-US" sz="1600" dirty="0" err="1">
                  <a:gradFill>
                    <a:gsLst>
                      <a:gs pos="39583">
                        <a:srgbClr val="FFFFFF"/>
                      </a:gs>
                      <a:gs pos="50417">
                        <a:srgbClr val="FFFFFF"/>
                      </a:gs>
                    </a:gsLst>
                    <a:lin ang="5400000" scaled="0"/>
                  </a:gradFill>
                </a:rPr>
                <a:t>eCommerce</a:t>
              </a:r>
              <a:endParaRPr lang="en-US" sz="1600" dirty="0">
                <a:gradFill>
                  <a:gsLst>
                    <a:gs pos="39583">
                      <a:srgbClr val="FFFFFF"/>
                    </a:gs>
                    <a:gs pos="50417">
                      <a:srgbClr val="FFFFFF"/>
                    </a:gs>
                  </a:gsLst>
                  <a:lin ang="5400000" scaled="0"/>
                </a:gradFill>
              </a:endParaRPr>
            </a:p>
          </p:txBody>
        </p:sp>
      </p:grpSp>
      <p:grpSp>
        <p:nvGrpSpPr>
          <p:cNvPr id="50" name="Group 49"/>
          <p:cNvGrpSpPr/>
          <p:nvPr/>
        </p:nvGrpSpPr>
        <p:grpSpPr>
          <a:xfrm>
            <a:off x="1955671" y="3679862"/>
            <a:ext cx="4384377" cy="2059270"/>
            <a:chOff x="1916135" y="3878932"/>
            <a:chExt cx="4297680" cy="2106862"/>
          </a:xfrm>
        </p:grpSpPr>
        <p:grpSp>
          <p:nvGrpSpPr>
            <p:cNvPr id="51" name="Group 50"/>
            <p:cNvGrpSpPr/>
            <p:nvPr/>
          </p:nvGrpSpPr>
          <p:grpSpPr>
            <a:xfrm>
              <a:off x="1916135" y="3878932"/>
              <a:ext cx="4297680" cy="2106862"/>
              <a:chOff x="1887240" y="3878932"/>
              <a:chExt cx="4297680" cy="2106862"/>
            </a:xfrm>
          </p:grpSpPr>
          <p:sp>
            <p:nvSpPr>
              <p:cNvPr id="54" name="Rectangle 53"/>
              <p:cNvSpPr/>
              <p:nvPr/>
            </p:nvSpPr>
            <p:spPr bwMode="auto">
              <a:xfrm>
                <a:off x="1887240" y="3974114"/>
                <a:ext cx="4297680" cy="2011680"/>
              </a:xfrm>
              <a:prstGeom prst="rect">
                <a:avLst/>
              </a:prstGeom>
              <a:solidFill>
                <a:srgbClr val="4EB1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7717" tIns="38858" rIns="77717" bIns="38858" numCol="1" rtlCol="0" anchor="t" anchorCtr="0" compatLnSpc="1">
                <a:prstTxWarp prst="textNoShape">
                  <a:avLst/>
                </a:prstTxWarp>
              </a:bodyPr>
              <a:lstStyle/>
              <a:p>
                <a:pPr defTabSz="1109527" eaLnBrk="0" fontAlgn="base" hangingPunct="0">
                  <a:spcBef>
                    <a:spcPct val="0"/>
                  </a:spcBef>
                  <a:spcAft>
                    <a:spcPct val="0"/>
                  </a:spcAft>
                </a:pPr>
                <a:r>
                  <a:rPr lang="en-US" sz="1360" kern="0" dirty="0">
                    <a:solidFill>
                      <a:srgbClr val="000000"/>
                    </a:solidFill>
                    <a:latin typeface="Arial"/>
                    <a:ea typeface="ＭＳ Ｐゴシック" pitchFamily="48" charset="-128"/>
                    <a:cs typeface="Arial"/>
                  </a:rPr>
                  <a:t>		</a:t>
                </a:r>
              </a:p>
            </p:txBody>
          </p:sp>
          <p:sp>
            <p:nvSpPr>
              <p:cNvPr id="55" name="TextBox 54"/>
              <p:cNvSpPr txBox="1"/>
              <p:nvPr/>
            </p:nvSpPr>
            <p:spPr>
              <a:xfrm>
                <a:off x="3597400" y="3878932"/>
                <a:ext cx="2537832" cy="760907"/>
              </a:xfrm>
              <a:prstGeom prst="rect">
                <a:avLst/>
              </a:prstGeom>
              <a:noFill/>
              <a:ln w="38100" cap="flat" cmpd="sng" algn="ctr">
                <a:noFill/>
                <a:prstDash val="solid"/>
                <a:headEnd type="none" w="med" len="med"/>
                <a:tailEnd type="none" w="med" len="med"/>
              </a:ln>
              <a:effectLst/>
            </p:spPr>
            <p:txBody>
              <a:bodyPr vert="horz" wrap="none" lIns="155434" tIns="116575"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3200" b="0" i="0" u="none" strike="noStrike" kern="0" cap="none" spc="0" normalizeH="0" baseline="0">
                    <a:ln>
                      <a:noFill/>
                    </a:ln>
                    <a:gradFill>
                      <a:gsLst>
                        <a:gs pos="0">
                          <a:srgbClr val="000000"/>
                        </a:gs>
                        <a:gs pos="98000">
                          <a:srgbClr val="000000"/>
                        </a:gs>
                      </a:gsLst>
                      <a:lin ang="5400000" scaled="0"/>
                    </a:gradFill>
                    <a:effectLst/>
                    <a:uLnTx/>
                    <a:uFillTx/>
                    <a:latin typeface="+mj-lt"/>
                    <a:ea typeface="Segoe UI" pitchFamily="34" charset="0"/>
                    <a:cs typeface="Segoe UI" pitchFamily="34" charset="0"/>
                  </a:defRPr>
                </a:lvl1pPr>
              </a:lstStyle>
              <a:p>
                <a:pPr algn="r"/>
                <a:r>
                  <a:rPr lang="en-US" sz="2720" b="1" u="sng" dirty="0">
                    <a:gradFill>
                      <a:gsLst>
                        <a:gs pos="39583">
                          <a:srgbClr val="FFFFFF"/>
                        </a:gs>
                        <a:gs pos="50417">
                          <a:srgbClr val="FFFFFF"/>
                        </a:gs>
                      </a:gsLst>
                      <a:lin ang="5400000" scaled="0"/>
                    </a:gradFill>
                  </a:rPr>
                  <a:t>Relational</a:t>
                </a:r>
              </a:p>
              <a:p>
                <a:pPr algn="r"/>
                <a:r>
                  <a:rPr lang="en-US" sz="1800" dirty="0">
                    <a:gradFill>
                      <a:gsLst>
                        <a:gs pos="39583">
                          <a:srgbClr val="FFFFFF"/>
                        </a:gs>
                        <a:gs pos="50417">
                          <a:srgbClr val="FFFFFF"/>
                        </a:gs>
                      </a:gsLst>
                      <a:lin ang="5400000" scaled="0"/>
                    </a:gradFill>
                  </a:rPr>
                  <a:t>(highly modeled schema)</a:t>
                </a:r>
              </a:p>
            </p:txBody>
          </p:sp>
        </p:grpSp>
        <p:sp>
          <p:nvSpPr>
            <p:cNvPr id="52" name="TextBox 51"/>
            <p:cNvSpPr txBox="1"/>
            <p:nvPr/>
          </p:nvSpPr>
          <p:spPr>
            <a:xfrm>
              <a:off x="2590298" y="4850990"/>
              <a:ext cx="836249" cy="995051"/>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r>
                <a:rPr lang="en-US" sz="1600" dirty="0">
                  <a:gradFill>
                    <a:gsLst>
                      <a:gs pos="39583">
                        <a:srgbClr val="FFFFFF"/>
                      </a:gs>
                      <a:gs pos="50417">
                        <a:srgbClr val="FFFFFF"/>
                      </a:gs>
                    </a:gsLst>
                    <a:lin ang="5400000" scaled="0"/>
                  </a:gradFill>
                </a:rPr>
                <a:t>Payables</a:t>
              </a:r>
            </a:p>
            <a:p>
              <a:r>
                <a:rPr lang="en-US" sz="1600" dirty="0">
                  <a:gradFill>
                    <a:gsLst>
                      <a:gs pos="39583">
                        <a:srgbClr val="FFFFFF"/>
                      </a:gs>
                      <a:gs pos="50417">
                        <a:srgbClr val="FFFFFF"/>
                      </a:gs>
                    </a:gsLst>
                    <a:lin ang="5400000" scaled="0"/>
                  </a:gradFill>
                </a:rPr>
                <a:t>Payroll</a:t>
              </a:r>
            </a:p>
            <a:p>
              <a:r>
                <a:rPr lang="en-US" sz="1600" dirty="0">
                  <a:gradFill>
                    <a:gsLst>
                      <a:gs pos="39583">
                        <a:srgbClr val="FFFFFF"/>
                      </a:gs>
                      <a:gs pos="50417">
                        <a:srgbClr val="FFFFFF"/>
                      </a:gs>
                    </a:gsLst>
                    <a:lin ang="5400000" scaled="0"/>
                  </a:gradFill>
                </a:rPr>
                <a:t>Inventory</a:t>
              </a:r>
            </a:p>
          </p:txBody>
        </p:sp>
        <p:sp>
          <p:nvSpPr>
            <p:cNvPr id="53" name="TextBox 52"/>
            <p:cNvSpPr txBox="1"/>
            <p:nvPr/>
          </p:nvSpPr>
          <p:spPr>
            <a:xfrm>
              <a:off x="4203195" y="4850990"/>
              <a:ext cx="1205505" cy="995051"/>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r>
                <a:rPr lang="en-US" sz="1600" dirty="0">
                  <a:gradFill>
                    <a:gsLst>
                      <a:gs pos="39583">
                        <a:srgbClr val="FFFFFF"/>
                      </a:gs>
                      <a:gs pos="50417">
                        <a:srgbClr val="FFFFFF"/>
                      </a:gs>
                    </a:gsLst>
                    <a:lin ang="5400000" scaled="0"/>
                  </a:gradFill>
                </a:rPr>
                <a:t>Contacts</a:t>
              </a:r>
            </a:p>
            <a:p>
              <a:r>
                <a:rPr lang="en-US" sz="1600" dirty="0">
                  <a:gradFill>
                    <a:gsLst>
                      <a:gs pos="39583">
                        <a:srgbClr val="FFFFFF"/>
                      </a:gs>
                      <a:gs pos="50417">
                        <a:srgbClr val="FFFFFF"/>
                      </a:gs>
                    </a:gsLst>
                    <a:lin ang="5400000" scaled="0"/>
                  </a:gradFill>
                </a:rPr>
                <a:t>Deal Tracking</a:t>
              </a:r>
            </a:p>
            <a:p>
              <a:r>
                <a:rPr lang="en-US" sz="1600" dirty="0">
                  <a:gradFill>
                    <a:gsLst>
                      <a:gs pos="39583">
                        <a:srgbClr val="FFFFFF"/>
                      </a:gs>
                      <a:gs pos="50417">
                        <a:srgbClr val="FFFFFF"/>
                      </a:gs>
                    </a:gsLst>
                    <a:lin ang="5400000" scaled="0"/>
                  </a:gradFill>
                </a:rPr>
                <a:t>Sales Pipeline</a:t>
              </a:r>
            </a:p>
          </p:txBody>
        </p:sp>
      </p:grpSp>
      <p:sp>
        <p:nvSpPr>
          <p:cNvPr id="56" name="Rectangle 32"/>
          <p:cNvSpPr/>
          <p:nvPr/>
        </p:nvSpPr>
        <p:spPr bwMode="auto">
          <a:xfrm>
            <a:off x="1827705" y="1202400"/>
            <a:ext cx="9981455" cy="4663017"/>
          </a:xfrm>
          <a:custGeom>
            <a:avLst/>
            <a:gdLst>
              <a:gd name="connsiteX0" fmla="*/ 0 w 9784080"/>
              <a:gd name="connsiteY0" fmla="*/ 0 h 4754880"/>
              <a:gd name="connsiteX1" fmla="*/ 9784080 w 9784080"/>
              <a:gd name="connsiteY1" fmla="*/ 0 h 4754880"/>
              <a:gd name="connsiteX2" fmla="*/ 9784080 w 9784080"/>
              <a:gd name="connsiteY2" fmla="*/ 4754880 h 4754880"/>
              <a:gd name="connsiteX3" fmla="*/ 0 w 9784080"/>
              <a:gd name="connsiteY3" fmla="*/ 4754880 h 4754880"/>
              <a:gd name="connsiteX4" fmla="*/ 0 w 9784080"/>
              <a:gd name="connsiteY4" fmla="*/ 0 h 4754880"/>
              <a:gd name="connsiteX0" fmla="*/ 9784080 w 9875520"/>
              <a:gd name="connsiteY0" fmla="*/ 0 h 4754880"/>
              <a:gd name="connsiteX1" fmla="*/ 9784080 w 9875520"/>
              <a:gd name="connsiteY1" fmla="*/ 4754880 h 4754880"/>
              <a:gd name="connsiteX2" fmla="*/ 0 w 9875520"/>
              <a:gd name="connsiteY2" fmla="*/ 4754880 h 4754880"/>
              <a:gd name="connsiteX3" fmla="*/ 0 w 9875520"/>
              <a:gd name="connsiteY3" fmla="*/ 0 h 4754880"/>
              <a:gd name="connsiteX4" fmla="*/ 9875520 w 9875520"/>
              <a:gd name="connsiteY4" fmla="*/ 91440 h 4754880"/>
              <a:gd name="connsiteX0" fmla="*/ 9784080 w 9784080"/>
              <a:gd name="connsiteY0" fmla="*/ 0 h 4754880"/>
              <a:gd name="connsiteX1" fmla="*/ 9784080 w 9784080"/>
              <a:gd name="connsiteY1" fmla="*/ 4754880 h 4754880"/>
              <a:gd name="connsiteX2" fmla="*/ 0 w 9784080"/>
              <a:gd name="connsiteY2" fmla="*/ 4754880 h 4754880"/>
              <a:gd name="connsiteX3" fmla="*/ 0 w 9784080"/>
              <a:gd name="connsiteY3" fmla="*/ 0 h 4754880"/>
              <a:gd name="connsiteX0" fmla="*/ 9784080 w 9784080"/>
              <a:gd name="connsiteY0" fmla="*/ 4754880 h 4754880"/>
              <a:gd name="connsiteX1" fmla="*/ 0 w 9784080"/>
              <a:gd name="connsiteY1" fmla="*/ 4754880 h 4754880"/>
              <a:gd name="connsiteX2" fmla="*/ 0 w 9784080"/>
              <a:gd name="connsiteY2" fmla="*/ 0 h 4754880"/>
            </a:gdLst>
            <a:ahLst/>
            <a:cxnLst>
              <a:cxn ang="0">
                <a:pos x="connsiteX0" y="connsiteY0"/>
              </a:cxn>
              <a:cxn ang="0">
                <a:pos x="connsiteX1" y="connsiteY1"/>
              </a:cxn>
              <a:cxn ang="0">
                <a:pos x="connsiteX2" y="connsiteY2"/>
              </a:cxn>
            </a:cxnLst>
            <a:rect l="l" t="t" r="r" b="b"/>
            <a:pathLst>
              <a:path w="9784080" h="4754880">
                <a:moveTo>
                  <a:pt x="9784080" y="4754880"/>
                </a:moveTo>
                <a:lnTo>
                  <a:pt x="0" y="4754880"/>
                </a:lnTo>
                <a:lnTo>
                  <a:pt x="0" y="0"/>
                </a:lnTo>
              </a:path>
            </a:pathLst>
          </a:custGeom>
          <a:noFill/>
          <a:ln w="50800">
            <a:solidFill>
              <a:srgbClr val="969696"/>
            </a:solidFill>
            <a:miter lim="800000"/>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29" tIns="46616" rIns="93229" bIns="46616" numCol="1" rtlCol="0" anchor="ctr" anchorCtr="0" compatLnSpc="1">
            <a:prstTxWarp prst="textNoShape">
              <a:avLst/>
            </a:prstTxWarp>
          </a:bodyPr>
          <a:lstStyle/>
          <a:p>
            <a:pPr algn="ctr" defTabSz="932004" fontAlgn="base">
              <a:spcBef>
                <a:spcPct val="0"/>
              </a:spcBef>
              <a:spcAft>
                <a:spcPct val="0"/>
              </a:spcAft>
            </a:pPr>
            <a:endParaRPr lang="en-US" sz="2040" dirty="0">
              <a:gradFill>
                <a:gsLst>
                  <a:gs pos="0">
                    <a:srgbClr val="000000"/>
                  </a:gs>
                  <a:gs pos="100000">
                    <a:srgbClr val="000000"/>
                  </a:gs>
                </a:gsLst>
                <a:lin ang="5400000" scaled="0"/>
              </a:gradFill>
            </a:endParaRPr>
          </a:p>
        </p:txBody>
      </p:sp>
    </p:spTree>
    <p:extLst>
      <p:ext uri="{BB962C8B-B14F-4D97-AF65-F5344CB8AC3E}">
        <p14:creationId xmlns:p14="http://schemas.microsoft.com/office/powerpoint/2010/main" val="222743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15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grpId="0" nodeType="withEffect">
                                  <p:stCondLst>
                                    <p:cond delay="45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500"/>
                                        <p:tgtEl>
                                          <p:spTgt spid="4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3" grpId="0"/>
      <p:bldP spid="34" grpId="0"/>
      <p:bldP spid="56"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g Data introduces new culture of experimentation</a:t>
            </a:r>
          </a:p>
        </p:txBody>
      </p:sp>
      <p:sp>
        <p:nvSpPr>
          <p:cNvPr id="39" name="Rectangle 38"/>
          <p:cNvSpPr/>
          <p:nvPr/>
        </p:nvSpPr>
        <p:spPr bwMode="auto">
          <a:xfrm>
            <a:off x="677409" y="1206707"/>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a:t>
            </a:r>
            <a:br>
              <a:rPr lang="en-US" sz="1600" kern="0" dirty="0">
                <a:gradFill>
                  <a:gsLst>
                    <a:gs pos="1250">
                      <a:srgbClr val="FFFFFF"/>
                    </a:gs>
                    <a:gs pos="100000">
                      <a:srgbClr val="FFFFFF"/>
                    </a:gs>
                  </a:gsLst>
                  <a:lin ang="5400000" scaled="0"/>
                </a:gradFill>
                <a:cs typeface="Segoe UI" pitchFamily="34" charset="0"/>
              </a:rPr>
            </a:br>
            <a:r>
              <a:rPr lang="en-US" sz="1600" kern="0" dirty="0">
                <a:gradFill>
                  <a:gsLst>
                    <a:gs pos="1250">
                      <a:srgbClr val="FFFFFF"/>
                    </a:gs>
                    <a:gs pos="100000">
                      <a:srgbClr val="FFFFFF"/>
                    </a:gs>
                  </a:gsLst>
                  <a:lin ang="5400000" scaled="0"/>
                </a:gradFill>
                <a:cs typeface="Segoe UI" pitchFamily="34" charset="0"/>
              </a:rPr>
              <a:t>and marketing</a:t>
            </a:r>
          </a:p>
        </p:txBody>
      </p:sp>
      <p:sp>
        <p:nvSpPr>
          <p:cNvPr id="40" name="Rectangle 39"/>
          <p:cNvSpPr/>
          <p:nvPr/>
        </p:nvSpPr>
        <p:spPr bwMode="auto">
          <a:xfrm>
            <a:off x="677409" y="2212547"/>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Finance </a:t>
            </a:r>
            <a:br>
              <a:rPr lang="en-US" sz="1600" kern="0" dirty="0">
                <a:gradFill>
                  <a:gsLst>
                    <a:gs pos="1250">
                      <a:srgbClr val="FFFFFF"/>
                    </a:gs>
                    <a:gs pos="100000">
                      <a:srgbClr val="FFFFFF"/>
                    </a:gs>
                  </a:gsLst>
                  <a:lin ang="5400000" scaled="0"/>
                </a:gradFill>
                <a:cs typeface="Segoe UI" pitchFamily="34" charset="0"/>
              </a:rPr>
            </a:br>
            <a:r>
              <a:rPr lang="en-US" sz="1600" kern="0" dirty="0">
                <a:gradFill>
                  <a:gsLst>
                    <a:gs pos="1250">
                      <a:srgbClr val="FFFFFF"/>
                    </a:gs>
                    <a:gs pos="100000">
                      <a:srgbClr val="FFFFFF"/>
                    </a:gs>
                  </a:gsLst>
                  <a:lin ang="5400000" scaled="0"/>
                </a:gradFill>
                <a:cs typeface="Segoe UI" pitchFamily="34" charset="0"/>
              </a:rPr>
              <a:t>and risk</a:t>
            </a:r>
          </a:p>
        </p:txBody>
      </p:sp>
      <p:sp>
        <p:nvSpPr>
          <p:cNvPr id="41" name="Rectangle 40"/>
          <p:cNvSpPr/>
          <p:nvPr/>
        </p:nvSpPr>
        <p:spPr bwMode="auto">
          <a:xfrm>
            <a:off x="677409" y="3218387"/>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Customer </a:t>
            </a:r>
            <a:br>
              <a:rPr lang="en-US" sz="1600" kern="0" dirty="0">
                <a:gradFill>
                  <a:gsLst>
                    <a:gs pos="1250">
                      <a:srgbClr val="FFFFFF"/>
                    </a:gs>
                    <a:gs pos="100000">
                      <a:srgbClr val="FFFFFF"/>
                    </a:gs>
                  </a:gsLst>
                  <a:lin ang="5400000" scaled="0"/>
                </a:gradFill>
                <a:cs typeface="Segoe UI" pitchFamily="34" charset="0"/>
              </a:rPr>
            </a:br>
            <a:r>
              <a:rPr lang="en-US" sz="1600" kern="0" dirty="0">
                <a:gradFill>
                  <a:gsLst>
                    <a:gs pos="1250">
                      <a:srgbClr val="FFFFFF"/>
                    </a:gs>
                    <a:gs pos="100000">
                      <a:srgbClr val="FFFFFF"/>
                    </a:gs>
                  </a:gsLst>
                  <a:lin ang="5400000" scaled="0"/>
                </a:gradFill>
                <a:cs typeface="Segoe UI" pitchFamily="34" charset="0"/>
              </a:rPr>
              <a:t>and channel</a:t>
            </a:r>
          </a:p>
        </p:txBody>
      </p:sp>
      <p:sp>
        <p:nvSpPr>
          <p:cNvPr id="42" name="Rectangle 41"/>
          <p:cNvSpPr/>
          <p:nvPr/>
        </p:nvSpPr>
        <p:spPr bwMode="auto">
          <a:xfrm>
            <a:off x="677409" y="4224227"/>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Operations </a:t>
            </a:r>
          </a:p>
        </p:txBody>
      </p:sp>
      <p:sp>
        <p:nvSpPr>
          <p:cNvPr id="43" name="Freeform 64"/>
          <p:cNvSpPr>
            <a:spLocks noEditPoints="1"/>
          </p:cNvSpPr>
          <p:nvPr/>
        </p:nvSpPr>
        <p:spPr bwMode="black">
          <a:xfrm>
            <a:off x="834969" y="1373628"/>
            <a:ext cx="481446" cy="369750"/>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tx1"/>
          </a:solidFill>
          <a:ln>
            <a:noFill/>
          </a:ln>
        </p:spPr>
        <p:txBody>
          <a:bodyPr vert="horz" wrap="square" lIns="0" tIns="41153" rIns="82305" bIns="41153"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44" name="Freeform 242"/>
          <p:cNvSpPr>
            <a:spLocks noChangeAspect="1" noEditPoints="1"/>
          </p:cNvSpPr>
          <p:nvPr/>
        </p:nvSpPr>
        <p:spPr bwMode="auto">
          <a:xfrm>
            <a:off x="849824" y="4413188"/>
            <a:ext cx="459721" cy="367777"/>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baseline="-25000" dirty="0">
              <a:gradFill>
                <a:gsLst>
                  <a:gs pos="1250">
                    <a:srgbClr val="FFFFFF"/>
                  </a:gs>
                  <a:gs pos="100000">
                    <a:srgbClr val="FFFFFF"/>
                  </a:gs>
                </a:gsLst>
                <a:lin ang="5400000" scaled="0"/>
              </a:gradFill>
            </a:endParaRPr>
          </a:p>
        </p:txBody>
      </p:sp>
      <p:sp>
        <p:nvSpPr>
          <p:cNvPr id="45" name="Freeform 12"/>
          <p:cNvSpPr>
            <a:spLocks noChangeAspect="1"/>
          </p:cNvSpPr>
          <p:nvPr/>
        </p:nvSpPr>
        <p:spPr bwMode="black">
          <a:xfrm>
            <a:off x="850179" y="3386349"/>
            <a:ext cx="508622" cy="401076"/>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46" name="Freeform 11"/>
          <p:cNvSpPr>
            <a:spLocks noEditPoints="1"/>
          </p:cNvSpPr>
          <p:nvPr/>
        </p:nvSpPr>
        <p:spPr bwMode="auto">
          <a:xfrm>
            <a:off x="858072" y="2482431"/>
            <a:ext cx="522913" cy="239046"/>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4"/>
            <a:endParaRPr lang="en-US" sz="1700" dirty="0">
              <a:gradFill>
                <a:gsLst>
                  <a:gs pos="1250">
                    <a:srgbClr val="FFFFFF"/>
                  </a:gs>
                  <a:gs pos="100000">
                    <a:srgbClr val="FFFFFF"/>
                  </a:gs>
                </a:gsLst>
                <a:lin ang="5400000" scaled="0"/>
              </a:gradFill>
            </a:endParaRPr>
          </a:p>
        </p:txBody>
      </p:sp>
      <p:sp>
        <p:nvSpPr>
          <p:cNvPr id="47" name="Text Placeholder 3"/>
          <p:cNvSpPr txBox="1">
            <a:spLocks/>
          </p:cNvSpPr>
          <p:nvPr/>
        </p:nvSpPr>
        <p:spPr>
          <a:xfrm>
            <a:off x="7748404" y="1259952"/>
            <a:ext cx="4085235"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itchFamily="34" charset="0"/>
              <a:buNone/>
            </a:pPr>
            <a:r>
              <a:rPr lang="en-US" sz="2000" dirty="0">
                <a:solidFill>
                  <a:schemeClr val="bg1"/>
                </a:solidFill>
                <a:sym typeface="Wingdings" panose="05000000000000000000" pitchFamily="2" charset="2"/>
              </a:rPr>
              <a:t>Understand customer patterns to uncover cross-sell opportunities</a:t>
            </a:r>
          </a:p>
        </p:txBody>
      </p:sp>
      <p:sp>
        <p:nvSpPr>
          <p:cNvPr id="50" name="Freeform 9"/>
          <p:cNvSpPr>
            <a:spLocks noEditPoints="1"/>
          </p:cNvSpPr>
          <p:nvPr/>
        </p:nvSpPr>
        <p:spPr bwMode="auto">
          <a:xfrm>
            <a:off x="7224872" y="1422836"/>
            <a:ext cx="382848" cy="38440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1194973"/>
            <a:endParaRPr lang="en-US" sz="2353">
              <a:solidFill>
                <a:schemeClr val="bg1"/>
              </a:solidFill>
            </a:endParaRPr>
          </a:p>
        </p:txBody>
      </p:sp>
      <p:sp>
        <p:nvSpPr>
          <p:cNvPr id="51" name="Freeform 9"/>
          <p:cNvSpPr>
            <a:spLocks noEditPoints="1"/>
          </p:cNvSpPr>
          <p:nvPr/>
        </p:nvSpPr>
        <p:spPr bwMode="auto">
          <a:xfrm>
            <a:off x="7224872" y="2351521"/>
            <a:ext cx="382848" cy="38440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1194973"/>
            <a:endParaRPr lang="en-US" sz="2353">
              <a:solidFill>
                <a:schemeClr val="bg1"/>
              </a:solidFill>
            </a:endParaRPr>
          </a:p>
        </p:txBody>
      </p:sp>
      <p:sp>
        <p:nvSpPr>
          <p:cNvPr id="52" name="Freeform 9"/>
          <p:cNvSpPr>
            <a:spLocks noEditPoints="1"/>
          </p:cNvSpPr>
          <p:nvPr/>
        </p:nvSpPr>
        <p:spPr bwMode="auto">
          <a:xfrm>
            <a:off x="7224872" y="3346879"/>
            <a:ext cx="382848" cy="38440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1194973"/>
            <a:endParaRPr lang="en-US" sz="2353">
              <a:solidFill>
                <a:schemeClr val="bg1"/>
              </a:solidFill>
            </a:endParaRPr>
          </a:p>
        </p:txBody>
      </p:sp>
      <p:sp>
        <p:nvSpPr>
          <p:cNvPr id="53" name="Rectangle 52"/>
          <p:cNvSpPr/>
          <p:nvPr/>
        </p:nvSpPr>
        <p:spPr bwMode="auto">
          <a:xfrm>
            <a:off x="677409" y="5232720"/>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Engineering</a:t>
            </a:r>
          </a:p>
        </p:txBody>
      </p:sp>
      <p:sp>
        <p:nvSpPr>
          <p:cNvPr id="55" name="Freeform 51"/>
          <p:cNvSpPr>
            <a:spLocks/>
          </p:cNvSpPr>
          <p:nvPr/>
        </p:nvSpPr>
        <p:spPr bwMode="auto">
          <a:xfrm>
            <a:off x="763793" y="5813294"/>
            <a:ext cx="631275" cy="95177"/>
          </a:xfrm>
          <a:custGeom>
            <a:avLst/>
            <a:gdLst>
              <a:gd name="T0" fmla="*/ 1104 w 1300"/>
              <a:gd name="T1" fmla="*/ 0 h 196"/>
              <a:gd name="T2" fmla="*/ 175 w 1300"/>
              <a:gd name="T3" fmla="*/ 0 h 196"/>
              <a:gd name="T4" fmla="*/ 0 w 1300"/>
              <a:gd name="T5" fmla="*/ 196 h 196"/>
              <a:gd name="T6" fmla="*/ 1300 w 1300"/>
              <a:gd name="T7" fmla="*/ 196 h 196"/>
              <a:gd name="T8" fmla="*/ 1104 w 1300"/>
              <a:gd name="T9" fmla="*/ 0 h 196"/>
            </a:gdLst>
            <a:ahLst/>
            <a:cxnLst>
              <a:cxn ang="0">
                <a:pos x="T0" y="T1"/>
              </a:cxn>
              <a:cxn ang="0">
                <a:pos x="T2" y="T3"/>
              </a:cxn>
              <a:cxn ang="0">
                <a:pos x="T4" y="T5"/>
              </a:cxn>
              <a:cxn ang="0">
                <a:pos x="T6" y="T7"/>
              </a:cxn>
              <a:cxn ang="0">
                <a:pos x="T8" y="T9"/>
              </a:cxn>
            </a:cxnLst>
            <a:rect l="0" t="0" r="r" b="b"/>
            <a:pathLst>
              <a:path w="1300" h="196">
                <a:moveTo>
                  <a:pt x="1104" y="0"/>
                </a:moveTo>
                <a:lnTo>
                  <a:pt x="175" y="0"/>
                </a:lnTo>
                <a:lnTo>
                  <a:pt x="0" y="196"/>
                </a:lnTo>
                <a:lnTo>
                  <a:pt x="1300" y="196"/>
                </a:lnTo>
                <a:lnTo>
                  <a:pt x="1104"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algn="ctr" defTabSz="474372" fontAlgn="base">
              <a:lnSpc>
                <a:spcPct val="90000"/>
              </a:lnSpc>
              <a:spcBef>
                <a:spcPct val="0"/>
              </a:spcBef>
              <a:spcAft>
                <a:spcPct val="0"/>
              </a:spcAft>
            </a:pPr>
            <a:endParaRPr lang="en-US" sz="1221"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55"/>
          <p:cNvSpPr>
            <a:spLocks/>
          </p:cNvSpPr>
          <p:nvPr/>
        </p:nvSpPr>
        <p:spPr bwMode="auto">
          <a:xfrm>
            <a:off x="777875" y="5353921"/>
            <a:ext cx="603110" cy="43120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FFF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algn="ctr" defTabSz="474372" fontAlgn="base">
              <a:lnSpc>
                <a:spcPct val="90000"/>
              </a:lnSpc>
              <a:spcBef>
                <a:spcPct val="0"/>
              </a:spcBef>
              <a:spcAft>
                <a:spcPct val="0"/>
              </a:spcAft>
            </a:pPr>
            <a:endParaRPr lang="en-US" sz="1221" dirty="0">
              <a:gradFill>
                <a:gsLst>
                  <a:gs pos="0">
                    <a:srgbClr val="FFFFFF"/>
                  </a:gs>
                  <a:gs pos="100000">
                    <a:srgbClr val="FFFFFF"/>
                  </a:gs>
                </a:gsLst>
                <a:lin ang="5400000" scaled="0"/>
              </a:gradFill>
              <a:ea typeface="Segoe UI" pitchFamily="34" charset="0"/>
              <a:cs typeface="Segoe UI" pitchFamily="34" charset="0"/>
            </a:endParaRPr>
          </a:p>
        </p:txBody>
      </p:sp>
      <p:sp>
        <p:nvSpPr>
          <p:cNvPr id="57" name="Text Placeholder 3"/>
          <p:cNvSpPr txBox="1">
            <a:spLocks/>
          </p:cNvSpPr>
          <p:nvPr/>
        </p:nvSpPr>
        <p:spPr>
          <a:xfrm>
            <a:off x="3603489" y="1189176"/>
            <a:ext cx="3621383"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itchFamily="34" charset="0"/>
              <a:buNone/>
            </a:pPr>
            <a:r>
              <a:rPr lang="en-US" sz="2000" dirty="0">
                <a:solidFill>
                  <a:schemeClr val="bg1"/>
                </a:solidFill>
              </a:rPr>
              <a:t>Historical campaign effectiveness</a:t>
            </a:r>
            <a:endParaRPr lang="en-US" sz="2000" dirty="0">
              <a:solidFill>
                <a:schemeClr val="bg1"/>
              </a:solidFill>
              <a:sym typeface="Wingdings" panose="05000000000000000000" pitchFamily="2" charset="2"/>
            </a:endParaRPr>
          </a:p>
        </p:txBody>
      </p:sp>
      <p:sp>
        <p:nvSpPr>
          <p:cNvPr id="58" name="Text Placeholder 3"/>
          <p:cNvSpPr txBox="1">
            <a:spLocks/>
          </p:cNvSpPr>
          <p:nvPr/>
        </p:nvSpPr>
        <p:spPr>
          <a:xfrm>
            <a:off x="3645970" y="2212547"/>
            <a:ext cx="3621383"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itchFamily="34" charset="0"/>
              <a:buNone/>
            </a:pPr>
            <a:r>
              <a:rPr lang="en-US" sz="2000" dirty="0">
                <a:solidFill>
                  <a:schemeClr val="bg1"/>
                </a:solidFill>
              </a:rPr>
              <a:t>Generate year-end financial reports</a:t>
            </a:r>
            <a:endParaRPr lang="en-US" sz="2000" dirty="0">
              <a:solidFill>
                <a:schemeClr val="bg1"/>
              </a:solidFill>
              <a:sym typeface="Wingdings" panose="05000000000000000000" pitchFamily="2" charset="2"/>
            </a:endParaRPr>
          </a:p>
        </p:txBody>
      </p:sp>
      <p:sp>
        <p:nvSpPr>
          <p:cNvPr id="59" name="Text Placeholder 3"/>
          <p:cNvSpPr txBox="1">
            <a:spLocks/>
          </p:cNvSpPr>
          <p:nvPr/>
        </p:nvSpPr>
        <p:spPr>
          <a:xfrm>
            <a:off x="7725059" y="2185251"/>
            <a:ext cx="4375501"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itchFamily="34" charset="0"/>
              <a:buNone/>
            </a:pPr>
            <a:r>
              <a:rPr lang="en-US" sz="2000" dirty="0">
                <a:solidFill>
                  <a:schemeClr val="bg1"/>
                </a:solidFill>
              </a:rPr>
              <a:t>Financial monitoring with real-time recommendations to increase revenue</a:t>
            </a:r>
            <a:endParaRPr lang="en-US" sz="2000" dirty="0">
              <a:solidFill>
                <a:schemeClr val="bg1"/>
              </a:solidFill>
              <a:sym typeface="Wingdings" panose="05000000000000000000" pitchFamily="2" charset="2"/>
            </a:endParaRPr>
          </a:p>
        </p:txBody>
      </p:sp>
      <p:sp>
        <p:nvSpPr>
          <p:cNvPr id="60" name="Text Placeholder 3"/>
          <p:cNvSpPr txBox="1">
            <a:spLocks/>
          </p:cNvSpPr>
          <p:nvPr/>
        </p:nvSpPr>
        <p:spPr>
          <a:xfrm>
            <a:off x="3603488" y="3280206"/>
            <a:ext cx="3621383"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itchFamily="34" charset="0"/>
              <a:buNone/>
            </a:pPr>
            <a:r>
              <a:rPr lang="en-US" sz="2000" dirty="0">
                <a:solidFill>
                  <a:schemeClr val="bg1"/>
                </a:solidFill>
              </a:rPr>
              <a:t>Generate year-end financial reports</a:t>
            </a:r>
            <a:endParaRPr lang="en-US" sz="2000" dirty="0">
              <a:solidFill>
                <a:schemeClr val="bg1"/>
              </a:solidFill>
              <a:sym typeface="Wingdings" panose="05000000000000000000" pitchFamily="2" charset="2"/>
            </a:endParaRPr>
          </a:p>
        </p:txBody>
      </p:sp>
      <p:sp>
        <p:nvSpPr>
          <p:cNvPr id="61" name="Text Placeholder 3"/>
          <p:cNvSpPr txBox="1">
            <a:spLocks/>
          </p:cNvSpPr>
          <p:nvPr/>
        </p:nvSpPr>
        <p:spPr>
          <a:xfrm>
            <a:off x="8102117" y="3237194"/>
            <a:ext cx="3621383"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itchFamily="34" charset="0"/>
              <a:buNone/>
            </a:pPr>
            <a:r>
              <a:rPr lang="en-US" sz="2000" dirty="0">
                <a:solidFill>
                  <a:schemeClr val="bg1"/>
                </a:solidFill>
              </a:rPr>
              <a:t>Real-time product offers and promotions based on behavior</a:t>
            </a:r>
            <a:endParaRPr lang="en-US" sz="2000" dirty="0">
              <a:solidFill>
                <a:schemeClr val="bg1"/>
              </a:solidFill>
              <a:sym typeface="Wingdings" panose="05000000000000000000" pitchFamily="2" charset="2"/>
            </a:endParaRPr>
          </a:p>
        </p:txBody>
      </p:sp>
      <p:sp>
        <p:nvSpPr>
          <p:cNvPr id="62" name="Text Placeholder 3"/>
          <p:cNvSpPr txBox="1">
            <a:spLocks/>
          </p:cNvSpPr>
          <p:nvPr/>
        </p:nvSpPr>
        <p:spPr>
          <a:xfrm>
            <a:off x="3645970" y="4260000"/>
            <a:ext cx="3621383"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itchFamily="34" charset="0"/>
              <a:buNone/>
            </a:pPr>
            <a:r>
              <a:rPr lang="en-US" sz="2000" dirty="0">
                <a:solidFill>
                  <a:schemeClr val="bg1"/>
                </a:solidFill>
              </a:rPr>
              <a:t>Collect historical data on equipment performance</a:t>
            </a:r>
            <a:endParaRPr lang="en-US" sz="2000" dirty="0">
              <a:solidFill>
                <a:schemeClr val="bg1"/>
              </a:solidFill>
              <a:sym typeface="Wingdings" panose="05000000000000000000" pitchFamily="2" charset="2"/>
            </a:endParaRPr>
          </a:p>
        </p:txBody>
      </p:sp>
      <p:sp>
        <p:nvSpPr>
          <p:cNvPr id="63" name="Text Placeholder 3"/>
          <p:cNvSpPr txBox="1">
            <a:spLocks/>
          </p:cNvSpPr>
          <p:nvPr/>
        </p:nvSpPr>
        <p:spPr>
          <a:xfrm>
            <a:off x="8144599" y="4216988"/>
            <a:ext cx="3621383"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itchFamily="34" charset="0"/>
              <a:buNone/>
            </a:pPr>
            <a:r>
              <a:rPr lang="en-US" sz="2000" dirty="0">
                <a:solidFill>
                  <a:schemeClr val="bg1"/>
                </a:solidFill>
              </a:rPr>
              <a:t>Real-time monitoring to identify proactive maintenance</a:t>
            </a:r>
            <a:endParaRPr lang="en-US" sz="2000" dirty="0">
              <a:solidFill>
                <a:schemeClr val="bg1"/>
              </a:solidFill>
              <a:sym typeface="Wingdings" panose="05000000000000000000" pitchFamily="2" charset="2"/>
            </a:endParaRPr>
          </a:p>
        </p:txBody>
      </p:sp>
      <p:sp>
        <p:nvSpPr>
          <p:cNvPr id="64" name="Freeform 9"/>
          <p:cNvSpPr>
            <a:spLocks noEditPoints="1"/>
          </p:cNvSpPr>
          <p:nvPr/>
        </p:nvSpPr>
        <p:spPr bwMode="auto">
          <a:xfrm>
            <a:off x="7224871" y="4359671"/>
            <a:ext cx="382848" cy="38440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1194973"/>
            <a:endParaRPr lang="en-US" sz="2353">
              <a:solidFill>
                <a:schemeClr val="bg1"/>
              </a:solidFill>
            </a:endParaRPr>
          </a:p>
        </p:txBody>
      </p:sp>
      <p:sp>
        <p:nvSpPr>
          <p:cNvPr id="65" name="Text Placeholder 3"/>
          <p:cNvSpPr txBox="1">
            <a:spLocks/>
          </p:cNvSpPr>
          <p:nvPr/>
        </p:nvSpPr>
        <p:spPr>
          <a:xfrm>
            <a:off x="3645970" y="5249283"/>
            <a:ext cx="3621383"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itchFamily="34" charset="0"/>
              <a:buNone/>
            </a:pPr>
            <a:r>
              <a:rPr lang="en-US" sz="2000" dirty="0">
                <a:solidFill>
                  <a:schemeClr val="bg1"/>
                </a:solidFill>
                <a:sym typeface="Wingdings" panose="05000000000000000000" pitchFamily="2" charset="2"/>
              </a:rPr>
              <a:t>Shipping features without understanding success</a:t>
            </a:r>
          </a:p>
        </p:txBody>
      </p:sp>
      <p:sp>
        <p:nvSpPr>
          <p:cNvPr id="66" name="Text Placeholder 3"/>
          <p:cNvSpPr txBox="1">
            <a:spLocks/>
          </p:cNvSpPr>
          <p:nvPr/>
        </p:nvSpPr>
        <p:spPr>
          <a:xfrm>
            <a:off x="8144599" y="5114831"/>
            <a:ext cx="3621383" cy="101566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itchFamily="34" charset="0"/>
              <a:buNone/>
            </a:pPr>
            <a:r>
              <a:rPr lang="en-US" sz="2000" dirty="0">
                <a:solidFill>
                  <a:schemeClr val="bg1"/>
                </a:solidFill>
              </a:rPr>
              <a:t>Building successful features correlating user action with product experience</a:t>
            </a:r>
            <a:endParaRPr lang="en-US" sz="2000" dirty="0">
              <a:solidFill>
                <a:schemeClr val="bg1"/>
              </a:solidFill>
              <a:sym typeface="Wingdings" panose="05000000000000000000" pitchFamily="2" charset="2"/>
            </a:endParaRPr>
          </a:p>
        </p:txBody>
      </p:sp>
      <p:sp>
        <p:nvSpPr>
          <p:cNvPr id="67" name="Freeform 9"/>
          <p:cNvSpPr>
            <a:spLocks noEditPoints="1"/>
          </p:cNvSpPr>
          <p:nvPr/>
        </p:nvSpPr>
        <p:spPr bwMode="auto">
          <a:xfrm>
            <a:off x="7224871" y="5348954"/>
            <a:ext cx="382848" cy="38440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1194973"/>
            <a:endParaRPr lang="en-US" sz="2353">
              <a:solidFill>
                <a:schemeClr val="bg1"/>
              </a:solidFill>
            </a:endParaRPr>
          </a:p>
        </p:txBody>
      </p:sp>
      <mc:AlternateContent xmlns:mc="http://schemas.openxmlformats.org/markup-compatibility/2006" xmlns:p14="http://schemas.microsoft.com/office/powerpoint/2010/main">
        <mc:Choice Requires="p14">
          <p:contentPart p14:bwMode="auto" r:id="rId2">
            <p14:nvContentPartPr>
              <p14:cNvPr id="4" name="Ink 3"/>
              <p14:cNvContentPartPr/>
              <p14:nvPr/>
            </p14:nvContentPartPr>
            <p14:xfrm>
              <a:off x="245040" y="4356600"/>
              <a:ext cx="388800" cy="358560"/>
            </p14:xfrm>
          </p:contentPart>
        </mc:Choice>
        <mc:Fallback xmlns="">
          <p:pic>
            <p:nvPicPr>
              <p:cNvPr id="4" name="Ink 3"/>
              <p:cNvPicPr/>
              <p:nvPr/>
            </p:nvPicPr>
            <p:blipFill>
              <a:blip r:embed="rId3"/>
              <a:stretch>
                <a:fillRect/>
              </a:stretch>
            </p:blipFill>
            <p:spPr>
              <a:xfrm>
                <a:off x="233160" y="4344720"/>
                <a:ext cx="412560" cy="382320"/>
              </a:xfrm>
              <a:prstGeom prst="rect">
                <a:avLst/>
              </a:prstGeom>
            </p:spPr>
          </p:pic>
        </mc:Fallback>
      </mc:AlternateContent>
    </p:spTree>
    <p:extLst>
      <p:ext uri="{BB962C8B-B14F-4D97-AF65-F5344CB8AC3E}">
        <p14:creationId xmlns:p14="http://schemas.microsoft.com/office/powerpoint/2010/main" val="620237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
                                            <p:txEl>
                                              <p:pRg st="0" end="0"/>
                                            </p:txEl>
                                          </p:spTgt>
                                        </p:tgtEl>
                                        <p:attrNameLst>
                                          <p:attrName>style.visibility</p:attrName>
                                        </p:attrNameLst>
                                      </p:cBhvr>
                                      <p:to>
                                        <p:strVal val="visible"/>
                                      </p:to>
                                    </p:set>
                                    <p:animEffect transition="in" filter="fade">
                                      <p:cBhvr>
                                        <p:cTn id="10" dur="500"/>
                                        <p:tgtEl>
                                          <p:spTgt spid="4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2"/>
                                        </p:tgtEl>
                                        <p:attrNameLst>
                                          <p:attrName>style.visibility</p:attrName>
                                        </p:attrNameLst>
                                      </p:cBhvr>
                                      <p:to>
                                        <p:strVal val="visible"/>
                                      </p:to>
                                    </p:set>
                                    <p:animEffect transition="in" filter="fade">
                                      <p:cBhvr>
                                        <p:cTn id="20" dur="500"/>
                                        <p:tgtEl>
                                          <p:spTgt spid="5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7">
                                            <p:txEl>
                                              <p:pRg st="0" end="0"/>
                                            </p:txEl>
                                          </p:spTgt>
                                        </p:tgtEl>
                                        <p:attrNameLst>
                                          <p:attrName>style.visibility</p:attrName>
                                        </p:attrNameLst>
                                      </p:cBhvr>
                                      <p:to>
                                        <p:strVal val="visible"/>
                                      </p:to>
                                    </p:set>
                                    <p:animEffect transition="in" filter="fade">
                                      <p:cBhvr>
                                        <p:cTn id="23" dur="500"/>
                                        <p:tgtEl>
                                          <p:spTgt spid="57">
                                            <p:txEl>
                                              <p:pRg st="0" end="0"/>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8">
                                            <p:txEl>
                                              <p:pRg st="0" end="0"/>
                                            </p:txEl>
                                          </p:spTgt>
                                        </p:tgtEl>
                                        <p:attrNameLst>
                                          <p:attrName>style.visibility</p:attrName>
                                        </p:attrNameLst>
                                      </p:cBhvr>
                                      <p:to>
                                        <p:strVal val="visible"/>
                                      </p:to>
                                    </p:set>
                                    <p:animEffect transition="in" filter="fade">
                                      <p:cBhvr>
                                        <p:cTn id="26" dur="500"/>
                                        <p:tgtEl>
                                          <p:spTgt spid="58">
                                            <p:txEl>
                                              <p:pRg st="0" end="0"/>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9">
                                            <p:txEl>
                                              <p:pRg st="0" end="0"/>
                                            </p:txEl>
                                          </p:spTgt>
                                        </p:tgtEl>
                                        <p:attrNameLst>
                                          <p:attrName>style.visibility</p:attrName>
                                        </p:attrNameLst>
                                      </p:cBhvr>
                                      <p:to>
                                        <p:strVal val="visible"/>
                                      </p:to>
                                    </p:set>
                                    <p:animEffect transition="in" filter="fade">
                                      <p:cBhvr>
                                        <p:cTn id="29" dur="500"/>
                                        <p:tgtEl>
                                          <p:spTgt spid="59">
                                            <p:txEl>
                                              <p:pRg st="0" end="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0">
                                            <p:txEl>
                                              <p:pRg st="0" end="0"/>
                                            </p:txEl>
                                          </p:spTgt>
                                        </p:tgtEl>
                                        <p:attrNameLst>
                                          <p:attrName>style.visibility</p:attrName>
                                        </p:attrNameLst>
                                      </p:cBhvr>
                                      <p:to>
                                        <p:strVal val="visible"/>
                                      </p:to>
                                    </p:set>
                                    <p:animEffect transition="in" filter="fade">
                                      <p:cBhvr>
                                        <p:cTn id="32" dur="500"/>
                                        <p:tgtEl>
                                          <p:spTgt spid="60">
                                            <p:txEl>
                                              <p:pRg st="0" end="0"/>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1">
                                            <p:txEl>
                                              <p:pRg st="0" end="0"/>
                                            </p:txEl>
                                          </p:spTgt>
                                        </p:tgtEl>
                                        <p:attrNameLst>
                                          <p:attrName>style.visibility</p:attrName>
                                        </p:attrNameLst>
                                      </p:cBhvr>
                                      <p:to>
                                        <p:strVal val="visible"/>
                                      </p:to>
                                    </p:set>
                                    <p:animEffect transition="in" filter="fade">
                                      <p:cBhvr>
                                        <p:cTn id="35" dur="500"/>
                                        <p:tgtEl>
                                          <p:spTgt spid="61">
                                            <p:txEl>
                                              <p:pRg st="0" end="0"/>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2">
                                            <p:txEl>
                                              <p:pRg st="0" end="0"/>
                                            </p:txEl>
                                          </p:spTgt>
                                        </p:tgtEl>
                                        <p:attrNameLst>
                                          <p:attrName>style.visibility</p:attrName>
                                        </p:attrNameLst>
                                      </p:cBhvr>
                                      <p:to>
                                        <p:strVal val="visible"/>
                                      </p:to>
                                    </p:set>
                                    <p:animEffect transition="in" filter="fade">
                                      <p:cBhvr>
                                        <p:cTn id="38" dur="500"/>
                                        <p:tgtEl>
                                          <p:spTgt spid="62">
                                            <p:txEl>
                                              <p:pRg st="0" end="0"/>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3">
                                            <p:txEl>
                                              <p:pRg st="0" end="0"/>
                                            </p:txEl>
                                          </p:spTgt>
                                        </p:tgtEl>
                                        <p:attrNameLst>
                                          <p:attrName>style.visibility</p:attrName>
                                        </p:attrNameLst>
                                      </p:cBhvr>
                                      <p:to>
                                        <p:strVal val="visible"/>
                                      </p:to>
                                    </p:set>
                                    <p:animEffect transition="in" filter="fade">
                                      <p:cBhvr>
                                        <p:cTn id="41" dur="500"/>
                                        <p:tgtEl>
                                          <p:spTgt spid="6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64"/>
                                        </p:tgtEl>
                                        <p:attrNameLst>
                                          <p:attrName>style.visibility</p:attrName>
                                        </p:attrNameLst>
                                      </p:cBhvr>
                                      <p:to>
                                        <p:strVal val="visible"/>
                                      </p:to>
                                    </p:set>
                                    <p:animEffect transition="in" filter="fade">
                                      <p:cBhvr>
                                        <p:cTn id="46" dur="500"/>
                                        <p:tgtEl>
                                          <p:spTgt spid="6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5">
                                            <p:txEl>
                                              <p:pRg st="0" end="0"/>
                                            </p:txEl>
                                          </p:spTgt>
                                        </p:tgtEl>
                                        <p:attrNameLst>
                                          <p:attrName>style.visibility</p:attrName>
                                        </p:attrNameLst>
                                      </p:cBhvr>
                                      <p:to>
                                        <p:strVal val="visible"/>
                                      </p:to>
                                    </p:set>
                                    <p:animEffect transition="in" filter="fade">
                                      <p:cBhvr>
                                        <p:cTn id="49" dur="500"/>
                                        <p:tgtEl>
                                          <p:spTgt spid="65">
                                            <p:txEl>
                                              <p:pRg st="0" end="0"/>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6">
                                            <p:txEl>
                                              <p:pRg st="0" end="0"/>
                                            </p:txEl>
                                          </p:spTgt>
                                        </p:tgtEl>
                                        <p:attrNameLst>
                                          <p:attrName>style.visibility</p:attrName>
                                        </p:attrNameLst>
                                      </p:cBhvr>
                                      <p:to>
                                        <p:strVal val="visible"/>
                                      </p:to>
                                    </p:set>
                                    <p:animEffect transition="in" filter="fade">
                                      <p:cBhvr>
                                        <p:cTn id="52" dur="500"/>
                                        <p:tgtEl>
                                          <p:spTgt spid="66">
                                            <p:txEl>
                                              <p:pRg st="0" end="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67"/>
                                        </p:tgtEl>
                                        <p:attrNameLst>
                                          <p:attrName>style.visibility</p:attrName>
                                        </p:attrNameLst>
                                      </p:cBhvr>
                                      <p:to>
                                        <p:strVal val="visible"/>
                                      </p:to>
                                    </p:set>
                                    <p:animEffect transition="in" filter="fade">
                                      <p:cBhvr>
                                        <p:cTn id="57"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build="p"/>
      <p:bldP spid="50" grpId="0" animBg="1"/>
      <p:bldP spid="51" grpId="0" animBg="1"/>
      <p:bldP spid="52" grpId="0" animBg="1"/>
      <p:bldP spid="57" grpId="0" build="p"/>
      <p:bldP spid="58" grpId="0" build="p"/>
      <p:bldP spid="59" grpId="0" build="p"/>
      <p:bldP spid="60" grpId="0" build="p"/>
      <p:bldP spid="61" grpId="0" build="p"/>
      <p:bldP spid="62" grpId="0" build="p"/>
      <p:bldP spid="63" grpId="0" build="p"/>
      <p:bldP spid="64" grpId="0" animBg="1"/>
      <p:bldP spid="65" grpId="0" build="p"/>
      <p:bldP spid="66" grpId="0" build="p"/>
      <p:bldP spid="6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Business Value and TCO of HDInsight</a:t>
            </a:r>
          </a:p>
        </p:txBody>
      </p:sp>
      <p:sp>
        <p:nvSpPr>
          <p:cNvPr id="5" name="Text Placeholder 2"/>
          <p:cNvSpPr>
            <a:spLocks noGrp="1"/>
          </p:cNvSpPr>
          <p:nvPr>
            <p:ph type="body" sz="quarter" idx="4294967295"/>
          </p:nvPr>
        </p:nvSpPr>
        <p:spPr>
          <a:xfrm>
            <a:off x="5103592" y="2290135"/>
            <a:ext cx="6821488" cy="2299091"/>
          </a:xfrm>
          <a:prstGeom prst="rect">
            <a:avLst/>
          </a:prstGeom>
        </p:spPr>
        <p:txBody>
          <a:bodyPr/>
          <a:lstStyle/>
          <a:p>
            <a:r>
              <a:rPr lang="en-US" sz="2800" dirty="0">
                <a:solidFill>
                  <a:srgbClr val="003C6C"/>
                </a:solidFill>
              </a:rPr>
              <a:t>418% 5-year ROI</a:t>
            </a:r>
          </a:p>
          <a:p>
            <a:r>
              <a:rPr lang="en-US" sz="2800" dirty="0">
                <a:solidFill>
                  <a:srgbClr val="003C6C"/>
                </a:solidFill>
              </a:rPr>
              <a:t>Four month payback period</a:t>
            </a:r>
          </a:p>
          <a:p>
            <a:r>
              <a:rPr lang="en-US" sz="2800" dirty="0">
                <a:solidFill>
                  <a:srgbClr val="003C6C"/>
                </a:solidFill>
              </a:rPr>
              <a:t>63% 5-year lower TCO than on-premises</a:t>
            </a:r>
          </a:p>
          <a:p>
            <a:r>
              <a:rPr lang="en-US" sz="2800" dirty="0">
                <a:solidFill>
                  <a:srgbClr val="003C6C"/>
                </a:solidFill>
              </a:rPr>
              <a:t>66% staff efficiencies than on-premises</a:t>
            </a:r>
          </a:p>
          <a:p>
            <a:endParaRPr lang="en-US" sz="1600" dirty="0">
              <a:solidFill>
                <a:srgbClr val="003C6C"/>
              </a:solidFill>
              <a:latin typeface="+mn-lt"/>
            </a:endParaRPr>
          </a:p>
        </p:txBody>
      </p:sp>
      <p:pic>
        <p:nvPicPr>
          <p:cNvPr id="4" name="Picture 3"/>
          <p:cNvPicPr>
            <a:picLocks noChangeAspect="1"/>
          </p:cNvPicPr>
          <p:nvPr/>
        </p:nvPicPr>
        <p:blipFill>
          <a:blip r:embed="rId2"/>
          <a:stretch>
            <a:fillRect/>
          </a:stretch>
        </p:blipFill>
        <p:spPr>
          <a:xfrm>
            <a:off x="621378" y="1348982"/>
            <a:ext cx="3856186" cy="4552087"/>
          </a:xfrm>
          <a:prstGeom prst="rect">
            <a:avLst/>
          </a:prstGeom>
          <a:ln>
            <a:noFill/>
          </a:ln>
          <a:effectLst>
            <a:outerShdw blurRad="292100" dist="139700" dir="2700000" algn="tl" rotWithShape="0">
              <a:srgbClr val="333333">
                <a:alpha val="65000"/>
              </a:srgbClr>
            </a:outerShdw>
          </a:effectLst>
        </p:spPr>
      </p:pic>
      <p:sp>
        <p:nvSpPr>
          <p:cNvPr id="6" name="TextBox 5"/>
          <p:cNvSpPr txBox="1"/>
          <p:nvPr/>
        </p:nvSpPr>
        <p:spPr>
          <a:xfrm>
            <a:off x="6197885" y="5957848"/>
            <a:ext cx="6839935" cy="425998"/>
          </a:xfrm>
          <a:prstGeom prst="rect">
            <a:avLst/>
          </a:prstGeom>
          <a:noFill/>
        </p:spPr>
        <p:txBody>
          <a:bodyPr wrap="square" lIns="186521" tIns="149217" rIns="186521" bIns="149217" rtlCol="0">
            <a:spAutoFit/>
          </a:bodyPr>
          <a:lstStyle/>
          <a:p>
            <a:pPr>
              <a:lnSpc>
                <a:spcPct val="90000"/>
              </a:lnSpc>
              <a:spcAft>
                <a:spcPts val="612"/>
              </a:spcAft>
            </a:pPr>
            <a:r>
              <a:rPr lang="en-US" sz="900" dirty="0">
                <a:solidFill>
                  <a:schemeClr val="bg1"/>
                </a:solidFill>
                <a:latin typeface="+mj-lt"/>
              </a:rPr>
              <a:t>*IDC study “The Business Value and TCO Advantage of Apache Hadoop in the Cloud with Microsoft Azure HDInsight”</a:t>
            </a:r>
          </a:p>
        </p:txBody>
      </p:sp>
    </p:spTree>
    <p:extLst>
      <p:ext uri="{BB962C8B-B14F-4D97-AF65-F5344CB8AC3E}">
        <p14:creationId xmlns:p14="http://schemas.microsoft.com/office/powerpoint/2010/main" val="400061116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137137" y="1190104"/>
            <a:ext cx="1605491" cy="4410267"/>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b="1" dirty="0">
                <a:solidFill>
                  <a:schemeClr val="bg1"/>
                </a:solidFill>
                <a:ea typeface="Segoe UI" pitchFamily="34" charset="0"/>
                <a:cs typeface="Segoe UI Semilight" panose="020B0402040204020203" pitchFamily="34" charset="0"/>
              </a:rPr>
              <a:t>Action</a:t>
            </a:r>
          </a:p>
        </p:txBody>
      </p:sp>
      <p:sp>
        <p:nvSpPr>
          <p:cNvPr id="5" name="Rectangle 4"/>
          <p:cNvSpPr/>
          <p:nvPr/>
        </p:nvSpPr>
        <p:spPr bwMode="auto">
          <a:xfrm>
            <a:off x="7969136" y="1189176"/>
            <a:ext cx="2160062" cy="441555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b="1" dirty="0">
                <a:gradFill>
                  <a:gsLst>
                    <a:gs pos="2917">
                      <a:schemeClr val="bg1"/>
                    </a:gs>
                    <a:gs pos="100000">
                      <a:schemeClr val="bg1"/>
                    </a:gs>
                  </a:gsLst>
                  <a:lin ang="5400000" scaled="0"/>
                </a:gradFill>
                <a:ea typeface="Segoe UI" pitchFamily="34" charset="0"/>
                <a:cs typeface="Segoe UI Semilight" panose="020B0402040204020203" pitchFamily="34" charset="0"/>
              </a:rPr>
              <a:t>  Decision</a:t>
            </a:r>
          </a:p>
        </p:txBody>
      </p:sp>
      <p:sp>
        <p:nvSpPr>
          <p:cNvPr id="11" name="Pentagon 10"/>
          <p:cNvSpPr/>
          <p:nvPr/>
        </p:nvSpPr>
        <p:spPr bwMode="auto">
          <a:xfrm>
            <a:off x="4654842" y="3861890"/>
            <a:ext cx="3682221" cy="851604"/>
          </a:xfrm>
          <a:prstGeom prst="homePlate">
            <a:avLst>
              <a:gd name="adj" fmla="val 42873"/>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2" name="Pentagon 11"/>
          <p:cNvSpPr/>
          <p:nvPr/>
        </p:nvSpPr>
        <p:spPr bwMode="auto">
          <a:xfrm>
            <a:off x="1852685" y="3861890"/>
            <a:ext cx="4308939" cy="851604"/>
          </a:xfrm>
          <a:prstGeom prst="homePlate">
            <a:avLst>
              <a:gd name="adj" fmla="val 4287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Semilight" panose="020B0402040204020203" pitchFamily="34" charset="0"/>
              </a:rPr>
              <a:t>Interactive dashboards</a:t>
            </a:r>
          </a:p>
          <a:p>
            <a:pPr defTabSz="91410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y did it happen? </a:t>
            </a:r>
          </a:p>
        </p:txBody>
      </p:sp>
      <p:sp>
        <p:nvSpPr>
          <p:cNvPr id="13" name="Pentagon 12"/>
          <p:cNvSpPr/>
          <p:nvPr/>
        </p:nvSpPr>
        <p:spPr bwMode="auto">
          <a:xfrm>
            <a:off x="6255530" y="2970658"/>
            <a:ext cx="2081533" cy="851604"/>
          </a:xfrm>
          <a:prstGeom prst="homePlate">
            <a:avLst>
              <a:gd name="adj" fmla="val 42873"/>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4" name="Pentagon 13"/>
          <p:cNvSpPr/>
          <p:nvPr/>
        </p:nvSpPr>
        <p:spPr bwMode="auto">
          <a:xfrm>
            <a:off x="1854598" y="2970658"/>
            <a:ext cx="5658610" cy="851604"/>
          </a:xfrm>
          <a:prstGeom prst="homePlate">
            <a:avLst>
              <a:gd name="adj" fmla="val 4287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Semilight" panose="020B0402040204020203" pitchFamily="34" charset="0"/>
              </a:rPr>
              <a:t>Predictions</a:t>
            </a:r>
          </a:p>
          <a:p>
            <a:pPr defTabSz="91410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might happen? </a:t>
            </a:r>
          </a:p>
        </p:txBody>
      </p:sp>
      <p:sp>
        <p:nvSpPr>
          <p:cNvPr id="15" name="Pentagon 14"/>
          <p:cNvSpPr/>
          <p:nvPr/>
        </p:nvSpPr>
        <p:spPr bwMode="auto">
          <a:xfrm>
            <a:off x="1826181" y="2080636"/>
            <a:ext cx="7407307" cy="851604"/>
          </a:xfrm>
          <a:prstGeom prst="homePlate">
            <a:avLst>
              <a:gd name="adj" fmla="val 4287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6" name="Pentagon 15"/>
          <p:cNvSpPr/>
          <p:nvPr/>
        </p:nvSpPr>
        <p:spPr bwMode="auto">
          <a:xfrm>
            <a:off x="1826179" y="1189177"/>
            <a:ext cx="9200159" cy="896425"/>
          </a:xfrm>
          <a:prstGeom prst="homePlate">
            <a:avLst>
              <a:gd name="adj" fmla="val 4287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8" name="Rectangle 17"/>
          <p:cNvSpPr/>
          <p:nvPr/>
        </p:nvSpPr>
        <p:spPr bwMode="auto">
          <a:xfrm>
            <a:off x="1855209" y="1189177"/>
            <a:ext cx="4034842" cy="17430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Semilight" panose="020B0402040204020203" pitchFamily="34" charset="0"/>
              </a:rPr>
              <a:t>Recommendations</a:t>
            </a:r>
          </a:p>
          <a:p>
            <a:pPr defTabSz="91410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should I do? </a:t>
            </a:r>
          </a:p>
        </p:txBody>
      </p:sp>
      <p:sp>
        <p:nvSpPr>
          <p:cNvPr id="20" name="TextBox 19"/>
          <p:cNvSpPr txBox="1"/>
          <p:nvPr/>
        </p:nvSpPr>
        <p:spPr>
          <a:xfrm>
            <a:off x="6320107" y="1411462"/>
            <a:ext cx="1968325" cy="479745"/>
          </a:xfrm>
          <a:prstGeom prst="rect">
            <a:avLst/>
          </a:prstGeom>
          <a:noFill/>
        </p:spPr>
        <p:txBody>
          <a:bodyPr wrap="none" lIns="179285" tIns="143428" rIns="179285" bIns="143428" rtlCol="0">
            <a:sp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Semilight" panose="020B0402040204020203" pitchFamily="34" charset="0"/>
              </a:rPr>
              <a:t>Decision automation</a:t>
            </a:r>
          </a:p>
        </p:txBody>
      </p:sp>
      <p:sp>
        <p:nvSpPr>
          <p:cNvPr id="19" name="TextBox 18"/>
          <p:cNvSpPr txBox="1"/>
          <p:nvPr/>
        </p:nvSpPr>
        <p:spPr>
          <a:xfrm>
            <a:off x="6320107" y="2279103"/>
            <a:ext cx="1684074" cy="479745"/>
          </a:xfrm>
          <a:prstGeom prst="rect">
            <a:avLst/>
          </a:prstGeom>
          <a:noFill/>
        </p:spPr>
        <p:txBody>
          <a:bodyPr wrap="none" lIns="179285" tIns="143428" rIns="179285" bIns="143428" rtlCol="0">
            <a:sp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Semilight" panose="020B0402040204020203" pitchFamily="34" charset="0"/>
              </a:rPr>
              <a:t>Decision support</a:t>
            </a:r>
          </a:p>
        </p:txBody>
      </p:sp>
      <p:sp>
        <p:nvSpPr>
          <p:cNvPr id="3" name="Rectangle 2"/>
          <p:cNvSpPr/>
          <p:nvPr/>
        </p:nvSpPr>
        <p:spPr bwMode="auto">
          <a:xfrm>
            <a:off x="460282" y="1189176"/>
            <a:ext cx="1394316" cy="44155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b="1" dirty="0">
                <a:gradFill>
                  <a:gsLst>
                    <a:gs pos="0">
                      <a:srgbClr val="FFFFFF"/>
                    </a:gs>
                    <a:gs pos="100000">
                      <a:srgbClr val="FFFFFF"/>
                    </a:gs>
                  </a:gsLst>
                  <a:lin ang="5400000" scaled="0"/>
                </a:gradFill>
                <a:ea typeface="Segoe UI" pitchFamily="34" charset="0"/>
                <a:cs typeface="Segoe UI Semilight" panose="020B0402040204020203" pitchFamily="34" charset="0"/>
              </a:rPr>
              <a:t>Data</a:t>
            </a:r>
          </a:p>
        </p:txBody>
      </p:sp>
      <p:grpSp>
        <p:nvGrpSpPr>
          <p:cNvPr id="25" name="Group 24"/>
          <p:cNvGrpSpPr/>
          <p:nvPr/>
        </p:nvGrpSpPr>
        <p:grpSpPr>
          <a:xfrm>
            <a:off x="460282" y="5709996"/>
            <a:ext cx="11282345" cy="561211"/>
            <a:chOff x="2364281" y="158471"/>
            <a:chExt cx="9194249" cy="572464"/>
          </a:xfrm>
        </p:grpSpPr>
        <p:cxnSp>
          <p:nvCxnSpPr>
            <p:cNvPr id="4" name="Straight Arrow Connector 3"/>
            <p:cNvCxnSpPr/>
            <p:nvPr/>
          </p:nvCxnSpPr>
          <p:spPr>
            <a:xfrm flipV="1">
              <a:off x="2364281" y="426137"/>
              <a:ext cx="9194249" cy="53306"/>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409072" y="158471"/>
              <a:ext cx="852271" cy="572464"/>
            </a:xfrm>
            <a:prstGeom prst="rect">
              <a:avLst/>
            </a:prstGeom>
            <a:solidFill>
              <a:schemeClr val="tx1"/>
            </a:solidFill>
            <a:ln>
              <a:noFill/>
            </a:ln>
          </p:spPr>
          <p:txBody>
            <a:bodyPr wrap="square" lIns="179285" tIns="143428" rIns="179285" bIns="143428" rtlCol="0">
              <a:spAutoFit/>
            </a:bodyPr>
            <a:lstStyle/>
            <a:p>
              <a:pPr>
                <a:lnSpc>
                  <a:spcPct val="90000"/>
                </a:lnSpc>
                <a:spcAft>
                  <a:spcPts val="588"/>
                </a:spcAft>
              </a:pPr>
              <a:r>
                <a:rPr lang="en-US" sz="1961" b="1" dirty="0">
                  <a:solidFill>
                    <a:schemeClr val="bg1"/>
                  </a:solidFill>
                  <a:cs typeface="Segoe UI Semilight" panose="020B0402040204020203" pitchFamily="34" charset="0"/>
                </a:rPr>
                <a:t>Value</a:t>
              </a:r>
            </a:p>
          </p:txBody>
        </p:sp>
      </p:grpSp>
      <p:sp>
        <p:nvSpPr>
          <p:cNvPr id="10" name="Pentagon 9"/>
          <p:cNvSpPr/>
          <p:nvPr/>
        </p:nvSpPr>
        <p:spPr bwMode="auto">
          <a:xfrm>
            <a:off x="3688613" y="4753123"/>
            <a:ext cx="4648273" cy="851604"/>
          </a:xfrm>
          <a:prstGeom prst="homePlate">
            <a:avLst>
              <a:gd name="adj" fmla="val 42873"/>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Pentagon 8"/>
          <p:cNvSpPr/>
          <p:nvPr/>
        </p:nvSpPr>
        <p:spPr bwMode="auto">
          <a:xfrm>
            <a:off x="1852685" y="4753123"/>
            <a:ext cx="2892289" cy="851604"/>
          </a:xfrm>
          <a:prstGeom prst="homePlate">
            <a:avLst>
              <a:gd name="adj" fmla="val 4287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Semilight" panose="020B0402040204020203" pitchFamily="34" charset="0"/>
              </a:rPr>
              <a:t>Static reports</a:t>
            </a:r>
          </a:p>
          <a:p>
            <a:pPr defTabSz="91410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happened?</a:t>
            </a:r>
          </a:p>
        </p:txBody>
      </p:sp>
      <p:sp>
        <p:nvSpPr>
          <p:cNvPr id="8" name="TextBox 7"/>
          <p:cNvSpPr txBox="1"/>
          <p:nvPr/>
        </p:nvSpPr>
        <p:spPr>
          <a:xfrm>
            <a:off x="5186944" y="4962708"/>
            <a:ext cx="3297182" cy="506901"/>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cs typeface="Segoe UI Semilight" panose="020B0402040204020203" pitchFamily="34" charset="0"/>
              </a:rPr>
              <a:t>Manual process</a:t>
            </a:r>
          </a:p>
        </p:txBody>
      </p:sp>
      <p:sp>
        <p:nvSpPr>
          <p:cNvPr id="2" name="Title 1"/>
          <p:cNvSpPr>
            <a:spLocks noGrp="1"/>
          </p:cNvSpPr>
          <p:nvPr>
            <p:ph type="title"/>
          </p:nvPr>
        </p:nvSpPr>
        <p:spPr/>
        <p:txBody>
          <a:bodyPr/>
          <a:lstStyle/>
          <a:p>
            <a:r>
              <a:rPr lang="en-US"/>
              <a:t>From data to decisions and actions</a:t>
            </a:r>
            <a:endParaRPr lang="en-US" dirty="0"/>
          </a:p>
        </p:txBody>
      </p:sp>
    </p:spTree>
    <p:extLst>
      <p:ext uri="{BB962C8B-B14F-4D97-AF65-F5344CB8AC3E}">
        <p14:creationId xmlns:p14="http://schemas.microsoft.com/office/powerpoint/2010/main" val="23890746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300"/>
                                        <p:tgtEl>
                                          <p:spTgt spid="3"/>
                                        </p:tgtEl>
                                      </p:cBhvr>
                                    </p:animEffect>
                                  </p:childTnLst>
                                </p:cTn>
                              </p:par>
                            </p:childTnLst>
                          </p:cTn>
                        </p:par>
                        <p:par>
                          <p:cTn id="8" fill="hold">
                            <p:stCondLst>
                              <p:cond delay="300"/>
                            </p:stCondLst>
                            <p:childTnLst>
                              <p:par>
                                <p:cTn id="9" presetID="22" presetClass="entr" presetSubtype="8"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wipe(left)">
                                      <p:cBhvr>
                                        <p:cTn id="11" dur="500"/>
                                        <p:tgtEl>
                                          <p:spTgt spid="25"/>
                                        </p:tgtEl>
                                      </p:cBhvr>
                                    </p:animEffect>
                                  </p:childTnLst>
                                </p:cTn>
                              </p:par>
                            </p:childTnLst>
                          </p:cTn>
                        </p:par>
                        <p:par>
                          <p:cTn id="12" fill="hold">
                            <p:stCondLst>
                              <p:cond delay="800"/>
                            </p:stCondLst>
                            <p:childTnLst>
                              <p:par>
                                <p:cTn id="13" presetID="22" presetClass="entr" presetSubtype="8"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par>
                          <p:cTn id="16" fill="hold">
                            <p:stCondLst>
                              <p:cond delay="1300"/>
                            </p:stCondLst>
                            <p:childTnLst>
                              <p:par>
                                <p:cTn id="17" presetID="22" presetClass="entr" presetSubtype="8"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P spid="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825093" y="-21258"/>
            <a:ext cx="5358669" cy="6358558"/>
          </a:xfrm>
          <a:prstGeom prst="rect">
            <a:avLst/>
          </a:prstGeom>
        </p:spPr>
      </p:pic>
      <p:sp>
        <p:nvSpPr>
          <p:cNvPr id="2" name="Title 1"/>
          <p:cNvSpPr>
            <a:spLocks noGrp="1"/>
          </p:cNvSpPr>
          <p:nvPr>
            <p:ph type="title"/>
          </p:nvPr>
        </p:nvSpPr>
        <p:spPr>
          <a:xfrm>
            <a:off x="186944" y="161495"/>
            <a:ext cx="6406198" cy="899665"/>
          </a:xfrm>
        </p:spPr>
        <p:txBody>
          <a:bodyPr/>
          <a:lstStyle/>
          <a:p>
            <a:r>
              <a:rPr lang="en-US" sz="4000" dirty="0"/>
              <a:t>Example: Big Data drives predictive maintenance</a:t>
            </a:r>
          </a:p>
        </p:txBody>
      </p:sp>
      <p:sp>
        <p:nvSpPr>
          <p:cNvPr id="3" name="Content Placeholder 2"/>
          <p:cNvSpPr>
            <a:spLocks noGrp="1"/>
          </p:cNvSpPr>
          <p:nvPr>
            <p:ph sz="quarter" idx="4294967295"/>
          </p:nvPr>
        </p:nvSpPr>
        <p:spPr>
          <a:xfrm>
            <a:off x="344933" y="1451906"/>
            <a:ext cx="6343650" cy="861774"/>
          </a:xfrm>
        </p:spPr>
        <p:txBody>
          <a:bodyPr lIns="0" tIns="0" rIns="0" bIns="0"/>
          <a:lstStyle/>
          <a:p>
            <a:pPr marL="0" indent="0">
              <a:lnSpc>
                <a:spcPct val="100000"/>
              </a:lnSpc>
              <a:spcBef>
                <a:spcPts val="0"/>
              </a:spcBef>
              <a:buNone/>
            </a:pPr>
            <a:r>
              <a:rPr lang="en-US" sz="2800" i="1" dirty="0">
                <a:solidFill>
                  <a:schemeClr val="accent1"/>
                </a:solidFill>
              </a:rPr>
              <a:t>Rockwell uses big data to understand predictive maintenance in IoT scenario</a:t>
            </a:r>
          </a:p>
        </p:txBody>
      </p:sp>
      <p:sp>
        <p:nvSpPr>
          <p:cNvPr id="19" name="Rectangle 11"/>
          <p:cNvSpPr/>
          <p:nvPr/>
        </p:nvSpPr>
        <p:spPr>
          <a:xfrm>
            <a:off x="6813132" y="2011680"/>
            <a:ext cx="5378868" cy="4325620"/>
          </a:xfrm>
          <a:prstGeom prst="rect">
            <a:avLst/>
          </a:prstGeom>
          <a:gradFill flip="none" rotWithShape="1">
            <a:gsLst>
              <a:gs pos="46000">
                <a:srgbClr val="000000">
                  <a:alpha val="38000"/>
                </a:srgbClr>
              </a:gs>
              <a:gs pos="0">
                <a:schemeClr val="tx1">
                  <a:alpha val="0"/>
                </a:schemeClr>
              </a:gs>
              <a:gs pos="84000">
                <a:sysClr val="windowText" lastClr="000000">
                  <a:alpha val="54000"/>
                </a:sysClr>
              </a:gs>
            </a:gsLst>
            <a:lin ang="5400000" scaled="1"/>
            <a:tileRect/>
          </a:gradFill>
        </p:spPr>
        <p:txBody>
          <a:bodyPr wrap="square" rIns="182880" bIns="279781" anchor="b">
            <a:noAutofit/>
          </a:bodyPr>
          <a:lstStyle/>
          <a:p>
            <a:pPr algn="r" defTabSz="932597">
              <a:spcBef>
                <a:spcPts val="1224"/>
              </a:spcBef>
              <a:defRPr/>
            </a:pPr>
            <a:r>
              <a:rPr lang="en-US" sz="1600" dirty="0"/>
              <a:t>“What we’re talking about delivering is a degree of collaboration and visibility unheard of in the oil and gas industry. To do that, we need a rich flow of data.”</a:t>
            </a:r>
            <a:endParaRPr lang="en-US" sz="1600" kern="0" dirty="0">
              <a:solidFill>
                <a:prstClr val="white"/>
              </a:solidFill>
            </a:endParaRPr>
          </a:p>
          <a:p>
            <a:pPr algn="r" defTabSz="932597">
              <a:spcBef>
                <a:spcPts val="1224"/>
              </a:spcBef>
              <a:defRPr/>
            </a:pPr>
            <a:r>
              <a:rPr lang="en-US" sz="1400" i="1" kern="0" dirty="0">
                <a:solidFill>
                  <a:prstClr val="white"/>
                </a:solidFill>
                <a:cs typeface="Segoe UI" panose="020B0502040204020203" pitchFamily="34" charset="0"/>
              </a:rPr>
              <a:t>Doug Weber, Business Manager</a:t>
            </a:r>
            <a:br>
              <a:rPr lang="en-US" sz="1400" i="1" kern="0" dirty="0">
                <a:solidFill>
                  <a:prstClr val="white"/>
                </a:solidFill>
                <a:cs typeface="Segoe UI" panose="020B0502040204020203" pitchFamily="34" charset="0"/>
              </a:rPr>
            </a:br>
            <a:endParaRPr lang="en-US" sz="1400" i="1" kern="0" dirty="0">
              <a:solidFill>
                <a:prstClr val="white"/>
              </a:solidFill>
              <a:cs typeface="Segoe UI" panose="020B0502040204020203" pitchFamily="34" charset="0"/>
            </a:endParaRPr>
          </a:p>
        </p:txBody>
      </p:sp>
      <p:graphicFrame>
        <p:nvGraphicFramePr>
          <p:cNvPr id="27" name="Table 26"/>
          <p:cNvGraphicFramePr>
            <a:graphicFrameLocks noGrp="1"/>
          </p:cNvGraphicFramePr>
          <p:nvPr>
            <p:extLst/>
          </p:nvPr>
        </p:nvGraphicFramePr>
        <p:xfrm>
          <a:off x="576884" y="2335279"/>
          <a:ext cx="5626317" cy="3474720"/>
        </p:xfrm>
        <a:graphic>
          <a:graphicData uri="http://schemas.openxmlformats.org/drawingml/2006/table">
            <a:tbl>
              <a:tblPr firstRow="1" bandRow="1">
                <a:tableStyleId>{2D5ABB26-0587-4C30-8999-92F81FD0307C}</a:tableStyleId>
              </a:tblPr>
              <a:tblGrid>
                <a:gridCol w="984392">
                  <a:extLst>
                    <a:ext uri="{9D8B030D-6E8A-4147-A177-3AD203B41FA5}">
                      <a16:colId xmlns:a16="http://schemas.microsoft.com/office/drawing/2014/main" val="20000"/>
                    </a:ext>
                  </a:extLst>
                </a:gridCol>
                <a:gridCol w="4641925">
                  <a:extLst>
                    <a:ext uri="{9D8B030D-6E8A-4147-A177-3AD203B41FA5}">
                      <a16:colId xmlns:a16="http://schemas.microsoft.com/office/drawing/2014/main" val="20001"/>
                    </a:ext>
                  </a:extLst>
                </a:gridCol>
              </a:tblGrid>
              <a:tr h="599951">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baseline="0" dirty="0">
                          <a:solidFill>
                            <a:schemeClr val="bg1"/>
                          </a:solidFill>
                          <a:latin typeface="+mn-lt"/>
                          <a:ea typeface="+mn-ea"/>
                          <a:cs typeface="+mn-cs"/>
                        </a:rPr>
                        <a:t>Rockwell is a leading industrial automation company partnering with one of the six oil and gas super majors to deploy internet-connected liquefied gas dispensers in an Internet of Things (IoT) scenario.</a:t>
                      </a:r>
                    </a:p>
                  </a:txBody>
                  <a:tcPr marL="0" marR="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84699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baseline="0" dirty="0">
                          <a:solidFill>
                            <a:schemeClr val="bg1"/>
                          </a:solidFill>
                          <a:latin typeface="+mn-lt"/>
                          <a:ea typeface="+mn-ea"/>
                          <a:cs typeface="+mn-cs"/>
                        </a:rPr>
                        <a:t>Azure HDInsight, SQL Database, Machine Learning, Power BI to maintain and predict their liquefied gas dispensers. Each dispenser emits real-time management metrics allowing them to detect anomalies and predict when proactive maintenance needs to occur.</a:t>
                      </a:r>
                      <a:endParaRPr lang="en-US" sz="1400" kern="0" dirty="0">
                        <a:solidFill>
                          <a:schemeClr val="bg1"/>
                        </a:solidFill>
                        <a:latin typeface="+mn-lt"/>
                        <a:ea typeface="+mn-ea"/>
                        <a:cs typeface="+mn-cs"/>
                      </a:endParaRPr>
                    </a:p>
                  </a:txBody>
                  <a:tcPr marL="0" marR="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341067">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Can now remotely track unmanned stations 24x7 to proactively maintain the liquefied gas dispensers before they break</a:t>
                      </a:r>
                    </a:p>
                    <a:p>
                      <a:pPr marL="177800" indent="-177800">
                        <a:buFont typeface="Arial" panose="020B0604020202020204" pitchFamily="34" charset="0"/>
                        <a:buChar char="•"/>
                      </a:pPr>
                      <a:r>
                        <a:rPr lang="en-US" sz="1400" kern="0" dirty="0">
                          <a:solidFill>
                            <a:schemeClr val="bg1"/>
                          </a:solidFill>
                          <a:latin typeface="+mn-lt"/>
                          <a:ea typeface="+mn-ea"/>
                          <a:cs typeface="+mn-cs"/>
                        </a:rPr>
                        <a:t>Understand</a:t>
                      </a:r>
                      <a:r>
                        <a:rPr lang="en-US" sz="1400" kern="0" baseline="0" dirty="0">
                          <a:solidFill>
                            <a:schemeClr val="bg1"/>
                          </a:solidFill>
                          <a:latin typeface="+mn-lt"/>
                          <a:ea typeface="+mn-ea"/>
                          <a:cs typeface="+mn-cs"/>
                        </a:rPr>
                        <a:t> which pumps run at what speeds to maximize supply while minimizing energy use</a:t>
                      </a:r>
                    </a:p>
                    <a:p>
                      <a:pPr marL="177800" indent="-177800">
                        <a:buFont typeface="Arial" panose="020B0604020202020204" pitchFamily="34" charset="0"/>
                        <a:buChar char="•"/>
                      </a:pPr>
                      <a:r>
                        <a:rPr lang="en-US" sz="1400" kern="0" baseline="0" dirty="0">
                          <a:solidFill>
                            <a:schemeClr val="bg1"/>
                          </a:solidFill>
                          <a:latin typeface="+mn-lt"/>
                          <a:ea typeface="+mn-ea"/>
                          <a:cs typeface="+mn-cs"/>
                        </a:rPr>
                        <a:t>Get real-time notification for important events</a:t>
                      </a:r>
                      <a:endParaRPr lang="en-US" sz="1400" kern="0" dirty="0">
                        <a:solidFill>
                          <a:schemeClr val="bg1"/>
                        </a:solidFill>
                        <a:latin typeface="+mn-lt"/>
                        <a:ea typeface="+mn-ea"/>
                        <a:cs typeface="+mn-cs"/>
                      </a:endParaRPr>
                    </a:p>
                  </a:txBody>
                  <a:tcPr marL="0" marR="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6944" y="5949321"/>
            <a:ext cx="1046433" cy="244200"/>
          </a:xfrm>
          <a:prstGeom prst="rect">
            <a:avLst/>
          </a:prstGeom>
        </p:spPr>
      </p:pic>
    </p:spTree>
    <p:extLst>
      <p:ext uri="{BB962C8B-B14F-4D97-AF65-F5344CB8AC3E}">
        <p14:creationId xmlns:p14="http://schemas.microsoft.com/office/powerpoint/2010/main" val="2115465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ever, there are challenges to Big Data…</a:t>
            </a:r>
          </a:p>
        </p:txBody>
      </p:sp>
      <p:grpSp>
        <p:nvGrpSpPr>
          <p:cNvPr id="6" name="Group 5"/>
          <p:cNvGrpSpPr/>
          <p:nvPr/>
        </p:nvGrpSpPr>
        <p:grpSpPr>
          <a:xfrm>
            <a:off x="4811624" y="1858652"/>
            <a:ext cx="1386591" cy="2042624"/>
            <a:chOff x="6692900" y="2905126"/>
            <a:chExt cx="2097088" cy="3089275"/>
          </a:xfrm>
        </p:grpSpPr>
        <p:sp>
          <p:nvSpPr>
            <p:cNvPr id="7" name="Freeform 7"/>
            <p:cNvSpPr>
              <a:spLocks/>
            </p:cNvSpPr>
            <p:nvPr/>
          </p:nvSpPr>
          <p:spPr bwMode="auto">
            <a:xfrm>
              <a:off x="6692900" y="2905126"/>
              <a:ext cx="2097088" cy="2198688"/>
            </a:xfrm>
            <a:custGeom>
              <a:avLst/>
              <a:gdLst>
                <a:gd name="T0" fmla="*/ 44 w 186"/>
                <a:gd name="T1" fmla="*/ 173 h 195"/>
                <a:gd name="T2" fmla="*/ 44 w 186"/>
                <a:gd name="T3" fmla="*/ 195 h 195"/>
                <a:gd name="T4" fmla="*/ 142 w 186"/>
                <a:gd name="T5" fmla="*/ 195 h 195"/>
                <a:gd name="T6" fmla="*/ 142 w 186"/>
                <a:gd name="T7" fmla="*/ 172 h 195"/>
                <a:gd name="T8" fmla="*/ 186 w 186"/>
                <a:gd name="T9" fmla="*/ 93 h 195"/>
                <a:gd name="T10" fmla="*/ 93 w 186"/>
                <a:gd name="T11" fmla="*/ 0 h 195"/>
                <a:gd name="T12" fmla="*/ 0 w 186"/>
                <a:gd name="T13" fmla="*/ 93 h 195"/>
                <a:gd name="T14" fmla="*/ 44 w 186"/>
                <a:gd name="T15" fmla="*/ 173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95">
                  <a:moveTo>
                    <a:pt x="44" y="173"/>
                  </a:moveTo>
                  <a:cubicBezTo>
                    <a:pt x="44" y="195"/>
                    <a:pt x="44" y="195"/>
                    <a:pt x="44" y="195"/>
                  </a:cubicBezTo>
                  <a:cubicBezTo>
                    <a:pt x="142" y="195"/>
                    <a:pt x="142" y="195"/>
                    <a:pt x="142" y="195"/>
                  </a:cubicBezTo>
                  <a:cubicBezTo>
                    <a:pt x="142" y="172"/>
                    <a:pt x="142" y="172"/>
                    <a:pt x="142" y="172"/>
                  </a:cubicBezTo>
                  <a:cubicBezTo>
                    <a:pt x="168" y="156"/>
                    <a:pt x="186" y="126"/>
                    <a:pt x="186" y="93"/>
                  </a:cubicBezTo>
                  <a:cubicBezTo>
                    <a:pt x="186" y="41"/>
                    <a:pt x="144" y="0"/>
                    <a:pt x="93" y="0"/>
                  </a:cubicBezTo>
                  <a:cubicBezTo>
                    <a:pt x="42" y="0"/>
                    <a:pt x="0" y="41"/>
                    <a:pt x="0" y="93"/>
                  </a:cubicBezTo>
                  <a:cubicBezTo>
                    <a:pt x="0" y="126"/>
                    <a:pt x="18" y="156"/>
                    <a:pt x="44" y="173"/>
                  </a:cubicBezTo>
                  <a:close/>
                </a:path>
              </a:pathLst>
            </a:cu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10" name="Rectangle 11"/>
            <p:cNvSpPr>
              <a:spLocks noChangeArrowheads="1"/>
            </p:cNvSpPr>
            <p:nvPr/>
          </p:nvSpPr>
          <p:spPr bwMode="auto">
            <a:xfrm>
              <a:off x="7189788" y="5103813"/>
              <a:ext cx="1104900" cy="292100"/>
            </a:xfrm>
            <a:prstGeom prst="rect">
              <a:avLst/>
            </a:pr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11" name="Rectangle 12"/>
            <p:cNvSpPr>
              <a:spLocks noChangeArrowheads="1"/>
            </p:cNvSpPr>
            <p:nvPr/>
          </p:nvSpPr>
          <p:spPr bwMode="auto">
            <a:xfrm>
              <a:off x="7291388" y="5395913"/>
              <a:ext cx="901700" cy="304800"/>
            </a:xfrm>
            <a:prstGeom prst="rect">
              <a:avLst/>
            </a:pr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12" name="Rectangle 13"/>
            <p:cNvSpPr>
              <a:spLocks noChangeArrowheads="1"/>
            </p:cNvSpPr>
            <p:nvPr/>
          </p:nvSpPr>
          <p:spPr bwMode="auto">
            <a:xfrm>
              <a:off x="7392988" y="5700713"/>
              <a:ext cx="698500" cy="293688"/>
            </a:xfrm>
            <a:prstGeom prst="rect">
              <a:avLst/>
            </a:pr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sp>
        <p:nvSpPr>
          <p:cNvPr id="22" name="Rectangle 21"/>
          <p:cNvSpPr/>
          <p:nvPr/>
        </p:nvSpPr>
        <p:spPr>
          <a:xfrm>
            <a:off x="918679" y="4165468"/>
            <a:ext cx="1640193" cy="584775"/>
          </a:xfrm>
          <a:prstGeom prst="rect">
            <a:avLst/>
          </a:prstGeom>
        </p:spPr>
        <p:txBody>
          <a:bodyPr wrap="none" lIns="0" tIns="0" rIns="0" bIns="0">
            <a:noAutofit/>
          </a:bodyPr>
          <a:lstStyle/>
          <a:p>
            <a:pPr lvl="0" algn="ctr"/>
            <a:r>
              <a:rPr lang="en-US" sz="3200" dirty="0">
                <a:solidFill>
                  <a:schemeClr val="bg1"/>
                </a:solidFill>
                <a:latin typeface="Segoe UI Light"/>
              </a:rPr>
              <a:t>Obtaining skills </a:t>
            </a:r>
          </a:p>
          <a:p>
            <a:pPr lvl="0" algn="ctr"/>
            <a:r>
              <a:rPr lang="en-US" sz="3200" dirty="0">
                <a:solidFill>
                  <a:schemeClr val="bg1"/>
                </a:solidFill>
                <a:latin typeface="Segoe UI Light"/>
              </a:rPr>
              <a:t>and capabilities</a:t>
            </a:r>
          </a:p>
        </p:txBody>
      </p:sp>
      <p:sp>
        <p:nvSpPr>
          <p:cNvPr id="42" name="Rectangle 41"/>
          <p:cNvSpPr/>
          <p:nvPr/>
        </p:nvSpPr>
        <p:spPr>
          <a:xfrm>
            <a:off x="4797109" y="4191104"/>
            <a:ext cx="1640193" cy="584775"/>
          </a:xfrm>
          <a:prstGeom prst="rect">
            <a:avLst/>
          </a:prstGeom>
        </p:spPr>
        <p:txBody>
          <a:bodyPr wrap="none" lIns="0" tIns="0" rIns="0" bIns="0">
            <a:noAutofit/>
          </a:bodyPr>
          <a:lstStyle/>
          <a:p>
            <a:pPr lvl="0" algn="ctr"/>
            <a:r>
              <a:rPr lang="en-US" sz="3200" dirty="0">
                <a:solidFill>
                  <a:schemeClr val="bg1"/>
                </a:solidFill>
                <a:latin typeface="Segoe UI Light"/>
              </a:rPr>
              <a:t>Determining how</a:t>
            </a:r>
          </a:p>
          <a:p>
            <a:pPr lvl="0" algn="ctr"/>
            <a:r>
              <a:rPr lang="en-US" sz="3200" dirty="0">
                <a:solidFill>
                  <a:schemeClr val="bg1"/>
                </a:solidFill>
                <a:latin typeface="Segoe UI Light"/>
              </a:rPr>
              <a:t>to get value</a:t>
            </a:r>
          </a:p>
        </p:txBody>
      </p:sp>
      <p:sp>
        <p:nvSpPr>
          <p:cNvPr id="43" name="Rectangle 42"/>
          <p:cNvSpPr/>
          <p:nvPr/>
        </p:nvSpPr>
        <p:spPr>
          <a:xfrm>
            <a:off x="9115348" y="4165468"/>
            <a:ext cx="1640193" cy="584775"/>
          </a:xfrm>
          <a:prstGeom prst="rect">
            <a:avLst/>
          </a:prstGeom>
        </p:spPr>
        <p:txBody>
          <a:bodyPr wrap="none" lIns="0" tIns="0" rIns="0" bIns="0">
            <a:noAutofit/>
          </a:bodyPr>
          <a:lstStyle/>
          <a:p>
            <a:pPr lvl="0" algn="ctr"/>
            <a:r>
              <a:rPr lang="en-US" sz="3200" dirty="0">
                <a:solidFill>
                  <a:schemeClr val="bg1"/>
                </a:solidFill>
                <a:latin typeface="Segoe UI Light"/>
              </a:rPr>
              <a:t>Integrating with </a:t>
            </a:r>
          </a:p>
          <a:p>
            <a:pPr lvl="0" algn="ctr"/>
            <a:r>
              <a:rPr lang="en-US" sz="3200" dirty="0">
                <a:solidFill>
                  <a:schemeClr val="bg1"/>
                </a:solidFill>
                <a:latin typeface="Segoe UI Light"/>
              </a:rPr>
              <a:t>existing IT investments</a:t>
            </a:r>
          </a:p>
        </p:txBody>
      </p:sp>
      <p:sp>
        <p:nvSpPr>
          <p:cNvPr id="17" name="Freeform 16"/>
          <p:cNvSpPr>
            <a:spLocks noChangeAspect="1" noEditPoints="1"/>
          </p:cNvSpPr>
          <p:nvPr/>
        </p:nvSpPr>
        <p:spPr bwMode="auto">
          <a:xfrm>
            <a:off x="5240564" y="2184735"/>
            <a:ext cx="529025" cy="715560"/>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FFFFFF"/>
          </a:solidFill>
          <a:ln w="15875">
            <a:solidFill>
              <a:srgbClr val="0078D7"/>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endParaRPr lang="en-US"/>
          </a:p>
        </p:txBody>
      </p:sp>
      <p:sp>
        <p:nvSpPr>
          <p:cNvPr id="18" name="TextBox 17"/>
          <p:cNvSpPr txBox="1"/>
          <p:nvPr/>
        </p:nvSpPr>
        <p:spPr>
          <a:xfrm>
            <a:off x="0" y="5911939"/>
            <a:ext cx="8147713" cy="420115"/>
          </a:xfrm>
          <a:prstGeom prst="rect">
            <a:avLst/>
          </a:prstGeom>
          <a:noFill/>
        </p:spPr>
        <p:txBody>
          <a:bodyPr wrap="square" lIns="182880" tIns="146304" rIns="182880" bIns="146304" rtlCol="0">
            <a:spAutoFit/>
          </a:bodyPr>
          <a:lstStyle/>
          <a:p>
            <a:pPr>
              <a:lnSpc>
                <a:spcPct val="90000"/>
              </a:lnSpc>
              <a:spcAft>
                <a:spcPts val="600"/>
              </a:spcAft>
            </a:pPr>
            <a:r>
              <a:rPr lang="en-US" sz="800" dirty="0">
                <a:solidFill>
                  <a:schemeClr val="bg1"/>
                </a:solidFill>
              </a:rPr>
              <a:t>*Gartner: Survey Analysis – Hadoop Adoption Drivers and Challenges (Stamford, CT.: Gartner, 2015)</a:t>
            </a:r>
          </a:p>
        </p:txBody>
      </p:sp>
      <p:grpSp>
        <p:nvGrpSpPr>
          <p:cNvPr id="15" name="Group 14"/>
          <p:cNvGrpSpPr/>
          <p:nvPr/>
        </p:nvGrpSpPr>
        <p:grpSpPr>
          <a:xfrm flipH="1">
            <a:off x="760519" y="2033888"/>
            <a:ext cx="978256" cy="1730170"/>
            <a:chOff x="7768802" y="4042774"/>
            <a:chExt cx="978256" cy="1730170"/>
          </a:xfrm>
          <a:solidFill>
            <a:srgbClr val="0078D7"/>
          </a:solidFill>
        </p:grpSpPr>
        <p:sp>
          <p:nvSpPr>
            <p:cNvPr id="16" name="Freeform 15"/>
            <p:cNvSpPr>
              <a:spLocks noChangeArrowheads="1"/>
            </p:cNvSpPr>
            <p:nvPr/>
          </p:nvSpPr>
          <p:spPr bwMode="auto">
            <a:xfrm>
              <a:off x="8342246" y="4042774"/>
              <a:ext cx="404812" cy="404814"/>
            </a:xfrm>
            <a:custGeom>
              <a:avLst/>
              <a:gdLst>
                <a:gd name="connsiteX0" fmla="*/ 202407 w 404812"/>
                <a:gd name="connsiteY0" fmla="*/ 77787 h 404814"/>
                <a:gd name="connsiteX1" fmla="*/ 77788 w 404812"/>
                <a:gd name="connsiteY1" fmla="*/ 201612 h 404814"/>
                <a:gd name="connsiteX2" fmla="*/ 202407 w 404812"/>
                <a:gd name="connsiteY2" fmla="*/ 325437 h 404814"/>
                <a:gd name="connsiteX3" fmla="*/ 327026 w 404812"/>
                <a:gd name="connsiteY3" fmla="*/ 201612 h 404814"/>
                <a:gd name="connsiteX4" fmla="*/ 202407 w 404812"/>
                <a:gd name="connsiteY4" fmla="*/ 77787 h 404814"/>
                <a:gd name="connsiteX5" fmla="*/ 202406 w 404812"/>
                <a:gd name="connsiteY5" fmla="*/ 0 h 404814"/>
                <a:gd name="connsiteX6" fmla="*/ 404812 w 404812"/>
                <a:gd name="connsiteY6" fmla="*/ 202407 h 404814"/>
                <a:gd name="connsiteX7" fmla="*/ 202406 w 404812"/>
                <a:gd name="connsiteY7" fmla="*/ 404814 h 404814"/>
                <a:gd name="connsiteX8" fmla="*/ 0 w 404812"/>
                <a:gd name="connsiteY8" fmla="*/ 202407 h 404814"/>
                <a:gd name="connsiteX9" fmla="*/ 202406 w 404812"/>
                <a:gd name="connsiteY9" fmla="*/ 0 h 40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4812" h="404814">
                  <a:moveTo>
                    <a:pt x="202407" y="77787"/>
                  </a:moveTo>
                  <a:cubicBezTo>
                    <a:pt x="133582" y="77787"/>
                    <a:pt x="77788" y="133225"/>
                    <a:pt x="77788" y="201612"/>
                  </a:cubicBezTo>
                  <a:cubicBezTo>
                    <a:pt x="77788" y="269999"/>
                    <a:pt x="133582" y="325437"/>
                    <a:pt x="202407" y="325437"/>
                  </a:cubicBezTo>
                  <a:cubicBezTo>
                    <a:pt x="271232" y="325437"/>
                    <a:pt x="327026" y="269999"/>
                    <a:pt x="327026" y="201612"/>
                  </a:cubicBezTo>
                  <a:cubicBezTo>
                    <a:pt x="327026" y="133225"/>
                    <a:pt x="271232" y="77787"/>
                    <a:pt x="202407" y="77787"/>
                  </a:cubicBezTo>
                  <a:close/>
                  <a:moveTo>
                    <a:pt x="202406" y="0"/>
                  </a:moveTo>
                  <a:cubicBezTo>
                    <a:pt x="314192" y="0"/>
                    <a:pt x="404812" y="90621"/>
                    <a:pt x="404812" y="202407"/>
                  </a:cubicBezTo>
                  <a:cubicBezTo>
                    <a:pt x="404812" y="314193"/>
                    <a:pt x="314192" y="404814"/>
                    <a:pt x="202406" y="404814"/>
                  </a:cubicBezTo>
                  <a:cubicBezTo>
                    <a:pt x="90620" y="404814"/>
                    <a:pt x="0" y="314193"/>
                    <a:pt x="0" y="202407"/>
                  </a:cubicBezTo>
                  <a:cubicBezTo>
                    <a:pt x="0" y="90621"/>
                    <a:pt x="90620" y="0"/>
                    <a:pt x="202406" y="0"/>
                  </a:cubicBezTo>
                  <a:close/>
                </a:path>
              </a:pathLst>
            </a:custGeom>
            <a:grpFill/>
            <a:ln w="47625">
              <a:solidFill>
                <a:schemeClr val="tx1"/>
              </a:solidFill>
            </a:ln>
          </p:spPr>
          <p:txBody>
            <a:bodyPr vert="horz" wrap="square" lIns="91440" tIns="45720" rIns="91440" bIns="45720" numCol="1" anchor="t" anchorCtr="0" compatLnSpc="1">
              <a:prstTxWarp prst="textNoShape">
                <a:avLst/>
              </a:prstTxWarp>
              <a:noAutofit/>
            </a:bodyPr>
            <a:lstStyle/>
            <a:p>
              <a:endParaRPr lang="en-US" dirty="0"/>
            </a:p>
          </p:txBody>
        </p:sp>
        <p:sp>
          <p:nvSpPr>
            <p:cNvPr id="19" name="Freeform 18"/>
            <p:cNvSpPr>
              <a:spLocks noEditPoints="1"/>
            </p:cNvSpPr>
            <p:nvPr/>
          </p:nvSpPr>
          <p:spPr bwMode="auto">
            <a:xfrm>
              <a:off x="7911240" y="4553951"/>
              <a:ext cx="633412" cy="334963"/>
            </a:xfrm>
            <a:custGeom>
              <a:avLst/>
              <a:gdLst>
                <a:gd name="T0" fmla="*/ 183 w 291"/>
                <a:gd name="T1" fmla="*/ 154 h 154"/>
                <a:gd name="T2" fmla="*/ 89 w 291"/>
                <a:gd name="T3" fmla="*/ 93 h 154"/>
                <a:gd name="T4" fmla="*/ 9 w 291"/>
                <a:gd name="T5" fmla="*/ 34 h 154"/>
                <a:gd name="T6" fmla="*/ 6 w 291"/>
                <a:gd name="T7" fmla="*/ 9 h 154"/>
                <a:gd name="T8" fmla="*/ 31 w 291"/>
                <a:gd name="T9" fmla="*/ 6 h 154"/>
                <a:gd name="T10" fmla="*/ 181 w 291"/>
                <a:gd name="T11" fmla="*/ 114 h 154"/>
                <a:gd name="T12" fmla="*/ 258 w 291"/>
                <a:gd name="T13" fmla="*/ 39 h 154"/>
                <a:gd name="T14" fmla="*/ 284 w 291"/>
                <a:gd name="T15" fmla="*/ 40 h 154"/>
                <a:gd name="T16" fmla="*/ 283 w 291"/>
                <a:gd name="T17" fmla="*/ 65 h 154"/>
                <a:gd name="T18" fmla="*/ 198 w 291"/>
                <a:gd name="T19" fmla="*/ 147 h 154"/>
                <a:gd name="T20" fmla="*/ 187 w 291"/>
                <a:gd name="T21" fmla="*/ 154 h 154"/>
                <a:gd name="T22" fmla="*/ 183 w 291"/>
                <a:gd name="T23" fmla="*/ 154 h 154"/>
                <a:gd name="T24" fmla="*/ 199 w 291"/>
                <a:gd name="T25" fmla="*/ 146 h 154"/>
                <a:gd name="T26" fmla="*/ 198 w 291"/>
                <a:gd name="T27" fmla="*/ 147 h 154"/>
                <a:gd name="T28" fmla="*/ 199 w 291"/>
                <a:gd name="T29" fmla="*/ 146 h 154"/>
                <a:gd name="T30" fmla="*/ 171 w 291"/>
                <a:gd name="T31" fmla="*/ 123 h 154"/>
                <a:gd name="T32" fmla="*/ 169 w 291"/>
                <a:gd name="T33" fmla="*/ 126 h 154"/>
                <a:gd name="T34" fmla="*/ 171 w 291"/>
                <a:gd name="T35" fmla="*/ 12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1" h="154">
                  <a:moveTo>
                    <a:pt x="183" y="154"/>
                  </a:moveTo>
                  <a:cubicBezTo>
                    <a:pt x="175" y="154"/>
                    <a:pt x="163" y="147"/>
                    <a:pt x="89" y="93"/>
                  </a:cubicBezTo>
                  <a:cubicBezTo>
                    <a:pt x="49" y="64"/>
                    <a:pt x="10" y="35"/>
                    <a:pt x="9" y="34"/>
                  </a:cubicBezTo>
                  <a:cubicBezTo>
                    <a:pt x="1" y="29"/>
                    <a:pt x="0" y="17"/>
                    <a:pt x="6" y="9"/>
                  </a:cubicBezTo>
                  <a:cubicBezTo>
                    <a:pt x="11" y="1"/>
                    <a:pt x="23" y="0"/>
                    <a:pt x="31" y="6"/>
                  </a:cubicBezTo>
                  <a:cubicBezTo>
                    <a:pt x="81" y="43"/>
                    <a:pt x="154" y="96"/>
                    <a:pt x="181" y="114"/>
                  </a:cubicBezTo>
                  <a:cubicBezTo>
                    <a:pt x="192" y="103"/>
                    <a:pt x="214" y="81"/>
                    <a:pt x="258" y="39"/>
                  </a:cubicBezTo>
                  <a:cubicBezTo>
                    <a:pt x="265" y="32"/>
                    <a:pt x="277" y="32"/>
                    <a:pt x="284" y="40"/>
                  </a:cubicBezTo>
                  <a:cubicBezTo>
                    <a:pt x="291" y="47"/>
                    <a:pt x="290" y="58"/>
                    <a:pt x="283" y="65"/>
                  </a:cubicBezTo>
                  <a:cubicBezTo>
                    <a:pt x="253" y="94"/>
                    <a:pt x="204" y="141"/>
                    <a:pt x="198" y="147"/>
                  </a:cubicBezTo>
                  <a:cubicBezTo>
                    <a:pt x="195" y="151"/>
                    <a:pt x="191" y="153"/>
                    <a:pt x="187" y="154"/>
                  </a:cubicBezTo>
                  <a:cubicBezTo>
                    <a:pt x="186" y="154"/>
                    <a:pt x="184" y="154"/>
                    <a:pt x="183" y="154"/>
                  </a:cubicBezTo>
                  <a:close/>
                  <a:moveTo>
                    <a:pt x="199" y="146"/>
                  </a:moveTo>
                  <a:cubicBezTo>
                    <a:pt x="199" y="146"/>
                    <a:pt x="198" y="147"/>
                    <a:pt x="198" y="147"/>
                  </a:cubicBezTo>
                  <a:cubicBezTo>
                    <a:pt x="199" y="147"/>
                    <a:pt x="199" y="146"/>
                    <a:pt x="199" y="146"/>
                  </a:cubicBezTo>
                  <a:close/>
                  <a:moveTo>
                    <a:pt x="171" y="123"/>
                  </a:moveTo>
                  <a:cubicBezTo>
                    <a:pt x="171" y="124"/>
                    <a:pt x="170" y="125"/>
                    <a:pt x="169" y="126"/>
                  </a:cubicBezTo>
                  <a:cubicBezTo>
                    <a:pt x="170" y="125"/>
                    <a:pt x="170" y="124"/>
                    <a:pt x="171" y="123"/>
                  </a:cubicBezTo>
                  <a:close/>
                </a:path>
              </a:pathLst>
            </a:custGeom>
            <a:grpFill/>
            <a:ln w="47625">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p:nvSpPr>
          <p:spPr bwMode="auto">
            <a:xfrm>
              <a:off x="8368440" y="4447588"/>
              <a:ext cx="357187" cy="757238"/>
            </a:xfrm>
            <a:custGeom>
              <a:avLst/>
              <a:gdLst>
                <a:gd name="T0" fmla="*/ 82 w 164"/>
                <a:gd name="T1" fmla="*/ 348 h 348"/>
                <a:gd name="T2" fmla="*/ 61 w 164"/>
                <a:gd name="T3" fmla="*/ 346 h 348"/>
                <a:gd name="T4" fmla="*/ 48 w 164"/>
                <a:gd name="T5" fmla="*/ 324 h 348"/>
                <a:gd name="T6" fmla="*/ 70 w 164"/>
                <a:gd name="T7" fmla="*/ 311 h 348"/>
                <a:gd name="T8" fmla="*/ 82 w 164"/>
                <a:gd name="T9" fmla="*/ 312 h 348"/>
                <a:gd name="T10" fmla="*/ 128 w 164"/>
                <a:gd name="T11" fmla="*/ 266 h 348"/>
                <a:gd name="T12" fmla="*/ 128 w 164"/>
                <a:gd name="T13" fmla="*/ 82 h 348"/>
                <a:gd name="T14" fmla="*/ 82 w 164"/>
                <a:gd name="T15" fmla="*/ 36 h 348"/>
                <a:gd name="T16" fmla="*/ 36 w 164"/>
                <a:gd name="T17" fmla="*/ 82 h 348"/>
                <a:gd name="T18" fmla="*/ 18 w 164"/>
                <a:gd name="T19" fmla="*/ 100 h 348"/>
                <a:gd name="T20" fmla="*/ 0 w 164"/>
                <a:gd name="T21" fmla="*/ 82 h 348"/>
                <a:gd name="T22" fmla="*/ 82 w 164"/>
                <a:gd name="T23" fmla="*/ 0 h 348"/>
                <a:gd name="T24" fmla="*/ 164 w 164"/>
                <a:gd name="T25" fmla="*/ 82 h 348"/>
                <a:gd name="T26" fmla="*/ 164 w 164"/>
                <a:gd name="T27" fmla="*/ 266 h 348"/>
                <a:gd name="T28" fmla="*/ 82 w 164"/>
                <a:gd name="T29"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348">
                  <a:moveTo>
                    <a:pt x="82" y="348"/>
                  </a:moveTo>
                  <a:cubicBezTo>
                    <a:pt x="75" y="348"/>
                    <a:pt x="68" y="347"/>
                    <a:pt x="61" y="346"/>
                  </a:cubicBezTo>
                  <a:cubicBezTo>
                    <a:pt x="51" y="343"/>
                    <a:pt x="45" y="333"/>
                    <a:pt x="48" y="324"/>
                  </a:cubicBezTo>
                  <a:cubicBezTo>
                    <a:pt x="51" y="314"/>
                    <a:pt x="60" y="308"/>
                    <a:pt x="70" y="311"/>
                  </a:cubicBezTo>
                  <a:cubicBezTo>
                    <a:pt x="74" y="312"/>
                    <a:pt x="78" y="312"/>
                    <a:pt x="82" y="312"/>
                  </a:cubicBezTo>
                  <a:cubicBezTo>
                    <a:pt x="107" y="312"/>
                    <a:pt x="128" y="292"/>
                    <a:pt x="128" y="266"/>
                  </a:cubicBezTo>
                  <a:cubicBezTo>
                    <a:pt x="128" y="82"/>
                    <a:pt x="128" y="82"/>
                    <a:pt x="128" y="82"/>
                  </a:cubicBezTo>
                  <a:cubicBezTo>
                    <a:pt x="128" y="57"/>
                    <a:pt x="107" y="36"/>
                    <a:pt x="82" y="36"/>
                  </a:cubicBezTo>
                  <a:cubicBezTo>
                    <a:pt x="57" y="36"/>
                    <a:pt x="36" y="57"/>
                    <a:pt x="36" y="82"/>
                  </a:cubicBezTo>
                  <a:cubicBezTo>
                    <a:pt x="36" y="92"/>
                    <a:pt x="28" y="100"/>
                    <a:pt x="18" y="100"/>
                  </a:cubicBezTo>
                  <a:cubicBezTo>
                    <a:pt x="8" y="100"/>
                    <a:pt x="0" y="92"/>
                    <a:pt x="0" y="82"/>
                  </a:cubicBezTo>
                  <a:cubicBezTo>
                    <a:pt x="0" y="37"/>
                    <a:pt x="37" y="0"/>
                    <a:pt x="82" y="0"/>
                  </a:cubicBezTo>
                  <a:cubicBezTo>
                    <a:pt x="127" y="0"/>
                    <a:pt x="164" y="37"/>
                    <a:pt x="164" y="82"/>
                  </a:cubicBezTo>
                  <a:cubicBezTo>
                    <a:pt x="164" y="266"/>
                    <a:pt x="164" y="266"/>
                    <a:pt x="164" y="266"/>
                  </a:cubicBezTo>
                  <a:cubicBezTo>
                    <a:pt x="164" y="312"/>
                    <a:pt x="127" y="348"/>
                    <a:pt x="82" y="348"/>
                  </a:cubicBezTo>
                  <a:close/>
                </a:path>
              </a:pathLst>
            </a:custGeom>
            <a:grpFill/>
            <a:ln w="47625">
              <a:solidFill>
                <a:schemeClr val="tx1"/>
              </a:solidFill>
            </a:ln>
          </p:spPr>
          <p:txBody>
            <a:bodyPr vert="horz" wrap="square" lIns="91440" tIns="45720" rIns="91440" bIns="45720" numCol="1" anchor="t" anchorCtr="0" compatLnSpc="1">
              <a:prstTxWarp prst="textNoShape">
                <a:avLst/>
              </a:prstTxWarp>
            </a:bodyPr>
            <a:lstStyle/>
            <a:p>
              <a:endParaRPr lang="en-US"/>
            </a:p>
          </p:txBody>
        </p:sp>
        <p:cxnSp>
          <p:nvCxnSpPr>
            <p:cNvPr id="21" name="Straight Connector 20"/>
            <p:cNvCxnSpPr/>
            <p:nvPr/>
          </p:nvCxnSpPr>
          <p:spPr>
            <a:xfrm flipH="1">
              <a:off x="8418940" y="4852402"/>
              <a:ext cx="11186" cy="920542"/>
            </a:xfrm>
            <a:prstGeom prst="line">
              <a:avLst/>
            </a:prstGeom>
            <a:grpFill/>
            <a:ln w="2857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8611357" y="5148099"/>
              <a:ext cx="7056" cy="624845"/>
            </a:xfrm>
            <a:prstGeom prst="line">
              <a:avLst/>
            </a:prstGeom>
            <a:grpFill/>
            <a:ln w="2857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7768802" y="4185293"/>
              <a:ext cx="229896" cy="369406"/>
              <a:chOff x="8945393" y="5397566"/>
              <a:chExt cx="449432" cy="722166"/>
            </a:xfrm>
            <a:grpFill/>
          </p:grpSpPr>
          <p:sp>
            <p:nvSpPr>
              <p:cNvPr id="25" name="Rectangle 195"/>
              <p:cNvSpPr>
                <a:spLocks noChangeArrowheads="1"/>
              </p:cNvSpPr>
              <p:nvPr/>
            </p:nvSpPr>
            <p:spPr bwMode="auto">
              <a:xfrm>
                <a:off x="8968436" y="5935350"/>
                <a:ext cx="403336" cy="46096"/>
              </a:xfrm>
              <a:prstGeom prst="rect">
                <a:avLst/>
              </a:prstGeom>
              <a:solidFill>
                <a:srgbClr val="00BCF2"/>
              </a:solidFill>
              <a:ln w="6350">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 name="Freeform 196"/>
              <p:cNvSpPr>
                <a:spLocks/>
              </p:cNvSpPr>
              <p:nvPr/>
            </p:nvSpPr>
            <p:spPr bwMode="auto">
              <a:xfrm>
                <a:off x="9106723" y="6004494"/>
                <a:ext cx="126763" cy="46096"/>
              </a:xfrm>
              <a:custGeom>
                <a:avLst/>
                <a:gdLst>
                  <a:gd name="T0" fmla="*/ 54 w 66"/>
                  <a:gd name="T1" fmla="*/ 24 h 24"/>
                  <a:gd name="T2" fmla="*/ 12 w 66"/>
                  <a:gd name="T3" fmla="*/ 24 h 24"/>
                  <a:gd name="T4" fmla="*/ 12 w 66"/>
                  <a:gd name="T5" fmla="*/ 24 h 24"/>
                  <a:gd name="T6" fmla="*/ 8 w 66"/>
                  <a:gd name="T7" fmla="*/ 24 h 24"/>
                  <a:gd name="T8" fmla="*/ 4 w 66"/>
                  <a:gd name="T9" fmla="*/ 22 h 24"/>
                  <a:gd name="T10" fmla="*/ 2 w 66"/>
                  <a:gd name="T11" fmla="*/ 18 h 24"/>
                  <a:gd name="T12" fmla="*/ 0 w 66"/>
                  <a:gd name="T13" fmla="*/ 12 h 24"/>
                  <a:gd name="T14" fmla="*/ 0 w 66"/>
                  <a:gd name="T15" fmla="*/ 12 h 24"/>
                  <a:gd name="T16" fmla="*/ 2 w 66"/>
                  <a:gd name="T17" fmla="*/ 8 h 24"/>
                  <a:gd name="T18" fmla="*/ 4 w 66"/>
                  <a:gd name="T19" fmla="*/ 4 h 24"/>
                  <a:gd name="T20" fmla="*/ 8 w 66"/>
                  <a:gd name="T21" fmla="*/ 2 h 24"/>
                  <a:gd name="T22" fmla="*/ 12 w 66"/>
                  <a:gd name="T23" fmla="*/ 0 h 24"/>
                  <a:gd name="T24" fmla="*/ 54 w 66"/>
                  <a:gd name="T25" fmla="*/ 0 h 24"/>
                  <a:gd name="T26" fmla="*/ 54 w 66"/>
                  <a:gd name="T27" fmla="*/ 0 h 24"/>
                  <a:gd name="T28" fmla="*/ 58 w 66"/>
                  <a:gd name="T29" fmla="*/ 2 h 24"/>
                  <a:gd name="T30" fmla="*/ 62 w 66"/>
                  <a:gd name="T31" fmla="*/ 4 h 24"/>
                  <a:gd name="T32" fmla="*/ 66 w 66"/>
                  <a:gd name="T33" fmla="*/ 8 h 24"/>
                  <a:gd name="T34" fmla="*/ 66 w 66"/>
                  <a:gd name="T35" fmla="*/ 12 h 24"/>
                  <a:gd name="T36" fmla="*/ 66 w 66"/>
                  <a:gd name="T37" fmla="*/ 12 h 24"/>
                  <a:gd name="T38" fmla="*/ 66 w 66"/>
                  <a:gd name="T39" fmla="*/ 18 h 24"/>
                  <a:gd name="T40" fmla="*/ 62 w 66"/>
                  <a:gd name="T41" fmla="*/ 22 h 24"/>
                  <a:gd name="T42" fmla="*/ 58 w 66"/>
                  <a:gd name="T43" fmla="*/ 24 h 24"/>
                  <a:gd name="T44" fmla="*/ 54 w 66"/>
                  <a:gd name="T45" fmla="*/ 24 h 24"/>
                  <a:gd name="T46" fmla="*/ 54 w 66"/>
                  <a:gd name="T4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6" h="24">
                    <a:moveTo>
                      <a:pt x="54" y="24"/>
                    </a:moveTo>
                    <a:lnTo>
                      <a:pt x="12" y="24"/>
                    </a:lnTo>
                    <a:lnTo>
                      <a:pt x="12" y="24"/>
                    </a:lnTo>
                    <a:lnTo>
                      <a:pt x="8" y="24"/>
                    </a:lnTo>
                    <a:lnTo>
                      <a:pt x="4" y="22"/>
                    </a:lnTo>
                    <a:lnTo>
                      <a:pt x="2" y="18"/>
                    </a:lnTo>
                    <a:lnTo>
                      <a:pt x="0" y="12"/>
                    </a:lnTo>
                    <a:lnTo>
                      <a:pt x="0" y="12"/>
                    </a:lnTo>
                    <a:lnTo>
                      <a:pt x="2" y="8"/>
                    </a:lnTo>
                    <a:lnTo>
                      <a:pt x="4" y="4"/>
                    </a:lnTo>
                    <a:lnTo>
                      <a:pt x="8" y="2"/>
                    </a:lnTo>
                    <a:lnTo>
                      <a:pt x="12" y="0"/>
                    </a:lnTo>
                    <a:lnTo>
                      <a:pt x="54" y="0"/>
                    </a:lnTo>
                    <a:lnTo>
                      <a:pt x="54" y="0"/>
                    </a:lnTo>
                    <a:lnTo>
                      <a:pt x="58" y="2"/>
                    </a:lnTo>
                    <a:lnTo>
                      <a:pt x="62" y="4"/>
                    </a:lnTo>
                    <a:lnTo>
                      <a:pt x="66" y="8"/>
                    </a:lnTo>
                    <a:lnTo>
                      <a:pt x="66" y="12"/>
                    </a:lnTo>
                    <a:lnTo>
                      <a:pt x="66" y="12"/>
                    </a:lnTo>
                    <a:lnTo>
                      <a:pt x="66" y="18"/>
                    </a:lnTo>
                    <a:lnTo>
                      <a:pt x="62" y="22"/>
                    </a:lnTo>
                    <a:lnTo>
                      <a:pt x="58" y="24"/>
                    </a:lnTo>
                    <a:lnTo>
                      <a:pt x="54" y="24"/>
                    </a:lnTo>
                    <a:lnTo>
                      <a:pt x="54" y="24"/>
                    </a:lnTo>
                    <a:close/>
                  </a:path>
                </a:pathLst>
              </a:custGeom>
              <a:solidFill>
                <a:srgbClr val="00BCF2"/>
              </a:solidFill>
              <a:ln w="6350">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 name="Freeform 199"/>
              <p:cNvSpPr>
                <a:spLocks noEditPoints="1"/>
              </p:cNvSpPr>
              <p:nvPr/>
            </p:nvSpPr>
            <p:spPr bwMode="auto">
              <a:xfrm>
                <a:off x="8945393" y="5397566"/>
                <a:ext cx="449432" cy="722166"/>
              </a:xfrm>
              <a:custGeom>
                <a:avLst/>
                <a:gdLst>
                  <a:gd name="T0" fmla="*/ 202 w 234"/>
                  <a:gd name="T1" fmla="*/ 376 h 376"/>
                  <a:gd name="T2" fmla="*/ 32 w 234"/>
                  <a:gd name="T3" fmla="*/ 376 h 376"/>
                  <a:gd name="T4" fmla="*/ 32 w 234"/>
                  <a:gd name="T5" fmla="*/ 376 h 376"/>
                  <a:gd name="T6" fmla="*/ 26 w 234"/>
                  <a:gd name="T7" fmla="*/ 374 h 376"/>
                  <a:gd name="T8" fmla="*/ 20 w 234"/>
                  <a:gd name="T9" fmla="*/ 372 h 376"/>
                  <a:gd name="T10" fmla="*/ 10 w 234"/>
                  <a:gd name="T11" fmla="*/ 366 h 376"/>
                  <a:gd name="T12" fmla="*/ 2 w 234"/>
                  <a:gd name="T13" fmla="*/ 356 h 376"/>
                  <a:gd name="T14" fmla="*/ 2 w 234"/>
                  <a:gd name="T15" fmla="*/ 350 h 376"/>
                  <a:gd name="T16" fmla="*/ 0 w 234"/>
                  <a:gd name="T17" fmla="*/ 344 h 376"/>
                  <a:gd name="T18" fmla="*/ 0 w 234"/>
                  <a:gd name="T19" fmla="*/ 32 h 376"/>
                  <a:gd name="T20" fmla="*/ 0 w 234"/>
                  <a:gd name="T21" fmla="*/ 32 h 376"/>
                  <a:gd name="T22" fmla="*/ 2 w 234"/>
                  <a:gd name="T23" fmla="*/ 24 h 376"/>
                  <a:gd name="T24" fmla="*/ 2 w 234"/>
                  <a:gd name="T25" fmla="*/ 18 h 376"/>
                  <a:gd name="T26" fmla="*/ 10 w 234"/>
                  <a:gd name="T27" fmla="*/ 8 h 376"/>
                  <a:gd name="T28" fmla="*/ 20 w 234"/>
                  <a:gd name="T29" fmla="*/ 2 h 376"/>
                  <a:gd name="T30" fmla="*/ 26 w 234"/>
                  <a:gd name="T31" fmla="*/ 0 h 376"/>
                  <a:gd name="T32" fmla="*/ 32 w 234"/>
                  <a:gd name="T33" fmla="*/ 0 h 376"/>
                  <a:gd name="T34" fmla="*/ 202 w 234"/>
                  <a:gd name="T35" fmla="*/ 0 h 376"/>
                  <a:gd name="T36" fmla="*/ 202 w 234"/>
                  <a:gd name="T37" fmla="*/ 0 h 376"/>
                  <a:gd name="T38" fmla="*/ 208 w 234"/>
                  <a:gd name="T39" fmla="*/ 0 h 376"/>
                  <a:gd name="T40" fmla="*/ 214 w 234"/>
                  <a:gd name="T41" fmla="*/ 2 h 376"/>
                  <a:gd name="T42" fmla="*/ 224 w 234"/>
                  <a:gd name="T43" fmla="*/ 8 h 376"/>
                  <a:gd name="T44" fmla="*/ 232 w 234"/>
                  <a:gd name="T45" fmla="*/ 18 h 376"/>
                  <a:gd name="T46" fmla="*/ 234 w 234"/>
                  <a:gd name="T47" fmla="*/ 24 h 376"/>
                  <a:gd name="T48" fmla="*/ 234 w 234"/>
                  <a:gd name="T49" fmla="*/ 32 h 376"/>
                  <a:gd name="T50" fmla="*/ 234 w 234"/>
                  <a:gd name="T51" fmla="*/ 344 h 376"/>
                  <a:gd name="T52" fmla="*/ 234 w 234"/>
                  <a:gd name="T53" fmla="*/ 344 h 376"/>
                  <a:gd name="T54" fmla="*/ 234 w 234"/>
                  <a:gd name="T55" fmla="*/ 350 h 376"/>
                  <a:gd name="T56" fmla="*/ 232 w 234"/>
                  <a:gd name="T57" fmla="*/ 356 h 376"/>
                  <a:gd name="T58" fmla="*/ 224 w 234"/>
                  <a:gd name="T59" fmla="*/ 366 h 376"/>
                  <a:gd name="T60" fmla="*/ 214 w 234"/>
                  <a:gd name="T61" fmla="*/ 372 h 376"/>
                  <a:gd name="T62" fmla="*/ 208 w 234"/>
                  <a:gd name="T63" fmla="*/ 374 h 376"/>
                  <a:gd name="T64" fmla="*/ 202 w 234"/>
                  <a:gd name="T65" fmla="*/ 376 h 376"/>
                  <a:gd name="T66" fmla="*/ 202 w 234"/>
                  <a:gd name="T67" fmla="*/ 376 h 376"/>
                  <a:gd name="T68" fmla="*/ 32 w 234"/>
                  <a:gd name="T69" fmla="*/ 24 h 376"/>
                  <a:gd name="T70" fmla="*/ 32 w 234"/>
                  <a:gd name="T71" fmla="*/ 24 h 376"/>
                  <a:gd name="T72" fmla="*/ 30 w 234"/>
                  <a:gd name="T73" fmla="*/ 24 h 376"/>
                  <a:gd name="T74" fmla="*/ 26 w 234"/>
                  <a:gd name="T75" fmla="*/ 26 h 376"/>
                  <a:gd name="T76" fmla="*/ 26 w 234"/>
                  <a:gd name="T77" fmla="*/ 28 h 376"/>
                  <a:gd name="T78" fmla="*/ 24 w 234"/>
                  <a:gd name="T79" fmla="*/ 32 h 376"/>
                  <a:gd name="T80" fmla="*/ 24 w 234"/>
                  <a:gd name="T81" fmla="*/ 344 h 376"/>
                  <a:gd name="T82" fmla="*/ 24 w 234"/>
                  <a:gd name="T83" fmla="*/ 344 h 376"/>
                  <a:gd name="T84" fmla="*/ 26 w 234"/>
                  <a:gd name="T85" fmla="*/ 346 h 376"/>
                  <a:gd name="T86" fmla="*/ 26 w 234"/>
                  <a:gd name="T87" fmla="*/ 350 h 376"/>
                  <a:gd name="T88" fmla="*/ 30 w 234"/>
                  <a:gd name="T89" fmla="*/ 350 h 376"/>
                  <a:gd name="T90" fmla="*/ 32 w 234"/>
                  <a:gd name="T91" fmla="*/ 352 h 376"/>
                  <a:gd name="T92" fmla="*/ 202 w 234"/>
                  <a:gd name="T93" fmla="*/ 352 h 376"/>
                  <a:gd name="T94" fmla="*/ 202 w 234"/>
                  <a:gd name="T95" fmla="*/ 352 h 376"/>
                  <a:gd name="T96" fmla="*/ 206 w 234"/>
                  <a:gd name="T97" fmla="*/ 350 h 376"/>
                  <a:gd name="T98" fmla="*/ 208 w 234"/>
                  <a:gd name="T99" fmla="*/ 350 h 376"/>
                  <a:gd name="T100" fmla="*/ 210 w 234"/>
                  <a:gd name="T101" fmla="*/ 346 h 376"/>
                  <a:gd name="T102" fmla="*/ 210 w 234"/>
                  <a:gd name="T103" fmla="*/ 344 h 376"/>
                  <a:gd name="T104" fmla="*/ 210 w 234"/>
                  <a:gd name="T105" fmla="*/ 32 h 376"/>
                  <a:gd name="T106" fmla="*/ 210 w 234"/>
                  <a:gd name="T107" fmla="*/ 32 h 376"/>
                  <a:gd name="T108" fmla="*/ 210 w 234"/>
                  <a:gd name="T109" fmla="*/ 28 h 376"/>
                  <a:gd name="T110" fmla="*/ 208 w 234"/>
                  <a:gd name="T111" fmla="*/ 26 h 376"/>
                  <a:gd name="T112" fmla="*/ 206 w 234"/>
                  <a:gd name="T113" fmla="*/ 24 h 376"/>
                  <a:gd name="T114" fmla="*/ 202 w 234"/>
                  <a:gd name="T115" fmla="*/ 24 h 376"/>
                  <a:gd name="T116" fmla="*/ 32 w 234"/>
                  <a:gd name="T117" fmla="*/ 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4" h="376">
                    <a:moveTo>
                      <a:pt x="202" y="376"/>
                    </a:moveTo>
                    <a:lnTo>
                      <a:pt x="32" y="376"/>
                    </a:lnTo>
                    <a:lnTo>
                      <a:pt x="32" y="376"/>
                    </a:lnTo>
                    <a:lnTo>
                      <a:pt x="26" y="374"/>
                    </a:lnTo>
                    <a:lnTo>
                      <a:pt x="20" y="372"/>
                    </a:lnTo>
                    <a:lnTo>
                      <a:pt x="10" y="366"/>
                    </a:lnTo>
                    <a:lnTo>
                      <a:pt x="2" y="356"/>
                    </a:lnTo>
                    <a:lnTo>
                      <a:pt x="2" y="350"/>
                    </a:lnTo>
                    <a:lnTo>
                      <a:pt x="0" y="344"/>
                    </a:lnTo>
                    <a:lnTo>
                      <a:pt x="0" y="32"/>
                    </a:lnTo>
                    <a:lnTo>
                      <a:pt x="0" y="32"/>
                    </a:lnTo>
                    <a:lnTo>
                      <a:pt x="2" y="24"/>
                    </a:lnTo>
                    <a:lnTo>
                      <a:pt x="2" y="18"/>
                    </a:lnTo>
                    <a:lnTo>
                      <a:pt x="10" y="8"/>
                    </a:lnTo>
                    <a:lnTo>
                      <a:pt x="20" y="2"/>
                    </a:lnTo>
                    <a:lnTo>
                      <a:pt x="26" y="0"/>
                    </a:lnTo>
                    <a:lnTo>
                      <a:pt x="32" y="0"/>
                    </a:lnTo>
                    <a:lnTo>
                      <a:pt x="202" y="0"/>
                    </a:lnTo>
                    <a:lnTo>
                      <a:pt x="202" y="0"/>
                    </a:lnTo>
                    <a:lnTo>
                      <a:pt x="208" y="0"/>
                    </a:lnTo>
                    <a:lnTo>
                      <a:pt x="214" y="2"/>
                    </a:lnTo>
                    <a:lnTo>
                      <a:pt x="224" y="8"/>
                    </a:lnTo>
                    <a:lnTo>
                      <a:pt x="232" y="18"/>
                    </a:lnTo>
                    <a:lnTo>
                      <a:pt x="234" y="24"/>
                    </a:lnTo>
                    <a:lnTo>
                      <a:pt x="234" y="32"/>
                    </a:lnTo>
                    <a:lnTo>
                      <a:pt x="234" y="344"/>
                    </a:lnTo>
                    <a:lnTo>
                      <a:pt x="234" y="344"/>
                    </a:lnTo>
                    <a:lnTo>
                      <a:pt x="234" y="350"/>
                    </a:lnTo>
                    <a:lnTo>
                      <a:pt x="232" y="356"/>
                    </a:lnTo>
                    <a:lnTo>
                      <a:pt x="224" y="366"/>
                    </a:lnTo>
                    <a:lnTo>
                      <a:pt x="214" y="372"/>
                    </a:lnTo>
                    <a:lnTo>
                      <a:pt x="208" y="374"/>
                    </a:lnTo>
                    <a:lnTo>
                      <a:pt x="202" y="376"/>
                    </a:lnTo>
                    <a:lnTo>
                      <a:pt x="202" y="376"/>
                    </a:lnTo>
                    <a:close/>
                    <a:moveTo>
                      <a:pt x="32" y="24"/>
                    </a:moveTo>
                    <a:lnTo>
                      <a:pt x="32" y="24"/>
                    </a:lnTo>
                    <a:lnTo>
                      <a:pt x="30" y="24"/>
                    </a:lnTo>
                    <a:lnTo>
                      <a:pt x="26" y="26"/>
                    </a:lnTo>
                    <a:lnTo>
                      <a:pt x="26" y="28"/>
                    </a:lnTo>
                    <a:lnTo>
                      <a:pt x="24" y="32"/>
                    </a:lnTo>
                    <a:lnTo>
                      <a:pt x="24" y="344"/>
                    </a:lnTo>
                    <a:lnTo>
                      <a:pt x="24" y="344"/>
                    </a:lnTo>
                    <a:lnTo>
                      <a:pt x="26" y="346"/>
                    </a:lnTo>
                    <a:lnTo>
                      <a:pt x="26" y="350"/>
                    </a:lnTo>
                    <a:lnTo>
                      <a:pt x="30" y="350"/>
                    </a:lnTo>
                    <a:lnTo>
                      <a:pt x="32" y="352"/>
                    </a:lnTo>
                    <a:lnTo>
                      <a:pt x="202" y="352"/>
                    </a:lnTo>
                    <a:lnTo>
                      <a:pt x="202" y="352"/>
                    </a:lnTo>
                    <a:lnTo>
                      <a:pt x="206" y="350"/>
                    </a:lnTo>
                    <a:lnTo>
                      <a:pt x="208" y="350"/>
                    </a:lnTo>
                    <a:lnTo>
                      <a:pt x="210" y="346"/>
                    </a:lnTo>
                    <a:lnTo>
                      <a:pt x="210" y="344"/>
                    </a:lnTo>
                    <a:lnTo>
                      <a:pt x="210" y="32"/>
                    </a:lnTo>
                    <a:lnTo>
                      <a:pt x="210" y="32"/>
                    </a:lnTo>
                    <a:lnTo>
                      <a:pt x="210" y="28"/>
                    </a:lnTo>
                    <a:lnTo>
                      <a:pt x="208" y="26"/>
                    </a:lnTo>
                    <a:lnTo>
                      <a:pt x="206" y="24"/>
                    </a:lnTo>
                    <a:lnTo>
                      <a:pt x="202" y="24"/>
                    </a:lnTo>
                    <a:lnTo>
                      <a:pt x="32" y="24"/>
                    </a:lnTo>
                    <a:close/>
                  </a:path>
                </a:pathLst>
              </a:custGeom>
              <a:solidFill>
                <a:srgbClr val="00BCF2"/>
              </a:solidFill>
              <a:ln w="6350">
                <a:no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28" name="Group 27"/>
          <p:cNvGrpSpPr/>
          <p:nvPr/>
        </p:nvGrpSpPr>
        <p:grpSpPr>
          <a:xfrm>
            <a:off x="1794718" y="2033888"/>
            <a:ext cx="978256" cy="1730170"/>
            <a:chOff x="7768802" y="4042774"/>
            <a:chExt cx="978256" cy="1730170"/>
          </a:xfrm>
          <a:solidFill>
            <a:srgbClr val="00BCF2"/>
          </a:solidFill>
        </p:grpSpPr>
        <p:sp>
          <p:nvSpPr>
            <p:cNvPr id="29" name="Freeform 28"/>
            <p:cNvSpPr>
              <a:spLocks noChangeArrowheads="1"/>
            </p:cNvSpPr>
            <p:nvPr/>
          </p:nvSpPr>
          <p:spPr bwMode="auto">
            <a:xfrm>
              <a:off x="8342246" y="4042774"/>
              <a:ext cx="404812" cy="404814"/>
            </a:xfrm>
            <a:custGeom>
              <a:avLst/>
              <a:gdLst>
                <a:gd name="connsiteX0" fmla="*/ 202407 w 404812"/>
                <a:gd name="connsiteY0" fmla="*/ 77787 h 404814"/>
                <a:gd name="connsiteX1" fmla="*/ 77788 w 404812"/>
                <a:gd name="connsiteY1" fmla="*/ 201612 h 404814"/>
                <a:gd name="connsiteX2" fmla="*/ 202407 w 404812"/>
                <a:gd name="connsiteY2" fmla="*/ 325437 h 404814"/>
                <a:gd name="connsiteX3" fmla="*/ 327026 w 404812"/>
                <a:gd name="connsiteY3" fmla="*/ 201612 h 404814"/>
                <a:gd name="connsiteX4" fmla="*/ 202407 w 404812"/>
                <a:gd name="connsiteY4" fmla="*/ 77787 h 404814"/>
                <a:gd name="connsiteX5" fmla="*/ 202406 w 404812"/>
                <a:gd name="connsiteY5" fmla="*/ 0 h 404814"/>
                <a:gd name="connsiteX6" fmla="*/ 404812 w 404812"/>
                <a:gd name="connsiteY6" fmla="*/ 202407 h 404814"/>
                <a:gd name="connsiteX7" fmla="*/ 202406 w 404812"/>
                <a:gd name="connsiteY7" fmla="*/ 404814 h 404814"/>
                <a:gd name="connsiteX8" fmla="*/ 0 w 404812"/>
                <a:gd name="connsiteY8" fmla="*/ 202407 h 404814"/>
                <a:gd name="connsiteX9" fmla="*/ 202406 w 404812"/>
                <a:gd name="connsiteY9" fmla="*/ 0 h 40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4812" h="404814">
                  <a:moveTo>
                    <a:pt x="202407" y="77787"/>
                  </a:moveTo>
                  <a:cubicBezTo>
                    <a:pt x="133582" y="77787"/>
                    <a:pt x="77788" y="133225"/>
                    <a:pt x="77788" y="201612"/>
                  </a:cubicBezTo>
                  <a:cubicBezTo>
                    <a:pt x="77788" y="269999"/>
                    <a:pt x="133582" y="325437"/>
                    <a:pt x="202407" y="325437"/>
                  </a:cubicBezTo>
                  <a:cubicBezTo>
                    <a:pt x="271232" y="325437"/>
                    <a:pt x="327026" y="269999"/>
                    <a:pt x="327026" y="201612"/>
                  </a:cubicBezTo>
                  <a:cubicBezTo>
                    <a:pt x="327026" y="133225"/>
                    <a:pt x="271232" y="77787"/>
                    <a:pt x="202407" y="77787"/>
                  </a:cubicBezTo>
                  <a:close/>
                  <a:moveTo>
                    <a:pt x="202406" y="0"/>
                  </a:moveTo>
                  <a:cubicBezTo>
                    <a:pt x="314192" y="0"/>
                    <a:pt x="404812" y="90621"/>
                    <a:pt x="404812" y="202407"/>
                  </a:cubicBezTo>
                  <a:cubicBezTo>
                    <a:pt x="404812" y="314193"/>
                    <a:pt x="314192" y="404814"/>
                    <a:pt x="202406" y="404814"/>
                  </a:cubicBezTo>
                  <a:cubicBezTo>
                    <a:pt x="90620" y="404814"/>
                    <a:pt x="0" y="314193"/>
                    <a:pt x="0" y="202407"/>
                  </a:cubicBezTo>
                  <a:cubicBezTo>
                    <a:pt x="0" y="90621"/>
                    <a:pt x="90620" y="0"/>
                    <a:pt x="202406" y="0"/>
                  </a:cubicBezTo>
                  <a:close/>
                </a:path>
              </a:pathLst>
            </a:custGeom>
            <a:solidFill>
              <a:srgbClr val="0078D7"/>
            </a:solidFill>
            <a:ln w="47625">
              <a:solidFill>
                <a:schemeClr val="tx1"/>
              </a:solidFill>
            </a:ln>
          </p:spPr>
          <p:txBody>
            <a:bodyPr vert="horz" wrap="square" lIns="91440" tIns="45720" rIns="91440" bIns="45720" numCol="1" anchor="t" anchorCtr="0" compatLnSpc="1">
              <a:prstTxWarp prst="textNoShape">
                <a:avLst/>
              </a:prstTxWarp>
              <a:noAutofit/>
            </a:bodyPr>
            <a:lstStyle/>
            <a:p>
              <a:endParaRPr lang="en-US"/>
            </a:p>
          </p:txBody>
        </p:sp>
        <p:sp>
          <p:nvSpPr>
            <p:cNvPr id="30" name="Freeform 29"/>
            <p:cNvSpPr>
              <a:spLocks noEditPoints="1"/>
            </p:cNvSpPr>
            <p:nvPr/>
          </p:nvSpPr>
          <p:spPr bwMode="auto">
            <a:xfrm>
              <a:off x="7911240" y="4553951"/>
              <a:ext cx="633412" cy="334963"/>
            </a:xfrm>
            <a:custGeom>
              <a:avLst/>
              <a:gdLst>
                <a:gd name="T0" fmla="*/ 183 w 291"/>
                <a:gd name="T1" fmla="*/ 154 h 154"/>
                <a:gd name="T2" fmla="*/ 89 w 291"/>
                <a:gd name="T3" fmla="*/ 93 h 154"/>
                <a:gd name="T4" fmla="*/ 9 w 291"/>
                <a:gd name="T5" fmla="*/ 34 h 154"/>
                <a:gd name="T6" fmla="*/ 6 w 291"/>
                <a:gd name="T7" fmla="*/ 9 h 154"/>
                <a:gd name="T8" fmla="*/ 31 w 291"/>
                <a:gd name="T9" fmla="*/ 6 h 154"/>
                <a:gd name="T10" fmla="*/ 181 w 291"/>
                <a:gd name="T11" fmla="*/ 114 h 154"/>
                <a:gd name="T12" fmla="*/ 258 w 291"/>
                <a:gd name="T13" fmla="*/ 39 h 154"/>
                <a:gd name="T14" fmla="*/ 284 w 291"/>
                <a:gd name="T15" fmla="*/ 40 h 154"/>
                <a:gd name="T16" fmla="*/ 283 w 291"/>
                <a:gd name="T17" fmla="*/ 65 h 154"/>
                <a:gd name="T18" fmla="*/ 198 w 291"/>
                <a:gd name="T19" fmla="*/ 147 h 154"/>
                <a:gd name="T20" fmla="*/ 187 w 291"/>
                <a:gd name="T21" fmla="*/ 154 h 154"/>
                <a:gd name="T22" fmla="*/ 183 w 291"/>
                <a:gd name="T23" fmla="*/ 154 h 154"/>
                <a:gd name="T24" fmla="*/ 199 w 291"/>
                <a:gd name="T25" fmla="*/ 146 h 154"/>
                <a:gd name="T26" fmla="*/ 198 w 291"/>
                <a:gd name="T27" fmla="*/ 147 h 154"/>
                <a:gd name="T28" fmla="*/ 199 w 291"/>
                <a:gd name="T29" fmla="*/ 146 h 154"/>
                <a:gd name="T30" fmla="*/ 171 w 291"/>
                <a:gd name="T31" fmla="*/ 123 h 154"/>
                <a:gd name="T32" fmla="*/ 169 w 291"/>
                <a:gd name="T33" fmla="*/ 126 h 154"/>
                <a:gd name="T34" fmla="*/ 171 w 291"/>
                <a:gd name="T35" fmla="*/ 12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1" h="154">
                  <a:moveTo>
                    <a:pt x="183" y="154"/>
                  </a:moveTo>
                  <a:cubicBezTo>
                    <a:pt x="175" y="154"/>
                    <a:pt x="163" y="147"/>
                    <a:pt x="89" y="93"/>
                  </a:cubicBezTo>
                  <a:cubicBezTo>
                    <a:pt x="49" y="64"/>
                    <a:pt x="10" y="35"/>
                    <a:pt x="9" y="34"/>
                  </a:cubicBezTo>
                  <a:cubicBezTo>
                    <a:pt x="1" y="29"/>
                    <a:pt x="0" y="17"/>
                    <a:pt x="6" y="9"/>
                  </a:cubicBezTo>
                  <a:cubicBezTo>
                    <a:pt x="11" y="1"/>
                    <a:pt x="23" y="0"/>
                    <a:pt x="31" y="6"/>
                  </a:cubicBezTo>
                  <a:cubicBezTo>
                    <a:pt x="81" y="43"/>
                    <a:pt x="154" y="96"/>
                    <a:pt x="181" y="114"/>
                  </a:cubicBezTo>
                  <a:cubicBezTo>
                    <a:pt x="192" y="103"/>
                    <a:pt x="214" y="81"/>
                    <a:pt x="258" y="39"/>
                  </a:cubicBezTo>
                  <a:cubicBezTo>
                    <a:pt x="265" y="32"/>
                    <a:pt x="277" y="32"/>
                    <a:pt x="284" y="40"/>
                  </a:cubicBezTo>
                  <a:cubicBezTo>
                    <a:pt x="291" y="47"/>
                    <a:pt x="290" y="58"/>
                    <a:pt x="283" y="65"/>
                  </a:cubicBezTo>
                  <a:cubicBezTo>
                    <a:pt x="253" y="94"/>
                    <a:pt x="204" y="141"/>
                    <a:pt x="198" y="147"/>
                  </a:cubicBezTo>
                  <a:cubicBezTo>
                    <a:pt x="195" y="151"/>
                    <a:pt x="191" y="153"/>
                    <a:pt x="187" y="154"/>
                  </a:cubicBezTo>
                  <a:cubicBezTo>
                    <a:pt x="186" y="154"/>
                    <a:pt x="184" y="154"/>
                    <a:pt x="183" y="154"/>
                  </a:cubicBezTo>
                  <a:close/>
                  <a:moveTo>
                    <a:pt x="199" y="146"/>
                  </a:moveTo>
                  <a:cubicBezTo>
                    <a:pt x="199" y="146"/>
                    <a:pt x="198" y="147"/>
                    <a:pt x="198" y="147"/>
                  </a:cubicBezTo>
                  <a:cubicBezTo>
                    <a:pt x="199" y="147"/>
                    <a:pt x="199" y="146"/>
                    <a:pt x="199" y="146"/>
                  </a:cubicBezTo>
                  <a:close/>
                  <a:moveTo>
                    <a:pt x="171" y="123"/>
                  </a:moveTo>
                  <a:cubicBezTo>
                    <a:pt x="171" y="124"/>
                    <a:pt x="170" y="125"/>
                    <a:pt x="169" y="126"/>
                  </a:cubicBezTo>
                  <a:cubicBezTo>
                    <a:pt x="170" y="125"/>
                    <a:pt x="170" y="124"/>
                    <a:pt x="171" y="123"/>
                  </a:cubicBezTo>
                  <a:close/>
                </a:path>
              </a:pathLst>
            </a:custGeom>
            <a:solidFill>
              <a:srgbClr val="0078D7"/>
            </a:solidFill>
            <a:ln w="47625">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p:nvSpPr>
          <p:spPr bwMode="auto">
            <a:xfrm>
              <a:off x="8368440" y="4447588"/>
              <a:ext cx="357187" cy="757238"/>
            </a:xfrm>
            <a:custGeom>
              <a:avLst/>
              <a:gdLst>
                <a:gd name="T0" fmla="*/ 82 w 164"/>
                <a:gd name="T1" fmla="*/ 348 h 348"/>
                <a:gd name="T2" fmla="*/ 61 w 164"/>
                <a:gd name="T3" fmla="*/ 346 h 348"/>
                <a:gd name="T4" fmla="*/ 48 w 164"/>
                <a:gd name="T5" fmla="*/ 324 h 348"/>
                <a:gd name="T6" fmla="*/ 70 w 164"/>
                <a:gd name="T7" fmla="*/ 311 h 348"/>
                <a:gd name="T8" fmla="*/ 82 w 164"/>
                <a:gd name="T9" fmla="*/ 312 h 348"/>
                <a:gd name="T10" fmla="*/ 128 w 164"/>
                <a:gd name="T11" fmla="*/ 266 h 348"/>
                <a:gd name="T12" fmla="*/ 128 w 164"/>
                <a:gd name="T13" fmla="*/ 82 h 348"/>
                <a:gd name="T14" fmla="*/ 82 w 164"/>
                <a:gd name="T15" fmla="*/ 36 h 348"/>
                <a:gd name="T16" fmla="*/ 36 w 164"/>
                <a:gd name="T17" fmla="*/ 82 h 348"/>
                <a:gd name="T18" fmla="*/ 18 w 164"/>
                <a:gd name="T19" fmla="*/ 100 h 348"/>
                <a:gd name="T20" fmla="*/ 0 w 164"/>
                <a:gd name="T21" fmla="*/ 82 h 348"/>
                <a:gd name="T22" fmla="*/ 82 w 164"/>
                <a:gd name="T23" fmla="*/ 0 h 348"/>
                <a:gd name="T24" fmla="*/ 164 w 164"/>
                <a:gd name="T25" fmla="*/ 82 h 348"/>
                <a:gd name="T26" fmla="*/ 164 w 164"/>
                <a:gd name="T27" fmla="*/ 266 h 348"/>
                <a:gd name="T28" fmla="*/ 82 w 164"/>
                <a:gd name="T29"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348">
                  <a:moveTo>
                    <a:pt x="82" y="348"/>
                  </a:moveTo>
                  <a:cubicBezTo>
                    <a:pt x="75" y="348"/>
                    <a:pt x="68" y="347"/>
                    <a:pt x="61" y="346"/>
                  </a:cubicBezTo>
                  <a:cubicBezTo>
                    <a:pt x="51" y="343"/>
                    <a:pt x="45" y="333"/>
                    <a:pt x="48" y="324"/>
                  </a:cubicBezTo>
                  <a:cubicBezTo>
                    <a:pt x="51" y="314"/>
                    <a:pt x="60" y="308"/>
                    <a:pt x="70" y="311"/>
                  </a:cubicBezTo>
                  <a:cubicBezTo>
                    <a:pt x="74" y="312"/>
                    <a:pt x="78" y="312"/>
                    <a:pt x="82" y="312"/>
                  </a:cubicBezTo>
                  <a:cubicBezTo>
                    <a:pt x="107" y="312"/>
                    <a:pt x="128" y="292"/>
                    <a:pt x="128" y="266"/>
                  </a:cubicBezTo>
                  <a:cubicBezTo>
                    <a:pt x="128" y="82"/>
                    <a:pt x="128" y="82"/>
                    <a:pt x="128" y="82"/>
                  </a:cubicBezTo>
                  <a:cubicBezTo>
                    <a:pt x="128" y="57"/>
                    <a:pt x="107" y="36"/>
                    <a:pt x="82" y="36"/>
                  </a:cubicBezTo>
                  <a:cubicBezTo>
                    <a:pt x="57" y="36"/>
                    <a:pt x="36" y="57"/>
                    <a:pt x="36" y="82"/>
                  </a:cubicBezTo>
                  <a:cubicBezTo>
                    <a:pt x="36" y="92"/>
                    <a:pt x="28" y="100"/>
                    <a:pt x="18" y="100"/>
                  </a:cubicBezTo>
                  <a:cubicBezTo>
                    <a:pt x="8" y="100"/>
                    <a:pt x="0" y="92"/>
                    <a:pt x="0" y="82"/>
                  </a:cubicBezTo>
                  <a:cubicBezTo>
                    <a:pt x="0" y="37"/>
                    <a:pt x="37" y="0"/>
                    <a:pt x="82" y="0"/>
                  </a:cubicBezTo>
                  <a:cubicBezTo>
                    <a:pt x="127" y="0"/>
                    <a:pt x="164" y="37"/>
                    <a:pt x="164" y="82"/>
                  </a:cubicBezTo>
                  <a:cubicBezTo>
                    <a:pt x="164" y="266"/>
                    <a:pt x="164" y="266"/>
                    <a:pt x="164" y="266"/>
                  </a:cubicBezTo>
                  <a:cubicBezTo>
                    <a:pt x="164" y="312"/>
                    <a:pt x="127" y="348"/>
                    <a:pt x="82" y="348"/>
                  </a:cubicBezTo>
                  <a:close/>
                </a:path>
              </a:pathLst>
            </a:custGeom>
            <a:solidFill>
              <a:srgbClr val="0078D7"/>
            </a:solidFill>
            <a:ln w="47625">
              <a:solidFill>
                <a:schemeClr val="tx1"/>
              </a:solidFill>
            </a:ln>
          </p:spPr>
          <p:txBody>
            <a:bodyPr vert="horz" wrap="square" lIns="91440" tIns="45720" rIns="91440" bIns="45720" numCol="1" anchor="t" anchorCtr="0" compatLnSpc="1">
              <a:prstTxWarp prst="textNoShape">
                <a:avLst/>
              </a:prstTxWarp>
            </a:bodyPr>
            <a:lstStyle/>
            <a:p>
              <a:endParaRPr lang="en-US"/>
            </a:p>
          </p:txBody>
        </p:sp>
        <p:cxnSp>
          <p:nvCxnSpPr>
            <p:cNvPr id="32" name="Straight Connector 31"/>
            <p:cNvCxnSpPr/>
            <p:nvPr/>
          </p:nvCxnSpPr>
          <p:spPr>
            <a:xfrm flipH="1">
              <a:off x="8418940" y="4852402"/>
              <a:ext cx="11186" cy="920542"/>
            </a:xfrm>
            <a:prstGeom prst="line">
              <a:avLst/>
            </a:prstGeom>
            <a:grpFill/>
            <a:ln w="2857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8611357" y="5148099"/>
              <a:ext cx="7056" cy="624845"/>
            </a:xfrm>
            <a:prstGeom prst="line">
              <a:avLst/>
            </a:prstGeom>
            <a:grpFill/>
            <a:ln w="2857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7768802" y="4185293"/>
              <a:ext cx="229896" cy="369406"/>
              <a:chOff x="8945393" y="5397566"/>
              <a:chExt cx="449432" cy="722166"/>
            </a:xfrm>
            <a:grpFill/>
          </p:grpSpPr>
          <p:sp>
            <p:nvSpPr>
              <p:cNvPr id="35" name="Rectangle 195"/>
              <p:cNvSpPr>
                <a:spLocks noChangeArrowheads="1"/>
              </p:cNvSpPr>
              <p:nvPr/>
            </p:nvSpPr>
            <p:spPr bwMode="auto">
              <a:xfrm>
                <a:off x="8968436" y="5935350"/>
                <a:ext cx="403336" cy="46096"/>
              </a:xfrm>
              <a:prstGeom prst="rect">
                <a:avLst/>
              </a:prstGeom>
              <a:grpFill/>
              <a:ln w="6350">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6" name="Freeform 196"/>
              <p:cNvSpPr>
                <a:spLocks/>
              </p:cNvSpPr>
              <p:nvPr/>
            </p:nvSpPr>
            <p:spPr bwMode="auto">
              <a:xfrm>
                <a:off x="9106723" y="6004494"/>
                <a:ext cx="126763" cy="46096"/>
              </a:xfrm>
              <a:custGeom>
                <a:avLst/>
                <a:gdLst>
                  <a:gd name="T0" fmla="*/ 54 w 66"/>
                  <a:gd name="T1" fmla="*/ 24 h 24"/>
                  <a:gd name="T2" fmla="*/ 12 w 66"/>
                  <a:gd name="T3" fmla="*/ 24 h 24"/>
                  <a:gd name="T4" fmla="*/ 12 w 66"/>
                  <a:gd name="T5" fmla="*/ 24 h 24"/>
                  <a:gd name="T6" fmla="*/ 8 w 66"/>
                  <a:gd name="T7" fmla="*/ 24 h 24"/>
                  <a:gd name="T8" fmla="*/ 4 w 66"/>
                  <a:gd name="T9" fmla="*/ 22 h 24"/>
                  <a:gd name="T10" fmla="*/ 2 w 66"/>
                  <a:gd name="T11" fmla="*/ 18 h 24"/>
                  <a:gd name="T12" fmla="*/ 0 w 66"/>
                  <a:gd name="T13" fmla="*/ 12 h 24"/>
                  <a:gd name="T14" fmla="*/ 0 w 66"/>
                  <a:gd name="T15" fmla="*/ 12 h 24"/>
                  <a:gd name="T16" fmla="*/ 2 w 66"/>
                  <a:gd name="T17" fmla="*/ 8 h 24"/>
                  <a:gd name="T18" fmla="*/ 4 w 66"/>
                  <a:gd name="T19" fmla="*/ 4 h 24"/>
                  <a:gd name="T20" fmla="*/ 8 w 66"/>
                  <a:gd name="T21" fmla="*/ 2 h 24"/>
                  <a:gd name="T22" fmla="*/ 12 w 66"/>
                  <a:gd name="T23" fmla="*/ 0 h 24"/>
                  <a:gd name="T24" fmla="*/ 54 w 66"/>
                  <a:gd name="T25" fmla="*/ 0 h 24"/>
                  <a:gd name="T26" fmla="*/ 54 w 66"/>
                  <a:gd name="T27" fmla="*/ 0 h 24"/>
                  <a:gd name="T28" fmla="*/ 58 w 66"/>
                  <a:gd name="T29" fmla="*/ 2 h 24"/>
                  <a:gd name="T30" fmla="*/ 62 w 66"/>
                  <a:gd name="T31" fmla="*/ 4 h 24"/>
                  <a:gd name="T32" fmla="*/ 66 w 66"/>
                  <a:gd name="T33" fmla="*/ 8 h 24"/>
                  <a:gd name="T34" fmla="*/ 66 w 66"/>
                  <a:gd name="T35" fmla="*/ 12 h 24"/>
                  <a:gd name="T36" fmla="*/ 66 w 66"/>
                  <a:gd name="T37" fmla="*/ 12 h 24"/>
                  <a:gd name="T38" fmla="*/ 66 w 66"/>
                  <a:gd name="T39" fmla="*/ 18 h 24"/>
                  <a:gd name="T40" fmla="*/ 62 w 66"/>
                  <a:gd name="T41" fmla="*/ 22 h 24"/>
                  <a:gd name="T42" fmla="*/ 58 w 66"/>
                  <a:gd name="T43" fmla="*/ 24 h 24"/>
                  <a:gd name="T44" fmla="*/ 54 w 66"/>
                  <a:gd name="T45" fmla="*/ 24 h 24"/>
                  <a:gd name="T46" fmla="*/ 54 w 66"/>
                  <a:gd name="T4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6" h="24">
                    <a:moveTo>
                      <a:pt x="54" y="24"/>
                    </a:moveTo>
                    <a:lnTo>
                      <a:pt x="12" y="24"/>
                    </a:lnTo>
                    <a:lnTo>
                      <a:pt x="12" y="24"/>
                    </a:lnTo>
                    <a:lnTo>
                      <a:pt x="8" y="24"/>
                    </a:lnTo>
                    <a:lnTo>
                      <a:pt x="4" y="22"/>
                    </a:lnTo>
                    <a:lnTo>
                      <a:pt x="2" y="18"/>
                    </a:lnTo>
                    <a:lnTo>
                      <a:pt x="0" y="12"/>
                    </a:lnTo>
                    <a:lnTo>
                      <a:pt x="0" y="12"/>
                    </a:lnTo>
                    <a:lnTo>
                      <a:pt x="2" y="8"/>
                    </a:lnTo>
                    <a:lnTo>
                      <a:pt x="4" y="4"/>
                    </a:lnTo>
                    <a:lnTo>
                      <a:pt x="8" y="2"/>
                    </a:lnTo>
                    <a:lnTo>
                      <a:pt x="12" y="0"/>
                    </a:lnTo>
                    <a:lnTo>
                      <a:pt x="54" y="0"/>
                    </a:lnTo>
                    <a:lnTo>
                      <a:pt x="54" y="0"/>
                    </a:lnTo>
                    <a:lnTo>
                      <a:pt x="58" y="2"/>
                    </a:lnTo>
                    <a:lnTo>
                      <a:pt x="62" y="4"/>
                    </a:lnTo>
                    <a:lnTo>
                      <a:pt x="66" y="8"/>
                    </a:lnTo>
                    <a:lnTo>
                      <a:pt x="66" y="12"/>
                    </a:lnTo>
                    <a:lnTo>
                      <a:pt x="66" y="12"/>
                    </a:lnTo>
                    <a:lnTo>
                      <a:pt x="66" y="18"/>
                    </a:lnTo>
                    <a:lnTo>
                      <a:pt x="62" y="22"/>
                    </a:lnTo>
                    <a:lnTo>
                      <a:pt x="58" y="24"/>
                    </a:lnTo>
                    <a:lnTo>
                      <a:pt x="54" y="24"/>
                    </a:lnTo>
                    <a:lnTo>
                      <a:pt x="54" y="24"/>
                    </a:lnTo>
                    <a:close/>
                  </a:path>
                </a:pathLst>
              </a:custGeom>
              <a:grpFill/>
              <a:ln w="6350">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7" name="Freeform 199"/>
              <p:cNvSpPr>
                <a:spLocks noEditPoints="1"/>
              </p:cNvSpPr>
              <p:nvPr/>
            </p:nvSpPr>
            <p:spPr bwMode="auto">
              <a:xfrm>
                <a:off x="8945393" y="5397566"/>
                <a:ext cx="449432" cy="722166"/>
              </a:xfrm>
              <a:custGeom>
                <a:avLst/>
                <a:gdLst>
                  <a:gd name="T0" fmla="*/ 202 w 234"/>
                  <a:gd name="T1" fmla="*/ 376 h 376"/>
                  <a:gd name="T2" fmla="*/ 32 w 234"/>
                  <a:gd name="T3" fmla="*/ 376 h 376"/>
                  <a:gd name="T4" fmla="*/ 32 w 234"/>
                  <a:gd name="T5" fmla="*/ 376 h 376"/>
                  <a:gd name="T6" fmla="*/ 26 w 234"/>
                  <a:gd name="T7" fmla="*/ 374 h 376"/>
                  <a:gd name="T8" fmla="*/ 20 w 234"/>
                  <a:gd name="T9" fmla="*/ 372 h 376"/>
                  <a:gd name="T10" fmla="*/ 10 w 234"/>
                  <a:gd name="T11" fmla="*/ 366 h 376"/>
                  <a:gd name="T12" fmla="*/ 2 w 234"/>
                  <a:gd name="T13" fmla="*/ 356 h 376"/>
                  <a:gd name="T14" fmla="*/ 2 w 234"/>
                  <a:gd name="T15" fmla="*/ 350 h 376"/>
                  <a:gd name="T16" fmla="*/ 0 w 234"/>
                  <a:gd name="T17" fmla="*/ 344 h 376"/>
                  <a:gd name="T18" fmla="*/ 0 w 234"/>
                  <a:gd name="T19" fmla="*/ 32 h 376"/>
                  <a:gd name="T20" fmla="*/ 0 w 234"/>
                  <a:gd name="T21" fmla="*/ 32 h 376"/>
                  <a:gd name="T22" fmla="*/ 2 w 234"/>
                  <a:gd name="T23" fmla="*/ 24 h 376"/>
                  <a:gd name="T24" fmla="*/ 2 w 234"/>
                  <a:gd name="T25" fmla="*/ 18 h 376"/>
                  <a:gd name="T26" fmla="*/ 10 w 234"/>
                  <a:gd name="T27" fmla="*/ 8 h 376"/>
                  <a:gd name="T28" fmla="*/ 20 w 234"/>
                  <a:gd name="T29" fmla="*/ 2 h 376"/>
                  <a:gd name="T30" fmla="*/ 26 w 234"/>
                  <a:gd name="T31" fmla="*/ 0 h 376"/>
                  <a:gd name="T32" fmla="*/ 32 w 234"/>
                  <a:gd name="T33" fmla="*/ 0 h 376"/>
                  <a:gd name="T34" fmla="*/ 202 w 234"/>
                  <a:gd name="T35" fmla="*/ 0 h 376"/>
                  <a:gd name="T36" fmla="*/ 202 w 234"/>
                  <a:gd name="T37" fmla="*/ 0 h 376"/>
                  <a:gd name="T38" fmla="*/ 208 w 234"/>
                  <a:gd name="T39" fmla="*/ 0 h 376"/>
                  <a:gd name="T40" fmla="*/ 214 w 234"/>
                  <a:gd name="T41" fmla="*/ 2 h 376"/>
                  <a:gd name="T42" fmla="*/ 224 w 234"/>
                  <a:gd name="T43" fmla="*/ 8 h 376"/>
                  <a:gd name="T44" fmla="*/ 232 w 234"/>
                  <a:gd name="T45" fmla="*/ 18 h 376"/>
                  <a:gd name="T46" fmla="*/ 234 w 234"/>
                  <a:gd name="T47" fmla="*/ 24 h 376"/>
                  <a:gd name="T48" fmla="*/ 234 w 234"/>
                  <a:gd name="T49" fmla="*/ 32 h 376"/>
                  <a:gd name="T50" fmla="*/ 234 w 234"/>
                  <a:gd name="T51" fmla="*/ 344 h 376"/>
                  <a:gd name="T52" fmla="*/ 234 w 234"/>
                  <a:gd name="T53" fmla="*/ 344 h 376"/>
                  <a:gd name="T54" fmla="*/ 234 w 234"/>
                  <a:gd name="T55" fmla="*/ 350 h 376"/>
                  <a:gd name="T56" fmla="*/ 232 w 234"/>
                  <a:gd name="T57" fmla="*/ 356 h 376"/>
                  <a:gd name="T58" fmla="*/ 224 w 234"/>
                  <a:gd name="T59" fmla="*/ 366 h 376"/>
                  <a:gd name="T60" fmla="*/ 214 w 234"/>
                  <a:gd name="T61" fmla="*/ 372 h 376"/>
                  <a:gd name="T62" fmla="*/ 208 w 234"/>
                  <a:gd name="T63" fmla="*/ 374 h 376"/>
                  <a:gd name="T64" fmla="*/ 202 w 234"/>
                  <a:gd name="T65" fmla="*/ 376 h 376"/>
                  <a:gd name="T66" fmla="*/ 202 w 234"/>
                  <a:gd name="T67" fmla="*/ 376 h 376"/>
                  <a:gd name="T68" fmla="*/ 32 w 234"/>
                  <a:gd name="T69" fmla="*/ 24 h 376"/>
                  <a:gd name="T70" fmla="*/ 32 w 234"/>
                  <a:gd name="T71" fmla="*/ 24 h 376"/>
                  <a:gd name="T72" fmla="*/ 30 w 234"/>
                  <a:gd name="T73" fmla="*/ 24 h 376"/>
                  <a:gd name="T74" fmla="*/ 26 w 234"/>
                  <a:gd name="T75" fmla="*/ 26 h 376"/>
                  <a:gd name="T76" fmla="*/ 26 w 234"/>
                  <a:gd name="T77" fmla="*/ 28 h 376"/>
                  <a:gd name="T78" fmla="*/ 24 w 234"/>
                  <a:gd name="T79" fmla="*/ 32 h 376"/>
                  <a:gd name="T80" fmla="*/ 24 w 234"/>
                  <a:gd name="T81" fmla="*/ 344 h 376"/>
                  <a:gd name="T82" fmla="*/ 24 w 234"/>
                  <a:gd name="T83" fmla="*/ 344 h 376"/>
                  <a:gd name="T84" fmla="*/ 26 w 234"/>
                  <a:gd name="T85" fmla="*/ 346 h 376"/>
                  <a:gd name="T86" fmla="*/ 26 w 234"/>
                  <a:gd name="T87" fmla="*/ 350 h 376"/>
                  <a:gd name="T88" fmla="*/ 30 w 234"/>
                  <a:gd name="T89" fmla="*/ 350 h 376"/>
                  <a:gd name="T90" fmla="*/ 32 w 234"/>
                  <a:gd name="T91" fmla="*/ 352 h 376"/>
                  <a:gd name="T92" fmla="*/ 202 w 234"/>
                  <a:gd name="T93" fmla="*/ 352 h 376"/>
                  <a:gd name="T94" fmla="*/ 202 w 234"/>
                  <a:gd name="T95" fmla="*/ 352 h 376"/>
                  <a:gd name="T96" fmla="*/ 206 w 234"/>
                  <a:gd name="T97" fmla="*/ 350 h 376"/>
                  <a:gd name="T98" fmla="*/ 208 w 234"/>
                  <a:gd name="T99" fmla="*/ 350 h 376"/>
                  <a:gd name="T100" fmla="*/ 210 w 234"/>
                  <a:gd name="T101" fmla="*/ 346 h 376"/>
                  <a:gd name="T102" fmla="*/ 210 w 234"/>
                  <a:gd name="T103" fmla="*/ 344 h 376"/>
                  <a:gd name="T104" fmla="*/ 210 w 234"/>
                  <a:gd name="T105" fmla="*/ 32 h 376"/>
                  <a:gd name="T106" fmla="*/ 210 w 234"/>
                  <a:gd name="T107" fmla="*/ 32 h 376"/>
                  <a:gd name="T108" fmla="*/ 210 w 234"/>
                  <a:gd name="T109" fmla="*/ 28 h 376"/>
                  <a:gd name="T110" fmla="*/ 208 w 234"/>
                  <a:gd name="T111" fmla="*/ 26 h 376"/>
                  <a:gd name="T112" fmla="*/ 206 w 234"/>
                  <a:gd name="T113" fmla="*/ 24 h 376"/>
                  <a:gd name="T114" fmla="*/ 202 w 234"/>
                  <a:gd name="T115" fmla="*/ 24 h 376"/>
                  <a:gd name="T116" fmla="*/ 32 w 234"/>
                  <a:gd name="T117" fmla="*/ 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4" h="376">
                    <a:moveTo>
                      <a:pt x="202" y="376"/>
                    </a:moveTo>
                    <a:lnTo>
                      <a:pt x="32" y="376"/>
                    </a:lnTo>
                    <a:lnTo>
                      <a:pt x="32" y="376"/>
                    </a:lnTo>
                    <a:lnTo>
                      <a:pt x="26" y="374"/>
                    </a:lnTo>
                    <a:lnTo>
                      <a:pt x="20" y="372"/>
                    </a:lnTo>
                    <a:lnTo>
                      <a:pt x="10" y="366"/>
                    </a:lnTo>
                    <a:lnTo>
                      <a:pt x="2" y="356"/>
                    </a:lnTo>
                    <a:lnTo>
                      <a:pt x="2" y="350"/>
                    </a:lnTo>
                    <a:lnTo>
                      <a:pt x="0" y="344"/>
                    </a:lnTo>
                    <a:lnTo>
                      <a:pt x="0" y="32"/>
                    </a:lnTo>
                    <a:lnTo>
                      <a:pt x="0" y="32"/>
                    </a:lnTo>
                    <a:lnTo>
                      <a:pt x="2" y="24"/>
                    </a:lnTo>
                    <a:lnTo>
                      <a:pt x="2" y="18"/>
                    </a:lnTo>
                    <a:lnTo>
                      <a:pt x="10" y="8"/>
                    </a:lnTo>
                    <a:lnTo>
                      <a:pt x="20" y="2"/>
                    </a:lnTo>
                    <a:lnTo>
                      <a:pt x="26" y="0"/>
                    </a:lnTo>
                    <a:lnTo>
                      <a:pt x="32" y="0"/>
                    </a:lnTo>
                    <a:lnTo>
                      <a:pt x="202" y="0"/>
                    </a:lnTo>
                    <a:lnTo>
                      <a:pt x="202" y="0"/>
                    </a:lnTo>
                    <a:lnTo>
                      <a:pt x="208" y="0"/>
                    </a:lnTo>
                    <a:lnTo>
                      <a:pt x="214" y="2"/>
                    </a:lnTo>
                    <a:lnTo>
                      <a:pt x="224" y="8"/>
                    </a:lnTo>
                    <a:lnTo>
                      <a:pt x="232" y="18"/>
                    </a:lnTo>
                    <a:lnTo>
                      <a:pt x="234" y="24"/>
                    </a:lnTo>
                    <a:lnTo>
                      <a:pt x="234" y="32"/>
                    </a:lnTo>
                    <a:lnTo>
                      <a:pt x="234" y="344"/>
                    </a:lnTo>
                    <a:lnTo>
                      <a:pt x="234" y="344"/>
                    </a:lnTo>
                    <a:lnTo>
                      <a:pt x="234" y="350"/>
                    </a:lnTo>
                    <a:lnTo>
                      <a:pt x="232" y="356"/>
                    </a:lnTo>
                    <a:lnTo>
                      <a:pt x="224" y="366"/>
                    </a:lnTo>
                    <a:lnTo>
                      <a:pt x="214" y="372"/>
                    </a:lnTo>
                    <a:lnTo>
                      <a:pt x="208" y="374"/>
                    </a:lnTo>
                    <a:lnTo>
                      <a:pt x="202" y="376"/>
                    </a:lnTo>
                    <a:lnTo>
                      <a:pt x="202" y="376"/>
                    </a:lnTo>
                    <a:close/>
                    <a:moveTo>
                      <a:pt x="32" y="24"/>
                    </a:moveTo>
                    <a:lnTo>
                      <a:pt x="32" y="24"/>
                    </a:lnTo>
                    <a:lnTo>
                      <a:pt x="30" y="24"/>
                    </a:lnTo>
                    <a:lnTo>
                      <a:pt x="26" y="26"/>
                    </a:lnTo>
                    <a:lnTo>
                      <a:pt x="26" y="28"/>
                    </a:lnTo>
                    <a:lnTo>
                      <a:pt x="24" y="32"/>
                    </a:lnTo>
                    <a:lnTo>
                      <a:pt x="24" y="344"/>
                    </a:lnTo>
                    <a:lnTo>
                      <a:pt x="24" y="344"/>
                    </a:lnTo>
                    <a:lnTo>
                      <a:pt x="26" y="346"/>
                    </a:lnTo>
                    <a:lnTo>
                      <a:pt x="26" y="350"/>
                    </a:lnTo>
                    <a:lnTo>
                      <a:pt x="30" y="350"/>
                    </a:lnTo>
                    <a:lnTo>
                      <a:pt x="32" y="352"/>
                    </a:lnTo>
                    <a:lnTo>
                      <a:pt x="202" y="352"/>
                    </a:lnTo>
                    <a:lnTo>
                      <a:pt x="202" y="352"/>
                    </a:lnTo>
                    <a:lnTo>
                      <a:pt x="206" y="350"/>
                    </a:lnTo>
                    <a:lnTo>
                      <a:pt x="208" y="350"/>
                    </a:lnTo>
                    <a:lnTo>
                      <a:pt x="210" y="346"/>
                    </a:lnTo>
                    <a:lnTo>
                      <a:pt x="210" y="344"/>
                    </a:lnTo>
                    <a:lnTo>
                      <a:pt x="210" y="32"/>
                    </a:lnTo>
                    <a:lnTo>
                      <a:pt x="210" y="32"/>
                    </a:lnTo>
                    <a:lnTo>
                      <a:pt x="210" y="28"/>
                    </a:lnTo>
                    <a:lnTo>
                      <a:pt x="208" y="26"/>
                    </a:lnTo>
                    <a:lnTo>
                      <a:pt x="206" y="24"/>
                    </a:lnTo>
                    <a:lnTo>
                      <a:pt x="202" y="24"/>
                    </a:lnTo>
                    <a:lnTo>
                      <a:pt x="32" y="24"/>
                    </a:lnTo>
                    <a:close/>
                  </a:path>
                </a:pathLst>
              </a:custGeom>
              <a:grpFill/>
              <a:ln w="6350">
                <a:no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4" name="Group 3"/>
          <p:cNvGrpSpPr/>
          <p:nvPr/>
        </p:nvGrpSpPr>
        <p:grpSpPr>
          <a:xfrm>
            <a:off x="8311271" y="1646827"/>
            <a:ext cx="3048118" cy="2240865"/>
            <a:chOff x="8440925" y="1660675"/>
            <a:chExt cx="3048118" cy="2240865"/>
          </a:xfrm>
        </p:grpSpPr>
        <p:grpSp>
          <p:nvGrpSpPr>
            <p:cNvPr id="38" name="Group 37"/>
            <p:cNvGrpSpPr/>
            <p:nvPr/>
          </p:nvGrpSpPr>
          <p:grpSpPr>
            <a:xfrm>
              <a:off x="8835660" y="2102855"/>
              <a:ext cx="2277003" cy="1478738"/>
              <a:chOff x="9996890" y="2238586"/>
              <a:chExt cx="1385926" cy="900052"/>
            </a:xfrm>
          </p:grpSpPr>
          <p:sp>
            <p:nvSpPr>
              <p:cNvPr id="39" name="Line 19"/>
              <p:cNvSpPr>
                <a:spLocks noChangeShapeType="1"/>
              </p:cNvSpPr>
              <p:nvPr/>
            </p:nvSpPr>
            <p:spPr bwMode="auto">
              <a:xfrm flipV="1">
                <a:off x="10148547" y="2404029"/>
                <a:ext cx="249019" cy="31205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2"/>
              <p:cNvSpPr>
                <a:spLocks noChangeShapeType="1"/>
              </p:cNvSpPr>
              <p:nvPr/>
            </p:nvSpPr>
            <p:spPr bwMode="auto">
              <a:xfrm>
                <a:off x="10505871" y="2404031"/>
                <a:ext cx="350073" cy="570544"/>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Oval 16"/>
              <p:cNvSpPr>
                <a:spLocks noChangeArrowheads="1"/>
              </p:cNvSpPr>
              <p:nvPr/>
            </p:nvSpPr>
            <p:spPr bwMode="auto">
              <a:xfrm>
                <a:off x="10368224" y="2238586"/>
                <a:ext cx="182880" cy="182880"/>
              </a:xfrm>
              <a:prstGeom prst="ellipse">
                <a:avLst/>
              </a:pr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Oval 18"/>
              <p:cNvSpPr>
                <a:spLocks noChangeArrowheads="1"/>
              </p:cNvSpPr>
              <p:nvPr/>
            </p:nvSpPr>
            <p:spPr bwMode="auto">
              <a:xfrm>
                <a:off x="9996890" y="2697453"/>
                <a:ext cx="182880" cy="182880"/>
              </a:xfrm>
              <a:prstGeom prst="ellipse">
                <a:avLst/>
              </a:pr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19"/>
              <p:cNvSpPr>
                <a:spLocks noChangeShapeType="1"/>
              </p:cNvSpPr>
              <p:nvPr/>
            </p:nvSpPr>
            <p:spPr bwMode="auto">
              <a:xfrm flipV="1">
                <a:off x="10990642" y="2689303"/>
                <a:ext cx="249019" cy="31205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Oval 15"/>
              <p:cNvSpPr>
                <a:spLocks noChangeArrowheads="1"/>
              </p:cNvSpPr>
              <p:nvPr/>
            </p:nvSpPr>
            <p:spPr bwMode="auto">
              <a:xfrm>
                <a:off x="11199936" y="2531323"/>
                <a:ext cx="182880" cy="182880"/>
              </a:xfrm>
              <a:prstGeom prst="ellipse">
                <a:avLst/>
              </a:pr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Oval 17"/>
              <p:cNvSpPr>
                <a:spLocks noChangeArrowheads="1"/>
              </p:cNvSpPr>
              <p:nvPr/>
            </p:nvSpPr>
            <p:spPr bwMode="auto">
              <a:xfrm>
                <a:off x="10823882" y="2955758"/>
                <a:ext cx="182880" cy="182880"/>
              </a:xfrm>
              <a:prstGeom prst="ellipse">
                <a:avLst/>
              </a:prstGeom>
              <a:noFill/>
              <a:ln w="2857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44" name="Group 43"/>
            <p:cNvGrpSpPr/>
            <p:nvPr/>
          </p:nvGrpSpPr>
          <p:grpSpPr>
            <a:xfrm flipH="1">
              <a:off x="8440925" y="2753794"/>
              <a:ext cx="799924" cy="798830"/>
              <a:chOff x="-4043602" y="-1279237"/>
              <a:chExt cx="1162052" cy="1160462"/>
            </a:xfrm>
          </p:grpSpPr>
          <p:sp>
            <p:nvSpPr>
              <p:cNvPr id="45" name="Oval 7"/>
              <p:cNvSpPr>
                <a:spLocks noChangeArrowheads="1"/>
              </p:cNvSpPr>
              <p:nvPr/>
            </p:nvSpPr>
            <p:spPr bwMode="auto">
              <a:xfrm>
                <a:off x="-4043602" y="-1279237"/>
                <a:ext cx="744538" cy="755650"/>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8"/>
              <p:cNvSpPr>
                <a:spLocks noChangeShapeType="1"/>
              </p:cNvSpPr>
              <p:nvPr/>
            </p:nvSpPr>
            <p:spPr bwMode="auto">
              <a:xfrm>
                <a:off x="-3411778" y="-636300"/>
                <a:ext cx="112713" cy="11271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Freeform 9"/>
              <p:cNvSpPr>
                <a:spLocks/>
              </p:cNvSpPr>
              <p:nvPr/>
            </p:nvSpPr>
            <p:spPr bwMode="auto">
              <a:xfrm>
                <a:off x="-3356215" y="-580738"/>
                <a:ext cx="474665"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19050"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p:cNvGrpSpPr/>
            <p:nvPr/>
          </p:nvGrpSpPr>
          <p:grpSpPr>
            <a:xfrm>
              <a:off x="11113531" y="2161761"/>
              <a:ext cx="375512" cy="465984"/>
              <a:chOff x="7724959" y="3932191"/>
              <a:chExt cx="375512" cy="465984"/>
            </a:xfrm>
          </p:grpSpPr>
          <p:sp>
            <p:nvSpPr>
              <p:cNvPr id="53" name="Freeform 52"/>
              <p:cNvSpPr>
                <a:spLocks/>
              </p:cNvSpPr>
              <p:nvPr/>
            </p:nvSpPr>
            <p:spPr bwMode="auto">
              <a:xfrm>
                <a:off x="7724959" y="4010368"/>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p:nvSpPr>
            <p:spPr bwMode="auto">
              <a:xfrm>
                <a:off x="7724959" y="3932191"/>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55" name="Group 54"/>
            <p:cNvGrpSpPr/>
            <p:nvPr/>
          </p:nvGrpSpPr>
          <p:grpSpPr>
            <a:xfrm>
              <a:off x="9738283" y="1660675"/>
              <a:ext cx="375512" cy="465984"/>
              <a:chOff x="7724959" y="3932191"/>
              <a:chExt cx="375512" cy="465984"/>
            </a:xfrm>
          </p:grpSpPr>
          <p:sp>
            <p:nvSpPr>
              <p:cNvPr id="56" name="Freeform 55"/>
              <p:cNvSpPr>
                <a:spLocks/>
              </p:cNvSpPr>
              <p:nvPr/>
            </p:nvSpPr>
            <p:spPr bwMode="auto">
              <a:xfrm>
                <a:off x="7724959" y="4010368"/>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noEditPoints="1"/>
              </p:cNvSpPr>
              <p:nvPr/>
            </p:nvSpPr>
            <p:spPr bwMode="auto">
              <a:xfrm>
                <a:off x="7724959" y="3932191"/>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nvGrpSpPr>
            <p:cNvPr id="58" name="Group 57"/>
            <p:cNvGrpSpPr/>
            <p:nvPr/>
          </p:nvGrpSpPr>
          <p:grpSpPr>
            <a:xfrm>
              <a:off x="10547277" y="3435556"/>
              <a:ext cx="375512" cy="465984"/>
              <a:chOff x="7724959" y="3932191"/>
              <a:chExt cx="375512" cy="465984"/>
            </a:xfrm>
          </p:grpSpPr>
          <p:sp>
            <p:nvSpPr>
              <p:cNvPr id="59" name="Freeform 58"/>
              <p:cNvSpPr>
                <a:spLocks/>
              </p:cNvSpPr>
              <p:nvPr/>
            </p:nvSpPr>
            <p:spPr bwMode="auto">
              <a:xfrm>
                <a:off x="7724959" y="4010368"/>
                <a:ext cx="375512" cy="83447"/>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p:nvSpPr>
            <p:spPr bwMode="auto">
              <a:xfrm>
                <a:off x="7724959" y="3932191"/>
                <a:ext cx="375512" cy="465984"/>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ctr" anchorCtr="0" compatLnSpc="1">
                <a:prstTxWarp prst="textNoShape">
                  <a:avLst/>
                </a:prstTxWarp>
              </a:bodyPr>
              <a:lstStyle/>
              <a:p>
                <a:pPr algn="ctr"/>
                <a:endParaRPr lang="en-US" sz="800" dirty="0"/>
              </a:p>
            </p:txBody>
          </p:sp>
        </p:grpSp>
      </p:grpSp>
      <p:cxnSp>
        <p:nvCxnSpPr>
          <p:cNvPr id="61" name="Straight Connector 60"/>
          <p:cNvCxnSpPr/>
          <p:nvPr/>
        </p:nvCxnSpPr>
        <p:spPr>
          <a:xfrm>
            <a:off x="3701164" y="1545889"/>
            <a:ext cx="0" cy="402336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670388" y="1545889"/>
            <a:ext cx="0" cy="402336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80056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t, Microsoft has done it before</a:t>
            </a:r>
          </a:p>
        </p:txBody>
      </p:sp>
      <p:sp>
        <p:nvSpPr>
          <p:cNvPr id="3" name="Text Placeholder 11"/>
          <p:cNvSpPr txBox="1">
            <a:spLocks/>
          </p:cNvSpPr>
          <p:nvPr/>
        </p:nvSpPr>
        <p:spPr>
          <a:xfrm>
            <a:off x="421564" y="1089801"/>
            <a:ext cx="6165941" cy="403293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Bef>
                <a:spcPts val="600"/>
              </a:spcBef>
              <a:spcAft>
                <a:spcPts val="1200"/>
              </a:spcAft>
              <a:buClr>
                <a:srgbClr val="0078D7"/>
              </a:buClr>
              <a:buNone/>
            </a:pPr>
            <a:r>
              <a:rPr lang="en-US" sz="1800" b="1" dirty="0">
                <a:solidFill>
                  <a:schemeClr val="bg1"/>
                </a:solidFill>
                <a:latin typeface="+mn-lt"/>
                <a:cs typeface="Segoe UI Light" panose="020B0502040204020203" pitchFamily="34" charset="0"/>
              </a:rPr>
              <a:t>We needed to better leverage data and analytics to do more experimentation</a:t>
            </a:r>
          </a:p>
          <a:p>
            <a:pPr marL="0" indent="0">
              <a:spcBef>
                <a:spcPts val="600"/>
              </a:spcBef>
              <a:spcAft>
                <a:spcPts val="1200"/>
              </a:spcAft>
              <a:buClr>
                <a:srgbClr val="0078D7"/>
              </a:buClr>
              <a:buNone/>
            </a:pPr>
            <a:r>
              <a:rPr lang="en-US" sz="1800" dirty="0">
                <a:solidFill>
                  <a:schemeClr val="bg1"/>
                </a:solidFill>
                <a:latin typeface="+mn-lt"/>
                <a:cs typeface="Segoe UI Light" panose="020B0502040204020203" pitchFamily="34" charset="0"/>
              </a:rPr>
              <a:t>So we:</a:t>
            </a:r>
          </a:p>
          <a:p>
            <a:pPr>
              <a:spcBef>
                <a:spcPts val="600"/>
              </a:spcBef>
              <a:spcAft>
                <a:spcPts val="1200"/>
              </a:spcAft>
              <a:buClr>
                <a:srgbClr val="0078D7"/>
              </a:buClr>
            </a:pPr>
            <a:r>
              <a:rPr lang="en-US" sz="1800" dirty="0">
                <a:solidFill>
                  <a:schemeClr val="bg1"/>
                </a:solidFill>
                <a:latin typeface="+mn-lt"/>
                <a:cs typeface="Segoe UI Light" panose="020B0502040204020203" pitchFamily="34" charset="0"/>
              </a:rPr>
              <a:t>Designed a data lake for everyone to put their data into</a:t>
            </a:r>
          </a:p>
          <a:p>
            <a:pPr>
              <a:spcBef>
                <a:spcPts val="600"/>
              </a:spcBef>
              <a:spcAft>
                <a:spcPts val="1200"/>
              </a:spcAft>
              <a:buClr>
                <a:srgbClr val="0078D7"/>
              </a:buClr>
            </a:pPr>
            <a:r>
              <a:rPr lang="en-US" sz="1800" dirty="0">
                <a:solidFill>
                  <a:schemeClr val="bg1"/>
                </a:solidFill>
                <a:latin typeface="+mn-lt"/>
                <a:cs typeface="Segoe UI Light" panose="020B0502040204020203" pitchFamily="34" charset="0"/>
              </a:rPr>
              <a:t>Built tools approachable by any developer</a:t>
            </a:r>
          </a:p>
          <a:p>
            <a:pPr>
              <a:spcBef>
                <a:spcPts val="600"/>
              </a:spcBef>
              <a:spcAft>
                <a:spcPts val="1200"/>
              </a:spcAft>
              <a:buClr>
                <a:srgbClr val="0078D7"/>
              </a:buClr>
            </a:pPr>
            <a:r>
              <a:rPr lang="en-US" sz="1800" dirty="0">
                <a:solidFill>
                  <a:schemeClr val="bg1"/>
                </a:solidFill>
                <a:latin typeface="+mn-lt"/>
                <a:cs typeface="Segoe UI Light" panose="020B0502040204020203" pitchFamily="34" charset="0"/>
              </a:rPr>
              <a:t>Created machine learning tools for collaborating </a:t>
            </a:r>
            <a:br>
              <a:rPr lang="en-US" sz="1800" dirty="0">
                <a:solidFill>
                  <a:schemeClr val="bg1"/>
                </a:solidFill>
                <a:latin typeface="+mn-lt"/>
                <a:cs typeface="Segoe UI Light" panose="020B0502040204020203" pitchFamily="34" charset="0"/>
              </a:rPr>
            </a:br>
            <a:r>
              <a:rPr lang="en-US" sz="1800" dirty="0">
                <a:solidFill>
                  <a:schemeClr val="bg1"/>
                </a:solidFill>
                <a:latin typeface="+mn-lt"/>
                <a:cs typeface="Segoe UI Light" panose="020B0502040204020203" pitchFamily="34" charset="0"/>
              </a:rPr>
              <a:t>across large experiment models</a:t>
            </a:r>
          </a:p>
          <a:p>
            <a:pPr marL="0" indent="0">
              <a:spcBef>
                <a:spcPts val="600"/>
              </a:spcBef>
              <a:spcAft>
                <a:spcPts val="1200"/>
              </a:spcAft>
              <a:buClr>
                <a:srgbClr val="0078D7"/>
              </a:buClr>
              <a:buNone/>
            </a:pPr>
            <a:r>
              <a:rPr lang="en-US" sz="1800" dirty="0">
                <a:solidFill>
                  <a:schemeClr val="bg1"/>
                </a:solidFill>
                <a:latin typeface="+mn-lt"/>
                <a:cs typeface="Segoe UI Light" panose="020B0502040204020203" pitchFamily="34" charset="0"/>
              </a:rPr>
              <a:t>Result:</a:t>
            </a:r>
          </a:p>
          <a:p>
            <a:pPr>
              <a:spcBef>
                <a:spcPts val="600"/>
              </a:spcBef>
              <a:spcAft>
                <a:spcPts val="1200"/>
              </a:spcAft>
              <a:buClr>
                <a:srgbClr val="0078D7"/>
              </a:buClr>
            </a:pPr>
            <a:r>
              <a:rPr lang="en-US" sz="1800" dirty="0">
                <a:solidFill>
                  <a:schemeClr val="bg1"/>
                </a:solidFill>
                <a:latin typeface="+mn-lt"/>
                <a:cs typeface="Segoe UI Light" panose="020B0502040204020203" pitchFamily="34" charset="0"/>
              </a:rPr>
              <a:t>Across Microsoft, ten thousand developers doing experimentation leading to better insights </a:t>
            </a:r>
          </a:p>
          <a:p>
            <a:pPr>
              <a:lnSpc>
                <a:spcPct val="100000"/>
              </a:lnSpc>
              <a:spcBef>
                <a:spcPts val="600"/>
              </a:spcBef>
              <a:buClr>
                <a:srgbClr val="0078D7"/>
              </a:buClr>
            </a:pPr>
            <a:r>
              <a:rPr lang="en-US" sz="1800" dirty="0">
                <a:solidFill>
                  <a:schemeClr val="bg1"/>
                </a:solidFill>
                <a:latin typeface="+mn-lt"/>
                <a:cs typeface="Segoe UI Light" panose="020B0502040204020203" pitchFamily="34" charset="0"/>
              </a:rPr>
              <a:t>Leading to growth in our Microsoft businesses:</a:t>
            </a:r>
          </a:p>
          <a:p>
            <a:pPr lvl="1">
              <a:lnSpc>
                <a:spcPct val="100000"/>
              </a:lnSpc>
              <a:spcBef>
                <a:spcPts val="600"/>
              </a:spcBef>
              <a:buClr>
                <a:srgbClr val="0078D7"/>
              </a:buClr>
            </a:pPr>
            <a:r>
              <a:rPr lang="en-US" sz="1200" dirty="0">
                <a:solidFill>
                  <a:schemeClr val="bg1"/>
                </a:solidFill>
                <a:latin typeface="+mn-lt"/>
                <a:cs typeface="Segoe UI Light" panose="020B0502040204020203" pitchFamily="34" charset="0"/>
              </a:rPr>
              <a:t>Office productivity revenue (45%YoY)*</a:t>
            </a:r>
          </a:p>
          <a:p>
            <a:pPr lvl="1">
              <a:lnSpc>
                <a:spcPct val="100000"/>
              </a:lnSpc>
              <a:spcBef>
                <a:spcPts val="600"/>
              </a:spcBef>
              <a:buClr>
                <a:srgbClr val="0078D7"/>
              </a:buClr>
            </a:pPr>
            <a:r>
              <a:rPr lang="en-US" sz="1200" dirty="0">
                <a:solidFill>
                  <a:schemeClr val="bg1"/>
                </a:solidFill>
                <a:latin typeface="+mn-lt"/>
                <a:cs typeface="Segoe UI Light" panose="020B0502040204020203" pitchFamily="34" charset="0"/>
              </a:rPr>
              <a:t>Intelligent Cloud (100% YoY)*</a:t>
            </a:r>
          </a:p>
          <a:p>
            <a:pPr lvl="1">
              <a:lnSpc>
                <a:spcPct val="100000"/>
              </a:lnSpc>
              <a:spcBef>
                <a:spcPts val="600"/>
              </a:spcBef>
              <a:buClr>
                <a:srgbClr val="0078D7"/>
              </a:buClr>
            </a:pPr>
            <a:r>
              <a:rPr lang="en-US" sz="1200" dirty="0">
                <a:solidFill>
                  <a:schemeClr val="bg1"/>
                </a:solidFill>
                <a:latin typeface="+mn-lt"/>
                <a:cs typeface="Segoe UI Light" panose="020B0502040204020203" pitchFamily="34" charset="0"/>
              </a:rPr>
              <a:t>Bing search share doubles</a:t>
            </a:r>
          </a:p>
          <a:p>
            <a:pPr lvl="1">
              <a:lnSpc>
                <a:spcPct val="100000"/>
              </a:lnSpc>
              <a:spcBef>
                <a:spcPts val="600"/>
              </a:spcBef>
              <a:buClr>
                <a:srgbClr val="0078D7"/>
              </a:buClr>
            </a:pPr>
            <a:endParaRPr lang="en-US" sz="200" dirty="0">
              <a:solidFill>
                <a:schemeClr val="bg1"/>
              </a:solidFill>
              <a:latin typeface="+mn-lt"/>
              <a:cs typeface="Segoe UI Light" panose="020B0502040204020203" pitchFamily="34" charset="0"/>
            </a:endParaRPr>
          </a:p>
        </p:txBody>
      </p:sp>
      <p:graphicFrame>
        <p:nvGraphicFramePr>
          <p:cNvPr id="4" name="Chart 3"/>
          <p:cNvGraphicFramePr/>
          <p:nvPr>
            <p:extLst/>
          </p:nvPr>
        </p:nvGraphicFramePr>
        <p:xfrm>
          <a:off x="6916865" y="363441"/>
          <a:ext cx="5071730" cy="5869173"/>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a:spLocks noChangeArrowheads="1"/>
          </p:cNvSpPr>
          <p:nvPr/>
        </p:nvSpPr>
        <p:spPr bwMode="auto">
          <a:xfrm>
            <a:off x="10544199" y="4713079"/>
            <a:ext cx="981200" cy="30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effectLst/>
                <a:latin typeface="+mj-lt"/>
              </a:rPr>
              <a:t>Windows</a:t>
            </a:r>
            <a:endParaRPr kumimoji="0" lang="en-US" altLang="en-US" sz="600" b="0" i="0" u="none" strike="noStrike" cap="none" normalizeH="0" baseline="0" dirty="0">
              <a:ln>
                <a:noFill/>
              </a:ln>
              <a:effectLst/>
              <a:latin typeface="+mj-lt"/>
            </a:endParaRPr>
          </a:p>
        </p:txBody>
      </p:sp>
      <p:sp>
        <p:nvSpPr>
          <p:cNvPr id="6" name="Rectangle 5"/>
          <p:cNvSpPr>
            <a:spLocks noChangeArrowheads="1"/>
          </p:cNvSpPr>
          <p:nvPr/>
        </p:nvSpPr>
        <p:spPr bwMode="auto">
          <a:xfrm>
            <a:off x="10401896" y="3863368"/>
            <a:ext cx="256386" cy="123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effectLst/>
                <a:latin typeface="+mj-lt"/>
              </a:rPr>
              <a:t>SMSG</a:t>
            </a:r>
            <a:endParaRPr kumimoji="0" lang="en-US" altLang="en-US" sz="600" b="0" i="0" u="none" strike="noStrike" cap="none" normalizeH="0" baseline="0">
              <a:ln>
                <a:noFill/>
              </a:ln>
              <a:effectLst/>
              <a:latin typeface="+mj-lt"/>
            </a:endParaRPr>
          </a:p>
        </p:txBody>
      </p:sp>
      <p:sp>
        <p:nvSpPr>
          <p:cNvPr id="7" name="Rectangle 6"/>
          <p:cNvSpPr>
            <a:spLocks noChangeArrowheads="1"/>
          </p:cNvSpPr>
          <p:nvPr/>
        </p:nvSpPr>
        <p:spPr bwMode="auto">
          <a:xfrm>
            <a:off x="10985492" y="3371694"/>
            <a:ext cx="374904" cy="27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effectLst/>
                <a:latin typeface="+mj-lt"/>
              </a:rPr>
              <a:t>Live</a:t>
            </a:r>
            <a:endParaRPr kumimoji="0" lang="en-US" altLang="en-US" sz="600" b="0" i="0" u="none" strike="noStrike" cap="none" normalizeH="0" baseline="0" dirty="0">
              <a:ln>
                <a:noFill/>
              </a:ln>
              <a:effectLst/>
              <a:latin typeface="+mj-lt"/>
            </a:endParaRPr>
          </a:p>
        </p:txBody>
      </p:sp>
      <p:sp>
        <p:nvSpPr>
          <p:cNvPr id="8" name="Rectangle 7"/>
          <p:cNvSpPr>
            <a:spLocks noChangeArrowheads="1"/>
          </p:cNvSpPr>
          <p:nvPr/>
        </p:nvSpPr>
        <p:spPr bwMode="auto">
          <a:xfrm>
            <a:off x="10773575" y="3719051"/>
            <a:ext cx="4263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effectLst/>
                <a:latin typeface="+mj-lt"/>
              </a:rPr>
              <a:t>Bing</a:t>
            </a:r>
            <a:endParaRPr kumimoji="0" lang="en-US" altLang="en-US" sz="600" b="0" i="0" u="none" strike="noStrike" cap="none" normalizeH="0" baseline="0" dirty="0">
              <a:ln>
                <a:noFill/>
              </a:ln>
              <a:effectLst/>
              <a:latin typeface="+mj-lt"/>
            </a:endParaRPr>
          </a:p>
        </p:txBody>
      </p:sp>
      <p:sp>
        <p:nvSpPr>
          <p:cNvPr id="9" name="Rectangle 8"/>
          <p:cNvSpPr>
            <a:spLocks noChangeArrowheads="1"/>
          </p:cNvSpPr>
          <p:nvPr/>
        </p:nvSpPr>
        <p:spPr bwMode="auto">
          <a:xfrm>
            <a:off x="10294666" y="4189897"/>
            <a:ext cx="65562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latin typeface="+mj-lt"/>
              </a:rPr>
              <a:t>CRM/Dynamics</a:t>
            </a:r>
          </a:p>
        </p:txBody>
      </p:sp>
      <p:sp>
        <p:nvSpPr>
          <p:cNvPr id="11" name="Rectangle 10"/>
          <p:cNvSpPr>
            <a:spLocks noChangeArrowheads="1"/>
          </p:cNvSpPr>
          <p:nvPr/>
        </p:nvSpPr>
        <p:spPr bwMode="auto">
          <a:xfrm>
            <a:off x="10788088" y="2524624"/>
            <a:ext cx="716752" cy="215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mj-lt"/>
              </a:rPr>
              <a:t>Xbox Live</a:t>
            </a:r>
            <a:endParaRPr kumimoji="0" lang="en-US" altLang="en-US" sz="600" b="0" i="0" u="none" strike="noStrike" cap="none" normalizeH="0" baseline="0" dirty="0">
              <a:ln>
                <a:noFill/>
              </a:ln>
              <a:effectLst/>
              <a:latin typeface="+mj-lt"/>
            </a:endParaRPr>
          </a:p>
        </p:txBody>
      </p:sp>
      <p:sp>
        <p:nvSpPr>
          <p:cNvPr id="12" name="Rectangle 11"/>
          <p:cNvSpPr>
            <a:spLocks noChangeArrowheads="1"/>
          </p:cNvSpPr>
          <p:nvPr/>
        </p:nvSpPr>
        <p:spPr bwMode="auto">
          <a:xfrm>
            <a:off x="10597411" y="2892787"/>
            <a:ext cx="927988" cy="27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effectLst/>
                <a:latin typeface="+mj-lt"/>
              </a:rPr>
              <a:t>Office365</a:t>
            </a:r>
            <a:endParaRPr kumimoji="0" lang="en-US" altLang="en-US" sz="600" b="0" i="0" u="none" strike="noStrike" cap="none" normalizeH="0" baseline="0" dirty="0">
              <a:ln>
                <a:noFill/>
              </a:ln>
              <a:effectLst/>
              <a:latin typeface="+mj-lt"/>
            </a:endParaRPr>
          </a:p>
        </p:txBody>
      </p:sp>
      <p:sp>
        <p:nvSpPr>
          <p:cNvPr id="13" name="Rectangle 12"/>
          <p:cNvSpPr>
            <a:spLocks noChangeArrowheads="1"/>
          </p:cNvSpPr>
          <p:nvPr/>
        </p:nvSpPr>
        <p:spPr bwMode="auto">
          <a:xfrm>
            <a:off x="8545266" y="5102724"/>
            <a:ext cx="14467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mj-lt"/>
              </a:rPr>
              <a:t>Malware Protection</a:t>
            </a:r>
            <a:endParaRPr kumimoji="0" lang="en-US" altLang="en-US" sz="600" b="0" i="0" u="none" strike="noStrike" cap="none" normalizeH="0" baseline="0" dirty="0">
              <a:ln>
                <a:noFill/>
              </a:ln>
              <a:effectLst/>
              <a:latin typeface="+mj-lt"/>
            </a:endParaRPr>
          </a:p>
        </p:txBody>
      </p:sp>
      <p:sp>
        <p:nvSpPr>
          <p:cNvPr id="14" name="Rectangle 13"/>
          <p:cNvSpPr>
            <a:spLocks noChangeArrowheads="1"/>
          </p:cNvSpPr>
          <p:nvPr/>
        </p:nvSpPr>
        <p:spPr bwMode="auto">
          <a:xfrm>
            <a:off x="10512048" y="5122738"/>
            <a:ext cx="8095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effectLst/>
                <a:latin typeface="+mj-lt"/>
              </a:rPr>
              <a:t>Microsoft Stores </a:t>
            </a:r>
            <a:endParaRPr kumimoji="0" lang="en-US" altLang="en-US" sz="600" b="0" i="0" u="none" strike="noStrike" cap="none" normalizeH="0" baseline="0" dirty="0">
              <a:ln>
                <a:noFill/>
              </a:ln>
              <a:effectLst/>
              <a:latin typeface="+mj-lt"/>
            </a:endParaRPr>
          </a:p>
        </p:txBody>
      </p:sp>
      <p:sp>
        <p:nvSpPr>
          <p:cNvPr id="17" name="Rectangle 16"/>
          <p:cNvSpPr>
            <a:spLocks noChangeArrowheads="1"/>
          </p:cNvSpPr>
          <p:nvPr/>
        </p:nvSpPr>
        <p:spPr bwMode="auto">
          <a:xfrm>
            <a:off x="10098748" y="5327676"/>
            <a:ext cx="74699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effectLst/>
                <a:latin typeface="+mj-lt"/>
              </a:rPr>
              <a:t>Commerce Risk</a:t>
            </a:r>
            <a:endParaRPr kumimoji="0" lang="en-US" altLang="en-US" sz="600" b="0" i="0" u="none" strike="noStrike" cap="none" normalizeH="0" baseline="0" dirty="0">
              <a:ln>
                <a:noFill/>
              </a:ln>
              <a:effectLst/>
              <a:latin typeface="+mj-lt"/>
            </a:endParaRPr>
          </a:p>
        </p:txBody>
      </p:sp>
      <p:sp>
        <p:nvSpPr>
          <p:cNvPr id="18" name="Rectangle 17"/>
          <p:cNvSpPr>
            <a:spLocks noChangeArrowheads="1"/>
          </p:cNvSpPr>
          <p:nvPr/>
        </p:nvSpPr>
        <p:spPr bwMode="auto">
          <a:xfrm>
            <a:off x="10832386" y="4417972"/>
            <a:ext cx="345879" cy="169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effectLst/>
                <a:latin typeface="+mj-lt"/>
              </a:rPr>
              <a:t>Skype</a:t>
            </a:r>
            <a:endParaRPr kumimoji="0" lang="en-US" altLang="en-US" sz="600" b="0" i="0" u="none" strike="noStrike" cap="none" normalizeH="0" baseline="0" dirty="0">
              <a:ln>
                <a:noFill/>
              </a:ln>
              <a:effectLst/>
              <a:latin typeface="+mj-lt"/>
            </a:endParaRPr>
          </a:p>
        </p:txBody>
      </p:sp>
      <p:sp>
        <p:nvSpPr>
          <p:cNvPr id="19" name="Rectangle 18"/>
          <p:cNvSpPr>
            <a:spLocks noChangeArrowheads="1"/>
          </p:cNvSpPr>
          <p:nvPr/>
        </p:nvSpPr>
        <p:spPr bwMode="auto">
          <a:xfrm>
            <a:off x="10559517" y="3415132"/>
            <a:ext cx="197530" cy="138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effectLst/>
                <a:latin typeface="+mj-lt"/>
              </a:rPr>
              <a:t>LCA</a:t>
            </a:r>
            <a:endParaRPr kumimoji="0" lang="en-US" altLang="en-US" sz="600" b="0" i="0" u="none" strike="noStrike" cap="none" normalizeH="0" baseline="0" dirty="0">
              <a:ln>
                <a:noFill/>
              </a:ln>
              <a:effectLst/>
              <a:latin typeface="+mj-lt"/>
            </a:endParaRPr>
          </a:p>
        </p:txBody>
      </p:sp>
      <p:sp>
        <p:nvSpPr>
          <p:cNvPr id="20" name="Rectangle 19"/>
          <p:cNvSpPr>
            <a:spLocks noChangeArrowheads="1"/>
          </p:cNvSpPr>
          <p:nvPr/>
        </p:nvSpPr>
        <p:spPr bwMode="auto">
          <a:xfrm>
            <a:off x="9683532" y="4643746"/>
            <a:ext cx="718364" cy="215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mj-lt"/>
              </a:rPr>
              <a:t>Exchange</a:t>
            </a:r>
            <a:endParaRPr kumimoji="0" lang="en-US" altLang="en-US" sz="600" b="0" i="0" u="none" strike="noStrike" cap="none" normalizeH="0" baseline="0" dirty="0">
              <a:ln>
                <a:noFill/>
              </a:ln>
              <a:effectLst/>
              <a:latin typeface="+mj-lt"/>
            </a:endParaRPr>
          </a:p>
        </p:txBody>
      </p:sp>
      <p:sp>
        <p:nvSpPr>
          <p:cNvPr id="21" name="Rectangle 20"/>
          <p:cNvSpPr>
            <a:spLocks noChangeArrowheads="1"/>
          </p:cNvSpPr>
          <p:nvPr/>
        </p:nvSpPr>
        <p:spPr bwMode="auto">
          <a:xfrm>
            <a:off x="11018647" y="2245373"/>
            <a:ext cx="405541" cy="138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effectLst/>
                <a:latin typeface="+mj-lt"/>
              </a:rPr>
              <a:t>Yammer</a:t>
            </a:r>
            <a:endParaRPr kumimoji="0" lang="en-US" altLang="en-US" sz="600" b="0" i="0" u="none" strike="noStrike" cap="none" normalizeH="0" baseline="0" dirty="0">
              <a:ln>
                <a:noFill/>
              </a:ln>
              <a:effectLst/>
              <a:latin typeface="+mj-lt"/>
            </a:endParaRPr>
          </a:p>
        </p:txBody>
      </p:sp>
      <p:sp>
        <p:nvSpPr>
          <p:cNvPr id="10" name="TextBox 9"/>
          <p:cNvSpPr txBox="1"/>
          <p:nvPr/>
        </p:nvSpPr>
        <p:spPr>
          <a:xfrm rot="16200000">
            <a:off x="5040000" y="2959715"/>
            <a:ext cx="384018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2A8EDD"/>
                </a:solidFill>
                <a:latin typeface="+mj-lt"/>
              </a:rPr>
              <a:t>Petabytes    </a:t>
            </a:r>
            <a:r>
              <a:rPr lang="en-US" sz="2400" dirty="0" err="1">
                <a:solidFill>
                  <a:srgbClr val="2A8EDD"/>
                </a:solidFill>
                <a:latin typeface="+mj-lt"/>
              </a:rPr>
              <a:t>Exabytes</a:t>
            </a:r>
            <a:endParaRPr lang="en-US" sz="2400" dirty="0">
              <a:solidFill>
                <a:srgbClr val="2A8EDD"/>
              </a:solidFill>
              <a:latin typeface="+mj-lt"/>
            </a:endParaRPr>
          </a:p>
        </p:txBody>
      </p:sp>
      <p:sp>
        <p:nvSpPr>
          <p:cNvPr id="15" name="Up Arrow 14"/>
          <p:cNvSpPr/>
          <p:nvPr/>
        </p:nvSpPr>
        <p:spPr bwMode="auto">
          <a:xfrm>
            <a:off x="6866065" y="3528406"/>
            <a:ext cx="182435" cy="16524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22" name="TextBox 21"/>
          <p:cNvSpPr txBox="1"/>
          <p:nvPr/>
        </p:nvSpPr>
        <p:spPr>
          <a:xfrm>
            <a:off x="3276475" y="6038071"/>
            <a:ext cx="8147713" cy="594009"/>
          </a:xfrm>
          <a:prstGeom prst="rect">
            <a:avLst/>
          </a:prstGeom>
          <a:noFill/>
        </p:spPr>
        <p:txBody>
          <a:bodyPr wrap="square" lIns="182880" tIns="146304" rIns="182880" bIns="146304" rtlCol="0">
            <a:spAutoFit/>
          </a:bodyPr>
          <a:lstStyle/>
          <a:p>
            <a:pPr>
              <a:lnSpc>
                <a:spcPct val="90000"/>
              </a:lnSpc>
              <a:spcAft>
                <a:spcPts val="600"/>
              </a:spcAft>
            </a:pPr>
            <a:r>
              <a:rPr lang="en-US" sz="800" dirty="0">
                <a:solidFill>
                  <a:schemeClr val="bg2"/>
                </a:solidFill>
              </a:rPr>
              <a:t>* Microsoft. FY16 Q4 Results, URL: http://www.microsoft.com/en-us/Investor/earnings/FY-2016-Q4/press-release-webcast</a:t>
            </a:r>
          </a:p>
          <a:p>
            <a:pPr>
              <a:lnSpc>
                <a:spcPct val="90000"/>
              </a:lnSpc>
              <a:spcAft>
                <a:spcPts val="600"/>
              </a:spcAft>
            </a:pPr>
            <a:endParaRPr lang="en-US" sz="800" dirty="0">
              <a:solidFill>
                <a:schemeClr val="bg2"/>
              </a:solidFill>
            </a:endParaRPr>
          </a:p>
        </p:txBody>
      </p:sp>
    </p:spTree>
    <p:extLst>
      <p:ext uri="{BB962C8B-B14F-4D97-AF65-F5344CB8AC3E}">
        <p14:creationId xmlns:p14="http://schemas.microsoft.com/office/powerpoint/2010/main" val="64603615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Big Data as a cornerstone of Cortana Intelligence</a:t>
            </a:r>
          </a:p>
        </p:txBody>
      </p:sp>
      <p:grpSp>
        <p:nvGrpSpPr>
          <p:cNvPr id="4" name="Group 3"/>
          <p:cNvGrpSpPr/>
          <p:nvPr/>
        </p:nvGrpSpPr>
        <p:grpSpPr>
          <a:xfrm>
            <a:off x="9588714" y="1666194"/>
            <a:ext cx="2241039" cy="4615293"/>
            <a:chOff x="9588714" y="1666194"/>
            <a:chExt cx="2241039" cy="4615293"/>
          </a:xfrm>
        </p:grpSpPr>
        <p:sp>
          <p:nvSpPr>
            <p:cNvPr id="5" name="Rectangle 4"/>
            <p:cNvSpPr/>
            <p:nvPr/>
          </p:nvSpPr>
          <p:spPr>
            <a:xfrm>
              <a:off x="10329146" y="5953575"/>
              <a:ext cx="1500607" cy="327912"/>
            </a:xfrm>
            <a:prstGeom prst="rect">
              <a:avLst/>
            </a:prstGeom>
          </p:spPr>
          <p:txBody>
            <a:bodyPr wrap="none" lIns="0" tIns="0" rIns="0" bIns="0" anchor="ctr">
              <a:noAutofit/>
            </a:bodyPr>
            <a:lstStyle/>
            <a:p>
              <a:pPr defTabSz="914400">
                <a:lnSpc>
                  <a:spcPct val="90000"/>
                </a:lnSpc>
              </a:pPr>
              <a:r>
                <a:rPr lang="en-US" sz="2400" dirty="0">
                  <a:solidFill>
                    <a:srgbClr val="002050"/>
                  </a:solidFill>
                  <a:latin typeface="Segoe UI Light"/>
                </a:rPr>
                <a:t>Action</a:t>
              </a:r>
            </a:p>
          </p:txBody>
        </p:sp>
        <p:sp>
          <p:nvSpPr>
            <p:cNvPr id="6" name="Freeform 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7" name="TextBox 6"/>
            <p:cNvSpPr txBox="1"/>
            <p:nvPr/>
          </p:nvSpPr>
          <p:spPr>
            <a:xfrm>
              <a:off x="10381650" y="1978779"/>
              <a:ext cx="1090058" cy="46162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People</a:t>
              </a:r>
            </a:p>
          </p:txBody>
        </p:sp>
        <p:sp>
          <p:nvSpPr>
            <p:cNvPr id="8" name="TextBox 7"/>
            <p:cNvSpPr txBox="1"/>
            <p:nvPr/>
          </p:nvSpPr>
          <p:spPr>
            <a:xfrm>
              <a:off x="10650440" y="5204331"/>
              <a:ext cx="868271" cy="332399"/>
            </a:xfrm>
            <a:prstGeom prst="rect">
              <a:avLst/>
            </a:prstGeom>
            <a:noFill/>
          </p:spPr>
          <p:txBody>
            <a:bodyPr wrap="square" lIns="0" tIns="0" rIns="0" bIns="0" rtlCol="0">
              <a:sp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Automated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Systems</a:t>
              </a:r>
            </a:p>
          </p:txBody>
        </p:sp>
        <p:grpSp>
          <p:nvGrpSpPr>
            <p:cNvPr id="9" name="Group 8"/>
            <p:cNvGrpSpPr/>
            <p:nvPr/>
          </p:nvGrpSpPr>
          <p:grpSpPr>
            <a:xfrm>
              <a:off x="9984119" y="2016920"/>
              <a:ext cx="377227" cy="385340"/>
              <a:chOff x="6112510" y="6954657"/>
              <a:chExt cx="1181100" cy="1206500"/>
            </a:xfrm>
            <a:solidFill>
              <a:srgbClr val="0078D7"/>
            </a:solidFill>
          </p:grpSpPr>
          <p:sp>
            <p:nvSpPr>
              <p:cNvPr id="2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0" name="Group 9"/>
            <p:cNvGrpSpPr/>
            <p:nvPr/>
          </p:nvGrpSpPr>
          <p:grpSpPr>
            <a:xfrm>
              <a:off x="10034296" y="5129436"/>
              <a:ext cx="385751" cy="482188"/>
              <a:chOff x="2954338" y="6831013"/>
              <a:chExt cx="1041400" cy="1301750"/>
            </a:xfrm>
            <a:solidFill>
              <a:srgbClr val="0078D7"/>
            </a:solidFill>
          </p:grpSpPr>
          <p:sp>
            <p:nvSpPr>
              <p:cNvPr id="25"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1" name="Group 10"/>
            <p:cNvGrpSpPr/>
            <p:nvPr/>
          </p:nvGrpSpPr>
          <p:grpSpPr>
            <a:xfrm>
              <a:off x="9872701" y="3060921"/>
              <a:ext cx="1878892" cy="1542780"/>
              <a:chOff x="9910801" y="2434267"/>
              <a:chExt cx="1878892" cy="1542780"/>
            </a:xfrm>
          </p:grpSpPr>
          <p:sp>
            <p:nvSpPr>
              <p:cNvPr id="12" name="TextBox 11"/>
              <p:cNvSpPr txBox="1"/>
              <p:nvPr/>
            </p:nvSpPr>
            <p:spPr>
              <a:xfrm>
                <a:off x="9910801" y="323474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13" name="Group 12"/>
              <p:cNvGrpSpPr/>
              <p:nvPr/>
            </p:nvGrpSpPr>
            <p:grpSpPr>
              <a:xfrm>
                <a:off x="10012430" y="2917883"/>
                <a:ext cx="462396" cy="357669"/>
                <a:chOff x="5007615" y="2323753"/>
                <a:chExt cx="649029" cy="502032"/>
              </a:xfrm>
              <a:solidFill>
                <a:srgbClr val="0078D7"/>
              </a:solidFill>
            </p:grpSpPr>
            <p:sp>
              <p:nvSpPr>
                <p:cNvPr id="23" name="Freeform 2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 name="Freeform 2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4" name="Group 13"/>
              <p:cNvGrpSpPr/>
              <p:nvPr/>
            </p:nvGrpSpPr>
            <p:grpSpPr>
              <a:xfrm>
                <a:off x="10486805" y="2434267"/>
                <a:ext cx="1302888" cy="1542780"/>
                <a:chOff x="10486805" y="2923046"/>
                <a:chExt cx="1302888" cy="1542780"/>
              </a:xfrm>
            </p:grpSpPr>
            <p:sp>
              <p:nvSpPr>
                <p:cNvPr id="15" name="Rectangle 14"/>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extBox 15"/>
                <p:cNvSpPr txBox="1"/>
                <p:nvPr/>
              </p:nvSpPr>
              <p:spPr>
                <a:xfrm>
                  <a:off x="11212738" y="3022354"/>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Web</a:t>
                  </a:r>
                </a:p>
              </p:txBody>
            </p:sp>
            <p:sp>
              <p:nvSpPr>
                <p:cNvPr id="17" name="TextBox 16"/>
                <p:cNvSpPr txBox="1"/>
                <p:nvPr/>
              </p:nvSpPr>
              <p:spPr>
                <a:xfrm>
                  <a:off x="11212738" y="3571986"/>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Mobile</a:t>
                  </a:r>
                </a:p>
              </p:txBody>
            </p:sp>
            <p:sp>
              <p:nvSpPr>
                <p:cNvPr id="18" name="TextBox 17"/>
                <p:cNvSpPr txBox="1"/>
                <p:nvPr/>
              </p:nvSpPr>
              <p:spPr>
                <a:xfrm>
                  <a:off x="11212738" y="4160203"/>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Bots</a:t>
                  </a:r>
                </a:p>
              </p:txBody>
            </p:sp>
            <p:sp>
              <p:nvSpPr>
                <p:cNvPr id="19" name="Freeform 1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 name="Freeform 1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 name="Freeform 2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31" name="Group 30"/>
          <p:cNvGrpSpPr/>
          <p:nvPr/>
        </p:nvGrpSpPr>
        <p:grpSpPr>
          <a:xfrm>
            <a:off x="7329456" y="1657048"/>
            <a:ext cx="2567731" cy="4551232"/>
            <a:chOff x="7329456" y="1657048"/>
            <a:chExt cx="2567731" cy="4551232"/>
          </a:xfrm>
        </p:grpSpPr>
        <p:sp>
          <p:nvSpPr>
            <p:cNvPr id="32" name="Rectangle 31"/>
            <p:cNvSpPr/>
            <p:nvPr/>
          </p:nvSpPr>
          <p:spPr bwMode="auto">
            <a:xfrm>
              <a:off x="7759316" y="1657048"/>
              <a:ext cx="1737360" cy="27342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33" name="Rectangle 32"/>
            <p:cNvSpPr/>
            <p:nvPr/>
          </p:nvSpPr>
          <p:spPr bwMode="auto">
            <a:xfrm>
              <a:off x="7759316" y="4491484"/>
              <a:ext cx="1737360" cy="135296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34" name="Rectangle 33"/>
            <p:cNvSpPr/>
            <p:nvPr/>
          </p:nvSpPr>
          <p:spPr>
            <a:xfrm>
              <a:off x="8282077" y="3724639"/>
              <a:ext cx="1268870"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Cortana</a:t>
              </a:r>
            </a:p>
          </p:txBody>
        </p:sp>
        <p:grpSp>
          <p:nvGrpSpPr>
            <p:cNvPr id="35" name="Group 34"/>
            <p:cNvGrpSpPr/>
            <p:nvPr/>
          </p:nvGrpSpPr>
          <p:grpSpPr>
            <a:xfrm>
              <a:off x="7886100" y="3695712"/>
              <a:ext cx="315759" cy="315759"/>
              <a:chOff x="3236100" y="589298"/>
              <a:chExt cx="5641200" cy="5641200"/>
            </a:xfrm>
          </p:grpSpPr>
          <p:sp>
            <p:nvSpPr>
              <p:cNvPr id="54" name="Freeform 5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5" name="Freeform 5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36" name="Straight Connector 35"/>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37" name="Group 36"/>
            <p:cNvGrpSpPr/>
            <p:nvPr/>
          </p:nvGrpSpPr>
          <p:grpSpPr>
            <a:xfrm rot="13500000">
              <a:off x="9515255" y="6028138"/>
              <a:ext cx="181498" cy="178786"/>
              <a:chOff x="402446" y="5872915"/>
              <a:chExt cx="292608" cy="288235"/>
            </a:xfrm>
            <a:solidFill>
              <a:srgbClr val="FFFFFF">
                <a:lumMod val="85000"/>
              </a:srgbClr>
            </a:solidFill>
          </p:grpSpPr>
          <p:cxnSp>
            <p:nvCxnSpPr>
              <p:cNvPr id="52" name="Straight Connector 5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53" name="Straight Connector 5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38" name="Straight Connector 37"/>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39" name="Rectangle 38"/>
            <p:cNvSpPr/>
            <p:nvPr/>
          </p:nvSpPr>
          <p:spPr>
            <a:xfrm>
              <a:off x="8282077" y="3055939"/>
              <a:ext cx="1268870" cy="430887"/>
            </a:xfrm>
            <a:prstGeom prst="rect">
              <a:avLst/>
            </a:prstGeom>
          </p:spPr>
          <p:txBody>
            <a:bodyPr wrap="square" anchor="ctr">
              <a:spAutoFit/>
            </a:bodyPr>
            <a:lstStyle/>
            <a:p>
              <a:pPr defTabSz="914400"/>
              <a:r>
                <a:rPr lang="en-US" sz="1100" dirty="0">
                  <a:solidFill>
                    <a:srgbClr val="FFFFFF"/>
                  </a:solidFill>
                  <a:cs typeface="Segoe UI Semilight" panose="020B0402040204020203" pitchFamily="34" charset="0"/>
                </a:rPr>
                <a:t>Bot </a:t>
              </a:r>
              <a:br>
                <a:rPr lang="en-US" sz="1100" dirty="0">
                  <a:solidFill>
                    <a:srgbClr val="FFFFFF"/>
                  </a:solidFill>
                  <a:cs typeface="Segoe UI Semilight" panose="020B0402040204020203" pitchFamily="34" charset="0"/>
                </a:rPr>
              </a:br>
              <a:r>
                <a:rPr lang="en-US" sz="1100" dirty="0">
                  <a:solidFill>
                    <a:srgbClr val="FFFFFF"/>
                  </a:solidFill>
                  <a:cs typeface="Segoe UI Semilight" panose="020B0402040204020203" pitchFamily="34" charset="0"/>
                </a:rPr>
                <a:t>Framework</a:t>
              </a:r>
            </a:p>
          </p:txBody>
        </p:sp>
        <p:sp>
          <p:nvSpPr>
            <p:cNvPr id="40" name="Rectangle 39"/>
            <p:cNvSpPr/>
            <p:nvPr/>
          </p:nvSpPr>
          <p:spPr>
            <a:xfrm>
              <a:off x="8282077" y="2443589"/>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Cognitive Services</a:t>
              </a:r>
            </a:p>
          </p:txBody>
        </p:sp>
        <p:grpSp>
          <p:nvGrpSpPr>
            <p:cNvPr id="41" name="Group 40"/>
            <p:cNvGrpSpPr/>
            <p:nvPr/>
          </p:nvGrpSpPr>
          <p:grpSpPr>
            <a:xfrm>
              <a:off x="7830264" y="2521994"/>
              <a:ext cx="427431" cy="274077"/>
              <a:chOff x="7822816" y="2717080"/>
              <a:chExt cx="427431" cy="274077"/>
            </a:xfrm>
          </p:grpSpPr>
          <p:sp>
            <p:nvSpPr>
              <p:cNvPr id="50" name="Freeform 4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42" name="Rectangle 41"/>
            <p:cNvSpPr/>
            <p:nvPr/>
          </p:nvSpPr>
          <p:spPr>
            <a:xfrm>
              <a:off x="8241821" y="5297166"/>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Power BI</a:t>
              </a:r>
            </a:p>
          </p:txBody>
        </p:sp>
        <p:grpSp>
          <p:nvGrpSpPr>
            <p:cNvPr id="43" name="Group 42"/>
            <p:cNvGrpSpPr/>
            <p:nvPr/>
          </p:nvGrpSpPr>
          <p:grpSpPr>
            <a:xfrm>
              <a:off x="7884058" y="5324140"/>
              <a:ext cx="324905" cy="207663"/>
              <a:chOff x="7884058" y="5368509"/>
              <a:chExt cx="324905" cy="207663"/>
            </a:xfrm>
          </p:grpSpPr>
          <p:sp>
            <p:nvSpPr>
              <p:cNvPr id="4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sp>
          <p:nvSpPr>
            <p:cNvPr id="44" name="Freeform 4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56" name="Group 55"/>
          <p:cNvGrpSpPr/>
          <p:nvPr/>
        </p:nvGrpSpPr>
        <p:grpSpPr>
          <a:xfrm>
            <a:off x="2019368" y="1657048"/>
            <a:ext cx="2377440" cy="4551232"/>
            <a:chOff x="2019368" y="1657048"/>
            <a:chExt cx="2377440" cy="4551232"/>
          </a:xfrm>
        </p:grpSpPr>
        <p:sp>
          <p:nvSpPr>
            <p:cNvPr id="57" name="Rectangle 56"/>
            <p:cNvSpPr/>
            <p:nvPr/>
          </p:nvSpPr>
          <p:spPr bwMode="auto">
            <a:xfrm>
              <a:off x="2186019" y="1657048"/>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58" name="Rectangle 57"/>
            <p:cNvSpPr/>
            <p:nvPr/>
          </p:nvSpPr>
          <p:spPr>
            <a:xfrm>
              <a:off x="2652706" y="3724639"/>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cxnSp>
          <p:nvCxnSpPr>
            <p:cNvPr id="59" name="Straight Connector 58"/>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60" name="Group 59"/>
            <p:cNvGrpSpPr/>
            <p:nvPr/>
          </p:nvGrpSpPr>
          <p:grpSpPr>
            <a:xfrm rot="13500000">
              <a:off x="4205167" y="6028138"/>
              <a:ext cx="181498" cy="178786"/>
              <a:chOff x="402446" y="5872915"/>
              <a:chExt cx="292608" cy="288235"/>
            </a:xfrm>
            <a:solidFill>
              <a:srgbClr val="FFFFFF">
                <a:lumMod val="85000"/>
              </a:srgbClr>
            </a:solidFill>
          </p:grpSpPr>
          <p:cxnSp>
            <p:nvCxnSpPr>
              <p:cNvPr id="69" name="Straight Connector 68"/>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70" name="Straight Connector 69"/>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61" name="Rectangle 60"/>
            <p:cNvSpPr/>
            <p:nvPr/>
          </p:nvSpPr>
          <p:spPr>
            <a:xfrm>
              <a:off x="2652706" y="3161800"/>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Catalog</a:t>
              </a:r>
            </a:p>
          </p:txBody>
        </p:sp>
        <p:grpSp>
          <p:nvGrpSpPr>
            <p:cNvPr id="62" name="Group 61"/>
            <p:cNvGrpSpPr/>
            <p:nvPr/>
          </p:nvGrpSpPr>
          <p:grpSpPr>
            <a:xfrm>
              <a:off x="2337798" y="3119355"/>
              <a:ext cx="274997" cy="292527"/>
              <a:chOff x="3232150" y="382588"/>
              <a:chExt cx="5727700" cy="6092825"/>
            </a:xfrm>
            <a:solidFill>
              <a:srgbClr val="FFFFFF"/>
            </a:solidFill>
          </p:grpSpPr>
          <p:sp>
            <p:nvSpPr>
              <p:cNvPr id="6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63" name="Rectangle 62"/>
            <p:cNvSpPr/>
            <p:nvPr/>
          </p:nvSpPr>
          <p:spPr>
            <a:xfrm>
              <a:off x="2652706" y="252822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64" name="Freeform 6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5" name="Freeform 6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71" name="Rectangle 70"/>
          <p:cNvSpPr/>
          <p:nvPr/>
        </p:nvSpPr>
        <p:spPr bwMode="auto">
          <a:xfrm>
            <a:off x="5901551" y="1657049"/>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72" name="Rectangle 71"/>
          <p:cNvSpPr/>
          <p:nvPr/>
        </p:nvSpPr>
        <p:spPr bwMode="auto">
          <a:xfrm>
            <a:off x="5887890" y="3599115"/>
            <a:ext cx="1757665" cy="488598"/>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00BCF2"/>
              </a:solidFill>
              <a:ea typeface="Segoe UI" pitchFamily="34" charset="0"/>
              <a:cs typeface="Segoe UI" pitchFamily="34" charset="0"/>
            </a:endParaRPr>
          </a:p>
        </p:txBody>
      </p:sp>
      <p:sp>
        <p:nvSpPr>
          <p:cNvPr id="73" name="Rectangle 72"/>
          <p:cNvSpPr/>
          <p:nvPr/>
        </p:nvSpPr>
        <p:spPr>
          <a:xfrm>
            <a:off x="6340519" y="3555362"/>
            <a:ext cx="1268870" cy="600164"/>
          </a:xfrm>
          <a:prstGeom prst="rect">
            <a:avLst/>
          </a:prstGeom>
        </p:spPr>
        <p:txBody>
          <a:bodyPr wrap="square">
            <a:spAutoFit/>
          </a:bodyPr>
          <a:lstStyle/>
          <a:p>
            <a:pPr defTabSz="914400"/>
            <a:r>
              <a:rPr lang="en-US" sz="1100" dirty="0">
                <a:cs typeface="Segoe UI Semilight" panose="020B0402040204020203" pitchFamily="34" charset="0"/>
              </a:rPr>
              <a:t>HDInsight </a:t>
            </a:r>
          </a:p>
          <a:p>
            <a:pPr defTabSz="914400"/>
            <a:r>
              <a:rPr lang="en-US" sz="1100" dirty="0">
                <a:cs typeface="Segoe UI Semilight" panose="020B0402040204020203" pitchFamily="34" charset="0"/>
              </a:rPr>
              <a:t>(Hadoop and Spark)</a:t>
            </a:r>
          </a:p>
        </p:txBody>
      </p:sp>
      <p:sp>
        <p:nvSpPr>
          <p:cNvPr id="74" name="Rectangle 73"/>
          <p:cNvSpPr/>
          <p:nvPr/>
        </p:nvSpPr>
        <p:spPr>
          <a:xfrm>
            <a:off x="6340519" y="4283607"/>
            <a:ext cx="1268870"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tream Analytics</a:t>
            </a:r>
          </a:p>
        </p:txBody>
      </p:sp>
      <p:sp>
        <p:nvSpPr>
          <p:cNvPr id="75" name="Rectangle 74"/>
          <p:cNvSpPr/>
          <p:nvPr/>
        </p:nvSpPr>
        <p:spPr bwMode="auto">
          <a:xfrm>
            <a:off x="5893826" y="3073130"/>
            <a:ext cx="1757665" cy="488598"/>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00BCF2"/>
              </a:solidFill>
              <a:ea typeface="Segoe UI" pitchFamily="34" charset="0"/>
              <a:cs typeface="Segoe UI" pitchFamily="34" charset="0"/>
            </a:endParaRPr>
          </a:p>
        </p:txBody>
      </p:sp>
      <p:sp>
        <p:nvSpPr>
          <p:cNvPr id="76" name="Rectangle 75"/>
          <p:cNvSpPr/>
          <p:nvPr/>
        </p:nvSpPr>
        <p:spPr>
          <a:xfrm>
            <a:off x="5123071" y="5932865"/>
            <a:ext cx="1455527" cy="369332"/>
          </a:xfrm>
          <a:prstGeom prst="rect">
            <a:avLst/>
          </a:prstGeom>
        </p:spPr>
        <p:txBody>
          <a:bodyPr wrap="none" lIns="0" tIns="0" rIns="0" bIns="0" anchor="ctr">
            <a:spAutoFit/>
          </a:bodyPr>
          <a:lstStyle/>
          <a:p>
            <a:pPr algn="ctr" defTabSz="725012">
              <a:spcBef>
                <a:spcPct val="0"/>
              </a:spcBef>
              <a:spcAft>
                <a:spcPct val="35000"/>
              </a:spcAft>
            </a:pPr>
            <a:r>
              <a:rPr lang="en-US" sz="2400" dirty="0">
                <a:solidFill>
                  <a:srgbClr val="002050"/>
                </a:solidFill>
                <a:latin typeface="Segoe UI Light"/>
              </a:rPr>
              <a:t>Intelligence</a:t>
            </a:r>
            <a:endParaRPr lang="en-US" b="1" spc="-30" dirty="0">
              <a:solidFill>
                <a:srgbClr val="002050"/>
              </a:solidFill>
              <a:latin typeface="Segoe UI Semilight" panose="020B0402040204020203" pitchFamily="34" charset="0"/>
              <a:cs typeface="Segoe UI Semilight" panose="020B0402040204020203" pitchFamily="34" charset="0"/>
            </a:endParaRPr>
          </a:p>
        </p:txBody>
      </p:sp>
      <p:sp>
        <p:nvSpPr>
          <p:cNvPr id="77" name="Rectangle 76"/>
          <p:cNvSpPr/>
          <p:nvPr/>
        </p:nvSpPr>
        <p:spPr>
          <a:xfrm>
            <a:off x="6340519" y="3055939"/>
            <a:ext cx="1268870" cy="430887"/>
          </a:xfrm>
          <a:prstGeom prst="rect">
            <a:avLst/>
          </a:prstGeom>
        </p:spPr>
        <p:txBody>
          <a:bodyPr wrap="square">
            <a:spAutoFit/>
          </a:bodyPr>
          <a:lstStyle/>
          <a:p>
            <a:pPr defTabSz="914400"/>
            <a:r>
              <a:rPr lang="en-US" sz="1100" dirty="0">
                <a:cs typeface="Segoe UI Semilight" panose="020B0402040204020203" pitchFamily="34" charset="0"/>
              </a:rPr>
              <a:t>Data Lake Analytics</a:t>
            </a:r>
          </a:p>
        </p:txBody>
      </p:sp>
      <p:sp>
        <p:nvSpPr>
          <p:cNvPr id="78" name="Rectangle 77"/>
          <p:cNvSpPr/>
          <p:nvPr/>
        </p:nvSpPr>
        <p:spPr>
          <a:xfrm>
            <a:off x="6340519" y="2443589"/>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Machine Learning</a:t>
            </a:r>
          </a:p>
        </p:txBody>
      </p:sp>
      <p:grpSp>
        <p:nvGrpSpPr>
          <p:cNvPr id="79" name="Group 78"/>
          <p:cNvGrpSpPr/>
          <p:nvPr/>
        </p:nvGrpSpPr>
        <p:grpSpPr>
          <a:xfrm>
            <a:off x="5982706" y="4285927"/>
            <a:ext cx="352655" cy="270905"/>
            <a:chOff x="1260022" y="5196402"/>
            <a:chExt cx="3273425" cy="2514600"/>
          </a:xfrm>
          <a:solidFill>
            <a:srgbClr val="FFFFFF"/>
          </a:solidFill>
        </p:grpSpPr>
        <p:sp>
          <p:nvSpPr>
            <p:cNvPr id="80" name="Freeform 7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1" name="Freeform 8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Freeform 8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 name="Freeform 8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84" name="Freeform 83"/>
          <p:cNvSpPr>
            <a:spLocks/>
          </p:cNvSpPr>
          <p:nvPr/>
        </p:nvSpPr>
        <p:spPr bwMode="auto">
          <a:xfrm>
            <a:off x="5984022" y="3716926"/>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85" name="Freeform 84"/>
          <p:cNvSpPr/>
          <p:nvPr/>
        </p:nvSpPr>
        <p:spPr bwMode="auto">
          <a:xfrm flipH="1">
            <a:off x="6027271" y="2521823"/>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6" name="Rectangle 85"/>
          <p:cNvSpPr/>
          <p:nvPr/>
        </p:nvSpPr>
        <p:spPr bwMode="auto">
          <a:xfrm>
            <a:off x="4043785" y="1657049"/>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87" name="Rectangle 86"/>
          <p:cNvSpPr/>
          <p:nvPr/>
        </p:nvSpPr>
        <p:spPr>
          <a:xfrm>
            <a:off x="4508692" y="3055939"/>
            <a:ext cx="1271016"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QL Data </a:t>
            </a:r>
          </a:p>
          <a:p>
            <a:pPr defTabSz="914400"/>
            <a:r>
              <a:rPr lang="en-US" sz="1100" dirty="0">
                <a:solidFill>
                  <a:srgbClr val="FFFFFF"/>
                </a:solidFill>
                <a:cs typeface="Segoe UI Semilight" panose="020B0402040204020203" pitchFamily="34" charset="0"/>
              </a:rPr>
              <a:t>Warehouse</a:t>
            </a:r>
          </a:p>
        </p:txBody>
      </p:sp>
      <p:sp>
        <p:nvSpPr>
          <p:cNvPr id="88" name="Rectangle 87"/>
          <p:cNvSpPr/>
          <p:nvPr/>
        </p:nvSpPr>
        <p:spPr bwMode="auto">
          <a:xfrm>
            <a:off x="4032633" y="2440951"/>
            <a:ext cx="1757665" cy="488598"/>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89" name="Rectangle 88"/>
          <p:cNvSpPr/>
          <p:nvPr/>
        </p:nvSpPr>
        <p:spPr>
          <a:xfrm>
            <a:off x="4494875" y="2528227"/>
            <a:ext cx="1271016" cy="261610"/>
          </a:xfrm>
          <a:prstGeom prst="rect">
            <a:avLst/>
          </a:prstGeom>
        </p:spPr>
        <p:txBody>
          <a:bodyPr wrap="square">
            <a:spAutoFit/>
          </a:bodyPr>
          <a:lstStyle/>
          <a:p>
            <a:pPr defTabSz="914400"/>
            <a:r>
              <a:rPr lang="en-US" sz="1100" dirty="0">
                <a:cs typeface="Segoe UI Semilight" panose="020B0402040204020203" pitchFamily="34" charset="0"/>
              </a:rPr>
              <a:t>Data Lake Store</a:t>
            </a:r>
          </a:p>
        </p:txBody>
      </p:sp>
      <p:grpSp>
        <p:nvGrpSpPr>
          <p:cNvPr id="90" name="Group 89"/>
          <p:cNvGrpSpPr/>
          <p:nvPr/>
        </p:nvGrpSpPr>
        <p:grpSpPr>
          <a:xfrm>
            <a:off x="4186988" y="3119355"/>
            <a:ext cx="248256" cy="304055"/>
            <a:chOff x="-3084513" y="3390510"/>
            <a:chExt cx="2716213" cy="3363913"/>
          </a:xfrm>
          <a:solidFill>
            <a:srgbClr val="FFFFFF"/>
          </a:solidFill>
        </p:grpSpPr>
        <p:sp>
          <p:nvSpPr>
            <p:cNvPr id="91"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2"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93" name="Group 92"/>
          <p:cNvGrpSpPr/>
          <p:nvPr/>
        </p:nvGrpSpPr>
        <p:grpSpPr>
          <a:xfrm>
            <a:off x="496692" y="1666194"/>
            <a:ext cx="1854737" cy="4611909"/>
            <a:chOff x="496692" y="1666194"/>
            <a:chExt cx="1854737" cy="4611909"/>
          </a:xfrm>
        </p:grpSpPr>
        <p:sp>
          <p:nvSpPr>
            <p:cNvPr id="94" name="TextBox 93"/>
            <p:cNvSpPr txBox="1"/>
            <p:nvPr/>
          </p:nvSpPr>
          <p:spPr>
            <a:xfrm>
              <a:off x="1261370" y="1927965"/>
              <a:ext cx="1090059" cy="563250"/>
            </a:xfrm>
            <a:prstGeom prst="rect">
              <a:avLst/>
            </a:prstGeom>
            <a:noFill/>
          </p:spPr>
          <p:txBody>
            <a:bodyPr wrap="square" lIns="0" tIns="146283" rIns="182854" bIns="146283" rtlCol="0">
              <a:noAutofit/>
            </a:bodyPr>
            <a:lstStyle/>
            <a:p>
              <a:pPr defTabSz="932563">
                <a:lnSpc>
                  <a:spcPct val="90000"/>
                </a:lnSpc>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Data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Sources</a:t>
              </a:r>
            </a:p>
          </p:txBody>
        </p:sp>
        <p:sp>
          <p:nvSpPr>
            <p:cNvPr id="95" name="TextBox 94"/>
            <p:cNvSpPr txBox="1"/>
            <p:nvPr/>
          </p:nvSpPr>
          <p:spPr>
            <a:xfrm>
              <a:off x="1214236" y="3529646"/>
              <a:ext cx="1090059" cy="579230"/>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Apps</a:t>
              </a:r>
            </a:p>
          </p:txBody>
        </p:sp>
        <p:sp>
          <p:nvSpPr>
            <p:cNvPr id="96" name="TextBox 95"/>
            <p:cNvSpPr txBox="1"/>
            <p:nvPr/>
          </p:nvSpPr>
          <p:spPr>
            <a:xfrm>
              <a:off x="1261370" y="4995093"/>
              <a:ext cx="974964" cy="616531"/>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Sensors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and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devices</a:t>
              </a:r>
            </a:p>
          </p:txBody>
        </p:sp>
        <p:sp>
          <p:nvSpPr>
            <p:cNvPr id="97" name="Rectangle 96"/>
            <p:cNvSpPr/>
            <p:nvPr/>
          </p:nvSpPr>
          <p:spPr>
            <a:xfrm>
              <a:off x="813890" y="5956959"/>
              <a:ext cx="933597" cy="321144"/>
            </a:xfrm>
            <a:prstGeom prst="rect">
              <a:avLst/>
            </a:prstGeom>
          </p:spPr>
          <p:txBody>
            <a:bodyPr wrap="none" lIns="0" tIns="0" rIns="0" bIns="0" anchor="ctr">
              <a:noAutofit/>
            </a:bodyPr>
            <a:lstStyle/>
            <a:p>
              <a:pPr defTabSz="914400">
                <a:lnSpc>
                  <a:spcPct val="90000"/>
                </a:lnSpc>
              </a:pPr>
              <a:r>
                <a:rPr lang="en-US" sz="2400" dirty="0">
                  <a:solidFill>
                    <a:srgbClr val="002050"/>
                  </a:solidFill>
                  <a:latin typeface="Segoe UI Light"/>
                </a:rPr>
                <a:t>Data</a:t>
              </a:r>
            </a:p>
          </p:txBody>
        </p:sp>
        <p:grpSp>
          <p:nvGrpSpPr>
            <p:cNvPr id="98" name="Group 97"/>
            <p:cNvGrpSpPr/>
            <p:nvPr/>
          </p:nvGrpSpPr>
          <p:grpSpPr>
            <a:xfrm>
              <a:off x="1789019" y="1666194"/>
              <a:ext cx="308472" cy="4199169"/>
              <a:chOff x="1776319" y="1369399"/>
              <a:chExt cx="308472" cy="3830198"/>
            </a:xfrm>
          </p:grpSpPr>
          <p:sp>
            <p:nvSpPr>
              <p:cNvPr id="113" name="Freeform 112"/>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114" name="Straight Connector 113"/>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99"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nvGrpSpPr>
            <p:cNvPr id="100" name="Group 99"/>
            <p:cNvGrpSpPr/>
            <p:nvPr/>
          </p:nvGrpSpPr>
          <p:grpSpPr>
            <a:xfrm>
              <a:off x="532519" y="3627377"/>
              <a:ext cx="522040" cy="533547"/>
              <a:chOff x="2308225" y="7734300"/>
              <a:chExt cx="1368425" cy="1398588"/>
            </a:xfrm>
            <a:solidFill>
              <a:srgbClr val="0078D7"/>
            </a:solidFill>
          </p:grpSpPr>
          <p:sp>
            <p:nvSpPr>
              <p:cNvPr id="102"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3"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4"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5"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6"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7"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8"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9"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0"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1"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2"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01" name="Freeform 100"/>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grpSp>
      <p:grpSp>
        <p:nvGrpSpPr>
          <p:cNvPr id="115" name="Group 114"/>
          <p:cNvGrpSpPr>
            <a:grpSpLocks noChangeAspect="1"/>
          </p:cNvGrpSpPr>
          <p:nvPr/>
        </p:nvGrpSpPr>
        <p:grpSpPr>
          <a:xfrm>
            <a:off x="6008529" y="3138987"/>
            <a:ext cx="294051" cy="292608"/>
            <a:chOff x="8580718" y="793097"/>
            <a:chExt cx="2587625" cy="2574925"/>
          </a:xfrm>
          <a:solidFill>
            <a:schemeClr val="tx1"/>
          </a:solidFill>
        </p:grpSpPr>
        <p:sp>
          <p:nvSpPr>
            <p:cNvPr id="116"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a:grpSpLocks noChangeAspect="1"/>
          </p:cNvGrpSpPr>
          <p:nvPr/>
        </p:nvGrpSpPr>
        <p:grpSpPr>
          <a:xfrm>
            <a:off x="4165572" y="2521823"/>
            <a:ext cx="292608" cy="229390"/>
            <a:chOff x="8588655" y="3482322"/>
            <a:chExt cx="2571750" cy="2016125"/>
          </a:xfrm>
        </p:grpSpPr>
        <p:sp>
          <p:nvSpPr>
            <p:cNvPr id="119"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599936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LOR TEMPLATE">
  <a:themeElements>
    <a:clrScheme name="Custom 14">
      <a:dk1>
        <a:srgbClr val="505050"/>
      </a:dk1>
      <a:lt1>
        <a:srgbClr val="FFFFFF"/>
      </a:lt1>
      <a:dk2>
        <a:srgbClr val="002050"/>
      </a:dk2>
      <a:lt2>
        <a:srgbClr val="00BCF2"/>
      </a:lt2>
      <a:accent1>
        <a:srgbClr val="0078D7"/>
      </a:accent1>
      <a:accent2>
        <a:srgbClr val="D83B01"/>
      </a:accent2>
      <a:accent3>
        <a:srgbClr val="107C10"/>
      </a:accent3>
      <a:accent4>
        <a:srgbClr val="B4009E"/>
      </a:accent4>
      <a:accent5>
        <a:srgbClr val="5C2D91"/>
      </a:accent5>
      <a:accent6>
        <a:srgbClr val="008272"/>
      </a:accent6>
      <a:hlink>
        <a:srgbClr val="0078D7"/>
      </a:hlink>
      <a:folHlink>
        <a:srgbClr val="003C6B"/>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8" ma:contentTypeDescription="A document content type used by Infopedia." ma:contentTypeScope="" ma:versionID="2681224d2537e8db76e4bedd657bef1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52d0082b4b66a3746776ed3f601a30bc"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Description xmlns="230e9df3-be65-4c73-a93b-d1236ebd677e">This is the Big Data FY17 Pitch Deck.  It includes all the big data properties including Azure HDInsight, Azure Data Lake Analytics and Azure Data Lake Store.</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oduct information</TermName>
          <TermId xmlns="http://schemas.microsoft.com/office/infopath/2007/PartnerControls">a62e948d-5e4b-4b97-9627-6d1d79eb3f6c</TermId>
        </TermInfo>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Oliver Chiu</DisplayName>
        <AccountId>123</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UserInfo>
        <DisplayName>i:0#.f|membership|v-anmarv@microsoft.com</DisplayName>
        <AccountId>45</AccountId>
        <AccountType/>
      </UserInfo>
      <UserInfo>
        <DisplayName>i:0#.f|membership|v-caicha@microsoft.com</DisplayName>
        <AccountId>63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 HDInsight Service</TermName>
          <TermId xmlns="http://schemas.microsoft.com/office/infopath/2007/PartnerControls">caa4b4da-5318-4157-9150-05739acda99c</TermId>
        </TermInfo>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7543/​Big%20Data%20FY17%20Pitch%20Deck.png</Url>
      <Description>/sites/Infopedia_G01KC/Media/Thumbnails/G01KC-1-17543/​Big Data FY17 Pitch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odern data warehouses</TermName>
          <TermId xmlns="http://schemas.microsoft.com/office/infopath/2007/PartnerControls">73a3f3c0-b1f4-4059-b3f7-d568167cd895</TermId>
        </TermInfo>
      </Term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73</Value>
      <Value>401</Value>
      <Value>399</Value>
      <Value>133</Value>
      <Value>26</Value>
      <Value>14</Value>
      <Value>22</Value>
      <Value>21</Value>
      <Value>20</Value>
      <Value>351</Value>
      <Value>128</Value>
      <Value>347</Value>
      <Value>270</Value>
      <Value>82</Value>
      <Value>42</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sales scenarios</TermName>
          <TermId xmlns="http://schemas.microsoft.com/office/infopath/2007/PartnerControls">9c758ef8-070e-425a-bc32-6a0e5ba9321b</TermId>
        </TermInfo>
        <TermInfo xmlns="http://schemas.microsoft.com/office/infopath/2007/PartnerControls">
          <TermName xmlns="http://schemas.microsoft.com/office/infopath/2007/PartnerControls">solutions</TermName>
          <TermId xmlns="http://schemas.microsoft.com/office/infopath/2007/PartnerControls">8edef101-9936-4179-aaeb-f4349f975729</TermId>
        </TermInfo>
      </Term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17544</_dlc_DocId>
    <_dlc_DocIdUrl xmlns="230e9df3-be65-4c73-a93b-d1236ebd677e">
      <Url>https://microsoft.sharepoint.com/sites/Infopedia_G01KC/_layouts/15/DocIdRedir.aspx?ID=G01KC-99682991-17544</Url>
      <Description>G01KC-99682991-17544</Description>
    </_dlc_DocIdUrl>
  </documentManagement>
</p:properties>
</file>

<file path=customXml/itemProps1.xml><?xml version="1.0" encoding="utf-8"?>
<ds:datastoreItem xmlns:ds="http://schemas.openxmlformats.org/officeDocument/2006/customXml" ds:itemID="{650A0F6A-4B49-458A-BBE0-18875B09E4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34E0528-5F3D-4FFB-9818-2C1B9E22422A}">
  <ds:schemaRefs>
    <ds:schemaRef ds:uri="http://schemas.microsoft.com/sharepoint/events"/>
  </ds:schemaRefs>
</ds:datastoreItem>
</file>

<file path=customXml/itemProps3.xml><?xml version="1.0" encoding="utf-8"?>
<ds:datastoreItem xmlns:ds="http://schemas.openxmlformats.org/officeDocument/2006/customXml" ds:itemID="{F4F330F9-5D0F-4199-B3C9-AA31083B1979}">
  <ds:schemaRefs>
    <ds:schemaRef ds:uri="http://schemas.microsoft.com/sharepoint/v3/contenttype/forms"/>
  </ds:schemaRefs>
</ds:datastoreItem>
</file>

<file path=customXml/itemProps4.xml><?xml version="1.0" encoding="utf-8"?>
<ds:datastoreItem xmlns:ds="http://schemas.openxmlformats.org/officeDocument/2006/customXml" ds:itemID="{72B7054C-DF60-46F0-B56D-DDF6D4818DF5}">
  <ds:schemaRefs>
    <ds:schemaRef ds:uri="Microsoft.SharePoint.Taxonomy.ContentTypeSync"/>
  </ds:schemaRefs>
</ds:datastoreItem>
</file>

<file path=customXml/itemProps5.xml><?xml version="1.0" encoding="utf-8"?>
<ds:datastoreItem xmlns:ds="http://schemas.openxmlformats.org/officeDocument/2006/customXml" ds:itemID="{FA00DE9C-7115-45FF-89CF-5AC3F9941469}">
  <ds:schemaRef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schemas.microsoft.com/sharepoint/v3"/>
    <ds:schemaRef ds:uri="230e9df3-be65-4c73-a93b-d1236ebd677e"/>
    <ds:schemaRef ds:uri="http://purl.org/dc/terms/"/>
    <ds:schemaRef ds:uri="2478d1b8-79bf-461f-b8e8-704d21601f1a"/>
    <ds:schemaRef ds:uri="b3bc04a5-d503-43b1-b98c-a8cf663329d9"/>
    <ds:schemaRef ds:uri="http://schemas.microsoft.com/office/2006/documentManagement/types"/>
    <ds:schemaRef ds:uri="230E9DF3-BE65-4C73-A93B-D1236EBD677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tana Analytics Overview</Template>
  <TotalTime>10980</TotalTime>
  <Words>5349</Words>
  <Application>Microsoft Office PowerPoint</Application>
  <PresentationFormat>Widescreen</PresentationFormat>
  <Paragraphs>868</Paragraphs>
  <Slides>52</Slides>
  <Notes>30</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52</vt:i4>
      </vt:variant>
    </vt:vector>
  </HeadingPairs>
  <TitlesOfParts>
    <vt:vector size="71" baseType="lpstr">
      <vt:lpstr>ＭＳ Ｐゴシック</vt:lpstr>
      <vt:lpstr>ＭＳ Ｐゴシック</vt:lpstr>
      <vt:lpstr>Yu Gothic UI Semilight</vt:lpstr>
      <vt:lpstr>Arial</vt:lpstr>
      <vt:lpstr>Calibri</vt:lpstr>
      <vt:lpstr>Consolas</vt:lpstr>
      <vt:lpstr>Segoe Light</vt:lpstr>
      <vt:lpstr>Segoe UI</vt:lpstr>
      <vt:lpstr>Segoe UI Black</vt:lpstr>
      <vt:lpstr>Segoe UI Light</vt:lpstr>
      <vt:lpstr>Segoe UI Semibold</vt:lpstr>
      <vt:lpstr>Segoe UI Semilight</vt:lpstr>
      <vt:lpstr>Verdana</vt:lpstr>
      <vt:lpstr>Wingdings</vt:lpstr>
      <vt:lpstr>Wingdings 3</vt:lpstr>
      <vt:lpstr>COLOR TEMPLATE</vt:lpstr>
      <vt:lpstr>1_Modern DW</vt:lpstr>
      <vt:lpstr>1_COLOR TEMPLATE</vt:lpstr>
      <vt:lpstr>think-cell Slide</vt:lpstr>
      <vt:lpstr>Big Data from Microsoft</vt:lpstr>
      <vt:lpstr>Big Data is changing traditional data  warehousing</vt:lpstr>
      <vt:lpstr>Big Data definition</vt:lpstr>
      <vt:lpstr>Big Data is driving transformative changes</vt:lpstr>
      <vt:lpstr>Big Data has new data characteristics </vt:lpstr>
      <vt:lpstr>Example: Big Data drives predictive maintenance</vt:lpstr>
      <vt:lpstr>However, there are challenges to Big Data…</vt:lpstr>
      <vt:lpstr>But, Microsoft has done it before</vt:lpstr>
      <vt:lpstr>Big Data as a cornerstone of Cortana Intelligence</vt:lpstr>
      <vt:lpstr>PowerPoint Presentation</vt:lpstr>
      <vt:lpstr>PolyBase in  SQL Server 2016 and APS</vt:lpstr>
      <vt:lpstr>PowerPoint Presentation</vt:lpstr>
      <vt:lpstr>PowerPoint Presentation</vt:lpstr>
      <vt:lpstr>Azure Data Lake</vt:lpstr>
      <vt:lpstr>Data warehousing for intelligence SQL Server 2016 + Cortana Intelligence</vt:lpstr>
      <vt:lpstr>PowerPoint Presentation</vt:lpstr>
      <vt:lpstr>Microsoft data warehousing for intelligence Powered for choice</vt:lpstr>
      <vt:lpstr>Game-changing intelligence requires  a powerful data management solution</vt:lpstr>
      <vt:lpstr>PowerPoint Presentation</vt:lpstr>
      <vt:lpstr>PowerPoint Presentation</vt:lpstr>
      <vt:lpstr>PowerPoint Presentation</vt:lpstr>
      <vt:lpstr>PowerPoint Presentation</vt:lpstr>
      <vt:lpstr>Comparing data warehousing and Big Data Both are needed</vt:lpstr>
      <vt:lpstr>Big Data as part of Data Warehousing</vt:lpstr>
      <vt:lpstr>PowerPoint Presentation</vt:lpstr>
      <vt:lpstr>The right solution for the job</vt:lpstr>
      <vt:lpstr>Understand how the big data solutions differ</vt:lpstr>
      <vt:lpstr>Microsoft’s Hadoop offers</vt:lpstr>
      <vt:lpstr>Azure Data Lake Big Data made easy</vt:lpstr>
      <vt:lpstr>Azure Data Lake Big Data made easy</vt:lpstr>
      <vt:lpstr>Store any size of data and optimize for high-performance</vt:lpstr>
      <vt:lpstr>Any type  of analytics</vt:lpstr>
      <vt:lpstr>Analytics that dynamically scale  to match your needs</vt:lpstr>
      <vt:lpstr>Azure Data Lake Big Data made easy</vt:lpstr>
      <vt:lpstr>Easy for administrators to spin up quickly</vt:lpstr>
      <vt:lpstr>Easy for developers—from novice to expert</vt:lpstr>
      <vt:lpstr>Easy for developers with familiar language</vt:lpstr>
      <vt:lpstr>Easy notebook experience for data scientists</vt:lpstr>
      <vt:lpstr>Easy for data scientists with familiar R language</vt:lpstr>
      <vt:lpstr>Easy for business analysts with interactive reports over big data</vt:lpstr>
      <vt:lpstr>Azure Data Lake Big Data made easy</vt:lpstr>
      <vt:lpstr>Highest availability guarantee in the industry for peace of mind</vt:lpstr>
      <vt:lpstr>Runs in the most datacenters worldwide</vt:lpstr>
      <vt:lpstr>Manage and secure your data by leveraging existing IT investments</vt:lpstr>
      <vt:lpstr>Lower total cost  of ownership</vt:lpstr>
      <vt:lpstr>Recognized by top analysts</vt:lpstr>
      <vt:lpstr>PowerPoint Presentation</vt:lpstr>
      <vt:lpstr>Appendix</vt:lpstr>
      <vt:lpstr>Big Data leverages new hardware cost dynamics</vt:lpstr>
      <vt:lpstr>Big Data introduces new culture of experimentation</vt:lpstr>
      <vt:lpstr>The Business Value and TCO of HDInsight</vt:lpstr>
      <vt:lpstr>From data to decisions and ac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FY17 Pitch Deck</dc:title>
  <dc:creator>Ben Johnson</dc:creator>
  <cp:keywords/>
  <cp:lastModifiedBy>Priya Aswani</cp:lastModifiedBy>
  <cp:revision>912</cp:revision>
  <dcterms:created xsi:type="dcterms:W3CDTF">2016-03-14T22:47:33Z</dcterms:created>
  <dcterms:modified xsi:type="dcterms:W3CDTF">2017-07-12T09:5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1cd454bacc149bfbcfd764edd279de7">
    <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128;#product information|a62e948d-5e4b-4b97-9627-6d1d79eb3f6c;#351;#feedback requests|00ce1828-98a3-430e-af54-eda270e1be04</vt:lpwstr>
  </property>
  <property fmtid="{D5CDD505-2E9C-101B-9397-08002B2CF9AE}" pid="11" name="bc28b5f076654a3b96073bbbebfeb8c9">
    <vt:lpwstr/>
  </property>
  <property fmtid="{D5CDD505-2E9C-101B-9397-08002B2CF9AE}" pid="12" name="ga0c0bf70a6644469c61b3efa7025301">
    <vt:lpwstr/>
  </property>
  <property fmtid="{D5CDD505-2E9C-101B-9397-08002B2CF9AE}" pid="13" name="Industries">
    <vt:lpwstr/>
  </property>
  <property fmtid="{D5CDD505-2E9C-101B-9397-08002B2CF9AE}" pid="14" name="j4d667fb28274e85b2214f6e751c8d1f">
    <vt:lpwstr/>
  </property>
  <property fmtid="{D5CDD505-2E9C-101B-9397-08002B2CF9AE}" pid="15" name="MSProducts">
    <vt:lpwstr/>
  </property>
  <property fmtid="{D5CDD505-2E9C-101B-9397-08002B2CF9AE}" pid="16" name="Competitors">
    <vt:lpwstr/>
  </property>
  <property fmtid="{D5CDD505-2E9C-101B-9397-08002B2CF9AE}" pid="17" name="SMSGDomain">
    <vt:lpwstr>21;#Cloud and Enterprise|adc2fe87-c79a-4ded-a449-3f86b954069d;#20;#Microsoft Azure Domain|d600a391-d529-4311-892b-2c05c1ab2538;#82;#SQL Server Domain|0c0f1824-39dc-4b26-8c74-eff4364b812b;#22;#Server and Tools Business|6783548d-8609-4f97-be4a-4ca2616905a6</vt:lpwstr>
  </property>
  <property fmtid="{D5CDD505-2E9C-101B-9397-08002B2CF9AE}" pid="18" name="Audience">
    <vt:lpwstr/>
  </property>
  <property fmtid="{D5CDD505-2E9C-101B-9397-08002B2CF9AE}" pid="19" name="ExperienceContentType">
    <vt:lpwstr/>
  </property>
  <property fmtid="{D5CDD505-2E9C-101B-9397-08002B2CF9AE}" pid="20" name="BusinessArchitecture">
    <vt:lpwstr>401;#modern data warehouses|73a3f3c0-b1f4-4059-b3f7-d568167cd895</vt:lpwstr>
  </property>
  <property fmtid="{D5CDD505-2E9C-101B-9397-08002B2CF9AE}" pid="21" name="j031aa32f4154c8c9a646efae715ebde">
    <vt:lpwstr/>
  </property>
  <property fmtid="{D5CDD505-2E9C-101B-9397-08002B2CF9AE}" pid="22" name="Products">
    <vt:lpwstr>133;#Microsoft Azure HDInsight Service|caa4b4da-5318-4157-9150-05739acda99c;#26;#Microsoft Azure|669a3112-5edf-444b-a003-630063601f07;#73;#Microsoft SQL Server|261ba873-f3ab-420e-96d6-e3004596a551</vt:lpwstr>
  </property>
  <property fmtid="{D5CDD505-2E9C-101B-9397-08002B2CF9AE}" pid="23" name="ContentExtensions">
    <vt:lpwstr/>
  </property>
  <property fmtid="{D5CDD505-2E9C-101B-9397-08002B2CF9AE}" pid="24" name="WorkflowChangePath">
    <vt:lpwstr>4c942473-d120-4286-a51a-b65ad3d92ffb,20;4c942473-d120-4286-a51a-b65ad3d92ffb,36;4c942473-d120-4286-a51a-b65ad3d92ffb,44;4c942473-d120-4286-a51a-b65ad3d92ffb,81;</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_docset_NoMedatataSyncRequired">
    <vt:lpwstr>False</vt:lpwstr>
  </property>
  <property fmtid="{D5CDD505-2E9C-101B-9397-08002B2CF9AE}" pid="28" name="MSLanguage">
    <vt:lpwstr/>
  </property>
  <property fmtid="{D5CDD505-2E9C-101B-9397-08002B2CF9AE}" pid="29" name="e8080b0481964c759b2c36ae49591b31">
    <vt:lpwstr/>
  </property>
  <property fmtid="{D5CDD505-2E9C-101B-9397-08002B2CF9AE}" pid="30" name="Event Venue">
    <vt:lpwstr/>
  </property>
  <property fmtid="{D5CDD505-2E9C-101B-9397-08002B2CF9AE}" pid="31" name="Track">
    <vt:lpwstr/>
  </property>
  <property fmtid="{D5CDD505-2E9C-101B-9397-08002B2CF9AE}" pid="32" name="Languages">
    <vt:lpwstr/>
  </property>
  <property fmtid="{D5CDD505-2E9C-101B-9397-08002B2CF9AE}" pid="33" name="messageframeworktype">
    <vt:lpwstr/>
  </property>
  <property fmtid="{D5CDD505-2E9C-101B-9397-08002B2CF9AE}" pid="34" name="cb7870d3641f4a52807a63577a9c1b08">
    <vt:lpwstr/>
  </property>
  <property fmtid="{D5CDD505-2E9C-101B-9397-08002B2CF9AE}" pid="35" name="TechnicalLevel">
    <vt:lpwstr/>
  </property>
  <property fmtid="{D5CDD505-2E9C-101B-9397-08002B2CF9AE}" pid="36" name="Audiences">
    <vt:lpwstr/>
  </property>
  <property fmtid="{D5CDD505-2E9C-101B-9397-08002B2CF9AE}" pid="37" name="IsMyDocuments">
    <vt:bool>true</vt:bool>
  </property>
  <property fmtid="{D5CDD505-2E9C-101B-9397-08002B2CF9AE}" pid="38" name="LearningOrganization">
    <vt:lpwstr/>
  </property>
  <property fmtid="{D5CDD505-2E9C-101B-9397-08002B2CF9AE}" pid="39" name="ldac8aee9d1f469e8cd8c3f8d6a615f2">
    <vt:lpwstr/>
  </property>
  <property fmtid="{D5CDD505-2E9C-101B-9397-08002B2CF9AE}" pid="40" name="EmployeeRole">
    <vt:lpwstr/>
  </property>
  <property fmtid="{D5CDD505-2E9C-101B-9397-08002B2CF9AE}" pid="41" name="NewsTopic">
    <vt:lpwstr/>
  </property>
  <property fmtid="{D5CDD505-2E9C-101B-9397-08002B2CF9AE}" pid="42" name="SharedWithUsers">
    <vt:lpwstr>3879;#Alexander Bernhardt;#4466;#Christoph Holtbecker</vt:lpwstr>
  </property>
  <property fmtid="{D5CDD505-2E9C-101B-9397-08002B2CF9AE}" pid="43" name="Product">
    <vt:lpwstr/>
  </property>
  <property fmtid="{D5CDD505-2E9C-101B-9397-08002B2CF9AE}" pid="44" name="LearningDeliveryMethod">
    <vt:lpwstr/>
  </property>
  <property fmtid="{D5CDD505-2E9C-101B-9397-08002B2CF9AE}" pid="45" name="SalesGeography">
    <vt:lpwstr/>
  </property>
  <property fmtid="{D5CDD505-2E9C-101B-9397-08002B2CF9AE}" pid="46" name="Roles">
    <vt:lpwstr/>
  </property>
  <property fmtid="{D5CDD505-2E9C-101B-9397-08002B2CF9AE}" pid="47" name="Event Location">
    <vt:lpwstr/>
  </property>
  <property fmtid="{D5CDD505-2E9C-101B-9397-08002B2CF9AE}" pid="48" name="Event1">
    <vt:lpwstr>622;#Unassigned|2c8af875-f38a-40b8-a0a9-056aed3fc8c0</vt:lpwstr>
  </property>
  <property fmtid="{D5CDD505-2E9C-101B-9397-08002B2CF9AE}" pid="49" name="ItemRetentionFormula">
    <vt:lpwstr/>
  </property>
  <property fmtid="{D5CDD505-2E9C-101B-9397-08002B2CF9AE}" pid="50" name="NewsSource">
    <vt:lpwstr/>
  </property>
  <property fmtid="{D5CDD505-2E9C-101B-9397-08002B2CF9AE}" pid="51" name="SMSGTags">
    <vt:lpwstr/>
  </property>
  <property fmtid="{D5CDD505-2E9C-101B-9397-08002B2CF9AE}" pid="52" name="_dlc_DocIdItemGuid">
    <vt:lpwstr>d817cc28-5d13-420d-a21e-9846165d29ce</vt:lpwstr>
  </property>
  <property fmtid="{D5CDD505-2E9C-101B-9397-08002B2CF9AE}" pid="53" name="MSPhysicalGeography">
    <vt:lpwstr/>
  </property>
  <property fmtid="{D5CDD505-2E9C-101B-9397-08002B2CF9AE}" pid="54" name="EnterpriseDomainTags">
    <vt:lpwstr/>
  </property>
  <property fmtid="{D5CDD505-2E9C-101B-9397-08002B2CF9AE}" pid="55" name="Campaign">
    <vt:lpwstr/>
  </property>
  <property fmtid="{D5CDD505-2E9C-101B-9397-08002B2CF9AE}" pid="56" name="l311460e3fdf46688abc31ddb7bdc05a">
    <vt:lpwstr/>
  </property>
  <property fmtid="{D5CDD505-2E9C-101B-9397-08002B2CF9AE}" pid="57" name="j3562c58ee414e028925bc902cfc01a1">
    <vt:lpwstr/>
  </property>
  <property fmtid="{D5CDD505-2E9C-101B-9397-08002B2CF9AE}" pid="58" name="ActivitiesAndPrograms">
    <vt:lpwstr/>
  </property>
  <property fmtid="{D5CDD505-2E9C-101B-9397-08002B2CF9AE}" pid="59" name="Segments">
    <vt:lpwstr/>
  </property>
  <property fmtid="{D5CDD505-2E9C-101B-9397-08002B2CF9AE}" pid="60" name="Partners">
    <vt:lpwstr/>
  </property>
  <property fmtid="{D5CDD505-2E9C-101B-9397-08002B2CF9AE}" pid="61" name="la4444b61d19467597d63190b69ac227">
    <vt:lpwstr/>
  </property>
  <property fmtid="{D5CDD505-2E9C-101B-9397-08002B2CF9AE}" pid="62" name="Topics">
    <vt:lpwstr>270;#sales scenarios|9c758ef8-070e-425a-bc32-6a0e5ba9321b;#347;#solutions|8edef101-9936-4179-aaeb-f4349f975729</vt:lpwstr>
  </property>
  <property fmtid="{D5CDD505-2E9C-101B-9397-08002B2CF9AE}" pid="63" name="Groups">
    <vt:lpwstr>399;#SQL Server Marketing|bb7921b3-c1d8-4da4-b894-8b6075d9546d;#42;#Cloud and Enterprise Marketing Group|4f75e184-e5aa-4234-a07f-b032d60df254</vt:lpwstr>
  </property>
</Properties>
</file>